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0" r:id="rId2"/>
  </p:sldMasterIdLst>
  <p:notesMasterIdLst>
    <p:notesMasterId r:id="rId25"/>
  </p:notesMasterIdLst>
  <p:sldIdLst>
    <p:sldId id="256" r:id="rId3"/>
    <p:sldId id="422" r:id="rId4"/>
    <p:sldId id="308" r:id="rId5"/>
    <p:sldId id="310" r:id="rId6"/>
    <p:sldId id="311" r:id="rId7"/>
    <p:sldId id="312" r:id="rId8"/>
    <p:sldId id="313" r:id="rId9"/>
    <p:sldId id="314" r:id="rId10"/>
    <p:sldId id="315" r:id="rId11"/>
    <p:sldId id="320" r:id="rId12"/>
    <p:sldId id="259" r:id="rId13"/>
    <p:sldId id="445" r:id="rId14"/>
    <p:sldId id="459" r:id="rId15"/>
    <p:sldId id="473" r:id="rId16"/>
    <p:sldId id="484" r:id="rId17"/>
    <p:sldId id="499" r:id="rId18"/>
    <p:sldId id="512" r:id="rId19"/>
    <p:sldId id="534" r:id="rId20"/>
    <p:sldId id="541" r:id="rId21"/>
    <p:sldId id="272" r:id="rId22"/>
    <p:sldId id="556" r:id="rId23"/>
    <p:sldId id="557" r:id="rId24"/>
  </p:sldIdLst>
  <p:sldSz cx="9144000" cy="6858000" type="screen4x3"/>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8585"/>
    <a:srgbClr val="FF6161"/>
    <a:srgbClr val="C65AB7"/>
    <a:srgbClr val="2AA9A6"/>
    <a:srgbClr val="33CCCC"/>
    <a:srgbClr val="FFFFCC"/>
    <a:srgbClr val="FFFF99"/>
    <a:srgbClr val="FF4747"/>
    <a:srgbClr val="006600"/>
    <a:srgbClr val="87A9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8" autoAdjust="0"/>
    <p:restoredTop sz="94671" autoAdjust="0"/>
  </p:normalViewPr>
  <p:slideViewPr>
    <p:cSldViewPr>
      <p:cViewPr varScale="1">
        <p:scale>
          <a:sx n="70" d="100"/>
          <a:sy n="70" d="100"/>
        </p:scale>
        <p:origin x="-1386" y="-90"/>
      </p:cViewPr>
      <p:guideLst>
        <p:guide orient="horz" pos="73"/>
        <p:guide orient="horz" pos="4201"/>
        <p:guide pos="22"/>
        <p:guide pos="5738"/>
      </p:guideLst>
    </p:cSldViewPr>
  </p:slideViewPr>
  <p:notesTextViewPr>
    <p:cViewPr>
      <p:scale>
        <a:sx n="100" d="100"/>
        <a:sy n="100" d="100"/>
      </p:scale>
      <p:origin x="0" y="0"/>
    </p:cViewPr>
  </p:notesTextViewPr>
  <p:sorterViewPr>
    <p:cViewPr>
      <p:scale>
        <a:sx n="100" d="100"/>
        <a:sy n="100" d="100"/>
      </p:scale>
      <p:origin x="0" y="380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B25C3CF-8485-4035-8CC9-ED08F02320D0}" type="datetimeFigureOut">
              <a:rPr lang="en-US" smtClean="0"/>
              <a:t>3/29/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8749669-D091-4BE4-8493-D417B3B87C71}" type="slidenum">
              <a:rPr lang="en-US" smtClean="0"/>
              <a:t>‹#›</a:t>
            </a:fld>
            <a:endParaRPr lang="en-US"/>
          </a:p>
        </p:txBody>
      </p:sp>
    </p:spTree>
    <p:extLst>
      <p:ext uri="{BB962C8B-B14F-4D97-AF65-F5344CB8AC3E}">
        <p14:creationId xmlns:p14="http://schemas.microsoft.com/office/powerpoint/2010/main" val="4179132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1</a:t>
            </a:fld>
            <a:endParaRPr lang="en-US"/>
          </a:p>
        </p:txBody>
      </p:sp>
    </p:spTree>
    <p:extLst>
      <p:ext uri="{BB962C8B-B14F-4D97-AF65-F5344CB8AC3E}">
        <p14:creationId xmlns:p14="http://schemas.microsoft.com/office/powerpoint/2010/main" val="12649124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10</a:t>
            </a:fld>
            <a:endParaRPr lang="en-US"/>
          </a:p>
        </p:txBody>
      </p:sp>
    </p:spTree>
    <p:extLst>
      <p:ext uri="{BB962C8B-B14F-4D97-AF65-F5344CB8AC3E}">
        <p14:creationId xmlns:p14="http://schemas.microsoft.com/office/powerpoint/2010/main" val="39314764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11</a:t>
            </a:fld>
            <a:endParaRPr lang="en-US"/>
          </a:p>
        </p:txBody>
      </p:sp>
    </p:spTree>
    <p:extLst>
      <p:ext uri="{BB962C8B-B14F-4D97-AF65-F5344CB8AC3E}">
        <p14:creationId xmlns:p14="http://schemas.microsoft.com/office/powerpoint/2010/main" val="5892796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12</a:t>
            </a:fld>
            <a:endParaRPr lang="en-US"/>
          </a:p>
        </p:txBody>
      </p:sp>
    </p:spTree>
    <p:extLst>
      <p:ext uri="{BB962C8B-B14F-4D97-AF65-F5344CB8AC3E}">
        <p14:creationId xmlns:p14="http://schemas.microsoft.com/office/powerpoint/2010/main" val="21396330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13</a:t>
            </a:fld>
            <a:endParaRPr lang="en-US"/>
          </a:p>
        </p:txBody>
      </p:sp>
    </p:spTree>
    <p:extLst>
      <p:ext uri="{BB962C8B-B14F-4D97-AF65-F5344CB8AC3E}">
        <p14:creationId xmlns:p14="http://schemas.microsoft.com/office/powerpoint/2010/main" val="4792813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14</a:t>
            </a:fld>
            <a:endParaRPr lang="en-US"/>
          </a:p>
        </p:txBody>
      </p:sp>
    </p:spTree>
    <p:extLst>
      <p:ext uri="{BB962C8B-B14F-4D97-AF65-F5344CB8AC3E}">
        <p14:creationId xmlns:p14="http://schemas.microsoft.com/office/powerpoint/2010/main" val="31058717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15</a:t>
            </a:fld>
            <a:endParaRPr lang="en-US"/>
          </a:p>
        </p:txBody>
      </p:sp>
    </p:spTree>
    <p:extLst>
      <p:ext uri="{BB962C8B-B14F-4D97-AF65-F5344CB8AC3E}">
        <p14:creationId xmlns:p14="http://schemas.microsoft.com/office/powerpoint/2010/main" val="4355299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16</a:t>
            </a:fld>
            <a:endParaRPr lang="en-US"/>
          </a:p>
        </p:txBody>
      </p:sp>
    </p:spTree>
    <p:extLst>
      <p:ext uri="{BB962C8B-B14F-4D97-AF65-F5344CB8AC3E}">
        <p14:creationId xmlns:p14="http://schemas.microsoft.com/office/powerpoint/2010/main" val="8465535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17</a:t>
            </a:fld>
            <a:endParaRPr lang="en-US"/>
          </a:p>
        </p:txBody>
      </p:sp>
    </p:spTree>
    <p:extLst>
      <p:ext uri="{BB962C8B-B14F-4D97-AF65-F5344CB8AC3E}">
        <p14:creationId xmlns:p14="http://schemas.microsoft.com/office/powerpoint/2010/main" val="30938839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18</a:t>
            </a:fld>
            <a:endParaRPr lang="en-US"/>
          </a:p>
        </p:txBody>
      </p:sp>
    </p:spTree>
    <p:extLst>
      <p:ext uri="{BB962C8B-B14F-4D97-AF65-F5344CB8AC3E}">
        <p14:creationId xmlns:p14="http://schemas.microsoft.com/office/powerpoint/2010/main" val="42615333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19</a:t>
            </a:fld>
            <a:endParaRPr lang="en-US"/>
          </a:p>
        </p:txBody>
      </p:sp>
    </p:spTree>
    <p:extLst>
      <p:ext uri="{BB962C8B-B14F-4D97-AF65-F5344CB8AC3E}">
        <p14:creationId xmlns:p14="http://schemas.microsoft.com/office/powerpoint/2010/main" val="3641337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2</a:t>
            </a:fld>
            <a:endParaRPr lang="en-US"/>
          </a:p>
        </p:txBody>
      </p:sp>
    </p:spTree>
    <p:extLst>
      <p:ext uri="{BB962C8B-B14F-4D97-AF65-F5344CB8AC3E}">
        <p14:creationId xmlns:p14="http://schemas.microsoft.com/office/powerpoint/2010/main" val="2779864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20</a:t>
            </a:fld>
            <a:endParaRPr lang="en-US"/>
          </a:p>
        </p:txBody>
      </p:sp>
    </p:spTree>
    <p:extLst>
      <p:ext uri="{BB962C8B-B14F-4D97-AF65-F5344CB8AC3E}">
        <p14:creationId xmlns:p14="http://schemas.microsoft.com/office/powerpoint/2010/main" val="8669368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21</a:t>
            </a:fld>
            <a:endParaRPr lang="en-US"/>
          </a:p>
        </p:txBody>
      </p:sp>
    </p:spTree>
    <p:extLst>
      <p:ext uri="{BB962C8B-B14F-4D97-AF65-F5344CB8AC3E}">
        <p14:creationId xmlns:p14="http://schemas.microsoft.com/office/powerpoint/2010/main" val="32413069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2A79FDD-73DA-4947-A8C4-E7A4BAC9578E}" type="slidenum">
              <a:rPr lang="en-IN" smtClean="0">
                <a:solidFill>
                  <a:prstClr val="black"/>
                </a:solidFill>
              </a:rPr>
              <a:pPr/>
              <a:t>22</a:t>
            </a:fld>
            <a:endParaRPr lang="en-IN">
              <a:solidFill>
                <a:prstClr val="black"/>
              </a:solidFill>
            </a:endParaRPr>
          </a:p>
        </p:txBody>
      </p:sp>
    </p:spTree>
    <p:extLst>
      <p:ext uri="{BB962C8B-B14F-4D97-AF65-F5344CB8AC3E}">
        <p14:creationId xmlns:p14="http://schemas.microsoft.com/office/powerpoint/2010/main" val="40668700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3</a:t>
            </a:fld>
            <a:endParaRPr lang="en-US"/>
          </a:p>
        </p:txBody>
      </p:sp>
    </p:spTree>
    <p:extLst>
      <p:ext uri="{BB962C8B-B14F-4D97-AF65-F5344CB8AC3E}">
        <p14:creationId xmlns:p14="http://schemas.microsoft.com/office/powerpoint/2010/main" val="19882294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4</a:t>
            </a:fld>
            <a:endParaRPr lang="en-US"/>
          </a:p>
        </p:txBody>
      </p:sp>
    </p:spTree>
    <p:extLst>
      <p:ext uri="{BB962C8B-B14F-4D97-AF65-F5344CB8AC3E}">
        <p14:creationId xmlns:p14="http://schemas.microsoft.com/office/powerpoint/2010/main" val="4697460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5</a:t>
            </a:fld>
            <a:endParaRPr lang="en-US"/>
          </a:p>
        </p:txBody>
      </p:sp>
    </p:spTree>
    <p:extLst>
      <p:ext uri="{BB962C8B-B14F-4D97-AF65-F5344CB8AC3E}">
        <p14:creationId xmlns:p14="http://schemas.microsoft.com/office/powerpoint/2010/main" val="5646665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6</a:t>
            </a:fld>
            <a:endParaRPr lang="en-US"/>
          </a:p>
        </p:txBody>
      </p:sp>
    </p:spTree>
    <p:extLst>
      <p:ext uri="{BB962C8B-B14F-4D97-AF65-F5344CB8AC3E}">
        <p14:creationId xmlns:p14="http://schemas.microsoft.com/office/powerpoint/2010/main" val="12095042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7</a:t>
            </a:fld>
            <a:endParaRPr lang="en-US"/>
          </a:p>
        </p:txBody>
      </p:sp>
    </p:spTree>
    <p:extLst>
      <p:ext uri="{BB962C8B-B14F-4D97-AF65-F5344CB8AC3E}">
        <p14:creationId xmlns:p14="http://schemas.microsoft.com/office/powerpoint/2010/main" val="17718496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8</a:t>
            </a:fld>
            <a:endParaRPr lang="en-US"/>
          </a:p>
        </p:txBody>
      </p:sp>
    </p:spTree>
    <p:extLst>
      <p:ext uri="{BB962C8B-B14F-4D97-AF65-F5344CB8AC3E}">
        <p14:creationId xmlns:p14="http://schemas.microsoft.com/office/powerpoint/2010/main" val="12116326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8749669-D091-4BE4-8493-D417B3B87C71}" type="slidenum">
              <a:rPr lang="en-US" smtClean="0"/>
              <a:t>9</a:t>
            </a:fld>
            <a:endParaRPr lang="en-US"/>
          </a:p>
        </p:txBody>
      </p:sp>
    </p:spTree>
    <p:extLst>
      <p:ext uri="{BB962C8B-B14F-4D97-AF65-F5344CB8AC3E}">
        <p14:creationId xmlns:p14="http://schemas.microsoft.com/office/powerpoint/2010/main" val="16134361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147E8C4B-6523-464C-BF9C-6D71D129DD3C}" type="datetime1">
              <a:rPr lang="en-IN" smtClean="0"/>
              <a:t>29-03-201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9FAF8221-54AE-468B-ACA3-6045652A01D5}" type="slidenum">
              <a:rPr lang="en-IN" smtClean="0"/>
              <a:pPr/>
              <a:t>‹#›</a:t>
            </a:fld>
            <a:endParaRPr lang="en-IN"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FBEF1E78-99A6-41C2-8939-6BAC51D41C65}" type="datetime1">
              <a:rPr lang="en-IN" smtClean="0"/>
              <a:t>29-03-201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9FAF8221-54AE-468B-ACA3-6045652A01D5}" type="slidenum">
              <a:rPr lang="en-IN" smtClean="0"/>
              <a:pPr/>
              <a:t>‹#›</a:t>
            </a:fld>
            <a:endParaRPr lang="en-IN"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6DF4FDBB-96F9-4094-9731-135D5924EF31}" type="datetime1">
              <a:rPr lang="en-IN" smtClean="0"/>
              <a:t>29-03-201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9FAF8221-54AE-468B-ACA3-6045652A01D5}" type="slidenum">
              <a:rPr lang="en-IN" smtClean="0"/>
              <a:pPr/>
              <a:t>‹#›</a:t>
            </a:fld>
            <a:endParaRPr lang="en-IN"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D576B0C8-A901-462E-9776-4F57FA00B2CF}" type="datetime1">
              <a:rPr lang="en-IN" smtClean="0">
                <a:solidFill>
                  <a:prstClr val="black">
                    <a:tint val="75000"/>
                  </a:prstClr>
                </a:solidFill>
              </a:rPr>
              <a:pPr/>
              <a:t>29-03-2014</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35473716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B6824306-DC1F-4341-97B2-F6A695BB231C}" type="datetime1">
              <a:rPr lang="en-IN" smtClean="0">
                <a:solidFill>
                  <a:prstClr val="black">
                    <a:tint val="75000"/>
                  </a:prstClr>
                </a:solidFill>
              </a:rPr>
              <a:pPr/>
              <a:t>29-03-2014</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7774625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E68095D-385E-4795-873C-7EA6DC69279A}" type="datetime1">
              <a:rPr lang="en-IN" smtClean="0">
                <a:solidFill>
                  <a:prstClr val="black">
                    <a:tint val="75000"/>
                  </a:prstClr>
                </a:solidFill>
              </a:rPr>
              <a:pPr/>
              <a:t>29-03-2014</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10299843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882A74D2-1A88-4CA4-9FA7-A697C41F9F78}" type="datetime1">
              <a:rPr lang="en-IN" smtClean="0">
                <a:solidFill>
                  <a:prstClr val="black">
                    <a:tint val="75000"/>
                  </a:prstClr>
                </a:solidFill>
              </a:rPr>
              <a:pPr/>
              <a:t>29-03-2014</a:t>
            </a:fld>
            <a:endParaRPr lang="en-IN"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IN"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484003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EFB20AC8-5400-44C6-B8F2-E92AA129DC43}" type="datetime1">
              <a:rPr lang="en-IN" smtClean="0">
                <a:solidFill>
                  <a:prstClr val="black">
                    <a:tint val="75000"/>
                  </a:prstClr>
                </a:solidFill>
              </a:rPr>
              <a:pPr/>
              <a:t>29-03-2014</a:t>
            </a:fld>
            <a:endParaRPr lang="en-IN"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IN"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29450618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36A53807-4D85-4275-8F2C-B7B7C29F3664}" type="datetime1">
              <a:rPr lang="en-IN" smtClean="0">
                <a:solidFill>
                  <a:prstClr val="black">
                    <a:tint val="75000"/>
                  </a:prstClr>
                </a:solidFill>
              </a:rPr>
              <a:pPr/>
              <a:t>29-03-2014</a:t>
            </a:fld>
            <a:endParaRPr lang="en-IN"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IN"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37514100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0" y="6592267"/>
            <a:ext cx="2133600" cy="365125"/>
          </a:xfrm>
        </p:spPr>
        <p:txBody>
          <a:bodyPr/>
          <a:lstStyle/>
          <a:p>
            <a:fld id="{99AF2952-80D6-45EE-A9B6-CB4647AE968C}" type="datetime1">
              <a:rPr lang="en-IN" smtClean="0">
                <a:solidFill>
                  <a:prstClr val="black">
                    <a:tint val="75000"/>
                  </a:prstClr>
                </a:solidFill>
              </a:rPr>
              <a:pPr/>
              <a:t>29-03-2014</a:t>
            </a:fld>
            <a:endParaRPr lang="en-IN" dirty="0">
              <a:solidFill>
                <a:prstClr val="black">
                  <a:tint val="75000"/>
                </a:prstClr>
              </a:solidFill>
            </a:endParaRPr>
          </a:p>
        </p:txBody>
      </p:sp>
      <p:sp>
        <p:nvSpPr>
          <p:cNvPr id="3" name="Footer Placeholder 2"/>
          <p:cNvSpPr>
            <a:spLocks noGrp="1"/>
          </p:cNvSpPr>
          <p:nvPr>
            <p:ph type="ftr" sz="quarter" idx="11"/>
          </p:nvPr>
        </p:nvSpPr>
        <p:spPr>
          <a:xfrm>
            <a:off x="2753798" y="6592267"/>
            <a:ext cx="3636404" cy="365125"/>
          </a:xfrm>
        </p:spPr>
        <p:txBody>
          <a:bodyPr/>
          <a:lstStyle>
            <a:lvl1pPr algn="l">
              <a:defRPr/>
            </a:lvl1pPr>
          </a:lstStyle>
          <a:p>
            <a:endParaRPr lang="en-IN" dirty="0">
              <a:solidFill>
                <a:prstClr val="black">
                  <a:tint val="75000"/>
                </a:prstClr>
              </a:solidFill>
            </a:endParaRPr>
          </a:p>
        </p:txBody>
      </p:sp>
      <p:sp>
        <p:nvSpPr>
          <p:cNvPr id="4" name="Slide Number Placeholder 3"/>
          <p:cNvSpPr>
            <a:spLocks noGrp="1"/>
          </p:cNvSpPr>
          <p:nvPr>
            <p:ph type="sldNum" sz="quarter" idx="12"/>
          </p:nvPr>
        </p:nvSpPr>
        <p:spPr>
          <a:xfrm>
            <a:off x="7010400" y="6592267"/>
            <a:ext cx="2133600" cy="365125"/>
          </a:xfrm>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372425476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D8D6933-FBFC-4606-93FC-289EF9F226EE}" type="datetime1">
              <a:rPr lang="en-IN" smtClean="0">
                <a:solidFill>
                  <a:prstClr val="black">
                    <a:tint val="75000"/>
                  </a:prstClr>
                </a:solidFill>
              </a:rPr>
              <a:pPr/>
              <a:t>29-03-2014</a:t>
            </a:fld>
            <a:endParaRPr lang="en-IN"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IN"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21031837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20C42E5E-F8D8-4DF0-8299-2150CCEAF9FF}" type="datetime1">
              <a:rPr lang="en-IN" smtClean="0"/>
              <a:t>29-03-201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9FAF8221-54AE-468B-ACA3-6045652A01D5}" type="slidenum">
              <a:rPr lang="en-IN" smtClean="0"/>
              <a:pPr/>
              <a:t>‹#›</a:t>
            </a:fld>
            <a:endParaRPr lang="en-IN"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FAAA45C-F2AF-4086-93EB-76464083F75F}" type="datetime1">
              <a:rPr lang="en-IN" smtClean="0">
                <a:solidFill>
                  <a:prstClr val="black">
                    <a:tint val="75000"/>
                  </a:prstClr>
                </a:solidFill>
              </a:rPr>
              <a:pPr/>
              <a:t>29-03-2014</a:t>
            </a:fld>
            <a:endParaRPr lang="en-IN"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IN"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5386194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55B2AB9C-4AB4-4794-8CCD-B4D47726B2B0}" type="datetime1">
              <a:rPr lang="en-IN" smtClean="0">
                <a:solidFill>
                  <a:prstClr val="black">
                    <a:tint val="75000"/>
                  </a:prstClr>
                </a:solidFill>
              </a:rPr>
              <a:pPr/>
              <a:t>29-03-2014</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23594600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09F18D7A-54D1-4414-8CBA-CDD0FB3D7B35}" type="datetime1">
              <a:rPr lang="en-IN" smtClean="0">
                <a:solidFill>
                  <a:prstClr val="black">
                    <a:tint val="75000"/>
                  </a:prstClr>
                </a:solidFill>
              </a:rPr>
              <a:pPr/>
              <a:t>29-03-2014</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12436316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E4F94F7-0C41-4A1F-B989-D0D387A657A9}" type="datetime1">
              <a:rPr lang="en-IN" smtClean="0"/>
              <a:t>29-03-201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9FAF8221-54AE-468B-ACA3-6045652A01D5}" type="slidenum">
              <a:rPr lang="en-IN" smtClean="0"/>
              <a:pPr/>
              <a:t>‹#›</a:t>
            </a:fld>
            <a:endParaRPr lang="en-I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2A9FF237-A817-4175-96F5-DFC6052FA36A}" type="datetime1">
              <a:rPr lang="en-IN" smtClean="0"/>
              <a:t>29-03-2014</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9FAF8221-54AE-468B-ACA3-6045652A01D5}" type="slidenum">
              <a:rPr lang="en-IN" smtClean="0"/>
              <a:pPr/>
              <a:t>‹#›</a:t>
            </a:fld>
            <a:endParaRPr lang="en-IN"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FB5C84BD-7FFD-4A41-950C-EC4B0CBC63F0}" type="datetime1">
              <a:rPr lang="en-IN" smtClean="0"/>
              <a:t>29-03-2014</a:t>
            </a:fld>
            <a:endParaRPr lang="en-IN" dirty="0"/>
          </a:p>
        </p:txBody>
      </p:sp>
      <p:sp>
        <p:nvSpPr>
          <p:cNvPr id="8" name="Footer Placeholder 7"/>
          <p:cNvSpPr>
            <a:spLocks noGrp="1"/>
          </p:cNvSpPr>
          <p:nvPr>
            <p:ph type="ftr" sz="quarter" idx="11"/>
          </p:nvPr>
        </p:nvSpPr>
        <p:spPr/>
        <p:txBody>
          <a:bodyPr/>
          <a:lstStyle/>
          <a:p>
            <a:endParaRPr lang="en-IN" dirty="0"/>
          </a:p>
        </p:txBody>
      </p:sp>
      <p:sp>
        <p:nvSpPr>
          <p:cNvPr id="9" name="Slide Number Placeholder 8"/>
          <p:cNvSpPr>
            <a:spLocks noGrp="1"/>
          </p:cNvSpPr>
          <p:nvPr>
            <p:ph type="sldNum" sz="quarter" idx="12"/>
          </p:nvPr>
        </p:nvSpPr>
        <p:spPr/>
        <p:txBody>
          <a:bodyPr/>
          <a:lstStyle/>
          <a:p>
            <a:fld id="{9FAF8221-54AE-468B-ACA3-6045652A01D5}" type="slidenum">
              <a:rPr lang="en-IN" smtClean="0"/>
              <a:pPr/>
              <a:t>‹#›</a:t>
            </a:fld>
            <a:endParaRPr lang="en-IN"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4F52F40D-5E06-47CB-B6FE-88124189A653}" type="datetime1">
              <a:rPr lang="en-IN" smtClean="0"/>
              <a:t>29-03-2014</a:t>
            </a:fld>
            <a:endParaRPr lang="en-IN" dirty="0"/>
          </a:p>
        </p:txBody>
      </p:sp>
      <p:sp>
        <p:nvSpPr>
          <p:cNvPr id="4" name="Footer Placeholder 3"/>
          <p:cNvSpPr>
            <a:spLocks noGrp="1"/>
          </p:cNvSpPr>
          <p:nvPr>
            <p:ph type="ftr" sz="quarter" idx="11"/>
          </p:nvPr>
        </p:nvSpPr>
        <p:spPr/>
        <p:txBody>
          <a:bodyPr/>
          <a:lstStyle/>
          <a:p>
            <a:endParaRPr lang="en-IN" dirty="0"/>
          </a:p>
        </p:txBody>
      </p:sp>
      <p:sp>
        <p:nvSpPr>
          <p:cNvPr id="5" name="Slide Number Placeholder 4"/>
          <p:cNvSpPr>
            <a:spLocks noGrp="1"/>
          </p:cNvSpPr>
          <p:nvPr>
            <p:ph type="sldNum" sz="quarter" idx="12"/>
          </p:nvPr>
        </p:nvSpPr>
        <p:spPr/>
        <p:txBody>
          <a:bodyPr/>
          <a:lstStyle/>
          <a:p>
            <a:fld id="{9FAF8221-54AE-468B-ACA3-6045652A01D5}" type="slidenum">
              <a:rPr lang="en-IN" smtClean="0"/>
              <a:pPr/>
              <a:t>‹#›</a:t>
            </a:fld>
            <a:endParaRPr lang="en-IN"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44A8EDA-A96C-4890-99D1-5AED473AB6DB}" type="datetime1">
              <a:rPr lang="en-IN" smtClean="0"/>
              <a:t>29-03-2014</a:t>
            </a:fld>
            <a:endParaRPr lang="en-IN" dirty="0"/>
          </a:p>
        </p:txBody>
      </p:sp>
      <p:sp>
        <p:nvSpPr>
          <p:cNvPr id="3" name="Footer Placeholder 2"/>
          <p:cNvSpPr>
            <a:spLocks noGrp="1"/>
          </p:cNvSpPr>
          <p:nvPr>
            <p:ph type="ftr" sz="quarter" idx="11"/>
          </p:nvPr>
        </p:nvSpPr>
        <p:spPr>
          <a:xfrm>
            <a:off x="2843808" y="6592267"/>
            <a:ext cx="3528392" cy="365125"/>
          </a:xfrm>
        </p:spPr>
        <p:txBody>
          <a:bodyPr/>
          <a:lstStyle>
            <a:lvl1pPr>
              <a:defRPr>
                <a:solidFill>
                  <a:schemeClr val="tx1">
                    <a:lumMod val="75000"/>
                    <a:lumOff val="25000"/>
                  </a:schemeClr>
                </a:solidFill>
              </a:defRPr>
            </a:lvl1pPr>
          </a:lstStyle>
          <a:p>
            <a:endParaRPr lang="en-IN" dirty="0"/>
          </a:p>
        </p:txBody>
      </p:sp>
      <p:sp>
        <p:nvSpPr>
          <p:cNvPr id="4" name="Slide Number Placeholder 3"/>
          <p:cNvSpPr>
            <a:spLocks noGrp="1"/>
          </p:cNvSpPr>
          <p:nvPr>
            <p:ph type="sldNum" sz="quarter" idx="12"/>
          </p:nvPr>
        </p:nvSpPr>
        <p:spPr/>
        <p:txBody>
          <a:bodyPr/>
          <a:lstStyle/>
          <a:p>
            <a:fld id="{9FAF8221-54AE-468B-ACA3-6045652A01D5}" type="slidenum">
              <a:rPr lang="en-IN" smtClean="0"/>
              <a:pPr/>
              <a:t>‹#›</a:t>
            </a:fld>
            <a:endParaRPr lang="en-IN"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7B9459D-AEBC-47DE-B682-AB26E500795F}" type="datetime1">
              <a:rPr lang="en-IN" smtClean="0"/>
              <a:t>29-03-2014</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9FAF8221-54AE-468B-ACA3-6045652A01D5}" type="slidenum">
              <a:rPr lang="en-IN" smtClean="0"/>
              <a:pPr/>
              <a:t>‹#›</a:t>
            </a:fld>
            <a:endParaRPr lang="en-IN"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8EFB66A-300D-4D6D-8630-2BA5CEDAD43B}" type="datetime1">
              <a:rPr lang="en-IN" smtClean="0"/>
              <a:t>29-03-2014</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9FAF8221-54AE-468B-ACA3-6045652A01D5}" type="slidenum">
              <a:rPr lang="en-IN" smtClean="0"/>
              <a:pPr/>
              <a:t>‹#›</a:t>
            </a:fld>
            <a:endParaRPr lang="en-IN"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AA850D2-618E-471B-9A55-5F32D9C4F38B}" type="datetime1">
              <a:rPr lang="en-IN" smtClean="0"/>
              <a:t>29-03-2014</a:t>
            </a:fld>
            <a:endParaRPr lang="en-IN"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AF8221-54AE-468B-ACA3-6045652A01D5}" type="slidenum">
              <a:rPr lang="en-IN" smtClean="0"/>
              <a:pPr/>
              <a:t>‹#›</a:t>
            </a:fld>
            <a:endParaRPr lang="en-IN"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DD80D25-F2C9-4BFD-A2FE-CD3181EF9C92}" type="datetime1">
              <a:rPr lang="en-IN" smtClean="0">
                <a:solidFill>
                  <a:prstClr val="black">
                    <a:tint val="75000"/>
                  </a:prstClr>
                </a:solidFill>
                <a:ea typeface="ＭＳ Ｐゴシック" pitchFamily="34" charset="-128"/>
                <a:cs typeface="Arial" pitchFamily="34" charset="0"/>
              </a:rPr>
              <a:pPr/>
              <a:t>29-03-2014</a:t>
            </a:fld>
            <a:endParaRPr lang="en-IN" dirty="0">
              <a:solidFill>
                <a:prstClr val="black">
                  <a:tint val="75000"/>
                </a:prstClr>
              </a:solidFill>
              <a:ea typeface="ＭＳ Ｐゴシック" pitchFamily="34" charset="-128"/>
              <a:cs typeface="Arial" pitchFamily="34" charset="0"/>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solidFill>
                <a:prstClr val="black">
                  <a:tint val="75000"/>
                </a:prstClr>
              </a:solidFill>
              <a:ea typeface="ＭＳ Ｐゴシック" pitchFamily="34" charset="-128"/>
              <a:cs typeface="Arial" pitchFamily="34" charset="0"/>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A1629D-0105-4F47-B0DE-ACF145F9EA9B}" type="slidenum">
              <a:rPr lang="en-IN" smtClean="0">
                <a:solidFill>
                  <a:prstClr val="black">
                    <a:tint val="75000"/>
                  </a:prstClr>
                </a:solidFill>
                <a:ea typeface="ＭＳ Ｐゴシック" pitchFamily="34" charset="-128"/>
                <a:cs typeface="Arial" pitchFamily="34" charset="0"/>
              </a:rPr>
              <a:pPr/>
              <a:t>‹#›</a:t>
            </a:fld>
            <a:endParaRPr lang="en-IN" dirty="0">
              <a:solidFill>
                <a:prstClr val="black">
                  <a:tint val="75000"/>
                </a:prstClr>
              </a:solidFill>
              <a:ea typeface="ＭＳ Ｐゴシック" pitchFamily="34" charset="-128"/>
              <a:cs typeface="Arial" pitchFamily="34" charset="0"/>
            </a:endParaRPr>
          </a:p>
        </p:txBody>
      </p:sp>
    </p:spTree>
    <p:extLst>
      <p:ext uri="{BB962C8B-B14F-4D97-AF65-F5344CB8AC3E}">
        <p14:creationId xmlns:p14="http://schemas.microsoft.com/office/powerpoint/2010/main" val="22089701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notesSlide" Target="../notesSlides/notesSlide1.xml"/><Relationship Id="rId7" Type="http://schemas.openxmlformats.org/officeDocument/2006/relationships/image" Target="../media/image4.jpeg"/><Relationship Id="rId12" Type="http://schemas.openxmlformats.org/officeDocument/2006/relationships/image" Target="../media/image9.jpe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3.jpeg"/><Relationship Id="rId11" Type="http://schemas.openxmlformats.org/officeDocument/2006/relationships/image" Target="../media/image8.jpeg"/><Relationship Id="rId5" Type="http://schemas.openxmlformats.org/officeDocument/2006/relationships/image" Target="../media/image2.jpeg"/><Relationship Id="rId10" Type="http://schemas.openxmlformats.org/officeDocument/2006/relationships/image" Target="../media/image7.jpeg"/><Relationship Id="rId4" Type="http://schemas.openxmlformats.org/officeDocument/2006/relationships/image" Target="../media/image1.jpeg"/><Relationship Id="rId9" Type="http://schemas.openxmlformats.org/officeDocument/2006/relationships/image" Target="../media/image6.jpeg"/></Relationships>
</file>

<file path=ppt/slides/_rels/slide10.xml.rels><?xml version="1.0" encoding="UTF-8" standalone="yes"?>
<Relationships xmlns="http://schemas.openxmlformats.org/package/2006/relationships"><Relationship Id="rId8" Type="http://schemas.openxmlformats.org/officeDocument/2006/relationships/image" Target="../media/image4.jpeg"/><Relationship Id="rId13" Type="http://schemas.openxmlformats.org/officeDocument/2006/relationships/image" Target="../media/image9.jpeg"/><Relationship Id="rId3" Type="http://schemas.openxmlformats.org/officeDocument/2006/relationships/notesSlide" Target="../notesSlides/notesSlide10.xml"/><Relationship Id="rId7" Type="http://schemas.openxmlformats.org/officeDocument/2006/relationships/image" Target="../media/image3.jpeg"/><Relationship Id="rId12" Type="http://schemas.openxmlformats.org/officeDocument/2006/relationships/image" Target="../media/image8.jpeg"/><Relationship Id="rId17" Type="http://schemas.openxmlformats.org/officeDocument/2006/relationships/image" Target="../media/image26.jpeg"/><Relationship Id="rId2" Type="http://schemas.openxmlformats.org/officeDocument/2006/relationships/slideLayout" Target="../slideLayouts/slideLayout7.xml"/><Relationship Id="rId16" Type="http://schemas.openxmlformats.org/officeDocument/2006/relationships/image" Target="../media/image15.jpeg"/><Relationship Id="rId1" Type="http://schemas.openxmlformats.org/officeDocument/2006/relationships/tags" Target="../tags/tag11.xml"/><Relationship Id="rId6" Type="http://schemas.openxmlformats.org/officeDocument/2006/relationships/image" Target="../media/image2.jpeg"/><Relationship Id="rId11" Type="http://schemas.openxmlformats.org/officeDocument/2006/relationships/image" Target="../media/image7.jpeg"/><Relationship Id="rId5" Type="http://schemas.openxmlformats.org/officeDocument/2006/relationships/image" Target="../media/image1.jpeg"/><Relationship Id="rId15" Type="http://schemas.openxmlformats.org/officeDocument/2006/relationships/image" Target="../media/image14.png"/><Relationship Id="rId10" Type="http://schemas.openxmlformats.org/officeDocument/2006/relationships/image" Target="../media/image6.jpeg"/><Relationship Id="rId4" Type="http://schemas.openxmlformats.org/officeDocument/2006/relationships/image" Target="../media/image12.jpeg"/><Relationship Id="rId9" Type="http://schemas.openxmlformats.org/officeDocument/2006/relationships/image" Target="../media/image5.jpeg"/><Relationship Id="rId14" Type="http://schemas.openxmlformats.org/officeDocument/2006/relationships/image" Target="../media/image13.jpeg"/></Relationships>
</file>

<file path=ppt/slides/_rels/slide11.xml.rels><?xml version="1.0" encoding="UTF-8" standalone="yes"?>
<Relationships xmlns="http://schemas.openxmlformats.org/package/2006/relationships"><Relationship Id="rId8" Type="http://schemas.openxmlformats.org/officeDocument/2006/relationships/image" Target="../media/image4.jpeg"/><Relationship Id="rId13" Type="http://schemas.openxmlformats.org/officeDocument/2006/relationships/image" Target="../media/image9.jpeg"/><Relationship Id="rId3" Type="http://schemas.openxmlformats.org/officeDocument/2006/relationships/notesSlide" Target="../notesSlides/notesSlide11.xml"/><Relationship Id="rId7" Type="http://schemas.openxmlformats.org/officeDocument/2006/relationships/image" Target="../media/image3.jpeg"/><Relationship Id="rId12" Type="http://schemas.openxmlformats.org/officeDocument/2006/relationships/image" Target="../media/image8.jpeg"/><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2.jpeg"/><Relationship Id="rId11" Type="http://schemas.openxmlformats.org/officeDocument/2006/relationships/image" Target="../media/image7.jpeg"/><Relationship Id="rId5" Type="http://schemas.openxmlformats.org/officeDocument/2006/relationships/image" Target="../media/image1.jpeg"/><Relationship Id="rId10" Type="http://schemas.openxmlformats.org/officeDocument/2006/relationships/image" Target="../media/image6.jpeg"/><Relationship Id="rId4" Type="http://schemas.openxmlformats.org/officeDocument/2006/relationships/image" Target="../media/image27.jpeg"/><Relationship Id="rId9" Type="http://schemas.openxmlformats.org/officeDocument/2006/relationships/image" Target="../media/image5.jpeg"/><Relationship Id="rId14" Type="http://schemas.openxmlformats.org/officeDocument/2006/relationships/image" Target="../media/image28.jpeg"/></Relationships>
</file>

<file path=ppt/slides/_rels/slide12.xml.rels><?xml version="1.0" encoding="UTF-8" standalone="yes"?>
<Relationships xmlns="http://schemas.openxmlformats.org/package/2006/relationships"><Relationship Id="rId8" Type="http://schemas.openxmlformats.org/officeDocument/2006/relationships/image" Target="../media/image1.jpeg"/><Relationship Id="rId13" Type="http://schemas.openxmlformats.org/officeDocument/2006/relationships/image" Target="../media/image6.jpeg"/><Relationship Id="rId3" Type="http://schemas.openxmlformats.org/officeDocument/2006/relationships/tags" Target="../tags/tag14.xml"/><Relationship Id="rId7" Type="http://schemas.openxmlformats.org/officeDocument/2006/relationships/image" Target="../media/image29.emf"/><Relationship Id="rId12" Type="http://schemas.openxmlformats.org/officeDocument/2006/relationships/image" Target="../media/image5.jpeg"/><Relationship Id="rId2" Type="http://schemas.openxmlformats.org/officeDocument/2006/relationships/tags" Target="../tags/tag13.xml"/><Relationship Id="rId16" Type="http://schemas.openxmlformats.org/officeDocument/2006/relationships/image" Target="../media/image9.jpeg"/><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4.jpeg"/><Relationship Id="rId5" Type="http://schemas.openxmlformats.org/officeDocument/2006/relationships/notesSlide" Target="../notesSlides/notesSlide12.xml"/><Relationship Id="rId15" Type="http://schemas.openxmlformats.org/officeDocument/2006/relationships/image" Target="../media/image8.jpeg"/><Relationship Id="rId10" Type="http://schemas.openxmlformats.org/officeDocument/2006/relationships/image" Target="../media/image3.jpeg"/><Relationship Id="rId4" Type="http://schemas.openxmlformats.org/officeDocument/2006/relationships/slideLayout" Target="../slideLayouts/slideLayout7.xml"/><Relationship Id="rId9" Type="http://schemas.openxmlformats.org/officeDocument/2006/relationships/image" Target="../media/image2.jpeg"/><Relationship Id="rId14" Type="http://schemas.openxmlformats.org/officeDocument/2006/relationships/image" Target="../media/image7.jpeg"/></Relationships>
</file>

<file path=ppt/slides/_rels/slide13.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notesSlide" Target="../notesSlides/notesSlide13.xml"/><Relationship Id="rId7" Type="http://schemas.openxmlformats.org/officeDocument/2006/relationships/image" Target="../media/image4.jpeg"/><Relationship Id="rId12" Type="http://schemas.openxmlformats.org/officeDocument/2006/relationships/image" Target="../media/image9.jpeg"/><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3.jpeg"/><Relationship Id="rId11" Type="http://schemas.openxmlformats.org/officeDocument/2006/relationships/image" Target="../media/image8.jpeg"/><Relationship Id="rId5" Type="http://schemas.openxmlformats.org/officeDocument/2006/relationships/image" Target="../media/image2.jpeg"/><Relationship Id="rId10" Type="http://schemas.openxmlformats.org/officeDocument/2006/relationships/image" Target="../media/image7.jpeg"/><Relationship Id="rId4" Type="http://schemas.openxmlformats.org/officeDocument/2006/relationships/image" Target="../media/image1.jpeg"/><Relationship Id="rId9" Type="http://schemas.openxmlformats.org/officeDocument/2006/relationships/image" Target="../media/image6.jpeg"/></Relationships>
</file>

<file path=ppt/slides/_rels/slide14.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notesSlide" Target="../notesSlides/notesSlide14.xml"/><Relationship Id="rId7" Type="http://schemas.openxmlformats.org/officeDocument/2006/relationships/image" Target="../media/image4.jpeg"/><Relationship Id="rId12" Type="http://schemas.openxmlformats.org/officeDocument/2006/relationships/image" Target="../media/image9.jpeg"/><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3.jpeg"/><Relationship Id="rId11" Type="http://schemas.openxmlformats.org/officeDocument/2006/relationships/image" Target="../media/image8.jpeg"/><Relationship Id="rId5" Type="http://schemas.openxmlformats.org/officeDocument/2006/relationships/image" Target="../media/image2.jpeg"/><Relationship Id="rId10" Type="http://schemas.openxmlformats.org/officeDocument/2006/relationships/image" Target="../media/image7.jpeg"/><Relationship Id="rId4" Type="http://schemas.openxmlformats.org/officeDocument/2006/relationships/image" Target="../media/image1.jpeg"/><Relationship Id="rId9" Type="http://schemas.openxmlformats.org/officeDocument/2006/relationships/image" Target="../media/image6.jpeg"/></Relationships>
</file>

<file path=ppt/slides/_rels/slide15.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30.jpeg"/><Relationship Id="rId3" Type="http://schemas.openxmlformats.org/officeDocument/2006/relationships/notesSlide" Target="../notesSlides/notesSlide15.xml"/><Relationship Id="rId7" Type="http://schemas.openxmlformats.org/officeDocument/2006/relationships/image" Target="../media/image4.jpeg"/><Relationship Id="rId12" Type="http://schemas.openxmlformats.org/officeDocument/2006/relationships/image" Target="../media/image9.jpeg"/><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3.jpeg"/><Relationship Id="rId11" Type="http://schemas.openxmlformats.org/officeDocument/2006/relationships/image" Target="../media/image8.jpeg"/><Relationship Id="rId5" Type="http://schemas.openxmlformats.org/officeDocument/2006/relationships/image" Target="../media/image2.jpeg"/><Relationship Id="rId10" Type="http://schemas.openxmlformats.org/officeDocument/2006/relationships/image" Target="../media/image7.jpeg"/><Relationship Id="rId4" Type="http://schemas.openxmlformats.org/officeDocument/2006/relationships/image" Target="../media/image1.jpeg"/><Relationship Id="rId9" Type="http://schemas.openxmlformats.org/officeDocument/2006/relationships/image" Target="../media/image6.jpeg"/></Relationships>
</file>

<file path=ppt/slides/_rels/slide16.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31.jpeg"/><Relationship Id="rId3" Type="http://schemas.openxmlformats.org/officeDocument/2006/relationships/notesSlide" Target="../notesSlides/notesSlide16.xml"/><Relationship Id="rId7" Type="http://schemas.openxmlformats.org/officeDocument/2006/relationships/image" Target="../media/image4.jpeg"/><Relationship Id="rId12" Type="http://schemas.openxmlformats.org/officeDocument/2006/relationships/image" Target="../media/image9.jpeg"/><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3.jpeg"/><Relationship Id="rId11" Type="http://schemas.openxmlformats.org/officeDocument/2006/relationships/image" Target="../media/image8.jpeg"/><Relationship Id="rId5" Type="http://schemas.openxmlformats.org/officeDocument/2006/relationships/image" Target="../media/image2.jpeg"/><Relationship Id="rId10" Type="http://schemas.openxmlformats.org/officeDocument/2006/relationships/image" Target="../media/image7.jpeg"/><Relationship Id="rId4" Type="http://schemas.openxmlformats.org/officeDocument/2006/relationships/image" Target="../media/image1.jpeg"/><Relationship Id="rId9" Type="http://schemas.openxmlformats.org/officeDocument/2006/relationships/image" Target="../media/image6.jpeg"/><Relationship Id="rId14" Type="http://schemas.openxmlformats.org/officeDocument/2006/relationships/image" Target="../media/image32.jpeg"/></Relationships>
</file>

<file path=ppt/slides/_rels/slide17.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33.jpeg"/><Relationship Id="rId3" Type="http://schemas.openxmlformats.org/officeDocument/2006/relationships/notesSlide" Target="../notesSlides/notesSlide17.xml"/><Relationship Id="rId7" Type="http://schemas.openxmlformats.org/officeDocument/2006/relationships/image" Target="../media/image4.jpeg"/><Relationship Id="rId12" Type="http://schemas.openxmlformats.org/officeDocument/2006/relationships/image" Target="../media/image9.jpeg"/><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3.jpeg"/><Relationship Id="rId11" Type="http://schemas.openxmlformats.org/officeDocument/2006/relationships/image" Target="../media/image8.jpeg"/><Relationship Id="rId5" Type="http://schemas.openxmlformats.org/officeDocument/2006/relationships/image" Target="../media/image2.jpeg"/><Relationship Id="rId10" Type="http://schemas.openxmlformats.org/officeDocument/2006/relationships/image" Target="../media/image7.jpeg"/><Relationship Id="rId4" Type="http://schemas.openxmlformats.org/officeDocument/2006/relationships/image" Target="../media/image1.jpeg"/><Relationship Id="rId9" Type="http://schemas.openxmlformats.org/officeDocument/2006/relationships/image" Target="../media/image6.jpeg"/></Relationships>
</file>

<file path=ppt/slides/_rels/slide18.xml.rels><?xml version="1.0" encoding="UTF-8" standalone="yes"?>
<Relationships xmlns="http://schemas.openxmlformats.org/package/2006/relationships"><Relationship Id="rId8" Type="http://schemas.openxmlformats.org/officeDocument/2006/relationships/image" Target="../media/image4.jpeg"/><Relationship Id="rId13" Type="http://schemas.openxmlformats.org/officeDocument/2006/relationships/image" Target="../media/image9.jpeg"/><Relationship Id="rId3" Type="http://schemas.openxmlformats.org/officeDocument/2006/relationships/notesSlide" Target="../notesSlides/notesSlide18.xml"/><Relationship Id="rId7" Type="http://schemas.openxmlformats.org/officeDocument/2006/relationships/image" Target="../media/image3.jpeg"/><Relationship Id="rId12" Type="http://schemas.openxmlformats.org/officeDocument/2006/relationships/image" Target="../media/image8.jpeg"/><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2.jpeg"/><Relationship Id="rId11" Type="http://schemas.openxmlformats.org/officeDocument/2006/relationships/image" Target="../media/image7.jpeg"/><Relationship Id="rId5" Type="http://schemas.openxmlformats.org/officeDocument/2006/relationships/image" Target="../media/image1.jpeg"/><Relationship Id="rId10" Type="http://schemas.openxmlformats.org/officeDocument/2006/relationships/image" Target="../media/image6.jpeg"/><Relationship Id="rId4" Type="http://schemas.openxmlformats.org/officeDocument/2006/relationships/image" Target="../media/image34.jpeg"/><Relationship Id="rId9" Type="http://schemas.openxmlformats.org/officeDocument/2006/relationships/image" Target="../media/image5.jpeg"/></Relationships>
</file>

<file path=ppt/slides/_rels/slide19.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35.jpeg"/><Relationship Id="rId3" Type="http://schemas.openxmlformats.org/officeDocument/2006/relationships/notesSlide" Target="../notesSlides/notesSlide19.xml"/><Relationship Id="rId7" Type="http://schemas.openxmlformats.org/officeDocument/2006/relationships/image" Target="../media/image4.jpeg"/><Relationship Id="rId12" Type="http://schemas.openxmlformats.org/officeDocument/2006/relationships/image" Target="../media/image9.jpeg"/><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3.jpeg"/><Relationship Id="rId11" Type="http://schemas.openxmlformats.org/officeDocument/2006/relationships/image" Target="../media/image8.jpeg"/><Relationship Id="rId5" Type="http://schemas.openxmlformats.org/officeDocument/2006/relationships/image" Target="../media/image2.jpeg"/><Relationship Id="rId10" Type="http://schemas.openxmlformats.org/officeDocument/2006/relationships/image" Target="../media/image7.jpeg"/><Relationship Id="rId4" Type="http://schemas.openxmlformats.org/officeDocument/2006/relationships/image" Target="../media/image1.jpeg"/><Relationship Id="rId9" Type="http://schemas.openxmlformats.org/officeDocument/2006/relationships/image" Target="../media/image6.jpeg"/><Relationship Id="rId14" Type="http://schemas.openxmlformats.org/officeDocument/2006/relationships/image" Target="../media/image36.jpeg"/></Relationships>
</file>

<file path=ppt/slides/_rels/slide2.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10.jpeg"/><Relationship Id="rId3" Type="http://schemas.openxmlformats.org/officeDocument/2006/relationships/notesSlide" Target="../notesSlides/notesSlide2.xml"/><Relationship Id="rId7" Type="http://schemas.openxmlformats.org/officeDocument/2006/relationships/image" Target="../media/image4.jpeg"/><Relationship Id="rId12" Type="http://schemas.openxmlformats.org/officeDocument/2006/relationships/image" Target="../media/image9.jpe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3.jpeg"/><Relationship Id="rId11" Type="http://schemas.openxmlformats.org/officeDocument/2006/relationships/image" Target="../media/image8.jpeg"/><Relationship Id="rId5" Type="http://schemas.openxmlformats.org/officeDocument/2006/relationships/image" Target="../media/image2.jpeg"/><Relationship Id="rId10" Type="http://schemas.openxmlformats.org/officeDocument/2006/relationships/image" Target="../media/image7.jpeg"/><Relationship Id="rId4" Type="http://schemas.openxmlformats.org/officeDocument/2006/relationships/image" Target="../media/image1.jpeg"/><Relationship Id="rId9" Type="http://schemas.openxmlformats.org/officeDocument/2006/relationships/image" Target="../media/image6.jpeg"/><Relationship Id="rId14" Type="http://schemas.openxmlformats.org/officeDocument/2006/relationships/image" Target="../media/image11.png"/></Relationships>
</file>

<file path=ppt/slides/_rels/slide20.xml.rels><?xml version="1.0" encoding="UTF-8" standalone="yes"?>
<Relationships xmlns="http://schemas.openxmlformats.org/package/2006/relationships"><Relationship Id="rId8" Type="http://schemas.openxmlformats.org/officeDocument/2006/relationships/image" Target="../media/image4.jpeg"/><Relationship Id="rId13" Type="http://schemas.openxmlformats.org/officeDocument/2006/relationships/image" Target="../media/image9.jpeg"/><Relationship Id="rId3" Type="http://schemas.openxmlformats.org/officeDocument/2006/relationships/notesSlide" Target="../notesSlides/notesSlide20.xml"/><Relationship Id="rId7" Type="http://schemas.openxmlformats.org/officeDocument/2006/relationships/image" Target="../media/image3.jpeg"/><Relationship Id="rId12" Type="http://schemas.openxmlformats.org/officeDocument/2006/relationships/image" Target="../media/image8.jpeg"/><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image" Target="../media/image2.jpeg"/><Relationship Id="rId11" Type="http://schemas.openxmlformats.org/officeDocument/2006/relationships/image" Target="../media/image7.jpeg"/><Relationship Id="rId5" Type="http://schemas.openxmlformats.org/officeDocument/2006/relationships/image" Target="../media/image1.jpeg"/><Relationship Id="rId10" Type="http://schemas.openxmlformats.org/officeDocument/2006/relationships/image" Target="../media/image6.jpeg"/><Relationship Id="rId4" Type="http://schemas.openxmlformats.org/officeDocument/2006/relationships/image" Target="../media/image37.jpeg"/><Relationship Id="rId9" Type="http://schemas.openxmlformats.org/officeDocument/2006/relationships/image" Target="../media/image5.jpeg"/></Relationships>
</file>

<file path=ppt/slides/_rels/slide21.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38.jpeg"/><Relationship Id="rId3" Type="http://schemas.openxmlformats.org/officeDocument/2006/relationships/notesSlide" Target="../notesSlides/notesSlide21.xml"/><Relationship Id="rId7" Type="http://schemas.openxmlformats.org/officeDocument/2006/relationships/image" Target="../media/image4.jpeg"/><Relationship Id="rId12" Type="http://schemas.openxmlformats.org/officeDocument/2006/relationships/image" Target="../media/image9.jpeg"/><Relationship Id="rId17" Type="http://schemas.openxmlformats.org/officeDocument/2006/relationships/image" Target="../media/image42.jpeg"/><Relationship Id="rId2" Type="http://schemas.openxmlformats.org/officeDocument/2006/relationships/slideLayout" Target="../slideLayouts/slideLayout7.xml"/><Relationship Id="rId16" Type="http://schemas.openxmlformats.org/officeDocument/2006/relationships/image" Target="../media/image41.jpeg"/><Relationship Id="rId1" Type="http://schemas.openxmlformats.org/officeDocument/2006/relationships/tags" Target="../tags/tag23.xml"/><Relationship Id="rId6" Type="http://schemas.openxmlformats.org/officeDocument/2006/relationships/image" Target="../media/image3.jpeg"/><Relationship Id="rId11" Type="http://schemas.openxmlformats.org/officeDocument/2006/relationships/image" Target="../media/image8.jpeg"/><Relationship Id="rId5" Type="http://schemas.openxmlformats.org/officeDocument/2006/relationships/image" Target="../media/image2.jpeg"/><Relationship Id="rId15" Type="http://schemas.openxmlformats.org/officeDocument/2006/relationships/image" Target="../media/image40.jpeg"/><Relationship Id="rId10" Type="http://schemas.openxmlformats.org/officeDocument/2006/relationships/image" Target="../media/image7.jpeg"/><Relationship Id="rId4" Type="http://schemas.openxmlformats.org/officeDocument/2006/relationships/image" Target="../media/image1.jpeg"/><Relationship Id="rId9" Type="http://schemas.openxmlformats.org/officeDocument/2006/relationships/image" Target="../media/image6.jpeg"/><Relationship Id="rId14" Type="http://schemas.openxmlformats.org/officeDocument/2006/relationships/image" Target="../media/image39.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8.xml"/><Relationship Id="rId1" Type="http://schemas.openxmlformats.org/officeDocument/2006/relationships/tags" Target="../tags/tag24.xml"/><Relationship Id="rId6" Type="http://schemas.openxmlformats.org/officeDocument/2006/relationships/image" Target="../media/image43.jpeg"/><Relationship Id="rId5" Type="http://schemas.openxmlformats.org/officeDocument/2006/relationships/slide" Target="slide1.xml"/><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8" Type="http://schemas.openxmlformats.org/officeDocument/2006/relationships/image" Target="../media/image4.jpeg"/><Relationship Id="rId13" Type="http://schemas.openxmlformats.org/officeDocument/2006/relationships/image" Target="../media/image9.jpeg"/><Relationship Id="rId18" Type="http://schemas.openxmlformats.org/officeDocument/2006/relationships/image" Target="../media/image17.jpeg"/><Relationship Id="rId3" Type="http://schemas.openxmlformats.org/officeDocument/2006/relationships/notesSlide" Target="../notesSlides/notesSlide3.xml"/><Relationship Id="rId21" Type="http://schemas.openxmlformats.org/officeDocument/2006/relationships/image" Target="../media/image20.jpeg"/><Relationship Id="rId7" Type="http://schemas.openxmlformats.org/officeDocument/2006/relationships/image" Target="../media/image3.jpeg"/><Relationship Id="rId12" Type="http://schemas.openxmlformats.org/officeDocument/2006/relationships/image" Target="../media/image8.jpeg"/><Relationship Id="rId17" Type="http://schemas.openxmlformats.org/officeDocument/2006/relationships/image" Target="../media/image16.jpeg"/><Relationship Id="rId2" Type="http://schemas.openxmlformats.org/officeDocument/2006/relationships/slideLayout" Target="../slideLayouts/slideLayout7.xml"/><Relationship Id="rId16" Type="http://schemas.openxmlformats.org/officeDocument/2006/relationships/image" Target="../media/image15.jpeg"/><Relationship Id="rId20" Type="http://schemas.openxmlformats.org/officeDocument/2006/relationships/image" Target="../media/image19.jpeg"/><Relationship Id="rId1" Type="http://schemas.openxmlformats.org/officeDocument/2006/relationships/tags" Target="../tags/tag4.xml"/><Relationship Id="rId6" Type="http://schemas.openxmlformats.org/officeDocument/2006/relationships/image" Target="../media/image2.jpeg"/><Relationship Id="rId11" Type="http://schemas.openxmlformats.org/officeDocument/2006/relationships/image" Target="../media/image7.jpeg"/><Relationship Id="rId5" Type="http://schemas.openxmlformats.org/officeDocument/2006/relationships/image" Target="../media/image1.jpeg"/><Relationship Id="rId15" Type="http://schemas.openxmlformats.org/officeDocument/2006/relationships/image" Target="../media/image14.png"/><Relationship Id="rId10" Type="http://schemas.openxmlformats.org/officeDocument/2006/relationships/image" Target="../media/image6.jpeg"/><Relationship Id="rId19" Type="http://schemas.openxmlformats.org/officeDocument/2006/relationships/image" Target="../media/image18.jpeg"/><Relationship Id="rId4" Type="http://schemas.openxmlformats.org/officeDocument/2006/relationships/image" Target="../media/image12.jpeg"/><Relationship Id="rId9" Type="http://schemas.openxmlformats.org/officeDocument/2006/relationships/image" Target="../media/image5.jpeg"/><Relationship Id="rId14" Type="http://schemas.openxmlformats.org/officeDocument/2006/relationships/image" Target="../media/image13.jpeg"/></Relationships>
</file>

<file path=ppt/slides/_rels/slide4.xml.rels><?xml version="1.0" encoding="UTF-8" standalone="yes"?>
<Relationships xmlns="http://schemas.openxmlformats.org/package/2006/relationships"><Relationship Id="rId8" Type="http://schemas.openxmlformats.org/officeDocument/2006/relationships/image" Target="../media/image4.jpeg"/><Relationship Id="rId13" Type="http://schemas.openxmlformats.org/officeDocument/2006/relationships/image" Target="../media/image9.jpeg"/><Relationship Id="rId18" Type="http://schemas.openxmlformats.org/officeDocument/2006/relationships/image" Target="../media/image17.jpeg"/><Relationship Id="rId3" Type="http://schemas.openxmlformats.org/officeDocument/2006/relationships/notesSlide" Target="../notesSlides/notesSlide4.xml"/><Relationship Id="rId21" Type="http://schemas.openxmlformats.org/officeDocument/2006/relationships/image" Target="../media/image20.jpeg"/><Relationship Id="rId7" Type="http://schemas.openxmlformats.org/officeDocument/2006/relationships/image" Target="../media/image3.jpeg"/><Relationship Id="rId12" Type="http://schemas.openxmlformats.org/officeDocument/2006/relationships/image" Target="../media/image8.jpeg"/><Relationship Id="rId17" Type="http://schemas.openxmlformats.org/officeDocument/2006/relationships/image" Target="../media/image16.jpeg"/><Relationship Id="rId2" Type="http://schemas.openxmlformats.org/officeDocument/2006/relationships/slideLayout" Target="../slideLayouts/slideLayout7.xml"/><Relationship Id="rId16" Type="http://schemas.openxmlformats.org/officeDocument/2006/relationships/image" Target="../media/image15.jpeg"/><Relationship Id="rId20" Type="http://schemas.openxmlformats.org/officeDocument/2006/relationships/image" Target="../media/image19.jpeg"/><Relationship Id="rId1" Type="http://schemas.openxmlformats.org/officeDocument/2006/relationships/tags" Target="../tags/tag5.xml"/><Relationship Id="rId6" Type="http://schemas.openxmlformats.org/officeDocument/2006/relationships/image" Target="../media/image2.jpeg"/><Relationship Id="rId11" Type="http://schemas.openxmlformats.org/officeDocument/2006/relationships/image" Target="../media/image7.jpeg"/><Relationship Id="rId5" Type="http://schemas.openxmlformats.org/officeDocument/2006/relationships/image" Target="../media/image1.jpeg"/><Relationship Id="rId15" Type="http://schemas.openxmlformats.org/officeDocument/2006/relationships/image" Target="../media/image14.png"/><Relationship Id="rId10" Type="http://schemas.openxmlformats.org/officeDocument/2006/relationships/image" Target="../media/image6.jpeg"/><Relationship Id="rId19" Type="http://schemas.openxmlformats.org/officeDocument/2006/relationships/image" Target="../media/image18.jpeg"/><Relationship Id="rId4" Type="http://schemas.openxmlformats.org/officeDocument/2006/relationships/image" Target="../media/image12.jpeg"/><Relationship Id="rId9" Type="http://schemas.openxmlformats.org/officeDocument/2006/relationships/image" Target="../media/image5.jpeg"/><Relationship Id="rId14" Type="http://schemas.openxmlformats.org/officeDocument/2006/relationships/image" Target="../media/image13.jpeg"/></Relationships>
</file>

<file path=ppt/slides/_rels/slide5.xml.rels><?xml version="1.0" encoding="UTF-8" standalone="yes"?>
<Relationships xmlns="http://schemas.openxmlformats.org/package/2006/relationships"><Relationship Id="rId8" Type="http://schemas.openxmlformats.org/officeDocument/2006/relationships/image" Target="../media/image4.jpeg"/><Relationship Id="rId13" Type="http://schemas.openxmlformats.org/officeDocument/2006/relationships/image" Target="../media/image9.jpeg"/><Relationship Id="rId18" Type="http://schemas.openxmlformats.org/officeDocument/2006/relationships/image" Target="../media/image20.jpeg"/><Relationship Id="rId3" Type="http://schemas.openxmlformats.org/officeDocument/2006/relationships/notesSlide" Target="../notesSlides/notesSlide5.xml"/><Relationship Id="rId7" Type="http://schemas.openxmlformats.org/officeDocument/2006/relationships/image" Target="../media/image3.jpeg"/><Relationship Id="rId12" Type="http://schemas.openxmlformats.org/officeDocument/2006/relationships/image" Target="../media/image8.jpeg"/><Relationship Id="rId17" Type="http://schemas.openxmlformats.org/officeDocument/2006/relationships/image" Target="../media/image19.jpeg"/><Relationship Id="rId2" Type="http://schemas.openxmlformats.org/officeDocument/2006/relationships/slideLayout" Target="../slideLayouts/slideLayout7.xml"/><Relationship Id="rId16" Type="http://schemas.openxmlformats.org/officeDocument/2006/relationships/image" Target="../media/image15.jpeg"/><Relationship Id="rId1" Type="http://schemas.openxmlformats.org/officeDocument/2006/relationships/tags" Target="../tags/tag6.xml"/><Relationship Id="rId6" Type="http://schemas.openxmlformats.org/officeDocument/2006/relationships/image" Target="../media/image2.jpeg"/><Relationship Id="rId11" Type="http://schemas.openxmlformats.org/officeDocument/2006/relationships/image" Target="../media/image7.jpeg"/><Relationship Id="rId5" Type="http://schemas.openxmlformats.org/officeDocument/2006/relationships/image" Target="../media/image1.jpeg"/><Relationship Id="rId15" Type="http://schemas.openxmlformats.org/officeDocument/2006/relationships/image" Target="../media/image14.png"/><Relationship Id="rId10" Type="http://schemas.openxmlformats.org/officeDocument/2006/relationships/image" Target="../media/image6.jpeg"/><Relationship Id="rId4" Type="http://schemas.openxmlformats.org/officeDocument/2006/relationships/image" Target="../media/image12.jpeg"/><Relationship Id="rId9" Type="http://schemas.openxmlformats.org/officeDocument/2006/relationships/image" Target="../media/image5.jpeg"/><Relationship Id="rId14" Type="http://schemas.openxmlformats.org/officeDocument/2006/relationships/image" Target="../media/image13.jpeg"/></Relationships>
</file>

<file path=ppt/slides/_rels/slide6.xml.rels><?xml version="1.0" encoding="UTF-8" standalone="yes"?>
<Relationships xmlns="http://schemas.openxmlformats.org/package/2006/relationships"><Relationship Id="rId8" Type="http://schemas.openxmlformats.org/officeDocument/2006/relationships/image" Target="../media/image4.jpeg"/><Relationship Id="rId13" Type="http://schemas.openxmlformats.org/officeDocument/2006/relationships/image" Target="../media/image9.jpeg"/><Relationship Id="rId18" Type="http://schemas.openxmlformats.org/officeDocument/2006/relationships/image" Target="../media/image18.jpeg"/><Relationship Id="rId3" Type="http://schemas.openxmlformats.org/officeDocument/2006/relationships/notesSlide" Target="../notesSlides/notesSlide6.xml"/><Relationship Id="rId7" Type="http://schemas.openxmlformats.org/officeDocument/2006/relationships/image" Target="../media/image3.jpeg"/><Relationship Id="rId12" Type="http://schemas.openxmlformats.org/officeDocument/2006/relationships/image" Target="../media/image8.jpeg"/><Relationship Id="rId17" Type="http://schemas.openxmlformats.org/officeDocument/2006/relationships/image" Target="../media/image16.jpeg"/><Relationship Id="rId2" Type="http://schemas.openxmlformats.org/officeDocument/2006/relationships/slideLayout" Target="../slideLayouts/slideLayout7.xml"/><Relationship Id="rId16" Type="http://schemas.openxmlformats.org/officeDocument/2006/relationships/image" Target="../media/image15.jpeg"/><Relationship Id="rId1" Type="http://schemas.openxmlformats.org/officeDocument/2006/relationships/tags" Target="../tags/tag7.xml"/><Relationship Id="rId6" Type="http://schemas.openxmlformats.org/officeDocument/2006/relationships/image" Target="../media/image2.jpeg"/><Relationship Id="rId11" Type="http://schemas.openxmlformats.org/officeDocument/2006/relationships/image" Target="../media/image7.jpeg"/><Relationship Id="rId5" Type="http://schemas.openxmlformats.org/officeDocument/2006/relationships/image" Target="../media/image1.jpeg"/><Relationship Id="rId15" Type="http://schemas.openxmlformats.org/officeDocument/2006/relationships/image" Target="../media/image14.png"/><Relationship Id="rId10" Type="http://schemas.openxmlformats.org/officeDocument/2006/relationships/image" Target="../media/image6.jpeg"/><Relationship Id="rId4" Type="http://schemas.openxmlformats.org/officeDocument/2006/relationships/image" Target="../media/image12.jpeg"/><Relationship Id="rId9" Type="http://schemas.openxmlformats.org/officeDocument/2006/relationships/image" Target="../media/image5.jpeg"/><Relationship Id="rId14" Type="http://schemas.openxmlformats.org/officeDocument/2006/relationships/image" Target="../media/image13.jpeg"/></Relationships>
</file>

<file path=ppt/slides/_rels/slide7.xml.rels><?xml version="1.0" encoding="UTF-8" standalone="yes"?>
<Relationships xmlns="http://schemas.openxmlformats.org/package/2006/relationships"><Relationship Id="rId8" Type="http://schemas.openxmlformats.org/officeDocument/2006/relationships/image" Target="../media/image4.jpeg"/><Relationship Id="rId13" Type="http://schemas.openxmlformats.org/officeDocument/2006/relationships/image" Target="../media/image9.jpeg"/><Relationship Id="rId18" Type="http://schemas.openxmlformats.org/officeDocument/2006/relationships/image" Target="../media/image22.jpeg"/><Relationship Id="rId3" Type="http://schemas.openxmlformats.org/officeDocument/2006/relationships/notesSlide" Target="../notesSlides/notesSlide7.xml"/><Relationship Id="rId7" Type="http://schemas.openxmlformats.org/officeDocument/2006/relationships/image" Target="../media/image3.jpeg"/><Relationship Id="rId12" Type="http://schemas.openxmlformats.org/officeDocument/2006/relationships/image" Target="../media/image8.jpeg"/><Relationship Id="rId17" Type="http://schemas.openxmlformats.org/officeDocument/2006/relationships/image" Target="../media/image21.jpeg"/><Relationship Id="rId2" Type="http://schemas.openxmlformats.org/officeDocument/2006/relationships/slideLayout" Target="../slideLayouts/slideLayout7.xml"/><Relationship Id="rId16" Type="http://schemas.openxmlformats.org/officeDocument/2006/relationships/image" Target="../media/image15.jpeg"/><Relationship Id="rId1" Type="http://schemas.openxmlformats.org/officeDocument/2006/relationships/tags" Target="../tags/tag8.xml"/><Relationship Id="rId6" Type="http://schemas.openxmlformats.org/officeDocument/2006/relationships/image" Target="../media/image2.jpeg"/><Relationship Id="rId11" Type="http://schemas.openxmlformats.org/officeDocument/2006/relationships/image" Target="../media/image7.jpeg"/><Relationship Id="rId5" Type="http://schemas.openxmlformats.org/officeDocument/2006/relationships/image" Target="../media/image1.jpeg"/><Relationship Id="rId15" Type="http://schemas.openxmlformats.org/officeDocument/2006/relationships/image" Target="../media/image14.png"/><Relationship Id="rId10" Type="http://schemas.openxmlformats.org/officeDocument/2006/relationships/image" Target="../media/image6.jpeg"/><Relationship Id="rId4" Type="http://schemas.openxmlformats.org/officeDocument/2006/relationships/image" Target="../media/image12.jpeg"/><Relationship Id="rId9" Type="http://schemas.openxmlformats.org/officeDocument/2006/relationships/image" Target="../media/image5.jpeg"/><Relationship Id="rId14" Type="http://schemas.openxmlformats.org/officeDocument/2006/relationships/image" Target="../media/image13.jpeg"/></Relationships>
</file>

<file path=ppt/slides/_rels/slide8.xml.rels><?xml version="1.0" encoding="UTF-8" standalone="yes"?>
<Relationships xmlns="http://schemas.openxmlformats.org/package/2006/relationships"><Relationship Id="rId8" Type="http://schemas.openxmlformats.org/officeDocument/2006/relationships/image" Target="../media/image4.jpeg"/><Relationship Id="rId13" Type="http://schemas.openxmlformats.org/officeDocument/2006/relationships/image" Target="../media/image9.jpeg"/><Relationship Id="rId3" Type="http://schemas.openxmlformats.org/officeDocument/2006/relationships/notesSlide" Target="../notesSlides/notesSlide8.xml"/><Relationship Id="rId7" Type="http://schemas.openxmlformats.org/officeDocument/2006/relationships/image" Target="../media/image3.jpeg"/><Relationship Id="rId12" Type="http://schemas.openxmlformats.org/officeDocument/2006/relationships/image" Target="../media/image8.jpeg"/><Relationship Id="rId17" Type="http://schemas.openxmlformats.org/officeDocument/2006/relationships/image" Target="../media/image23.jpeg"/><Relationship Id="rId2" Type="http://schemas.openxmlformats.org/officeDocument/2006/relationships/slideLayout" Target="../slideLayouts/slideLayout7.xml"/><Relationship Id="rId16" Type="http://schemas.openxmlformats.org/officeDocument/2006/relationships/image" Target="../media/image15.jpeg"/><Relationship Id="rId1" Type="http://schemas.openxmlformats.org/officeDocument/2006/relationships/tags" Target="../tags/tag9.xml"/><Relationship Id="rId6" Type="http://schemas.openxmlformats.org/officeDocument/2006/relationships/image" Target="../media/image2.jpeg"/><Relationship Id="rId11" Type="http://schemas.openxmlformats.org/officeDocument/2006/relationships/image" Target="../media/image7.jpeg"/><Relationship Id="rId5" Type="http://schemas.openxmlformats.org/officeDocument/2006/relationships/image" Target="../media/image1.jpeg"/><Relationship Id="rId15" Type="http://schemas.openxmlformats.org/officeDocument/2006/relationships/image" Target="../media/image14.png"/><Relationship Id="rId10" Type="http://schemas.openxmlformats.org/officeDocument/2006/relationships/image" Target="../media/image6.jpeg"/><Relationship Id="rId4" Type="http://schemas.openxmlformats.org/officeDocument/2006/relationships/image" Target="../media/image12.jpeg"/><Relationship Id="rId9" Type="http://schemas.openxmlformats.org/officeDocument/2006/relationships/image" Target="../media/image5.jpeg"/><Relationship Id="rId14" Type="http://schemas.openxmlformats.org/officeDocument/2006/relationships/image" Target="../media/image13.jpeg"/></Relationships>
</file>

<file path=ppt/slides/_rels/slide9.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8.jpeg"/><Relationship Id="rId18" Type="http://schemas.openxmlformats.org/officeDocument/2006/relationships/image" Target="../media/image25.jpeg"/><Relationship Id="rId3" Type="http://schemas.openxmlformats.org/officeDocument/2006/relationships/notesSlide" Target="../notesSlides/notesSlide9.xml"/><Relationship Id="rId7" Type="http://schemas.openxmlformats.org/officeDocument/2006/relationships/image" Target="../media/image2.jpeg"/><Relationship Id="rId12" Type="http://schemas.openxmlformats.org/officeDocument/2006/relationships/image" Target="../media/image7.jpeg"/><Relationship Id="rId17" Type="http://schemas.openxmlformats.org/officeDocument/2006/relationships/image" Target="../media/image24.jpeg"/><Relationship Id="rId2" Type="http://schemas.openxmlformats.org/officeDocument/2006/relationships/slideLayout" Target="../slideLayouts/slideLayout7.xml"/><Relationship Id="rId16" Type="http://schemas.openxmlformats.org/officeDocument/2006/relationships/image" Target="../media/image14.png"/><Relationship Id="rId1" Type="http://schemas.openxmlformats.org/officeDocument/2006/relationships/tags" Target="../tags/tag10.xml"/><Relationship Id="rId6" Type="http://schemas.openxmlformats.org/officeDocument/2006/relationships/image" Target="../media/image1.jpeg"/><Relationship Id="rId11" Type="http://schemas.openxmlformats.org/officeDocument/2006/relationships/image" Target="../media/image6.jpeg"/><Relationship Id="rId5" Type="http://schemas.openxmlformats.org/officeDocument/2006/relationships/image" Target="../media/image15.jpeg"/><Relationship Id="rId15" Type="http://schemas.openxmlformats.org/officeDocument/2006/relationships/image" Target="../media/image13.jpeg"/><Relationship Id="rId10" Type="http://schemas.openxmlformats.org/officeDocument/2006/relationships/image" Target="../media/image5.jpeg"/><Relationship Id="rId4" Type="http://schemas.openxmlformats.org/officeDocument/2006/relationships/image" Target="../media/image12.jpeg"/><Relationship Id="rId9" Type="http://schemas.openxmlformats.org/officeDocument/2006/relationships/image" Target="../media/image4.jpeg"/><Relationship Id="rId14" Type="http://schemas.openxmlformats.org/officeDocument/2006/relationships/image" Target="../media/image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Oval 27"/>
          <p:cNvSpPr/>
          <p:nvPr/>
        </p:nvSpPr>
        <p:spPr>
          <a:xfrm>
            <a:off x="4067944" y="476672"/>
            <a:ext cx="1800000" cy="1800200"/>
          </a:xfrm>
          <a:prstGeom prst="ellipse">
            <a:avLst/>
          </a:prstGeom>
          <a:blipFill>
            <a:blip r:embed="rId4"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Oval 28"/>
          <p:cNvSpPr/>
          <p:nvPr/>
        </p:nvSpPr>
        <p:spPr>
          <a:xfrm>
            <a:off x="5292080" y="1196752"/>
            <a:ext cx="1800000" cy="1800200"/>
          </a:xfrm>
          <a:prstGeom prst="ellipse">
            <a:avLst/>
          </a:prstGeom>
          <a:blipFill>
            <a:blip r:embed="rId5"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Oval 29"/>
          <p:cNvSpPr/>
          <p:nvPr/>
        </p:nvSpPr>
        <p:spPr>
          <a:xfrm>
            <a:off x="5652120" y="2564904"/>
            <a:ext cx="1800000" cy="1800200"/>
          </a:xfrm>
          <a:prstGeom prst="ellipse">
            <a:avLst/>
          </a:prstGeom>
          <a:blipFill>
            <a:blip r:embed="rId6"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Oval 30"/>
          <p:cNvSpPr/>
          <p:nvPr/>
        </p:nvSpPr>
        <p:spPr>
          <a:xfrm>
            <a:off x="5148064" y="4005064"/>
            <a:ext cx="1800000" cy="1800200"/>
          </a:xfrm>
          <a:prstGeom prst="ellipse">
            <a:avLst/>
          </a:prstGeom>
          <a:blipFill>
            <a:blip r:embed="rId7"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3707904" y="4509120"/>
            <a:ext cx="1800000" cy="1800200"/>
          </a:xfrm>
          <a:prstGeom prst="ellipse">
            <a:avLst/>
          </a:prstGeom>
          <a:blipFill>
            <a:blip r:embed="rId8"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2195736" y="4149080"/>
            <a:ext cx="1800000" cy="1800200"/>
          </a:xfrm>
          <a:prstGeom prst="ellipse">
            <a:avLst/>
          </a:prstGeom>
          <a:blipFill>
            <a:blip r:embed="rId9"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1475656" y="2924944"/>
            <a:ext cx="1800000" cy="1800200"/>
          </a:xfrm>
          <a:prstGeom prst="ellipse">
            <a:avLst/>
          </a:prstGeom>
          <a:blipFill>
            <a:blip r:embed="rId10"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Oval 34"/>
          <p:cNvSpPr/>
          <p:nvPr/>
        </p:nvSpPr>
        <p:spPr>
          <a:xfrm>
            <a:off x="1763888" y="1484784"/>
            <a:ext cx="1800000" cy="1800200"/>
          </a:xfrm>
          <a:prstGeom prst="ellipse">
            <a:avLst/>
          </a:prstGeom>
          <a:blipFill>
            <a:blip r:embed="rId11"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Oval 35"/>
          <p:cNvSpPr/>
          <p:nvPr/>
        </p:nvSpPr>
        <p:spPr>
          <a:xfrm>
            <a:off x="2699792" y="548680"/>
            <a:ext cx="1800000" cy="1800200"/>
          </a:xfrm>
          <a:prstGeom prst="ellipse">
            <a:avLst/>
          </a:prstGeom>
          <a:blipFill>
            <a:blip r:embed="rId12"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8" name="Group 37"/>
          <p:cNvGrpSpPr/>
          <p:nvPr/>
        </p:nvGrpSpPr>
        <p:grpSpPr>
          <a:xfrm>
            <a:off x="3059831" y="1988840"/>
            <a:ext cx="2880000" cy="2880000"/>
            <a:chOff x="3457585" y="2148206"/>
            <a:chExt cx="2174855" cy="2174308"/>
          </a:xfrm>
        </p:grpSpPr>
        <p:sp>
          <p:nvSpPr>
            <p:cNvPr id="39" name="Oval 38"/>
            <p:cNvSpPr/>
            <p:nvPr/>
          </p:nvSpPr>
          <p:spPr bwMode="auto">
            <a:xfrm>
              <a:off x="3457585" y="2148206"/>
              <a:ext cx="2174855" cy="2174308"/>
            </a:xfrm>
            <a:prstGeom prst="ellipse">
              <a:avLst/>
            </a:prstGeom>
            <a:gradFill flip="none" rotWithShape="1">
              <a:gsLst>
                <a:gs pos="79000">
                  <a:schemeClr val="bg1">
                    <a:lumMod val="75000"/>
                  </a:schemeClr>
                </a:gs>
                <a:gs pos="0">
                  <a:srgbClr val="FFFFFF"/>
                </a:gs>
              </a:gsLst>
              <a:path path="circle">
                <a:fillToRect l="50000" t="50000" r="50000" b="50000"/>
              </a:path>
              <a:tileRect/>
            </a:gradFill>
            <a:ln>
              <a:no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128"/>
                </a:defRPr>
              </a:lvl1pPr>
              <a:lvl2pPr marL="37931725" indent="-37474525">
                <a:defRPr>
                  <a:solidFill>
                    <a:schemeClr val="tx1"/>
                  </a:solidFill>
                  <a:latin typeface="Calibri" charset="0"/>
                  <a:ea typeface="ＭＳ Ｐゴシック" charset="-128"/>
                </a:defRPr>
              </a:lvl2pPr>
              <a:lvl3pPr>
                <a:defRPr>
                  <a:solidFill>
                    <a:schemeClr val="tx1"/>
                  </a:solidFill>
                  <a:latin typeface="Calibri" charset="0"/>
                  <a:ea typeface="ＭＳ Ｐゴシック" charset="-128"/>
                </a:defRPr>
              </a:lvl3pPr>
              <a:lvl4pPr>
                <a:defRPr>
                  <a:solidFill>
                    <a:schemeClr val="tx1"/>
                  </a:solidFill>
                  <a:latin typeface="Calibri" charset="0"/>
                  <a:ea typeface="ＭＳ Ｐゴシック" charset="-128"/>
                </a:defRPr>
              </a:lvl4pPr>
              <a:lvl5pPr>
                <a:defRPr>
                  <a:solidFill>
                    <a:schemeClr val="tx1"/>
                  </a:solidFill>
                  <a:latin typeface="Calibri" charset="0"/>
                  <a:ea typeface="ＭＳ Ｐゴシック" charset="-128"/>
                </a:defRPr>
              </a:lvl5pPr>
              <a:lvl6pPr marL="457200" fontAlgn="base">
                <a:spcBef>
                  <a:spcPct val="0"/>
                </a:spcBef>
                <a:spcAft>
                  <a:spcPct val="0"/>
                </a:spcAft>
                <a:defRPr>
                  <a:solidFill>
                    <a:schemeClr val="tx1"/>
                  </a:solidFill>
                  <a:latin typeface="Calibri" charset="0"/>
                  <a:ea typeface="ＭＳ Ｐゴシック" charset="-128"/>
                </a:defRPr>
              </a:lvl6pPr>
              <a:lvl7pPr marL="914400" fontAlgn="base">
                <a:spcBef>
                  <a:spcPct val="0"/>
                </a:spcBef>
                <a:spcAft>
                  <a:spcPct val="0"/>
                </a:spcAft>
                <a:defRPr>
                  <a:solidFill>
                    <a:schemeClr val="tx1"/>
                  </a:solidFill>
                  <a:latin typeface="Calibri" charset="0"/>
                  <a:ea typeface="ＭＳ Ｐゴシック" charset="-128"/>
                </a:defRPr>
              </a:lvl7pPr>
              <a:lvl8pPr marL="1371600" fontAlgn="base">
                <a:spcBef>
                  <a:spcPct val="0"/>
                </a:spcBef>
                <a:spcAft>
                  <a:spcPct val="0"/>
                </a:spcAft>
                <a:defRPr>
                  <a:solidFill>
                    <a:schemeClr val="tx1"/>
                  </a:solidFill>
                  <a:latin typeface="Calibri" charset="0"/>
                  <a:ea typeface="ＭＳ Ｐゴシック" charset="-128"/>
                </a:defRPr>
              </a:lvl8pPr>
              <a:lvl9pPr marL="1828800" fontAlgn="base">
                <a:spcBef>
                  <a:spcPct val="0"/>
                </a:spcBef>
                <a:spcAft>
                  <a:spcPct val="0"/>
                </a:spcAft>
                <a:defRPr>
                  <a:solidFill>
                    <a:schemeClr val="tx1"/>
                  </a:solidFill>
                  <a:latin typeface="Calibri" charset="0"/>
                  <a:ea typeface="ＭＳ Ｐゴシック" charset="-128"/>
                </a:defRPr>
              </a:lvl9pPr>
            </a:lstStyle>
            <a:p>
              <a:pPr algn="ctr">
                <a:defRPr/>
              </a:pPr>
              <a:endParaRPr lang="en-US" dirty="0" smtClean="0">
                <a:solidFill>
                  <a:srgbClr val="FFFFFF"/>
                </a:solidFill>
              </a:endParaRPr>
            </a:p>
          </p:txBody>
        </p:sp>
        <p:sp>
          <p:nvSpPr>
            <p:cNvPr id="40" name="Oval 39"/>
            <p:cNvSpPr/>
            <p:nvPr/>
          </p:nvSpPr>
          <p:spPr bwMode="auto">
            <a:xfrm>
              <a:off x="3706813" y="2249488"/>
              <a:ext cx="1676400" cy="1243012"/>
            </a:xfrm>
            <a:prstGeom prst="ellipse">
              <a:avLst/>
            </a:prstGeom>
            <a:gradFill>
              <a:gsLst>
                <a:gs pos="0">
                  <a:schemeClr val="bg1"/>
                </a:gs>
                <a:gs pos="54000">
                  <a:schemeClr val="accent1">
                    <a:tint val="50000"/>
                    <a:shade val="100000"/>
                    <a:satMod val="350000"/>
                    <a:alpha val="0"/>
                  </a:schemeClr>
                </a:gs>
              </a:gsLst>
              <a:lin ang="546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charset="-128"/>
              </a:endParaRPr>
            </a:p>
          </p:txBody>
        </p:sp>
      </p:grpSp>
      <p:cxnSp>
        <p:nvCxnSpPr>
          <p:cNvPr id="42" name="Straight Connector 41"/>
          <p:cNvCxnSpPr/>
          <p:nvPr/>
        </p:nvCxnSpPr>
        <p:spPr>
          <a:xfrm flipV="1">
            <a:off x="5580112" y="548680"/>
            <a:ext cx="576064" cy="360040"/>
          </a:xfrm>
          <a:prstGeom prst="line">
            <a:avLst/>
          </a:prstGeom>
          <a:ln>
            <a:prstDash val="sysDash"/>
          </a:ln>
        </p:spPr>
        <p:style>
          <a:lnRef idx="2">
            <a:schemeClr val="dk1"/>
          </a:lnRef>
          <a:fillRef idx="0">
            <a:schemeClr val="dk1"/>
          </a:fillRef>
          <a:effectRef idx="1">
            <a:schemeClr val="dk1"/>
          </a:effectRef>
          <a:fontRef idx="minor">
            <a:schemeClr val="tx1"/>
          </a:fontRef>
        </p:style>
      </p:cxnSp>
      <p:sp>
        <p:nvSpPr>
          <p:cNvPr id="43" name="Rectangle 42"/>
          <p:cNvSpPr/>
          <p:nvPr/>
        </p:nvSpPr>
        <p:spPr>
          <a:xfrm>
            <a:off x="6156176" y="188640"/>
            <a:ext cx="1836000" cy="576000"/>
          </a:xfrm>
          <a:prstGeom prst="rect">
            <a:avLst/>
          </a:prstGeom>
          <a:solidFill>
            <a:srgbClr val="C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smtClean="0">
                <a:solidFill>
                  <a:schemeClr val="tx1"/>
                </a:solidFill>
                <a:effectLst>
                  <a:glow rad="228600">
                    <a:schemeClr val="bg1">
                      <a:alpha val="40000"/>
                    </a:schemeClr>
                  </a:glow>
                  <a:outerShdw blurRad="38100" dist="38100" dir="2700000" algn="tl">
                    <a:srgbClr val="000000">
                      <a:alpha val="43137"/>
                    </a:srgbClr>
                  </a:outerShdw>
                </a:effectLst>
                <a:latin typeface="Papyrus" pitchFamily="66" charset="0"/>
              </a:rPr>
              <a:t>Supplier</a:t>
            </a:r>
            <a:endParaRPr lang="en-IN" sz="2000" b="1" dirty="0">
              <a:solidFill>
                <a:schemeClr val="tx1"/>
              </a:solidFill>
              <a:effectLst>
                <a:glow rad="228600">
                  <a:schemeClr val="bg1">
                    <a:alpha val="40000"/>
                  </a:schemeClr>
                </a:glow>
                <a:outerShdw blurRad="38100" dist="38100" dir="2700000" algn="tl">
                  <a:srgbClr val="000000">
                    <a:alpha val="43137"/>
                  </a:srgbClr>
                </a:outerShdw>
              </a:effectLst>
              <a:latin typeface="Papyrus" pitchFamily="66" charset="0"/>
            </a:endParaRPr>
          </a:p>
        </p:txBody>
      </p:sp>
      <p:cxnSp>
        <p:nvCxnSpPr>
          <p:cNvPr id="44" name="Straight Connector 43"/>
          <p:cNvCxnSpPr/>
          <p:nvPr/>
        </p:nvCxnSpPr>
        <p:spPr>
          <a:xfrm flipV="1">
            <a:off x="6731936" y="1412776"/>
            <a:ext cx="504000" cy="360040"/>
          </a:xfrm>
          <a:prstGeom prst="line">
            <a:avLst/>
          </a:prstGeom>
          <a:ln>
            <a:prstDash val="sysDash"/>
          </a:ln>
        </p:spPr>
        <p:style>
          <a:lnRef idx="2">
            <a:schemeClr val="dk1"/>
          </a:lnRef>
          <a:fillRef idx="0">
            <a:schemeClr val="dk1"/>
          </a:fillRef>
          <a:effectRef idx="1">
            <a:schemeClr val="dk1"/>
          </a:effectRef>
          <a:fontRef idx="minor">
            <a:schemeClr val="tx1"/>
          </a:fontRef>
        </p:style>
      </p:cxnSp>
      <p:sp>
        <p:nvSpPr>
          <p:cNvPr id="45" name="Rectangle 44"/>
          <p:cNvSpPr/>
          <p:nvPr/>
        </p:nvSpPr>
        <p:spPr>
          <a:xfrm>
            <a:off x="7236296" y="1052736"/>
            <a:ext cx="1836000" cy="576000"/>
          </a:xfrm>
          <a:prstGeom prst="rect">
            <a:avLst/>
          </a:prstGeom>
          <a:solidFill>
            <a:schemeClr val="accent6">
              <a:lumMod val="75000"/>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smtClean="0">
                <a:solidFill>
                  <a:schemeClr val="tx1"/>
                </a:solidFill>
                <a:effectLst>
                  <a:glow rad="228600">
                    <a:schemeClr val="bg1">
                      <a:alpha val="40000"/>
                    </a:schemeClr>
                  </a:glow>
                  <a:outerShdw blurRad="38100" dist="38100" dir="2700000" algn="tl">
                    <a:srgbClr val="000000">
                      <a:alpha val="43137"/>
                    </a:srgbClr>
                  </a:outerShdw>
                </a:effectLst>
                <a:latin typeface="Papyrus" pitchFamily="66" charset="0"/>
              </a:rPr>
              <a:t>Procurement</a:t>
            </a:r>
            <a:endParaRPr lang="en-IN" sz="2000" b="1" dirty="0">
              <a:solidFill>
                <a:schemeClr val="tx1"/>
              </a:solidFill>
              <a:effectLst>
                <a:glow rad="228600">
                  <a:schemeClr val="bg1">
                    <a:alpha val="40000"/>
                  </a:schemeClr>
                </a:glow>
                <a:outerShdw blurRad="38100" dist="38100" dir="2700000" algn="tl">
                  <a:srgbClr val="000000">
                    <a:alpha val="43137"/>
                  </a:srgbClr>
                </a:outerShdw>
              </a:effectLst>
              <a:latin typeface="Papyrus" pitchFamily="66" charset="0"/>
            </a:endParaRPr>
          </a:p>
        </p:txBody>
      </p:sp>
      <p:cxnSp>
        <p:nvCxnSpPr>
          <p:cNvPr id="46" name="Straight Connector 45"/>
          <p:cNvCxnSpPr/>
          <p:nvPr/>
        </p:nvCxnSpPr>
        <p:spPr>
          <a:xfrm flipV="1">
            <a:off x="7019968" y="2780928"/>
            <a:ext cx="504000" cy="360040"/>
          </a:xfrm>
          <a:prstGeom prst="line">
            <a:avLst/>
          </a:prstGeom>
          <a:ln>
            <a:prstDash val="sysDash"/>
          </a:ln>
        </p:spPr>
        <p:style>
          <a:lnRef idx="2">
            <a:schemeClr val="dk1"/>
          </a:lnRef>
          <a:fillRef idx="0">
            <a:schemeClr val="dk1"/>
          </a:fillRef>
          <a:effectRef idx="1">
            <a:schemeClr val="dk1"/>
          </a:effectRef>
          <a:fontRef idx="minor">
            <a:schemeClr val="tx1"/>
          </a:fontRef>
        </p:style>
      </p:cxnSp>
      <p:sp>
        <p:nvSpPr>
          <p:cNvPr id="47" name="Rectangle 46"/>
          <p:cNvSpPr/>
          <p:nvPr/>
        </p:nvSpPr>
        <p:spPr>
          <a:xfrm>
            <a:off x="7308000" y="2204928"/>
            <a:ext cx="1764000" cy="576000"/>
          </a:xfrm>
          <a:prstGeom prst="rect">
            <a:avLst/>
          </a:prstGeom>
          <a:solidFill>
            <a:srgbClr val="EBE6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smtClean="0">
                <a:solidFill>
                  <a:schemeClr val="tx1"/>
                </a:solidFill>
                <a:effectLst>
                  <a:glow rad="228600">
                    <a:schemeClr val="bg1">
                      <a:alpha val="40000"/>
                    </a:schemeClr>
                  </a:glow>
                  <a:outerShdw blurRad="38100" dist="38100" dir="2700000" algn="tl">
                    <a:srgbClr val="000000">
                      <a:alpha val="43137"/>
                    </a:srgbClr>
                  </a:outerShdw>
                </a:effectLst>
                <a:latin typeface="Papyrus" pitchFamily="66" charset="0"/>
              </a:rPr>
              <a:t>Manufacture</a:t>
            </a:r>
            <a:endParaRPr lang="en-IN" sz="2000" b="1" dirty="0">
              <a:solidFill>
                <a:schemeClr val="tx1"/>
              </a:solidFill>
              <a:effectLst>
                <a:glow rad="228600">
                  <a:schemeClr val="bg1">
                    <a:alpha val="40000"/>
                  </a:schemeClr>
                </a:glow>
                <a:outerShdw blurRad="38100" dist="38100" dir="2700000" algn="tl">
                  <a:srgbClr val="000000">
                    <a:alpha val="43137"/>
                  </a:srgbClr>
                </a:outerShdw>
              </a:effectLst>
              <a:latin typeface="Papyrus" pitchFamily="66" charset="0"/>
            </a:endParaRPr>
          </a:p>
        </p:txBody>
      </p:sp>
      <p:cxnSp>
        <p:nvCxnSpPr>
          <p:cNvPr id="48" name="Straight Connector 47"/>
          <p:cNvCxnSpPr/>
          <p:nvPr/>
        </p:nvCxnSpPr>
        <p:spPr>
          <a:xfrm flipV="1">
            <a:off x="6732240" y="4941168"/>
            <a:ext cx="504000" cy="360040"/>
          </a:xfrm>
          <a:prstGeom prst="line">
            <a:avLst/>
          </a:prstGeom>
          <a:ln>
            <a:prstDash val="sysDash"/>
          </a:ln>
        </p:spPr>
        <p:style>
          <a:lnRef idx="2">
            <a:schemeClr val="dk1"/>
          </a:lnRef>
          <a:fillRef idx="0">
            <a:schemeClr val="dk1"/>
          </a:fillRef>
          <a:effectRef idx="1">
            <a:schemeClr val="dk1"/>
          </a:effectRef>
          <a:fontRef idx="minor">
            <a:schemeClr val="tx1"/>
          </a:fontRef>
        </p:style>
      </p:cxnSp>
      <p:sp>
        <p:nvSpPr>
          <p:cNvPr id="49" name="Rectangle 48"/>
          <p:cNvSpPr/>
          <p:nvPr/>
        </p:nvSpPr>
        <p:spPr>
          <a:xfrm>
            <a:off x="7200496" y="4653136"/>
            <a:ext cx="1836000" cy="576000"/>
          </a:xfrm>
          <a:prstGeom prst="rect">
            <a:avLst/>
          </a:prstGeom>
          <a:solidFill>
            <a:srgbClr val="00B05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smtClean="0">
                <a:solidFill>
                  <a:schemeClr val="tx1"/>
                </a:solidFill>
                <a:effectLst>
                  <a:glow rad="228600">
                    <a:schemeClr val="bg1">
                      <a:alpha val="40000"/>
                    </a:schemeClr>
                  </a:glow>
                  <a:outerShdw blurRad="38100" dist="38100" dir="2700000" algn="tl">
                    <a:srgbClr val="000000">
                      <a:alpha val="43137"/>
                    </a:srgbClr>
                  </a:outerShdw>
                </a:effectLst>
                <a:latin typeface="Papyrus" pitchFamily="66" charset="0"/>
              </a:rPr>
              <a:t>Product</a:t>
            </a:r>
            <a:endParaRPr lang="en-IN" sz="2000" b="1" dirty="0">
              <a:solidFill>
                <a:schemeClr val="tx1"/>
              </a:solidFill>
              <a:effectLst>
                <a:glow rad="228600">
                  <a:schemeClr val="bg1">
                    <a:alpha val="40000"/>
                  </a:schemeClr>
                </a:glow>
                <a:outerShdw blurRad="38100" dist="38100" dir="2700000" algn="tl">
                  <a:srgbClr val="000000">
                    <a:alpha val="43137"/>
                  </a:srgbClr>
                </a:outerShdw>
              </a:effectLst>
              <a:latin typeface="Papyrus" pitchFamily="66" charset="0"/>
            </a:endParaRPr>
          </a:p>
        </p:txBody>
      </p:sp>
      <p:cxnSp>
        <p:nvCxnSpPr>
          <p:cNvPr id="50" name="Straight Connector 49"/>
          <p:cNvCxnSpPr>
            <a:stCxn id="32" idx="5"/>
            <a:endCxn id="51" idx="1"/>
          </p:cNvCxnSpPr>
          <p:nvPr/>
        </p:nvCxnSpPr>
        <p:spPr>
          <a:xfrm>
            <a:off x="5244300" y="6045687"/>
            <a:ext cx="335812" cy="380233"/>
          </a:xfrm>
          <a:prstGeom prst="line">
            <a:avLst/>
          </a:prstGeom>
          <a:ln>
            <a:prstDash val="sysDash"/>
          </a:ln>
        </p:spPr>
        <p:style>
          <a:lnRef idx="2">
            <a:schemeClr val="dk1"/>
          </a:lnRef>
          <a:fillRef idx="0">
            <a:schemeClr val="dk1"/>
          </a:fillRef>
          <a:effectRef idx="1">
            <a:schemeClr val="dk1"/>
          </a:effectRef>
          <a:fontRef idx="minor">
            <a:schemeClr val="tx1"/>
          </a:fontRef>
        </p:style>
      </p:cxnSp>
      <p:sp>
        <p:nvSpPr>
          <p:cNvPr id="51" name="Rectangle 50"/>
          <p:cNvSpPr/>
          <p:nvPr/>
        </p:nvSpPr>
        <p:spPr>
          <a:xfrm>
            <a:off x="5580112" y="6137920"/>
            <a:ext cx="1836000" cy="576000"/>
          </a:xfrm>
          <a:prstGeom prst="rect">
            <a:avLst/>
          </a:prstGeom>
          <a:solidFill>
            <a:schemeClr val="accent5">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smtClean="0">
                <a:solidFill>
                  <a:schemeClr val="tx1"/>
                </a:solidFill>
                <a:effectLst>
                  <a:glow rad="228600">
                    <a:schemeClr val="bg1">
                      <a:alpha val="40000"/>
                    </a:schemeClr>
                  </a:glow>
                  <a:outerShdw blurRad="38100" dist="38100" dir="2700000" algn="tl">
                    <a:srgbClr val="000000">
                      <a:alpha val="43137"/>
                    </a:srgbClr>
                  </a:outerShdw>
                </a:effectLst>
                <a:latin typeface="Papyrus" pitchFamily="66" charset="0"/>
              </a:rPr>
              <a:t>Inventory</a:t>
            </a:r>
            <a:endParaRPr lang="en-IN" sz="2000" b="1" dirty="0">
              <a:solidFill>
                <a:schemeClr val="tx1"/>
              </a:solidFill>
              <a:effectLst>
                <a:glow rad="228600">
                  <a:schemeClr val="bg1">
                    <a:alpha val="40000"/>
                  </a:schemeClr>
                </a:glow>
                <a:outerShdw blurRad="38100" dist="38100" dir="2700000" algn="tl">
                  <a:srgbClr val="000000">
                    <a:alpha val="43137"/>
                  </a:srgbClr>
                </a:outerShdw>
              </a:effectLst>
              <a:latin typeface="Papyrus" pitchFamily="66" charset="0"/>
            </a:endParaRPr>
          </a:p>
        </p:txBody>
      </p:sp>
      <p:cxnSp>
        <p:nvCxnSpPr>
          <p:cNvPr id="56" name="Straight Connector 55"/>
          <p:cNvCxnSpPr>
            <a:endCxn id="57" idx="3"/>
          </p:cNvCxnSpPr>
          <p:nvPr/>
        </p:nvCxnSpPr>
        <p:spPr>
          <a:xfrm flipH="1">
            <a:off x="2303544" y="5949344"/>
            <a:ext cx="468256" cy="432016"/>
          </a:xfrm>
          <a:prstGeom prst="line">
            <a:avLst/>
          </a:prstGeom>
          <a:ln>
            <a:prstDash val="sysDash"/>
          </a:ln>
        </p:spPr>
        <p:style>
          <a:lnRef idx="2">
            <a:schemeClr val="dk1"/>
          </a:lnRef>
          <a:fillRef idx="0">
            <a:schemeClr val="dk1"/>
          </a:fillRef>
          <a:effectRef idx="1">
            <a:schemeClr val="dk1"/>
          </a:effectRef>
          <a:fontRef idx="minor">
            <a:schemeClr val="tx1"/>
          </a:fontRef>
        </p:style>
      </p:cxnSp>
      <p:sp>
        <p:nvSpPr>
          <p:cNvPr id="57" name="Rectangle 56"/>
          <p:cNvSpPr/>
          <p:nvPr/>
        </p:nvSpPr>
        <p:spPr>
          <a:xfrm>
            <a:off x="467544" y="6093360"/>
            <a:ext cx="1836000" cy="576000"/>
          </a:xfrm>
          <a:prstGeom prst="rect">
            <a:avLst/>
          </a:prstGeom>
          <a:solidFill>
            <a:schemeClr val="tx2">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smtClean="0">
                <a:solidFill>
                  <a:schemeClr val="tx1"/>
                </a:solidFill>
                <a:effectLst>
                  <a:glow rad="228600">
                    <a:schemeClr val="bg1">
                      <a:alpha val="40000"/>
                    </a:schemeClr>
                  </a:glow>
                  <a:outerShdw blurRad="38100" dist="38100" dir="2700000" algn="tl">
                    <a:srgbClr val="000000">
                      <a:alpha val="43137"/>
                    </a:srgbClr>
                  </a:outerShdw>
                </a:effectLst>
                <a:latin typeface="Papyrus" pitchFamily="66" charset="0"/>
              </a:rPr>
              <a:t>Distribution</a:t>
            </a:r>
            <a:endParaRPr lang="en-IN" sz="2000" b="1" dirty="0">
              <a:solidFill>
                <a:schemeClr val="tx1"/>
              </a:solidFill>
              <a:effectLst>
                <a:glow rad="228600">
                  <a:schemeClr val="bg1">
                    <a:alpha val="40000"/>
                  </a:schemeClr>
                </a:glow>
                <a:outerShdw blurRad="38100" dist="38100" dir="2700000" algn="tl">
                  <a:srgbClr val="000000">
                    <a:alpha val="43137"/>
                  </a:srgbClr>
                </a:outerShdw>
              </a:effectLst>
              <a:latin typeface="Papyrus" pitchFamily="66" charset="0"/>
            </a:endParaRPr>
          </a:p>
        </p:txBody>
      </p:sp>
      <p:cxnSp>
        <p:nvCxnSpPr>
          <p:cNvPr id="60" name="Straight Connector 59"/>
          <p:cNvCxnSpPr>
            <a:endCxn id="61" idx="3"/>
          </p:cNvCxnSpPr>
          <p:nvPr/>
        </p:nvCxnSpPr>
        <p:spPr>
          <a:xfrm flipH="1">
            <a:off x="1907704" y="4509120"/>
            <a:ext cx="468256" cy="432016"/>
          </a:xfrm>
          <a:prstGeom prst="line">
            <a:avLst/>
          </a:prstGeom>
          <a:ln>
            <a:prstDash val="sysDash"/>
          </a:ln>
        </p:spPr>
        <p:style>
          <a:lnRef idx="2">
            <a:schemeClr val="dk1"/>
          </a:lnRef>
          <a:fillRef idx="0">
            <a:schemeClr val="dk1"/>
          </a:fillRef>
          <a:effectRef idx="1">
            <a:schemeClr val="dk1"/>
          </a:effectRef>
          <a:fontRef idx="minor">
            <a:schemeClr val="tx1"/>
          </a:fontRef>
        </p:style>
      </p:cxnSp>
      <p:sp>
        <p:nvSpPr>
          <p:cNvPr id="61" name="Rectangle 60"/>
          <p:cNvSpPr/>
          <p:nvPr/>
        </p:nvSpPr>
        <p:spPr>
          <a:xfrm>
            <a:off x="71704" y="4653136"/>
            <a:ext cx="1836000" cy="576000"/>
          </a:xfrm>
          <a:prstGeom prst="rect">
            <a:avLst/>
          </a:prstGeom>
          <a:solidFill>
            <a:schemeClr val="accent4">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smtClean="0">
                <a:solidFill>
                  <a:schemeClr val="tx1"/>
                </a:solidFill>
                <a:effectLst>
                  <a:glow rad="228600">
                    <a:schemeClr val="bg1">
                      <a:alpha val="40000"/>
                    </a:schemeClr>
                  </a:glow>
                  <a:outerShdw blurRad="38100" dist="38100" dir="2700000" algn="tl">
                    <a:srgbClr val="000000">
                      <a:alpha val="43137"/>
                    </a:srgbClr>
                  </a:outerShdw>
                </a:effectLst>
                <a:latin typeface="Papyrus" pitchFamily="66" charset="0"/>
              </a:rPr>
              <a:t>Logistic</a:t>
            </a:r>
            <a:endParaRPr lang="en-IN" sz="2000" b="1" dirty="0">
              <a:solidFill>
                <a:schemeClr val="tx1"/>
              </a:solidFill>
              <a:effectLst>
                <a:glow rad="228600">
                  <a:schemeClr val="bg1">
                    <a:alpha val="40000"/>
                  </a:schemeClr>
                </a:glow>
                <a:outerShdw blurRad="38100" dist="38100" dir="2700000" algn="tl">
                  <a:srgbClr val="000000">
                    <a:alpha val="43137"/>
                  </a:srgbClr>
                </a:outerShdw>
              </a:effectLst>
              <a:latin typeface="Papyrus" pitchFamily="66" charset="0"/>
            </a:endParaRPr>
          </a:p>
        </p:txBody>
      </p:sp>
      <p:cxnSp>
        <p:nvCxnSpPr>
          <p:cNvPr id="62" name="Straight Connector 61"/>
          <p:cNvCxnSpPr/>
          <p:nvPr/>
        </p:nvCxnSpPr>
        <p:spPr>
          <a:xfrm flipH="1" flipV="1">
            <a:off x="1835696" y="1412776"/>
            <a:ext cx="504000" cy="360040"/>
          </a:xfrm>
          <a:prstGeom prst="line">
            <a:avLst/>
          </a:prstGeom>
          <a:ln>
            <a:prstDash val="sysDash"/>
          </a:ln>
        </p:spPr>
        <p:style>
          <a:lnRef idx="2">
            <a:schemeClr val="dk1"/>
          </a:lnRef>
          <a:fillRef idx="0">
            <a:schemeClr val="dk1"/>
          </a:fillRef>
          <a:effectRef idx="1">
            <a:schemeClr val="dk1"/>
          </a:effectRef>
          <a:fontRef idx="minor">
            <a:schemeClr val="tx1"/>
          </a:fontRef>
        </p:style>
      </p:cxnSp>
      <p:sp>
        <p:nvSpPr>
          <p:cNvPr id="63" name="Rectangle 62"/>
          <p:cNvSpPr/>
          <p:nvPr/>
        </p:nvSpPr>
        <p:spPr>
          <a:xfrm>
            <a:off x="71704" y="1124744"/>
            <a:ext cx="1836000" cy="576000"/>
          </a:xfrm>
          <a:prstGeom prst="rect">
            <a:avLst/>
          </a:prstGeom>
          <a:solidFill>
            <a:srgbClr val="8E348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smtClean="0">
                <a:solidFill>
                  <a:schemeClr val="tx1"/>
                </a:solidFill>
                <a:effectLst>
                  <a:glow rad="228600">
                    <a:schemeClr val="bg1">
                      <a:alpha val="40000"/>
                    </a:schemeClr>
                  </a:glow>
                  <a:outerShdw blurRad="38100" dist="38100" dir="2700000" algn="tl">
                    <a:srgbClr val="000000">
                      <a:alpha val="43137"/>
                    </a:srgbClr>
                  </a:outerShdw>
                </a:effectLst>
                <a:latin typeface="Papyrus" pitchFamily="66" charset="0"/>
              </a:rPr>
              <a:t>Retail</a:t>
            </a:r>
            <a:endParaRPr lang="en-IN" sz="2000" b="1" dirty="0">
              <a:solidFill>
                <a:schemeClr val="tx1"/>
              </a:solidFill>
              <a:effectLst>
                <a:glow rad="228600">
                  <a:schemeClr val="bg1">
                    <a:alpha val="40000"/>
                  </a:schemeClr>
                </a:glow>
                <a:outerShdw blurRad="38100" dist="38100" dir="2700000" algn="tl">
                  <a:srgbClr val="000000">
                    <a:alpha val="43137"/>
                  </a:srgbClr>
                </a:outerShdw>
              </a:effectLst>
              <a:latin typeface="Papyrus" pitchFamily="66" charset="0"/>
            </a:endParaRPr>
          </a:p>
        </p:txBody>
      </p:sp>
      <p:cxnSp>
        <p:nvCxnSpPr>
          <p:cNvPr id="64" name="Straight Connector 63"/>
          <p:cNvCxnSpPr/>
          <p:nvPr/>
        </p:nvCxnSpPr>
        <p:spPr>
          <a:xfrm flipH="1" flipV="1">
            <a:off x="2519568" y="476672"/>
            <a:ext cx="504000" cy="360040"/>
          </a:xfrm>
          <a:prstGeom prst="line">
            <a:avLst/>
          </a:prstGeom>
          <a:ln>
            <a:prstDash val="sysDash"/>
          </a:ln>
        </p:spPr>
        <p:style>
          <a:lnRef idx="2">
            <a:schemeClr val="dk1"/>
          </a:lnRef>
          <a:fillRef idx="0">
            <a:schemeClr val="dk1"/>
          </a:fillRef>
          <a:effectRef idx="1">
            <a:schemeClr val="dk1"/>
          </a:effectRef>
          <a:fontRef idx="minor">
            <a:schemeClr val="tx1"/>
          </a:fontRef>
        </p:style>
      </p:cxnSp>
      <p:sp>
        <p:nvSpPr>
          <p:cNvPr id="65" name="Rectangle 64"/>
          <p:cNvSpPr/>
          <p:nvPr/>
        </p:nvSpPr>
        <p:spPr>
          <a:xfrm>
            <a:off x="755576" y="188640"/>
            <a:ext cx="1836000" cy="576000"/>
          </a:xfrm>
          <a:prstGeom prst="rect">
            <a:avLst/>
          </a:prstGeom>
          <a:solidFill>
            <a:srgbClr val="FF0066">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smtClean="0">
                <a:solidFill>
                  <a:schemeClr val="tx1"/>
                </a:solidFill>
                <a:effectLst>
                  <a:glow rad="228600">
                    <a:schemeClr val="bg1">
                      <a:alpha val="40000"/>
                    </a:schemeClr>
                  </a:glow>
                  <a:outerShdw blurRad="38100" dist="38100" dir="2700000" algn="tl">
                    <a:srgbClr val="000000">
                      <a:alpha val="43137"/>
                    </a:srgbClr>
                  </a:outerShdw>
                </a:effectLst>
                <a:latin typeface="Papyrus" pitchFamily="66" charset="0"/>
              </a:rPr>
              <a:t>Customer</a:t>
            </a:r>
            <a:endParaRPr lang="en-IN" sz="2000" b="1" dirty="0">
              <a:solidFill>
                <a:schemeClr val="tx1"/>
              </a:solidFill>
              <a:effectLst>
                <a:glow rad="228600">
                  <a:schemeClr val="bg1">
                    <a:alpha val="40000"/>
                  </a:schemeClr>
                </a:glow>
                <a:outerShdw blurRad="38100" dist="38100" dir="2700000" algn="tl">
                  <a:srgbClr val="000000">
                    <a:alpha val="43137"/>
                  </a:srgbClr>
                </a:outerShdw>
              </a:effectLst>
              <a:latin typeface="Papyrus" pitchFamily="66" charset="0"/>
            </a:endParaRPr>
          </a:p>
        </p:txBody>
      </p:sp>
      <p:sp>
        <p:nvSpPr>
          <p:cNvPr id="67" name="TextBox 66"/>
          <p:cNvSpPr txBox="1"/>
          <p:nvPr/>
        </p:nvSpPr>
        <p:spPr>
          <a:xfrm>
            <a:off x="3059832" y="2564904"/>
            <a:ext cx="2952328" cy="1815882"/>
          </a:xfrm>
          <a:prstGeom prst="rect">
            <a:avLst/>
          </a:prstGeom>
          <a:noFill/>
        </p:spPr>
        <p:txBody>
          <a:bodyPr wrap="square" rtlCol="0">
            <a:spAutoFit/>
          </a:bodyPr>
          <a:lstStyle/>
          <a:p>
            <a:pPr algn="ctr"/>
            <a:r>
              <a:rPr lang="en-US" sz="2800" b="1" dirty="0" smtClean="0">
                <a:latin typeface="Papyrus" pitchFamily="66" charset="0"/>
              </a:rPr>
              <a:t>Introduction </a:t>
            </a:r>
          </a:p>
          <a:p>
            <a:pPr algn="ctr"/>
            <a:r>
              <a:rPr lang="en-US" sz="2800" b="1" dirty="0" smtClean="0">
                <a:latin typeface="Papyrus" pitchFamily="66" charset="0"/>
              </a:rPr>
              <a:t>to </a:t>
            </a:r>
          </a:p>
          <a:p>
            <a:pPr algn="ctr"/>
            <a:r>
              <a:rPr lang="en-US" sz="2800" b="1" dirty="0" smtClean="0">
                <a:latin typeface="Papyrus" pitchFamily="66" charset="0"/>
              </a:rPr>
              <a:t>Supply Chain Management</a:t>
            </a:r>
            <a:endParaRPr lang="en-IN" sz="2800" b="1" dirty="0">
              <a:latin typeface="Papyrus" pitchFamily="66" charset="0"/>
            </a:endParaRP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250"/>
                                        <p:tgtEl>
                                          <p:spTgt spid="38"/>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250"/>
                                        <p:tgtEl>
                                          <p:spTgt spid="28"/>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250"/>
                                        <p:tgtEl>
                                          <p:spTgt spid="42"/>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fade">
                                      <p:cBhvr>
                                        <p:cTn id="19" dur="250"/>
                                        <p:tgtEl>
                                          <p:spTgt spid="43"/>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250"/>
                                        <p:tgtEl>
                                          <p:spTgt spid="29"/>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fade">
                                      <p:cBhvr>
                                        <p:cTn id="27" dur="250"/>
                                        <p:tgtEl>
                                          <p:spTgt spid="44"/>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250"/>
                                        <p:tgtEl>
                                          <p:spTgt spid="45"/>
                                        </p:tgtEl>
                                      </p:cBhvr>
                                    </p:animEffect>
                                  </p:childTnLst>
                                </p:cTn>
                              </p:par>
                            </p:childTnLst>
                          </p:cTn>
                        </p:par>
                        <p:par>
                          <p:cTn id="32" fill="hold">
                            <p:stCondLst>
                              <p:cond delay="1750"/>
                            </p:stCondLst>
                            <p:childTnLst>
                              <p:par>
                                <p:cTn id="33" presetID="10" presetClass="entr" presetSubtype="0" fill="hold" grpId="0" nodeType="after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fade">
                                      <p:cBhvr>
                                        <p:cTn id="35" dur="250"/>
                                        <p:tgtEl>
                                          <p:spTgt spid="30"/>
                                        </p:tgtEl>
                                      </p:cBhvr>
                                    </p:animEffect>
                                  </p:childTnLst>
                                </p:cTn>
                              </p:par>
                            </p:childTnLst>
                          </p:cTn>
                        </p:par>
                        <p:par>
                          <p:cTn id="36" fill="hold">
                            <p:stCondLst>
                              <p:cond delay="2000"/>
                            </p:stCondLst>
                            <p:childTnLst>
                              <p:par>
                                <p:cTn id="37" presetID="10" presetClass="entr" presetSubtype="0" fill="hold" nodeType="after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250"/>
                                        <p:tgtEl>
                                          <p:spTgt spid="46"/>
                                        </p:tgtEl>
                                      </p:cBhvr>
                                    </p:animEffect>
                                  </p:childTnLst>
                                </p:cTn>
                              </p:par>
                            </p:childTnLst>
                          </p:cTn>
                        </p:par>
                        <p:par>
                          <p:cTn id="40" fill="hold">
                            <p:stCondLst>
                              <p:cond delay="2250"/>
                            </p:stCondLst>
                            <p:childTnLst>
                              <p:par>
                                <p:cTn id="41" presetID="10" presetClass="entr" presetSubtype="0" fill="hold" grpId="0" nodeType="afterEffect">
                                  <p:stCondLst>
                                    <p:cond delay="0"/>
                                  </p:stCondLst>
                                  <p:childTnLst>
                                    <p:set>
                                      <p:cBhvr>
                                        <p:cTn id="42" dur="1" fill="hold">
                                          <p:stCondLst>
                                            <p:cond delay="0"/>
                                          </p:stCondLst>
                                        </p:cTn>
                                        <p:tgtEl>
                                          <p:spTgt spid="47"/>
                                        </p:tgtEl>
                                        <p:attrNameLst>
                                          <p:attrName>style.visibility</p:attrName>
                                        </p:attrNameLst>
                                      </p:cBhvr>
                                      <p:to>
                                        <p:strVal val="visible"/>
                                      </p:to>
                                    </p:set>
                                    <p:animEffect transition="in" filter="fade">
                                      <p:cBhvr>
                                        <p:cTn id="43" dur="250"/>
                                        <p:tgtEl>
                                          <p:spTgt spid="47"/>
                                        </p:tgtEl>
                                      </p:cBhvr>
                                    </p:animEffect>
                                  </p:childTnLst>
                                </p:cTn>
                              </p:par>
                            </p:childTnLst>
                          </p:cTn>
                        </p:par>
                        <p:par>
                          <p:cTn id="44" fill="hold">
                            <p:stCondLst>
                              <p:cond delay="2500"/>
                            </p:stCondLst>
                            <p:childTnLst>
                              <p:par>
                                <p:cTn id="45" presetID="10" presetClass="entr" presetSubtype="0" fill="hold" grpId="0" nodeType="after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250"/>
                                        <p:tgtEl>
                                          <p:spTgt spid="31"/>
                                        </p:tgtEl>
                                      </p:cBhvr>
                                    </p:animEffect>
                                  </p:childTnLst>
                                </p:cTn>
                              </p:par>
                            </p:childTnLst>
                          </p:cTn>
                        </p:par>
                        <p:par>
                          <p:cTn id="48" fill="hold">
                            <p:stCondLst>
                              <p:cond delay="2750"/>
                            </p:stCondLst>
                            <p:childTnLst>
                              <p:par>
                                <p:cTn id="49" presetID="10" presetClass="entr" presetSubtype="0" fill="hold" nodeType="afterEffect">
                                  <p:stCondLst>
                                    <p:cond delay="0"/>
                                  </p:stCondLst>
                                  <p:childTnLst>
                                    <p:set>
                                      <p:cBhvr>
                                        <p:cTn id="50" dur="1" fill="hold">
                                          <p:stCondLst>
                                            <p:cond delay="0"/>
                                          </p:stCondLst>
                                        </p:cTn>
                                        <p:tgtEl>
                                          <p:spTgt spid="48"/>
                                        </p:tgtEl>
                                        <p:attrNameLst>
                                          <p:attrName>style.visibility</p:attrName>
                                        </p:attrNameLst>
                                      </p:cBhvr>
                                      <p:to>
                                        <p:strVal val="visible"/>
                                      </p:to>
                                    </p:set>
                                    <p:animEffect transition="in" filter="fade">
                                      <p:cBhvr>
                                        <p:cTn id="51" dur="250"/>
                                        <p:tgtEl>
                                          <p:spTgt spid="48"/>
                                        </p:tgtEl>
                                      </p:cBhvr>
                                    </p:animEffect>
                                  </p:childTnLst>
                                </p:cTn>
                              </p:par>
                            </p:childTnLst>
                          </p:cTn>
                        </p:par>
                        <p:par>
                          <p:cTn id="52" fill="hold">
                            <p:stCondLst>
                              <p:cond delay="3000"/>
                            </p:stCondLst>
                            <p:childTnLst>
                              <p:par>
                                <p:cTn id="53" presetID="10" presetClass="entr" presetSubtype="0" fill="hold" grpId="0" nodeType="afterEffect">
                                  <p:stCondLst>
                                    <p:cond delay="0"/>
                                  </p:stCondLst>
                                  <p:childTnLst>
                                    <p:set>
                                      <p:cBhvr>
                                        <p:cTn id="54" dur="1" fill="hold">
                                          <p:stCondLst>
                                            <p:cond delay="0"/>
                                          </p:stCondLst>
                                        </p:cTn>
                                        <p:tgtEl>
                                          <p:spTgt spid="49"/>
                                        </p:tgtEl>
                                        <p:attrNameLst>
                                          <p:attrName>style.visibility</p:attrName>
                                        </p:attrNameLst>
                                      </p:cBhvr>
                                      <p:to>
                                        <p:strVal val="visible"/>
                                      </p:to>
                                    </p:set>
                                    <p:animEffect transition="in" filter="fade">
                                      <p:cBhvr>
                                        <p:cTn id="55" dur="250"/>
                                        <p:tgtEl>
                                          <p:spTgt spid="49"/>
                                        </p:tgtEl>
                                      </p:cBhvr>
                                    </p:animEffect>
                                  </p:childTnLst>
                                </p:cTn>
                              </p:par>
                            </p:childTnLst>
                          </p:cTn>
                        </p:par>
                        <p:par>
                          <p:cTn id="56" fill="hold">
                            <p:stCondLst>
                              <p:cond delay="3250"/>
                            </p:stCondLst>
                            <p:childTnLst>
                              <p:par>
                                <p:cTn id="57" presetID="10" presetClass="entr" presetSubtype="0" fill="hold" grpId="0" nodeType="afterEffect">
                                  <p:stCondLst>
                                    <p:cond delay="0"/>
                                  </p:stCondLst>
                                  <p:childTnLst>
                                    <p:set>
                                      <p:cBhvr>
                                        <p:cTn id="58" dur="1" fill="hold">
                                          <p:stCondLst>
                                            <p:cond delay="0"/>
                                          </p:stCondLst>
                                        </p:cTn>
                                        <p:tgtEl>
                                          <p:spTgt spid="32"/>
                                        </p:tgtEl>
                                        <p:attrNameLst>
                                          <p:attrName>style.visibility</p:attrName>
                                        </p:attrNameLst>
                                      </p:cBhvr>
                                      <p:to>
                                        <p:strVal val="visible"/>
                                      </p:to>
                                    </p:set>
                                    <p:animEffect transition="in" filter="fade">
                                      <p:cBhvr>
                                        <p:cTn id="59" dur="250"/>
                                        <p:tgtEl>
                                          <p:spTgt spid="32"/>
                                        </p:tgtEl>
                                      </p:cBhvr>
                                    </p:animEffect>
                                  </p:childTnLst>
                                </p:cTn>
                              </p:par>
                            </p:childTnLst>
                          </p:cTn>
                        </p:par>
                        <p:par>
                          <p:cTn id="60" fill="hold">
                            <p:stCondLst>
                              <p:cond delay="3500"/>
                            </p:stCondLst>
                            <p:childTnLst>
                              <p:par>
                                <p:cTn id="61" presetID="10" presetClass="entr" presetSubtype="0" fill="hold" nodeType="afterEffect">
                                  <p:stCondLst>
                                    <p:cond delay="0"/>
                                  </p:stCondLst>
                                  <p:childTnLst>
                                    <p:set>
                                      <p:cBhvr>
                                        <p:cTn id="62" dur="1" fill="hold">
                                          <p:stCondLst>
                                            <p:cond delay="0"/>
                                          </p:stCondLst>
                                        </p:cTn>
                                        <p:tgtEl>
                                          <p:spTgt spid="50"/>
                                        </p:tgtEl>
                                        <p:attrNameLst>
                                          <p:attrName>style.visibility</p:attrName>
                                        </p:attrNameLst>
                                      </p:cBhvr>
                                      <p:to>
                                        <p:strVal val="visible"/>
                                      </p:to>
                                    </p:set>
                                    <p:animEffect transition="in" filter="fade">
                                      <p:cBhvr>
                                        <p:cTn id="63" dur="250"/>
                                        <p:tgtEl>
                                          <p:spTgt spid="50"/>
                                        </p:tgtEl>
                                      </p:cBhvr>
                                    </p:animEffect>
                                  </p:childTnLst>
                                </p:cTn>
                              </p:par>
                            </p:childTnLst>
                          </p:cTn>
                        </p:par>
                        <p:par>
                          <p:cTn id="64" fill="hold">
                            <p:stCondLst>
                              <p:cond delay="3750"/>
                            </p:stCondLst>
                            <p:childTnLst>
                              <p:par>
                                <p:cTn id="65" presetID="10" presetClass="entr" presetSubtype="0" fill="hold" grpId="0" nodeType="afterEffect">
                                  <p:stCondLst>
                                    <p:cond delay="0"/>
                                  </p:stCondLst>
                                  <p:childTnLst>
                                    <p:set>
                                      <p:cBhvr>
                                        <p:cTn id="66" dur="1" fill="hold">
                                          <p:stCondLst>
                                            <p:cond delay="0"/>
                                          </p:stCondLst>
                                        </p:cTn>
                                        <p:tgtEl>
                                          <p:spTgt spid="51"/>
                                        </p:tgtEl>
                                        <p:attrNameLst>
                                          <p:attrName>style.visibility</p:attrName>
                                        </p:attrNameLst>
                                      </p:cBhvr>
                                      <p:to>
                                        <p:strVal val="visible"/>
                                      </p:to>
                                    </p:set>
                                    <p:animEffect transition="in" filter="fade">
                                      <p:cBhvr>
                                        <p:cTn id="67" dur="250"/>
                                        <p:tgtEl>
                                          <p:spTgt spid="51"/>
                                        </p:tgtEl>
                                      </p:cBhvr>
                                    </p:animEffect>
                                  </p:childTnLst>
                                </p:cTn>
                              </p:par>
                            </p:childTnLst>
                          </p:cTn>
                        </p:par>
                        <p:par>
                          <p:cTn id="68" fill="hold">
                            <p:stCondLst>
                              <p:cond delay="4000"/>
                            </p:stCondLst>
                            <p:childTnLst>
                              <p:par>
                                <p:cTn id="69" presetID="10" presetClass="entr" presetSubtype="0" fill="hold" grpId="0" nodeType="afterEffect">
                                  <p:stCondLst>
                                    <p:cond delay="0"/>
                                  </p:stCondLst>
                                  <p:childTnLst>
                                    <p:set>
                                      <p:cBhvr>
                                        <p:cTn id="70" dur="1" fill="hold">
                                          <p:stCondLst>
                                            <p:cond delay="0"/>
                                          </p:stCondLst>
                                        </p:cTn>
                                        <p:tgtEl>
                                          <p:spTgt spid="33"/>
                                        </p:tgtEl>
                                        <p:attrNameLst>
                                          <p:attrName>style.visibility</p:attrName>
                                        </p:attrNameLst>
                                      </p:cBhvr>
                                      <p:to>
                                        <p:strVal val="visible"/>
                                      </p:to>
                                    </p:set>
                                    <p:animEffect transition="in" filter="fade">
                                      <p:cBhvr>
                                        <p:cTn id="71" dur="250"/>
                                        <p:tgtEl>
                                          <p:spTgt spid="33"/>
                                        </p:tgtEl>
                                      </p:cBhvr>
                                    </p:animEffect>
                                  </p:childTnLst>
                                </p:cTn>
                              </p:par>
                            </p:childTnLst>
                          </p:cTn>
                        </p:par>
                        <p:par>
                          <p:cTn id="72" fill="hold">
                            <p:stCondLst>
                              <p:cond delay="4250"/>
                            </p:stCondLst>
                            <p:childTnLst>
                              <p:par>
                                <p:cTn id="73" presetID="10" presetClass="entr" presetSubtype="0" fill="hold" nodeType="afterEffect">
                                  <p:stCondLst>
                                    <p:cond delay="0"/>
                                  </p:stCondLst>
                                  <p:childTnLst>
                                    <p:set>
                                      <p:cBhvr>
                                        <p:cTn id="74" dur="1" fill="hold">
                                          <p:stCondLst>
                                            <p:cond delay="0"/>
                                          </p:stCondLst>
                                        </p:cTn>
                                        <p:tgtEl>
                                          <p:spTgt spid="56"/>
                                        </p:tgtEl>
                                        <p:attrNameLst>
                                          <p:attrName>style.visibility</p:attrName>
                                        </p:attrNameLst>
                                      </p:cBhvr>
                                      <p:to>
                                        <p:strVal val="visible"/>
                                      </p:to>
                                    </p:set>
                                    <p:animEffect transition="in" filter="fade">
                                      <p:cBhvr>
                                        <p:cTn id="75" dur="250"/>
                                        <p:tgtEl>
                                          <p:spTgt spid="56"/>
                                        </p:tgtEl>
                                      </p:cBhvr>
                                    </p:animEffect>
                                  </p:childTnLst>
                                </p:cTn>
                              </p:par>
                            </p:childTnLst>
                          </p:cTn>
                        </p:par>
                        <p:par>
                          <p:cTn id="76" fill="hold">
                            <p:stCondLst>
                              <p:cond delay="4500"/>
                            </p:stCondLst>
                            <p:childTnLst>
                              <p:par>
                                <p:cTn id="77" presetID="10" presetClass="entr" presetSubtype="0" fill="hold" grpId="0" nodeType="afterEffect">
                                  <p:stCondLst>
                                    <p:cond delay="0"/>
                                  </p:stCondLst>
                                  <p:childTnLst>
                                    <p:set>
                                      <p:cBhvr>
                                        <p:cTn id="78" dur="1" fill="hold">
                                          <p:stCondLst>
                                            <p:cond delay="0"/>
                                          </p:stCondLst>
                                        </p:cTn>
                                        <p:tgtEl>
                                          <p:spTgt spid="57"/>
                                        </p:tgtEl>
                                        <p:attrNameLst>
                                          <p:attrName>style.visibility</p:attrName>
                                        </p:attrNameLst>
                                      </p:cBhvr>
                                      <p:to>
                                        <p:strVal val="visible"/>
                                      </p:to>
                                    </p:set>
                                    <p:animEffect transition="in" filter="fade">
                                      <p:cBhvr>
                                        <p:cTn id="79" dur="250"/>
                                        <p:tgtEl>
                                          <p:spTgt spid="57"/>
                                        </p:tgtEl>
                                      </p:cBhvr>
                                    </p:animEffect>
                                  </p:childTnLst>
                                </p:cTn>
                              </p:par>
                            </p:childTnLst>
                          </p:cTn>
                        </p:par>
                        <p:par>
                          <p:cTn id="80" fill="hold">
                            <p:stCondLst>
                              <p:cond delay="4750"/>
                            </p:stCondLst>
                            <p:childTnLst>
                              <p:par>
                                <p:cTn id="81" presetID="10" presetClass="entr" presetSubtype="0" fill="hold" grpId="0" nodeType="afterEffect">
                                  <p:stCondLst>
                                    <p:cond delay="0"/>
                                  </p:stCondLst>
                                  <p:childTnLst>
                                    <p:set>
                                      <p:cBhvr>
                                        <p:cTn id="82" dur="1" fill="hold">
                                          <p:stCondLst>
                                            <p:cond delay="0"/>
                                          </p:stCondLst>
                                        </p:cTn>
                                        <p:tgtEl>
                                          <p:spTgt spid="34"/>
                                        </p:tgtEl>
                                        <p:attrNameLst>
                                          <p:attrName>style.visibility</p:attrName>
                                        </p:attrNameLst>
                                      </p:cBhvr>
                                      <p:to>
                                        <p:strVal val="visible"/>
                                      </p:to>
                                    </p:set>
                                    <p:animEffect transition="in" filter="fade">
                                      <p:cBhvr>
                                        <p:cTn id="83" dur="250"/>
                                        <p:tgtEl>
                                          <p:spTgt spid="34"/>
                                        </p:tgtEl>
                                      </p:cBhvr>
                                    </p:animEffect>
                                  </p:childTnLst>
                                </p:cTn>
                              </p:par>
                            </p:childTnLst>
                          </p:cTn>
                        </p:par>
                        <p:par>
                          <p:cTn id="84" fill="hold">
                            <p:stCondLst>
                              <p:cond delay="5000"/>
                            </p:stCondLst>
                            <p:childTnLst>
                              <p:par>
                                <p:cTn id="85" presetID="10" presetClass="entr" presetSubtype="0" fill="hold" nodeType="afterEffect">
                                  <p:stCondLst>
                                    <p:cond delay="0"/>
                                  </p:stCondLst>
                                  <p:childTnLst>
                                    <p:set>
                                      <p:cBhvr>
                                        <p:cTn id="86" dur="1" fill="hold">
                                          <p:stCondLst>
                                            <p:cond delay="0"/>
                                          </p:stCondLst>
                                        </p:cTn>
                                        <p:tgtEl>
                                          <p:spTgt spid="60"/>
                                        </p:tgtEl>
                                        <p:attrNameLst>
                                          <p:attrName>style.visibility</p:attrName>
                                        </p:attrNameLst>
                                      </p:cBhvr>
                                      <p:to>
                                        <p:strVal val="visible"/>
                                      </p:to>
                                    </p:set>
                                    <p:animEffect transition="in" filter="fade">
                                      <p:cBhvr>
                                        <p:cTn id="87" dur="250"/>
                                        <p:tgtEl>
                                          <p:spTgt spid="60"/>
                                        </p:tgtEl>
                                      </p:cBhvr>
                                    </p:animEffect>
                                  </p:childTnLst>
                                </p:cTn>
                              </p:par>
                            </p:childTnLst>
                          </p:cTn>
                        </p:par>
                        <p:par>
                          <p:cTn id="88" fill="hold">
                            <p:stCondLst>
                              <p:cond delay="5250"/>
                            </p:stCondLst>
                            <p:childTnLst>
                              <p:par>
                                <p:cTn id="89" presetID="10" presetClass="entr" presetSubtype="0" fill="hold" grpId="0" nodeType="afterEffect">
                                  <p:stCondLst>
                                    <p:cond delay="0"/>
                                  </p:stCondLst>
                                  <p:childTnLst>
                                    <p:set>
                                      <p:cBhvr>
                                        <p:cTn id="90" dur="1" fill="hold">
                                          <p:stCondLst>
                                            <p:cond delay="0"/>
                                          </p:stCondLst>
                                        </p:cTn>
                                        <p:tgtEl>
                                          <p:spTgt spid="61"/>
                                        </p:tgtEl>
                                        <p:attrNameLst>
                                          <p:attrName>style.visibility</p:attrName>
                                        </p:attrNameLst>
                                      </p:cBhvr>
                                      <p:to>
                                        <p:strVal val="visible"/>
                                      </p:to>
                                    </p:set>
                                    <p:animEffect transition="in" filter="fade">
                                      <p:cBhvr>
                                        <p:cTn id="91" dur="250"/>
                                        <p:tgtEl>
                                          <p:spTgt spid="61"/>
                                        </p:tgtEl>
                                      </p:cBhvr>
                                    </p:animEffect>
                                  </p:childTnLst>
                                </p:cTn>
                              </p:par>
                            </p:childTnLst>
                          </p:cTn>
                        </p:par>
                        <p:par>
                          <p:cTn id="92" fill="hold">
                            <p:stCondLst>
                              <p:cond delay="5500"/>
                            </p:stCondLst>
                            <p:childTnLst>
                              <p:par>
                                <p:cTn id="93" presetID="10" presetClass="entr" presetSubtype="0" fill="hold" grpId="0" nodeType="afterEffect">
                                  <p:stCondLst>
                                    <p:cond delay="0"/>
                                  </p:stCondLst>
                                  <p:childTnLst>
                                    <p:set>
                                      <p:cBhvr>
                                        <p:cTn id="94" dur="1" fill="hold">
                                          <p:stCondLst>
                                            <p:cond delay="0"/>
                                          </p:stCondLst>
                                        </p:cTn>
                                        <p:tgtEl>
                                          <p:spTgt spid="35"/>
                                        </p:tgtEl>
                                        <p:attrNameLst>
                                          <p:attrName>style.visibility</p:attrName>
                                        </p:attrNameLst>
                                      </p:cBhvr>
                                      <p:to>
                                        <p:strVal val="visible"/>
                                      </p:to>
                                    </p:set>
                                    <p:animEffect transition="in" filter="fade">
                                      <p:cBhvr>
                                        <p:cTn id="95" dur="250"/>
                                        <p:tgtEl>
                                          <p:spTgt spid="35"/>
                                        </p:tgtEl>
                                      </p:cBhvr>
                                    </p:animEffect>
                                  </p:childTnLst>
                                </p:cTn>
                              </p:par>
                            </p:childTnLst>
                          </p:cTn>
                        </p:par>
                        <p:par>
                          <p:cTn id="96" fill="hold">
                            <p:stCondLst>
                              <p:cond delay="5750"/>
                            </p:stCondLst>
                            <p:childTnLst>
                              <p:par>
                                <p:cTn id="97" presetID="10" presetClass="entr" presetSubtype="0" fill="hold" nodeType="afterEffect">
                                  <p:stCondLst>
                                    <p:cond delay="0"/>
                                  </p:stCondLst>
                                  <p:childTnLst>
                                    <p:set>
                                      <p:cBhvr>
                                        <p:cTn id="98" dur="1" fill="hold">
                                          <p:stCondLst>
                                            <p:cond delay="0"/>
                                          </p:stCondLst>
                                        </p:cTn>
                                        <p:tgtEl>
                                          <p:spTgt spid="62"/>
                                        </p:tgtEl>
                                        <p:attrNameLst>
                                          <p:attrName>style.visibility</p:attrName>
                                        </p:attrNameLst>
                                      </p:cBhvr>
                                      <p:to>
                                        <p:strVal val="visible"/>
                                      </p:to>
                                    </p:set>
                                    <p:animEffect transition="in" filter="fade">
                                      <p:cBhvr>
                                        <p:cTn id="99" dur="250"/>
                                        <p:tgtEl>
                                          <p:spTgt spid="62"/>
                                        </p:tgtEl>
                                      </p:cBhvr>
                                    </p:animEffect>
                                  </p:childTnLst>
                                </p:cTn>
                              </p:par>
                            </p:childTnLst>
                          </p:cTn>
                        </p:par>
                        <p:par>
                          <p:cTn id="100" fill="hold">
                            <p:stCondLst>
                              <p:cond delay="6000"/>
                            </p:stCondLst>
                            <p:childTnLst>
                              <p:par>
                                <p:cTn id="101" presetID="10" presetClass="entr" presetSubtype="0" fill="hold" grpId="0" nodeType="afterEffect">
                                  <p:stCondLst>
                                    <p:cond delay="0"/>
                                  </p:stCondLst>
                                  <p:childTnLst>
                                    <p:set>
                                      <p:cBhvr>
                                        <p:cTn id="102" dur="1" fill="hold">
                                          <p:stCondLst>
                                            <p:cond delay="0"/>
                                          </p:stCondLst>
                                        </p:cTn>
                                        <p:tgtEl>
                                          <p:spTgt spid="63"/>
                                        </p:tgtEl>
                                        <p:attrNameLst>
                                          <p:attrName>style.visibility</p:attrName>
                                        </p:attrNameLst>
                                      </p:cBhvr>
                                      <p:to>
                                        <p:strVal val="visible"/>
                                      </p:to>
                                    </p:set>
                                    <p:animEffect transition="in" filter="fade">
                                      <p:cBhvr>
                                        <p:cTn id="103" dur="250"/>
                                        <p:tgtEl>
                                          <p:spTgt spid="63"/>
                                        </p:tgtEl>
                                      </p:cBhvr>
                                    </p:animEffect>
                                  </p:childTnLst>
                                </p:cTn>
                              </p:par>
                            </p:childTnLst>
                          </p:cTn>
                        </p:par>
                        <p:par>
                          <p:cTn id="104" fill="hold">
                            <p:stCondLst>
                              <p:cond delay="6250"/>
                            </p:stCondLst>
                            <p:childTnLst>
                              <p:par>
                                <p:cTn id="105" presetID="10" presetClass="entr" presetSubtype="0" fill="hold" grpId="0" nodeType="afterEffect">
                                  <p:stCondLst>
                                    <p:cond delay="0"/>
                                  </p:stCondLst>
                                  <p:childTnLst>
                                    <p:set>
                                      <p:cBhvr>
                                        <p:cTn id="106" dur="1" fill="hold">
                                          <p:stCondLst>
                                            <p:cond delay="0"/>
                                          </p:stCondLst>
                                        </p:cTn>
                                        <p:tgtEl>
                                          <p:spTgt spid="36"/>
                                        </p:tgtEl>
                                        <p:attrNameLst>
                                          <p:attrName>style.visibility</p:attrName>
                                        </p:attrNameLst>
                                      </p:cBhvr>
                                      <p:to>
                                        <p:strVal val="visible"/>
                                      </p:to>
                                    </p:set>
                                    <p:animEffect transition="in" filter="fade">
                                      <p:cBhvr>
                                        <p:cTn id="107" dur="250"/>
                                        <p:tgtEl>
                                          <p:spTgt spid="36"/>
                                        </p:tgtEl>
                                      </p:cBhvr>
                                    </p:animEffect>
                                  </p:childTnLst>
                                </p:cTn>
                              </p:par>
                            </p:childTnLst>
                          </p:cTn>
                        </p:par>
                        <p:par>
                          <p:cTn id="108" fill="hold">
                            <p:stCondLst>
                              <p:cond delay="6500"/>
                            </p:stCondLst>
                            <p:childTnLst>
                              <p:par>
                                <p:cTn id="109" presetID="10" presetClass="entr" presetSubtype="0" fill="hold" nodeType="afterEffect">
                                  <p:stCondLst>
                                    <p:cond delay="0"/>
                                  </p:stCondLst>
                                  <p:childTnLst>
                                    <p:set>
                                      <p:cBhvr>
                                        <p:cTn id="110" dur="1" fill="hold">
                                          <p:stCondLst>
                                            <p:cond delay="0"/>
                                          </p:stCondLst>
                                        </p:cTn>
                                        <p:tgtEl>
                                          <p:spTgt spid="64"/>
                                        </p:tgtEl>
                                        <p:attrNameLst>
                                          <p:attrName>style.visibility</p:attrName>
                                        </p:attrNameLst>
                                      </p:cBhvr>
                                      <p:to>
                                        <p:strVal val="visible"/>
                                      </p:to>
                                    </p:set>
                                    <p:animEffect transition="in" filter="fade">
                                      <p:cBhvr>
                                        <p:cTn id="111" dur="250"/>
                                        <p:tgtEl>
                                          <p:spTgt spid="64"/>
                                        </p:tgtEl>
                                      </p:cBhvr>
                                    </p:animEffect>
                                  </p:childTnLst>
                                </p:cTn>
                              </p:par>
                            </p:childTnLst>
                          </p:cTn>
                        </p:par>
                        <p:par>
                          <p:cTn id="112" fill="hold">
                            <p:stCondLst>
                              <p:cond delay="6750"/>
                            </p:stCondLst>
                            <p:childTnLst>
                              <p:par>
                                <p:cTn id="113" presetID="10" presetClass="entr" presetSubtype="0" fill="hold" grpId="0" nodeType="afterEffect">
                                  <p:stCondLst>
                                    <p:cond delay="0"/>
                                  </p:stCondLst>
                                  <p:childTnLst>
                                    <p:set>
                                      <p:cBhvr>
                                        <p:cTn id="114" dur="1" fill="hold">
                                          <p:stCondLst>
                                            <p:cond delay="0"/>
                                          </p:stCondLst>
                                        </p:cTn>
                                        <p:tgtEl>
                                          <p:spTgt spid="65"/>
                                        </p:tgtEl>
                                        <p:attrNameLst>
                                          <p:attrName>style.visibility</p:attrName>
                                        </p:attrNameLst>
                                      </p:cBhvr>
                                      <p:to>
                                        <p:strVal val="visible"/>
                                      </p:to>
                                    </p:set>
                                    <p:animEffect transition="in" filter="fade">
                                      <p:cBhvr>
                                        <p:cTn id="115" dur="250"/>
                                        <p:tgtEl>
                                          <p:spTgt spid="65"/>
                                        </p:tgtEl>
                                      </p:cBhvr>
                                    </p:animEffect>
                                  </p:childTnLst>
                                </p:cTn>
                              </p:par>
                            </p:childTnLst>
                          </p:cTn>
                        </p:par>
                        <p:par>
                          <p:cTn id="116" fill="hold">
                            <p:stCondLst>
                              <p:cond delay="7000"/>
                            </p:stCondLst>
                            <p:childTnLst>
                              <p:par>
                                <p:cTn id="117" presetID="10" presetClass="entr" presetSubtype="0" fill="hold" grpId="0" nodeType="afterEffect">
                                  <p:stCondLst>
                                    <p:cond delay="0"/>
                                  </p:stCondLst>
                                  <p:childTnLst>
                                    <p:set>
                                      <p:cBhvr>
                                        <p:cTn id="118" dur="1" fill="hold">
                                          <p:stCondLst>
                                            <p:cond delay="0"/>
                                          </p:stCondLst>
                                        </p:cTn>
                                        <p:tgtEl>
                                          <p:spTgt spid="67"/>
                                        </p:tgtEl>
                                        <p:attrNameLst>
                                          <p:attrName>style.visibility</p:attrName>
                                        </p:attrNameLst>
                                      </p:cBhvr>
                                      <p:to>
                                        <p:strVal val="visible"/>
                                      </p:to>
                                    </p:set>
                                    <p:animEffect transition="in" filter="fade">
                                      <p:cBhvr>
                                        <p:cTn id="119" dur="25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P spid="31" grpId="0" animBg="1"/>
      <p:bldP spid="32" grpId="0" animBg="1"/>
      <p:bldP spid="33" grpId="0" animBg="1"/>
      <p:bldP spid="34" grpId="0" animBg="1"/>
      <p:bldP spid="35" grpId="0" animBg="1"/>
      <p:bldP spid="36" grpId="0" animBg="1"/>
      <p:bldP spid="43" grpId="0" animBg="1"/>
      <p:bldP spid="45" grpId="0" animBg="1"/>
      <p:bldP spid="47" grpId="0" animBg="1"/>
      <p:bldP spid="49" grpId="0" animBg="1"/>
      <p:bldP spid="51" grpId="0" animBg="1"/>
      <p:bldP spid="57" grpId="0" animBg="1"/>
      <p:bldP spid="61" grpId="0" animBg="1"/>
      <p:bldP spid="63" grpId="0" animBg="1"/>
      <p:bldP spid="65" grpId="0" animBg="1"/>
      <p:bldP spid="6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12801607_l.jpg"/>
          <p:cNvPicPr>
            <a:picLocks noChangeAspect="1"/>
          </p:cNvPicPr>
          <p:nvPr/>
        </p:nvPicPr>
        <p:blipFill>
          <a:blip r:embed="rId4" cstate="print">
            <a:lum contrast="40000"/>
          </a:blip>
          <a:stretch>
            <a:fillRect/>
          </a:stretch>
        </p:blipFill>
        <p:spPr>
          <a:xfrm>
            <a:off x="0" y="836712"/>
            <a:ext cx="9144000" cy="6021288"/>
          </a:xfrm>
          <a:prstGeom prst="rect">
            <a:avLst/>
          </a:prstGeom>
        </p:spPr>
      </p:pic>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5"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6"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7"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8"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9"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10"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1"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2"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3"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smtClean="0"/>
                <a:t>Introduction</a:t>
              </a:r>
              <a:endParaRPr lang="en-IN" sz="3200" dirty="0"/>
            </a:p>
          </p:txBody>
        </p:sp>
      </p:grpSp>
      <p:grpSp>
        <p:nvGrpSpPr>
          <p:cNvPr id="4" name="Group 24"/>
          <p:cNvGrpSpPr/>
          <p:nvPr/>
        </p:nvGrpSpPr>
        <p:grpSpPr>
          <a:xfrm>
            <a:off x="1187624" y="836712"/>
            <a:ext cx="7632848" cy="2016224"/>
            <a:chOff x="1187624" y="1065259"/>
            <a:chExt cx="7632848" cy="2366872"/>
          </a:xfrm>
        </p:grpSpPr>
        <p:pic>
          <p:nvPicPr>
            <p:cNvPr id="23" name="Picture 22" descr="13436110_xl.jpg"/>
            <p:cNvPicPr>
              <a:picLocks noChangeAspect="1"/>
            </p:cNvPicPr>
            <p:nvPr/>
          </p:nvPicPr>
          <p:blipFill>
            <a:blip r:embed="rId14" cstate="print">
              <a:clrChange>
                <a:clrFrom>
                  <a:srgbClr val="8F8677"/>
                </a:clrFrom>
                <a:clrTo>
                  <a:srgbClr val="8F8677">
                    <a:alpha val="0"/>
                  </a:srgbClr>
                </a:clrTo>
              </a:clrChange>
            </a:blip>
            <a:srcRect r="50000" b="80450"/>
            <a:stretch>
              <a:fillRect/>
            </a:stretch>
          </p:blipFill>
          <p:spPr>
            <a:xfrm>
              <a:off x="1187624" y="1065259"/>
              <a:ext cx="7632848" cy="2366872"/>
            </a:xfrm>
            <a:prstGeom prst="rect">
              <a:avLst/>
            </a:prstGeom>
          </p:spPr>
        </p:pic>
        <p:sp>
          <p:nvSpPr>
            <p:cNvPr id="24" name="TextBox 23"/>
            <p:cNvSpPr txBox="1"/>
            <p:nvPr/>
          </p:nvSpPr>
          <p:spPr>
            <a:xfrm>
              <a:off x="2195736" y="1624935"/>
              <a:ext cx="6192687" cy="1192300"/>
            </a:xfrm>
            <a:prstGeom prst="rect">
              <a:avLst/>
            </a:prstGeom>
            <a:noFill/>
          </p:spPr>
          <p:txBody>
            <a:bodyPr wrap="square" rtlCol="0">
              <a:spAutoFit/>
            </a:bodyPr>
            <a:lstStyle/>
            <a:p>
              <a:r>
                <a:rPr lang="en-IN" sz="2000" dirty="0" smtClean="0"/>
                <a:t>‘Supply Chain Management’ is also called the art of management of providing the ‘Right Product, At the Right Time, Right Place and at the Right Cost to the Customer’.</a:t>
              </a:r>
              <a:endParaRPr lang="en-IN" sz="2000" dirty="0"/>
            </a:p>
          </p:txBody>
        </p:sp>
      </p:grpSp>
      <p:pic>
        <p:nvPicPr>
          <p:cNvPr id="26" name="Picture 5" descr="Tessafilm_4"/>
          <p:cNvPicPr>
            <a:picLocks noChangeAspect="1" noChangeArrowheads="1"/>
          </p:cNvPicPr>
          <p:nvPr/>
        </p:nvPicPr>
        <p:blipFill>
          <a:blip r:embed="rId15" cstate="print">
            <a:duotone>
              <a:prstClr val="black"/>
              <a:srgbClr val="00B0F0">
                <a:tint val="45000"/>
                <a:satMod val="400000"/>
              </a:srgbClr>
            </a:duotone>
          </a:blip>
          <a:srcRect l="59392" b="89844"/>
          <a:stretch>
            <a:fillRect/>
          </a:stretch>
        </p:blipFill>
        <p:spPr bwMode="gray">
          <a:xfrm rot="20222041">
            <a:off x="1130174" y="1049435"/>
            <a:ext cx="1538105" cy="387075"/>
          </a:xfrm>
          <a:prstGeom prst="rect">
            <a:avLst/>
          </a:prstGeom>
          <a:noFill/>
        </p:spPr>
      </p:pic>
      <p:pic>
        <p:nvPicPr>
          <p:cNvPr id="253" name="Picture 252" descr="10046322_xxl.jpg"/>
          <p:cNvPicPr>
            <a:picLocks noChangeAspect="1"/>
          </p:cNvPicPr>
          <p:nvPr/>
        </p:nvPicPr>
        <p:blipFill>
          <a:blip r:embed="rId16" cstate="print">
            <a:clrChange>
              <a:clrFrom>
                <a:srgbClr val="FFFFFF"/>
              </a:clrFrom>
              <a:clrTo>
                <a:srgbClr val="FFFFFF">
                  <a:alpha val="0"/>
                </a:srgbClr>
              </a:clrTo>
            </a:clrChange>
          </a:blip>
          <a:srcRect l="33282" t="64700" r="29939"/>
          <a:stretch>
            <a:fillRect/>
          </a:stretch>
        </p:blipFill>
        <p:spPr>
          <a:xfrm>
            <a:off x="3419872" y="2343721"/>
            <a:ext cx="5724128" cy="4753468"/>
          </a:xfrm>
          <a:prstGeom prst="rect">
            <a:avLst/>
          </a:prstGeom>
        </p:spPr>
      </p:pic>
      <p:pic>
        <p:nvPicPr>
          <p:cNvPr id="27" name="Picture 26" descr="13549959_l.jpg"/>
          <p:cNvPicPr>
            <a:picLocks noChangeAspect="1"/>
          </p:cNvPicPr>
          <p:nvPr/>
        </p:nvPicPr>
        <p:blipFill>
          <a:blip r:embed="rId17" cstate="print"/>
          <a:stretch>
            <a:fillRect/>
          </a:stretch>
        </p:blipFill>
        <p:spPr>
          <a:xfrm>
            <a:off x="4067944" y="3356992"/>
            <a:ext cx="4248472" cy="2880320"/>
          </a:xfrm>
          <a:prstGeom prst="rect">
            <a:avLst/>
          </a:prstGeom>
        </p:spPr>
      </p:pic>
      <p:grpSp>
        <p:nvGrpSpPr>
          <p:cNvPr id="28" name="Gruppieren 20"/>
          <p:cNvGrpSpPr/>
          <p:nvPr/>
        </p:nvGrpSpPr>
        <p:grpSpPr>
          <a:xfrm rot="383809">
            <a:off x="57979" y="3684174"/>
            <a:ext cx="3417804" cy="2322126"/>
            <a:chOff x="4645151" y="-658054"/>
            <a:chExt cx="7338689" cy="2872068"/>
          </a:xfrm>
        </p:grpSpPr>
        <p:sp>
          <p:nvSpPr>
            <p:cNvPr id="29" name="Rechteck 21"/>
            <p:cNvSpPr/>
            <p:nvPr/>
          </p:nvSpPr>
          <p:spPr bwMode="auto">
            <a:xfrm>
              <a:off x="5473043" y="-493352"/>
              <a:ext cx="6510797" cy="2707366"/>
            </a:xfrm>
            <a:prstGeom prst="rect">
              <a:avLst/>
            </a:prstGeom>
            <a:gradFill flip="none" rotWithShape="1">
              <a:gsLst>
                <a:gs pos="0">
                  <a:srgbClr val="FF0066">
                    <a:shade val="30000"/>
                    <a:satMod val="115000"/>
                  </a:srgbClr>
                </a:gs>
                <a:gs pos="50000">
                  <a:srgbClr val="FF0066">
                    <a:shade val="67500"/>
                    <a:satMod val="115000"/>
                  </a:srgbClr>
                </a:gs>
                <a:gs pos="100000">
                  <a:srgbClr val="FF0066">
                    <a:shade val="100000"/>
                    <a:satMod val="115000"/>
                  </a:srgbClr>
                </a:gs>
              </a:gsLst>
              <a:lin ang="13500000" scaled="1"/>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1200"/>
                </a:spcAft>
              </a:pPr>
              <a:r>
                <a:rPr lang="en-IN" sz="2400" b="1" dirty="0" smtClean="0">
                  <a:solidFill>
                    <a:schemeClr val="bg1"/>
                  </a:solidFill>
                  <a:effectLst>
                    <a:outerShdw blurRad="38100" dist="38100" dir="2700000" algn="tl">
                      <a:srgbClr val="000000">
                        <a:alpha val="43137"/>
                      </a:srgbClr>
                    </a:outerShdw>
                  </a:effectLst>
                  <a:cs typeface="MV Boli" pitchFamily="2" charset="0"/>
                </a:rPr>
                <a:t>Let us learn about </a:t>
              </a:r>
              <a:r>
                <a:rPr lang="en-IN" sz="3200" b="1" dirty="0" smtClean="0">
                  <a:solidFill>
                    <a:srgbClr val="FFFF00"/>
                  </a:solidFill>
                  <a:effectLst>
                    <a:outerShdw blurRad="38100" dist="38100" dir="2700000" algn="tl">
                      <a:srgbClr val="000000">
                        <a:alpha val="43137"/>
                      </a:srgbClr>
                    </a:outerShdw>
                  </a:effectLst>
                  <a:cs typeface="MV Boli" pitchFamily="2" charset="0"/>
                </a:rPr>
                <a:t>‘Supply Chain Management’ </a:t>
              </a:r>
              <a:r>
                <a:rPr lang="en-IN" sz="2400" b="1" dirty="0" smtClean="0">
                  <a:solidFill>
                    <a:schemeClr val="bg1"/>
                  </a:solidFill>
                  <a:effectLst>
                    <a:outerShdw blurRad="38100" dist="38100" dir="2700000" algn="tl">
                      <a:srgbClr val="000000">
                        <a:alpha val="43137"/>
                      </a:srgbClr>
                    </a:outerShdw>
                  </a:effectLst>
                  <a:cs typeface="MV Boli" pitchFamily="2" charset="0"/>
                </a:rPr>
                <a:t>in detail.</a:t>
              </a:r>
              <a:endParaRPr lang="en-US" dirty="0">
                <a:solidFill>
                  <a:schemeClr val="bg1"/>
                </a:solidFill>
                <a:cs typeface="MV Boli" pitchFamily="2" charset="0"/>
              </a:endParaRPr>
            </a:p>
          </p:txBody>
        </p:sp>
        <p:pic>
          <p:nvPicPr>
            <p:cNvPr id="30" name="Picture 5" descr="Tessafilm_4"/>
            <p:cNvPicPr>
              <a:picLocks noChangeAspect="1" noChangeArrowheads="1"/>
            </p:cNvPicPr>
            <p:nvPr/>
          </p:nvPicPr>
          <p:blipFill>
            <a:blip r:embed="rId15" cstate="print"/>
            <a:srcRect l="59392" b="89844"/>
            <a:stretch>
              <a:fillRect/>
            </a:stretch>
          </p:blipFill>
          <p:spPr bwMode="gray">
            <a:xfrm rot="20222041">
              <a:off x="4645151" y="-658054"/>
              <a:ext cx="2229621" cy="525903"/>
            </a:xfrm>
            <a:prstGeom prst="rect">
              <a:avLst/>
            </a:prstGeom>
            <a:noFill/>
          </p:spPr>
        </p:pic>
      </p:grpSp>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500"/>
                                        <p:tgtEl>
                                          <p:spTgt spid="2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53"/>
                                        </p:tgtEl>
                                        <p:attrNameLst>
                                          <p:attrName>style.visibility</p:attrName>
                                        </p:attrNameLst>
                                      </p:cBhvr>
                                      <p:to>
                                        <p:strVal val="visible"/>
                                      </p:to>
                                    </p:set>
                                    <p:animEffect transition="in" filter="fade">
                                      <p:cBhvr>
                                        <p:cTn id="15" dur="500"/>
                                        <p:tgtEl>
                                          <p:spTgt spid="253"/>
                                        </p:tgtEl>
                                      </p:cBhvr>
                                    </p:animEffect>
                                  </p:childTnLst>
                                </p:cTn>
                              </p:par>
                            </p:childTnLst>
                          </p:cTn>
                        </p:par>
                        <p:par>
                          <p:cTn id="16" fill="hold">
                            <p:stCondLst>
                              <p:cond delay="1500"/>
                            </p:stCondLst>
                            <p:childTnLst>
                              <p:par>
                                <p:cTn id="17" presetID="53" presetClass="entr" presetSubtype="0" fill="hold" nodeType="after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p:cTn id="19" dur="500" fill="hold"/>
                                        <p:tgtEl>
                                          <p:spTgt spid="27"/>
                                        </p:tgtEl>
                                        <p:attrNameLst>
                                          <p:attrName>ppt_w</p:attrName>
                                        </p:attrNameLst>
                                      </p:cBhvr>
                                      <p:tavLst>
                                        <p:tav tm="0">
                                          <p:val>
                                            <p:fltVal val="0"/>
                                          </p:val>
                                        </p:tav>
                                        <p:tav tm="100000">
                                          <p:val>
                                            <p:strVal val="#ppt_w"/>
                                          </p:val>
                                        </p:tav>
                                      </p:tavLst>
                                    </p:anim>
                                    <p:anim calcmode="lin" valueType="num">
                                      <p:cBhvr>
                                        <p:cTn id="20" dur="500" fill="hold"/>
                                        <p:tgtEl>
                                          <p:spTgt spid="27"/>
                                        </p:tgtEl>
                                        <p:attrNameLst>
                                          <p:attrName>ppt_h</p:attrName>
                                        </p:attrNameLst>
                                      </p:cBhvr>
                                      <p:tavLst>
                                        <p:tav tm="0">
                                          <p:val>
                                            <p:fltVal val="0"/>
                                          </p:val>
                                        </p:tav>
                                        <p:tav tm="100000">
                                          <p:val>
                                            <p:strVal val="#ppt_h"/>
                                          </p:val>
                                        </p:tav>
                                      </p:tavLst>
                                    </p:anim>
                                    <p:animEffect transition="in" filter="fade">
                                      <p:cBhvr>
                                        <p:cTn id="21" dur="500"/>
                                        <p:tgtEl>
                                          <p:spTgt spid="27"/>
                                        </p:tgtEl>
                                      </p:cBhvr>
                                    </p:animEffect>
                                  </p:childTnLst>
                                </p:cTn>
                              </p:par>
                            </p:childTnLst>
                          </p:cTn>
                        </p:par>
                        <p:par>
                          <p:cTn id="22" fill="hold">
                            <p:stCondLst>
                              <p:cond delay="2000"/>
                            </p:stCondLst>
                            <p:childTnLst>
                              <p:par>
                                <p:cTn id="23" presetID="10" presetClass="entr" presetSubtype="0" fill="hold" nodeType="afterEffect">
                                  <p:stCondLst>
                                    <p:cond delay="200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9295009_xl.jpg"/>
          <p:cNvPicPr>
            <a:picLocks noChangeAspect="1"/>
          </p:cNvPicPr>
          <p:nvPr/>
        </p:nvPicPr>
        <p:blipFill>
          <a:blip r:embed="rId4" cstate="print">
            <a:lum/>
          </a:blip>
          <a:srcRect b="65994"/>
          <a:stretch>
            <a:fillRect/>
          </a:stretch>
        </p:blipFill>
        <p:spPr>
          <a:xfrm>
            <a:off x="0" y="836712"/>
            <a:ext cx="9144000" cy="6021288"/>
          </a:xfrm>
          <a:prstGeom prst="rect">
            <a:avLst/>
          </a:prstGeom>
        </p:spPr>
      </p:pic>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5"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6"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7"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8"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9"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10"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1"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2"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3"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IN" sz="3200" dirty="0" smtClean="0"/>
                <a:t>Importance of SCM in an Organization</a:t>
              </a:r>
              <a:endParaRPr lang="en-IN" sz="3200" dirty="0"/>
            </a:p>
          </p:txBody>
        </p:sp>
      </p:grpSp>
      <p:grpSp>
        <p:nvGrpSpPr>
          <p:cNvPr id="30" name="Group 29"/>
          <p:cNvGrpSpPr/>
          <p:nvPr/>
        </p:nvGrpSpPr>
        <p:grpSpPr>
          <a:xfrm>
            <a:off x="251520" y="1027450"/>
            <a:ext cx="4752527" cy="4320480"/>
            <a:chOff x="251520" y="1027450"/>
            <a:chExt cx="4752527" cy="4320480"/>
          </a:xfrm>
        </p:grpSpPr>
        <p:grpSp>
          <p:nvGrpSpPr>
            <p:cNvPr id="24" name="Gruppe 83"/>
            <p:cNvGrpSpPr>
              <a:grpSpLocks/>
            </p:cNvGrpSpPr>
            <p:nvPr/>
          </p:nvGrpSpPr>
          <p:grpSpPr bwMode="auto">
            <a:xfrm rot="21232341">
              <a:off x="251520" y="1027450"/>
              <a:ext cx="4752527" cy="4320480"/>
              <a:chOff x="819574" y="1558714"/>
              <a:chExt cx="3535680" cy="2881207"/>
            </a:xfrm>
          </p:grpSpPr>
          <p:sp>
            <p:nvSpPr>
              <p:cNvPr id="26" name="Kombinationstegning 58"/>
              <p:cNvSpPr/>
              <p:nvPr/>
            </p:nvSpPr>
            <p:spPr>
              <a:xfrm>
                <a:off x="3425257" y="3890376"/>
                <a:ext cx="929997" cy="549545"/>
              </a:xfrm>
              <a:custGeom>
                <a:avLst/>
                <a:gdLst>
                  <a:gd name="connsiteX0" fmla="*/ 203200 w 745066"/>
                  <a:gd name="connsiteY0" fmla="*/ 440267 h 440267"/>
                  <a:gd name="connsiteX1" fmla="*/ 745066 w 745066"/>
                  <a:gd name="connsiteY1" fmla="*/ 0 h 440267"/>
                  <a:gd name="connsiteX2" fmla="*/ 8466 w 745066"/>
                  <a:gd name="connsiteY2" fmla="*/ 0 h 440267"/>
                  <a:gd name="connsiteX3" fmla="*/ 0 w 745066"/>
                  <a:gd name="connsiteY3" fmla="*/ 431800 h 440267"/>
                  <a:gd name="connsiteX4" fmla="*/ 203200 w 745066"/>
                  <a:gd name="connsiteY4" fmla="*/ 440267 h 44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066" h="440267">
                    <a:moveTo>
                      <a:pt x="203200" y="440267"/>
                    </a:moveTo>
                    <a:lnTo>
                      <a:pt x="745066" y="0"/>
                    </a:lnTo>
                    <a:lnTo>
                      <a:pt x="8466" y="0"/>
                    </a:lnTo>
                    <a:lnTo>
                      <a:pt x="0" y="431800"/>
                    </a:lnTo>
                    <a:lnTo>
                      <a:pt x="203200" y="440267"/>
                    </a:lnTo>
                    <a:close/>
                  </a:path>
                </a:pathLst>
              </a:custGeom>
              <a:gradFill flip="none" rotWithShape="1">
                <a:gsLst>
                  <a:gs pos="24000">
                    <a:sysClr val="windowText" lastClr="000000">
                      <a:alpha val="23000"/>
                    </a:sysClr>
                  </a:gs>
                  <a:gs pos="69000">
                    <a:sysClr val="window" lastClr="FFFFFF">
                      <a:alpha val="0"/>
                    </a:sysClr>
                  </a:gs>
                </a:gsLst>
                <a:lin ang="18900000" scaled="1"/>
                <a:tileRect/>
              </a:gradFill>
              <a:ln w="9525" cap="flat" cmpd="sng" algn="ctr">
                <a:noFill/>
                <a:prstDash val="solid"/>
              </a:ln>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27" name="Rektangel 62"/>
              <p:cNvSpPr>
                <a:spLocks noChangeArrowheads="1"/>
              </p:cNvSpPr>
              <p:nvPr/>
            </p:nvSpPr>
            <p:spPr bwMode="auto">
              <a:xfrm>
                <a:off x="819574" y="1558714"/>
                <a:ext cx="2859648" cy="2860570"/>
              </a:xfrm>
              <a:prstGeom prst="rect">
                <a:avLst/>
              </a:prstGeom>
              <a:gradFill rotWithShape="1">
                <a:gsLst>
                  <a:gs pos="0">
                    <a:srgbClr val="E6E6E6"/>
                  </a:gs>
                  <a:gs pos="100000">
                    <a:srgbClr val="F3F3F3"/>
                  </a:gs>
                </a:gsLst>
                <a:lin ang="16200000"/>
              </a:gra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28" name="Rektangel 63"/>
              <p:cNvSpPr>
                <a:spLocks noChangeArrowheads="1"/>
              </p:cNvSpPr>
              <p:nvPr/>
            </p:nvSpPr>
            <p:spPr bwMode="auto">
              <a:xfrm>
                <a:off x="954463" y="1693647"/>
                <a:ext cx="2599391" cy="2117647"/>
              </a:xfrm>
              <a:prstGeom prst="rect">
                <a:avLst/>
              </a:prstGeom>
              <a:gradFill rotWithShape="1">
                <a:gsLst>
                  <a:gs pos="0">
                    <a:srgbClr val="69BED9"/>
                  </a:gs>
                  <a:gs pos="100000">
                    <a:srgbClr val="1F88C8"/>
                  </a:gs>
                </a:gsLst>
                <a:lin ang="5400000" scaled="1"/>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grpSp>
        <p:pic>
          <p:nvPicPr>
            <p:cNvPr id="29" name="Picture 28" descr="20760593_l.jpg"/>
            <p:cNvPicPr>
              <a:picLocks noChangeAspect="1"/>
            </p:cNvPicPr>
            <p:nvPr/>
          </p:nvPicPr>
          <p:blipFill>
            <a:blip r:embed="rId14" cstate="print"/>
            <a:srcRect l="16506" t="15433" r="16506" b="14241"/>
            <a:stretch>
              <a:fillRect/>
            </a:stretch>
          </p:blipFill>
          <p:spPr>
            <a:xfrm rot="21225754">
              <a:off x="347908" y="1227954"/>
              <a:ext cx="3566638" cy="3294148"/>
            </a:xfrm>
            <a:prstGeom prst="rect">
              <a:avLst/>
            </a:prstGeom>
          </p:spPr>
        </p:pic>
      </p:grpSp>
      <p:sp>
        <p:nvSpPr>
          <p:cNvPr id="31" name="Rounded Rectangle 30"/>
          <p:cNvSpPr/>
          <p:nvPr/>
        </p:nvSpPr>
        <p:spPr>
          <a:xfrm>
            <a:off x="4355976" y="981376"/>
            <a:ext cx="4644000" cy="5760000"/>
          </a:xfrm>
          <a:prstGeom prst="roundRect">
            <a:avLst>
              <a:gd name="adj" fmla="val 0"/>
            </a:avLst>
          </a:prstGeom>
          <a:solidFill>
            <a:srgbClr val="FF9999">
              <a:alpha val="50196"/>
            </a:srgb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2000" b="1" dirty="0" smtClean="0">
                <a:solidFill>
                  <a:schemeClr val="tx1"/>
                </a:solidFill>
              </a:rPr>
              <a:t>Supply Chain Strategies are the critical backbone of business organizations today. Effective market coverage, availability of products at locations which hold the key to revenue recognition depends upon the effectiveness of Supply Chain Strategy rolled out. Very simply stated, when a product is introduced in the market and advertised, the entire market in the country and all the sales counters need to have the product where the customer is able to buy and take delivery. Any glitch in the product not being available at the right time can result in drop in the customer interest and demand which can be disastrous. Thus, design of transportation network and management assume importance to support sales and marketing strategy.</a:t>
            </a:r>
            <a:endParaRPr lang="en-IN" sz="2000" b="1" dirty="0">
              <a:solidFill>
                <a:schemeClr val="tx1"/>
              </a:solidFill>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p:cTn id="7" dur="500" fill="hold"/>
                                        <p:tgtEl>
                                          <p:spTgt spid="22"/>
                                        </p:tgtEl>
                                        <p:attrNameLst>
                                          <p:attrName>ppt_w</p:attrName>
                                        </p:attrNameLst>
                                      </p:cBhvr>
                                      <p:tavLst>
                                        <p:tav tm="0">
                                          <p:val>
                                            <p:strVal val="#ppt_w*0.70"/>
                                          </p:val>
                                        </p:tav>
                                        <p:tav tm="100000">
                                          <p:val>
                                            <p:strVal val="#ppt_w"/>
                                          </p:val>
                                        </p:tav>
                                      </p:tavLst>
                                    </p:anim>
                                    <p:anim calcmode="lin" valueType="num">
                                      <p:cBhvr>
                                        <p:cTn id="8" dur="500" fill="hold"/>
                                        <p:tgtEl>
                                          <p:spTgt spid="22"/>
                                        </p:tgtEl>
                                        <p:attrNameLst>
                                          <p:attrName>ppt_h</p:attrName>
                                        </p:attrNameLst>
                                      </p:cBhvr>
                                      <p:tavLst>
                                        <p:tav tm="0">
                                          <p:val>
                                            <p:strVal val="#ppt_h"/>
                                          </p:val>
                                        </p:tav>
                                        <p:tav tm="100000">
                                          <p:val>
                                            <p:strVal val="#ppt_h"/>
                                          </p:val>
                                        </p:tav>
                                      </p:tavLst>
                                    </p:anim>
                                    <p:animEffect transition="in" filter="fade">
                                      <p:cBhvr>
                                        <p:cTn id="9" dur="500"/>
                                        <p:tgtEl>
                                          <p:spTgt spid="22"/>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childTnLst>
                          </p:cTn>
                        </p:par>
                        <p:par>
                          <p:cTn id="14" fill="hold">
                            <p:stCondLst>
                              <p:cond delay="1000"/>
                            </p:stCondLst>
                            <p:childTnLst>
                              <p:par>
                                <p:cTn id="15" presetID="12" presetClass="entr" presetSubtype="2" fill="hold" grpId="0" nodeType="after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slide(fromRight)">
                                      <p:cBhvr>
                                        <p:cTn id="1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extLst>
              <p:ext uri="{D42A27DB-BD31-4B8C-83A1-F6EECF244321}">
                <p14:modId xmlns:p14="http://schemas.microsoft.com/office/powerpoint/2010/main" val="412545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8"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9"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10"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11"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12"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13"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4"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5"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6"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IN" sz="3200" dirty="0" smtClean="0"/>
                <a:t>Drivers of Supply Chain Dynamics</a:t>
              </a:r>
              <a:endParaRPr lang="en-IN" sz="3200" dirty="0"/>
            </a:p>
          </p:txBody>
        </p:sp>
      </p:grpSp>
      <p:sp>
        <p:nvSpPr>
          <p:cNvPr id="20" name="TextBox 19"/>
          <p:cNvSpPr txBox="1"/>
          <p:nvPr/>
        </p:nvSpPr>
        <p:spPr>
          <a:xfrm>
            <a:off x="683568" y="836712"/>
            <a:ext cx="8280920" cy="1323439"/>
          </a:xfrm>
          <a:prstGeom prst="rect">
            <a:avLst/>
          </a:prstGeom>
          <a:noFill/>
        </p:spPr>
        <p:txBody>
          <a:bodyPr wrap="square" rtlCol="0">
            <a:spAutoFit/>
          </a:bodyPr>
          <a:lstStyle/>
          <a:p>
            <a:r>
              <a:rPr lang="en-IN" sz="2000" dirty="0" smtClean="0"/>
              <a:t>Since a supply chain is dynamic and chaotic, its structure must be very flexible to cope with capricious market demand and severe levels of competitions.      A supply chain must be able to change its pattern easily to gain a competitive advantage.</a:t>
            </a:r>
          </a:p>
        </p:txBody>
      </p:sp>
      <p:grpSp>
        <p:nvGrpSpPr>
          <p:cNvPr id="4" name="Group 7"/>
          <p:cNvGrpSpPr/>
          <p:nvPr/>
        </p:nvGrpSpPr>
        <p:grpSpPr>
          <a:xfrm>
            <a:off x="251521" y="2204864"/>
            <a:ext cx="3744415" cy="1656185"/>
            <a:chOff x="0" y="0"/>
            <a:chExt cx="6569978" cy="1110838"/>
          </a:xfrm>
          <a:scene3d>
            <a:camera prst="orthographicFront"/>
            <a:lightRig rig="threePt" dir="t">
              <a:rot lat="0" lon="0" rev="7500000"/>
            </a:lightRig>
          </a:scene3d>
        </p:grpSpPr>
        <p:sp>
          <p:nvSpPr>
            <p:cNvPr id="22" name="Rounded Rectangle 21"/>
            <p:cNvSpPr/>
            <p:nvPr/>
          </p:nvSpPr>
          <p:spPr>
            <a:xfrm>
              <a:off x="0" y="0"/>
              <a:ext cx="6569978" cy="1110838"/>
            </a:xfrm>
            <a:prstGeom prst="roundRect">
              <a:avLst>
                <a:gd name="adj" fmla="val 10000"/>
              </a:avLst>
            </a:prstGeom>
            <a:sp3d prstMaterial="plastic">
              <a:bevelT w="127000" h="25400" prst="relaxedInset"/>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a:lstStyle/>
            <a:p>
              <a:endParaRPr lang="en-US"/>
            </a:p>
          </p:txBody>
        </p:sp>
        <p:sp>
          <p:nvSpPr>
            <p:cNvPr id="23" name="Rounded Rectangle 4"/>
            <p:cNvSpPr/>
            <p:nvPr/>
          </p:nvSpPr>
          <p:spPr>
            <a:xfrm>
              <a:off x="402849" y="141861"/>
              <a:ext cx="5645701" cy="727490"/>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defTabSz="1066800">
                <a:lnSpc>
                  <a:spcPct val="90000"/>
                </a:lnSpc>
                <a:spcBef>
                  <a:spcPct val="0"/>
                </a:spcBef>
                <a:spcAft>
                  <a:spcPct val="35000"/>
                </a:spcAft>
              </a:pPr>
              <a:r>
                <a:rPr lang="en-IN" sz="2000" b="1" dirty="0" smtClean="0"/>
                <a:t>Drivers</a:t>
              </a:r>
            </a:p>
            <a:p>
              <a:pPr marL="342900" lvl="0" indent="-342900" defTabSz="1066800">
                <a:lnSpc>
                  <a:spcPct val="90000"/>
                </a:lnSpc>
                <a:spcBef>
                  <a:spcPct val="0"/>
                </a:spcBef>
                <a:spcAft>
                  <a:spcPct val="35000"/>
                </a:spcAft>
                <a:buFont typeface="Arial" pitchFamily="34" charset="0"/>
                <a:buChar char="•"/>
              </a:pPr>
              <a:r>
                <a:rPr lang="en-IN" b="1" dirty="0" smtClean="0"/>
                <a:t>Customer satisfaction </a:t>
              </a:r>
            </a:p>
            <a:p>
              <a:pPr marL="342900" lvl="0" indent="-342900" defTabSz="1066800">
                <a:lnSpc>
                  <a:spcPct val="90000"/>
                </a:lnSpc>
                <a:spcBef>
                  <a:spcPct val="0"/>
                </a:spcBef>
                <a:spcAft>
                  <a:spcPct val="35000"/>
                </a:spcAft>
                <a:buFont typeface="Arial" pitchFamily="34" charset="0"/>
                <a:buChar char="•"/>
              </a:pPr>
              <a:r>
                <a:rPr lang="en-IN" b="1" dirty="0" smtClean="0"/>
                <a:t>Technology change</a:t>
              </a:r>
            </a:p>
            <a:p>
              <a:pPr marL="342900" lvl="0" indent="-342900" defTabSz="1066800">
                <a:lnSpc>
                  <a:spcPct val="90000"/>
                </a:lnSpc>
                <a:spcBef>
                  <a:spcPct val="0"/>
                </a:spcBef>
                <a:spcAft>
                  <a:spcPct val="35000"/>
                </a:spcAft>
                <a:buFont typeface="Arial" pitchFamily="34" charset="0"/>
                <a:buChar char="•"/>
              </a:pPr>
              <a:r>
                <a:rPr lang="en-IN" b="1" dirty="0" smtClean="0"/>
                <a:t>Connections </a:t>
              </a:r>
              <a:endParaRPr lang="en-IN" b="1" kern="1200" dirty="0"/>
            </a:p>
          </p:txBody>
        </p:sp>
      </p:grpSp>
      <p:grpSp>
        <p:nvGrpSpPr>
          <p:cNvPr id="5" name="Group 7"/>
          <p:cNvGrpSpPr/>
          <p:nvPr/>
        </p:nvGrpSpPr>
        <p:grpSpPr>
          <a:xfrm>
            <a:off x="5292081" y="2204864"/>
            <a:ext cx="3744415" cy="1656185"/>
            <a:chOff x="0" y="0"/>
            <a:chExt cx="6569978" cy="1110838"/>
          </a:xfrm>
          <a:scene3d>
            <a:camera prst="orthographicFront"/>
            <a:lightRig rig="threePt" dir="t">
              <a:rot lat="0" lon="0" rev="7500000"/>
            </a:lightRig>
          </a:scene3d>
        </p:grpSpPr>
        <p:sp>
          <p:nvSpPr>
            <p:cNvPr id="25" name="Rounded Rectangle 24"/>
            <p:cNvSpPr/>
            <p:nvPr/>
          </p:nvSpPr>
          <p:spPr>
            <a:xfrm>
              <a:off x="0" y="0"/>
              <a:ext cx="6569978" cy="1110838"/>
            </a:xfrm>
            <a:prstGeom prst="roundRect">
              <a:avLst>
                <a:gd name="adj" fmla="val 10000"/>
              </a:avLst>
            </a:prstGeom>
            <a:solidFill>
              <a:srgbClr val="2AA9A6"/>
            </a:solidFill>
            <a:sp3d prstMaterial="plastic">
              <a:bevelT w="127000" h="25400" prst="relaxedInset"/>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a:lstStyle/>
            <a:p>
              <a:endParaRPr lang="en-US"/>
            </a:p>
          </p:txBody>
        </p:sp>
        <p:sp>
          <p:nvSpPr>
            <p:cNvPr id="26" name="Rounded Rectangle 4"/>
            <p:cNvSpPr/>
            <p:nvPr/>
          </p:nvSpPr>
          <p:spPr>
            <a:xfrm>
              <a:off x="402849" y="141861"/>
              <a:ext cx="5645701" cy="727490"/>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defTabSz="1066800">
                <a:lnSpc>
                  <a:spcPct val="90000"/>
                </a:lnSpc>
                <a:spcBef>
                  <a:spcPct val="0"/>
                </a:spcBef>
                <a:spcAft>
                  <a:spcPct val="35000"/>
                </a:spcAft>
              </a:pPr>
              <a:r>
                <a:rPr lang="en-IN" sz="2000" b="1" dirty="0" smtClean="0"/>
                <a:t>Internal factors</a:t>
              </a:r>
            </a:p>
            <a:p>
              <a:pPr marL="342900" lvl="0" indent="-342900" defTabSz="1066800">
                <a:lnSpc>
                  <a:spcPct val="90000"/>
                </a:lnSpc>
                <a:spcBef>
                  <a:spcPct val="0"/>
                </a:spcBef>
                <a:spcAft>
                  <a:spcPct val="35000"/>
                </a:spcAft>
                <a:buFont typeface="Arial" pitchFamily="34" charset="0"/>
                <a:buChar char="•"/>
              </a:pPr>
              <a:r>
                <a:rPr lang="en-IN" b="1" dirty="0" smtClean="0"/>
                <a:t>Multi-echelon decision making </a:t>
              </a:r>
            </a:p>
            <a:p>
              <a:pPr marL="342900" lvl="0" indent="-342900" defTabSz="1066800">
                <a:lnSpc>
                  <a:spcPct val="90000"/>
                </a:lnSpc>
                <a:spcBef>
                  <a:spcPct val="0"/>
                </a:spcBef>
                <a:spcAft>
                  <a:spcPct val="35000"/>
                </a:spcAft>
                <a:buFont typeface="Arial" pitchFamily="34" charset="0"/>
                <a:buChar char="•"/>
              </a:pPr>
              <a:r>
                <a:rPr lang="en-IN" b="1" dirty="0" smtClean="0"/>
                <a:t>Scratched together partners</a:t>
              </a:r>
              <a:endParaRPr lang="en-IN" sz="1600" b="1" kern="1200" dirty="0"/>
            </a:p>
          </p:txBody>
        </p:sp>
      </p:grpSp>
      <p:grpSp>
        <p:nvGrpSpPr>
          <p:cNvPr id="8" name="Group 12"/>
          <p:cNvGrpSpPr/>
          <p:nvPr/>
        </p:nvGrpSpPr>
        <p:grpSpPr>
          <a:xfrm rot="16200000">
            <a:off x="4319972" y="2600908"/>
            <a:ext cx="648072" cy="1008112"/>
            <a:chOff x="6067686" y="564542"/>
            <a:chExt cx="502292" cy="502292"/>
          </a:xfrm>
          <a:scene3d>
            <a:camera prst="orthographicFront"/>
            <a:lightRig rig="threePt" dir="t">
              <a:rot lat="0" lon="0" rev="7500000"/>
            </a:lightRig>
          </a:scene3d>
        </p:grpSpPr>
        <p:sp>
          <p:nvSpPr>
            <p:cNvPr id="37" name="Down Arrow 36"/>
            <p:cNvSpPr/>
            <p:nvPr/>
          </p:nvSpPr>
          <p:spPr>
            <a:xfrm>
              <a:off x="6067686" y="564542"/>
              <a:ext cx="502292" cy="502292"/>
            </a:xfrm>
            <a:prstGeom prst="downArrow">
              <a:avLst>
                <a:gd name="adj1" fmla="val 55000"/>
                <a:gd name="adj2" fmla="val 45000"/>
              </a:avLst>
            </a:prstGeom>
            <a:sp3d z="152400" extrusionH="63500" prstMaterial="dkEdge">
              <a:bevelT w="125400" h="36350" prst="relaxedInset"/>
              <a:contourClr>
                <a:schemeClr val="bg1"/>
              </a:contourClr>
            </a:sp3d>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8" name="Down Arrow 14"/>
            <p:cNvSpPr/>
            <p:nvPr/>
          </p:nvSpPr>
          <p:spPr>
            <a:xfrm>
              <a:off x="6180702" y="564542"/>
              <a:ext cx="276260" cy="377975"/>
            </a:xfrm>
            <a:prstGeom prst="rect">
              <a:avLst/>
            </a:prstGeom>
            <a:sp3d z="1524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endParaRPr lang="en-IN" sz="2000" b="1" kern="1200" dirty="0"/>
            </a:p>
          </p:txBody>
        </p:sp>
      </p:grpSp>
      <p:grpSp>
        <p:nvGrpSpPr>
          <p:cNvPr id="9" name="Group 40"/>
          <p:cNvGrpSpPr/>
          <p:nvPr/>
        </p:nvGrpSpPr>
        <p:grpSpPr>
          <a:xfrm>
            <a:off x="1763688" y="4149080"/>
            <a:ext cx="5931553" cy="593761"/>
            <a:chOff x="981230" y="1760169"/>
            <a:chExt cx="6569978" cy="772757"/>
          </a:xfrm>
          <a:scene3d>
            <a:camera prst="orthographicFront"/>
            <a:lightRig rig="threePt" dir="t">
              <a:rot lat="0" lon="0" rev="7500000"/>
            </a:lightRig>
          </a:scene3d>
        </p:grpSpPr>
        <p:sp>
          <p:nvSpPr>
            <p:cNvPr id="40" name="Rounded Rectangle 39"/>
            <p:cNvSpPr/>
            <p:nvPr/>
          </p:nvSpPr>
          <p:spPr>
            <a:xfrm>
              <a:off x="981230" y="1760169"/>
              <a:ext cx="6569978" cy="772757"/>
            </a:xfrm>
            <a:prstGeom prst="roundRect">
              <a:avLst>
                <a:gd name="adj" fmla="val 10000"/>
              </a:avLst>
            </a:prstGeom>
            <a:solidFill>
              <a:srgbClr val="A83649"/>
            </a:solidFill>
            <a:sp3d prstMaterial="plastic">
              <a:bevelT w="127000" h="25400" prst="relaxedInset"/>
            </a:sp3d>
          </p:spPr>
          <p:style>
            <a:lnRef idx="0">
              <a:schemeClr val="lt1">
                <a:hueOff val="0"/>
                <a:satOff val="0"/>
                <a:lumOff val="0"/>
                <a:alphaOff val="0"/>
              </a:schemeClr>
            </a:lnRef>
            <a:fillRef idx="3">
              <a:schemeClr val="accent3">
                <a:hueOff val="5625132"/>
                <a:satOff val="-8440"/>
                <a:lumOff val="-1373"/>
                <a:alphaOff val="0"/>
              </a:schemeClr>
            </a:fillRef>
            <a:effectRef idx="2">
              <a:schemeClr val="accent3">
                <a:hueOff val="5625132"/>
                <a:satOff val="-8440"/>
                <a:lumOff val="-1373"/>
                <a:alphaOff val="0"/>
              </a:schemeClr>
            </a:effectRef>
            <a:fontRef idx="minor">
              <a:schemeClr val="lt1"/>
            </a:fontRef>
          </p:style>
          <p:txBody>
            <a:bodyPr/>
            <a:lstStyle/>
            <a:p>
              <a:endParaRPr lang="en-US"/>
            </a:p>
          </p:txBody>
        </p:sp>
        <p:sp>
          <p:nvSpPr>
            <p:cNvPr id="43" name="Rounded Rectangle 8"/>
            <p:cNvSpPr/>
            <p:nvPr/>
          </p:nvSpPr>
          <p:spPr>
            <a:xfrm>
              <a:off x="1003863" y="1782801"/>
              <a:ext cx="6358036" cy="72749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IN" sz="2000" b="1" dirty="0" smtClean="0"/>
                <a:t>Supply Chain Dynamics</a:t>
              </a:r>
              <a:endParaRPr lang="en-IN" sz="2000" b="1" kern="1200" dirty="0"/>
            </a:p>
          </p:txBody>
        </p:sp>
      </p:grpSp>
      <p:grpSp>
        <p:nvGrpSpPr>
          <p:cNvPr id="10" name="Group 11"/>
          <p:cNvGrpSpPr/>
          <p:nvPr/>
        </p:nvGrpSpPr>
        <p:grpSpPr>
          <a:xfrm>
            <a:off x="323528" y="5174891"/>
            <a:ext cx="3744416" cy="1412776"/>
            <a:chOff x="1962461" y="3520338"/>
            <a:chExt cx="6569978" cy="891839"/>
          </a:xfrm>
          <a:scene3d>
            <a:camera prst="orthographicFront"/>
            <a:lightRig rig="threePt" dir="t">
              <a:rot lat="0" lon="0" rev="7500000"/>
            </a:lightRig>
          </a:scene3d>
        </p:grpSpPr>
        <p:sp>
          <p:nvSpPr>
            <p:cNvPr id="45" name="Rounded Rectangle 44"/>
            <p:cNvSpPr/>
            <p:nvPr/>
          </p:nvSpPr>
          <p:spPr>
            <a:xfrm>
              <a:off x="1962461" y="3520338"/>
              <a:ext cx="6569978" cy="891839"/>
            </a:xfrm>
            <a:prstGeom prst="roundRect">
              <a:avLst>
                <a:gd name="adj" fmla="val 10000"/>
              </a:avLst>
            </a:prstGeom>
            <a:sp3d prstMaterial="plastic">
              <a:bevelT w="127000" h="25400" prst="relaxedInset"/>
            </a:sp3d>
          </p:spPr>
          <p:style>
            <a:lnRef idx="0">
              <a:schemeClr val="lt1">
                <a:hueOff val="0"/>
                <a:satOff val="0"/>
                <a:lumOff val="0"/>
                <a:alphaOff val="0"/>
              </a:schemeClr>
            </a:lnRef>
            <a:fillRef idx="3">
              <a:schemeClr val="accent3">
                <a:hueOff val="11250264"/>
                <a:satOff val="-16880"/>
                <a:lumOff val="-2745"/>
                <a:alphaOff val="0"/>
              </a:schemeClr>
            </a:fillRef>
            <a:effectRef idx="2">
              <a:schemeClr val="accent3">
                <a:hueOff val="11250264"/>
                <a:satOff val="-16880"/>
                <a:lumOff val="-2745"/>
                <a:alphaOff val="0"/>
              </a:schemeClr>
            </a:effectRef>
            <a:fontRef idx="minor">
              <a:schemeClr val="lt1"/>
            </a:fontRef>
          </p:style>
          <p:txBody>
            <a:bodyPr/>
            <a:lstStyle/>
            <a:p>
              <a:endParaRPr lang="en-US"/>
            </a:p>
          </p:txBody>
        </p:sp>
        <p:sp>
          <p:nvSpPr>
            <p:cNvPr id="46" name="Rounded Rectangle 12"/>
            <p:cNvSpPr/>
            <p:nvPr/>
          </p:nvSpPr>
          <p:spPr>
            <a:xfrm>
              <a:off x="2368905" y="3611059"/>
              <a:ext cx="5531805" cy="72749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defTabSz="1066800">
                <a:lnSpc>
                  <a:spcPct val="90000"/>
                </a:lnSpc>
                <a:spcBef>
                  <a:spcPct val="0"/>
                </a:spcBef>
                <a:spcAft>
                  <a:spcPct val="35000"/>
                </a:spcAft>
              </a:pPr>
              <a:r>
                <a:rPr lang="en-IN" sz="2000" b="1" dirty="0" smtClean="0"/>
                <a:t>Competitiveness</a:t>
              </a:r>
            </a:p>
            <a:p>
              <a:pPr marL="342900" lvl="0" indent="-342900" defTabSz="1066800">
                <a:lnSpc>
                  <a:spcPct val="90000"/>
                </a:lnSpc>
                <a:spcBef>
                  <a:spcPct val="0"/>
                </a:spcBef>
                <a:spcAft>
                  <a:spcPct val="35000"/>
                </a:spcAft>
                <a:buFont typeface="Arial" pitchFamily="34" charset="0"/>
                <a:buChar char="•"/>
              </a:pPr>
              <a:r>
                <a:rPr lang="en-IN" b="1" dirty="0" smtClean="0"/>
                <a:t>Flexible manufacturing </a:t>
              </a:r>
            </a:p>
            <a:p>
              <a:pPr marL="342900" lvl="0" indent="-342900" defTabSz="1066800">
                <a:lnSpc>
                  <a:spcPct val="90000"/>
                </a:lnSpc>
                <a:spcBef>
                  <a:spcPct val="0"/>
                </a:spcBef>
                <a:spcAft>
                  <a:spcPct val="35000"/>
                </a:spcAft>
                <a:buFont typeface="Arial" pitchFamily="34" charset="0"/>
                <a:buChar char="•"/>
              </a:pPr>
              <a:r>
                <a:rPr lang="en-IN" b="1" dirty="0" smtClean="0"/>
                <a:t>Efficient operation </a:t>
              </a:r>
            </a:p>
            <a:p>
              <a:pPr marL="342900" lvl="0" indent="-342900" defTabSz="1066800">
                <a:lnSpc>
                  <a:spcPct val="90000"/>
                </a:lnSpc>
                <a:spcBef>
                  <a:spcPct val="0"/>
                </a:spcBef>
                <a:spcAft>
                  <a:spcPct val="35000"/>
                </a:spcAft>
                <a:buFont typeface="Arial" pitchFamily="34" charset="0"/>
                <a:buChar char="•"/>
              </a:pPr>
              <a:r>
                <a:rPr lang="en-IN" b="1" dirty="0" smtClean="0"/>
                <a:t>Agility response</a:t>
              </a:r>
              <a:endParaRPr lang="en-IN" b="1" kern="1200" dirty="0"/>
            </a:p>
          </p:txBody>
        </p:sp>
      </p:grpSp>
      <p:grpSp>
        <p:nvGrpSpPr>
          <p:cNvPr id="11" name="Group 37"/>
          <p:cNvGrpSpPr/>
          <p:nvPr/>
        </p:nvGrpSpPr>
        <p:grpSpPr>
          <a:xfrm>
            <a:off x="5220072" y="5102881"/>
            <a:ext cx="3816424" cy="1484784"/>
            <a:chOff x="490615" y="880084"/>
            <a:chExt cx="6696324" cy="1932389"/>
          </a:xfrm>
          <a:scene3d>
            <a:camera prst="orthographicFront"/>
            <a:lightRig rig="threePt" dir="t">
              <a:rot lat="0" lon="0" rev="7500000"/>
            </a:lightRig>
          </a:scene3d>
        </p:grpSpPr>
        <p:sp>
          <p:nvSpPr>
            <p:cNvPr id="48" name="Rounded Rectangle 47"/>
            <p:cNvSpPr/>
            <p:nvPr/>
          </p:nvSpPr>
          <p:spPr>
            <a:xfrm>
              <a:off x="490615" y="880084"/>
              <a:ext cx="6569978" cy="1932389"/>
            </a:xfrm>
            <a:prstGeom prst="roundRect">
              <a:avLst>
                <a:gd name="adj" fmla="val 10000"/>
              </a:avLst>
            </a:prstGeom>
            <a:solidFill>
              <a:srgbClr val="C21C8B"/>
            </a:solidFill>
            <a:sp3d prstMaterial="plastic">
              <a:bevelT w="127000" h="25400" prst="relaxedInset"/>
            </a:sp3d>
          </p:spPr>
          <p:style>
            <a:lnRef idx="0">
              <a:schemeClr val="lt1">
                <a:hueOff val="0"/>
                <a:satOff val="0"/>
                <a:lumOff val="0"/>
                <a:alphaOff val="0"/>
              </a:schemeClr>
            </a:lnRef>
            <a:fillRef idx="3">
              <a:schemeClr val="accent3">
                <a:hueOff val="2812566"/>
                <a:satOff val="-4220"/>
                <a:lumOff val="-686"/>
                <a:alphaOff val="0"/>
              </a:schemeClr>
            </a:fillRef>
            <a:effectRef idx="2">
              <a:schemeClr val="accent3">
                <a:hueOff val="2812566"/>
                <a:satOff val="-4220"/>
                <a:lumOff val="-686"/>
                <a:alphaOff val="0"/>
              </a:schemeClr>
            </a:effectRef>
            <a:fontRef idx="minor">
              <a:schemeClr val="lt1"/>
            </a:fontRef>
          </p:style>
          <p:txBody>
            <a:bodyPr/>
            <a:lstStyle/>
            <a:p>
              <a:endParaRPr lang="en-US"/>
            </a:p>
          </p:txBody>
        </p:sp>
        <p:sp>
          <p:nvSpPr>
            <p:cNvPr id="49" name="Rounded Rectangle 6"/>
            <p:cNvSpPr/>
            <p:nvPr/>
          </p:nvSpPr>
          <p:spPr>
            <a:xfrm>
              <a:off x="892285" y="1536093"/>
              <a:ext cx="6294654" cy="72749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defTabSz="1066800">
                <a:lnSpc>
                  <a:spcPct val="90000"/>
                </a:lnSpc>
                <a:spcBef>
                  <a:spcPct val="0"/>
                </a:spcBef>
                <a:spcAft>
                  <a:spcPct val="35000"/>
                </a:spcAft>
              </a:pPr>
              <a:r>
                <a:rPr lang="en-IN" sz="2000" b="1" dirty="0" smtClean="0"/>
                <a:t>Negative effects</a:t>
              </a:r>
            </a:p>
            <a:p>
              <a:pPr marL="342900" lvl="0" indent="-342900" defTabSz="1066800">
                <a:lnSpc>
                  <a:spcPct val="90000"/>
                </a:lnSpc>
                <a:spcBef>
                  <a:spcPct val="0"/>
                </a:spcBef>
                <a:spcAft>
                  <a:spcPct val="35000"/>
                </a:spcAft>
                <a:buFont typeface="Arial" pitchFamily="34" charset="0"/>
                <a:buChar char="•"/>
              </a:pPr>
              <a:r>
                <a:rPr lang="en-IN" b="1" dirty="0" smtClean="0"/>
                <a:t>Information-distortion/delay </a:t>
              </a:r>
            </a:p>
            <a:p>
              <a:pPr marL="342900" lvl="0" indent="-342900" defTabSz="1066800">
                <a:lnSpc>
                  <a:spcPct val="90000"/>
                </a:lnSpc>
                <a:spcBef>
                  <a:spcPct val="0"/>
                </a:spcBef>
                <a:spcAft>
                  <a:spcPct val="35000"/>
                </a:spcAft>
                <a:buFont typeface="Arial" pitchFamily="34" charset="0"/>
                <a:buChar char="•"/>
              </a:pPr>
              <a:r>
                <a:rPr lang="en-IN" b="1" dirty="0" smtClean="0"/>
                <a:t>Bullwhip effect </a:t>
              </a:r>
            </a:p>
            <a:p>
              <a:pPr marL="342900" lvl="0" indent="-342900" defTabSz="1066800">
                <a:lnSpc>
                  <a:spcPct val="90000"/>
                </a:lnSpc>
                <a:spcBef>
                  <a:spcPct val="0"/>
                </a:spcBef>
                <a:spcAft>
                  <a:spcPct val="35000"/>
                </a:spcAft>
                <a:buFont typeface="Arial" pitchFamily="34" charset="0"/>
                <a:buChar char="•"/>
              </a:pPr>
              <a:r>
                <a:rPr lang="en-IN" b="1" dirty="0" smtClean="0"/>
                <a:t>Boom and bust</a:t>
              </a:r>
              <a:endParaRPr lang="en-IN" b="1" kern="1200" dirty="0"/>
            </a:p>
          </p:txBody>
        </p:sp>
      </p:grpSp>
      <p:grpSp>
        <p:nvGrpSpPr>
          <p:cNvPr id="12" name="Group 12"/>
          <p:cNvGrpSpPr/>
          <p:nvPr/>
        </p:nvGrpSpPr>
        <p:grpSpPr>
          <a:xfrm>
            <a:off x="3419872" y="4670833"/>
            <a:ext cx="648072" cy="648072"/>
            <a:chOff x="6067686" y="564542"/>
            <a:chExt cx="502292" cy="502292"/>
          </a:xfrm>
          <a:scene3d>
            <a:camera prst="orthographicFront"/>
            <a:lightRig rig="threePt" dir="t">
              <a:rot lat="0" lon="0" rev="7500000"/>
            </a:lightRig>
          </a:scene3d>
        </p:grpSpPr>
        <p:sp>
          <p:nvSpPr>
            <p:cNvPr id="51" name="Down Arrow 50"/>
            <p:cNvSpPr/>
            <p:nvPr/>
          </p:nvSpPr>
          <p:spPr>
            <a:xfrm>
              <a:off x="6067686" y="564542"/>
              <a:ext cx="502292" cy="502292"/>
            </a:xfrm>
            <a:prstGeom prst="downArrow">
              <a:avLst>
                <a:gd name="adj1" fmla="val 55000"/>
                <a:gd name="adj2" fmla="val 45000"/>
              </a:avLst>
            </a:prstGeom>
            <a:sp3d z="152400" extrusionH="63500" prstMaterial="dkEdge">
              <a:bevelT w="125400" h="36350" prst="relaxedInset"/>
              <a:contourClr>
                <a:schemeClr val="bg1"/>
              </a:contourClr>
            </a:sp3d>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2" name="Down Arrow 14"/>
            <p:cNvSpPr/>
            <p:nvPr/>
          </p:nvSpPr>
          <p:spPr>
            <a:xfrm>
              <a:off x="6180702" y="564542"/>
              <a:ext cx="276260" cy="377975"/>
            </a:xfrm>
            <a:prstGeom prst="rect">
              <a:avLst/>
            </a:prstGeom>
            <a:sp3d z="1524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endParaRPr lang="en-IN" sz="2000" b="1" kern="1200" dirty="0"/>
            </a:p>
          </p:txBody>
        </p:sp>
      </p:grpSp>
      <p:grpSp>
        <p:nvGrpSpPr>
          <p:cNvPr id="13" name="Group 12"/>
          <p:cNvGrpSpPr/>
          <p:nvPr/>
        </p:nvGrpSpPr>
        <p:grpSpPr>
          <a:xfrm>
            <a:off x="6948264" y="4598825"/>
            <a:ext cx="648072" cy="648072"/>
            <a:chOff x="6067686" y="564542"/>
            <a:chExt cx="502292" cy="502292"/>
          </a:xfrm>
          <a:scene3d>
            <a:camera prst="orthographicFront"/>
            <a:lightRig rig="threePt" dir="t">
              <a:rot lat="0" lon="0" rev="7500000"/>
            </a:lightRig>
          </a:scene3d>
        </p:grpSpPr>
        <p:sp>
          <p:nvSpPr>
            <p:cNvPr id="54" name="Down Arrow 53"/>
            <p:cNvSpPr/>
            <p:nvPr/>
          </p:nvSpPr>
          <p:spPr>
            <a:xfrm>
              <a:off x="6067686" y="564542"/>
              <a:ext cx="502292" cy="502292"/>
            </a:xfrm>
            <a:prstGeom prst="downArrow">
              <a:avLst>
                <a:gd name="adj1" fmla="val 55000"/>
                <a:gd name="adj2" fmla="val 45000"/>
              </a:avLst>
            </a:prstGeom>
            <a:sp3d z="152400" extrusionH="63500" prstMaterial="dkEdge">
              <a:bevelT w="125400" h="36350" prst="relaxedInset"/>
              <a:contourClr>
                <a:schemeClr val="bg1"/>
              </a:contourClr>
            </a:sp3d>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5" name="Down Arrow 14"/>
            <p:cNvSpPr/>
            <p:nvPr/>
          </p:nvSpPr>
          <p:spPr>
            <a:xfrm>
              <a:off x="6180702" y="564542"/>
              <a:ext cx="276260" cy="377975"/>
            </a:xfrm>
            <a:prstGeom prst="rect">
              <a:avLst/>
            </a:prstGeom>
            <a:sp3d z="1524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endParaRPr lang="en-IN" sz="2000" b="1" kern="1200" dirty="0"/>
            </a:p>
          </p:txBody>
        </p:sp>
      </p:grpSp>
      <p:grpSp>
        <p:nvGrpSpPr>
          <p:cNvPr id="6" name="Group 12"/>
          <p:cNvGrpSpPr/>
          <p:nvPr/>
        </p:nvGrpSpPr>
        <p:grpSpPr>
          <a:xfrm>
            <a:off x="2915816" y="3645024"/>
            <a:ext cx="648072" cy="648072"/>
            <a:chOff x="6067686" y="564542"/>
            <a:chExt cx="502292" cy="502292"/>
          </a:xfrm>
          <a:scene3d>
            <a:camera prst="orthographicFront"/>
            <a:lightRig rig="threePt" dir="t">
              <a:rot lat="0" lon="0" rev="7500000"/>
            </a:lightRig>
          </a:scene3d>
        </p:grpSpPr>
        <p:sp>
          <p:nvSpPr>
            <p:cNvPr id="28" name="Down Arrow 27"/>
            <p:cNvSpPr/>
            <p:nvPr/>
          </p:nvSpPr>
          <p:spPr>
            <a:xfrm>
              <a:off x="6067686" y="564542"/>
              <a:ext cx="502292" cy="502292"/>
            </a:xfrm>
            <a:prstGeom prst="downArrow">
              <a:avLst>
                <a:gd name="adj1" fmla="val 55000"/>
                <a:gd name="adj2" fmla="val 45000"/>
              </a:avLst>
            </a:prstGeom>
            <a:sp3d z="152400" extrusionH="63500" prstMaterial="dkEdge">
              <a:bevelT w="125400" h="36350" prst="relaxedInset"/>
              <a:contourClr>
                <a:schemeClr val="bg1"/>
              </a:contourClr>
            </a:sp3d>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9" name="Down Arrow 14"/>
            <p:cNvSpPr/>
            <p:nvPr/>
          </p:nvSpPr>
          <p:spPr>
            <a:xfrm>
              <a:off x="6180702" y="564542"/>
              <a:ext cx="276260" cy="377975"/>
            </a:xfrm>
            <a:prstGeom prst="rect">
              <a:avLst/>
            </a:prstGeom>
            <a:sp3d z="1524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endParaRPr lang="en-IN" sz="2000" b="1" kern="1200" dirty="0"/>
            </a:p>
          </p:txBody>
        </p:sp>
      </p:grpSp>
      <p:grpSp>
        <p:nvGrpSpPr>
          <p:cNvPr id="7" name="Group 12"/>
          <p:cNvGrpSpPr/>
          <p:nvPr/>
        </p:nvGrpSpPr>
        <p:grpSpPr>
          <a:xfrm>
            <a:off x="5508104" y="3645024"/>
            <a:ext cx="648072" cy="648072"/>
            <a:chOff x="6067686" y="564542"/>
            <a:chExt cx="502292" cy="502292"/>
          </a:xfrm>
          <a:scene3d>
            <a:camera prst="orthographicFront"/>
            <a:lightRig rig="threePt" dir="t">
              <a:rot lat="0" lon="0" rev="7500000"/>
            </a:lightRig>
          </a:scene3d>
        </p:grpSpPr>
        <p:sp>
          <p:nvSpPr>
            <p:cNvPr id="31" name="Down Arrow 30"/>
            <p:cNvSpPr/>
            <p:nvPr/>
          </p:nvSpPr>
          <p:spPr>
            <a:xfrm>
              <a:off x="6067686" y="564542"/>
              <a:ext cx="502292" cy="502292"/>
            </a:xfrm>
            <a:prstGeom prst="downArrow">
              <a:avLst>
                <a:gd name="adj1" fmla="val 55000"/>
                <a:gd name="adj2" fmla="val 45000"/>
              </a:avLst>
            </a:prstGeom>
            <a:sp3d z="152400" extrusionH="63500" prstMaterial="dkEdge">
              <a:bevelT w="125400" h="36350" prst="relaxedInset"/>
              <a:contourClr>
                <a:schemeClr val="bg1"/>
              </a:contourClr>
            </a:sp3d>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5" name="Down Arrow 14"/>
            <p:cNvSpPr/>
            <p:nvPr/>
          </p:nvSpPr>
          <p:spPr>
            <a:xfrm>
              <a:off x="6180702" y="564542"/>
              <a:ext cx="276260" cy="377975"/>
            </a:xfrm>
            <a:prstGeom prst="rect">
              <a:avLst/>
            </a:prstGeom>
            <a:sp3d z="1524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endParaRPr lang="en-IN" sz="2000" b="1" kern="1200" dirty="0"/>
            </a:p>
          </p:txBody>
        </p:sp>
      </p:grpSp>
    </p:spTree>
    <p:custDataLst>
      <p:tags r:id="rId2"/>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10" presetClass="entr" presetSubtype="0" fill="hold" nodeType="afterEffect">
                                  <p:stCondLst>
                                    <p:cond delay="22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3250"/>
                            </p:stCondLst>
                            <p:childTnLst>
                              <p:par>
                                <p:cTn id="13" presetID="10" presetClass="entr" presetSubtype="0" fill="hold" nodeType="afterEffect">
                                  <p:stCondLst>
                                    <p:cond delay="75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4500"/>
                            </p:stCondLst>
                            <p:childTnLst>
                              <p:par>
                                <p:cTn id="17" presetID="10"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par>
                          <p:cTn id="20" fill="hold">
                            <p:stCondLst>
                              <p:cond delay="5000"/>
                            </p:stCondLst>
                            <p:childTnLst>
                              <p:par>
                                <p:cTn id="21" presetID="10" presetClass="entr" presetSubtype="0" fill="hold" nodeType="afterEffect">
                                  <p:stCondLst>
                                    <p:cond delay="100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p:stCondLst>
                              <p:cond delay="6500"/>
                            </p:stCondLst>
                            <p:childTnLst>
                              <p:par>
                                <p:cTn id="25" presetID="10" presetClass="entr" presetSubtype="0" fill="hold"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par>
                          <p:cTn id="28" fill="hold">
                            <p:stCondLst>
                              <p:cond delay="7000"/>
                            </p:stCondLst>
                            <p:childTnLst>
                              <p:par>
                                <p:cTn id="29" presetID="10" presetClass="entr" presetSubtype="0" fill="hold" nodeType="after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childTnLst>
                          </p:cTn>
                        </p:par>
                        <p:par>
                          <p:cTn id="32" fill="hold">
                            <p:stCondLst>
                              <p:cond delay="7500"/>
                            </p:stCondLst>
                            <p:childTnLst>
                              <p:par>
                                <p:cTn id="33" presetID="10" presetClass="entr" presetSubtype="0"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p:stCondLst>
                              <p:cond delay="8000"/>
                            </p:stCondLst>
                            <p:childTnLst>
                              <p:par>
                                <p:cTn id="37" presetID="10" presetClass="entr" presetSubtype="0" fill="hold" nodeType="after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childTnLst>
                          </p:cTn>
                        </p:par>
                        <p:par>
                          <p:cTn id="40" fill="hold">
                            <p:stCondLst>
                              <p:cond delay="8500"/>
                            </p:stCondLst>
                            <p:childTnLst>
                              <p:par>
                                <p:cTn id="41" presetID="10" presetClass="entr" presetSubtype="0" fill="hold" nodeType="afterEffect">
                                  <p:stCondLst>
                                    <p:cond delay="75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childTnLst>
                          </p:cTn>
                        </p:par>
                        <p:par>
                          <p:cTn id="44" fill="hold">
                            <p:stCondLst>
                              <p:cond delay="9750"/>
                            </p:stCondLst>
                            <p:childTnLst>
                              <p:par>
                                <p:cTn id="45" presetID="10" presetClass="entr" presetSubtype="0" fill="hold" nodeType="after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4"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5"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6"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7"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8"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9"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0"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1"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2"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IN" sz="3200" dirty="0" smtClean="0"/>
                <a:t>Inputs and Outputs of the SCND</a:t>
              </a:r>
              <a:endParaRPr lang="en-IN" sz="3200" dirty="0"/>
            </a:p>
          </p:txBody>
        </p:sp>
      </p:grpSp>
      <p:grpSp>
        <p:nvGrpSpPr>
          <p:cNvPr id="4" name="Group 11"/>
          <p:cNvGrpSpPr/>
          <p:nvPr/>
        </p:nvGrpSpPr>
        <p:grpSpPr>
          <a:xfrm>
            <a:off x="251520" y="1484785"/>
            <a:ext cx="8712967" cy="792088"/>
            <a:chOff x="1962461" y="3520338"/>
            <a:chExt cx="6569978" cy="772757"/>
          </a:xfrm>
          <a:scene3d>
            <a:camera prst="orthographicFront"/>
            <a:lightRig rig="threePt" dir="t">
              <a:rot lat="0" lon="0" rev="7500000"/>
            </a:lightRig>
          </a:scene3d>
        </p:grpSpPr>
        <p:sp>
          <p:nvSpPr>
            <p:cNvPr id="44" name="Rounded Rectangle 43"/>
            <p:cNvSpPr/>
            <p:nvPr/>
          </p:nvSpPr>
          <p:spPr>
            <a:xfrm>
              <a:off x="1962461" y="3520338"/>
              <a:ext cx="6569978" cy="772757"/>
            </a:xfrm>
            <a:prstGeom prst="roundRect">
              <a:avLst>
                <a:gd name="adj" fmla="val 10000"/>
              </a:avLst>
            </a:prstGeom>
            <a:sp3d prstMaterial="plastic">
              <a:bevelT w="127000" h="25400" prst="relaxedInset"/>
            </a:sp3d>
          </p:spPr>
          <p:style>
            <a:lnRef idx="0">
              <a:schemeClr val="lt1">
                <a:hueOff val="0"/>
                <a:satOff val="0"/>
                <a:lumOff val="0"/>
                <a:alphaOff val="0"/>
              </a:schemeClr>
            </a:lnRef>
            <a:fillRef idx="3">
              <a:schemeClr val="accent3">
                <a:hueOff val="11250264"/>
                <a:satOff val="-16880"/>
                <a:lumOff val="-2745"/>
                <a:alphaOff val="0"/>
              </a:schemeClr>
            </a:fillRef>
            <a:effectRef idx="2">
              <a:schemeClr val="accent3">
                <a:hueOff val="11250264"/>
                <a:satOff val="-16880"/>
                <a:lumOff val="-2745"/>
                <a:alphaOff val="0"/>
              </a:schemeClr>
            </a:effectRef>
            <a:fontRef idx="minor">
              <a:schemeClr val="lt1"/>
            </a:fontRef>
          </p:style>
          <p:txBody>
            <a:bodyPr/>
            <a:lstStyle/>
            <a:p>
              <a:endParaRPr lang="en-US" sz="1700"/>
            </a:p>
          </p:txBody>
        </p:sp>
        <p:sp>
          <p:nvSpPr>
            <p:cNvPr id="45" name="Rounded Rectangle 12"/>
            <p:cNvSpPr/>
            <p:nvPr/>
          </p:nvSpPr>
          <p:spPr>
            <a:xfrm>
              <a:off x="1985093" y="3542970"/>
              <a:ext cx="6438751" cy="72749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defTabSz="1066800">
                <a:lnSpc>
                  <a:spcPct val="90000"/>
                </a:lnSpc>
                <a:spcBef>
                  <a:spcPct val="0"/>
                </a:spcBef>
                <a:spcAft>
                  <a:spcPct val="35000"/>
                </a:spcAft>
              </a:pPr>
              <a:r>
                <a:rPr lang="en-IN" sz="1700" b="1" dirty="0" smtClean="0"/>
                <a:t>Existing locations of stores.  For the new web-based businesses, without any physical stores, the equivalent inputs will be the number of individual orders fulfilled in specific region</a:t>
              </a:r>
              <a:endParaRPr lang="en-IN" sz="1700" b="1" kern="1200" dirty="0"/>
            </a:p>
          </p:txBody>
        </p:sp>
      </p:grpSp>
      <p:grpSp>
        <p:nvGrpSpPr>
          <p:cNvPr id="5" name="Group 11"/>
          <p:cNvGrpSpPr/>
          <p:nvPr/>
        </p:nvGrpSpPr>
        <p:grpSpPr>
          <a:xfrm flipV="1">
            <a:off x="6948264" y="620688"/>
            <a:ext cx="1938020" cy="809782"/>
            <a:chOff x="1699437" y="3520338"/>
            <a:chExt cx="7079019" cy="1053899"/>
          </a:xfrm>
          <a:scene3d>
            <a:camera prst="orthographicFront"/>
            <a:lightRig rig="threePt" dir="t">
              <a:rot lat="0" lon="0" rev="7500000"/>
            </a:lightRig>
          </a:scene3d>
        </p:grpSpPr>
        <p:sp>
          <p:nvSpPr>
            <p:cNvPr id="47" name="Rounded Rectangle 46"/>
            <p:cNvSpPr/>
            <p:nvPr/>
          </p:nvSpPr>
          <p:spPr>
            <a:xfrm>
              <a:off x="1962461" y="3520338"/>
              <a:ext cx="6569978" cy="772757"/>
            </a:xfrm>
            <a:prstGeom prst="triangle">
              <a:avLst/>
            </a:prstGeom>
            <a:sp3d prstMaterial="plastic">
              <a:bevelT w="127000" h="25400" prst="relaxedInset"/>
            </a:sp3d>
          </p:spPr>
          <p:style>
            <a:lnRef idx="0">
              <a:schemeClr val="lt1">
                <a:hueOff val="0"/>
                <a:satOff val="0"/>
                <a:lumOff val="0"/>
                <a:alphaOff val="0"/>
              </a:schemeClr>
            </a:lnRef>
            <a:fillRef idx="3">
              <a:schemeClr val="accent3">
                <a:hueOff val="11250264"/>
                <a:satOff val="-16880"/>
                <a:lumOff val="-2745"/>
                <a:alphaOff val="0"/>
              </a:schemeClr>
            </a:fillRef>
            <a:effectRef idx="2">
              <a:schemeClr val="accent3">
                <a:hueOff val="11250264"/>
                <a:satOff val="-16880"/>
                <a:lumOff val="-2745"/>
                <a:alphaOff val="0"/>
              </a:schemeClr>
            </a:effectRef>
            <a:fontRef idx="minor">
              <a:schemeClr val="lt1"/>
            </a:fontRef>
          </p:style>
          <p:txBody>
            <a:bodyPr/>
            <a:lstStyle/>
            <a:p>
              <a:endParaRPr lang="en-US" sz="1700"/>
            </a:p>
          </p:txBody>
        </p:sp>
        <p:sp>
          <p:nvSpPr>
            <p:cNvPr id="48" name="Rounded Rectangle 12"/>
            <p:cNvSpPr/>
            <p:nvPr/>
          </p:nvSpPr>
          <p:spPr>
            <a:xfrm flipV="1">
              <a:off x="1699437" y="3846747"/>
              <a:ext cx="7079019" cy="727490"/>
            </a:xfrm>
            <a:prstGeom prst="triangle">
              <a:avLst/>
            </a:prstGeom>
            <a:sp3d/>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defTabSz="1066800">
                <a:lnSpc>
                  <a:spcPct val="90000"/>
                </a:lnSpc>
                <a:spcBef>
                  <a:spcPct val="0"/>
                </a:spcBef>
                <a:spcAft>
                  <a:spcPct val="35000"/>
                </a:spcAft>
              </a:pPr>
              <a:r>
                <a:rPr lang="en-IN" sz="1700" b="1" dirty="0" smtClean="0"/>
                <a:t>INPUTS</a:t>
              </a:r>
              <a:endParaRPr lang="en-IN" sz="1700" b="1" kern="1200" dirty="0"/>
            </a:p>
          </p:txBody>
        </p:sp>
      </p:grpSp>
      <p:grpSp>
        <p:nvGrpSpPr>
          <p:cNvPr id="6" name="Group 11"/>
          <p:cNvGrpSpPr/>
          <p:nvPr/>
        </p:nvGrpSpPr>
        <p:grpSpPr>
          <a:xfrm>
            <a:off x="251520" y="2331183"/>
            <a:ext cx="8712967" cy="593761"/>
            <a:chOff x="1962461" y="3520338"/>
            <a:chExt cx="6569978" cy="772757"/>
          </a:xfrm>
          <a:scene3d>
            <a:camera prst="orthographicFront"/>
            <a:lightRig rig="threePt" dir="t">
              <a:rot lat="0" lon="0" rev="7500000"/>
            </a:lightRig>
          </a:scene3d>
        </p:grpSpPr>
        <p:sp>
          <p:nvSpPr>
            <p:cNvPr id="50" name="Rounded Rectangle 49"/>
            <p:cNvSpPr/>
            <p:nvPr/>
          </p:nvSpPr>
          <p:spPr>
            <a:xfrm>
              <a:off x="1962461" y="3520338"/>
              <a:ext cx="6569978" cy="772757"/>
            </a:xfrm>
            <a:prstGeom prst="roundRect">
              <a:avLst>
                <a:gd name="adj" fmla="val 10000"/>
              </a:avLst>
            </a:prstGeom>
            <a:sp3d prstMaterial="plastic">
              <a:bevelT w="127000" h="25400" prst="relaxedInset"/>
            </a:sp3d>
          </p:spPr>
          <p:style>
            <a:lnRef idx="0">
              <a:schemeClr val="lt1">
                <a:hueOff val="0"/>
                <a:satOff val="0"/>
                <a:lumOff val="0"/>
                <a:alphaOff val="0"/>
              </a:schemeClr>
            </a:lnRef>
            <a:fillRef idx="3">
              <a:schemeClr val="accent3">
                <a:hueOff val="11250264"/>
                <a:satOff val="-16880"/>
                <a:lumOff val="-2745"/>
                <a:alphaOff val="0"/>
              </a:schemeClr>
            </a:fillRef>
            <a:effectRef idx="2">
              <a:schemeClr val="accent3">
                <a:hueOff val="11250264"/>
                <a:satOff val="-16880"/>
                <a:lumOff val="-2745"/>
                <a:alphaOff val="0"/>
              </a:schemeClr>
            </a:effectRef>
            <a:fontRef idx="minor">
              <a:schemeClr val="lt1"/>
            </a:fontRef>
          </p:style>
          <p:txBody>
            <a:bodyPr/>
            <a:lstStyle/>
            <a:p>
              <a:endParaRPr lang="en-US" sz="1700"/>
            </a:p>
          </p:txBody>
        </p:sp>
        <p:sp>
          <p:nvSpPr>
            <p:cNvPr id="51" name="Rounded Rectangle 12"/>
            <p:cNvSpPr/>
            <p:nvPr/>
          </p:nvSpPr>
          <p:spPr>
            <a:xfrm>
              <a:off x="1985093" y="3542970"/>
              <a:ext cx="6438751" cy="72749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defTabSz="1066800">
                <a:lnSpc>
                  <a:spcPct val="90000"/>
                </a:lnSpc>
                <a:spcBef>
                  <a:spcPct val="0"/>
                </a:spcBef>
                <a:spcAft>
                  <a:spcPct val="35000"/>
                </a:spcAft>
              </a:pPr>
              <a:r>
                <a:rPr lang="en-IN" sz="1700" b="1" dirty="0" smtClean="0"/>
                <a:t>Existing and/or proposed locations of warehouses or factories.  This may also include the locations of the shipping warehouse for the major vendor</a:t>
              </a:r>
              <a:endParaRPr lang="en-IN" sz="1700" b="1" kern="1200" dirty="0"/>
            </a:p>
          </p:txBody>
        </p:sp>
      </p:grpSp>
      <p:grpSp>
        <p:nvGrpSpPr>
          <p:cNvPr id="7" name="Group 11"/>
          <p:cNvGrpSpPr/>
          <p:nvPr/>
        </p:nvGrpSpPr>
        <p:grpSpPr>
          <a:xfrm>
            <a:off x="251520" y="2979255"/>
            <a:ext cx="8712967" cy="593761"/>
            <a:chOff x="1962461" y="3520338"/>
            <a:chExt cx="6569978" cy="772757"/>
          </a:xfrm>
          <a:scene3d>
            <a:camera prst="orthographicFront"/>
            <a:lightRig rig="threePt" dir="t">
              <a:rot lat="0" lon="0" rev="7500000"/>
            </a:lightRig>
          </a:scene3d>
        </p:grpSpPr>
        <p:sp>
          <p:nvSpPr>
            <p:cNvPr id="53" name="Rounded Rectangle 52"/>
            <p:cNvSpPr/>
            <p:nvPr/>
          </p:nvSpPr>
          <p:spPr>
            <a:xfrm>
              <a:off x="1962461" y="3520338"/>
              <a:ext cx="6569978" cy="772757"/>
            </a:xfrm>
            <a:prstGeom prst="roundRect">
              <a:avLst>
                <a:gd name="adj" fmla="val 10000"/>
              </a:avLst>
            </a:prstGeom>
            <a:sp3d prstMaterial="plastic">
              <a:bevelT w="127000" h="25400" prst="relaxedInset"/>
            </a:sp3d>
          </p:spPr>
          <p:style>
            <a:lnRef idx="0">
              <a:schemeClr val="lt1">
                <a:hueOff val="0"/>
                <a:satOff val="0"/>
                <a:lumOff val="0"/>
                <a:alphaOff val="0"/>
              </a:schemeClr>
            </a:lnRef>
            <a:fillRef idx="3">
              <a:schemeClr val="accent3">
                <a:hueOff val="11250264"/>
                <a:satOff val="-16880"/>
                <a:lumOff val="-2745"/>
                <a:alphaOff val="0"/>
              </a:schemeClr>
            </a:fillRef>
            <a:effectRef idx="2">
              <a:schemeClr val="accent3">
                <a:hueOff val="11250264"/>
                <a:satOff val="-16880"/>
                <a:lumOff val="-2745"/>
                <a:alphaOff val="0"/>
              </a:schemeClr>
            </a:effectRef>
            <a:fontRef idx="minor">
              <a:schemeClr val="lt1"/>
            </a:fontRef>
          </p:style>
          <p:txBody>
            <a:bodyPr/>
            <a:lstStyle/>
            <a:p>
              <a:endParaRPr lang="en-US" sz="1700"/>
            </a:p>
          </p:txBody>
        </p:sp>
        <p:sp>
          <p:nvSpPr>
            <p:cNvPr id="54" name="Rounded Rectangle 12"/>
            <p:cNvSpPr/>
            <p:nvPr/>
          </p:nvSpPr>
          <p:spPr>
            <a:xfrm>
              <a:off x="1985094" y="3542971"/>
              <a:ext cx="5531805" cy="72749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defTabSz="1066800">
                <a:lnSpc>
                  <a:spcPct val="90000"/>
                </a:lnSpc>
                <a:spcBef>
                  <a:spcPct val="0"/>
                </a:spcBef>
                <a:spcAft>
                  <a:spcPct val="35000"/>
                </a:spcAft>
              </a:pPr>
              <a:r>
                <a:rPr lang="en-IN" sz="1700" b="1" dirty="0" smtClean="0"/>
                <a:t>Products carried at each of the location</a:t>
              </a:r>
              <a:endParaRPr lang="en-IN" sz="1700" b="1" kern="1200" dirty="0"/>
            </a:p>
          </p:txBody>
        </p:sp>
      </p:grpSp>
      <p:grpSp>
        <p:nvGrpSpPr>
          <p:cNvPr id="8" name="Group 11"/>
          <p:cNvGrpSpPr/>
          <p:nvPr/>
        </p:nvGrpSpPr>
        <p:grpSpPr>
          <a:xfrm>
            <a:off x="251520" y="3627327"/>
            <a:ext cx="8712967" cy="593761"/>
            <a:chOff x="1962461" y="3520338"/>
            <a:chExt cx="6569978" cy="772757"/>
          </a:xfrm>
          <a:scene3d>
            <a:camera prst="orthographicFront"/>
            <a:lightRig rig="threePt" dir="t">
              <a:rot lat="0" lon="0" rev="7500000"/>
            </a:lightRig>
          </a:scene3d>
        </p:grpSpPr>
        <p:sp>
          <p:nvSpPr>
            <p:cNvPr id="56" name="Rounded Rectangle 55"/>
            <p:cNvSpPr/>
            <p:nvPr/>
          </p:nvSpPr>
          <p:spPr>
            <a:xfrm>
              <a:off x="1962461" y="3520338"/>
              <a:ext cx="6569978" cy="772757"/>
            </a:xfrm>
            <a:prstGeom prst="roundRect">
              <a:avLst>
                <a:gd name="adj" fmla="val 10000"/>
              </a:avLst>
            </a:prstGeom>
            <a:sp3d prstMaterial="plastic">
              <a:bevelT w="127000" h="25400" prst="relaxedInset"/>
            </a:sp3d>
          </p:spPr>
          <p:style>
            <a:lnRef idx="0">
              <a:schemeClr val="lt1">
                <a:hueOff val="0"/>
                <a:satOff val="0"/>
                <a:lumOff val="0"/>
                <a:alphaOff val="0"/>
              </a:schemeClr>
            </a:lnRef>
            <a:fillRef idx="3">
              <a:schemeClr val="accent3">
                <a:hueOff val="11250264"/>
                <a:satOff val="-16880"/>
                <a:lumOff val="-2745"/>
                <a:alphaOff val="0"/>
              </a:schemeClr>
            </a:fillRef>
            <a:effectRef idx="2">
              <a:schemeClr val="accent3">
                <a:hueOff val="11250264"/>
                <a:satOff val="-16880"/>
                <a:lumOff val="-2745"/>
                <a:alphaOff val="0"/>
              </a:schemeClr>
            </a:effectRef>
            <a:fontRef idx="minor">
              <a:schemeClr val="lt1"/>
            </a:fontRef>
          </p:style>
          <p:txBody>
            <a:bodyPr/>
            <a:lstStyle/>
            <a:p>
              <a:endParaRPr lang="en-US" sz="1700"/>
            </a:p>
          </p:txBody>
        </p:sp>
        <p:sp>
          <p:nvSpPr>
            <p:cNvPr id="57" name="Rounded Rectangle 12"/>
            <p:cNvSpPr/>
            <p:nvPr/>
          </p:nvSpPr>
          <p:spPr>
            <a:xfrm>
              <a:off x="1985093" y="3542970"/>
              <a:ext cx="6438751" cy="72749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defTabSz="1066800">
                <a:lnSpc>
                  <a:spcPct val="90000"/>
                </a:lnSpc>
                <a:spcBef>
                  <a:spcPct val="0"/>
                </a:spcBef>
                <a:spcAft>
                  <a:spcPct val="35000"/>
                </a:spcAft>
              </a:pPr>
              <a:r>
                <a:rPr lang="en-IN" sz="1700" b="1" dirty="0" smtClean="0"/>
                <a:t>Fixed and variable cost models for each of the locations for stocking, handling, shipping and other warehousing activities</a:t>
              </a:r>
              <a:endParaRPr lang="en-IN" sz="1700" b="1" kern="1200" dirty="0"/>
            </a:p>
          </p:txBody>
        </p:sp>
      </p:grpSp>
      <p:grpSp>
        <p:nvGrpSpPr>
          <p:cNvPr id="9" name="Group 11"/>
          <p:cNvGrpSpPr/>
          <p:nvPr/>
        </p:nvGrpSpPr>
        <p:grpSpPr>
          <a:xfrm>
            <a:off x="251520" y="4275399"/>
            <a:ext cx="8712967" cy="593761"/>
            <a:chOff x="1962461" y="3520338"/>
            <a:chExt cx="6569978" cy="772757"/>
          </a:xfrm>
          <a:scene3d>
            <a:camera prst="orthographicFront"/>
            <a:lightRig rig="threePt" dir="t">
              <a:rot lat="0" lon="0" rev="7500000"/>
            </a:lightRig>
          </a:scene3d>
        </p:grpSpPr>
        <p:sp>
          <p:nvSpPr>
            <p:cNvPr id="59" name="Rounded Rectangle 58"/>
            <p:cNvSpPr/>
            <p:nvPr/>
          </p:nvSpPr>
          <p:spPr>
            <a:xfrm>
              <a:off x="1962461" y="3520338"/>
              <a:ext cx="6569978" cy="772757"/>
            </a:xfrm>
            <a:prstGeom prst="roundRect">
              <a:avLst>
                <a:gd name="adj" fmla="val 10000"/>
              </a:avLst>
            </a:prstGeom>
            <a:sp3d prstMaterial="plastic">
              <a:bevelT w="127000" h="25400" prst="relaxedInset"/>
            </a:sp3d>
          </p:spPr>
          <p:style>
            <a:lnRef idx="0">
              <a:schemeClr val="lt1">
                <a:hueOff val="0"/>
                <a:satOff val="0"/>
                <a:lumOff val="0"/>
                <a:alphaOff val="0"/>
              </a:schemeClr>
            </a:lnRef>
            <a:fillRef idx="3">
              <a:schemeClr val="accent3">
                <a:hueOff val="11250264"/>
                <a:satOff val="-16880"/>
                <a:lumOff val="-2745"/>
                <a:alphaOff val="0"/>
              </a:schemeClr>
            </a:fillRef>
            <a:effectRef idx="2">
              <a:schemeClr val="accent3">
                <a:hueOff val="11250264"/>
                <a:satOff val="-16880"/>
                <a:lumOff val="-2745"/>
                <a:alphaOff val="0"/>
              </a:schemeClr>
            </a:effectRef>
            <a:fontRef idx="minor">
              <a:schemeClr val="lt1"/>
            </a:fontRef>
          </p:style>
          <p:txBody>
            <a:bodyPr/>
            <a:lstStyle/>
            <a:p>
              <a:endParaRPr lang="en-US" sz="1700"/>
            </a:p>
          </p:txBody>
        </p:sp>
        <p:sp>
          <p:nvSpPr>
            <p:cNvPr id="60" name="Rounded Rectangle 12"/>
            <p:cNvSpPr/>
            <p:nvPr/>
          </p:nvSpPr>
          <p:spPr>
            <a:xfrm>
              <a:off x="1985093" y="3542970"/>
              <a:ext cx="6438751" cy="72749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defTabSz="1066800">
                <a:lnSpc>
                  <a:spcPct val="90000"/>
                </a:lnSpc>
                <a:spcBef>
                  <a:spcPct val="0"/>
                </a:spcBef>
                <a:spcAft>
                  <a:spcPct val="35000"/>
                </a:spcAft>
              </a:pPr>
              <a:r>
                <a:rPr lang="en-IN" sz="1700" b="1" dirty="0" smtClean="0"/>
                <a:t>Cost mode for transportation lanes/routes between the above nodes and transportation mode</a:t>
              </a:r>
              <a:endParaRPr lang="en-IN" sz="1700" b="1" kern="1200" dirty="0"/>
            </a:p>
          </p:txBody>
        </p:sp>
      </p:grpSp>
      <p:grpSp>
        <p:nvGrpSpPr>
          <p:cNvPr id="10" name="Group 37"/>
          <p:cNvGrpSpPr/>
          <p:nvPr/>
        </p:nvGrpSpPr>
        <p:grpSpPr>
          <a:xfrm>
            <a:off x="251520" y="4923471"/>
            <a:ext cx="8712968" cy="593761"/>
            <a:chOff x="490615" y="880084"/>
            <a:chExt cx="6569978" cy="772757"/>
          </a:xfrm>
          <a:scene3d>
            <a:camera prst="orthographicFront"/>
            <a:lightRig rig="threePt" dir="t">
              <a:rot lat="0" lon="0" rev="7500000"/>
            </a:lightRig>
          </a:scene3d>
        </p:grpSpPr>
        <p:sp>
          <p:nvSpPr>
            <p:cNvPr id="65" name="Rounded Rectangle 64"/>
            <p:cNvSpPr/>
            <p:nvPr/>
          </p:nvSpPr>
          <p:spPr>
            <a:xfrm>
              <a:off x="490615" y="880084"/>
              <a:ext cx="6569978" cy="772757"/>
            </a:xfrm>
            <a:prstGeom prst="roundRect">
              <a:avLst>
                <a:gd name="adj" fmla="val 10000"/>
              </a:avLst>
            </a:prstGeom>
            <a:solidFill>
              <a:srgbClr val="C21C8B"/>
            </a:solidFill>
            <a:sp3d prstMaterial="plastic">
              <a:bevelT w="127000" h="25400" prst="relaxedInset"/>
            </a:sp3d>
          </p:spPr>
          <p:style>
            <a:lnRef idx="0">
              <a:schemeClr val="lt1">
                <a:hueOff val="0"/>
                <a:satOff val="0"/>
                <a:lumOff val="0"/>
                <a:alphaOff val="0"/>
              </a:schemeClr>
            </a:lnRef>
            <a:fillRef idx="3">
              <a:schemeClr val="accent3">
                <a:hueOff val="2812566"/>
                <a:satOff val="-4220"/>
                <a:lumOff val="-686"/>
                <a:alphaOff val="0"/>
              </a:schemeClr>
            </a:fillRef>
            <a:effectRef idx="2">
              <a:schemeClr val="accent3">
                <a:hueOff val="2812566"/>
                <a:satOff val="-4220"/>
                <a:lumOff val="-686"/>
                <a:alphaOff val="0"/>
              </a:schemeClr>
            </a:effectRef>
            <a:fontRef idx="minor">
              <a:schemeClr val="lt1"/>
            </a:fontRef>
          </p:style>
          <p:txBody>
            <a:bodyPr/>
            <a:lstStyle/>
            <a:p>
              <a:endParaRPr lang="en-US" sz="1700"/>
            </a:p>
          </p:txBody>
        </p:sp>
        <p:sp>
          <p:nvSpPr>
            <p:cNvPr id="66" name="Rounded Rectangle 6"/>
            <p:cNvSpPr/>
            <p:nvPr/>
          </p:nvSpPr>
          <p:spPr>
            <a:xfrm>
              <a:off x="513248" y="902716"/>
              <a:ext cx="6493048" cy="72749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defTabSz="1066800">
                <a:lnSpc>
                  <a:spcPct val="90000"/>
                </a:lnSpc>
                <a:spcBef>
                  <a:spcPct val="0"/>
                </a:spcBef>
                <a:spcAft>
                  <a:spcPct val="35000"/>
                </a:spcAft>
              </a:pPr>
              <a:r>
                <a:rPr lang="en-IN" sz="1700" b="1" dirty="0" smtClean="0"/>
                <a:t>Multiple scenarios with different locations and cost of running the network in each scenario</a:t>
              </a:r>
              <a:endParaRPr lang="en-IN" sz="1700" b="1" kern="1200" dirty="0"/>
            </a:p>
          </p:txBody>
        </p:sp>
      </p:grpSp>
      <p:grpSp>
        <p:nvGrpSpPr>
          <p:cNvPr id="11" name="Group 37"/>
          <p:cNvGrpSpPr/>
          <p:nvPr/>
        </p:nvGrpSpPr>
        <p:grpSpPr>
          <a:xfrm>
            <a:off x="251520" y="5571543"/>
            <a:ext cx="8712968" cy="593761"/>
            <a:chOff x="490615" y="880084"/>
            <a:chExt cx="6569978" cy="772757"/>
          </a:xfrm>
          <a:scene3d>
            <a:camera prst="orthographicFront"/>
            <a:lightRig rig="threePt" dir="t">
              <a:rot lat="0" lon="0" rev="7500000"/>
            </a:lightRig>
          </a:scene3d>
        </p:grpSpPr>
        <p:sp>
          <p:nvSpPr>
            <p:cNvPr id="68" name="Rounded Rectangle 67"/>
            <p:cNvSpPr/>
            <p:nvPr/>
          </p:nvSpPr>
          <p:spPr>
            <a:xfrm>
              <a:off x="490615" y="880084"/>
              <a:ext cx="6569978" cy="772757"/>
            </a:xfrm>
            <a:prstGeom prst="roundRect">
              <a:avLst>
                <a:gd name="adj" fmla="val 10000"/>
              </a:avLst>
            </a:prstGeom>
            <a:solidFill>
              <a:srgbClr val="C21C8B"/>
            </a:solidFill>
            <a:sp3d prstMaterial="plastic">
              <a:bevelT w="127000" h="25400" prst="relaxedInset"/>
            </a:sp3d>
          </p:spPr>
          <p:style>
            <a:lnRef idx="0">
              <a:schemeClr val="lt1">
                <a:hueOff val="0"/>
                <a:satOff val="0"/>
                <a:lumOff val="0"/>
                <a:alphaOff val="0"/>
              </a:schemeClr>
            </a:lnRef>
            <a:fillRef idx="3">
              <a:schemeClr val="accent3">
                <a:hueOff val="2812566"/>
                <a:satOff val="-4220"/>
                <a:lumOff val="-686"/>
                <a:alphaOff val="0"/>
              </a:schemeClr>
            </a:fillRef>
            <a:effectRef idx="2">
              <a:schemeClr val="accent3">
                <a:hueOff val="2812566"/>
                <a:satOff val="-4220"/>
                <a:lumOff val="-686"/>
                <a:alphaOff val="0"/>
              </a:schemeClr>
            </a:effectRef>
            <a:fontRef idx="minor">
              <a:schemeClr val="lt1"/>
            </a:fontRef>
          </p:style>
          <p:txBody>
            <a:bodyPr/>
            <a:lstStyle/>
            <a:p>
              <a:endParaRPr lang="en-US" sz="1700"/>
            </a:p>
          </p:txBody>
        </p:sp>
        <p:sp>
          <p:nvSpPr>
            <p:cNvPr id="69" name="Rounded Rectangle 6"/>
            <p:cNvSpPr/>
            <p:nvPr/>
          </p:nvSpPr>
          <p:spPr>
            <a:xfrm>
              <a:off x="513248" y="902717"/>
              <a:ext cx="5531805" cy="72749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defTabSz="1066800">
                <a:lnSpc>
                  <a:spcPct val="90000"/>
                </a:lnSpc>
                <a:spcBef>
                  <a:spcPct val="0"/>
                </a:spcBef>
                <a:spcAft>
                  <a:spcPct val="35000"/>
                </a:spcAft>
              </a:pPr>
              <a:r>
                <a:rPr lang="en-IN" sz="1700" b="1" dirty="0" smtClean="0"/>
                <a:t>Projected product volumes at nodes and flow paths</a:t>
              </a:r>
              <a:endParaRPr lang="en-IN" sz="1700" b="1" kern="1200" dirty="0"/>
            </a:p>
          </p:txBody>
        </p:sp>
      </p:grpSp>
      <p:grpSp>
        <p:nvGrpSpPr>
          <p:cNvPr id="12" name="Group 37"/>
          <p:cNvGrpSpPr/>
          <p:nvPr/>
        </p:nvGrpSpPr>
        <p:grpSpPr>
          <a:xfrm flipV="1">
            <a:off x="-108520" y="5948669"/>
            <a:ext cx="2592288" cy="864707"/>
            <a:chOff x="-468833" y="880084"/>
            <a:chExt cx="8635043" cy="1125384"/>
          </a:xfrm>
          <a:scene3d>
            <a:camera prst="orthographicFront"/>
            <a:lightRig rig="threePt" dir="t">
              <a:rot lat="0" lon="0" rev="7500000"/>
            </a:lightRig>
          </a:scene3d>
        </p:grpSpPr>
        <p:sp>
          <p:nvSpPr>
            <p:cNvPr id="71" name="Rounded Rectangle 70"/>
            <p:cNvSpPr/>
            <p:nvPr/>
          </p:nvSpPr>
          <p:spPr>
            <a:xfrm>
              <a:off x="490615" y="880084"/>
              <a:ext cx="6569978" cy="772757"/>
            </a:xfrm>
            <a:prstGeom prst="triangle">
              <a:avLst/>
            </a:prstGeom>
            <a:solidFill>
              <a:srgbClr val="C21C8B"/>
            </a:solidFill>
            <a:sp3d prstMaterial="plastic">
              <a:bevelT w="127000" h="25400" prst="relaxedInset"/>
            </a:sp3d>
          </p:spPr>
          <p:style>
            <a:lnRef idx="0">
              <a:schemeClr val="lt1">
                <a:hueOff val="0"/>
                <a:satOff val="0"/>
                <a:lumOff val="0"/>
                <a:alphaOff val="0"/>
              </a:schemeClr>
            </a:lnRef>
            <a:fillRef idx="3">
              <a:schemeClr val="accent3">
                <a:hueOff val="2812566"/>
                <a:satOff val="-4220"/>
                <a:lumOff val="-686"/>
                <a:alphaOff val="0"/>
              </a:schemeClr>
            </a:fillRef>
            <a:effectRef idx="2">
              <a:schemeClr val="accent3">
                <a:hueOff val="2812566"/>
                <a:satOff val="-4220"/>
                <a:lumOff val="-686"/>
                <a:alphaOff val="0"/>
              </a:schemeClr>
            </a:effectRef>
            <a:fontRef idx="minor">
              <a:schemeClr val="lt1"/>
            </a:fontRef>
          </p:style>
          <p:txBody>
            <a:bodyPr/>
            <a:lstStyle/>
            <a:p>
              <a:endParaRPr lang="en-US" sz="1700"/>
            </a:p>
          </p:txBody>
        </p:sp>
        <p:sp>
          <p:nvSpPr>
            <p:cNvPr id="72" name="Rounded Rectangle 6"/>
            <p:cNvSpPr/>
            <p:nvPr/>
          </p:nvSpPr>
          <p:spPr>
            <a:xfrm flipV="1">
              <a:off x="-468833" y="1277977"/>
              <a:ext cx="8635043" cy="727491"/>
            </a:xfrm>
            <a:prstGeom prst="triangle">
              <a:avLst/>
            </a:prstGeom>
            <a:sp3d/>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defTabSz="1066800">
                <a:lnSpc>
                  <a:spcPct val="90000"/>
                </a:lnSpc>
                <a:spcBef>
                  <a:spcPct val="0"/>
                </a:spcBef>
                <a:spcAft>
                  <a:spcPct val="35000"/>
                </a:spcAft>
              </a:pPr>
              <a:r>
                <a:rPr lang="en-IN" sz="1700" b="1" dirty="0" smtClean="0"/>
                <a:t>OUTPUTS</a:t>
              </a:r>
              <a:endParaRPr lang="en-IN" sz="1700" b="1" kern="1200" dirty="0"/>
            </a:p>
          </p:txBody>
        </p:sp>
      </p:grpSp>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25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4000"/>
                            </p:stCondLst>
                            <p:childTnLst>
                              <p:par>
                                <p:cTn id="17" presetID="10" presetClass="entr" presetSubtype="0" fill="hold" nodeType="afterEffect">
                                  <p:stCondLst>
                                    <p:cond delay="225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6750"/>
                            </p:stCondLst>
                            <p:childTnLst>
                              <p:par>
                                <p:cTn id="21" presetID="10" presetClass="entr" presetSubtype="0" fill="hold" nodeType="afterEffect">
                                  <p:stCondLst>
                                    <p:cond delay="75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8000"/>
                            </p:stCondLst>
                            <p:childTnLst>
                              <p:par>
                                <p:cTn id="25" presetID="10" presetClass="entr" presetSubtype="0" fill="hold" nodeType="afterEffect">
                                  <p:stCondLst>
                                    <p:cond delay="175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par>
                          <p:cTn id="28" fill="hold">
                            <p:stCondLst>
                              <p:cond delay="10250"/>
                            </p:stCondLst>
                            <p:childTnLst>
                              <p:par>
                                <p:cTn id="29" presetID="10" presetClass="entr" presetSubtype="0" fill="hold" nodeType="afterEffect">
                                  <p:stCondLst>
                                    <p:cond delay="15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childTnLst>
                          </p:cTn>
                        </p:par>
                        <p:par>
                          <p:cTn id="32" fill="hold">
                            <p:stCondLst>
                              <p:cond delay="12250"/>
                            </p:stCondLst>
                            <p:childTnLst>
                              <p:par>
                                <p:cTn id="33" presetID="10" presetClass="entr" presetSubtype="0" fill="hold" nodeType="afterEffect">
                                  <p:stCondLst>
                                    <p:cond delay="125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childTnLst>
                          </p:cTn>
                        </p:par>
                        <p:par>
                          <p:cTn id="36" fill="hold">
                            <p:stCondLst>
                              <p:cond delay="14000"/>
                            </p:stCondLst>
                            <p:childTnLst>
                              <p:par>
                                <p:cTn id="37" presetID="10" presetClass="entr" presetSubtype="0" fill="hold" nodeType="afterEffect">
                                  <p:stCondLst>
                                    <p:cond delay="100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4"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5"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6"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7"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8"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9"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0"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1"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2"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smtClean="0"/>
                <a:t>Push/Pull Strategies</a:t>
              </a:r>
              <a:endParaRPr lang="en-IN" sz="3200" dirty="0"/>
            </a:p>
          </p:txBody>
        </p:sp>
      </p:grpSp>
      <p:sp>
        <p:nvSpPr>
          <p:cNvPr id="20" name="Terning 33"/>
          <p:cNvSpPr>
            <a:spLocks noChangeArrowheads="1"/>
          </p:cNvSpPr>
          <p:nvPr/>
        </p:nvSpPr>
        <p:spPr bwMode="auto">
          <a:xfrm rot="10800000" flipH="1">
            <a:off x="2376488" y="1616075"/>
            <a:ext cx="2560637" cy="1538288"/>
          </a:xfrm>
          <a:prstGeom prst="cube">
            <a:avLst>
              <a:gd name="adj" fmla="val 4208"/>
            </a:avLst>
          </a:prstGeom>
          <a:solidFill>
            <a:srgbClr val="00B0F0">
              <a:alpha val="73000"/>
            </a:srgbClr>
          </a:solidFill>
          <a:ln w="9525">
            <a:noFill/>
            <a:miter lim="800000"/>
            <a:headEnd/>
            <a:tailEnd/>
          </a:ln>
          <a:effectLst>
            <a:innerShdw blurRad="63500" dist="50800" dir="13500000">
              <a:prstClr val="black">
                <a:alpha val="50000"/>
              </a:prstClr>
            </a:innerShdw>
          </a:effectLst>
        </p:spPr>
        <p:txBody>
          <a:bodyPr anchor="ctr"/>
          <a:lstStyle/>
          <a:p>
            <a:pPr algn="ctr" fontAlgn="auto">
              <a:spcBef>
                <a:spcPts val="0"/>
              </a:spcBef>
              <a:spcAft>
                <a:spcPts val="0"/>
              </a:spcAft>
              <a:defRPr/>
            </a:pPr>
            <a:endParaRPr lang="nb-NO" sz="1400">
              <a:solidFill>
                <a:srgbClr val="FFFFFF"/>
              </a:solidFill>
              <a:ea typeface="ＭＳ Ｐゴシック" pitchFamily="-65" charset="-128"/>
              <a:cs typeface="Arial" pitchFamily="34" charset="0"/>
            </a:endParaRPr>
          </a:p>
        </p:txBody>
      </p:sp>
      <p:sp>
        <p:nvSpPr>
          <p:cNvPr id="21" name="Terning 30"/>
          <p:cNvSpPr/>
          <p:nvPr/>
        </p:nvSpPr>
        <p:spPr bwMode="auto">
          <a:xfrm>
            <a:off x="2376488" y="3216275"/>
            <a:ext cx="2560637" cy="1538288"/>
          </a:xfrm>
          <a:prstGeom prst="cube">
            <a:avLst>
              <a:gd name="adj" fmla="val 4208"/>
            </a:avLst>
          </a:prstGeom>
          <a:solidFill>
            <a:schemeClr val="tx2">
              <a:lumMod val="50000"/>
              <a:alpha val="73000"/>
            </a:schemeClr>
          </a:solidFill>
          <a:ln w="9525" cap="flat" cmpd="sng" algn="ctr">
            <a:no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endParaRPr lang="da-DK" sz="1400" kern="0">
              <a:solidFill>
                <a:sysClr val="window" lastClr="FFFFFF"/>
              </a:solidFill>
              <a:cs typeface="Arial" pitchFamily="34" charset="0"/>
            </a:endParaRPr>
          </a:p>
        </p:txBody>
      </p:sp>
      <p:sp>
        <p:nvSpPr>
          <p:cNvPr id="22" name="Terning 32"/>
          <p:cNvSpPr/>
          <p:nvPr/>
        </p:nvSpPr>
        <p:spPr bwMode="auto">
          <a:xfrm flipH="1">
            <a:off x="5013325" y="3216275"/>
            <a:ext cx="2560638" cy="1538288"/>
          </a:xfrm>
          <a:prstGeom prst="cube">
            <a:avLst>
              <a:gd name="adj" fmla="val 4208"/>
            </a:avLst>
          </a:prstGeom>
          <a:solidFill>
            <a:schemeClr val="accent3">
              <a:lumMod val="50000"/>
              <a:alpha val="73000"/>
            </a:schemeClr>
          </a:solidFill>
          <a:ln w="9525" cap="flat" cmpd="sng" algn="ctr">
            <a:noFill/>
            <a:prstDash val="solid"/>
          </a:ln>
          <a:effectLst>
            <a:innerShdw blurRad="63500" dist="50800" dir="13500000">
              <a:prstClr val="black">
                <a:alpha val="50000"/>
              </a:prstClr>
            </a:innerShdw>
          </a:effectLst>
        </p:spPr>
        <p:txBody>
          <a:bodyPr anchor="ctr"/>
          <a:lstStyle/>
          <a:p>
            <a:pPr algn="ctr" fontAlgn="auto">
              <a:spcBef>
                <a:spcPts val="0"/>
              </a:spcBef>
              <a:spcAft>
                <a:spcPts val="0"/>
              </a:spcAft>
              <a:defRPr/>
            </a:pPr>
            <a:endParaRPr lang="da-DK" sz="1400" kern="0">
              <a:solidFill>
                <a:sysClr val="window" lastClr="FFFFFF"/>
              </a:solidFill>
              <a:cs typeface="Arial" pitchFamily="34" charset="0"/>
            </a:endParaRPr>
          </a:p>
        </p:txBody>
      </p:sp>
      <p:sp>
        <p:nvSpPr>
          <p:cNvPr id="23" name="Terning 31"/>
          <p:cNvSpPr>
            <a:spLocks noChangeArrowheads="1"/>
          </p:cNvSpPr>
          <p:nvPr/>
        </p:nvSpPr>
        <p:spPr bwMode="auto">
          <a:xfrm rot="10800000">
            <a:off x="5013325" y="1600200"/>
            <a:ext cx="2560638" cy="1539875"/>
          </a:xfrm>
          <a:prstGeom prst="cube">
            <a:avLst>
              <a:gd name="adj" fmla="val 4208"/>
            </a:avLst>
          </a:prstGeom>
          <a:solidFill>
            <a:schemeClr val="accent4">
              <a:lumMod val="75000"/>
              <a:alpha val="73000"/>
            </a:schemeClr>
          </a:solidFill>
          <a:ln w="9525">
            <a:noFill/>
            <a:miter lim="800000"/>
            <a:headEnd/>
            <a:tailEnd/>
          </a:ln>
          <a:effectLst>
            <a:innerShdw blurRad="63500" dist="50800" dir="13500000">
              <a:prstClr val="black">
                <a:alpha val="50000"/>
              </a:prstClr>
            </a:innerShdw>
          </a:effectLst>
        </p:spPr>
        <p:txBody>
          <a:bodyPr anchor="ctr"/>
          <a:lstStyle/>
          <a:p>
            <a:pPr algn="ctr" fontAlgn="auto">
              <a:spcBef>
                <a:spcPts val="0"/>
              </a:spcBef>
              <a:spcAft>
                <a:spcPts val="0"/>
              </a:spcAft>
              <a:defRPr/>
            </a:pPr>
            <a:endParaRPr lang="nb-NO" sz="1400">
              <a:solidFill>
                <a:srgbClr val="FFFFFF"/>
              </a:solidFill>
              <a:ea typeface="ＭＳ Ｐゴシック" pitchFamily="-65" charset="-128"/>
              <a:cs typeface="Arial" pitchFamily="34" charset="0"/>
            </a:endParaRPr>
          </a:p>
        </p:txBody>
      </p:sp>
      <p:grpSp>
        <p:nvGrpSpPr>
          <p:cNvPr id="4" name="Group 35"/>
          <p:cNvGrpSpPr>
            <a:grpSpLocks/>
          </p:cNvGrpSpPr>
          <p:nvPr/>
        </p:nvGrpSpPr>
        <p:grpSpPr bwMode="auto">
          <a:xfrm>
            <a:off x="1882775" y="1616074"/>
            <a:ext cx="5715000" cy="3733801"/>
            <a:chOff x="3278090" y="1082675"/>
            <a:chExt cx="5715000" cy="3734370"/>
          </a:xfrm>
        </p:grpSpPr>
        <p:sp>
          <p:nvSpPr>
            <p:cNvPr id="25" name="Rectangle 24"/>
            <p:cNvSpPr/>
            <p:nvPr/>
          </p:nvSpPr>
          <p:spPr bwMode="auto">
            <a:xfrm>
              <a:off x="3278090" y="4435987"/>
              <a:ext cx="5715000" cy="381058"/>
            </a:xfrm>
            <a:prstGeom prst="rect">
              <a:avLst/>
            </a:prstGeom>
            <a:solidFill>
              <a:schemeClr val="tx1">
                <a:lumMod val="85000"/>
                <a:lumOff val="15000"/>
              </a:schemeClr>
            </a:solidFill>
            <a:ln>
              <a:noFill/>
            </a:ln>
            <a:effectLst>
              <a:outerShdw blurRad="50800" dist="38100" algn="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sz="1400">
                <a:solidFill>
                  <a:srgbClr val="FFFFFF"/>
                </a:solidFill>
                <a:ea typeface="ＭＳ Ｐゴシック" pitchFamily="-65" charset="-128"/>
                <a:cs typeface="Arial" pitchFamily="34" charset="0"/>
              </a:endParaRPr>
            </a:p>
          </p:txBody>
        </p:sp>
        <p:sp>
          <p:nvSpPr>
            <p:cNvPr id="26" name="Rectangle 25"/>
            <p:cNvSpPr/>
            <p:nvPr/>
          </p:nvSpPr>
          <p:spPr bwMode="auto">
            <a:xfrm rot="16200000">
              <a:off x="1791935" y="2568831"/>
              <a:ext cx="3353311" cy="381000"/>
            </a:xfrm>
            <a:prstGeom prst="rect">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sz="1400">
                <a:solidFill>
                  <a:srgbClr val="FFFFFF"/>
                </a:solidFill>
                <a:ea typeface="ＭＳ Ｐゴシック" pitchFamily="-65" charset="-128"/>
                <a:cs typeface="Arial" pitchFamily="34" charset="0"/>
              </a:endParaRPr>
            </a:p>
          </p:txBody>
        </p:sp>
        <p:sp>
          <p:nvSpPr>
            <p:cNvPr id="27" name="Tekstboks 39"/>
            <p:cNvSpPr txBox="1">
              <a:spLocks noChangeArrowheads="1"/>
            </p:cNvSpPr>
            <p:nvPr/>
          </p:nvSpPr>
          <p:spPr bwMode="auto">
            <a:xfrm rot="16200000">
              <a:off x="3226174" y="1831282"/>
              <a:ext cx="51817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da-DK" sz="1400">
                  <a:solidFill>
                    <a:srgbClr val="FFFFFF"/>
                  </a:solidFill>
                  <a:latin typeface="+mn-lt"/>
                  <a:ea typeface="ＭＳ Ｐゴシック" pitchFamily="34" charset="-128"/>
                </a:rPr>
                <a:t>High</a:t>
              </a:r>
            </a:p>
          </p:txBody>
        </p:sp>
        <p:sp>
          <p:nvSpPr>
            <p:cNvPr id="28" name="Tekstboks 41"/>
            <p:cNvSpPr txBox="1">
              <a:spLocks noChangeArrowheads="1"/>
            </p:cNvSpPr>
            <p:nvPr/>
          </p:nvSpPr>
          <p:spPr bwMode="auto">
            <a:xfrm rot="16200000">
              <a:off x="3244162" y="3237807"/>
              <a:ext cx="48219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da-DK" sz="1400">
                  <a:solidFill>
                    <a:srgbClr val="FFFFFF"/>
                  </a:solidFill>
                  <a:latin typeface="+mn-lt"/>
                  <a:ea typeface="ＭＳ Ｐゴシック" pitchFamily="34" charset="-128"/>
                </a:rPr>
                <a:t>Low</a:t>
              </a:r>
            </a:p>
          </p:txBody>
        </p:sp>
        <p:sp>
          <p:nvSpPr>
            <p:cNvPr id="29" name="Tekstboks 43"/>
            <p:cNvSpPr txBox="1">
              <a:spLocks noChangeArrowheads="1"/>
            </p:cNvSpPr>
            <p:nvPr/>
          </p:nvSpPr>
          <p:spPr bwMode="auto">
            <a:xfrm>
              <a:off x="4475504" y="4472656"/>
              <a:ext cx="482120" cy="307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da-DK" sz="1400">
                  <a:solidFill>
                    <a:schemeClr val="bg1"/>
                  </a:solidFill>
                  <a:latin typeface="+mn-lt"/>
                  <a:ea typeface="ＭＳ Ｐゴシック" pitchFamily="34" charset="-128"/>
                </a:rPr>
                <a:t>Low</a:t>
              </a:r>
            </a:p>
          </p:txBody>
        </p:sp>
        <p:sp>
          <p:nvSpPr>
            <p:cNvPr id="30" name="Tekstboks 43"/>
            <p:cNvSpPr txBox="1">
              <a:spLocks noChangeArrowheads="1"/>
            </p:cNvSpPr>
            <p:nvPr/>
          </p:nvSpPr>
          <p:spPr bwMode="auto">
            <a:xfrm>
              <a:off x="7616728" y="4472656"/>
              <a:ext cx="518091" cy="307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da-DK" sz="1400">
                  <a:solidFill>
                    <a:schemeClr val="bg1"/>
                  </a:solidFill>
                  <a:latin typeface="+mn-lt"/>
                  <a:ea typeface="ＭＳ Ｐゴシック" pitchFamily="34" charset="-128"/>
                </a:rPr>
                <a:t>High</a:t>
              </a:r>
            </a:p>
          </p:txBody>
        </p:sp>
      </p:grpSp>
      <p:grpSp>
        <p:nvGrpSpPr>
          <p:cNvPr id="5" name="Group 42"/>
          <p:cNvGrpSpPr>
            <a:grpSpLocks/>
          </p:cNvGrpSpPr>
          <p:nvPr/>
        </p:nvGrpSpPr>
        <p:grpSpPr bwMode="auto">
          <a:xfrm>
            <a:off x="1882775" y="5407025"/>
            <a:ext cx="5715000" cy="307975"/>
            <a:chOff x="3278090" y="4873823"/>
            <a:chExt cx="5715000" cy="307777"/>
          </a:xfrm>
        </p:grpSpPr>
        <p:cxnSp>
          <p:nvCxnSpPr>
            <p:cNvPr id="35" name="Straight Connector 34"/>
            <p:cNvCxnSpPr/>
            <p:nvPr/>
          </p:nvCxnSpPr>
          <p:spPr>
            <a:xfrm>
              <a:off x="3278090" y="5029298"/>
              <a:ext cx="571500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6" name="TextBox 44"/>
            <p:cNvSpPr txBox="1">
              <a:spLocks noChangeArrowheads="1"/>
            </p:cNvSpPr>
            <p:nvPr/>
          </p:nvSpPr>
          <p:spPr bwMode="auto">
            <a:xfrm>
              <a:off x="5280918" y="4873823"/>
              <a:ext cx="1781475" cy="30777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sz="1400" dirty="0">
                  <a:latin typeface="+mn-lt"/>
                </a:rPr>
                <a:t>Economies of scale</a:t>
              </a:r>
            </a:p>
          </p:txBody>
        </p:sp>
      </p:grpSp>
      <p:grpSp>
        <p:nvGrpSpPr>
          <p:cNvPr id="6" name="Group 45"/>
          <p:cNvGrpSpPr>
            <a:grpSpLocks/>
          </p:cNvGrpSpPr>
          <p:nvPr/>
        </p:nvGrpSpPr>
        <p:grpSpPr bwMode="auto">
          <a:xfrm>
            <a:off x="1423988" y="1616075"/>
            <a:ext cx="307975" cy="3733800"/>
            <a:chOff x="2819402" y="1082676"/>
            <a:chExt cx="307777" cy="3734369"/>
          </a:xfrm>
        </p:grpSpPr>
        <p:cxnSp>
          <p:nvCxnSpPr>
            <p:cNvPr id="38" name="Straight Connector 37"/>
            <p:cNvCxnSpPr/>
            <p:nvPr/>
          </p:nvCxnSpPr>
          <p:spPr>
            <a:xfrm>
              <a:off x="2973290" y="1082676"/>
              <a:ext cx="0" cy="373436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39" name="TextBox 47"/>
            <p:cNvSpPr txBox="1">
              <a:spLocks noChangeArrowheads="1"/>
            </p:cNvSpPr>
            <p:nvPr/>
          </p:nvSpPr>
          <p:spPr bwMode="auto">
            <a:xfrm rot="-5400000">
              <a:off x="1984091" y="2839816"/>
              <a:ext cx="1978399" cy="30777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sz="1400" dirty="0">
                  <a:latin typeface="+mn-lt"/>
                </a:rPr>
                <a:t>Demand of uncertainty</a:t>
              </a:r>
            </a:p>
          </p:txBody>
        </p:sp>
      </p:grpSp>
      <p:cxnSp>
        <p:nvCxnSpPr>
          <p:cNvPr id="40" name="Straight Connector 39"/>
          <p:cNvCxnSpPr/>
          <p:nvPr/>
        </p:nvCxnSpPr>
        <p:spPr>
          <a:xfrm>
            <a:off x="1143000" y="1590675"/>
            <a:ext cx="0" cy="3722688"/>
          </a:xfrm>
          <a:prstGeom prst="line">
            <a:avLst/>
          </a:prstGeom>
          <a:ln w="76200">
            <a:solidFill>
              <a:srgbClr val="FF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1795463" y="5943600"/>
            <a:ext cx="5976937" cy="0"/>
          </a:xfrm>
          <a:prstGeom prst="line">
            <a:avLst/>
          </a:prstGeom>
          <a:ln w="76200">
            <a:solidFill>
              <a:srgbClr val="FF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TextBox 10"/>
          <p:cNvSpPr txBox="1">
            <a:spLocks noChangeArrowheads="1"/>
          </p:cNvSpPr>
          <p:nvPr/>
        </p:nvSpPr>
        <p:spPr bwMode="auto">
          <a:xfrm>
            <a:off x="976313" y="6096000"/>
            <a:ext cx="21050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en-US" sz="1400" b="1" dirty="0">
                <a:latin typeface="+mn-lt"/>
                <a:ea typeface="ＭＳ Ｐゴシック" pitchFamily="34" charset="-128"/>
              </a:rPr>
              <a:t>Pull</a:t>
            </a:r>
          </a:p>
        </p:txBody>
      </p:sp>
      <p:sp>
        <p:nvSpPr>
          <p:cNvPr id="45" name="TextBox 44"/>
          <p:cNvSpPr txBox="1">
            <a:spLocks noChangeArrowheads="1"/>
          </p:cNvSpPr>
          <p:nvPr/>
        </p:nvSpPr>
        <p:spPr bwMode="auto">
          <a:xfrm>
            <a:off x="2514599" y="1676400"/>
            <a:ext cx="2422525" cy="1284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7800" indent="-177800"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spcAft>
                <a:spcPts val="100"/>
              </a:spcAft>
              <a:buFont typeface="Arial" charset="0"/>
              <a:buChar char="•"/>
            </a:pPr>
            <a:r>
              <a:rPr lang="en-US" sz="1500" b="1" dirty="0">
                <a:solidFill>
                  <a:schemeClr val="bg1"/>
                </a:solidFill>
                <a:latin typeface="+mn-lt"/>
              </a:rPr>
              <a:t>Customization is High</a:t>
            </a:r>
          </a:p>
          <a:p>
            <a:pPr eaLnBrk="1" hangingPunct="1">
              <a:spcAft>
                <a:spcPts val="100"/>
              </a:spcAft>
              <a:buFont typeface="Arial" charset="0"/>
              <a:buChar char="•"/>
            </a:pPr>
            <a:r>
              <a:rPr lang="en-US" sz="1500" b="1" dirty="0">
                <a:solidFill>
                  <a:schemeClr val="bg1"/>
                </a:solidFill>
                <a:latin typeface="+mn-lt"/>
              </a:rPr>
              <a:t>Demand is uncertain</a:t>
            </a:r>
          </a:p>
          <a:p>
            <a:pPr eaLnBrk="1" hangingPunct="1">
              <a:spcAft>
                <a:spcPts val="100"/>
              </a:spcAft>
              <a:buFont typeface="Arial" charset="0"/>
              <a:buChar char="•"/>
            </a:pPr>
            <a:r>
              <a:rPr lang="en-US" sz="1500" b="1" dirty="0">
                <a:solidFill>
                  <a:schemeClr val="bg1"/>
                </a:solidFill>
                <a:latin typeface="+mn-lt"/>
              </a:rPr>
              <a:t>Scale economies are Low</a:t>
            </a:r>
          </a:p>
          <a:p>
            <a:pPr eaLnBrk="1" hangingPunct="1">
              <a:spcAft>
                <a:spcPts val="100"/>
              </a:spcAft>
              <a:buFont typeface="Arial" charset="0"/>
              <a:buChar char="•"/>
            </a:pPr>
            <a:r>
              <a:rPr lang="en-US" sz="1500" b="1" dirty="0">
                <a:solidFill>
                  <a:schemeClr val="bg1"/>
                </a:solidFill>
                <a:latin typeface="+mn-lt"/>
              </a:rPr>
              <a:t>E.g., Computer Peripherals</a:t>
            </a:r>
          </a:p>
        </p:txBody>
      </p:sp>
      <p:sp>
        <p:nvSpPr>
          <p:cNvPr id="46" name="TextBox 45"/>
          <p:cNvSpPr txBox="1">
            <a:spLocks noChangeArrowheads="1"/>
          </p:cNvSpPr>
          <p:nvPr/>
        </p:nvSpPr>
        <p:spPr bwMode="auto">
          <a:xfrm>
            <a:off x="5091113" y="1676400"/>
            <a:ext cx="2470948" cy="1054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7800" indent="-177800"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spcAft>
                <a:spcPts val="100"/>
              </a:spcAft>
              <a:buFont typeface="Arial" charset="0"/>
              <a:buChar char="•"/>
            </a:pPr>
            <a:r>
              <a:rPr lang="en-US" sz="1500" b="1" dirty="0">
                <a:solidFill>
                  <a:schemeClr val="bg1"/>
                </a:solidFill>
                <a:latin typeface="+mn-lt"/>
              </a:rPr>
              <a:t>Demand is uncertain</a:t>
            </a:r>
          </a:p>
          <a:p>
            <a:pPr eaLnBrk="1" hangingPunct="1">
              <a:spcAft>
                <a:spcPts val="100"/>
              </a:spcAft>
              <a:buFont typeface="Arial" charset="0"/>
              <a:buChar char="•"/>
            </a:pPr>
            <a:r>
              <a:rPr lang="en-US" sz="1500" b="1" dirty="0">
                <a:solidFill>
                  <a:schemeClr val="bg1"/>
                </a:solidFill>
                <a:latin typeface="+mn-lt"/>
              </a:rPr>
              <a:t>Scale economies are High</a:t>
            </a:r>
          </a:p>
          <a:p>
            <a:pPr eaLnBrk="1" hangingPunct="1">
              <a:spcAft>
                <a:spcPts val="100"/>
              </a:spcAft>
              <a:buFont typeface="Arial" charset="0"/>
              <a:buChar char="•"/>
            </a:pPr>
            <a:r>
              <a:rPr lang="en-US" sz="1500" b="1" dirty="0">
                <a:solidFill>
                  <a:schemeClr val="bg1"/>
                </a:solidFill>
                <a:latin typeface="+mn-lt"/>
              </a:rPr>
              <a:t>Low economies of scale</a:t>
            </a:r>
          </a:p>
          <a:p>
            <a:pPr eaLnBrk="1" hangingPunct="1">
              <a:spcAft>
                <a:spcPts val="100"/>
              </a:spcAft>
              <a:buFont typeface="Arial" charset="0"/>
              <a:buChar char="•"/>
            </a:pPr>
            <a:r>
              <a:rPr lang="en-US" sz="1500" b="1" dirty="0">
                <a:solidFill>
                  <a:schemeClr val="bg1"/>
                </a:solidFill>
                <a:latin typeface="+mn-lt"/>
              </a:rPr>
              <a:t>E.g., Furniture</a:t>
            </a:r>
          </a:p>
        </p:txBody>
      </p:sp>
      <p:sp>
        <p:nvSpPr>
          <p:cNvPr id="47" name="TextBox 46"/>
          <p:cNvSpPr txBox="1">
            <a:spLocks noChangeArrowheads="1"/>
          </p:cNvSpPr>
          <p:nvPr/>
        </p:nvSpPr>
        <p:spPr bwMode="auto">
          <a:xfrm>
            <a:off x="2514600" y="3284984"/>
            <a:ext cx="2262188" cy="1054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7800" indent="-177800"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spcAft>
                <a:spcPts val="100"/>
              </a:spcAft>
              <a:buFont typeface="Arial" charset="0"/>
              <a:buChar char="•"/>
            </a:pPr>
            <a:r>
              <a:rPr lang="en-US" sz="1500" b="1" dirty="0">
                <a:solidFill>
                  <a:schemeClr val="bg1"/>
                </a:solidFill>
                <a:latin typeface="+mn-lt"/>
              </a:rPr>
              <a:t>Uncertainty is low</a:t>
            </a:r>
          </a:p>
          <a:p>
            <a:pPr eaLnBrk="1" hangingPunct="1">
              <a:spcAft>
                <a:spcPts val="100"/>
              </a:spcAft>
              <a:buFont typeface="Arial" charset="0"/>
              <a:buChar char="•"/>
            </a:pPr>
            <a:r>
              <a:rPr lang="en-US" sz="1500" b="1" dirty="0">
                <a:solidFill>
                  <a:schemeClr val="bg1"/>
                </a:solidFill>
                <a:latin typeface="+mn-lt"/>
              </a:rPr>
              <a:t>Low economies of scale</a:t>
            </a:r>
          </a:p>
          <a:p>
            <a:pPr eaLnBrk="1" hangingPunct="1">
              <a:spcAft>
                <a:spcPts val="100"/>
              </a:spcAft>
              <a:buFont typeface="Arial" charset="0"/>
              <a:buChar char="•"/>
            </a:pPr>
            <a:r>
              <a:rPr lang="en-US" sz="1500" b="1" dirty="0">
                <a:solidFill>
                  <a:schemeClr val="bg1"/>
                </a:solidFill>
                <a:latin typeface="+mn-lt"/>
              </a:rPr>
              <a:t>Push-pull supply chain</a:t>
            </a:r>
          </a:p>
          <a:p>
            <a:pPr eaLnBrk="1" hangingPunct="1">
              <a:spcAft>
                <a:spcPts val="100"/>
              </a:spcAft>
              <a:buFont typeface="Arial" charset="0"/>
              <a:buChar char="•"/>
            </a:pPr>
            <a:r>
              <a:rPr lang="en-US" sz="1500" b="1" dirty="0" smtClean="0">
                <a:solidFill>
                  <a:schemeClr val="bg1"/>
                </a:solidFill>
                <a:latin typeface="+mn-lt"/>
              </a:rPr>
              <a:t>E.g., Stationeries</a:t>
            </a:r>
            <a:endParaRPr lang="en-US" sz="1500" b="1" dirty="0">
              <a:solidFill>
                <a:schemeClr val="bg1"/>
              </a:solidFill>
              <a:latin typeface="+mn-lt"/>
            </a:endParaRPr>
          </a:p>
        </p:txBody>
      </p:sp>
      <p:sp>
        <p:nvSpPr>
          <p:cNvPr id="48" name="TextBox 47"/>
          <p:cNvSpPr txBox="1">
            <a:spLocks noChangeArrowheads="1"/>
          </p:cNvSpPr>
          <p:nvPr/>
        </p:nvSpPr>
        <p:spPr bwMode="auto">
          <a:xfrm>
            <a:off x="5091113" y="3352800"/>
            <a:ext cx="2470948" cy="1284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7800" indent="-177800"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spcAft>
                <a:spcPts val="100"/>
              </a:spcAft>
              <a:buFont typeface="Arial" charset="0"/>
              <a:buChar char="•"/>
            </a:pPr>
            <a:r>
              <a:rPr lang="en-US" sz="1500" b="1" dirty="0">
                <a:solidFill>
                  <a:schemeClr val="bg1"/>
                </a:solidFill>
                <a:latin typeface="+mn-lt"/>
              </a:rPr>
              <a:t>Standard processes are the norm</a:t>
            </a:r>
          </a:p>
          <a:p>
            <a:pPr eaLnBrk="1" hangingPunct="1">
              <a:spcAft>
                <a:spcPts val="100"/>
              </a:spcAft>
              <a:buFont typeface="Arial" charset="0"/>
              <a:buChar char="•"/>
            </a:pPr>
            <a:r>
              <a:rPr lang="en-US" sz="1500" b="1" dirty="0">
                <a:solidFill>
                  <a:schemeClr val="bg1"/>
                </a:solidFill>
                <a:latin typeface="+mn-lt"/>
              </a:rPr>
              <a:t>Demand is stable</a:t>
            </a:r>
          </a:p>
          <a:p>
            <a:pPr eaLnBrk="1" hangingPunct="1">
              <a:spcAft>
                <a:spcPts val="100"/>
              </a:spcAft>
              <a:buFont typeface="Arial" charset="0"/>
              <a:buChar char="•"/>
            </a:pPr>
            <a:r>
              <a:rPr lang="en-US" sz="1500" b="1" dirty="0">
                <a:solidFill>
                  <a:schemeClr val="bg1"/>
                </a:solidFill>
                <a:latin typeface="+mn-lt"/>
              </a:rPr>
              <a:t>Scale economies are High</a:t>
            </a:r>
          </a:p>
          <a:p>
            <a:pPr eaLnBrk="1" hangingPunct="1">
              <a:spcAft>
                <a:spcPts val="100"/>
              </a:spcAft>
              <a:buFont typeface="Arial" charset="0"/>
              <a:buChar char="•"/>
            </a:pPr>
            <a:r>
              <a:rPr lang="en-US" sz="1500" b="1" dirty="0">
                <a:solidFill>
                  <a:schemeClr val="bg1"/>
                </a:solidFill>
                <a:latin typeface="+mn-lt"/>
              </a:rPr>
              <a:t>E.g., </a:t>
            </a:r>
            <a:r>
              <a:rPr lang="en-US" sz="1500" b="1" dirty="0" smtClean="0">
                <a:solidFill>
                  <a:schemeClr val="bg1"/>
                </a:solidFill>
                <a:latin typeface="+mn-lt"/>
              </a:rPr>
              <a:t>Soft drinks</a:t>
            </a:r>
            <a:endParaRPr lang="en-US" sz="1500" b="1" dirty="0">
              <a:solidFill>
                <a:schemeClr val="bg1"/>
              </a:solidFill>
              <a:latin typeface="+mn-lt"/>
            </a:endParaRPr>
          </a:p>
        </p:txBody>
      </p:sp>
      <p:sp>
        <p:nvSpPr>
          <p:cNvPr id="49" name="TextBox 10"/>
          <p:cNvSpPr txBox="1">
            <a:spLocks noChangeArrowheads="1"/>
          </p:cNvSpPr>
          <p:nvPr/>
        </p:nvSpPr>
        <p:spPr bwMode="auto">
          <a:xfrm>
            <a:off x="6553200" y="6096000"/>
            <a:ext cx="21050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en-US" sz="1400" b="1" dirty="0">
                <a:latin typeface="+mn-lt"/>
                <a:ea typeface="ＭＳ Ｐゴシック" pitchFamily="34" charset="-128"/>
              </a:rPr>
              <a:t>Push</a:t>
            </a:r>
          </a:p>
        </p:txBody>
      </p:sp>
      <p:sp>
        <p:nvSpPr>
          <p:cNvPr id="50" name="TextBox 10"/>
          <p:cNvSpPr txBox="1">
            <a:spLocks noChangeArrowheads="1"/>
          </p:cNvSpPr>
          <p:nvPr/>
        </p:nvSpPr>
        <p:spPr bwMode="auto">
          <a:xfrm>
            <a:off x="125413" y="5349875"/>
            <a:ext cx="21050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en-US" sz="1400" b="1" dirty="0">
                <a:latin typeface="+mn-lt"/>
                <a:ea typeface="ＭＳ Ｐゴシック" pitchFamily="34" charset="-128"/>
              </a:rPr>
              <a:t>Push</a:t>
            </a:r>
          </a:p>
        </p:txBody>
      </p:sp>
      <p:sp>
        <p:nvSpPr>
          <p:cNvPr id="51" name="TextBox 10"/>
          <p:cNvSpPr txBox="1">
            <a:spLocks noChangeArrowheads="1"/>
          </p:cNvSpPr>
          <p:nvPr/>
        </p:nvSpPr>
        <p:spPr bwMode="auto">
          <a:xfrm>
            <a:off x="125413" y="1252538"/>
            <a:ext cx="21050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en-US" sz="1400" b="1" dirty="0">
                <a:latin typeface="+mn-lt"/>
                <a:ea typeface="ＭＳ Ｐゴシック" pitchFamily="34" charset="-128"/>
              </a:rPr>
              <a:t>Pull</a:t>
            </a: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500"/>
                                        <p:tgtEl>
                                          <p:spTgt spid="5"/>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wipe(up)">
                                      <p:cBhvr>
                                        <p:cTn id="19" dur="500"/>
                                        <p:tgtEl>
                                          <p:spTgt spid="40"/>
                                        </p:tgtEl>
                                      </p:cBhvr>
                                    </p:animEffect>
                                  </p:childTnLst>
                                </p:cTn>
                              </p:par>
                            </p:childTnLst>
                          </p:cTn>
                        </p:par>
                        <p:par>
                          <p:cTn id="20" fill="hold">
                            <p:stCondLst>
                              <p:cond delay="2000"/>
                            </p:stCondLst>
                            <p:childTnLst>
                              <p:par>
                                <p:cTn id="21" presetID="22" presetClass="entr" presetSubtype="1" fill="hold" nodeType="afterEffect">
                                  <p:stCondLst>
                                    <p:cond delay="0"/>
                                  </p:stCondLst>
                                  <p:childTnLst>
                                    <p:set>
                                      <p:cBhvr>
                                        <p:cTn id="22" dur="1" fill="hold">
                                          <p:stCondLst>
                                            <p:cond delay="0"/>
                                          </p:stCondLst>
                                        </p:cTn>
                                        <p:tgtEl>
                                          <p:spTgt spid="43"/>
                                        </p:tgtEl>
                                        <p:attrNameLst>
                                          <p:attrName>style.visibility</p:attrName>
                                        </p:attrNameLst>
                                      </p:cBhvr>
                                      <p:to>
                                        <p:strVal val="visible"/>
                                      </p:to>
                                    </p:set>
                                    <p:animEffect transition="in" filter="wipe(up)">
                                      <p:cBhvr>
                                        <p:cTn id="23" dur="500"/>
                                        <p:tgtEl>
                                          <p:spTgt spid="4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1"/>
                                        </p:tgtEl>
                                        <p:attrNameLst>
                                          <p:attrName>style.visibility</p:attrName>
                                        </p:attrNameLst>
                                      </p:cBhvr>
                                      <p:to>
                                        <p:strVal val="visible"/>
                                      </p:to>
                                    </p:set>
                                    <p:animEffect transition="in" filter="fade">
                                      <p:cBhvr>
                                        <p:cTn id="27" dur="500"/>
                                        <p:tgtEl>
                                          <p:spTgt spid="51"/>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50"/>
                                        </p:tgtEl>
                                        <p:attrNameLst>
                                          <p:attrName>style.visibility</p:attrName>
                                        </p:attrNameLst>
                                      </p:cBhvr>
                                      <p:to>
                                        <p:strVal val="visible"/>
                                      </p:to>
                                    </p:set>
                                    <p:animEffect transition="in" filter="fade">
                                      <p:cBhvr>
                                        <p:cTn id="31" dur="500"/>
                                        <p:tgtEl>
                                          <p:spTgt spid="50"/>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44"/>
                                        </p:tgtEl>
                                        <p:attrNameLst>
                                          <p:attrName>style.visibility</p:attrName>
                                        </p:attrNameLst>
                                      </p:cBhvr>
                                      <p:to>
                                        <p:strVal val="visible"/>
                                      </p:to>
                                    </p:set>
                                    <p:animEffect transition="in" filter="fade">
                                      <p:cBhvr>
                                        <p:cTn id="35" dur="500"/>
                                        <p:tgtEl>
                                          <p:spTgt spid="44"/>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49"/>
                                        </p:tgtEl>
                                        <p:attrNameLst>
                                          <p:attrName>style.visibility</p:attrName>
                                        </p:attrNameLst>
                                      </p:cBhvr>
                                      <p:to>
                                        <p:strVal val="visible"/>
                                      </p:to>
                                    </p:set>
                                    <p:animEffect transition="in" filter="fade">
                                      <p:cBhvr>
                                        <p:cTn id="39" dur="500"/>
                                        <p:tgtEl>
                                          <p:spTgt spid="49"/>
                                        </p:tgtEl>
                                      </p:cBhvr>
                                    </p:animEffect>
                                  </p:childTnLst>
                                </p:cTn>
                              </p:par>
                            </p:childTnLst>
                          </p:cTn>
                        </p:par>
                        <p:par>
                          <p:cTn id="40" fill="hold">
                            <p:stCondLst>
                              <p:cond delay="4500"/>
                            </p:stCondLst>
                            <p:childTnLst>
                              <p:par>
                                <p:cTn id="41" presetID="22" presetClass="entr" presetSubtype="1" fill="hold" grpId="0" nodeType="afterEffect">
                                  <p:stCondLst>
                                    <p:cond delay="0"/>
                                  </p:stCondLst>
                                  <p:childTnLst>
                                    <p:set>
                                      <p:cBhvr>
                                        <p:cTn id="42" dur="1" fill="hold">
                                          <p:stCondLst>
                                            <p:cond delay="0"/>
                                          </p:stCondLst>
                                        </p:cTn>
                                        <p:tgtEl>
                                          <p:spTgt spid="45"/>
                                        </p:tgtEl>
                                        <p:attrNameLst>
                                          <p:attrName>style.visibility</p:attrName>
                                        </p:attrNameLst>
                                      </p:cBhvr>
                                      <p:to>
                                        <p:strVal val="visible"/>
                                      </p:to>
                                    </p:set>
                                    <p:animEffect transition="in" filter="wipe(up)">
                                      <p:cBhvr>
                                        <p:cTn id="43" dur="500"/>
                                        <p:tgtEl>
                                          <p:spTgt spid="45"/>
                                        </p:tgtEl>
                                      </p:cBhvr>
                                    </p:animEffect>
                                  </p:childTnLst>
                                </p:cTn>
                              </p:par>
                            </p:childTnLst>
                          </p:cTn>
                        </p:par>
                        <p:par>
                          <p:cTn id="44" fill="hold">
                            <p:stCondLst>
                              <p:cond delay="5000"/>
                            </p:stCondLst>
                            <p:childTnLst>
                              <p:par>
                                <p:cTn id="45" presetID="22" presetClass="entr" presetSubtype="1" fill="hold" grpId="0" nodeType="afterEffect">
                                  <p:stCondLst>
                                    <p:cond delay="1500"/>
                                  </p:stCondLst>
                                  <p:childTnLst>
                                    <p:set>
                                      <p:cBhvr>
                                        <p:cTn id="46" dur="1" fill="hold">
                                          <p:stCondLst>
                                            <p:cond delay="0"/>
                                          </p:stCondLst>
                                        </p:cTn>
                                        <p:tgtEl>
                                          <p:spTgt spid="46"/>
                                        </p:tgtEl>
                                        <p:attrNameLst>
                                          <p:attrName>style.visibility</p:attrName>
                                        </p:attrNameLst>
                                      </p:cBhvr>
                                      <p:to>
                                        <p:strVal val="visible"/>
                                      </p:to>
                                    </p:set>
                                    <p:animEffect transition="in" filter="wipe(up)">
                                      <p:cBhvr>
                                        <p:cTn id="47" dur="500"/>
                                        <p:tgtEl>
                                          <p:spTgt spid="46"/>
                                        </p:tgtEl>
                                      </p:cBhvr>
                                    </p:animEffect>
                                  </p:childTnLst>
                                </p:cTn>
                              </p:par>
                            </p:childTnLst>
                          </p:cTn>
                        </p:par>
                        <p:par>
                          <p:cTn id="48" fill="hold">
                            <p:stCondLst>
                              <p:cond delay="7000"/>
                            </p:stCondLst>
                            <p:childTnLst>
                              <p:par>
                                <p:cTn id="49" presetID="22" presetClass="entr" presetSubtype="1" fill="hold" grpId="0" nodeType="afterEffect">
                                  <p:stCondLst>
                                    <p:cond delay="1000"/>
                                  </p:stCondLst>
                                  <p:childTnLst>
                                    <p:set>
                                      <p:cBhvr>
                                        <p:cTn id="50" dur="1" fill="hold">
                                          <p:stCondLst>
                                            <p:cond delay="0"/>
                                          </p:stCondLst>
                                        </p:cTn>
                                        <p:tgtEl>
                                          <p:spTgt spid="47"/>
                                        </p:tgtEl>
                                        <p:attrNameLst>
                                          <p:attrName>style.visibility</p:attrName>
                                        </p:attrNameLst>
                                      </p:cBhvr>
                                      <p:to>
                                        <p:strVal val="visible"/>
                                      </p:to>
                                    </p:set>
                                    <p:animEffect transition="in" filter="wipe(up)">
                                      <p:cBhvr>
                                        <p:cTn id="51" dur="500"/>
                                        <p:tgtEl>
                                          <p:spTgt spid="47"/>
                                        </p:tgtEl>
                                      </p:cBhvr>
                                    </p:animEffect>
                                  </p:childTnLst>
                                </p:cTn>
                              </p:par>
                            </p:childTnLst>
                          </p:cTn>
                        </p:par>
                        <p:par>
                          <p:cTn id="52" fill="hold">
                            <p:stCondLst>
                              <p:cond delay="8500"/>
                            </p:stCondLst>
                            <p:childTnLst>
                              <p:par>
                                <p:cTn id="53" presetID="22" presetClass="entr" presetSubtype="1" fill="hold" grpId="0" nodeType="afterEffect">
                                  <p:stCondLst>
                                    <p:cond delay="1000"/>
                                  </p:stCondLst>
                                  <p:childTnLst>
                                    <p:set>
                                      <p:cBhvr>
                                        <p:cTn id="54" dur="1" fill="hold">
                                          <p:stCondLst>
                                            <p:cond delay="0"/>
                                          </p:stCondLst>
                                        </p:cTn>
                                        <p:tgtEl>
                                          <p:spTgt spid="48"/>
                                        </p:tgtEl>
                                        <p:attrNameLst>
                                          <p:attrName>style.visibility</p:attrName>
                                        </p:attrNameLst>
                                      </p:cBhvr>
                                      <p:to>
                                        <p:strVal val="visible"/>
                                      </p:to>
                                    </p:set>
                                    <p:animEffect transition="in" filter="wipe(up)">
                                      <p:cBhvr>
                                        <p:cTn id="55"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5" grpId="0"/>
      <p:bldP spid="46" grpId="0"/>
      <p:bldP spid="47" grpId="0"/>
      <p:bldP spid="48" grpId="0"/>
      <p:bldP spid="49" grpId="0"/>
      <p:bldP spid="50" grpId="0"/>
      <p:bldP spid="5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4"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5"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6"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7"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8"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9"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0"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1"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2"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IN" sz="3200" dirty="0" smtClean="0"/>
                <a:t>Logistics in Supply Chain Management</a:t>
              </a:r>
              <a:endParaRPr lang="en-IN" sz="3200" dirty="0"/>
            </a:p>
          </p:txBody>
        </p:sp>
      </p:grpSp>
      <p:sp>
        <p:nvSpPr>
          <p:cNvPr id="21" name="Rectangle 20"/>
          <p:cNvSpPr/>
          <p:nvPr/>
        </p:nvSpPr>
        <p:spPr>
          <a:xfrm>
            <a:off x="4860032" y="810000"/>
            <a:ext cx="4283968" cy="6048000"/>
          </a:xfrm>
          <a:prstGeom prst="rect">
            <a:avLst/>
          </a:prstGeom>
          <a:gradFill flip="none" rotWithShape="1">
            <a:gsLst>
              <a:gs pos="43000">
                <a:sysClr val="windowText" lastClr="000000">
                  <a:lumMod val="95000"/>
                  <a:lumOff val="5000"/>
                </a:sysClr>
              </a:gs>
              <a:gs pos="90000">
                <a:schemeClr val="tx1">
                  <a:lumMod val="75000"/>
                  <a:lumOff val="25000"/>
                </a:schemeClr>
              </a:gs>
            </a:gsLst>
            <a:lin ang="17400000" scaled="0"/>
            <a:tileRect/>
          </a:gradFill>
          <a:ln w="9525" cap="flat" cmpd="sng" algn="ctr">
            <a:noFill/>
            <a:prstDash val="solid"/>
          </a:ln>
          <a:effectLst/>
        </p:spPr>
        <p:txBody>
          <a:bodyPr anchor="ctr"/>
          <a:lstStyle/>
          <a:p>
            <a:pPr marL="91440">
              <a:spcAft>
                <a:spcPts val="600"/>
              </a:spcAft>
              <a:defRPr/>
            </a:pPr>
            <a:r>
              <a:rPr lang="en-IN" sz="2000" dirty="0" smtClean="0">
                <a:solidFill>
                  <a:srgbClr val="FFFFFF"/>
                </a:solidFill>
                <a:latin typeface="Calibri" pitchFamily="-109" charset="0"/>
              </a:rPr>
              <a:t>Supply chain design in an organization would detail, plan and strategize the procurement strategy, selection of manufacturing location, design and develop distribution network and strategy for finished goods etc. While logistics planning would deal with the details of procurement logistics, finished goods distribution, sales order fulfilment and inventory management etc. Logistics planning derives the strategic direction and framework for its design planning from SCM Strategy.</a:t>
            </a:r>
          </a:p>
        </p:txBody>
      </p:sp>
      <p:pic>
        <p:nvPicPr>
          <p:cNvPr id="22" name="Picture 21" descr="12925446_l.jpg"/>
          <p:cNvPicPr>
            <a:picLocks noChangeAspect="1"/>
          </p:cNvPicPr>
          <p:nvPr/>
        </p:nvPicPr>
        <p:blipFill>
          <a:blip r:embed="rId13" cstate="print"/>
          <a:srcRect r="55731" b="62764"/>
          <a:stretch>
            <a:fillRect/>
          </a:stretch>
        </p:blipFill>
        <p:spPr>
          <a:xfrm>
            <a:off x="0" y="908720"/>
            <a:ext cx="4832644" cy="5949280"/>
          </a:xfrm>
          <a:prstGeom prst="rect">
            <a:avLst/>
          </a:prstGeom>
        </p:spPr>
      </p:pic>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slide(fromLeft)">
                                      <p:cBhvr>
                                        <p:cTn id="7" dur="500"/>
                                        <p:tgtEl>
                                          <p:spTgt spid="21"/>
                                        </p:tgtEl>
                                      </p:cBhvr>
                                    </p:animEffect>
                                  </p:childTnLst>
                                </p:cTn>
                              </p:par>
                              <p:par>
                                <p:cTn id="8" presetID="12" presetClass="entr" presetSubtype="2"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slide(fromRight)">
                                      <p:cBhvr>
                                        <p:cTn id="1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4"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5"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6"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7"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8"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9"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0"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1"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2"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smtClean="0"/>
                <a:t>Real Life Example</a:t>
              </a:r>
              <a:endParaRPr lang="en-IN" sz="3200" dirty="0"/>
            </a:p>
          </p:txBody>
        </p:sp>
      </p:grpSp>
      <p:sp>
        <p:nvSpPr>
          <p:cNvPr id="20" name="TextBox 19"/>
          <p:cNvSpPr txBox="1"/>
          <p:nvPr/>
        </p:nvSpPr>
        <p:spPr>
          <a:xfrm>
            <a:off x="683568" y="980728"/>
            <a:ext cx="7776864" cy="707886"/>
          </a:xfrm>
          <a:prstGeom prst="rect">
            <a:avLst/>
          </a:prstGeom>
          <a:noFill/>
        </p:spPr>
        <p:txBody>
          <a:bodyPr wrap="square" rtlCol="0">
            <a:spAutoFit/>
          </a:bodyPr>
          <a:lstStyle/>
          <a:p>
            <a:r>
              <a:rPr lang="en-IN" sz="2000" dirty="0" smtClean="0"/>
              <a:t>Dell has manufacturing facilities located in Austin-Texas, North Carolina, Miami, Florida that service US Markets. </a:t>
            </a:r>
            <a:endParaRPr lang="en-IN" sz="2000" dirty="0"/>
          </a:p>
        </p:txBody>
      </p:sp>
      <p:grpSp>
        <p:nvGrpSpPr>
          <p:cNvPr id="4" name="Group 267"/>
          <p:cNvGrpSpPr/>
          <p:nvPr/>
        </p:nvGrpSpPr>
        <p:grpSpPr>
          <a:xfrm>
            <a:off x="755576" y="1844824"/>
            <a:ext cx="8064896" cy="5013176"/>
            <a:chOff x="2051720" y="1844824"/>
            <a:chExt cx="6965818" cy="4176464"/>
          </a:xfrm>
        </p:grpSpPr>
        <p:sp>
          <p:nvSpPr>
            <p:cNvPr id="24" name="Rectangle 2"/>
            <p:cNvSpPr/>
            <p:nvPr/>
          </p:nvSpPr>
          <p:spPr>
            <a:xfrm>
              <a:off x="2051720" y="1844824"/>
              <a:ext cx="6965818" cy="4176464"/>
            </a:xfrm>
            <a:custGeom>
              <a:avLst/>
              <a:gdLst>
                <a:gd name="connsiteX0" fmla="*/ 0 w 8037871"/>
                <a:gd name="connsiteY0" fmla="*/ 0 h 4881716"/>
                <a:gd name="connsiteX1" fmla="*/ 8037871 w 8037871"/>
                <a:gd name="connsiteY1" fmla="*/ 0 h 4881716"/>
                <a:gd name="connsiteX2" fmla="*/ 8037871 w 8037871"/>
                <a:gd name="connsiteY2" fmla="*/ 4881716 h 4881716"/>
                <a:gd name="connsiteX3" fmla="*/ 0 w 8037871"/>
                <a:gd name="connsiteY3" fmla="*/ 4881716 h 4881716"/>
                <a:gd name="connsiteX4" fmla="*/ 0 w 8037871"/>
                <a:gd name="connsiteY4" fmla="*/ 0 h 4881716"/>
                <a:gd name="connsiteX0" fmla="*/ 0 w 8037871"/>
                <a:gd name="connsiteY0" fmla="*/ 0 h 4881716"/>
                <a:gd name="connsiteX1" fmla="*/ 8037871 w 8037871"/>
                <a:gd name="connsiteY1" fmla="*/ 0 h 4881716"/>
                <a:gd name="connsiteX2" fmla="*/ 8037871 w 8037871"/>
                <a:gd name="connsiteY2" fmla="*/ 4881716 h 4881716"/>
                <a:gd name="connsiteX3" fmla="*/ 0 w 8037871"/>
                <a:gd name="connsiteY3" fmla="*/ 4881716 h 4881716"/>
                <a:gd name="connsiteX4" fmla="*/ 0 w 8037871"/>
                <a:gd name="connsiteY4" fmla="*/ 0 h 4881716"/>
                <a:gd name="connsiteX0" fmla="*/ 0 w 8037871"/>
                <a:gd name="connsiteY0" fmla="*/ 0 h 4881716"/>
                <a:gd name="connsiteX1" fmla="*/ 8037871 w 8037871"/>
                <a:gd name="connsiteY1" fmla="*/ 0 h 4881716"/>
                <a:gd name="connsiteX2" fmla="*/ 8037871 w 8037871"/>
                <a:gd name="connsiteY2" fmla="*/ 4881716 h 4881716"/>
                <a:gd name="connsiteX3" fmla="*/ 0 w 8037871"/>
                <a:gd name="connsiteY3" fmla="*/ 4881716 h 4881716"/>
                <a:gd name="connsiteX4" fmla="*/ 0 w 8037871"/>
                <a:gd name="connsiteY4" fmla="*/ 0 h 4881716"/>
                <a:gd name="connsiteX0" fmla="*/ 0 w 8037871"/>
                <a:gd name="connsiteY0" fmla="*/ 0 h 4955458"/>
                <a:gd name="connsiteX1" fmla="*/ 8037871 w 8037871"/>
                <a:gd name="connsiteY1" fmla="*/ 0 h 4955458"/>
                <a:gd name="connsiteX2" fmla="*/ 7905135 w 8037871"/>
                <a:gd name="connsiteY2" fmla="*/ 4955458 h 4955458"/>
                <a:gd name="connsiteX3" fmla="*/ 0 w 8037871"/>
                <a:gd name="connsiteY3" fmla="*/ 4881716 h 4955458"/>
                <a:gd name="connsiteX4" fmla="*/ 0 w 8037871"/>
                <a:gd name="connsiteY4" fmla="*/ 0 h 4955458"/>
                <a:gd name="connsiteX0" fmla="*/ 0 w 8037871"/>
                <a:gd name="connsiteY0" fmla="*/ 0 h 4955458"/>
                <a:gd name="connsiteX1" fmla="*/ 8037871 w 8037871"/>
                <a:gd name="connsiteY1" fmla="*/ 0 h 4955458"/>
                <a:gd name="connsiteX2" fmla="*/ 7905135 w 8037871"/>
                <a:gd name="connsiteY2" fmla="*/ 4955458 h 4955458"/>
                <a:gd name="connsiteX3" fmla="*/ 0 w 8037871"/>
                <a:gd name="connsiteY3" fmla="*/ 4881716 h 4955458"/>
                <a:gd name="connsiteX4" fmla="*/ 0 w 8037871"/>
                <a:gd name="connsiteY4" fmla="*/ 0 h 4955458"/>
                <a:gd name="connsiteX0" fmla="*/ 0 w 7975542"/>
                <a:gd name="connsiteY0" fmla="*/ 0 h 4955458"/>
                <a:gd name="connsiteX1" fmla="*/ 7875639 w 7975542"/>
                <a:gd name="connsiteY1" fmla="*/ 73742 h 4955458"/>
                <a:gd name="connsiteX2" fmla="*/ 7905135 w 7975542"/>
                <a:gd name="connsiteY2" fmla="*/ 4955458 h 4955458"/>
                <a:gd name="connsiteX3" fmla="*/ 0 w 7975542"/>
                <a:gd name="connsiteY3" fmla="*/ 4881716 h 4955458"/>
                <a:gd name="connsiteX4" fmla="*/ 0 w 7975542"/>
                <a:gd name="connsiteY4" fmla="*/ 0 h 4955458"/>
                <a:gd name="connsiteX0" fmla="*/ 0 w 7995971"/>
                <a:gd name="connsiteY0" fmla="*/ 0 h 4955458"/>
                <a:gd name="connsiteX1" fmla="*/ 7875639 w 7995971"/>
                <a:gd name="connsiteY1" fmla="*/ 73742 h 4955458"/>
                <a:gd name="connsiteX2" fmla="*/ 7905135 w 7995971"/>
                <a:gd name="connsiteY2" fmla="*/ 4955458 h 4955458"/>
                <a:gd name="connsiteX3" fmla="*/ 0 w 7995971"/>
                <a:gd name="connsiteY3" fmla="*/ 4881716 h 4955458"/>
                <a:gd name="connsiteX4" fmla="*/ 0 w 7995971"/>
                <a:gd name="connsiteY4" fmla="*/ 0 h 4955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5971" h="4955458">
                  <a:moveTo>
                    <a:pt x="0" y="0"/>
                  </a:moveTo>
                  <a:cubicBezTo>
                    <a:pt x="2738283" y="147484"/>
                    <a:pt x="5196349" y="73742"/>
                    <a:pt x="7875639" y="73742"/>
                  </a:cubicBezTo>
                  <a:cubicBezTo>
                    <a:pt x="7934632" y="1755058"/>
                    <a:pt x="8096863" y="3362632"/>
                    <a:pt x="7905135" y="4955458"/>
                  </a:cubicBezTo>
                  <a:cubicBezTo>
                    <a:pt x="5225845" y="4955458"/>
                    <a:pt x="2723535" y="4660490"/>
                    <a:pt x="0" y="4881716"/>
                  </a:cubicBezTo>
                  <a:lnTo>
                    <a:pt x="0" y="0"/>
                  </a:lnTo>
                  <a:close/>
                </a:path>
              </a:pathLst>
            </a:custGeom>
            <a:gradFill>
              <a:gsLst>
                <a:gs pos="21000">
                  <a:schemeClr val="bg1"/>
                </a:gs>
                <a:gs pos="87000">
                  <a:schemeClr val="bg1">
                    <a:lumMod val="95000"/>
                  </a:schemeClr>
                </a:gs>
              </a:gsLst>
              <a:path path="circle">
                <a:fillToRect l="50000" t="50000" r="50000" b="50000"/>
              </a:path>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endParaRPr lang="en-US" dirty="0">
                <a:solidFill>
                  <a:srgbClr val="000000"/>
                </a:solidFill>
              </a:endParaRPr>
            </a:p>
          </p:txBody>
        </p:sp>
        <p:grpSp>
          <p:nvGrpSpPr>
            <p:cNvPr id="5" name="Group 724"/>
            <p:cNvGrpSpPr>
              <a:grpSpLocks/>
            </p:cNvGrpSpPr>
            <p:nvPr/>
          </p:nvGrpSpPr>
          <p:grpSpPr bwMode="auto">
            <a:xfrm>
              <a:off x="2183819" y="2080972"/>
              <a:ext cx="6317304" cy="3553840"/>
              <a:chOff x="543561" y="1157858"/>
              <a:chExt cx="7838439" cy="4557142"/>
            </a:xfrm>
            <a:gradFill>
              <a:gsLst>
                <a:gs pos="21000">
                  <a:schemeClr val="accent1">
                    <a:lumMod val="60000"/>
                    <a:lumOff val="40000"/>
                  </a:schemeClr>
                </a:gs>
                <a:gs pos="87000">
                  <a:schemeClr val="accent1">
                    <a:lumMod val="50000"/>
                  </a:schemeClr>
                </a:gs>
              </a:gsLst>
              <a:path path="circle">
                <a:fillToRect l="50000" t="50000" r="50000" b="50000"/>
              </a:path>
            </a:gradFill>
          </p:grpSpPr>
          <p:grpSp>
            <p:nvGrpSpPr>
              <p:cNvPr id="6" name="Gruppe 226"/>
              <p:cNvGrpSpPr/>
              <p:nvPr/>
            </p:nvGrpSpPr>
            <p:grpSpPr>
              <a:xfrm>
                <a:off x="543561" y="1157864"/>
                <a:ext cx="3592897" cy="2659943"/>
                <a:chOff x="106680" y="699453"/>
                <a:chExt cx="3986530" cy="2951480"/>
              </a:xfrm>
              <a:grpFill/>
              <a:effectLst/>
            </p:grpSpPr>
            <p:sp>
              <p:nvSpPr>
                <p:cNvPr id="92" name="Freeform 5961"/>
                <p:cNvSpPr>
                  <a:spLocks/>
                </p:cNvSpPr>
                <p:nvPr/>
              </p:nvSpPr>
              <p:spPr bwMode="auto">
                <a:xfrm>
                  <a:off x="2439670" y="3591243"/>
                  <a:ext cx="12700" cy="20320"/>
                </a:xfrm>
                <a:custGeom>
                  <a:avLst/>
                  <a:gdLst/>
                  <a:ahLst/>
                  <a:cxnLst>
                    <a:cxn ang="0">
                      <a:pos x="2" y="26"/>
                    </a:cxn>
                    <a:cxn ang="0">
                      <a:pos x="2" y="26"/>
                    </a:cxn>
                    <a:cxn ang="0">
                      <a:pos x="2" y="32"/>
                    </a:cxn>
                    <a:cxn ang="0">
                      <a:pos x="20" y="0"/>
                    </a:cxn>
                    <a:cxn ang="0">
                      <a:pos x="20" y="0"/>
                    </a:cxn>
                    <a:cxn ang="0">
                      <a:pos x="6" y="10"/>
                    </a:cxn>
                    <a:cxn ang="0">
                      <a:pos x="2" y="12"/>
                    </a:cxn>
                    <a:cxn ang="0">
                      <a:pos x="0" y="16"/>
                    </a:cxn>
                    <a:cxn ang="0">
                      <a:pos x="0" y="20"/>
                    </a:cxn>
                    <a:cxn ang="0">
                      <a:pos x="2" y="26"/>
                    </a:cxn>
                    <a:cxn ang="0">
                      <a:pos x="2" y="26"/>
                    </a:cxn>
                  </a:cxnLst>
                  <a:rect l="0" t="0" r="r" b="b"/>
                  <a:pathLst>
                    <a:path w="20" h="32">
                      <a:moveTo>
                        <a:pt x="2" y="26"/>
                      </a:moveTo>
                      <a:lnTo>
                        <a:pt x="2" y="26"/>
                      </a:lnTo>
                      <a:lnTo>
                        <a:pt x="2" y="32"/>
                      </a:lnTo>
                      <a:lnTo>
                        <a:pt x="20" y="0"/>
                      </a:lnTo>
                      <a:lnTo>
                        <a:pt x="20" y="0"/>
                      </a:lnTo>
                      <a:lnTo>
                        <a:pt x="6" y="10"/>
                      </a:lnTo>
                      <a:lnTo>
                        <a:pt x="2" y="12"/>
                      </a:lnTo>
                      <a:lnTo>
                        <a:pt x="0" y="16"/>
                      </a:lnTo>
                      <a:lnTo>
                        <a:pt x="0" y="20"/>
                      </a:lnTo>
                      <a:lnTo>
                        <a:pt x="2" y="26"/>
                      </a:lnTo>
                      <a:lnTo>
                        <a:pt x="2" y="2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93" name="Freeform 6004"/>
                <p:cNvSpPr>
                  <a:spLocks/>
                </p:cNvSpPr>
                <p:nvPr/>
              </p:nvSpPr>
              <p:spPr bwMode="auto">
                <a:xfrm>
                  <a:off x="3569970" y="3551873"/>
                  <a:ext cx="5080" cy="6350"/>
                </a:xfrm>
                <a:custGeom>
                  <a:avLst/>
                  <a:gdLst/>
                  <a:ahLst/>
                  <a:cxnLst>
                    <a:cxn ang="0">
                      <a:pos x="0" y="6"/>
                    </a:cxn>
                    <a:cxn ang="0">
                      <a:pos x="0" y="6"/>
                    </a:cxn>
                    <a:cxn ang="0">
                      <a:pos x="2" y="8"/>
                    </a:cxn>
                    <a:cxn ang="0">
                      <a:pos x="4" y="10"/>
                    </a:cxn>
                    <a:cxn ang="0">
                      <a:pos x="6" y="8"/>
                    </a:cxn>
                    <a:cxn ang="0">
                      <a:pos x="8" y="4"/>
                    </a:cxn>
                    <a:cxn ang="0">
                      <a:pos x="8" y="4"/>
                    </a:cxn>
                    <a:cxn ang="0">
                      <a:pos x="6" y="0"/>
                    </a:cxn>
                    <a:cxn ang="0">
                      <a:pos x="4" y="2"/>
                    </a:cxn>
                    <a:cxn ang="0">
                      <a:pos x="2" y="4"/>
                    </a:cxn>
                    <a:cxn ang="0">
                      <a:pos x="0" y="6"/>
                    </a:cxn>
                    <a:cxn ang="0">
                      <a:pos x="0" y="6"/>
                    </a:cxn>
                  </a:cxnLst>
                  <a:rect l="0" t="0" r="r" b="b"/>
                  <a:pathLst>
                    <a:path w="8" h="10">
                      <a:moveTo>
                        <a:pt x="0" y="6"/>
                      </a:moveTo>
                      <a:lnTo>
                        <a:pt x="0" y="6"/>
                      </a:lnTo>
                      <a:lnTo>
                        <a:pt x="2" y="8"/>
                      </a:lnTo>
                      <a:lnTo>
                        <a:pt x="4" y="10"/>
                      </a:lnTo>
                      <a:lnTo>
                        <a:pt x="6" y="8"/>
                      </a:lnTo>
                      <a:lnTo>
                        <a:pt x="8" y="4"/>
                      </a:lnTo>
                      <a:lnTo>
                        <a:pt x="8" y="4"/>
                      </a:lnTo>
                      <a:lnTo>
                        <a:pt x="6" y="0"/>
                      </a:lnTo>
                      <a:lnTo>
                        <a:pt x="4" y="2"/>
                      </a:lnTo>
                      <a:lnTo>
                        <a:pt x="2" y="4"/>
                      </a:lnTo>
                      <a:lnTo>
                        <a:pt x="0" y="6"/>
                      </a:lnTo>
                      <a:lnTo>
                        <a:pt x="0"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94" name="Freeform 6005"/>
                <p:cNvSpPr>
                  <a:spLocks/>
                </p:cNvSpPr>
                <p:nvPr/>
              </p:nvSpPr>
              <p:spPr bwMode="auto">
                <a:xfrm>
                  <a:off x="2840990" y="3593783"/>
                  <a:ext cx="7620" cy="6350"/>
                </a:xfrm>
                <a:custGeom>
                  <a:avLst/>
                  <a:gdLst/>
                  <a:ahLst/>
                  <a:cxnLst>
                    <a:cxn ang="0">
                      <a:pos x="10" y="0"/>
                    </a:cxn>
                    <a:cxn ang="0">
                      <a:pos x="10" y="0"/>
                    </a:cxn>
                    <a:cxn ang="0">
                      <a:pos x="6" y="2"/>
                    </a:cxn>
                    <a:cxn ang="0">
                      <a:pos x="2" y="4"/>
                    </a:cxn>
                    <a:cxn ang="0">
                      <a:pos x="2" y="4"/>
                    </a:cxn>
                    <a:cxn ang="0">
                      <a:pos x="0" y="8"/>
                    </a:cxn>
                    <a:cxn ang="0">
                      <a:pos x="2" y="10"/>
                    </a:cxn>
                    <a:cxn ang="0">
                      <a:pos x="8" y="10"/>
                    </a:cxn>
                    <a:cxn ang="0">
                      <a:pos x="8" y="10"/>
                    </a:cxn>
                    <a:cxn ang="0">
                      <a:pos x="10" y="8"/>
                    </a:cxn>
                    <a:cxn ang="0">
                      <a:pos x="12" y="6"/>
                    </a:cxn>
                    <a:cxn ang="0">
                      <a:pos x="12" y="2"/>
                    </a:cxn>
                    <a:cxn ang="0">
                      <a:pos x="10" y="0"/>
                    </a:cxn>
                    <a:cxn ang="0">
                      <a:pos x="10" y="0"/>
                    </a:cxn>
                  </a:cxnLst>
                  <a:rect l="0" t="0" r="r" b="b"/>
                  <a:pathLst>
                    <a:path w="12" h="10">
                      <a:moveTo>
                        <a:pt x="10" y="0"/>
                      </a:moveTo>
                      <a:lnTo>
                        <a:pt x="10" y="0"/>
                      </a:lnTo>
                      <a:lnTo>
                        <a:pt x="6" y="2"/>
                      </a:lnTo>
                      <a:lnTo>
                        <a:pt x="2" y="4"/>
                      </a:lnTo>
                      <a:lnTo>
                        <a:pt x="2" y="4"/>
                      </a:lnTo>
                      <a:lnTo>
                        <a:pt x="0" y="8"/>
                      </a:lnTo>
                      <a:lnTo>
                        <a:pt x="2" y="10"/>
                      </a:lnTo>
                      <a:lnTo>
                        <a:pt x="8" y="10"/>
                      </a:lnTo>
                      <a:lnTo>
                        <a:pt x="8" y="10"/>
                      </a:lnTo>
                      <a:lnTo>
                        <a:pt x="10" y="8"/>
                      </a:lnTo>
                      <a:lnTo>
                        <a:pt x="12" y="6"/>
                      </a:lnTo>
                      <a:lnTo>
                        <a:pt x="12" y="2"/>
                      </a:lnTo>
                      <a:lnTo>
                        <a:pt x="10" y="0"/>
                      </a:lnTo>
                      <a:lnTo>
                        <a:pt x="10"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95" name="Freeform 6006"/>
                <p:cNvSpPr>
                  <a:spLocks/>
                </p:cNvSpPr>
                <p:nvPr/>
              </p:nvSpPr>
              <p:spPr bwMode="auto">
                <a:xfrm>
                  <a:off x="2839720" y="3601403"/>
                  <a:ext cx="6350" cy="2540"/>
                </a:xfrm>
                <a:custGeom>
                  <a:avLst/>
                  <a:gdLst/>
                  <a:ahLst/>
                  <a:cxnLst>
                    <a:cxn ang="0">
                      <a:pos x="2" y="2"/>
                    </a:cxn>
                    <a:cxn ang="0">
                      <a:pos x="2" y="2"/>
                    </a:cxn>
                    <a:cxn ang="0">
                      <a:pos x="0" y="2"/>
                    </a:cxn>
                    <a:cxn ang="0">
                      <a:pos x="2" y="4"/>
                    </a:cxn>
                    <a:cxn ang="0">
                      <a:pos x="4" y="4"/>
                    </a:cxn>
                    <a:cxn ang="0">
                      <a:pos x="8" y="2"/>
                    </a:cxn>
                    <a:cxn ang="0">
                      <a:pos x="8" y="2"/>
                    </a:cxn>
                    <a:cxn ang="0">
                      <a:pos x="10" y="0"/>
                    </a:cxn>
                    <a:cxn ang="0">
                      <a:pos x="8" y="0"/>
                    </a:cxn>
                    <a:cxn ang="0">
                      <a:pos x="2" y="2"/>
                    </a:cxn>
                    <a:cxn ang="0">
                      <a:pos x="2" y="2"/>
                    </a:cxn>
                  </a:cxnLst>
                  <a:rect l="0" t="0" r="r" b="b"/>
                  <a:pathLst>
                    <a:path w="10" h="4">
                      <a:moveTo>
                        <a:pt x="2" y="2"/>
                      </a:moveTo>
                      <a:lnTo>
                        <a:pt x="2" y="2"/>
                      </a:lnTo>
                      <a:lnTo>
                        <a:pt x="0" y="2"/>
                      </a:lnTo>
                      <a:lnTo>
                        <a:pt x="2" y="4"/>
                      </a:lnTo>
                      <a:lnTo>
                        <a:pt x="4" y="4"/>
                      </a:lnTo>
                      <a:lnTo>
                        <a:pt x="8" y="2"/>
                      </a:lnTo>
                      <a:lnTo>
                        <a:pt x="8" y="2"/>
                      </a:lnTo>
                      <a:lnTo>
                        <a:pt x="10" y="0"/>
                      </a:lnTo>
                      <a:lnTo>
                        <a:pt x="8" y="0"/>
                      </a:lnTo>
                      <a:lnTo>
                        <a:pt x="2" y="2"/>
                      </a:lnTo>
                      <a:lnTo>
                        <a:pt x="2"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96" name="Freeform 6008"/>
                <p:cNvSpPr>
                  <a:spLocks/>
                </p:cNvSpPr>
                <p:nvPr/>
              </p:nvSpPr>
              <p:spPr bwMode="auto">
                <a:xfrm>
                  <a:off x="2847340" y="3597593"/>
                  <a:ext cx="3810" cy="3810"/>
                </a:xfrm>
                <a:custGeom>
                  <a:avLst/>
                  <a:gdLst/>
                  <a:ahLst/>
                  <a:cxnLst>
                    <a:cxn ang="0">
                      <a:pos x="6" y="0"/>
                    </a:cxn>
                    <a:cxn ang="0">
                      <a:pos x="6" y="0"/>
                    </a:cxn>
                    <a:cxn ang="0">
                      <a:pos x="4" y="0"/>
                    </a:cxn>
                    <a:cxn ang="0">
                      <a:pos x="2" y="2"/>
                    </a:cxn>
                    <a:cxn ang="0">
                      <a:pos x="0" y="4"/>
                    </a:cxn>
                    <a:cxn ang="0">
                      <a:pos x="2" y="6"/>
                    </a:cxn>
                    <a:cxn ang="0">
                      <a:pos x="2" y="6"/>
                    </a:cxn>
                    <a:cxn ang="0">
                      <a:pos x="4" y="4"/>
                    </a:cxn>
                    <a:cxn ang="0">
                      <a:pos x="6" y="0"/>
                    </a:cxn>
                    <a:cxn ang="0">
                      <a:pos x="6" y="0"/>
                    </a:cxn>
                  </a:cxnLst>
                  <a:rect l="0" t="0" r="r" b="b"/>
                  <a:pathLst>
                    <a:path w="6" h="6">
                      <a:moveTo>
                        <a:pt x="6" y="0"/>
                      </a:moveTo>
                      <a:lnTo>
                        <a:pt x="6" y="0"/>
                      </a:lnTo>
                      <a:lnTo>
                        <a:pt x="4" y="0"/>
                      </a:lnTo>
                      <a:lnTo>
                        <a:pt x="2" y="2"/>
                      </a:lnTo>
                      <a:lnTo>
                        <a:pt x="0" y="4"/>
                      </a:lnTo>
                      <a:lnTo>
                        <a:pt x="2" y="6"/>
                      </a:lnTo>
                      <a:lnTo>
                        <a:pt x="2" y="6"/>
                      </a:lnTo>
                      <a:lnTo>
                        <a:pt x="4" y="4"/>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97" name="Freeform 6009"/>
                <p:cNvSpPr>
                  <a:spLocks/>
                </p:cNvSpPr>
                <p:nvPr/>
              </p:nvSpPr>
              <p:spPr bwMode="auto">
                <a:xfrm>
                  <a:off x="2847340" y="3583623"/>
                  <a:ext cx="2540" cy="2540"/>
                </a:xfrm>
                <a:custGeom>
                  <a:avLst/>
                  <a:gdLst/>
                  <a:ahLst/>
                  <a:cxnLst>
                    <a:cxn ang="0">
                      <a:pos x="0" y="2"/>
                    </a:cxn>
                    <a:cxn ang="0">
                      <a:pos x="0" y="2"/>
                    </a:cxn>
                    <a:cxn ang="0">
                      <a:pos x="0" y="4"/>
                    </a:cxn>
                    <a:cxn ang="0">
                      <a:pos x="2" y="4"/>
                    </a:cxn>
                    <a:cxn ang="0">
                      <a:pos x="4" y="2"/>
                    </a:cxn>
                    <a:cxn ang="0">
                      <a:pos x="4" y="2"/>
                    </a:cxn>
                    <a:cxn ang="0">
                      <a:pos x="4" y="0"/>
                    </a:cxn>
                    <a:cxn ang="0">
                      <a:pos x="2" y="0"/>
                    </a:cxn>
                    <a:cxn ang="0">
                      <a:pos x="0" y="2"/>
                    </a:cxn>
                    <a:cxn ang="0">
                      <a:pos x="0" y="2"/>
                    </a:cxn>
                  </a:cxnLst>
                  <a:rect l="0" t="0" r="r" b="b"/>
                  <a:pathLst>
                    <a:path w="4" h="4">
                      <a:moveTo>
                        <a:pt x="0" y="2"/>
                      </a:moveTo>
                      <a:lnTo>
                        <a:pt x="0" y="2"/>
                      </a:lnTo>
                      <a:lnTo>
                        <a:pt x="0" y="4"/>
                      </a:lnTo>
                      <a:lnTo>
                        <a:pt x="2" y="4"/>
                      </a:lnTo>
                      <a:lnTo>
                        <a:pt x="4" y="2"/>
                      </a:lnTo>
                      <a:lnTo>
                        <a:pt x="4" y="2"/>
                      </a:lnTo>
                      <a:lnTo>
                        <a:pt x="4" y="0"/>
                      </a:lnTo>
                      <a:lnTo>
                        <a:pt x="2" y="0"/>
                      </a:lnTo>
                      <a:lnTo>
                        <a:pt x="0" y="2"/>
                      </a:lnTo>
                      <a:lnTo>
                        <a:pt x="0"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98" name="Freeform 6010"/>
                <p:cNvSpPr>
                  <a:spLocks/>
                </p:cNvSpPr>
                <p:nvPr/>
              </p:nvSpPr>
              <p:spPr bwMode="auto">
                <a:xfrm>
                  <a:off x="2843530" y="3587433"/>
                  <a:ext cx="5080" cy="5080"/>
                </a:xfrm>
                <a:custGeom>
                  <a:avLst/>
                  <a:gdLst/>
                  <a:ahLst/>
                  <a:cxnLst>
                    <a:cxn ang="0">
                      <a:pos x="0" y="8"/>
                    </a:cxn>
                    <a:cxn ang="0">
                      <a:pos x="0" y="8"/>
                    </a:cxn>
                    <a:cxn ang="0">
                      <a:pos x="0" y="8"/>
                    </a:cxn>
                    <a:cxn ang="0">
                      <a:pos x="2" y="8"/>
                    </a:cxn>
                    <a:cxn ang="0">
                      <a:pos x="4" y="4"/>
                    </a:cxn>
                    <a:cxn ang="0">
                      <a:pos x="8" y="0"/>
                    </a:cxn>
                    <a:cxn ang="0">
                      <a:pos x="8" y="0"/>
                    </a:cxn>
                    <a:cxn ang="0">
                      <a:pos x="6" y="0"/>
                    </a:cxn>
                    <a:cxn ang="0">
                      <a:pos x="6" y="0"/>
                    </a:cxn>
                    <a:cxn ang="0">
                      <a:pos x="4" y="0"/>
                    </a:cxn>
                    <a:cxn ang="0">
                      <a:pos x="2" y="2"/>
                    </a:cxn>
                    <a:cxn ang="0">
                      <a:pos x="0" y="8"/>
                    </a:cxn>
                    <a:cxn ang="0">
                      <a:pos x="0" y="8"/>
                    </a:cxn>
                  </a:cxnLst>
                  <a:rect l="0" t="0" r="r" b="b"/>
                  <a:pathLst>
                    <a:path w="8" h="8">
                      <a:moveTo>
                        <a:pt x="0" y="8"/>
                      </a:moveTo>
                      <a:lnTo>
                        <a:pt x="0" y="8"/>
                      </a:lnTo>
                      <a:lnTo>
                        <a:pt x="0" y="8"/>
                      </a:lnTo>
                      <a:lnTo>
                        <a:pt x="2" y="8"/>
                      </a:lnTo>
                      <a:lnTo>
                        <a:pt x="4" y="4"/>
                      </a:lnTo>
                      <a:lnTo>
                        <a:pt x="8" y="0"/>
                      </a:lnTo>
                      <a:lnTo>
                        <a:pt x="8" y="0"/>
                      </a:lnTo>
                      <a:lnTo>
                        <a:pt x="6" y="0"/>
                      </a:lnTo>
                      <a:lnTo>
                        <a:pt x="6" y="0"/>
                      </a:lnTo>
                      <a:lnTo>
                        <a:pt x="4" y="0"/>
                      </a:lnTo>
                      <a:lnTo>
                        <a:pt x="2" y="2"/>
                      </a:lnTo>
                      <a:lnTo>
                        <a:pt x="0" y="8"/>
                      </a:lnTo>
                      <a:lnTo>
                        <a:pt x="0"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99" name="Freeform 6011"/>
                <p:cNvSpPr>
                  <a:spLocks/>
                </p:cNvSpPr>
                <p:nvPr/>
              </p:nvSpPr>
              <p:spPr bwMode="auto">
                <a:xfrm>
                  <a:off x="2846070" y="3588703"/>
                  <a:ext cx="3810" cy="3810"/>
                </a:xfrm>
                <a:custGeom>
                  <a:avLst/>
                  <a:gdLst/>
                  <a:ahLst/>
                  <a:cxnLst>
                    <a:cxn ang="0">
                      <a:pos x="4" y="0"/>
                    </a:cxn>
                    <a:cxn ang="0">
                      <a:pos x="4" y="0"/>
                    </a:cxn>
                    <a:cxn ang="0">
                      <a:pos x="2" y="2"/>
                    </a:cxn>
                    <a:cxn ang="0">
                      <a:pos x="2" y="4"/>
                    </a:cxn>
                    <a:cxn ang="0">
                      <a:pos x="0" y="6"/>
                    </a:cxn>
                    <a:cxn ang="0">
                      <a:pos x="2" y="6"/>
                    </a:cxn>
                    <a:cxn ang="0">
                      <a:pos x="2" y="6"/>
                    </a:cxn>
                    <a:cxn ang="0">
                      <a:pos x="4" y="6"/>
                    </a:cxn>
                    <a:cxn ang="0">
                      <a:pos x="6" y="4"/>
                    </a:cxn>
                    <a:cxn ang="0">
                      <a:pos x="6" y="2"/>
                    </a:cxn>
                    <a:cxn ang="0">
                      <a:pos x="4" y="0"/>
                    </a:cxn>
                    <a:cxn ang="0">
                      <a:pos x="4" y="0"/>
                    </a:cxn>
                  </a:cxnLst>
                  <a:rect l="0" t="0" r="r" b="b"/>
                  <a:pathLst>
                    <a:path w="6" h="6">
                      <a:moveTo>
                        <a:pt x="4" y="0"/>
                      </a:moveTo>
                      <a:lnTo>
                        <a:pt x="4" y="0"/>
                      </a:lnTo>
                      <a:lnTo>
                        <a:pt x="2" y="2"/>
                      </a:lnTo>
                      <a:lnTo>
                        <a:pt x="2" y="4"/>
                      </a:lnTo>
                      <a:lnTo>
                        <a:pt x="0" y="6"/>
                      </a:lnTo>
                      <a:lnTo>
                        <a:pt x="2" y="6"/>
                      </a:lnTo>
                      <a:lnTo>
                        <a:pt x="2" y="6"/>
                      </a:lnTo>
                      <a:lnTo>
                        <a:pt x="4" y="6"/>
                      </a:lnTo>
                      <a:lnTo>
                        <a:pt x="6" y="4"/>
                      </a:lnTo>
                      <a:lnTo>
                        <a:pt x="6" y="2"/>
                      </a:lnTo>
                      <a:lnTo>
                        <a:pt x="4" y="0"/>
                      </a:lnTo>
                      <a:lnTo>
                        <a:pt x="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00" name="Freeform 6012"/>
                <p:cNvSpPr>
                  <a:spLocks/>
                </p:cNvSpPr>
                <p:nvPr/>
              </p:nvSpPr>
              <p:spPr bwMode="auto">
                <a:xfrm>
                  <a:off x="2269490" y="2471103"/>
                  <a:ext cx="119380" cy="58420"/>
                </a:xfrm>
                <a:custGeom>
                  <a:avLst/>
                  <a:gdLst/>
                  <a:ahLst/>
                  <a:cxnLst>
                    <a:cxn ang="0">
                      <a:pos x="182" y="0"/>
                    </a:cxn>
                    <a:cxn ang="0">
                      <a:pos x="180" y="4"/>
                    </a:cxn>
                    <a:cxn ang="0">
                      <a:pos x="180" y="8"/>
                    </a:cxn>
                    <a:cxn ang="0">
                      <a:pos x="174" y="10"/>
                    </a:cxn>
                    <a:cxn ang="0">
                      <a:pos x="154" y="12"/>
                    </a:cxn>
                    <a:cxn ang="0">
                      <a:pos x="130" y="16"/>
                    </a:cxn>
                    <a:cxn ang="0">
                      <a:pos x="126" y="20"/>
                    </a:cxn>
                    <a:cxn ang="0">
                      <a:pos x="126" y="26"/>
                    </a:cxn>
                    <a:cxn ang="0">
                      <a:pos x="132" y="30"/>
                    </a:cxn>
                    <a:cxn ang="0">
                      <a:pos x="112" y="26"/>
                    </a:cxn>
                    <a:cxn ang="0">
                      <a:pos x="98" y="24"/>
                    </a:cxn>
                    <a:cxn ang="0">
                      <a:pos x="82" y="26"/>
                    </a:cxn>
                    <a:cxn ang="0">
                      <a:pos x="68" y="38"/>
                    </a:cxn>
                    <a:cxn ang="0">
                      <a:pos x="60" y="46"/>
                    </a:cxn>
                    <a:cxn ang="0">
                      <a:pos x="50" y="50"/>
                    </a:cxn>
                    <a:cxn ang="0">
                      <a:pos x="40" y="60"/>
                    </a:cxn>
                    <a:cxn ang="0">
                      <a:pos x="38" y="62"/>
                    </a:cxn>
                    <a:cxn ang="0">
                      <a:pos x="32" y="58"/>
                    </a:cxn>
                    <a:cxn ang="0">
                      <a:pos x="26" y="58"/>
                    </a:cxn>
                    <a:cxn ang="0">
                      <a:pos x="18" y="56"/>
                    </a:cxn>
                    <a:cxn ang="0">
                      <a:pos x="16" y="52"/>
                    </a:cxn>
                    <a:cxn ang="0">
                      <a:pos x="18" y="46"/>
                    </a:cxn>
                    <a:cxn ang="0">
                      <a:pos x="26" y="44"/>
                    </a:cxn>
                    <a:cxn ang="0">
                      <a:pos x="36" y="42"/>
                    </a:cxn>
                    <a:cxn ang="0">
                      <a:pos x="44" y="36"/>
                    </a:cxn>
                    <a:cxn ang="0">
                      <a:pos x="40" y="32"/>
                    </a:cxn>
                    <a:cxn ang="0">
                      <a:pos x="34" y="30"/>
                    </a:cxn>
                    <a:cxn ang="0">
                      <a:pos x="30" y="20"/>
                    </a:cxn>
                    <a:cxn ang="0">
                      <a:pos x="24" y="30"/>
                    </a:cxn>
                    <a:cxn ang="0">
                      <a:pos x="20" y="36"/>
                    </a:cxn>
                    <a:cxn ang="0">
                      <a:pos x="14" y="42"/>
                    </a:cxn>
                    <a:cxn ang="0">
                      <a:pos x="10" y="50"/>
                    </a:cxn>
                    <a:cxn ang="0">
                      <a:pos x="4" y="66"/>
                    </a:cxn>
                    <a:cxn ang="0">
                      <a:pos x="0" y="76"/>
                    </a:cxn>
                    <a:cxn ang="0">
                      <a:pos x="2" y="78"/>
                    </a:cxn>
                    <a:cxn ang="0">
                      <a:pos x="12" y="80"/>
                    </a:cxn>
                    <a:cxn ang="0">
                      <a:pos x="28" y="84"/>
                    </a:cxn>
                    <a:cxn ang="0">
                      <a:pos x="28" y="84"/>
                    </a:cxn>
                    <a:cxn ang="0">
                      <a:pos x="24" y="86"/>
                    </a:cxn>
                    <a:cxn ang="0">
                      <a:pos x="18" y="88"/>
                    </a:cxn>
                    <a:cxn ang="0">
                      <a:pos x="20" y="90"/>
                    </a:cxn>
                    <a:cxn ang="0">
                      <a:pos x="42" y="92"/>
                    </a:cxn>
                    <a:cxn ang="0">
                      <a:pos x="82" y="82"/>
                    </a:cxn>
                    <a:cxn ang="0">
                      <a:pos x="102" y="70"/>
                    </a:cxn>
                    <a:cxn ang="0">
                      <a:pos x="130" y="54"/>
                    </a:cxn>
                    <a:cxn ang="0">
                      <a:pos x="140" y="50"/>
                    </a:cxn>
                    <a:cxn ang="0">
                      <a:pos x="164" y="36"/>
                    </a:cxn>
                    <a:cxn ang="0">
                      <a:pos x="184" y="20"/>
                    </a:cxn>
                    <a:cxn ang="0">
                      <a:pos x="188" y="8"/>
                    </a:cxn>
                    <a:cxn ang="0">
                      <a:pos x="184" y="0"/>
                    </a:cxn>
                    <a:cxn ang="0">
                      <a:pos x="182" y="0"/>
                    </a:cxn>
                  </a:cxnLst>
                  <a:rect l="0" t="0" r="r" b="b"/>
                  <a:pathLst>
                    <a:path w="188" h="92">
                      <a:moveTo>
                        <a:pt x="182" y="0"/>
                      </a:moveTo>
                      <a:lnTo>
                        <a:pt x="182" y="0"/>
                      </a:lnTo>
                      <a:lnTo>
                        <a:pt x="180" y="2"/>
                      </a:lnTo>
                      <a:lnTo>
                        <a:pt x="180" y="4"/>
                      </a:lnTo>
                      <a:lnTo>
                        <a:pt x="180" y="8"/>
                      </a:lnTo>
                      <a:lnTo>
                        <a:pt x="180" y="8"/>
                      </a:lnTo>
                      <a:lnTo>
                        <a:pt x="178" y="10"/>
                      </a:lnTo>
                      <a:lnTo>
                        <a:pt x="174" y="10"/>
                      </a:lnTo>
                      <a:lnTo>
                        <a:pt x="154" y="12"/>
                      </a:lnTo>
                      <a:lnTo>
                        <a:pt x="154" y="12"/>
                      </a:lnTo>
                      <a:lnTo>
                        <a:pt x="134" y="14"/>
                      </a:lnTo>
                      <a:lnTo>
                        <a:pt x="130" y="16"/>
                      </a:lnTo>
                      <a:lnTo>
                        <a:pt x="126" y="20"/>
                      </a:lnTo>
                      <a:lnTo>
                        <a:pt x="126" y="20"/>
                      </a:lnTo>
                      <a:lnTo>
                        <a:pt x="126" y="22"/>
                      </a:lnTo>
                      <a:lnTo>
                        <a:pt x="126" y="26"/>
                      </a:lnTo>
                      <a:lnTo>
                        <a:pt x="130" y="28"/>
                      </a:lnTo>
                      <a:lnTo>
                        <a:pt x="132" y="30"/>
                      </a:lnTo>
                      <a:lnTo>
                        <a:pt x="128" y="30"/>
                      </a:lnTo>
                      <a:lnTo>
                        <a:pt x="112" y="26"/>
                      </a:lnTo>
                      <a:lnTo>
                        <a:pt x="112" y="26"/>
                      </a:lnTo>
                      <a:lnTo>
                        <a:pt x="98" y="24"/>
                      </a:lnTo>
                      <a:lnTo>
                        <a:pt x="90" y="24"/>
                      </a:lnTo>
                      <a:lnTo>
                        <a:pt x="82" y="26"/>
                      </a:lnTo>
                      <a:lnTo>
                        <a:pt x="76" y="30"/>
                      </a:lnTo>
                      <a:lnTo>
                        <a:pt x="68" y="38"/>
                      </a:lnTo>
                      <a:lnTo>
                        <a:pt x="64" y="42"/>
                      </a:lnTo>
                      <a:lnTo>
                        <a:pt x="60" y="46"/>
                      </a:lnTo>
                      <a:lnTo>
                        <a:pt x="60" y="46"/>
                      </a:lnTo>
                      <a:lnTo>
                        <a:pt x="50" y="50"/>
                      </a:lnTo>
                      <a:lnTo>
                        <a:pt x="44" y="54"/>
                      </a:lnTo>
                      <a:lnTo>
                        <a:pt x="40" y="60"/>
                      </a:lnTo>
                      <a:lnTo>
                        <a:pt x="40" y="60"/>
                      </a:lnTo>
                      <a:lnTo>
                        <a:pt x="38" y="62"/>
                      </a:lnTo>
                      <a:lnTo>
                        <a:pt x="36" y="60"/>
                      </a:lnTo>
                      <a:lnTo>
                        <a:pt x="32" y="58"/>
                      </a:lnTo>
                      <a:lnTo>
                        <a:pt x="26" y="58"/>
                      </a:lnTo>
                      <a:lnTo>
                        <a:pt x="26" y="58"/>
                      </a:lnTo>
                      <a:lnTo>
                        <a:pt x="22" y="58"/>
                      </a:lnTo>
                      <a:lnTo>
                        <a:pt x="18" y="56"/>
                      </a:lnTo>
                      <a:lnTo>
                        <a:pt x="16" y="54"/>
                      </a:lnTo>
                      <a:lnTo>
                        <a:pt x="16" y="52"/>
                      </a:lnTo>
                      <a:lnTo>
                        <a:pt x="16" y="48"/>
                      </a:lnTo>
                      <a:lnTo>
                        <a:pt x="18" y="46"/>
                      </a:lnTo>
                      <a:lnTo>
                        <a:pt x="20" y="44"/>
                      </a:lnTo>
                      <a:lnTo>
                        <a:pt x="26" y="44"/>
                      </a:lnTo>
                      <a:lnTo>
                        <a:pt x="26" y="44"/>
                      </a:lnTo>
                      <a:lnTo>
                        <a:pt x="36" y="42"/>
                      </a:lnTo>
                      <a:lnTo>
                        <a:pt x="42" y="38"/>
                      </a:lnTo>
                      <a:lnTo>
                        <a:pt x="44" y="36"/>
                      </a:lnTo>
                      <a:lnTo>
                        <a:pt x="42" y="34"/>
                      </a:lnTo>
                      <a:lnTo>
                        <a:pt x="40" y="32"/>
                      </a:lnTo>
                      <a:lnTo>
                        <a:pt x="34" y="30"/>
                      </a:lnTo>
                      <a:lnTo>
                        <a:pt x="34" y="30"/>
                      </a:lnTo>
                      <a:lnTo>
                        <a:pt x="32" y="22"/>
                      </a:lnTo>
                      <a:lnTo>
                        <a:pt x="30" y="20"/>
                      </a:lnTo>
                      <a:lnTo>
                        <a:pt x="28" y="22"/>
                      </a:lnTo>
                      <a:lnTo>
                        <a:pt x="24" y="30"/>
                      </a:lnTo>
                      <a:lnTo>
                        <a:pt x="24" y="30"/>
                      </a:lnTo>
                      <a:lnTo>
                        <a:pt x="20" y="36"/>
                      </a:lnTo>
                      <a:lnTo>
                        <a:pt x="16" y="40"/>
                      </a:lnTo>
                      <a:lnTo>
                        <a:pt x="14" y="42"/>
                      </a:lnTo>
                      <a:lnTo>
                        <a:pt x="10" y="50"/>
                      </a:lnTo>
                      <a:lnTo>
                        <a:pt x="10" y="50"/>
                      </a:lnTo>
                      <a:lnTo>
                        <a:pt x="8" y="60"/>
                      </a:lnTo>
                      <a:lnTo>
                        <a:pt x="4" y="66"/>
                      </a:lnTo>
                      <a:lnTo>
                        <a:pt x="2" y="72"/>
                      </a:lnTo>
                      <a:lnTo>
                        <a:pt x="0" y="76"/>
                      </a:lnTo>
                      <a:lnTo>
                        <a:pt x="0" y="76"/>
                      </a:lnTo>
                      <a:lnTo>
                        <a:pt x="2" y="78"/>
                      </a:lnTo>
                      <a:lnTo>
                        <a:pt x="4" y="80"/>
                      </a:lnTo>
                      <a:lnTo>
                        <a:pt x="12" y="80"/>
                      </a:lnTo>
                      <a:lnTo>
                        <a:pt x="20" y="82"/>
                      </a:lnTo>
                      <a:lnTo>
                        <a:pt x="28" y="84"/>
                      </a:lnTo>
                      <a:lnTo>
                        <a:pt x="28" y="84"/>
                      </a:lnTo>
                      <a:lnTo>
                        <a:pt x="28" y="84"/>
                      </a:lnTo>
                      <a:lnTo>
                        <a:pt x="28" y="86"/>
                      </a:lnTo>
                      <a:lnTo>
                        <a:pt x="24" y="86"/>
                      </a:lnTo>
                      <a:lnTo>
                        <a:pt x="18" y="88"/>
                      </a:lnTo>
                      <a:lnTo>
                        <a:pt x="18" y="88"/>
                      </a:lnTo>
                      <a:lnTo>
                        <a:pt x="20" y="90"/>
                      </a:lnTo>
                      <a:lnTo>
                        <a:pt x="20" y="90"/>
                      </a:lnTo>
                      <a:lnTo>
                        <a:pt x="28" y="92"/>
                      </a:lnTo>
                      <a:lnTo>
                        <a:pt x="42" y="92"/>
                      </a:lnTo>
                      <a:lnTo>
                        <a:pt x="60" y="88"/>
                      </a:lnTo>
                      <a:lnTo>
                        <a:pt x="82" y="82"/>
                      </a:lnTo>
                      <a:lnTo>
                        <a:pt x="82" y="82"/>
                      </a:lnTo>
                      <a:lnTo>
                        <a:pt x="102" y="70"/>
                      </a:lnTo>
                      <a:lnTo>
                        <a:pt x="118" y="60"/>
                      </a:lnTo>
                      <a:lnTo>
                        <a:pt x="130" y="54"/>
                      </a:lnTo>
                      <a:lnTo>
                        <a:pt x="140" y="50"/>
                      </a:lnTo>
                      <a:lnTo>
                        <a:pt x="140" y="50"/>
                      </a:lnTo>
                      <a:lnTo>
                        <a:pt x="152" y="44"/>
                      </a:lnTo>
                      <a:lnTo>
                        <a:pt x="164" y="36"/>
                      </a:lnTo>
                      <a:lnTo>
                        <a:pt x="184" y="20"/>
                      </a:lnTo>
                      <a:lnTo>
                        <a:pt x="184" y="20"/>
                      </a:lnTo>
                      <a:lnTo>
                        <a:pt x="186" y="14"/>
                      </a:lnTo>
                      <a:lnTo>
                        <a:pt x="188" y="8"/>
                      </a:lnTo>
                      <a:lnTo>
                        <a:pt x="186" y="2"/>
                      </a:lnTo>
                      <a:lnTo>
                        <a:pt x="184" y="0"/>
                      </a:lnTo>
                      <a:lnTo>
                        <a:pt x="182" y="0"/>
                      </a:lnTo>
                      <a:lnTo>
                        <a:pt x="18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01" name="Freeform 6013"/>
                <p:cNvSpPr>
                  <a:spLocks/>
                </p:cNvSpPr>
                <p:nvPr/>
              </p:nvSpPr>
              <p:spPr bwMode="auto">
                <a:xfrm>
                  <a:off x="2048510" y="2253933"/>
                  <a:ext cx="318770" cy="267970"/>
                </a:xfrm>
                <a:custGeom>
                  <a:avLst/>
                  <a:gdLst/>
                  <a:ahLst/>
                  <a:cxnLst>
                    <a:cxn ang="0">
                      <a:pos x="50" y="120"/>
                    </a:cxn>
                    <a:cxn ang="0">
                      <a:pos x="52" y="140"/>
                    </a:cxn>
                    <a:cxn ang="0">
                      <a:pos x="106" y="128"/>
                    </a:cxn>
                    <a:cxn ang="0">
                      <a:pos x="144" y="110"/>
                    </a:cxn>
                    <a:cxn ang="0">
                      <a:pos x="164" y="120"/>
                    </a:cxn>
                    <a:cxn ang="0">
                      <a:pos x="200" y="146"/>
                    </a:cxn>
                    <a:cxn ang="0">
                      <a:pos x="242" y="138"/>
                    </a:cxn>
                    <a:cxn ang="0">
                      <a:pos x="286" y="142"/>
                    </a:cxn>
                    <a:cxn ang="0">
                      <a:pos x="316" y="154"/>
                    </a:cxn>
                    <a:cxn ang="0">
                      <a:pos x="328" y="176"/>
                    </a:cxn>
                    <a:cxn ang="0">
                      <a:pos x="298" y="180"/>
                    </a:cxn>
                    <a:cxn ang="0">
                      <a:pos x="262" y="170"/>
                    </a:cxn>
                    <a:cxn ang="0">
                      <a:pos x="220" y="194"/>
                    </a:cxn>
                    <a:cxn ang="0">
                      <a:pos x="210" y="188"/>
                    </a:cxn>
                    <a:cxn ang="0">
                      <a:pos x="186" y="218"/>
                    </a:cxn>
                    <a:cxn ang="0">
                      <a:pos x="166" y="250"/>
                    </a:cxn>
                    <a:cxn ang="0">
                      <a:pos x="188" y="240"/>
                    </a:cxn>
                    <a:cxn ang="0">
                      <a:pos x="184" y="276"/>
                    </a:cxn>
                    <a:cxn ang="0">
                      <a:pos x="174" y="316"/>
                    </a:cxn>
                    <a:cxn ang="0">
                      <a:pos x="172" y="390"/>
                    </a:cxn>
                    <a:cxn ang="0">
                      <a:pos x="206" y="420"/>
                    </a:cxn>
                    <a:cxn ang="0">
                      <a:pos x="238" y="354"/>
                    </a:cxn>
                    <a:cxn ang="0">
                      <a:pos x="228" y="292"/>
                    </a:cxn>
                    <a:cxn ang="0">
                      <a:pos x="236" y="258"/>
                    </a:cxn>
                    <a:cxn ang="0">
                      <a:pos x="260" y="226"/>
                    </a:cxn>
                    <a:cxn ang="0">
                      <a:pos x="270" y="230"/>
                    </a:cxn>
                    <a:cxn ang="0">
                      <a:pos x="284" y="204"/>
                    </a:cxn>
                    <a:cxn ang="0">
                      <a:pos x="304" y="190"/>
                    </a:cxn>
                    <a:cxn ang="0">
                      <a:pos x="334" y="208"/>
                    </a:cxn>
                    <a:cxn ang="0">
                      <a:pos x="350" y="232"/>
                    </a:cxn>
                    <a:cxn ang="0">
                      <a:pos x="342" y="282"/>
                    </a:cxn>
                    <a:cxn ang="0">
                      <a:pos x="340" y="312"/>
                    </a:cxn>
                    <a:cxn ang="0">
                      <a:pos x="366" y="288"/>
                    </a:cxn>
                    <a:cxn ang="0">
                      <a:pos x="390" y="344"/>
                    </a:cxn>
                    <a:cxn ang="0">
                      <a:pos x="418" y="288"/>
                    </a:cxn>
                    <a:cxn ang="0">
                      <a:pos x="432" y="236"/>
                    </a:cxn>
                    <a:cxn ang="0">
                      <a:pos x="432" y="218"/>
                    </a:cxn>
                    <a:cxn ang="0">
                      <a:pos x="444" y="234"/>
                    </a:cxn>
                    <a:cxn ang="0">
                      <a:pos x="450" y="246"/>
                    </a:cxn>
                    <a:cxn ang="0">
                      <a:pos x="472" y="256"/>
                    </a:cxn>
                    <a:cxn ang="0">
                      <a:pos x="484" y="246"/>
                    </a:cxn>
                    <a:cxn ang="0">
                      <a:pos x="500" y="250"/>
                    </a:cxn>
                    <a:cxn ang="0">
                      <a:pos x="486" y="218"/>
                    </a:cxn>
                    <a:cxn ang="0">
                      <a:pos x="468" y="196"/>
                    </a:cxn>
                    <a:cxn ang="0">
                      <a:pos x="426" y="172"/>
                    </a:cxn>
                    <a:cxn ang="0">
                      <a:pos x="388" y="166"/>
                    </a:cxn>
                    <a:cxn ang="0">
                      <a:pos x="324" y="148"/>
                    </a:cxn>
                    <a:cxn ang="0">
                      <a:pos x="304" y="140"/>
                    </a:cxn>
                    <a:cxn ang="0">
                      <a:pos x="306" y="122"/>
                    </a:cxn>
                    <a:cxn ang="0">
                      <a:pos x="302" y="98"/>
                    </a:cxn>
                    <a:cxn ang="0">
                      <a:pos x="290" y="62"/>
                    </a:cxn>
                    <a:cxn ang="0">
                      <a:pos x="244" y="50"/>
                    </a:cxn>
                    <a:cxn ang="0">
                      <a:pos x="214" y="14"/>
                    </a:cxn>
                    <a:cxn ang="0">
                      <a:pos x="162" y="0"/>
                    </a:cxn>
                    <a:cxn ang="0">
                      <a:pos x="158" y="24"/>
                    </a:cxn>
                    <a:cxn ang="0">
                      <a:pos x="150" y="8"/>
                    </a:cxn>
                    <a:cxn ang="0">
                      <a:pos x="132" y="34"/>
                    </a:cxn>
                    <a:cxn ang="0">
                      <a:pos x="118" y="36"/>
                    </a:cxn>
                    <a:cxn ang="0">
                      <a:pos x="46" y="86"/>
                    </a:cxn>
                    <a:cxn ang="0">
                      <a:pos x="4" y="134"/>
                    </a:cxn>
                  </a:cxnLst>
                  <a:rect l="0" t="0" r="r" b="b"/>
                  <a:pathLst>
                    <a:path w="502" h="422">
                      <a:moveTo>
                        <a:pt x="4" y="134"/>
                      </a:moveTo>
                      <a:lnTo>
                        <a:pt x="4" y="134"/>
                      </a:lnTo>
                      <a:lnTo>
                        <a:pt x="10" y="134"/>
                      </a:lnTo>
                      <a:lnTo>
                        <a:pt x="16" y="134"/>
                      </a:lnTo>
                      <a:lnTo>
                        <a:pt x="28" y="128"/>
                      </a:lnTo>
                      <a:lnTo>
                        <a:pt x="40" y="122"/>
                      </a:lnTo>
                      <a:lnTo>
                        <a:pt x="46" y="120"/>
                      </a:lnTo>
                      <a:lnTo>
                        <a:pt x="50" y="120"/>
                      </a:lnTo>
                      <a:lnTo>
                        <a:pt x="50" y="120"/>
                      </a:lnTo>
                      <a:lnTo>
                        <a:pt x="52" y="122"/>
                      </a:lnTo>
                      <a:lnTo>
                        <a:pt x="54" y="124"/>
                      </a:lnTo>
                      <a:lnTo>
                        <a:pt x="50" y="132"/>
                      </a:lnTo>
                      <a:lnTo>
                        <a:pt x="46" y="140"/>
                      </a:lnTo>
                      <a:lnTo>
                        <a:pt x="48" y="142"/>
                      </a:lnTo>
                      <a:lnTo>
                        <a:pt x="52" y="140"/>
                      </a:lnTo>
                      <a:lnTo>
                        <a:pt x="52" y="140"/>
                      </a:lnTo>
                      <a:lnTo>
                        <a:pt x="60" y="140"/>
                      </a:lnTo>
                      <a:lnTo>
                        <a:pt x="68" y="142"/>
                      </a:lnTo>
                      <a:lnTo>
                        <a:pt x="76" y="140"/>
                      </a:lnTo>
                      <a:lnTo>
                        <a:pt x="86" y="134"/>
                      </a:lnTo>
                      <a:lnTo>
                        <a:pt x="86" y="134"/>
                      </a:lnTo>
                      <a:lnTo>
                        <a:pt x="92" y="130"/>
                      </a:lnTo>
                      <a:lnTo>
                        <a:pt x="98" y="128"/>
                      </a:lnTo>
                      <a:lnTo>
                        <a:pt x="106" y="128"/>
                      </a:lnTo>
                      <a:lnTo>
                        <a:pt x="112" y="126"/>
                      </a:lnTo>
                      <a:lnTo>
                        <a:pt x="118" y="124"/>
                      </a:lnTo>
                      <a:lnTo>
                        <a:pt x="122" y="120"/>
                      </a:lnTo>
                      <a:lnTo>
                        <a:pt x="122" y="120"/>
                      </a:lnTo>
                      <a:lnTo>
                        <a:pt x="132" y="110"/>
                      </a:lnTo>
                      <a:lnTo>
                        <a:pt x="140" y="106"/>
                      </a:lnTo>
                      <a:lnTo>
                        <a:pt x="142" y="108"/>
                      </a:lnTo>
                      <a:lnTo>
                        <a:pt x="144" y="110"/>
                      </a:lnTo>
                      <a:lnTo>
                        <a:pt x="146" y="120"/>
                      </a:lnTo>
                      <a:lnTo>
                        <a:pt x="146" y="120"/>
                      </a:lnTo>
                      <a:lnTo>
                        <a:pt x="148" y="124"/>
                      </a:lnTo>
                      <a:lnTo>
                        <a:pt x="148" y="126"/>
                      </a:lnTo>
                      <a:lnTo>
                        <a:pt x="150" y="126"/>
                      </a:lnTo>
                      <a:lnTo>
                        <a:pt x="152" y="124"/>
                      </a:lnTo>
                      <a:lnTo>
                        <a:pt x="160" y="120"/>
                      </a:lnTo>
                      <a:lnTo>
                        <a:pt x="164" y="120"/>
                      </a:lnTo>
                      <a:lnTo>
                        <a:pt x="170" y="122"/>
                      </a:lnTo>
                      <a:lnTo>
                        <a:pt x="170" y="122"/>
                      </a:lnTo>
                      <a:lnTo>
                        <a:pt x="176" y="124"/>
                      </a:lnTo>
                      <a:lnTo>
                        <a:pt x="180" y="128"/>
                      </a:lnTo>
                      <a:lnTo>
                        <a:pt x="186" y="138"/>
                      </a:lnTo>
                      <a:lnTo>
                        <a:pt x="192" y="144"/>
                      </a:lnTo>
                      <a:lnTo>
                        <a:pt x="194" y="146"/>
                      </a:lnTo>
                      <a:lnTo>
                        <a:pt x="200" y="146"/>
                      </a:lnTo>
                      <a:lnTo>
                        <a:pt x="200" y="146"/>
                      </a:lnTo>
                      <a:lnTo>
                        <a:pt x="210" y="148"/>
                      </a:lnTo>
                      <a:lnTo>
                        <a:pt x="216" y="148"/>
                      </a:lnTo>
                      <a:lnTo>
                        <a:pt x="222" y="148"/>
                      </a:lnTo>
                      <a:lnTo>
                        <a:pt x="230" y="144"/>
                      </a:lnTo>
                      <a:lnTo>
                        <a:pt x="230" y="144"/>
                      </a:lnTo>
                      <a:lnTo>
                        <a:pt x="236" y="140"/>
                      </a:lnTo>
                      <a:lnTo>
                        <a:pt x="242" y="138"/>
                      </a:lnTo>
                      <a:lnTo>
                        <a:pt x="256" y="136"/>
                      </a:lnTo>
                      <a:lnTo>
                        <a:pt x="272" y="134"/>
                      </a:lnTo>
                      <a:lnTo>
                        <a:pt x="282" y="132"/>
                      </a:lnTo>
                      <a:lnTo>
                        <a:pt x="282" y="132"/>
                      </a:lnTo>
                      <a:lnTo>
                        <a:pt x="286" y="130"/>
                      </a:lnTo>
                      <a:lnTo>
                        <a:pt x="288" y="130"/>
                      </a:lnTo>
                      <a:lnTo>
                        <a:pt x="286" y="136"/>
                      </a:lnTo>
                      <a:lnTo>
                        <a:pt x="286" y="142"/>
                      </a:lnTo>
                      <a:lnTo>
                        <a:pt x="288" y="144"/>
                      </a:lnTo>
                      <a:lnTo>
                        <a:pt x="290" y="146"/>
                      </a:lnTo>
                      <a:lnTo>
                        <a:pt x="290" y="146"/>
                      </a:lnTo>
                      <a:lnTo>
                        <a:pt x="302" y="150"/>
                      </a:lnTo>
                      <a:lnTo>
                        <a:pt x="310" y="150"/>
                      </a:lnTo>
                      <a:lnTo>
                        <a:pt x="314" y="150"/>
                      </a:lnTo>
                      <a:lnTo>
                        <a:pt x="316" y="150"/>
                      </a:lnTo>
                      <a:lnTo>
                        <a:pt x="316" y="154"/>
                      </a:lnTo>
                      <a:lnTo>
                        <a:pt x="316" y="154"/>
                      </a:lnTo>
                      <a:lnTo>
                        <a:pt x="318" y="162"/>
                      </a:lnTo>
                      <a:lnTo>
                        <a:pt x="322" y="164"/>
                      </a:lnTo>
                      <a:lnTo>
                        <a:pt x="326" y="166"/>
                      </a:lnTo>
                      <a:lnTo>
                        <a:pt x="330" y="170"/>
                      </a:lnTo>
                      <a:lnTo>
                        <a:pt x="330" y="170"/>
                      </a:lnTo>
                      <a:lnTo>
                        <a:pt x="330" y="174"/>
                      </a:lnTo>
                      <a:lnTo>
                        <a:pt x="328" y="176"/>
                      </a:lnTo>
                      <a:lnTo>
                        <a:pt x="322" y="178"/>
                      </a:lnTo>
                      <a:lnTo>
                        <a:pt x="312" y="176"/>
                      </a:lnTo>
                      <a:lnTo>
                        <a:pt x="304" y="172"/>
                      </a:lnTo>
                      <a:lnTo>
                        <a:pt x="304" y="172"/>
                      </a:lnTo>
                      <a:lnTo>
                        <a:pt x="302" y="172"/>
                      </a:lnTo>
                      <a:lnTo>
                        <a:pt x="300" y="174"/>
                      </a:lnTo>
                      <a:lnTo>
                        <a:pt x="300" y="178"/>
                      </a:lnTo>
                      <a:lnTo>
                        <a:pt x="298" y="180"/>
                      </a:lnTo>
                      <a:lnTo>
                        <a:pt x="296" y="182"/>
                      </a:lnTo>
                      <a:lnTo>
                        <a:pt x="294" y="182"/>
                      </a:lnTo>
                      <a:lnTo>
                        <a:pt x="288" y="178"/>
                      </a:lnTo>
                      <a:lnTo>
                        <a:pt x="288" y="178"/>
                      </a:lnTo>
                      <a:lnTo>
                        <a:pt x="278" y="172"/>
                      </a:lnTo>
                      <a:lnTo>
                        <a:pt x="270" y="170"/>
                      </a:lnTo>
                      <a:lnTo>
                        <a:pt x="266" y="168"/>
                      </a:lnTo>
                      <a:lnTo>
                        <a:pt x="262" y="170"/>
                      </a:lnTo>
                      <a:lnTo>
                        <a:pt x="256" y="176"/>
                      </a:lnTo>
                      <a:lnTo>
                        <a:pt x="252" y="176"/>
                      </a:lnTo>
                      <a:lnTo>
                        <a:pt x="242" y="176"/>
                      </a:lnTo>
                      <a:lnTo>
                        <a:pt x="242" y="176"/>
                      </a:lnTo>
                      <a:lnTo>
                        <a:pt x="238" y="178"/>
                      </a:lnTo>
                      <a:lnTo>
                        <a:pt x="234" y="180"/>
                      </a:lnTo>
                      <a:lnTo>
                        <a:pt x="226" y="188"/>
                      </a:lnTo>
                      <a:lnTo>
                        <a:pt x="220" y="194"/>
                      </a:lnTo>
                      <a:lnTo>
                        <a:pt x="220" y="194"/>
                      </a:lnTo>
                      <a:lnTo>
                        <a:pt x="220" y="190"/>
                      </a:lnTo>
                      <a:lnTo>
                        <a:pt x="220" y="190"/>
                      </a:lnTo>
                      <a:lnTo>
                        <a:pt x="222" y="184"/>
                      </a:lnTo>
                      <a:lnTo>
                        <a:pt x="220" y="184"/>
                      </a:lnTo>
                      <a:lnTo>
                        <a:pt x="216" y="186"/>
                      </a:lnTo>
                      <a:lnTo>
                        <a:pt x="212" y="188"/>
                      </a:lnTo>
                      <a:lnTo>
                        <a:pt x="210" y="188"/>
                      </a:lnTo>
                      <a:lnTo>
                        <a:pt x="208" y="184"/>
                      </a:lnTo>
                      <a:lnTo>
                        <a:pt x="208" y="184"/>
                      </a:lnTo>
                      <a:lnTo>
                        <a:pt x="208" y="182"/>
                      </a:lnTo>
                      <a:lnTo>
                        <a:pt x="206" y="184"/>
                      </a:lnTo>
                      <a:lnTo>
                        <a:pt x="200" y="192"/>
                      </a:lnTo>
                      <a:lnTo>
                        <a:pt x="194" y="206"/>
                      </a:lnTo>
                      <a:lnTo>
                        <a:pt x="186" y="218"/>
                      </a:lnTo>
                      <a:lnTo>
                        <a:pt x="186" y="218"/>
                      </a:lnTo>
                      <a:lnTo>
                        <a:pt x="182" y="224"/>
                      </a:lnTo>
                      <a:lnTo>
                        <a:pt x="180" y="228"/>
                      </a:lnTo>
                      <a:lnTo>
                        <a:pt x="178" y="232"/>
                      </a:lnTo>
                      <a:lnTo>
                        <a:pt x="174" y="234"/>
                      </a:lnTo>
                      <a:lnTo>
                        <a:pt x="174" y="234"/>
                      </a:lnTo>
                      <a:lnTo>
                        <a:pt x="172" y="238"/>
                      </a:lnTo>
                      <a:lnTo>
                        <a:pt x="168" y="242"/>
                      </a:lnTo>
                      <a:lnTo>
                        <a:pt x="166" y="250"/>
                      </a:lnTo>
                      <a:lnTo>
                        <a:pt x="166" y="258"/>
                      </a:lnTo>
                      <a:lnTo>
                        <a:pt x="168" y="258"/>
                      </a:lnTo>
                      <a:lnTo>
                        <a:pt x="170" y="256"/>
                      </a:lnTo>
                      <a:lnTo>
                        <a:pt x="170" y="256"/>
                      </a:lnTo>
                      <a:lnTo>
                        <a:pt x="176" y="250"/>
                      </a:lnTo>
                      <a:lnTo>
                        <a:pt x="180" y="244"/>
                      </a:lnTo>
                      <a:lnTo>
                        <a:pt x="182" y="240"/>
                      </a:lnTo>
                      <a:lnTo>
                        <a:pt x="188" y="240"/>
                      </a:lnTo>
                      <a:lnTo>
                        <a:pt x="188" y="240"/>
                      </a:lnTo>
                      <a:lnTo>
                        <a:pt x="190" y="244"/>
                      </a:lnTo>
                      <a:lnTo>
                        <a:pt x="190" y="246"/>
                      </a:lnTo>
                      <a:lnTo>
                        <a:pt x="188" y="256"/>
                      </a:lnTo>
                      <a:lnTo>
                        <a:pt x="184" y="268"/>
                      </a:lnTo>
                      <a:lnTo>
                        <a:pt x="182" y="272"/>
                      </a:lnTo>
                      <a:lnTo>
                        <a:pt x="184" y="276"/>
                      </a:lnTo>
                      <a:lnTo>
                        <a:pt x="184" y="276"/>
                      </a:lnTo>
                      <a:lnTo>
                        <a:pt x="184" y="282"/>
                      </a:lnTo>
                      <a:lnTo>
                        <a:pt x="182" y="284"/>
                      </a:lnTo>
                      <a:lnTo>
                        <a:pt x="180" y="284"/>
                      </a:lnTo>
                      <a:lnTo>
                        <a:pt x="178" y="288"/>
                      </a:lnTo>
                      <a:lnTo>
                        <a:pt x="176" y="294"/>
                      </a:lnTo>
                      <a:lnTo>
                        <a:pt x="176" y="302"/>
                      </a:lnTo>
                      <a:lnTo>
                        <a:pt x="176" y="302"/>
                      </a:lnTo>
                      <a:lnTo>
                        <a:pt x="174" y="316"/>
                      </a:lnTo>
                      <a:lnTo>
                        <a:pt x="170" y="326"/>
                      </a:lnTo>
                      <a:lnTo>
                        <a:pt x="170" y="334"/>
                      </a:lnTo>
                      <a:lnTo>
                        <a:pt x="172" y="348"/>
                      </a:lnTo>
                      <a:lnTo>
                        <a:pt x="172" y="348"/>
                      </a:lnTo>
                      <a:lnTo>
                        <a:pt x="172" y="356"/>
                      </a:lnTo>
                      <a:lnTo>
                        <a:pt x="172" y="364"/>
                      </a:lnTo>
                      <a:lnTo>
                        <a:pt x="172" y="376"/>
                      </a:lnTo>
                      <a:lnTo>
                        <a:pt x="172" y="390"/>
                      </a:lnTo>
                      <a:lnTo>
                        <a:pt x="174" y="396"/>
                      </a:lnTo>
                      <a:lnTo>
                        <a:pt x="178" y="406"/>
                      </a:lnTo>
                      <a:lnTo>
                        <a:pt x="178" y="406"/>
                      </a:lnTo>
                      <a:lnTo>
                        <a:pt x="184" y="414"/>
                      </a:lnTo>
                      <a:lnTo>
                        <a:pt x="188" y="418"/>
                      </a:lnTo>
                      <a:lnTo>
                        <a:pt x="194" y="422"/>
                      </a:lnTo>
                      <a:lnTo>
                        <a:pt x="200" y="422"/>
                      </a:lnTo>
                      <a:lnTo>
                        <a:pt x="206" y="420"/>
                      </a:lnTo>
                      <a:lnTo>
                        <a:pt x="212" y="414"/>
                      </a:lnTo>
                      <a:lnTo>
                        <a:pt x="218" y="408"/>
                      </a:lnTo>
                      <a:lnTo>
                        <a:pt x="224" y="400"/>
                      </a:lnTo>
                      <a:lnTo>
                        <a:pt x="224" y="400"/>
                      </a:lnTo>
                      <a:lnTo>
                        <a:pt x="232" y="382"/>
                      </a:lnTo>
                      <a:lnTo>
                        <a:pt x="236" y="372"/>
                      </a:lnTo>
                      <a:lnTo>
                        <a:pt x="236" y="364"/>
                      </a:lnTo>
                      <a:lnTo>
                        <a:pt x="238" y="354"/>
                      </a:lnTo>
                      <a:lnTo>
                        <a:pt x="236" y="344"/>
                      </a:lnTo>
                      <a:lnTo>
                        <a:pt x="234" y="332"/>
                      </a:lnTo>
                      <a:lnTo>
                        <a:pt x="228" y="320"/>
                      </a:lnTo>
                      <a:lnTo>
                        <a:pt x="228" y="320"/>
                      </a:lnTo>
                      <a:lnTo>
                        <a:pt x="226" y="310"/>
                      </a:lnTo>
                      <a:lnTo>
                        <a:pt x="228" y="304"/>
                      </a:lnTo>
                      <a:lnTo>
                        <a:pt x="230" y="300"/>
                      </a:lnTo>
                      <a:lnTo>
                        <a:pt x="228" y="292"/>
                      </a:lnTo>
                      <a:lnTo>
                        <a:pt x="228" y="292"/>
                      </a:lnTo>
                      <a:lnTo>
                        <a:pt x="228" y="288"/>
                      </a:lnTo>
                      <a:lnTo>
                        <a:pt x="228" y="284"/>
                      </a:lnTo>
                      <a:lnTo>
                        <a:pt x="232" y="278"/>
                      </a:lnTo>
                      <a:lnTo>
                        <a:pt x="236" y="270"/>
                      </a:lnTo>
                      <a:lnTo>
                        <a:pt x="238" y="264"/>
                      </a:lnTo>
                      <a:lnTo>
                        <a:pt x="236" y="258"/>
                      </a:lnTo>
                      <a:lnTo>
                        <a:pt x="236" y="258"/>
                      </a:lnTo>
                      <a:lnTo>
                        <a:pt x="236" y="248"/>
                      </a:lnTo>
                      <a:lnTo>
                        <a:pt x="238" y="246"/>
                      </a:lnTo>
                      <a:lnTo>
                        <a:pt x="242" y="244"/>
                      </a:lnTo>
                      <a:lnTo>
                        <a:pt x="250" y="236"/>
                      </a:lnTo>
                      <a:lnTo>
                        <a:pt x="250" y="236"/>
                      </a:lnTo>
                      <a:lnTo>
                        <a:pt x="256" y="228"/>
                      </a:lnTo>
                      <a:lnTo>
                        <a:pt x="258" y="226"/>
                      </a:lnTo>
                      <a:lnTo>
                        <a:pt x="260" y="226"/>
                      </a:lnTo>
                      <a:lnTo>
                        <a:pt x="260" y="230"/>
                      </a:lnTo>
                      <a:lnTo>
                        <a:pt x="260" y="240"/>
                      </a:lnTo>
                      <a:lnTo>
                        <a:pt x="262" y="244"/>
                      </a:lnTo>
                      <a:lnTo>
                        <a:pt x="264" y="244"/>
                      </a:lnTo>
                      <a:lnTo>
                        <a:pt x="264" y="244"/>
                      </a:lnTo>
                      <a:lnTo>
                        <a:pt x="266" y="244"/>
                      </a:lnTo>
                      <a:lnTo>
                        <a:pt x="268" y="240"/>
                      </a:lnTo>
                      <a:lnTo>
                        <a:pt x="270" y="230"/>
                      </a:lnTo>
                      <a:lnTo>
                        <a:pt x="270" y="224"/>
                      </a:lnTo>
                      <a:lnTo>
                        <a:pt x="272" y="218"/>
                      </a:lnTo>
                      <a:lnTo>
                        <a:pt x="276" y="214"/>
                      </a:lnTo>
                      <a:lnTo>
                        <a:pt x="282" y="212"/>
                      </a:lnTo>
                      <a:lnTo>
                        <a:pt x="282" y="212"/>
                      </a:lnTo>
                      <a:lnTo>
                        <a:pt x="288" y="210"/>
                      </a:lnTo>
                      <a:lnTo>
                        <a:pt x="286" y="206"/>
                      </a:lnTo>
                      <a:lnTo>
                        <a:pt x="284" y="204"/>
                      </a:lnTo>
                      <a:lnTo>
                        <a:pt x="282" y="202"/>
                      </a:lnTo>
                      <a:lnTo>
                        <a:pt x="284" y="198"/>
                      </a:lnTo>
                      <a:lnTo>
                        <a:pt x="288" y="194"/>
                      </a:lnTo>
                      <a:lnTo>
                        <a:pt x="288" y="194"/>
                      </a:lnTo>
                      <a:lnTo>
                        <a:pt x="294" y="190"/>
                      </a:lnTo>
                      <a:lnTo>
                        <a:pt x="298" y="188"/>
                      </a:lnTo>
                      <a:lnTo>
                        <a:pt x="300" y="188"/>
                      </a:lnTo>
                      <a:lnTo>
                        <a:pt x="304" y="190"/>
                      </a:lnTo>
                      <a:lnTo>
                        <a:pt x="308" y="194"/>
                      </a:lnTo>
                      <a:lnTo>
                        <a:pt x="314" y="196"/>
                      </a:lnTo>
                      <a:lnTo>
                        <a:pt x="314" y="196"/>
                      </a:lnTo>
                      <a:lnTo>
                        <a:pt x="320" y="198"/>
                      </a:lnTo>
                      <a:lnTo>
                        <a:pt x="322" y="200"/>
                      </a:lnTo>
                      <a:lnTo>
                        <a:pt x="324" y="204"/>
                      </a:lnTo>
                      <a:lnTo>
                        <a:pt x="334" y="208"/>
                      </a:lnTo>
                      <a:lnTo>
                        <a:pt x="334" y="208"/>
                      </a:lnTo>
                      <a:lnTo>
                        <a:pt x="344" y="214"/>
                      </a:lnTo>
                      <a:lnTo>
                        <a:pt x="352" y="220"/>
                      </a:lnTo>
                      <a:lnTo>
                        <a:pt x="356" y="226"/>
                      </a:lnTo>
                      <a:lnTo>
                        <a:pt x="356" y="228"/>
                      </a:lnTo>
                      <a:lnTo>
                        <a:pt x="352" y="230"/>
                      </a:lnTo>
                      <a:lnTo>
                        <a:pt x="352" y="230"/>
                      </a:lnTo>
                      <a:lnTo>
                        <a:pt x="350" y="230"/>
                      </a:lnTo>
                      <a:lnTo>
                        <a:pt x="350" y="232"/>
                      </a:lnTo>
                      <a:lnTo>
                        <a:pt x="352" y="238"/>
                      </a:lnTo>
                      <a:lnTo>
                        <a:pt x="354" y="246"/>
                      </a:lnTo>
                      <a:lnTo>
                        <a:pt x="354" y="250"/>
                      </a:lnTo>
                      <a:lnTo>
                        <a:pt x="354" y="256"/>
                      </a:lnTo>
                      <a:lnTo>
                        <a:pt x="354" y="256"/>
                      </a:lnTo>
                      <a:lnTo>
                        <a:pt x="352" y="268"/>
                      </a:lnTo>
                      <a:lnTo>
                        <a:pt x="348" y="276"/>
                      </a:lnTo>
                      <a:lnTo>
                        <a:pt x="342" y="282"/>
                      </a:lnTo>
                      <a:lnTo>
                        <a:pt x="336" y="288"/>
                      </a:lnTo>
                      <a:lnTo>
                        <a:pt x="336" y="288"/>
                      </a:lnTo>
                      <a:lnTo>
                        <a:pt x="334" y="290"/>
                      </a:lnTo>
                      <a:lnTo>
                        <a:pt x="332" y="294"/>
                      </a:lnTo>
                      <a:lnTo>
                        <a:pt x="330" y="302"/>
                      </a:lnTo>
                      <a:lnTo>
                        <a:pt x="334" y="308"/>
                      </a:lnTo>
                      <a:lnTo>
                        <a:pt x="336" y="310"/>
                      </a:lnTo>
                      <a:lnTo>
                        <a:pt x="340" y="312"/>
                      </a:lnTo>
                      <a:lnTo>
                        <a:pt x="340" y="312"/>
                      </a:lnTo>
                      <a:lnTo>
                        <a:pt x="342" y="310"/>
                      </a:lnTo>
                      <a:lnTo>
                        <a:pt x="346" y="308"/>
                      </a:lnTo>
                      <a:lnTo>
                        <a:pt x="350" y="300"/>
                      </a:lnTo>
                      <a:lnTo>
                        <a:pt x="356" y="292"/>
                      </a:lnTo>
                      <a:lnTo>
                        <a:pt x="360" y="290"/>
                      </a:lnTo>
                      <a:lnTo>
                        <a:pt x="366" y="288"/>
                      </a:lnTo>
                      <a:lnTo>
                        <a:pt x="366" y="288"/>
                      </a:lnTo>
                      <a:lnTo>
                        <a:pt x="370" y="288"/>
                      </a:lnTo>
                      <a:lnTo>
                        <a:pt x="376" y="294"/>
                      </a:lnTo>
                      <a:lnTo>
                        <a:pt x="380" y="300"/>
                      </a:lnTo>
                      <a:lnTo>
                        <a:pt x="382" y="310"/>
                      </a:lnTo>
                      <a:lnTo>
                        <a:pt x="386" y="330"/>
                      </a:lnTo>
                      <a:lnTo>
                        <a:pt x="388" y="338"/>
                      </a:lnTo>
                      <a:lnTo>
                        <a:pt x="390" y="344"/>
                      </a:lnTo>
                      <a:lnTo>
                        <a:pt x="390" y="344"/>
                      </a:lnTo>
                      <a:lnTo>
                        <a:pt x="406" y="336"/>
                      </a:lnTo>
                      <a:lnTo>
                        <a:pt x="410" y="334"/>
                      </a:lnTo>
                      <a:lnTo>
                        <a:pt x="414" y="330"/>
                      </a:lnTo>
                      <a:lnTo>
                        <a:pt x="418" y="324"/>
                      </a:lnTo>
                      <a:lnTo>
                        <a:pt x="418" y="318"/>
                      </a:lnTo>
                      <a:lnTo>
                        <a:pt x="418" y="298"/>
                      </a:lnTo>
                      <a:lnTo>
                        <a:pt x="418" y="298"/>
                      </a:lnTo>
                      <a:lnTo>
                        <a:pt x="418" y="288"/>
                      </a:lnTo>
                      <a:lnTo>
                        <a:pt x="422" y="280"/>
                      </a:lnTo>
                      <a:lnTo>
                        <a:pt x="424" y="274"/>
                      </a:lnTo>
                      <a:lnTo>
                        <a:pt x="428" y="268"/>
                      </a:lnTo>
                      <a:lnTo>
                        <a:pt x="436" y="258"/>
                      </a:lnTo>
                      <a:lnTo>
                        <a:pt x="438" y="254"/>
                      </a:lnTo>
                      <a:lnTo>
                        <a:pt x="438" y="248"/>
                      </a:lnTo>
                      <a:lnTo>
                        <a:pt x="438" y="248"/>
                      </a:lnTo>
                      <a:lnTo>
                        <a:pt x="432" y="236"/>
                      </a:lnTo>
                      <a:lnTo>
                        <a:pt x="426" y="228"/>
                      </a:lnTo>
                      <a:lnTo>
                        <a:pt x="422" y="222"/>
                      </a:lnTo>
                      <a:lnTo>
                        <a:pt x="420" y="218"/>
                      </a:lnTo>
                      <a:lnTo>
                        <a:pt x="420" y="218"/>
                      </a:lnTo>
                      <a:lnTo>
                        <a:pt x="422" y="216"/>
                      </a:lnTo>
                      <a:lnTo>
                        <a:pt x="424" y="218"/>
                      </a:lnTo>
                      <a:lnTo>
                        <a:pt x="428" y="218"/>
                      </a:lnTo>
                      <a:lnTo>
                        <a:pt x="432" y="218"/>
                      </a:lnTo>
                      <a:lnTo>
                        <a:pt x="432" y="218"/>
                      </a:lnTo>
                      <a:lnTo>
                        <a:pt x="434" y="220"/>
                      </a:lnTo>
                      <a:lnTo>
                        <a:pt x="436" y="220"/>
                      </a:lnTo>
                      <a:lnTo>
                        <a:pt x="436" y="226"/>
                      </a:lnTo>
                      <a:lnTo>
                        <a:pt x="438" y="232"/>
                      </a:lnTo>
                      <a:lnTo>
                        <a:pt x="440" y="234"/>
                      </a:lnTo>
                      <a:lnTo>
                        <a:pt x="444" y="234"/>
                      </a:lnTo>
                      <a:lnTo>
                        <a:pt x="444" y="234"/>
                      </a:lnTo>
                      <a:lnTo>
                        <a:pt x="446" y="236"/>
                      </a:lnTo>
                      <a:lnTo>
                        <a:pt x="448" y="238"/>
                      </a:lnTo>
                      <a:lnTo>
                        <a:pt x="446" y="242"/>
                      </a:lnTo>
                      <a:lnTo>
                        <a:pt x="444" y="246"/>
                      </a:lnTo>
                      <a:lnTo>
                        <a:pt x="444" y="246"/>
                      </a:lnTo>
                      <a:lnTo>
                        <a:pt x="446" y="246"/>
                      </a:lnTo>
                      <a:lnTo>
                        <a:pt x="446" y="246"/>
                      </a:lnTo>
                      <a:lnTo>
                        <a:pt x="450" y="246"/>
                      </a:lnTo>
                      <a:lnTo>
                        <a:pt x="450" y="246"/>
                      </a:lnTo>
                      <a:lnTo>
                        <a:pt x="450" y="250"/>
                      </a:lnTo>
                      <a:lnTo>
                        <a:pt x="450" y="254"/>
                      </a:lnTo>
                      <a:lnTo>
                        <a:pt x="454" y="252"/>
                      </a:lnTo>
                      <a:lnTo>
                        <a:pt x="454" y="252"/>
                      </a:lnTo>
                      <a:lnTo>
                        <a:pt x="458" y="250"/>
                      </a:lnTo>
                      <a:lnTo>
                        <a:pt x="462" y="252"/>
                      </a:lnTo>
                      <a:lnTo>
                        <a:pt x="472" y="256"/>
                      </a:lnTo>
                      <a:lnTo>
                        <a:pt x="480" y="262"/>
                      </a:lnTo>
                      <a:lnTo>
                        <a:pt x="484" y="264"/>
                      </a:lnTo>
                      <a:lnTo>
                        <a:pt x="486" y="262"/>
                      </a:lnTo>
                      <a:lnTo>
                        <a:pt x="486" y="262"/>
                      </a:lnTo>
                      <a:lnTo>
                        <a:pt x="488" y="260"/>
                      </a:lnTo>
                      <a:lnTo>
                        <a:pt x="490" y="258"/>
                      </a:lnTo>
                      <a:lnTo>
                        <a:pt x="488" y="252"/>
                      </a:lnTo>
                      <a:lnTo>
                        <a:pt x="484" y="246"/>
                      </a:lnTo>
                      <a:lnTo>
                        <a:pt x="484" y="244"/>
                      </a:lnTo>
                      <a:lnTo>
                        <a:pt x="486" y="242"/>
                      </a:lnTo>
                      <a:lnTo>
                        <a:pt x="486" y="242"/>
                      </a:lnTo>
                      <a:lnTo>
                        <a:pt x="488" y="242"/>
                      </a:lnTo>
                      <a:lnTo>
                        <a:pt x="490" y="242"/>
                      </a:lnTo>
                      <a:lnTo>
                        <a:pt x="496" y="246"/>
                      </a:lnTo>
                      <a:lnTo>
                        <a:pt x="500" y="250"/>
                      </a:lnTo>
                      <a:lnTo>
                        <a:pt x="500" y="250"/>
                      </a:lnTo>
                      <a:lnTo>
                        <a:pt x="502" y="248"/>
                      </a:lnTo>
                      <a:lnTo>
                        <a:pt x="502" y="248"/>
                      </a:lnTo>
                      <a:lnTo>
                        <a:pt x="498" y="240"/>
                      </a:lnTo>
                      <a:lnTo>
                        <a:pt x="494" y="234"/>
                      </a:lnTo>
                      <a:lnTo>
                        <a:pt x="488" y="226"/>
                      </a:lnTo>
                      <a:lnTo>
                        <a:pt x="486" y="222"/>
                      </a:lnTo>
                      <a:lnTo>
                        <a:pt x="486" y="218"/>
                      </a:lnTo>
                      <a:lnTo>
                        <a:pt x="486" y="218"/>
                      </a:lnTo>
                      <a:lnTo>
                        <a:pt x="486" y="212"/>
                      </a:lnTo>
                      <a:lnTo>
                        <a:pt x="484" y="208"/>
                      </a:lnTo>
                      <a:lnTo>
                        <a:pt x="482" y="208"/>
                      </a:lnTo>
                      <a:lnTo>
                        <a:pt x="478" y="210"/>
                      </a:lnTo>
                      <a:lnTo>
                        <a:pt x="478" y="210"/>
                      </a:lnTo>
                      <a:lnTo>
                        <a:pt x="476" y="210"/>
                      </a:lnTo>
                      <a:lnTo>
                        <a:pt x="474" y="208"/>
                      </a:lnTo>
                      <a:lnTo>
                        <a:pt x="468" y="196"/>
                      </a:lnTo>
                      <a:lnTo>
                        <a:pt x="460" y="184"/>
                      </a:lnTo>
                      <a:lnTo>
                        <a:pt x="456" y="180"/>
                      </a:lnTo>
                      <a:lnTo>
                        <a:pt x="450" y="178"/>
                      </a:lnTo>
                      <a:lnTo>
                        <a:pt x="450" y="178"/>
                      </a:lnTo>
                      <a:lnTo>
                        <a:pt x="432" y="178"/>
                      </a:lnTo>
                      <a:lnTo>
                        <a:pt x="426" y="176"/>
                      </a:lnTo>
                      <a:lnTo>
                        <a:pt x="426" y="174"/>
                      </a:lnTo>
                      <a:lnTo>
                        <a:pt x="426" y="172"/>
                      </a:lnTo>
                      <a:lnTo>
                        <a:pt x="426" y="172"/>
                      </a:lnTo>
                      <a:lnTo>
                        <a:pt x="426" y="170"/>
                      </a:lnTo>
                      <a:lnTo>
                        <a:pt x="426" y="170"/>
                      </a:lnTo>
                      <a:lnTo>
                        <a:pt x="420" y="168"/>
                      </a:lnTo>
                      <a:lnTo>
                        <a:pt x="412" y="168"/>
                      </a:lnTo>
                      <a:lnTo>
                        <a:pt x="402" y="168"/>
                      </a:lnTo>
                      <a:lnTo>
                        <a:pt x="402" y="168"/>
                      </a:lnTo>
                      <a:lnTo>
                        <a:pt x="388" y="166"/>
                      </a:lnTo>
                      <a:lnTo>
                        <a:pt x="372" y="166"/>
                      </a:lnTo>
                      <a:lnTo>
                        <a:pt x="358" y="164"/>
                      </a:lnTo>
                      <a:lnTo>
                        <a:pt x="344" y="160"/>
                      </a:lnTo>
                      <a:lnTo>
                        <a:pt x="344" y="160"/>
                      </a:lnTo>
                      <a:lnTo>
                        <a:pt x="334" y="158"/>
                      </a:lnTo>
                      <a:lnTo>
                        <a:pt x="328" y="156"/>
                      </a:lnTo>
                      <a:lnTo>
                        <a:pt x="324" y="154"/>
                      </a:lnTo>
                      <a:lnTo>
                        <a:pt x="324" y="148"/>
                      </a:lnTo>
                      <a:lnTo>
                        <a:pt x="324" y="148"/>
                      </a:lnTo>
                      <a:lnTo>
                        <a:pt x="324" y="144"/>
                      </a:lnTo>
                      <a:lnTo>
                        <a:pt x="322" y="144"/>
                      </a:lnTo>
                      <a:lnTo>
                        <a:pt x="314" y="144"/>
                      </a:lnTo>
                      <a:lnTo>
                        <a:pt x="306" y="146"/>
                      </a:lnTo>
                      <a:lnTo>
                        <a:pt x="304" y="144"/>
                      </a:lnTo>
                      <a:lnTo>
                        <a:pt x="304" y="140"/>
                      </a:lnTo>
                      <a:lnTo>
                        <a:pt x="304" y="140"/>
                      </a:lnTo>
                      <a:lnTo>
                        <a:pt x="304" y="134"/>
                      </a:lnTo>
                      <a:lnTo>
                        <a:pt x="306" y="132"/>
                      </a:lnTo>
                      <a:lnTo>
                        <a:pt x="310" y="128"/>
                      </a:lnTo>
                      <a:lnTo>
                        <a:pt x="312" y="126"/>
                      </a:lnTo>
                      <a:lnTo>
                        <a:pt x="310" y="124"/>
                      </a:lnTo>
                      <a:lnTo>
                        <a:pt x="310" y="124"/>
                      </a:lnTo>
                      <a:lnTo>
                        <a:pt x="308" y="122"/>
                      </a:lnTo>
                      <a:lnTo>
                        <a:pt x="306" y="122"/>
                      </a:lnTo>
                      <a:lnTo>
                        <a:pt x="304" y="122"/>
                      </a:lnTo>
                      <a:lnTo>
                        <a:pt x="298" y="122"/>
                      </a:lnTo>
                      <a:lnTo>
                        <a:pt x="298" y="122"/>
                      </a:lnTo>
                      <a:lnTo>
                        <a:pt x="296" y="118"/>
                      </a:lnTo>
                      <a:lnTo>
                        <a:pt x="296" y="116"/>
                      </a:lnTo>
                      <a:lnTo>
                        <a:pt x="300" y="110"/>
                      </a:lnTo>
                      <a:lnTo>
                        <a:pt x="302" y="102"/>
                      </a:lnTo>
                      <a:lnTo>
                        <a:pt x="302" y="98"/>
                      </a:lnTo>
                      <a:lnTo>
                        <a:pt x="300" y="96"/>
                      </a:lnTo>
                      <a:lnTo>
                        <a:pt x="300" y="96"/>
                      </a:lnTo>
                      <a:lnTo>
                        <a:pt x="288" y="86"/>
                      </a:lnTo>
                      <a:lnTo>
                        <a:pt x="286" y="80"/>
                      </a:lnTo>
                      <a:lnTo>
                        <a:pt x="288" y="72"/>
                      </a:lnTo>
                      <a:lnTo>
                        <a:pt x="288" y="72"/>
                      </a:lnTo>
                      <a:lnTo>
                        <a:pt x="290" y="66"/>
                      </a:lnTo>
                      <a:lnTo>
                        <a:pt x="290" y="62"/>
                      </a:lnTo>
                      <a:lnTo>
                        <a:pt x="286" y="62"/>
                      </a:lnTo>
                      <a:lnTo>
                        <a:pt x="282" y="62"/>
                      </a:lnTo>
                      <a:lnTo>
                        <a:pt x="270" y="64"/>
                      </a:lnTo>
                      <a:lnTo>
                        <a:pt x="262" y="64"/>
                      </a:lnTo>
                      <a:lnTo>
                        <a:pt x="256" y="62"/>
                      </a:lnTo>
                      <a:lnTo>
                        <a:pt x="256" y="62"/>
                      </a:lnTo>
                      <a:lnTo>
                        <a:pt x="250" y="58"/>
                      </a:lnTo>
                      <a:lnTo>
                        <a:pt x="244" y="50"/>
                      </a:lnTo>
                      <a:lnTo>
                        <a:pt x="240" y="42"/>
                      </a:lnTo>
                      <a:lnTo>
                        <a:pt x="238" y="34"/>
                      </a:lnTo>
                      <a:lnTo>
                        <a:pt x="234" y="20"/>
                      </a:lnTo>
                      <a:lnTo>
                        <a:pt x="230" y="16"/>
                      </a:lnTo>
                      <a:lnTo>
                        <a:pt x="226" y="14"/>
                      </a:lnTo>
                      <a:lnTo>
                        <a:pt x="226" y="14"/>
                      </a:lnTo>
                      <a:lnTo>
                        <a:pt x="218" y="14"/>
                      </a:lnTo>
                      <a:lnTo>
                        <a:pt x="214" y="14"/>
                      </a:lnTo>
                      <a:lnTo>
                        <a:pt x="210" y="14"/>
                      </a:lnTo>
                      <a:lnTo>
                        <a:pt x="202" y="14"/>
                      </a:lnTo>
                      <a:lnTo>
                        <a:pt x="202" y="14"/>
                      </a:lnTo>
                      <a:lnTo>
                        <a:pt x="196" y="14"/>
                      </a:lnTo>
                      <a:lnTo>
                        <a:pt x="190" y="12"/>
                      </a:lnTo>
                      <a:lnTo>
                        <a:pt x="178" y="6"/>
                      </a:lnTo>
                      <a:lnTo>
                        <a:pt x="166" y="2"/>
                      </a:lnTo>
                      <a:lnTo>
                        <a:pt x="162" y="0"/>
                      </a:lnTo>
                      <a:lnTo>
                        <a:pt x="158" y="2"/>
                      </a:lnTo>
                      <a:lnTo>
                        <a:pt x="158" y="2"/>
                      </a:lnTo>
                      <a:lnTo>
                        <a:pt x="158" y="4"/>
                      </a:lnTo>
                      <a:lnTo>
                        <a:pt x="158" y="6"/>
                      </a:lnTo>
                      <a:lnTo>
                        <a:pt x="160" y="12"/>
                      </a:lnTo>
                      <a:lnTo>
                        <a:pt x="162" y="18"/>
                      </a:lnTo>
                      <a:lnTo>
                        <a:pt x="160" y="22"/>
                      </a:lnTo>
                      <a:lnTo>
                        <a:pt x="158" y="24"/>
                      </a:lnTo>
                      <a:lnTo>
                        <a:pt x="158" y="24"/>
                      </a:lnTo>
                      <a:lnTo>
                        <a:pt x="146" y="32"/>
                      </a:lnTo>
                      <a:lnTo>
                        <a:pt x="146" y="32"/>
                      </a:lnTo>
                      <a:lnTo>
                        <a:pt x="146" y="30"/>
                      </a:lnTo>
                      <a:lnTo>
                        <a:pt x="148" y="24"/>
                      </a:lnTo>
                      <a:lnTo>
                        <a:pt x="148" y="24"/>
                      </a:lnTo>
                      <a:lnTo>
                        <a:pt x="150" y="14"/>
                      </a:lnTo>
                      <a:lnTo>
                        <a:pt x="150" y="8"/>
                      </a:lnTo>
                      <a:lnTo>
                        <a:pt x="148" y="8"/>
                      </a:lnTo>
                      <a:lnTo>
                        <a:pt x="146" y="8"/>
                      </a:lnTo>
                      <a:lnTo>
                        <a:pt x="142" y="16"/>
                      </a:lnTo>
                      <a:lnTo>
                        <a:pt x="142" y="16"/>
                      </a:lnTo>
                      <a:lnTo>
                        <a:pt x="138" y="28"/>
                      </a:lnTo>
                      <a:lnTo>
                        <a:pt x="134" y="36"/>
                      </a:lnTo>
                      <a:lnTo>
                        <a:pt x="130" y="40"/>
                      </a:lnTo>
                      <a:lnTo>
                        <a:pt x="132" y="34"/>
                      </a:lnTo>
                      <a:lnTo>
                        <a:pt x="132" y="34"/>
                      </a:lnTo>
                      <a:lnTo>
                        <a:pt x="132" y="30"/>
                      </a:lnTo>
                      <a:lnTo>
                        <a:pt x="132" y="28"/>
                      </a:lnTo>
                      <a:lnTo>
                        <a:pt x="130" y="26"/>
                      </a:lnTo>
                      <a:lnTo>
                        <a:pt x="126" y="26"/>
                      </a:lnTo>
                      <a:lnTo>
                        <a:pt x="122" y="30"/>
                      </a:lnTo>
                      <a:lnTo>
                        <a:pt x="118" y="36"/>
                      </a:lnTo>
                      <a:lnTo>
                        <a:pt x="118" y="36"/>
                      </a:lnTo>
                      <a:lnTo>
                        <a:pt x="114" y="48"/>
                      </a:lnTo>
                      <a:lnTo>
                        <a:pt x="110" y="52"/>
                      </a:lnTo>
                      <a:lnTo>
                        <a:pt x="106" y="56"/>
                      </a:lnTo>
                      <a:lnTo>
                        <a:pt x="106" y="56"/>
                      </a:lnTo>
                      <a:lnTo>
                        <a:pt x="100" y="58"/>
                      </a:lnTo>
                      <a:lnTo>
                        <a:pt x="100" y="58"/>
                      </a:lnTo>
                      <a:lnTo>
                        <a:pt x="60" y="78"/>
                      </a:lnTo>
                      <a:lnTo>
                        <a:pt x="46" y="86"/>
                      </a:lnTo>
                      <a:lnTo>
                        <a:pt x="34" y="98"/>
                      </a:lnTo>
                      <a:lnTo>
                        <a:pt x="34" y="98"/>
                      </a:lnTo>
                      <a:lnTo>
                        <a:pt x="18" y="112"/>
                      </a:lnTo>
                      <a:lnTo>
                        <a:pt x="6" y="124"/>
                      </a:lnTo>
                      <a:lnTo>
                        <a:pt x="2" y="128"/>
                      </a:lnTo>
                      <a:lnTo>
                        <a:pt x="0" y="130"/>
                      </a:lnTo>
                      <a:lnTo>
                        <a:pt x="0" y="132"/>
                      </a:lnTo>
                      <a:lnTo>
                        <a:pt x="4" y="134"/>
                      </a:lnTo>
                      <a:lnTo>
                        <a:pt x="4" y="13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02" name="Freeform 6014"/>
                <p:cNvSpPr>
                  <a:spLocks/>
                </p:cNvSpPr>
                <p:nvPr/>
              </p:nvSpPr>
              <p:spPr bwMode="auto">
                <a:xfrm>
                  <a:off x="2366010" y="2420303"/>
                  <a:ext cx="100330" cy="45720"/>
                </a:xfrm>
                <a:custGeom>
                  <a:avLst/>
                  <a:gdLst/>
                  <a:ahLst/>
                  <a:cxnLst>
                    <a:cxn ang="0">
                      <a:pos x="16" y="72"/>
                    </a:cxn>
                    <a:cxn ang="0">
                      <a:pos x="30" y="68"/>
                    </a:cxn>
                    <a:cxn ang="0">
                      <a:pos x="36" y="64"/>
                    </a:cxn>
                    <a:cxn ang="0">
                      <a:pos x="58" y="60"/>
                    </a:cxn>
                    <a:cxn ang="0">
                      <a:pos x="80" y="64"/>
                    </a:cxn>
                    <a:cxn ang="0">
                      <a:pos x="90" y="68"/>
                    </a:cxn>
                    <a:cxn ang="0">
                      <a:pos x="118" y="66"/>
                    </a:cxn>
                    <a:cxn ang="0">
                      <a:pos x="126" y="60"/>
                    </a:cxn>
                    <a:cxn ang="0">
                      <a:pos x="132" y="56"/>
                    </a:cxn>
                    <a:cxn ang="0">
                      <a:pos x="142" y="50"/>
                    </a:cxn>
                    <a:cxn ang="0">
                      <a:pos x="142" y="44"/>
                    </a:cxn>
                    <a:cxn ang="0">
                      <a:pos x="144" y="32"/>
                    </a:cxn>
                    <a:cxn ang="0">
                      <a:pos x="140" y="28"/>
                    </a:cxn>
                    <a:cxn ang="0">
                      <a:pos x="138" y="24"/>
                    </a:cxn>
                    <a:cxn ang="0">
                      <a:pos x="140" y="16"/>
                    </a:cxn>
                    <a:cxn ang="0">
                      <a:pos x="144" y="14"/>
                    </a:cxn>
                    <a:cxn ang="0">
                      <a:pos x="154" y="8"/>
                    </a:cxn>
                    <a:cxn ang="0">
                      <a:pos x="158" y="0"/>
                    </a:cxn>
                    <a:cxn ang="0">
                      <a:pos x="148" y="6"/>
                    </a:cxn>
                    <a:cxn ang="0">
                      <a:pos x="128" y="12"/>
                    </a:cxn>
                    <a:cxn ang="0">
                      <a:pos x="120" y="18"/>
                    </a:cxn>
                    <a:cxn ang="0">
                      <a:pos x="114" y="24"/>
                    </a:cxn>
                    <a:cxn ang="0">
                      <a:pos x="110" y="34"/>
                    </a:cxn>
                    <a:cxn ang="0">
                      <a:pos x="104" y="34"/>
                    </a:cxn>
                    <a:cxn ang="0">
                      <a:pos x="98" y="32"/>
                    </a:cxn>
                    <a:cxn ang="0">
                      <a:pos x="78" y="26"/>
                    </a:cxn>
                    <a:cxn ang="0">
                      <a:pos x="66" y="28"/>
                    </a:cxn>
                    <a:cxn ang="0">
                      <a:pos x="28" y="36"/>
                    </a:cxn>
                    <a:cxn ang="0">
                      <a:pos x="20" y="42"/>
                    </a:cxn>
                    <a:cxn ang="0">
                      <a:pos x="12" y="48"/>
                    </a:cxn>
                    <a:cxn ang="0">
                      <a:pos x="2" y="58"/>
                    </a:cxn>
                    <a:cxn ang="0">
                      <a:pos x="0" y="64"/>
                    </a:cxn>
                    <a:cxn ang="0">
                      <a:pos x="2" y="70"/>
                    </a:cxn>
                    <a:cxn ang="0">
                      <a:pos x="10" y="72"/>
                    </a:cxn>
                    <a:cxn ang="0">
                      <a:pos x="16" y="72"/>
                    </a:cxn>
                  </a:cxnLst>
                  <a:rect l="0" t="0" r="r" b="b"/>
                  <a:pathLst>
                    <a:path w="158" h="72">
                      <a:moveTo>
                        <a:pt x="16" y="72"/>
                      </a:moveTo>
                      <a:lnTo>
                        <a:pt x="16" y="72"/>
                      </a:lnTo>
                      <a:lnTo>
                        <a:pt x="24" y="70"/>
                      </a:lnTo>
                      <a:lnTo>
                        <a:pt x="30" y="68"/>
                      </a:lnTo>
                      <a:lnTo>
                        <a:pt x="36" y="64"/>
                      </a:lnTo>
                      <a:lnTo>
                        <a:pt x="36" y="64"/>
                      </a:lnTo>
                      <a:lnTo>
                        <a:pt x="46" y="62"/>
                      </a:lnTo>
                      <a:lnTo>
                        <a:pt x="58" y="60"/>
                      </a:lnTo>
                      <a:lnTo>
                        <a:pt x="70" y="62"/>
                      </a:lnTo>
                      <a:lnTo>
                        <a:pt x="80" y="64"/>
                      </a:lnTo>
                      <a:lnTo>
                        <a:pt x="80" y="64"/>
                      </a:lnTo>
                      <a:lnTo>
                        <a:pt x="90" y="68"/>
                      </a:lnTo>
                      <a:lnTo>
                        <a:pt x="104" y="68"/>
                      </a:lnTo>
                      <a:lnTo>
                        <a:pt x="118" y="66"/>
                      </a:lnTo>
                      <a:lnTo>
                        <a:pt x="122" y="64"/>
                      </a:lnTo>
                      <a:lnTo>
                        <a:pt x="126" y="60"/>
                      </a:lnTo>
                      <a:lnTo>
                        <a:pt x="126" y="60"/>
                      </a:lnTo>
                      <a:lnTo>
                        <a:pt x="132" y="56"/>
                      </a:lnTo>
                      <a:lnTo>
                        <a:pt x="138" y="52"/>
                      </a:lnTo>
                      <a:lnTo>
                        <a:pt x="142" y="50"/>
                      </a:lnTo>
                      <a:lnTo>
                        <a:pt x="142" y="44"/>
                      </a:lnTo>
                      <a:lnTo>
                        <a:pt x="142" y="44"/>
                      </a:lnTo>
                      <a:lnTo>
                        <a:pt x="142" y="36"/>
                      </a:lnTo>
                      <a:lnTo>
                        <a:pt x="144" y="32"/>
                      </a:lnTo>
                      <a:lnTo>
                        <a:pt x="144" y="30"/>
                      </a:lnTo>
                      <a:lnTo>
                        <a:pt x="140" y="28"/>
                      </a:lnTo>
                      <a:lnTo>
                        <a:pt x="140" y="28"/>
                      </a:lnTo>
                      <a:lnTo>
                        <a:pt x="138" y="24"/>
                      </a:lnTo>
                      <a:lnTo>
                        <a:pt x="136" y="20"/>
                      </a:lnTo>
                      <a:lnTo>
                        <a:pt x="140" y="16"/>
                      </a:lnTo>
                      <a:lnTo>
                        <a:pt x="144" y="14"/>
                      </a:lnTo>
                      <a:lnTo>
                        <a:pt x="144" y="14"/>
                      </a:lnTo>
                      <a:lnTo>
                        <a:pt x="150" y="12"/>
                      </a:lnTo>
                      <a:lnTo>
                        <a:pt x="154" y="8"/>
                      </a:lnTo>
                      <a:lnTo>
                        <a:pt x="156" y="4"/>
                      </a:lnTo>
                      <a:lnTo>
                        <a:pt x="158" y="0"/>
                      </a:lnTo>
                      <a:lnTo>
                        <a:pt x="158" y="0"/>
                      </a:lnTo>
                      <a:lnTo>
                        <a:pt x="148" y="6"/>
                      </a:lnTo>
                      <a:lnTo>
                        <a:pt x="138" y="8"/>
                      </a:lnTo>
                      <a:lnTo>
                        <a:pt x="128" y="12"/>
                      </a:lnTo>
                      <a:lnTo>
                        <a:pt x="120" y="18"/>
                      </a:lnTo>
                      <a:lnTo>
                        <a:pt x="120" y="18"/>
                      </a:lnTo>
                      <a:lnTo>
                        <a:pt x="116" y="20"/>
                      </a:lnTo>
                      <a:lnTo>
                        <a:pt x="114" y="24"/>
                      </a:lnTo>
                      <a:lnTo>
                        <a:pt x="110" y="32"/>
                      </a:lnTo>
                      <a:lnTo>
                        <a:pt x="110" y="34"/>
                      </a:lnTo>
                      <a:lnTo>
                        <a:pt x="106" y="34"/>
                      </a:lnTo>
                      <a:lnTo>
                        <a:pt x="104" y="34"/>
                      </a:lnTo>
                      <a:lnTo>
                        <a:pt x="98" y="32"/>
                      </a:lnTo>
                      <a:lnTo>
                        <a:pt x="98" y="32"/>
                      </a:lnTo>
                      <a:lnTo>
                        <a:pt x="84" y="24"/>
                      </a:lnTo>
                      <a:lnTo>
                        <a:pt x="78" y="26"/>
                      </a:lnTo>
                      <a:lnTo>
                        <a:pt x="66" y="28"/>
                      </a:lnTo>
                      <a:lnTo>
                        <a:pt x="66" y="28"/>
                      </a:lnTo>
                      <a:lnTo>
                        <a:pt x="38" y="34"/>
                      </a:lnTo>
                      <a:lnTo>
                        <a:pt x="28" y="36"/>
                      </a:lnTo>
                      <a:lnTo>
                        <a:pt x="20" y="42"/>
                      </a:lnTo>
                      <a:lnTo>
                        <a:pt x="20" y="42"/>
                      </a:lnTo>
                      <a:lnTo>
                        <a:pt x="16" y="46"/>
                      </a:lnTo>
                      <a:lnTo>
                        <a:pt x="12" y="48"/>
                      </a:lnTo>
                      <a:lnTo>
                        <a:pt x="6" y="50"/>
                      </a:lnTo>
                      <a:lnTo>
                        <a:pt x="2" y="58"/>
                      </a:lnTo>
                      <a:lnTo>
                        <a:pt x="2" y="58"/>
                      </a:lnTo>
                      <a:lnTo>
                        <a:pt x="0" y="64"/>
                      </a:lnTo>
                      <a:lnTo>
                        <a:pt x="0" y="68"/>
                      </a:lnTo>
                      <a:lnTo>
                        <a:pt x="2" y="70"/>
                      </a:lnTo>
                      <a:lnTo>
                        <a:pt x="4" y="72"/>
                      </a:lnTo>
                      <a:lnTo>
                        <a:pt x="10" y="72"/>
                      </a:lnTo>
                      <a:lnTo>
                        <a:pt x="16" y="72"/>
                      </a:lnTo>
                      <a:lnTo>
                        <a:pt x="16" y="7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03" name="Freeform 6015"/>
                <p:cNvSpPr>
                  <a:spLocks/>
                </p:cNvSpPr>
                <p:nvPr/>
              </p:nvSpPr>
              <p:spPr bwMode="auto">
                <a:xfrm>
                  <a:off x="2385060" y="3023553"/>
                  <a:ext cx="27940" cy="10160"/>
                </a:xfrm>
                <a:custGeom>
                  <a:avLst/>
                  <a:gdLst/>
                  <a:ahLst/>
                  <a:cxnLst>
                    <a:cxn ang="0">
                      <a:pos x="8" y="10"/>
                    </a:cxn>
                    <a:cxn ang="0">
                      <a:pos x="8" y="10"/>
                    </a:cxn>
                    <a:cxn ang="0">
                      <a:pos x="0" y="8"/>
                    </a:cxn>
                    <a:cxn ang="0">
                      <a:pos x="2" y="10"/>
                    </a:cxn>
                    <a:cxn ang="0">
                      <a:pos x="6" y="14"/>
                    </a:cxn>
                    <a:cxn ang="0">
                      <a:pos x="6" y="14"/>
                    </a:cxn>
                    <a:cxn ang="0">
                      <a:pos x="10" y="16"/>
                    </a:cxn>
                    <a:cxn ang="0">
                      <a:pos x="12" y="16"/>
                    </a:cxn>
                    <a:cxn ang="0">
                      <a:pos x="26" y="10"/>
                    </a:cxn>
                    <a:cxn ang="0">
                      <a:pos x="26" y="10"/>
                    </a:cxn>
                    <a:cxn ang="0">
                      <a:pos x="36" y="8"/>
                    </a:cxn>
                    <a:cxn ang="0">
                      <a:pos x="40" y="10"/>
                    </a:cxn>
                    <a:cxn ang="0">
                      <a:pos x="44" y="10"/>
                    </a:cxn>
                    <a:cxn ang="0">
                      <a:pos x="44" y="6"/>
                    </a:cxn>
                    <a:cxn ang="0">
                      <a:pos x="44" y="6"/>
                    </a:cxn>
                    <a:cxn ang="0">
                      <a:pos x="44" y="4"/>
                    </a:cxn>
                    <a:cxn ang="0">
                      <a:pos x="44" y="4"/>
                    </a:cxn>
                    <a:cxn ang="0">
                      <a:pos x="38" y="4"/>
                    </a:cxn>
                    <a:cxn ang="0">
                      <a:pos x="30" y="4"/>
                    </a:cxn>
                    <a:cxn ang="0">
                      <a:pos x="18" y="2"/>
                    </a:cxn>
                    <a:cxn ang="0">
                      <a:pos x="18" y="2"/>
                    </a:cxn>
                    <a:cxn ang="0">
                      <a:pos x="14" y="0"/>
                    </a:cxn>
                    <a:cxn ang="0">
                      <a:pos x="14" y="2"/>
                    </a:cxn>
                    <a:cxn ang="0">
                      <a:pos x="14" y="6"/>
                    </a:cxn>
                    <a:cxn ang="0">
                      <a:pos x="14" y="10"/>
                    </a:cxn>
                    <a:cxn ang="0">
                      <a:pos x="12" y="10"/>
                    </a:cxn>
                    <a:cxn ang="0">
                      <a:pos x="8" y="10"/>
                    </a:cxn>
                    <a:cxn ang="0">
                      <a:pos x="8" y="10"/>
                    </a:cxn>
                  </a:cxnLst>
                  <a:rect l="0" t="0" r="r" b="b"/>
                  <a:pathLst>
                    <a:path w="44" h="16">
                      <a:moveTo>
                        <a:pt x="8" y="10"/>
                      </a:moveTo>
                      <a:lnTo>
                        <a:pt x="8" y="10"/>
                      </a:lnTo>
                      <a:lnTo>
                        <a:pt x="0" y="8"/>
                      </a:lnTo>
                      <a:lnTo>
                        <a:pt x="2" y="10"/>
                      </a:lnTo>
                      <a:lnTo>
                        <a:pt x="6" y="14"/>
                      </a:lnTo>
                      <a:lnTo>
                        <a:pt x="6" y="14"/>
                      </a:lnTo>
                      <a:lnTo>
                        <a:pt x="10" y="16"/>
                      </a:lnTo>
                      <a:lnTo>
                        <a:pt x="12" y="16"/>
                      </a:lnTo>
                      <a:lnTo>
                        <a:pt x="26" y="10"/>
                      </a:lnTo>
                      <a:lnTo>
                        <a:pt x="26" y="10"/>
                      </a:lnTo>
                      <a:lnTo>
                        <a:pt x="36" y="8"/>
                      </a:lnTo>
                      <a:lnTo>
                        <a:pt x="40" y="10"/>
                      </a:lnTo>
                      <a:lnTo>
                        <a:pt x="44" y="10"/>
                      </a:lnTo>
                      <a:lnTo>
                        <a:pt x="44" y="6"/>
                      </a:lnTo>
                      <a:lnTo>
                        <a:pt x="44" y="6"/>
                      </a:lnTo>
                      <a:lnTo>
                        <a:pt x="44" y="4"/>
                      </a:lnTo>
                      <a:lnTo>
                        <a:pt x="44" y="4"/>
                      </a:lnTo>
                      <a:lnTo>
                        <a:pt x="38" y="4"/>
                      </a:lnTo>
                      <a:lnTo>
                        <a:pt x="30" y="4"/>
                      </a:lnTo>
                      <a:lnTo>
                        <a:pt x="18" y="2"/>
                      </a:lnTo>
                      <a:lnTo>
                        <a:pt x="18" y="2"/>
                      </a:lnTo>
                      <a:lnTo>
                        <a:pt x="14" y="0"/>
                      </a:lnTo>
                      <a:lnTo>
                        <a:pt x="14" y="2"/>
                      </a:lnTo>
                      <a:lnTo>
                        <a:pt x="14" y="6"/>
                      </a:lnTo>
                      <a:lnTo>
                        <a:pt x="14" y="10"/>
                      </a:lnTo>
                      <a:lnTo>
                        <a:pt x="12" y="10"/>
                      </a:lnTo>
                      <a:lnTo>
                        <a:pt x="8" y="10"/>
                      </a:lnTo>
                      <a:lnTo>
                        <a:pt x="8" y="1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04" name="Freeform 6028"/>
                <p:cNvSpPr>
                  <a:spLocks/>
                </p:cNvSpPr>
                <p:nvPr/>
              </p:nvSpPr>
              <p:spPr bwMode="auto">
                <a:xfrm>
                  <a:off x="443230" y="1907223"/>
                  <a:ext cx="64770" cy="50800"/>
                </a:xfrm>
                <a:custGeom>
                  <a:avLst/>
                  <a:gdLst/>
                  <a:ahLst/>
                  <a:cxnLst>
                    <a:cxn ang="0">
                      <a:pos x="98" y="20"/>
                    </a:cxn>
                    <a:cxn ang="0">
                      <a:pos x="94" y="14"/>
                    </a:cxn>
                    <a:cxn ang="0">
                      <a:pos x="92" y="8"/>
                    </a:cxn>
                    <a:cxn ang="0">
                      <a:pos x="88" y="6"/>
                    </a:cxn>
                    <a:cxn ang="0">
                      <a:pos x="82" y="6"/>
                    </a:cxn>
                    <a:cxn ang="0">
                      <a:pos x="78" y="4"/>
                    </a:cxn>
                    <a:cxn ang="0">
                      <a:pos x="64" y="0"/>
                    </a:cxn>
                    <a:cxn ang="0">
                      <a:pos x="60" y="2"/>
                    </a:cxn>
                    <a:cxn ang="0">
                      <a:pos x="62" y="4"/>
                    </a:cxn>
                    <a:cxn ang="0">
                      <a:pos x="62" y="8"/>
                    </a:cxn>
                    <a:cxn ang="0">
                      <a:pos x="50" y="12"/>
                    </a:cxn>
                    <a:cxn ang="0">
                      <a:pos x="44" y="8"/>
                    </a:cxn>
                    <a:cxn ang="0">
                      <a:pos x="40" y="4"/>
                    </a:cxn>
                    <a:cxn ang="0">
                      <a:pos x="38" y="4"/>
                    </a:cxn>
                    <a:cxn ang="0">
                      <a:pos x="34" y="18"/>
                    </a:cxn>
                    <a:cxn ang="0">
                      <a:pos x="32" y="20"/>
                    </a:cxn>
                    <a:cxn ang="0">
                      <a:pos x="26" y="22"/>
                    </a:cxn>
                    <a:cxn ang="0">
                      <a:pos x="14" y="22"/>
                    </a:cxn>
                    <a:cxn ang="0">
                      <a:pos x="8" y="26"/>
                    </a:cxn>
                    <a:cxn ang="0">
                      <a:pos x="0" y="34"/>
                    </a:cxn>
                    <a:cxn ang="0">
                      <a:pos x="0" y="42"/>
                    </a:cxn>
                    <a:cxn ang="0">
                      <a:pos x="8" y="62"/>
                    </a:cxn>
                    <a:cxn ang="0">
                      <a:pos x="10" y="68"/>
                    </a:cxn>
                    <a:cxn ang="0">
                      <a:pos x="16" y="70"/>
                    </a:cxn>
                    <a:cxn ang="0">
                      <a:pos x="20" y="66"/>
                    </a:cxn>
                    <a:cxn ang="0">
                      <a:pos x="30" y="62"/>
                    </a:cxn>
                    <a:cxn ang="0">
                      <a:pos x="34" y="64"/>
                    </a:cxn>
                    <a:cxn ang="0">
                      <a:pos x="30" y="70"/>
                    </a:cxn>
                    <a:cxn ang="0">
                      <a:pos x="24" y="76"/>
                    </a:cxn>
                    <a:cxn ang="0">
                      <a:pos x="26" y="80"/>
                    </a:cxn>
                    <a:cxn ang="0">
                      <a:pos x="36" y="74"/>
                    </a:cxn>
                    <a:cxn ang="0">
                      <a:pos x="44" y="68"/>
                    </a:cxn>
                    <a:cxn ang="0">
                      <a:pos x="46" y="60"/>
                    </a:cxn>
                    <a:cxn ang="0">
                      <a:pos x="48" y="56"/>
                    </a:cxn>
                    <a:cxn ang="0">
                      <a:pos x="56" y="48"/>
                    </a:cxn>
                    <a:cxn ang="0">
                      <a:pos x="66" y="46"/>
                    </a:cxn>
                    <a:cxn ang="0">
                      <a:pos x="90" y="38"/>
                    </a:cxn>
                    <a:cxn ang="0">
                      <a:pos x="98" y="34"/>
                    </a:cxn>
                    <a:cxn ang="0">
                      <a:pos x="102" y="24"/>
                    </a:cxn>
                    <a:cxn ang="0">
                      <a:pos x="98" y="20"/>
                    </a:cxn>
                  </a:cxnLst>
                  <a:rect l="0" t="0" r="r" b="b"/>
                  <a:pathLst>
                    <a:path w="102" h="80">
                      <a:moveTo>
                        <a:pt x="98" y="20"/>
                      </a:moveTo>
                      <a:lnTo>
                        <a:pt x="98" y="20"/>
                      </a:lnTo>
                      <a:lnTo>
                        <a:pt x="94" y="18"/>
                      </a:lnTo>
                      <a:lnTo>
                        <a:pt x="94" y="14"/>
                      </a:lnTo>
                      <a:lnTo>
                        <a:pt x="94" y="12"/>
                      </a:lnTo>
                      <a:lnTo>
                        <a:pt x="92" y="8"/>
                      </a:lnTo>
                      <a:lnTo>
                        <a:pt x="92" y="8"/>
                      </a:lnTo>
                      <a:lnTo>
                        <a:pt x="88" y="6"/>
                      </a:lnTo>
                      <a:lnTo>
                        <a:pt x="86" y="6"/>
                      </a:lnTo>
                      <a:lnTo>
                        <a:pt x="82" y="6"/>
                      </a:lnTo>
                      <a:lnTo>
                        <a:pt x="78" y="4"/>
                      </a:lnTo>
                      <a:lnTo>
                        <a:pt x="78" y="4"/>
                      </a:lnTo>
                      <a:lnTo>
                        <a:pt x="70" y="0"/>
                      </a:lnTo>
                      <a:lnTo>
                        <a:pt x="64" y="0"/>
                      </a:lnTo>
                      <a:lnTo>
                        <a:pt x="60" y="0"/>
                      </a:lnTo>
                      <a:lnTo>
                        <a:pt x="60" y="2"/>
                      </a:lnTo>
                      <a:lnTo>
                        <a:pt x="62" y="4"/>
                      </a:lnTo>
                      <a:lnTo>
                        <a:pt x="62" y="4"/>
                      </a:lnTo>
                      <a:lnTo>
                        <a:pt x="64" y="6"/>
                      </a:lnTo>
                      <a:lnTo>
                        <a:pt x="62" y="8"/>
                      </a:lnTo>
                      <a:lnTo>
                        <a:pt x="58" y="12"/>
                      </a:lnTo>
                      <a:lnTo>
                        <a:pt x="50" y="12"/>
                      </a:lnTo>
                      <a:lnTo>
                        <a:pt x="46" y="10"/>
                      </a:lnTo>
                      <a:lnTo>
                        <a:pt x="44" y="8"/>
                      </a:lnTo>
                      <a:lnTo>
                        <a:pt x="44" y="8"/>
                      </a:lnTo>
                      <a:lnTo>
                        <a:pt x="40" y="4"/>
                      </a:lnTo>
                      <a:lnTo>
                        <a:pt x="38" y="4"/>
                      </a:lnTo>
                      <a:lnTo>
                        <a:pt x="38" y="4"/>
                      </a:lnTo>
                      <a:lnTo>
                        <a:pt x="34" y="10"/>
                      </a:lnTo>
                      <a:lnTo>
                        <a:pt x="34" y="18"/>
                      </a:lnTo>
                      <a:lnTo>
                        <a:pt x="34" y="18"/>
                      </a:lnTo>
                      <a:lnTo>
                        <a:pt x="32" y="20"/>
                      </a:lnTo>
                      <a:lnTo>
                        <a:pt x="32" y="22"/>
                      </a:lnTo>
                      <a:lnTo>
                        <a:pt x="26" y="22"/>
                      </a:lnTo>
                      <a:lnTo>
                        <a:pt x="18" y="20"/>
                      </a:lnTo>
                      <a:lnTo>
                        <a:pt x="14" y="22"/>
                      </a:lnTo>
                      <a:lnTo>
                        <a:pt x="8" y="26"/>
                      </a:lnTo>
                      <a:lnTo>
                        <a:pt x="8" y="26"/>
                      </a:lnTo>
                      <a:lnTo>
                        <a:pt x="4" y="30"/>
                      </a:lnTo>
                      <a:lnTo>
                        <a:pt x="0" y="34"/>
                      </a:lnTo>
                      <a:lnTo>
                        <a:pt x="0" y="38"/>
                      </a:lnTo>
                      <a:lnTo>
                        <a:pt x="0" y="42"/>
                      </a:lnTo>
                      <a:lnTo>
                        <a:pt x="4" y="50"/>
                      </a:lnTo>
                      <a:lnTo>
                        <a:pt x="8" y="62"/>
                      </a:lnTo>
                      <a:lnTo>
                        <a:pt x="8" y="62"/>
                      </a:lnTo>
                      <a:lnTo>
                        <a:pt x="10" y="68"/>
                      </a:lnTo>
                      <a:lnTo>
                        <a:pt x="14" y="70"/>
                      </a:lnTo>
                      <a:lnTo>
                        <a:pt x="16" y="70"/>
                      </a:lnTo>
                      <a:lnTo>
                        <a:pt x="20" y="66"/>
                      </a:lnTo>
                      <a:lnTo>
                        <a:pt x="20" y="66"/>
                      </a:lnTo>
                      <a:lnTo>
                        <a:pt x="24" y="64"/>
                      </a:lnTo>
                      <a:lnTo>
                        <a:pt x="30" y="62"/>
                      </a:lnTo>
                      <a:lnTo>
                        <a:pt x="32" y="62"/>
                      </a:lnTo>
                      <a:lnTo>
                        <a:pt x="34" y="64"/>
                      </a:lnTo>
                      <a:lnTo>
                        <a:pt x="32" y="66"/>
                      </a:lnTo>
                      <a:lnTo>
                        <a:pt x="30" y="70"/>
                      </a:lnTo>
                      <a:lnTo>
                        <a:pt x="30" y="70"/>
                      </a:lnTo>
                      <a:lnTo>
                        <a:pt x="24" y="76"/>
                      </a:lnTo>
                      <a:lnTo>
                        <a:pt x="24" y="78"/>
                      </a:lnTo>
                      <a:lnTo>
                        <a:pt x="26" y="80"/>
                      </a:lnTo>
                      <a:lnTo>
                        <a:pt x="30" y="78"/>
                      </a:lnTo>
                      <a:lnTo>
                        <a:pt x="36" y="74"/>
                      </a:lnTo>
                      <a:lnTo>
                        <a:pt x="36" y="74"/>
                      </a:lnTo>
                      <a:lnTo>
                        <a:pt x="44" y="68"/>
                      </a:lnTo>
                      <a:lnTo>
                        <a:pt x="46" y="66"/>
                      </a:lnTo>
                      <a:lnTo>
                        <a:pt x="46" y="60"/>
                      </a:lnTo>
                      <a:lnTo>
                        <a:pt x="46" y="60"/>
                      </a:lnTo>
                      <a:lnTo>
                        <a:pt x="48" y="56"/>
                      </a:lnTo>
                      <a:lnTo>
                        <a:pt x="50" y="52"/>
                      </a:lnTo>
                      <a:lnTo>
                        <a:pt x="56" y="48"/>
                      </a:lnTo>
                      <a:lnTo>
                        <a:pt x="66" y="46"/>
                      </a:lnTo>
                      <a:lnTo>
                        <a:pt x="66" y="46"/>
                      </a:lnTo>
                      <a:lnTo>
                        <a:pt x="80" y="44"/>
                      </a:lnTo>
                      <a:lnTo>
                        <a:pt x="90" y="38"/>
                      </a:lnTo>
                      <a:lnTo>
                        <a:pt x="90" y="38"/>
                      </a:lnTo>
                      <a:lnTo>
                        <a:pt x="98" y="34"/>
                      </a:lnTo>
                      <a:lnTo>
                        <a:pt x="102" y="28"/>
                      </a:lnTo>
                      <a:lnTo>
                        <a:pt x="102" y="24"/>
                      </a:lnTo>
                      <a:lnTo>
                        <a:pt x="100" y="22"/>
                      </a:lnTo>
                      <a:lnTo>
                        <a:pt x="98" y="20"/>
                      </a:lnTo>
                      <a:lnTo>
                        <a:pt x="98" y="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05" name="Freeform 6029"/>
                <p:cNvSpPr>
                  <a:spLocks/>
                </p:cNvSpPr>
                <p:nvPr/>
              </p:nvSpPr>
              <p:spPr bwMode="auto">
                <a:xfrm>
                  <a:off x="927100" y="1931353"/>
                  <a:ext cx="5080" cy="15240"/>
                </a:xfrm>
                <a:custGeom>
                  <a:avLst/>
                  <a:gdLst/>
                  <a:ahLst/>
                  <a:cxnLst>
                    <a:cxn ang="0">
                      <a:pos x="0" y="2"/>
                    </a:cxn>
                    <a:cxn ang="0">
                      <a:pos x="0" y="2"/>
                    </a:cxn>
                    <a:cxn ang="0">
                      <a:pos x="0" y="4"/>
                    </a:cxn>
                    <a:cxn ang="0">
                      <a:pos x="0" y="6"/>
                    </a:cxn>
                    <a:cxn ang="0">
                      <a:pos x="0" y="14"/>
                    </a:cxn>
                    <a:cxn ang="0">
                      <a:pos x="0" y="14"/>
                    </a:cxn>
                    <a:cxn ang="0">
                      <a:pos x="0" y="22"/>
                    </a:cxn>
                    <a:cxn ang="0">
                      <a:pos x="2" y="24"/>
                    </a:cxn>
                    <a:cxn ang="0">
                      <a:pos x="4" y="22"/>
                    </a:cxn>
                    <a:cxn ang="0">
                      <a:pos x="4" y="22"/>
                    </a:cxn>
                    <a:cxn ang="0">
                      <a:pos x="6" y="20"/>
                    </a:cxn>
                    <a:cxn ang="0">
                      <a:pos x="8" y="16"/>
                    </a:cxn>
                    <a:cxn ang="0">
                      <a:pos x="8" y="8"/>
                    </a:cxn>
                    <a:cxn ang="0">
                      <a:pos x="4" y="2"/>
                    </a:cxn>
                    <a:cxn ang="0">
                      <a:pos x="2" y="0"/>
                    </a:cxn>
                    <a:cxn ang="0">
                      <a:pos x="0" y="2"/>
                    </a:cxn>
                    <a:cxn ang="0">
                      <a:pos x="0" y="2"/>
                    </a:cxn>
                  </a:cxnLst>
                  <a:rect l="0" t="0" r="r" b="b"/>
                  <a:pathLst>
                    <a:path w="8" h="24">
                      <a:moveTo>
                        <a:pt x="0" y="2"/>
                      </a:moveTo>
                      <a:lnTo>
                        <a:pt x="0" y="2"/>
                      </a:lnTo>
                      <a:lnTo>
                        <a:pt x="0" y="4"/>
                      </a:lnTo>
                      <a:lnTo>
                        <a:pt x="0" y="6"/>
                      </a:lnTo>
                      <a:lnTo>
                        <a:pt x="0" y="14"/>
                      </a:lnTo>
                      <a:lnTo>
                        <a:pt x="0" y="14"/>
                      </a:lnTo>
                      <a:lnTo>
                        <a:pt x="0" y="22"/>
                      </a:lnTo>
                      <a:lnTo>
                        <a:pt x="2" y="24"/>
                      </a:lnTo>
                      <a:lnTo>
                        <a:pt x="4" y="22"/>
                      </a:lnTo>
                      <a:lnTo>
                        <a:pt x="4" y="22"/>
                      </a:lnTo>
                      <a:lnTo>
                        <a:pt x="6" y="20"/>
                      </a:lnTo>
                      <a:lnTo>
                        <a:pt x="8" y="16"/>
                      </a:lnTo>
                      <a:lnTo>
                        <a:pt x="8" y="8"/>
                      </a:lnTo>
                      <a:lnTo>
                        <a:pt x="4" y="2"/>
                      </a:lnTo>
                      <a:lnTo>
                        <a:pt x="2" y="0"/>
                      </a:lnTo>
                      <a:lnTo>
                        <a:pt x="0" y="2"/>
                      </a:lnTo>
                      <a:lnTo>
                        <a:pt x="0"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06" name="Freeform 6030"/>
                <p:cNvSpPr>
                  <a:spLocks/>
                </p:cNvSpPr>
                <p:nvPr/>
              </p:nvSpPr>
              <p:spPr bwMode="auto">
                <a:xfrm>
                  <a:off x="933450" y="1925003"/>
                  <a:ext cx="25400" cy="54610"/>
                </a:xfrm>
                <a:custGeom>
                  <a:avLst/>
                  <a:gdLst/>
                  <a:ahLst/>
                  <a:cxnLst>
                    <a:cxn ang="0">
                      <a:pos x="36" y="42"/>
                    </a:cxn>
                    <a:cxn ang="0">
                      <a:pos x="36" y="42"/>
                    </a:cxn>
                    <a:cxn ang="0">
                      <a:pos x="32" y="26"/>
                    </a:cxn>
                    <a:cxn ang="0">
                      <a:pos x="28" y="16"/>
                    </a:cxn>
                    <a:cxn ang="0">
                      <a:pos x="24" y="8"/>
                    </a:cxn>
                    <a:cxn ang="0">
                      <a:pos x="14" y="2"/>
                    </a:cxn>
                    <a:cxn ang="0">
                      <a:pos x="14" y="2"/>
                    </a:cxn>
                    <a:cxn ang="0">
                      <a:pos x="10" y="0"/>
                    </a:cxn>
                    <a:cxn ang="0">
                      <a:pos x="6" y="0"/>
                    </a:cxn>
                    <a:cxn ang="0">
                      <a:pos x="2" y="2"/>
                    </a:cxn>
                    <a:cxn ang="0">
                      <a:pos x="0" y="6"/>
                    </a:cxn>
                    <a:cxn ang="0">
                      <a:pos x="0" y="12"/>
                    </a:cxn>
                    <a:cxn ang="0">
                      <a:pos x="0" y="18"/>
                    </a:cxn>
                    <a:cxn ang="0">
                      <a:pos x="0" y="18"/>
                    </a:cxn>
                    <a:cxn ang="0">
                      <a:pos x="8" y="24"/>
                    </a:cxn>
                    <a:cxn ang="0">
                      <a:pos x="10" y="30"/>
                    </a:cxn>
                    <a:cxn ang="0">
                      <a:pos x="10" y="38"/>
                    </a:cxn>
                    <a:cxn ang="0">
                      <a:pos x="10" y="38"/>
                    </a:cxn>
                    <a:cxn ang="0">
                      <a:pos x="10" y="42"/>
                    </a:cxn>
                    <a:cxn ang="0">
                      <a:pos x="10" y="44"/>
                    </a:cxn>
                    <a:cxn ang="0">
                      <a:pos x="14" y="46"/>
                    </a:cxn>
                    <a:cxn ang="0">
                      <a:pos x="18" y="48"/>
                    </a:cxn>
                    <a:cxn ang="0">
                      <a:pos x="18" y="50"/>
                    </a:cxn>
                    <a:cxn ang="0">
                      <a:pos x="18" y="54"/>
                    </a:cxn>
                    <a:cxn ang="0">
                      <a:pos x="18" y="54"/>
                    </a:cxn>
                    <a:cxn ang="0">
                      <a:pos x="18" y="58"/>
                    </a:cxn>
                    <a:cxn ang="0">
                      <a:pos x="20" y="58"/>
                    </a:cxn>
                    <a:cxn ang="0">
                      <a:pos x="22" y="58"/>
                    </a:cxn>
                    <a:cxn ang="0">
                      <a:pos x="22" y="62"/>
                    </a:cxn>
                    <a:cxn ang="0">
                      <a:pos x="22" y="62"/>
                    </a:cxn>
                    <a:cxn ang="0">
                      <a:pos x="22" y="68"/>
                    </a:cxn>
                    <a:cxn ang="0">
                      <a:pos x="24" y="72"/>
                    </a:cxn>
                    <a:cxn ang="0">
                      <a:pos x="28" y="76"/>
                    </a:cxn>
                    <a:cxn ang="0">
                      <a:pos x="28" y="76"/>
                    </a:cxn>
                    <a:cxn ang="0">
                      <a:pos x="36" y="86"/>
                    </a:cxn>
                    <a:cxn ang="0">
                      <a:pos x="38" y="86"/>
                    </a:cxn>
                    <a:cxn ang="0">
                      <a:pos x="40" y="86"/>
                    </a:cxn>
                    <a:cxn ang="0">
                      <a:pos x="40" y="80"/>
                    </a:cxn>
                    <a:cxn ang="0">
                      <a:pos x="38" y="70"/>
                    </a:cxn>
                    <a:cxn ang="0">
                      <a:pos x="38" y="70"/>
                    </a:cxn>
                    <a:cxn ang="0">
                      <a:pos x="36" y="62"/>
                    </a:cxn>
                    <a:cxn ang="0">
                      <a:pos x="38" y="60"/>
                    </a:cxn>
                    <a:cxn ang="0">
                      <a:pos x="40" y="54"/>
                    </a:cxn>
                    <a:cxn ang="0">
                      <a:pos x="36" y="42"/>
                    </a:cxn>
                    <a:cxn ang="0">
                      <a:pos x="36" y="42"/>
                    </a:cxn>
                  </a:cxnLst>
                  <a:rect l="0" t="0" r="r" b="b"/>
                  <a:pathLst>
                    <a:path w="40" h="86">
                      <a:moveTo>
                        <a:pt x="36" y="42"/>
                      </a:moveTo>
                      <a:lnTo>
                        <a:pt x="36" y="42"/>
                      </a:lnTo>
                      <a:lnTo>
                        <a:pt x="32" y="26"/>
                      </a:lnTo>
                      <a:lnTo>
                        <a:pt x="28" y="16"/>
                      </a:lnTo>
                      <a:lnTo>
                        <a:pt x="24" y="8"/>
                      </a:lnTo>
                      <a:lnTo>
                        <a:pt x="14" y="2"/>
                      </a:lnTo>
                      <a:lnTo>
                        <a:pt x="14" y="2"/>
                      </a:lnTo>
                      <a:lnTo>
                        <a:pt x="10" y="0"/>
                      </a:lnTo>
                      <a:lnTo>
                        <a:pt x="6" y="0"/>
                      </a:lnTo>
                      <a:lnTo>
                        <a:pt x="2" y="2"/>
                      </a:lnTo>
                      <a:lnTo>
                        <a:pt x="0" y="6"/>
                      </a:lnTo>
                      <a:lnTo>
                        <a:pt x="0" y="12"/>
                      </a:lnTo>
                      <a:lnTo>
                        <a:pt x="0" y="18"/>
                      </a:lnTo>
                      <a:lnTo>
                        <a:pt x="0" y="18"/>
                      </a:lnTo>
                      <a:lnTo>
                        <a:pt x="8" y="24"/>
                      </a:lnTo>
                      <a:lnTo>
                        <a:pt x="10" y="30"/>
                      </a:lnTo>
                      <a:lnTo>
                        <a:pt x="10" y="38"/>
                      </a:lnTo>
                      <a:lnTo>
                        <a:pt x="10" y="38"/>
                      </a:lnTo>
                      <a:lnTo>
                        <a:pt x="10" y="42"/>
                      </a:lnTo>
                      <a:lnTo>
                        <a:pt x="10" y="44"/>
                      </a:lnTo>
                      <a:lnTo>
                        <a:pt x="14" y="46"/>
                      </a:lnTo>
                      <a:lnTo>
                        <a:pt x="18" y="48"/>
                      </a:lnTo>
                      <a:lnTo>
                        <a:pt x="18" y="50"/>
                      </a:lnTo>
                      <a:lnTo>
                        <a:pt x="18" y="54"/>
                      </a:lnTo>
                      <a:lnTo>
                        <a:pt x="18" y="54"/>
                      </a:lnTo>
                      <a:lnTo>
                        <a:pt x="18" y="58"/>
                      </a:lnTo>
                      <a:lnTo>
                        <a:pt x="20" y="58"/>
                      </a:lnTo>
                      <a:lnTo>
                        <a:pt x="22" y="58"/>
                      </a:lnTo>
                      <a:lnTo>
                        <a:pt x="22" y="62"/>
                      </a:lnTo>
                      <a:lnTo>
                        <a:pt x="22" y="62"/>
                      </a:lnTo>
                      <a:lnTo>
                        <a:pt x="22" y="68"/>
                      </a:lnTo>
                      <a:lnTo>
                        <a:pt x="24" y="72"/>
                      </a:lnTo>
                      <a:lnTo>
                        <a:pt x="28" y="76"/>
                      </a:lnTo>
                      <a:lnTo>
                        <a:pt x="28" y="76"/>
                      </a:lnTo>
                      <a:lnTo>
                        <a:pt x="36" y="86"/>
                      </a:lnTo>
                      <a:lnTo>
                        <a:pt x="38" y="86"/>
                      </a:lnTo>
                      <a:lnTo>
                        <a:pt x="40" y="86"/>
                      </a:lnTo>
                      <a:lnTo>
                        <a:pt x="40" y="80"/>
                      </a:lnTo>
                      <a:lnTo>
                        <a:pt x="38" y="70"/>
                      </a:lnTo>
                      <a:lnTo>
                        <a:pt x="38" y="70"/>
                      </a:lnTo>
                      <a:lnTo>
                        <a:pt x="36" y="62"/>
                      </a:lnTo>
                      <a:lnTo>
                        <a:pt x="38" y="60"/>
                      </a:lnTo>
                      <a:lnTo>
                        <a:pt x="40" y="54"/>
                      </a:lnTo>
                      <a:lnTo>
                        <a:pt x="36" y="42"/>
                      </a:lnTo>
                      <a:lnTo>
                        <a:pt x="36" y="4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07" name="Freeform 6031"/>
                <p:cNvSpPr>
                  <a:spLocks/>
                </p:cNvSpPr>
                <p:nvPr/>
              </p:nvSpPr>
              <p:spPr bwMode="auto">
                <a:xfrm>
                  <a:off x="951230" y="1890713"/>
                  <a:ext cx="26670" cy="54610"/>
                </a:xfrm>
                <a:custGeom>
                  <a:avLst/>
                  <a:gdLst/>
                  <a:ahLst/>
                  <a:cxnLst>
                    <a:cxn ang="0">
                      <a:pos x="38" y="66"/>
                    </a:cxn>
                    <a:cxn ang="0">
                      <a:pos x="38" y="66"/>
                    </a:cxn>
                    <a:cxn ang="0">
                      <a:pos x="40" y="66"/>
                    </a:cxn>
                    <a:cxn ang="0">
                      <a:pos x="42" y="64"/>
                    </a:cxn>
                    <a:cxn ang="0">
                      <a:pos x="42" y="58"/>
                    </a:cxn>
                    <a:cxn ang="0">
                      <a:pos x="40" y="52"/>
                    </a:cxn>
                    <a:cxn ang="0">
                      <a:pos x="40" y="50"/>
                    </a:cxn>
                    <a:cxn ang="0">
                      <a:pos x="40" y="48"/>
                    </a:cxn>
                    <a:cxn ang="0">
                      <a:pos x="40" y="48"/>
                    </a:cxn>
                    <a:cxn ang="0">
                      <a:pos x="42" y="48"/>
                    </a:cxn>
                    <a:cxn ang="0">
                      <a:pos x="42" y="44"/>
                    </a:cxn>
                    <a:cxn ang="0">
                      <a:pos x="40" y="36"/>
                    </a:cxn>
                    <a:cxn ang="0">
                      <a:pos x="30" y="16"/>
                    </a:cxn>
                    <a:cxn ang="0">
                      <a:pos x="30" y="16"/>
                    </a:cxn>
                    <a:cxn ang="0">
                      <a:pos x="28" y="12"/>
                    </a:cxn>
                    <a:cxn ang="0">
                      <a:pos x="24" y="10"/>
                    </a:cxn>
                    <a:cxn ang="0">
                      <a:pos x="20" y="10"/>
                    </a:cxn>
                    <a:cxn ang="0">
                      <a:pos x="14" y="10"/>
                    </a:cxn>
                    <a:cxn ang="0">
                      <a:pos x="10" y="8"/>
                    </a:cxn>
                    <a:cxn ang="0">
                      <a:pos x="8" y="4"/>
                    </a:cxn>
                    <a:cxn ang="0">
                      <a:pos x="8" y="4"/>
                    </a:cxn>
                    <a:cxn ang="0">
                      <a:pos x="2" y="0"/>
                    </a:cxn>
                    <a:cxn ang="0">
                      <a:pos x="2" y="2"/>
                    </a:cxn>
                    <a:cxn ang="0">
                      <a:pos x="0" y="4"/>
                    </a:cxn>
                    <a:cxn ang="0">
                      <a:pos x="4" y="20"/>
                    </a:cxn>
                    <a:cxn ang="0">
                      <a:pos x="4" y="20"/>
                    </a:cxn>
                    <a:cxn ang="0">
                      <a:pos x="8" y="36"/>
                    </a:cxn>
                    <a:cxn ang="0">
                      <a:pos x="10" y="46"/>
                    </a:cxn>
                    <a:cxn ang="0">
                      <a:pos x="14" y="58"/>
                    </a:cxn>
                    <a:cxn ang="0">
                      <a:pos x="14" y="58"/>
                    </a:cxn>
                    <a:cxn ang="0">
                      <a:pos x="16" y="66"/>
                    </a:cxn>
                    <a:cxn ang="0">
                      <a:pos x="16" y="66"/>
                    </a:cxn>
                    <a:cxn ang="0">
                      <a:pos x="14" y="68"/>
                    </a:cxn>
                    <a:cxn ang="0">
                      <a:pos x="12" y="70"/>
                    </a:cxn>
                    <a:cxn ang="0">
                      <a:pos x="10" y="74"/>
                    </a:cxn>
                    <a:cxn ang="0">
                      <a:pos x="10" y="82"/>
                    </a:cxn>
                    <a:cxn ang="0">
                      <a:pos x="10" y="82"/>
                    </a:cxn>
                    <a:cxn ang="0">
                      <a:pos x="12" y="86"/>
                    </a:cxn>
                    <a:cxn ang="0">
                      <a:pos x="16" y="86"/>
                    </a:cxn>
                    <a:cxn ang="0">
                      <a:pos x="28" y="80"/>
                    </a:cxn>
                    <a:cxn ang="0">
                      <a:pos x="28" y="80"/>
                    </a:cxn>
                    <a:cxn ang="0">
                      <a:pos x="30" y="78"/>
                    </a:cxn>
                    <a:cxn ang="0">
                      <a:pos x="32" y="74"/>
                    </a:cxn>
                    <a:cxn ang="0">
                      <a:pos x="32" y="70"/>
                    </a:cxn>
                    <a:cxn ang="0">
                      <a:pos x="32" y="68"/>
                    </a:cxn>
                    <a:cxn ang="0">
                      <a:pos x="38" y="66"/>
                    </a:cxn>
                    <a:cxn ang="0">
                      <a:pos x="38" y="66"/>
                    </a:cxn>
                  </a:cxnLst>
                  <a:rect l="0" t="0" r="r" b="b"/>
                  <a:pathLst>
                    <a:path w="42" h="86">
                      <a:moveTo>
                        <a:pt x="38" y="66"/>
                      </a:moveTo>
                      <a:lnTo>
                        <a:pt x="38" y="66"/>
                      </a:lnTo>
                      <a:lnTo>
                        <a:pt x="40" y="66"/>
                      </a:lnTo>
                      <a:lnTo>
                        <a:pt x="42" y="64"/>
                      </a:lnTo>
                      <a:lnTo>
                        <a:pt x="42" y="58"/>
                      </a:lnTo>
                      <a:lnTo>
                        <a:pt x="40" y="52"/>
                      </a:lnTo>
                      <a:lnTo>
                        <a:pt x="40" y="50"/>
                      </a:lnTo>
                      <a:lnTo>
                        <a:pt x="40" y="48"/>
                      </a:lnTo>
                      <a:lnTo>
                        <a:pt x="40" y="48"/>
                      </a:lnTo>
                      <a:lnTo>
                        <a:pt x="42" y="48"/>
                      </a:lnTo>
                      <a:lnTo>
                        <a:pt x="42" y="44"/>
                      </a:lnTo>
                      <a:lnTo>
                        <a:pt x="40" y="36"/>
                      </a:lnTo>
                      <a:lnTo>
                        <a:pt x="30" y="16"/>
                      </a:lnTo>
                      <a:lnTo>
                        <a:pt x="30" y="16"/>
                      </a:lnTo>
                      <a:lnTo>
                        <a:pt x="28" y="12"/>
                      </a:lnTo>
                      <a:lnTo>
                        <a:pt x="24" y="10"/>
                      </a:lnTo>
                      <a:lnTo>
                        <a:pt x="20" y="10"/>
                      </a:lnTo>
                      <a:lnTo>
                        <a:pt x="14" y="10"/>
                      </a:lnTo>
                      <a:lnTo>
                        <a:pt x="10" y="8"/>
                      </a:lnTo>
                      <a:lnTo>
                        <a:pt x="8" y="4"/>
                      </a:lnTo>
                      <a:lnTo>
                        <a:pt x="8" y="4"/>
                      </a:lnTo>
                      <a:lnTo>
                        <a:pt x="2" y="0"/>
                      </a:lnTo>
                      <a:lnTo>
                        <a:pt x="2" y="2"/>
                      </a:lnTo>
                      <a:lnTo>
                        <a:pt x="0" y="4"/>
                      </a:lnTo>
                      <a:lnTo>
                        <a:pt x="4" y="20"/>
                      </a:lnTo>
                      <a:lnTo>
                        <a:pt x="4" y="20"/>
                      </a:lnTo>
                      <a:lnTo>
                        <a:pt x="8" y="36"/>
                      </a:lnTo>
                      <a:lnTo>
                        <a:pt x="10" y="46"/>
                      </a:lnTo>
                      <a:lnTo>
                        <a:pt x="14" y="58"/>
                      </a:lnTo>
                      <a:lnTo>
                        <a:pt x="14" y="58"/>
                      </a:lnTo>
                      <a:lnTo>
                        <a:pt x="16" y="66"/>
                      </a:lnTo>
                      <a:lnTo>
                        <a:pt x="16" y="66"/>
                      </a:lnTo>
                      <a:lnTo>
                        <a:pt x="14" y="68"/>
                      </a:lnTo>
                      <a:lnTo>
                        <a:pt x="12" y="70"/>
                      </a:lnTo>
                      <a:lnTo>
                        <a:pt x="10" y="74"/>
                      </a:lnTo>
                      <a:lnTo>
                        <a:pt x="10" y="82"/>
                      </a:lnTo>
                      <a:lnTo>
                        <a:pt x="10" y="82"/>
                      </a:lnTo>
                      <a:lnTo>
                        <a:pt x="12" y="86"/>
                      </a:lnTo>
                      <a:lnTo>
                        <a:pt x="16" y="86"/>
                      </a:lnTo>
                      <a:lnTo>
                        <a:pt x="28" y="80"/>
                      </a:lnTo>
                      <a:lnTo>
                        <a:pt x="28" y="80"/>
                      </a:lnTo>
                      <a:lnTo>
                        <a:pt x="30" y="78"/>
                      </a:lnTo>
                      <a:lnTo>
                        <a:pt x="32" y="74"/>
                      </a:lnTo>
                      <a:lnTo>
                        <a:pt x="32" y="70"/>
                      </a:lnTo>
                      <a:lnTo>
                        <a:pt x="32" y="68"/>
                      </a:lnTo>
                      <a:lnTo>
                        <a:pt x="38" y="66"/>
                      </a:lnTo>
                      <a:lnTo>
                        <a:pt x="38" y="6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08" name="Freeform 6032"/>
                <p:cNvSpPr>
                  <a:spLocks/>
                </p:cNvSpPr>
                <p:nvPr/>
              </p:nvSpPr>
              <p:spPr bwMode="auto">
                <a:xfrm>
                  <a:off x="994410" y="2016443"/>
                  <a:ext cx="13970" cy="22860"/>
                </a:xfrm>
                <a:custGeom>
                  <a:avLst/>
                  <a:gdLst/>
                  <a:ahLst/>
                  <a:cxnLst>
                    <a:cxn ang="0">
                      <a:pos x="22" y="30"/>
                    </a:cxn>
                    <a:cxn ang="0">
                      <a:pos x="22" y="30"/>
                    </a:cxn>
                    <a:cxn ang="0">
                      <a:pos x="20" y="26"/>
                    </a:cxn>
                    <a:cxn ang="0">
                      <a:pos x="18" y="22"/>
                    </a:cxn>
                    <a:cxn ang="0">
                      <a:pos x="10" y="14"/>
                    </a:cxn>
                    <a:cxn ang="0">
                      <a:pos x="10" y="14"/>
                    </a:cxn>
                    <a:cxn ang="0">
                      <a:pos x="8" y="10"/>
                    </a:cxn>
                    <a:cxn ang="0">
                      <a:pos x="8" y="8"/>
                    </a:cxn>
                    <a:cxn ang="0">
                      <a:pos x="8" y="8"/>
                    </a:cxn>
                    <a:cxn ang="0">
                      <a:pos x="8" y="4"/>
                    </a:cxn>
                    <a:cxn ang="0">
                      <a:pos x="8" y="4"/>
                    </a:cxn>
                    <a:cxn ang="0">
                      <a:pos x="6" y="0"/>
                    </a:cxn>
                    <a:cxn ang="0">
                      <a:pos x="4" y="0"/>
                    </a:cxn>
                    <a:cxn ang="0">
                      <a:pos x="2" y="0"/>
                    </a:cxn>
                    <a:cxn ang="0">
                      <a:pos x="2" y="0"/>
                    </a:cxn>
                    <a:cxn ang="0">
                      <a:pos x="0" y="4"/>
                    </a:cxn>
                    <a:cxn ang="0">
                      <a:pos x="0" y="6"/>
                    </a:cxn>
                    <a:cxn ang="0">
                      <a:pos x="2" y="14"/>
                    </a:cxn>
                    <a:cxn ang="0">
                      <a:pos x="2" y="14"/>
                    </a:cxn>
                    <a:cxn ang="0">
                      <a:pos x="12" y="26"/>
                    </a:cxn>
                    <a:cxn ang="0">
                      <a:pos x="12" y="26"/>
                    </a:cxn>
                    <a:cxn ang="0">
                      <a:pos x="16" y="32"/>
                    </a:cxn>
                    <a:cxn ang="0">
                      <a:pos x="20" y="36"/>
                    </a:cxn>
                    <a:cxn ang="0">
                      <a:pos x="22" y="34"/>
                    </a:cxn>
                    <a:cxn ang="0">
                      <a:pos x="22" y="30"/>
                    </a:cxn>
                    <a:cxn ang="0">
                      <a:pos x="22" y="30"/>
                    </a:cxn>
                  </a:cxnLst>
                  <a:rect l="0" t="0" r="r" b="b"/>
                  <a:pathLst>
                    <a:path w="22" h="36">
                      <a:moveTo>
                        <a:pt x="22" y="30"/>
                      </a:moveTo>
                      <a:lnTo>
                        <a:pt x="22" y="30"/>
                      </a:lnTo>
                      <a:lnTo>
                        <a:pt x="20" y="26"/>
                      </a:lnTo>
                      <a:lnTo>
                        <a:pt x="18" y="22"/>
                      </a:lnTo>
                      <a:lnTo>
                        <a:pt x="10" y="14"/>
                      </a:lnTo>
                      <a:lnTo>
                        <a:pt x="10" y="14"/>
                      </a:lnTo>
                      <a:lnTo>
                        <a:pt x="8" y="10"/>
                      </a:lnTo>
                      <a:lnTo>
                        <a:pt x="8" y="8"/>
                      </a:lnTo>
                      <a:lnTo>
                        <a:pt x="8" y="8"/>
                      </a:lnTo>
                      <a:lnTo>
                        <a:pt x="8" y="4"/>
                      </a:lnTo>
                      <a:lnTo>
                        <a:pt x="8" y="4"/>
                      </a:lnTo>
                      <a:lnTo>
                        <a:pt x="6" y="0"/>
                      </a:lnTo>
                      <a:lnTo>
                        <a:pt x="4" y="0"/>
                      </a:lnTo>
                      <a:lnTo>
                        <a:pt x="2" y="0"/>
                      </a:lnTo>
                      <a:lnTo>
                        <a:pt x="2" y="0"/>
                      </a:lnTo>
                      <a:lnTo>
                        <a:pt x="0" y="4"/>
                      </a:lnTo>
                      <a:lnTo>
                        <a:pt x="0" y="6"/>
                      </a:lnTo>
                      <a:lnTo>
                        <a:pt x="2" y="14"/>
                      </a:lnTo>
                      <a:lnTo>
                        <a:pt x="2" y="14"/>
                      </a:lnTo>
                      <a:lnTo>
                        <a:pt x="12" y="26"/>
                      </a:lnTo>
                      <a:lnTo>
                        <a:pt x="12" y="26"/>
                      </a:lnTo>
                      <a:lnTo>
                        <a:pt x="16" y="32"/>
                      </a:lnTo>
                      <a:lnTo>
                        <a:pt x="20" y="36"/>
                      </a:lnTo>
                      <a:lnTo>
                        <a:pt x="22" y="34"/>
                      </a:lnTo>
                      <a:lnTo>
                        <a:pt x="22" y="30"/>
                      </a:lnTo>
                      <a:lnTo>
                        <a:pt x="22" y="3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09" name="Freeform 6034"/>
                <p:cNvSpPr>
                  <a:spLocks/>
                </p:cNvSpPr>
                <p:nvPr/>
              </p:nvSpPr>
              <p:spPr bwMode="auto">
                <a:xfrm>
                  <a:off x="976630" y="1941513"/>
                  <a:ext cx="25400" cy="26670"/>
                </a:xfrm>
                <a:custGeom>
                  <a:avLst/>
                  <a:gdLst/>
                  <a:ahLst/>
                  <a:cxnLst>
                    <a:cxn ang="0">
                      <a:pos x="34" y="30"/>
                    </a:cxn>
                    <a:cxn ang="0">
                      <a:pos x="34" y="30"/>
                    </a:cxn>
                    <a:cxn ang="0">
                      <a:pos x="36" y="26"/>
                    </a:cxn>
                    <a:cxn ang="0">
                      <a:pos x="38" y="22"/>
                    </a:cxn>
                    <a:cxn ang="0">
                      <a:pos x="40" y="16"/>
                    </a:cxn>
                    <a:cxn ang="0">
                      <a:pos x="36" y="10"/>
                    </a:cxn>
                    <a:cxn ang="0">
                      <a:pos x="36" y="10"/>
                    </a:cxn>
                    <a:cxn ang="0">
                      <a:pos x="32" y="6"/>
                    </a:cxn>
                    <a:cxn ang="0">
                      <a:pos x="28" y="6"/>
                    </a:cxn>
                    <a:cxn ang="0">
                      <a:pos x="24" y="6"/>
                    </a:cxn>
                    <a:cxn ang="0">
                      <a:pos x="18" y="4"/>
                    </a:cxn>
                    <a:cxn ang="0">
                      <a:pos x="18" y="4"/>
                    </a:cxn>
                    <a:cxn ang="0">
                      <a:pos x="12" y="0"/>
                    </a:cxn>
                    <a:cxn ang="0">
                      <a:pos x="4" y="0"/>
                    </a:cxn>
                    <a:cxn ang="0">
                      <a:pos x="0" y="4"/>
                    </a:cxn>
                    <a:cxn ang="0">
                      <a:pos x="0" y="6"/>
                    </a:cxn>
                    <a:cxn ang="0">
                      <a:pos x="0" y="10"/>
                    </a:cxn>
                    <a:cxn ang="0">
                      <a:pos x="0" y="10"/>
                    </a:cxn>
                    <a:cxn ang="0">
                      <a:pos x="0" y="14"/>
                    </a:cxn>
                    <a:cxn ang="0">
                      <a:pos x="2" y="16"/>
                    </a:cxn>
                    <a:cxn ang="0">
                      <a:pos x="6" y="16"/>
                    </a:cxn>
                    <a:cxn ang="0">
                      <a:pos x="10" y="16"/>
                    </a:cxn>
                    <a:cxn ang="0">
                      <a:pos x="12" y="16"/>
                    </a:cxn>
                    <a:cxn ang="0">
                      <a:pos x="12" y="20"/>
                    </a:cxn>
                    <a:cxn ang="0">
                      <a:pos x="12" y="26"/>
                    </a:cxn>
                    <a:cxn ang="0">
                      <a:pos x="12" y="26"/>
                    </a:cxn>
                    <a:cxn ang="0">
                      <a:pos x="12" y="36"/>
                    </a:cxn>
                    <a:cxn ang="0">
                      <a:pos x="14" y="38"/>
                    </a:cxn>
                    <a:cxn ang="0">
                      <a:pos x="16" y="40"/>
                    </a:cxn>
                    <a:cxn ang="0">
                      <a:pos x="20" y="40"/>
                    </a:cxn>
                    <a:cxn ang="0">
                      <a:pos x="28" y="40"/>
                    </a:cxn>
                    <a:cxn ang="0">
                      <a:pos x="28" y="40"/>
                    </a:cxn>
                    <a:cxn ang="0">
                      <a:pos x="32" y="42"/>
                    </a:cxn>
                    <a:cxn ang="0">
                      <a:pos x="34" y="40"/>
                    </a:cxn>
                    <a:cxn ang="0">
                      <a:pos x="34" y="38"/>
                    </a:cxn>
                    <a:cxn ang="0">
                      <a:pos x="32" y="32"/>
                    </a:cxn>
                    <a:cxn ang="0">
                      <a:pos x="32" y="30"/>
                    </a:cxn>
                    <a:cxn ang="0">
                      <a:pos x="34" y="30"/>
                    </a:cxn>
                    <a:cxn ang="0">
                      <a:pos x="34" y="30"/>
                    </a:cxn>
                  </a:cxnLst>
                  <a:rect l="0" t="0" r="r" b="b"/>
                  <a:pathLst>
                    <a:path w="40" h="42">
                      <a:moveTo>
                        <a:pt x="34" y="30"/>
                      </a:moveTo>
                      <a:lnTo>
                        <a:pt x="34" y="30"/>
                      </a:lnTo>
                      <a:lnTo>
                        <a:pt x="36" y="26"/>
                      </a:lnTo>
                      <a:lnTo>
                        <a:pt x="38" y="22"/>
                      </a:lnTo>
                      <a:lnTo>
                        <a:pt x="40" y="16"/>
                      </a:lnTo>
                      <a:lnTo>
                        <a:pt x="36" y="10"/>
                      </a:lnTo>
                      <a:lnTo>
                        <a:pt x="36" y="10"/>
                      </a:lnTo>
                      <a:lnTo>
                        <a:pt x="32" y="6"/>
                      </a:lnTo>
                      <a:lnTo>
                        <a:pt x="28" y="6"/>
                      </a:lnTo>
                      <a:lnTo>
                        <a:pt x="24" y="6"/>
                      </a:lnTo>
                      <a:lnTo>
                        <a:pt x="18" y="4"/>
                      </a:lnTo>
                      <a:lnTo>
                        <a:pt x="18" y="4"/>
                      </a:lnTo>
                      <a:lnTo>
                        <a:pt x="12" y="0"/>
                      </a:lnTo>
                      <a:lnTo>
                        <a:pt x="4" y="0"/>
                      </a:lnTo>
                      <a:lnTo>
                        <a:pt x="0" y="4"/>
                      </a:lnTo>
                      <a:lnTo>
                        <a:pt x="0" y="6"/>
                      </a:lnTo>
                      <a:lnTo>
                        <a:pt x="0" y="10"/>
                      </a:lnTo>
                      <a:lnTo>
                        <a:pt x="0" y="10"/>
                      </a:lnTo>
                      <a:lnTo>
                        <a:pt x="0" y="14"/>
                      </a:lnTo>
                      <a:lnTo>
                        <a:pt x="2" y="16"/>
                      </a:lnTo>
                      <a:lnTo>
                        <a:pt x="6" y="16"/>
                      </a:lnTo>
                      <a:lnTo>
                        <a:pt x="10" y="16"/>
                      </a:lnTo>
                      <a:lnTo>
                        <a:pt x="12" y="16"/>
                      </a:lnTo>
                      <a:lnTo>
                        <a:pt x="12" y="20"/>
                      </a:lnTo>
                      <a:lnTo>
                        <a:pt x="12" y="26"/>
                      </a:lnTo>
                      <a:lnTo>
                        <a:pt x="12" y="26"/>
                      </a:lnTo>
                      <a:lnTo>
                        <a:pt x="12" y="36"/>
                      </a:lnTo>
                      <a:lnTo>
                        <a:pt x="14" y="38"/>
                      </a:lnTo>
                      <a:lnTo>
                        <a:pt x="16" y="40"/>
                      </a:lnTo>
                      <a:lnTo>
                        <a:pt x="20" y="40"/>
                      </a:lnTo>
                      <a:lnTo>
                        <a:pt x="28" y="40"/>
                      </a:lnTo>
                      <a:lnTo>
                        <a:pt x="28" y="40"/>
                      </a:lnTo>
                      <a:lnTo>
                        <a:pt x="32" y="42"/>
                      </a:lnTo>
                      <a:lnTo>
                        <a:pt x="34" y="40"/>
                      </a:lnTo>
                      <a:lnTo>
                        <a:pt x="34" y="38"/>
                      </a:lnTo>
                      <a:lnTo>
                        <a:pt x="32" y="32"/>
                      </a:lnTo>
                      <a:lnTo>
                        <a:pt x="32" y="30"/>
                      </a:lnTo>
                      <a:lnTo>
                        <a:pt x="34" y="30"/>
                      </a:lnTo>
                      <a:lnTo>
                        <a:pt x="34" y="3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0" name="Freeform 6035"/>
                <p:cNvSpPr>
                  <a:spLocks/>
                </p:cNvSpPr>
                <p:nvPr/>
              </p:nvSpPr>
              <p:spPr bwMode="auto">
                <a:xfrm>
                  <a:off x="984250" y="1970723"/>
                  <a:ext cx="43180" cy="66040"/>
                </a:xfrm>
                <a:custGeom>
                  <a:avLst/>
                  <a:gdLst/>
                  <a:ahLst/>
                  <a:cxnLst>
                    <a:cxn ang="0">
                      <a:pos x="24" y="68"/>
                    </a:cxn>
                    <a:cxn ang="0">
                      <a:pos x="28" y="70"/>
                    </a:cxn>
                    <a:cxn ang="0">
                      <a:pos x="30" y="72"/>
                    </a:cxn>
                    <a:cxn ang="0">
                      <a:pos x="32" y="72"/>
                    </a:cxn>
                    <a:cxn ang="0">
                      <a:pos x="42" y="80"/>
                    </a:cxn>
                    <a:cxn ang="0">
                      <a:pos x="44" y="82"/>
                    </a:cxn>
                    <a:cxn ang="0">
                      <a:pos x="42" y="86"/>
                    </a:cxn>
                    <a:cxn ang="0">
                      <a:pos x="46" y="88"/>
                    </a:cxn>
                    <a:cxn ang="0">
                      <a:pos x="50" y="88"/>
                    </a:cxn>
                    <a:cxn ang="0">
                      <a:pos x="52" y="92"/>
                    </a:cxn>
                    <a:cxn ang="0">
                      <a:pos x="54" y="100"/>
                    </a:cxn>
                    <a:cxn ang="0">
                      <a:pos x="62" y="104"/>
                    </a:cxn>
                    <a:cxn ang="0">
                      <a:pos x="66" y="102"/>
                    </a:cxn>
                    <a:cxn ang="0">
                      <a:pos x="68" y="94"/>
                    </a:cxn>
                    <a:cxn ang="0">
                      <a:pos x="68" y="86"/>
                    </a:cxn>
                    <a:cxn ang="0">
                      <a:pos x="66" y="82"/>
                    </a:cxn>
                    <a:cxn ang="0">
                      <a:pos x="64" y="80"/>
                    </a:cxn>
                    <a:cxn ang="0">
                      <a:pos x="66" y="74"/>
                    </a:cxn>
                    <a:cxn ang="0">
                      <a:pos x="66" y="68"/>
                    </a:cxn>
                    <a:cxn ang="0">
                      <a:pos x="62" y="66"/>
                    </a:cxn>
                    <a:cxn ang="0">
                      <a:pos x="60" y="64"/>
                    </a:cxn>
                    <a:cxn ang="0">
                      <a:pos x="58" y="60"/>
                    </a:cxn>
                    <a:cxn ang="0">
                      <a:pos x="52" y="58"/>
                    </a:cxn>
                    <a:cxn ang="0">
                      <a:pos x="50" y="56"/>
                    </a:cxn>
                    <a:cxn ang="0">
                      <a:pos x="42" y="58"/>
                    </a:cxn>
                    <a:cxn ang="0">
                      <a:pos x="38" y="58"/>
                    </a:cxn>
                    <a:cxn ang="0">
                      <a:pos x="42" y="52"/>
                    </a:cxn>
                    <a:cxn ang="0">
                      <a:pos x="54" y="54"/>
                    </a:cxn>
                    <a:cxn ang="0">
                      <a:pos x="58" y="56"/>
                    </a:cxn>
                    <a:cxn ang="0">
                      <a:pos x="52" y="48"/>
                    </a:cxn>
                    <a:cxn ang="0">
                      <a:pos x="48" y="42"/>
                    </a:cxn>
                    <a:cxn ang="0">
                      <a:pos x="42" y="30"/>
                    </a:cxn>
                    <a:cxn ang="0">
                      <a:pos x="38" y="24"/>
                    </a:cxn>
                    <a:cxn ang="0">
                      <a:pos x="28" y="20"/>
                    </a:cxn>
                    <a:cxn ang="0">
                      <a:pos x="22" y="20"/>
                    </a:cxn>
                    <a:cxn ang="0">
                      <a:pos x="22" y="16"/>
                    </a:cxn>
                    <a:cxn ang="0">
                      <a:pos x="22" y="8"/>
                    </a:cxn>
                    <a:cxn ang="0">
                      <a:pos x="20" y="2"/>
                    </a:cxn>
                    <a:cxn ang="0">
                      <a:pos x="16" y="2"/>
                    </a:cxn>
                    <a:cxn ang="0">
                      <a:pos x="8" y="2"/>
                    </a:cxn>
                    <a:cxn ang="0">
                      <a:pos x="4" y="2"/>
                    </a:cxn>
                    <a:cxn ang="0">
                      <a:pos x="2" y="4"/>
                    </a:cxn>
                    <a:cxn ang="0">
                      <a:pos x="2" y="6"/>
                    </a:cxn>
                    <a:cxn ang="0">
                      <a:pos x="0" y="8"/>
                    </a:cxn>
                    <a:cxn ang="0">
                      <a:pos x="8" y="10"/>
                    </a:cxn>
                    <a:cxn ang="0">
                      <a:pos x="16" y="16"/>
                    </a:cxn>
                    <a:cxn ang="0">
                      <a:pos x="16" y="22"/>
                    </a:cxn>
                    <a:cxn ang="0">
                      <a:pos x="18" y="30"/>
                    </a:cxn>
                    <a:cxn ang="0">
                      <a:pos x="20" y="36"/>
                    </a:cxn>
                    <a:cxn ang="0">
                      <a:pos x="18" y="40"/>
                    </a:cxn>
                    <a:cxn ang="0">
                      <a:pos x="12" y="40"/>
                    </a:cxn>
                    <a:cxn ang="0">
                      <a:pos x="10" y="42"/>
                    </a:cxn>
                    <a:cxn ang="0">
                      <a:pos x="10" y="48"/>
                    </a:cxn>
                    <a:cxn ang="0">
                      <a:pos x="20" y="48"/>
                    </a:cxn>
                    <a:cxn ang="0">
                      <a:pos x="22" y="50"/>
                    </a:cxn>
                    <a:cxn ang="0">
                      <a:pos x="24" y="60"/>
                    </a:cxn>
                    <a:cxn ang="0">
                      <a:pos x="24" y="62"/>
                    </a:cxn>
                    <a:cxn ang="0">
                      <a:pos x="20" y="64"/>
                    </a:cxn>
                    <a:cxn ang="0">
                      <a:pos x="16" y="64"/>
                    </a:cxn>
                    <a:cxn ang="0">
                      <a:pos x="14" y="66"/>
                    </a:cxn>
                    <a:cxn ang="0">
                      <a:pos x="18" y="68"/>
                    </a:cxn>
                    <a:cxn ang="0">
                      <a:pos x="24" y="68"/>
                    </a:cxn>
                  </a:cxnLst>
                  <a:rect l="0" t="0" r="r" b="b"/>
                  <a:pathLst>
                    <a:path w="68" h="104">
                      <a:moveTo>
                        <a:pt x="24" y="68"/>
                      </a:moveTo>
                      <a:lnTo>
                        <a:pt x="24" y="68"/>
                      </a:lnTo>
                      <a:lnTo>
                        <a:pt x="28" y="68"/>
                      </a:lnTo>
                      <a:lnTo>
                        <a:pt x="28" y="70"/>
                      </a:lnTo>
                      <a:lnTo>
                        <a:pt x="28" y="72"/>
                      </a:lnTo>
                      <a:lnTo>
                        <a:pt x="30" y="72"/>
                      </a:lnTo>
                      <a:lnTo>
                        <a:pt x="30" y="72"/>
                      </a:lnTo>
                      <a:lnTo>
                        <a:pt x="32" y="72"/>
                      </a:lnTo>
                      <a:lnTo>
                        <a:pt x="36" y="72"/>
                      </a:lnTo>
                      <a:lnTo>
                        <a:pt x="42" y="80"/>
                      </a:lnTo>
                      <a:lnTo>
                        <a:pt x="42" y="80"/>
                      </a:lnTo>
                      <a:lnTo>
                        <a:pt x="44" y="82"/>
                      </a:lnTo>
                      <a:lnTo>
                        <a:pt x="44" y="84"/>
                      </a:lnTo>
                      <a:lnTo>
                        <a:pt x="42" y="86"/>
                      </a:lnTo>
                      <a:lnTo>
                        <a:pt x="46" y="88"/>
                      </a:lnTo>
                      <a:lnTo>
                        <a:pt x="46" y="88"/>
                      </a:lnTo>
                      <a:lnTo>
                        <a:pt x="48" y="90"/>
                      </a:lnTo>
                      <a:lnTo>
                        <a:pt x="50" y="88"/>
                      </a:lnTo>
                      <a:lnTo>
                        <a:pt x="52" y="88"/>
                      </a:lnTo>
                      <a:lnTo>
                        <a:pt x="52" y="92"/>
                      </a:lnTo>
                      <a:lnTo>
                        <a:pt x="52" y="92"/>
                      </a:lnTo>
                      <a:lnTo>
                        <a:pt x="54" y="100"/>
                      </a:lnTo>
                      <a:lnTo>
                        <a:pt x="58" y="104"/>
                      </a:lnTo>
                      <a:lnTo>
                        <a:pt x="62" y="104"/>
                      </a:lnTo>
                      <a:lnTo>
                        <a:pt x="66" y="102"/>
                      </a:lnTo>
                      <a:lnTo>
                        <a:pt x="66" y="102"/>
                      </a:lnTo>
                      <a:lnTo>
                        <a:pt x="68" y="98"/>
                      </a:lnTo>
                      <a:lnTo>
                        <a:pt x="68" y="94"/>
                      </a:lnTo>
                      <a:lnTo>
                        <a:pt x="68" y="92"/>
                      </a:lnTo>
                      <a:lnTo>
                        <a:pt x="68" y="86"/>
                      </a:lnTo>
                      <a:lnTo>
                        <a:pt x="68" y="86"/>
                      </a:lnTo>
                      <a:lnTo>
                        <a:pt x="66" y="82"/>
                      </a:lnTo>
                      <a:lnTo>
                        <a:pt x="66" y="82"/>
                      </a:lnTo>
                      <a:lnTo>
                        <a:pt x="64" y="80"/>
                      </a:lnTo>
                      <a:lnTo>
                        <a:pt x="66" y="74"/>
                      </a:lnTo>
                      <a:lnTo>
                        <a:pt x="66" y="74"/>
                      </a:lnTo>
                      <a:lnTo>
                        <a:pt x="68" y="68"/>
                      </a:lnTo>
                      <a:lnTo>
                        <a:pt x="66" y="68"/>
                      </a:lnTo>
                      <a:lnTo>
                        <a:pt x="62" y="68"/>
                      </a:lnTo>
                      <a:lnTo>
                        <a:pt x="62" y="66"/>
                      </a:lnTo>
                      <a:lnTo>
                        <a:pt x="60" y="64"/>
                      </a:lnTo>
                      <a:lnTo>
                        <a:pt x="60" y="64"/>
                      </a:lnTo>
                      <a:lnTo>
                        <a:pt x="60" y="60"/>
                      </a:lnTo>
                      <a:lnTo>
                        <a:pt x="58" y="60"/>
                      </a:lnTo>
                      <a:lnTo>
                        <a:pt x="54" y="60"/>
                      </a:lnTo>
                      <a:lnTo>
                        <a:pt x="52" y="58"/>
                      </a:lnTo>
                      <a:lnTo>
                        <a:pt x="52" y="58"/>
                      </a:lnTo>
                      <a:lnTo>
                        <a:pt x="50" y="56"/>
                      </a:lnTo>
                      <a:lnTo>
                        <a:pt x="44" y="58"/>
                      </a:lnTo>
                      <a:lnTo>
                        <a:pt x="42" y="58"/>
                      </a:lnTo>
                      <a:lnTo>
                        <a:pt x="38" y="58"/>
                      </a:lnTo>
                      <a:lnTo>
                        <a:pt x="38" y="58"/>
                      </a:lnTo>
                      <a:lnTo>
                        <a:pt x="40" y="54"/>
                      </a:lnTo>
                      <a:lnTo>
                        <a:pt x="42" y="52"/>
                      </a:lnTo>
                      <a:lnTo>
                        <a:pt x="48" y="50"/>
                      </a:lnTo>
                      <a:lnTo>
                        <a:pt x="54" y="54"/>
                      </a:lnTo>
                      <a:lnTo>
                        <a:pt x="54" y="54"/>
                      </a:lnTo>
                      <a:lnTo>
                        <a:pt x="58" y="56"/>
                      </a:lnTo>
                      <a:lnTo>
                        <a:pt x="60" y="56"/>
                      </a:lnTo>
                      <a:lnTo>
                        <a:pt x="52" y="48"/>
                      </a:lnTo>
                      <a:lnTo>
                        <a:pt x="52" y="48"/>
                      </a:lnTo>
                      <a:lnTo>
                        <a:pt x="48" y="42"/>
                      </a:lnTo>
                      <a:lnTo>
                        <a:pt x="46" y="36"/>
                      </a:lnTo>
                      <a:lnTo>
                        <a:pt x="42" y="30"/>
                      </a:lnTo>
                      <a:lnTo>
                        <a:pt x="38" y="24"/>
                      </a:lnTo>
                      <a:lnTo>
                        <a:pt x="38" y="24"/>
                      </a:lnTo>
                      <a:lnTo>
                        <a:pt x="34" y="20"/>
                      </a:lnTo>
                      <a:lnTo>
                        <a:pt x="28" y="20"/>
                      </a:lnTo>
                      <a:lnTo>
                        <a:pt x="24" y="20"/>
                      </a:lnTo>
                      <a:lnTo>
                        <a:pt x="22" y="20"/>
                      </a:lnTo>
                      <a:lnTo>
                        <a:pt x="22" y="20"/>
                      </a:lnTo>
                      <a:lnTo>
                        <a:pt x="22" y="16"/>
                      </a:lnTo>
                      <a:lnTo>
                        <a:pt x="22" y="12"/>
                      </a:lnTo>
                      <a:lnTo>
                        <a:pt x="22" y="8"/>
                      </a:lnTo>
                      <a:lnTo>
                        <a:pt x="20" y="2"/>
                      </a:lnTo>
                      <a:lnTo>
                        <a:pt x="20" y="2"/>
                      </a:lnTo>
                      <a:lnTo>
                        <a:pt x="18" y="0"/>
                      </a:lnTo>
                      <a:lnTo>
                        <a:pt x="16" y="2"/>
                      </a:lnTo>
                      <a:lnTo>
                        <a:pt x="14" y="2"/>
                      </a:lnTo>
                      <a:lnTo>
                        <a:pt x="8" y="2"/>
                      </a:lnTo>
                      <a:lnTo>
                        <a:pt x="8" y="2"/>
                      </a:lnTo>
                      <a:lnTo>
                        <a:pt x="4" y="2"/>
                      </a:lnTo>
                      <a:lnTo>
                        <a:pt x="2" y="2"/>
                      </a:lnTo>
                      <a:lnTo>
                        <a:pt x="2" y="4"/>
                      </a:lnTo>
                      <a:lnTo>
                        <a:pt x="2" y="6"/>
                      </a:lnTo>
                      <a:lnTo>
                        <a:pt x="2" y="6"/>
                      </a:lnTo>
                      <a:lnTo>
                        <a:pt x="0" y="6"/>
                      </a:lnTo>
                      <a:lnTo>
                        <a:pt x="0" y="8"/>
                      </a:lnTo>
                      <a:lnTo>
                        <a:pt x="8" y="10"/>
                      </a:lnTo>
                      <a:lnTo>
                        <a:pt x="8" y="10"/>
                      </a:lnTo>
                      <a:lnTo>
                        <a:pt x="14" y="12"/>
                      </a:lnTo>
                      <a:lnTo>
                        <a:pt x="16" y="16"/>
                      </a:lnTo>
                      <a:lnTo>
                        <a:pt x="16" y="22"/>
                      </a:lnTo>
                      <a:lnTo>
                        <a:pt x="16" y="22"/>
                      </a:lnTo>
                      <a:lnTo>
                        <a:pt x="16" y="26"/>
                      </a:lnTo>
                      <a:lnTo>
                        <a:pt x="18" y="30"/>
                      </a:lnTo>
                      <a:lnTo>
                        <a:pt x="20" y="32"/>
                      </a:lnTo>
                      <a:lnTo>
                        <a:pt x="20" y="36"/>
                      </a:lnTo>
                      <a:lnTo>
                        <a:pt x="20" y="36"/>
                      </a:lnTo>
                      <a:lnTo>
                        <a:pt x="18" y="40"/>
                      </a:lnTo>
                      <a:lnTo>
                        <a:pt x="14" y="40"/>
                      </a:lnTo>
                      <a:lnTo>
                        <a:pt x="12" y="40"/>
                      </a:lnTo>
                      <a:lnTo>
                        <a:pt x="10" y="42"/>
                      </a:lnTo>
                      <a:lnTo>
                        <a:pt x="10" y="42"/>
                      </a:lnTo>
                      <a:lnTo>
                        <a:pt x="10" y="46"/>
                      </a:lnTo>
                      <a:lnTo>
                        <a:pt x="10" y="48"/>
                      </a:lnTo>
                      <a:lnTo>
                        <a:pt x="20" y="48"/>
                      </a:lnTo>
                      <a:lnTo>
                        <a:pt x="20" y="48"/>
                      </a:lnTo>
                      <a:lnTo>
                        <a:pt x="22" y="50"/>
                      </a:lnTo>
                      <a:lnTo>
                        <a:pt x="22" y="50"/>
                      </a:lnTo>
                      <a:lnTo>
                        <a:pt x="22" y="54"/>
                      </a:lnTo>
                      <a:lnTo>
                        <a:pt x="24" y="60"/>
                      </a:lnTo>
                      <a:lnTo>
                        <a:pt x="24" y="60"/>
                      </a:lnTo>
                      <a:lnTo>
                        <a:pt x="24" y="62"/>
                      </a:lnTo>
                      <a:lnTo>
                        <a:pt x="24" y="62"/>
                      </a:lnTo>
                      <a:lnTo>
                        <a:pt x="20" y="64"/>
                      </a:lnTo>
                      <a:lnTo>
                        <a:pt x="16" y="64"/>
                      </a:lnTo>
                      <a:lnTo>
                        <a:pt x="16" y="64"/>
                      </a:lnTo>
                      <a:lnTo>
                        <a:pt x="14" y="66"/>
                      </a:lnTo>
                      <a:lnTo>
                        <a:pt x="14" y="66"/>
                      </a:lnTo>
                      <a:lnTo>
                        <a:pt x="16" y="68"/>
                      </a:lnTo>
                      <a:lnTo>
                        <a:pt x="18" y="68"/>
                      </a:lnTo>
                      <a:lnTo>
                        <a:pt x="24" y="68"/>
                      </a:lnTo>
                      <a:lnTo>
                        <a:pt x="24" y="6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1" name="Freeform 6036"/>
                <p:cNvSpPr>
                  <a:spLocks/>
                </p:cNvSpPr>
                <p:nvPr/>
              </p:nvSpPr>
              <p:spPr bwMode="auto">
                <a:xfrm>
                  <a:off x="980440" y="1979613"/>
                  <a:ext cx="12700" cy="10160"/>
                </a:xfrm>
                <a:custGeom>
                  <a:avLst/>
                  <a:gdLst/>
                  <a:ahLst/>
                  <a:cxnLst>
                    <a:cxn ang="0">
                      <a:pos x="16" y="0"/>
                    </a:cxn>
                    <a:cxn ang="0">
                      <a:pos x="16" y="0"/>
                    </a:cxn>
                    <a:cxn ang="0">
                      <a:pos x="8" y="0"/>
                    </a:cxn>
                    <a:cxn ang="0">
                      <a:pos x="6" y="2"/>
                    </a:cxn>
                    <a:cxn ang="0">
                      <a:pos x="8" y="2"/>
                    </a:cxn>
                    <a:cxn ang="0">
                      <a:pos x="8" y="2"/>
                    </a:cxn>
                    <a:cxn ang="0">
                      <a:pos x="8" y="4"/>
                    </a:cxn>
                    <a:cxn ang="0">
                      <a:pos x="6" y="6"/>
                    </a:cxn>
                    <a:cxn ang="0">
                      <a:pos x="2" y="6"/>
                    </a:cxn>
                    <a:cxn ang="0">
                      <a:pos x="0" y="8"/>
                    </a:cxn>
                    <a:cxn ang="0">
                      <a:pos x="0" y="8"/>
                    </a:cxn>
                    <a:cxn ang="0">
                      <a:pos x="0" y="12"/>
                    </a:cxn>
                    <a:cxn ang="0">
                      <a:pos x="0" y="14"/>
                    </a:cxn>
                    <a:cxn ang="0">
                      <a:pos x="2" y="16"/>
                    </a:cxn>
                    <a:cxn ang="0">
                      <a:pos x="8" y="12"/>
                    </a:cxn>
                    <a:cxn ang="0">
                      <a:pos x="8" y="12"/>
                    </a:cxn>
                    <a:cxn ang="0">
                      <a:pos x="10" y="10"/>
                    </a:cxn>
                    <a:cxn ang="0">
                      <a:pos x="16" y="10"/>
                    </a:cxn>
                    <a:cxn ang="0">
                      <a:pos x="16" y="10"/>
                    </a:cxn>
                    <a:cxn ang="0">
                      <a:pos x="20" y="8"/>
                    </a:cxn>
                    <a:cxn ang="0">
                      <a:pos x="20" y="6"/>
                    </a:cxn>
                    <a:cxn ang="0">
                      <a:pos x="18" y="2"/>
                    </a:cxn>
                    <a:cxn ang="0">
                      <a:pos x="16" y="0"/>
                    </a:cxn>
                    <a:cxn ang="0">
                      <a:pos x="16" y="0"/>
                    </a:cxn>
                  </a:cxnLst>
                  <a:rect l="0" t="0" r="r" b="b"/>
                  <a:pathLst>
                    <a:path w="20" h="16">
                      <a:moveTo>
                        <a:pt x="16" y="0"/>
                      </a:moveTo>
                      <a:lnTo>
                        <a:pt x="16" y="0"/>
                      </a:lnTo>
                      <a:lnTo>
                        <a:pt x="8" y="0"/>
                      </a:lnTo>
                      <a:lnTo>
                        <a:pt x="6" y="2"/>
                      </a:lnTo>
                      <a:lnTo>
                        <a:pt x="8" y="2"/>
                      </a:lnTo>
                      <a:lnTo>
                        <a:pt x="8" y="2"/>
                      </a:lnTo>
                      <a:lnTo>
                        <a:pt x="8" y="4"/>
                      </a:lnTo>
                      <a:lnTo>
                        <a:pt x="6" y="6"/>
                      </a:lnTo>
                      <a:lnTo>
                        <a:pt x="2" y="6"/>
                      </a:lnTo>
                      <a:lnTo>
                        <a:pt x="0" y="8"/>
                      </a:lnTo>
                      <a:lnTo>
                        <a:pt x="0" y="8"/>
                      </a:lnTo>
                      <a:lnTo>
                        <a:pt x="0" y="12"/>
                      </a:lnTo>
                      <a:lnTo>
                        <a:pt x="0" y="14"/>
                      </a:lnTo>
                      <a:lnTo>
                        <a:pt x="2" y="16"/>
                      </a:lnTo>
                      <a:lnTo>
                        <a:pt x="8" y="12"/>
                      </a:lnTo>
                      <a:lnTo>
                        <a:pt x="8" y="12"/>
                      </a:lnTo>
                      <a:lnTo>
                        <a:pt x="10" y="10"/>
                      </a:lnTo>
                      <a:lnTo>
                        <a:pt x="16" y="10"/>
                      </a:lnTo>
                      <a:lnTo>
                        <a:pt x="16" y="10"/>
                      </a:lnTo>
                      <a:lnTo>
                        <a:pt x="20" y="8"/>
                      </a:lnTo>
                      <a:lnTo>
                        <a:pt x="20" y="6"/>
                      </a:lnTo>
                      <a:lnTo>
                        <a:pt x="18" y="2"/>
                      </a:lnTo>
                      <a:lnTo>
                        <a:pt x="16" y="0"/>
                      </a:lnTo>
                      <a:lnTo>
                        <a:pt x="1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2" name="Freeform 6038"/>
                <p:cNvSpPr>
                  <a:spLocks/>
                </p:cNvSpPr>
                <p:nvPr/>
              </p:nvSpPr>
              <p:spPr bwMode="auto">
                <a:xfrm>
                  <a:off x="963930" y="1947863"/>
                  <a:ext cx="17780" cy="35560"/>
                </a:xfrm>
                <a:custGeom>
                  <a:avLst/>
                  <a:gdLst/>
                  <a:ahLst/>
                  <a:cxnLst>
                    <a:cxn ang="0">
                      <a:pos x="26" y="22"/>
                    </a:cxn>
                    <a:cxn ang="0">
                      <a:pos x="26" y="22"/>
                    </a:cxn>
                    <a:cxn ang="0">
                      <a:pos x="28" y="14"/>
                    </a:cxn>
                    <a:cxn ang="0">
                      <a:pos x="26" y="12"/>
                    </a:cxn>
                    <a:cxn ang="0">
                      <a:pos x="24" y="12"/>
                    </a:cxn>
                    <a:cxn ang="0">
                      <a:pos x="20" y="8"/>
                    </a:cxn>
                    <a:cxn ang="0">
                      <a:pos x="20" y="8"/>
                    </a:cxn>
                    <a:cxn ang="0">
                      <a:pos x="16" y="4"/>
                    </a:cxn>
                    <a:cxn ang="0">
                      <a:pos x="14" y="2"/>
                    </a:cxn>
                    <a:cxn ang="0">
                      <a:pos x="10" y="0"/>
                    </a:cxn>
                    <a:cxn ang="0">
                      <a:pos x="6" y="2"/>
                    </a:cxn>
                    <a:cxn ang="0">
                      <a:pos x="6" y="2"/>
                    </a:cxn>
                    <a:cxn ang="0">
                      <a:pos x="0" y="6"/>
                    </a:cxn>
                    <a:cxn ang="0">
                      <a:pos x="0" y="10"/>
                    </a:cxn>
                    <a:cxn ang="0">
                      <a:pos x="0" y="14"/>
                    </a:cxn>
                    <a:cxn ang="0">
                      <a:pos x="4" y="18"/>
                    </a:cxn>
                    <a:cxn ang="0">
                      <a:pos x="4" y="18"/>
                    </a:cxn>
                    <a:cxn ang="0">
                      <a:pos x="14" y="30"/>
                    </a:cxn>
                    <a:cxn ang="0">
                      <a:pos x="14" y="34"/>
                    </a:cxn>
                    <a:cxn ang="0">
                      <a:pos x="14" y="34"/>
                    </a:cxn>
                    <a:cxn ang="0">
                      <a:pos x="12" y="34"/>
                    </a:cxn>
                    <a:cxn ang="0">
                      <a:pos x="12" y="34"/>
                    </a:cxn>
                    <a:cxn ang="0">
                      <a:pos x="8" y="34"/>
                    </a:cxn>
                    <a:cxn ang="0">
                      <a:pos x="6" y="38"/>
                    </a:cxn>
                    <a:cxn ang="0">
                      <a:pos x="4" y="44"/>
                    </a:cxn>
                    <a:cxn ang="0">
                      <a:pos x="8" y="54"/>
                    </a:cxn>
                    <a:cxn ang="0">
                      <a:pos x="8" y="54"/>
                    </a:cxn>
                    <a:cxn ang="0">
                      <a:pos x="10" y="56"/>
                    </a:cxn>
                    <a:cxn ang="0">
                      <a:pos x="10" y="56"/>
                    </a:cxn>
                    <a:cxn ang="0">
                      <a:pos x="12" y="52"/>
                    </a:cxn>
                    <a:cxn ang="0">
                      <a:pos x="14" y="48"/>
                    </a:cxn>
                    <a:cxn ang="0">
                      <a:pos x="14" y="48"/>
                    </a:cxn>
                    <a:cxn ang="0">
                      <a:pos x="16" y="50"/>
                    </a:cxn>
                    <a:cxn ang="0">
                      <a:pos x="16" y="50"/>
                    </a:cxn>
                    <a:cxn ang="0">
                      <a:pos x="18" y="54"/>
                    </a:cxn>
                    <a:cxn ang="0">
                      <a:pos x="18" y="54"/>
                    </a:cxn>
                    <a:cxn ang="0">
                      <a:pos x="22" y="48"/>
                    </a:cxn>
                    <a:cxn ang="0">
                      <a:pos x="22" y="48"/>
                    </a:cxn>
                    <a:cxn ang="0">
                      <a:pos x="22" y="42"/>
                    </a:cxn>
                    <a:cxn ang="0">
                      <a:pos x="22" y="38"/>
                    </a:cxn>
                    <a:cxn ang="0">
                      <a:pos x="24" y="32"/>
                    </a:cxn>
                    <a:cxn ang="0">
                      <a:pos x="26" y="22"/>
                    </a:cxn>
                    <a:cxn ang="0">
                      <a:pos x="26" y="22"/>
                    </a:cxn>
                  </a:cxnLst>
                  <a:rect l="0" t="0" r="r" b="b"/>
                  <a:pathLst>
                    <a:path w="28" h="56">
                      <a:moveTo>
                        <a:pt x="26" y="22"/>
                      </a:moveTo>
                      <a:lnTo>
                        <a:pt x="26" y="22"/>
                      </a:lnTo>
                      <a:lnTo>
                        <a:pt x="28" y="14"/>
                      </a:lnTo>
                      <a:lnTo>
                        <a:pt x="26" y="12"/>
                      </a:lnTo>
                      <a:lnTo>
                        <a:pt x="24" y="12"/>
                      </a:lnTo>
                      <a:lnTo>
                        <a:pt x="20" y="8"/>
                      </a:lnTo>
                      <a:lnTo>
                        <a:pt x="20" y="8"/>
                      </a:lnTo>
                      <a:lnTo>
                        <a:pt x="16" y="4"/>
                      </a:lnTo>
                      <a:lnTo>
                        <a:pt x="14" y="2"/>
                      </a:lnTo>
                      <a:lnTo>
                        <a:pt x="10" y="0"/>
                      </a:lnTo>
                      <a:lnTo>
                        <a:pt x="6" y="2"/>
                      </a:lnTo>
                      <a:lnTo>
                        <a:pt x="6" y="2"/>
                      </a:lnTo>
                      <a:lnTo>
                        <a:pt x="0" y="6"/>
                      </a:lnTo>
                      <a:lnTo>
                        <a:pt x="0" y="10"/>
                      </a:lnTo>
                      <a:lnTo>
                        <a:pt x="0" y="14"/>
                      </a:lnTo>
                      <a:lnTo>
                        <a:pt x="4" y="18"/>
                      </a:lnTo>
                      <a:lnTo>
                        <a:pt x="4" y="18"/>
                      </a:lnTo>
                      <a:lnTo>
                        <a:pt x="14" y="30"/>
                      </a:lnTo>
                      <a:lnTo>
                        <a:pt x="14" y="34"/>
                      </a:lnTo>
                      <a:lnTo>
                        <a:pt x="14" y="34"/>
                      </a:lnTo>
                      <a:lnTo>
                        <a:pt x="12" y="34"/>
                      </a:lnTo>
                      <a:lnTo>
                        <a:pt x="12" y="34"/>
                      </a:lnTo>
                      <a:lnTo>
                        <a:pt x="8" y="34"/>
                      </a:lnTo>
                      <a:lnTo>
                        <a:pt x="6" y="38"/>
                      </a:lnTo>
                      <a:lnTo>
                        <a:pt x="4" y="44"/>
                      </a:lnTo>
                      <a:lnTo>
                        <a:pt x="8" y="54"/>
                      </a:lnTo>
                      <a:lnTo>
                        <a:pt x="8" y="54"/>
                      </a:lnTo>
                      <a:lnTo>
                        <a:pt x="10" y="56"/>
                      </a:lnTo>
                      <a:lnTo>
                        <a:pt x="10" y="56"/>
                      </a:lnTo>
                      <a:lnTo>
                        <a:pt x="12" y="52"/>
                      </a:lnTo>
                      <a:lnTo>
                        <a:pt x="14" y="48"/>
                      </a:lnTo>
                      <a:lnTo>
                        <a:pt x="14" y="48"/>
                      </a:lnTo>
                      <a:lnTo>
                        <a:pt x="16" y="50"/>
                      </a:lnTo>
                      <a:lnTo>
                        <a:pt x="16" y="50"/>
                      </a:lnTo>
                      <a:lnTo>
                        <a:pt x="18" y="54"/>
                      </a:lnTo>
                      <a:lnTo>
                        <a:pt x="18" y="54"/>
                      </a:lnTo>
                      <a:lnTo>
                        <a:pt x="22" y="48"/>
                      </a:lnTo>
                      <a:lnTo>
                        <a:pt x="22" y="48"/>
                      </a:lnTo>
                      <a:lnTo>
                        <a:pt x="22" y="42"/>
                      </a:lnTo>
                      <a:lnTo>
                        <a:pt x="22" y="38"/>
                      </a:lnTo>
                      <a:lnTo>
                        <a:pt x="24" y="32"/>
                      </a:lnTo>
                      <a:lnTo>
                        <a:pt x="26" y="22"/>
                      </a:lnTo>
                      <a:lnTo>
                        <a:pt x="26" y="2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3" name="Freeform 6039"/>
                <p:cNvSpPr>
                  <a:spLocks/>
                </p:cNvSpPr>
                <p:nvPr/>
              </p:nvSpPr>
              <p:spPr bwMode="auto">
                <a:xfrm>
                  <a:off x="909320" y="1894523"/>
                  <a:ext cx="44450" cy="33020"/>
                </a:xfrm>
                <a:custGeom>
                  <a:avLst/>
                  <a:gdLst/>
                  <a:ahLst/>
                  <a:cxnLst>
                    <a:cxn ang="0">
                      <a:pos x="36" y="40"/>
                    </a:cxn>
                    <a:cxn ang="0">
                      <a:pos x="36" y="40"/>
                    </a:cxn>
                    <a:cxn ang="0">
                      <a:pos x="34" y="34"/>
                    </a:cxn>
                    <a:cxn ang="0">
                      <a:pos x="36" y="32"/>
                    </a:cxn>
                    <a:cxn ang="0">
                      <a:pos x="40" y="34"/>
                    </a:cxn>
                    <a:cxn ang="0">
                      <a:pos x="50" y="40"/>
                    </a:cxn>
                    <a:cxn ang="0">
                      <a:pos x="50" y="40"/>
                    </a:cxn>
                    <a:cxn ang="0">
                      <a:pos x="60" y="48"/>
                    </a:cxn>
                    <a:cxn ang="0">
                      <a:pos x="66" y="48"/>
                    </a:cxn>
                    <a:cxn ang="0">
                      <a:pos x="68" y="48"/>
                    </a:cxn>
                    <a:cxn ang="0">
                      <a:pos x="70" y="46"/>
                    </a:cxn>
                    <a:cxn ang="0">
                      <a:pos x="68" y="40"/>
                    </a:cxn>
                    <a:cxn ang="0">
                      <a:pos x="68" y="40"/>
                    </a:cxn>
                    <a:cxn ang="0">
                      <a:pos x="64" y="30"/>
                    </a:cxn>
                    <a:cxn ang="0">
                      <a:pos x="64" y="26"/>
                    </a:cxn>
                    <a:cxn ang="0">
                      <a:pos x="64" y="22"/>
                    </a:cxn>
                    <a:cxn ang="0">
                      <a:pos x="64" y="22"/>
                    </a:cxn>
                    <a:cxn ang="0">
                      <a:pos x="64" y="18"/>
                    </a:cxn>
                    <a:cxn ang="0">
                      <a:pos x="64" y="16"/>
                    </a:cxn>
                    <a:cxn ang="0">
                      <a:pos x="56" y="10"/>
                    </a:cxn>
                    <a:cxn ang="0">
                      <a:pos x="38" y="0"/>
                    </a:cxn>
                    <a:cxn ang="0">
                      <a:pos x="38" y="0"/>
                    </a:cxn>
                    <a:cxn ang="0">
                      <a:pos x="30" y="0"/>
                    </a:cxn>
                    <a:cxn ang="0">
                      <a:pos x="24" y="0"/>
                    </a:cxn>
                    <a:cxn ang="0">
                      <a:pos x="18" y="2"/>
                    </a:cxn>
                    <a:cxn ang="0">
                      <a:pos x="14" y="4"/>
                    </a:cxn>
                    <a:cxn ang="0">
                      <a:pos x="14" y="4"/>
                    </a:cxn>
                    <a:cxn ang="0">
                      <a:pos x="10" y="2"/>
                    </a:cxn>
                    <a:cxn ang="0">
                      <a:pos x="8" y="4"/>
                    </a:cxn>
                    <a:cxn ang="0">
                      <a:pos x="4" y="12"/>
                    </a:cxn>
                    <a:cxn ang="0">
                      <a:pos x="4" y="12"/>
                    </a:cxn>
                    <a:cxn ang="0">
                      <a:pos x="0" y="16"/>
                    </a:cxn>
                    <a:cxn ang="0">
                      <a:pos x="2" y="20"/>
                    </a:cxn>
                    <a:cxn ang="0">
                      <a:pos x="4" y="24"/>
                    </a:cxn>
                    <a:cxn ang="0">
                      <a:pos x="10" y="28"/>
                    </a:cxn>
                    <a:cxn ang="0">
                      <a:pos x="10" y="28"/>
                    </a:cxn>
                    <a:cxn ang="0">
                      <a:pos x="14" y="30"/>
                    </a:cxn>
                    <a:cxn ang="0">
                      <a:pos x="14" y="32"/>
                    </a:cxn>
                    <a:cxn ang="0">
                      <a:pos x="14" y="36"/>
                    </a:cxn>
                    <a:cxn ang="0">
                      <a:pos x="16" y="42"/>
                    </a:cxn>
                    <a:cxn ang="0">
                      <a:pos x="18" y="46"/>
                    </a:cxn>
                    <a:cxn ang="0">
                      <a:pos x="24" y="52"/>
                    </a:cxn>
                    <a:cxn ang="0">
                      <a:pos x="24" y="52"/>
                    </a:cxn>
                    <a:cxn ang="0">
                      <a:pos x="28" y="52"/>
                    </a:cxn>
                    <a:cxn ang="0">
                      <a:pos x="34" y="50"/>
                    </a:cxn>
                    <a:cxn ang="0">
                      <a:pos x="38" y="46"/>
                    </a:cxn>
                    <a:cxn ang="0">
                      <a:pos x="38" y="42"/>
                    </a:cxn>
                    <a:cxn ang="0">
                      <a:pos x="36" y="40"/>
                    </a:cxn>
                    <a:cxn ang="0">
                      <a:pos x="36" y="40"/>
                    </a:cxn>
                  </a:cxnLst>
                  <a:rect l="0" t="0" r="r" b="b"/>
                  <a:pathLst>
                    <a:path w="70" h="52">
                      <a:moveTo>
                        <a:pt x="36" y="40"/>
                      </a:moveTo>
                      <a:lnTo>
                        <a:pt x="36" y="40"/>
                      </a:lnTo>
                      <a:lnTo>
                        <a:pt x="34" y="34"/>
                      </a:lnTo>
                      <a:lnTo>
                        <a:pt x="36" y="32"/>
                      </a:lnTo>
                      <a:lnTo>
                        <a:pt x="40" y="34"/>
                      </a:lnTo>
                      <a:lnTo>
                        <a:pt x="50" y="40"/>
                      </a:lnTo>
                      <a:lnTo>
                        <a:pt x="50" y="40"/>
                      </a:lnTo>
                      <a:lnTo>
                        <a:pt x="60" y="48"/>
                      </a:lnTo>
                      <a:lnTo>
                        <a:pt x="66" y="48"/>
                      </a:lnTo>
                      <a:lnTo>
                        <a:pt x="68" y="48"/>
                      </a:lnTo>
                      <a:lnTo>
                        <a:pt x="70" y="46"/>
                      </a:lnTo>
                      <a:lnTo>
                        <a:pt x="68" y="40"/>
                      </a:lnTo>
                      <a:lnTo>
                        <a:pt x="68" y="40"/>
                      </a:lnTo>
                      <a:lnTo>
                        <a:pt x="64" y="30"/>
                      </a:lnTo>
                      <a:lnTo>
                        <a:pt x="64" y="26"/>
                      </a:lnTo>
                      <a:lnTo>
                        <a:pt x="64" y="22"/>
                      </a:lnTo>
                      <a:lnTo>
                        <a:pt x="64" y="22"/>
                      </a:lnTo>
                      <a:lnTo>
                        <a:pt x="64" y="18"/>
                      </a:lnTo>
                      <a:lnTo>
                        <a:pt x="64" y="16"/>
                      </a:lnTo>
                      <a:lnTo>
                        <a:pt x="56" y="10"/>
                      </a:lnTo>
                      <a:lnTo>
                        <a:pt x="38" y="0"/>
                      </a:lnTo>
                      <a:lnTo>
                        <a:pt x="38" y="0"/>
                      </a:lnTo>
                      <a:lnTo>
                        <a:pt x="30" y="0"/>
                      </a:lnTo>
                      <a:lnTo>
                        <a:pt x="24" y="0"/>
                      </a:lnTo>
                      <a:lnTo>
                        <a:pt x="18" y="2"/>
                      </a:lnTo>
                      <a:lnTo>
                        <a:pt x="14" y="4"/>
                      </a:lnTo>
                      <a:lnTo>
                        <a:pt x="14" y="4"/>
                      </a:lnTo>
                      <a:lnTo>
                        <a:pt x="10" y="2"/>
                      </a:lnTo>
                      <a:lnTo>
                        <a:pt x="8" y="4"/>
                      </a:lnTo>
                      <a:lnTo>
                        <a:pt x="4" y="12"/>
                      </a:lnTo>
                      <a:lnTo>
                        <a:pt x="4" y="12"/>
                      </a:lnTo>
                      <a:lnTo>
                        <a:pt x="0" y="16"/>
                      </a:lnTo>
                      <a:lnTo>
                        <a:pt x="2" y="20"/>
                      </a:lnTo>
                      <a:lnTo>
                        <a:pt x="4" y="24"/>
                      </a:lnTo>
                      <a:lnTo>
                        <a:pt x="10" y="28"/>
                      </a:lnTo>
                      <a:lnTo>
                        <a:pt x="10" y="28"/>
                      </a:lnTo>
                      <a:lnTo>
                        <a:pt x="14" y="30"/>
                      </a:lnTo>
                      <a:lnTo>
                        <a:pt x="14" y="32"/>
                      </a:lnTo>
                      <a:lnTo>
                        <a:pt x="14" y="36"/>
                      </a:lnTo>
                      <a:lnTo>
                        <a:pt x="16" y="42"/>
                      </a:lnTo>
                      <a:lnTo>
                        <a:pt x="18" y="46"/>
                      </a:lnTo>
                      <a:lnTo>
                        <a:pt x="24" y="52"/>
                      </a:lnTo>
                      <a:lnTo>
                        <a:pt x="24" y="52"/>
                      </a:lnTo>
                      <a:lnTo>
                        <a:pt x="28" y="52"/>
                      </a:lnTo>
                      <a:lnTo>
                        <a:pt x="34" y="50"/>
                      </a:lnTo>
                      <a:lnTo>
                        <a:pt x="38" y="46"/>
                      </a:lnTo>
                      <a:lnTo>
                        <a:pt x="38" y="42"/>
                      </a:lnTo>
                      <a:lnTo>
                        <a:pt x="36" y="40"/>
                      </a:lnTo>
                      <a:lnTo>
                        <a:pt x="36" y="4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4" name="Freeform 6040"/>
                <p:cNvSpPr>
                  <a:spLocks/>
                </p:cNvSpPr>
                <p:nvPr/>
              </p:nvSpPr>
              <p:spPr bwMode="auto">
                <a:xfrm>
                  <a:off x="482600" y="1886903"/>
                  <a:ext cx="30480" cy="19050"/>
                </a:xfrm>
                <a:custGeom>
                  <a:avLst/>
                  <a:gdLst/>
                  <a:ahLst/>
                  <a:cxnLst>
                    <a:cxn ang="0">
                      <a:pos x="28" y="6"/>
                    </a:cxn>
                    <a:cxn ang="0">
                      <a:pos x="28" y="6"/>
                    </a:cxn>
                    <a:cxn ang="0">
                      <a:pos x="24" y="2"/>
                    </a:cxn>
                    <a:cxn ang="0">
                      <a:pos x="20" y="0"/>
                    </a:cxn>
                    <a:cxn ang="0">
                      <a:pos x="16" y="0"/>
                    </a:cxn>
                    <a:cxn ang="0">
                      <a:pos x="16" y="6"/>
                    </a:cxn>
                    <a:cxn ang="0">
                      <a:pos x="16" y="6"/>
                    </a:cxn>
                    <a:cxn ang="0">
                      <a:pos x="16" y="10"/>
                    </a:cxn>
                    <a:cxn ang="0">
                      <a:pos x="14" y="12"/>
                    </a:cxn>
                    <a:cxn ang="0">
                      <a:pos x="10" y="10"/>
                    </a:cxn>
                    <a:cxn ang="0">
                      <a:pos x="4" y="12"/>
                    </a:cxn>
                    <a:cxn ang="0">
                      <a:pos x="4" y="12"/>
                    </a:cxn>
                    <a:cxn ang="0">
                      <a:pos x="0" y="16"/>
                    </a:cxn>
                    <a:cxn ang="0">
                      <a:pos x="0" y="22"/>
                    </a:cxn>
                    <a:cxn ang="0">
                      <a:pos x="2" y="26"/>
                    </a:cxn>
                    <a:cxn ang="0">
                      <a:pos x="8" y="28"/>
                    </a:cxn>
                    <a:cxn ang="0">
                      <a:pos x="8" y="28"/>
                    </a:cxn>
                    <a:cxn ang="0">
                      <a:pos x="14" y="30"/>
                    </a:cxn>
                    <a:cxn ang="0">
                      <a:pos x="18" y="28"/>
                    </a:cxn>
                    <a:cxn ang="0">
                      <a:pos x="20" y="26"/>
                    </a:cxn>
                    <a:cxn ang="0">
                      <a:pos x="20" y="26"/>
                    </a:cxn>
                    <a:cxn ang="0">
                      <a:pos x="24" y="22"/>
                    </a:cxn>
                    <a:cxn ang="0">
                      <a:pos x="28" y="20"/>
                    </a:cxn>
                    <a:cxn ang="0">
                      <a:pos x="38" y="18"/>
                    </a:cxn>
                    <a:cxn ang="0">
                      <a:pos x="38" y="18"/>
                    </a:cxn>
                    <a:cxn ang="0">
                      <a:pos x="44" y="16"/>
                    </a:cxn>
                    <a:cxn ang="0">
                      <a:pos x="48" y="14"/>
                    </a:cxn>
                    <a:cxn ang="0">
                      <a:pos x="48" y="12"/>
                    </a:cxn>
                    <a:cxn ang="0">
                      <a:pos x="44" y="6"/>
                    </a:cxn>
                    <a:cxn ang="0">
                      <a:pos x="44" y="6"/>
                    </a:cxn>
                    <a:cxn ang="0">
                      <a:pos x="42" y="4"/>
                    </a:cxn>
                    <a:cxn ang="0">
                      <a:pos x="40" y="2"/>
                    </a:cxn>
                    <a:cxn ang="0">
                      <a:pos x="36" y="4"/>
                    </a:cxn>
                    <a:cxn ang="0">
                      <a:pos x="32" y="6"/>
                    </a:cxn>
                    <a:cxn ang="0">
                      <a:pos x="30" y="8"/>
                    </a:cxn>
                    <a:cxn ang="0">
                      <a:pos x="28" y="6"/>
                    </a:cxn>
                    <a:cxn ang="0">
                      <a:pos x="28" y="6"/>
                    </a:cxn>
                  </a:cxnLst>
                  <a:rect l="0" t="0" r="r" b="b"/>
                  <a:pathLst>
                    <a:path w="48" h="30">
                      <a:moveTo>
                        <a:pt x="28" y="6"/>
                      </a:moveTo>
                      <a:lnTo>
                        <a:pt x="28" y="6"/>
                      </a:lnTo>
                      <a:lnTo>
                        <a:pt x="24" y="2"/>
                      </a:lnTo>
                      <a:lnTo>
                        <a:pt x="20" y="0"/>
                      </a:lnTo>
                      <a:lnTo>
                        <a:pt x="16" y="0"/>
                      </a:lnTo>
                      <a:lnTo>
                        <a:pt x="16" y="6"/>
                      </a:lnTo>
                      <a:lnTo>
                        <a:pt x="16" y="6"/>
                      </a:lnTo>
                      <a:lnTo>
                        <a:pt x="16" y="10"/>
                      </a:lnTo>
                      <a:lnTo>
                        <a:pt x="14" y="12"/>
                      </a:lnTo>
                      <a:lnTo>
                        <a:pt x="10" y="10"/>
                      </a:lnTo>
                      <a:lnTo>
                        <a:pt x="4" y="12"/>
                      </a:lnTo>
                      <a:lnTo>
                        <a:pt x="4" y="12"/>
                      </a:lnTo>
                      <a:lnTo>
                        <a:pt x="0" y="16"/>
                      </a:lnTo>
                      <a:lnTo>
                        <a:pt x="0" y="22"/>
                      </a:lnTo>
                      <a:lnTo>
                        <a:pt x="2" y="26"/>
                      </a:lnTo>
                      <a:lnTo>
                        <a:pt x="8" y="28"/>
                      </a:lnTo>
                      <a:lnTo>
                        <a:pt x="8" y="28"/>
                      </a:lnTo>
                      <a:lnTo>
                        <a:pt x="14" y="30"/>
                      </a:lnTo>
                      <a:lnTo>
                        <a:pt x="18" y="28"/>
                      </a:lnTo>
                      <a:lnTo>
                        <a:pt x="20" y="26"/>
                      </a:lnTo>
                      <a:lnTo>
                        <a:pt x="20" y="26"/>
                      </a:lnTo>
                      <a:lnTo>
                        <a:pt x="24" y="22"/>
                      </a:lnTo>
                      <a:lnTo>
                        <a:pt x="28" y="20"/>
                      </a:lnTo>
                      <a:lnTo>
                        <a:pt x="38" y="18"/>
                      </a:lnTo>
                      <a:lnTo>
                        <a:pt x="38" y="18"/>
                      </a:lnTo>
                      <a:lnTo>
                        <a:pt x="44" y="16"/>
                      </a:lnTo>
                      <a:lnTo>
                        <a:pt x="48" y="14"/>
                      </a:lnTo>
                      <a:lnTo>
                        <a:pt x="48" y="12"/>
                      </a:lnTo>
                      <a:lnTo>
                        <a:pt x="44" y="6"/>
                      </a:lnTo>
                      <a:lnTo>
                        <a:pt x="44" y="6"/>
                      </a:lnTo>
                      <a:lnTo>
                        <a:pt x="42" y="4"/>
                      </a:lnTo>
                      <a:lnTo>
                        <a:pt x="40" y="2"/>
                      </a:lnTo>
                      <a:lnTo>
                        <a:pt x="36" y="4"/>
                      </a:lnTo>
                      <a:lnTo>
                        <a:pt x="32" y="6"/>
                      </a:lnTo>
                      <a:lnTo>
                        <a:pt x="30" y="8"/>
                      </a:lnTo>
                      <a:lnTo>
                        <a:pt x="28" y="6"/>
                      </a:lnTo>
                      <a:lnTo>
                        <a:pt x="28"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5" name="Freeform 6041"/>
                <p:cNvSpPr>
                  <a:spLocks/>
                </p:cNvSpPr>
                <p:nvPr/>
              </p:nvSpPr>
              <p:spPr bwMode="auto">
                <a:xfrm>
                  <a:off x="1062990" y="2026603"/>
                  <a:ext cx="10160" cy="10160"/>
                </a:xfrm>
                <a:custGeom>
                  <a:avLst/>
                  <a:gdLst/>
                  <a:ahLst/>
                  <a:cxnLst>
                    <a:cxn ang="0">
                      <a:pos x="6" y="14"/>
                    </a:cxn>
                    <a:cxn ang="0">
                      <a:pos x="6" y="14"/>
                    </a:cxn>
                    <a:cxn ang="0">
                      <a:pos x="12" y="8"/>
                    </a:cxn>
                    <a:cxn ang="0">
                      <a:pos x="16" y="2"/>
                    </a:cxn>
                    <a:cxn ang="0">
                      <a:pos x="16" y="2"/>
                    </a:cxn>
                    <a:cxn ang="0">
                      <a:pos x="16" y="0"/>
                    </a:cxn>
                    <a:cxn ang="0">
                      <a:pos x="16" y="0"/>
                    </a:cxn>
                    <a:cxn ang="0">
                      <a:pos x="10" y="4"/>
                    </a:cxn>
                    <a:cxn ang="0">
                      <a:pos x="10" y="4"/>
                    </a:cxn>
                    <a:cxn ang="0">
                      <a:pos x="2" y="10"/>
                    </a:cxn>
                    <a:cxn ang="0">
                      <a:pos x="0" y="14"/>
                    </a:cxn>
                    <a:cxn ang="0">
                      <a:pos x="0" y="16"/>
                    </a:cxn>
                    <a:cxn ang="0">
                      <a:pos x="0" y="16"/>
                    </a:cxn>
                    <a:cxn ang="0">
                      <a:pos x="4" y="16"/>
                    </a:cxn>
                    <a:cxn ang="0">
                      <a:pos x="6" y="14"/>
                    </a:cxn>
                    <a:cxn ang="0">
                      <a:pos x="6" y="14"/>
                    </a:cxn>
                  </a:cxnLst>
                  <a:rect l="0" t="0" r="r" b="b"/>
                  <a:pathLst>
                    <a:path w="16" h="16">
                      <a:moveTo>
                        <a:pt x="6" y="14"/>
                      </a:moveTo>
                      <a:lnTo>
                        <a:pt x="6" y="14"/>
                      </a:lnTo>
                      <a:lnTo>
                        <a:pt x="12" y="8"/>
                      </a:lnTo>
                      <a:lnTo>
                        <a:pt x="16" y="2"/>
                      </a:lnTo>
                      <a:lnTo>
                        <a:pt x="16" y="2"/>
                      </a:lnTo>
                      <a:lnTo>
                        <a:pt x="16" y="0"/>
                      </a:lnTo>
                      <a:lnTo>
                        <a:pt x="16" y="0"/>
                      </a:lnTo>
                      <a:lnTo>
                        <a:pt x="10" y="4"/>
                      </a:lnTo>
                      <a:lnTo>
                        <a:pt x="10" y="4"/>
                      </a:lnTo>
                      <a:lnTo>
                        <a:pt x="2" y="10"/>
                      </a:lnTo>
                      <a:lnTo>
                        <a:pt x="0" y="14"/>
                      </a:lnTo>
                      <a:lnTo>
                        <a:pt x="0" y="16"/>
                      </a:lnTo>
                      <a:lnTo>
                        <a:pt x="0" y="16"/>
                      </a:lnTo>
                      <a:lnTo>
                        <a:pt x="4" y="16"/>
                      </a:lnTo>
                      <a:lnTo>
                        <a:pt x="6" y="14"/>
                      </a:lnTo>
                      <a:lnTo>
                        <a:pt x="6" y="1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6" name="Freeform 6042"/>
                <p:cNvSpPr>
                  <a:spLocks/>
                </p:cNvSpPr>
                <p:nvPr/>
              </p:nvSpPr>
              <p:spPr bwMode="auto">
                <a:xfrm>
                  <a:off x="996950" y="2055813"/>
                  <a:ext cx="36830" cy="40640"/>
                </a:xfrm>
                <a:custGeom>
                  <a:avLst/>
                  <a:gdLst/>
                  <a:ahLst/>
                  <a:cxnLst>
                    <a:cxn ang="0">
                      <a:pos x="44" y="58"/>
                    </a:cxn>
                    <a:cxn ang="0">
                      <a:pos x="50" y="54"/>
                    </a:cxn>
                    <a:cxn ang="0">
                      <a:pos x="50" y="32"/>
                    </a:cxn>
                    <a:cxn ang="0">
                      <a:pos x="52" y="24"/>
                    </a:cxn>
                    <a:cxn ang="0">
                      <a:pos x="58" y="8"/>
                    </a:cxn>
                    <a:cxn ang="0">
                      <a:pos x="56" y="4"/>
                    </a:cxn>
                    <a:cxn ang="0">
                      <a:pos x="56" y="6"/>
                    </a:cxn>
                    <a:cxn ang="0">
                      <a:pos x="44" y="10"/>
                    </a:cxn>
                    <a:cxn ang="0">
                      <a:pos x="40" y="10"/>
                    </a:cxn>
                    <a:cxn ang="0">
                      <a:pos x="42" y="14"/>
                    </a:cxn>
                    <a:cxn ang="0">
                      <a:pos x="42" y="24"/>
                    </a:cxn>
                    <a:cxn ang="0">
                      <a:pos x="32" y="34"/>
                    </a:cxn>
                    <a:cxn ang="0">
                      <a:pos x="24" y="34"/>
                    </a:cxn>
                    <a:cxn ang="0">
                      <a:pos x="20" y="32"/>
                    </a:cxn>
                    <a:cxn ang="0">
                      <a:pos x="26" y="28"/>
                    </a:cxn>
                    <a:cxn ang="0">
                      <a:pos x="32" y="26"/>
                    </a:cxn>
                    <a:cxn ang="0">
                      <a:pos x="38" y="16"/>
                    </a:cxn>
                    <a:cxn ang="0">
                      <a:pos x="34" y="10"/>
                    </a:cxn>
                    <a:cxn ang="0">
                      <a:pos x="28" y="6"/>
                    </a:cxn>
                    <a:cxn ang="0">
                      <a:pos x="24" y="6"/>
                    </a:cxn>
                    <a:cxn ang="0">
                      <a:pos x="20" y="4"/>
                    </a:cxn>
                    <a:cxn ang="0">
                      <a:pos x="14" y="4"/>
                    </a:cxn>
                    <a:cxn ang="0">
                      <a:pos x="12" y="4"/>
                    </a:cxn>
                    <a:cxn ang="0">
                      <a:pos x="4" y="0"/>
                    </a:cxn>
                    <a:cxn ang="0">
                      <a:pos x="2" y="6"/>
                    </a:cxn>
                    <a:cxn ang="0">
                      <a:pos x="2" y="12"/>
                    </a:cxn>
                    <a:cxn ang="0">
                      <a:pos x="0" y="20"/>
                    </a:cxn>
                    <a:cxn ang="0">
                      <a:pos x="4" y="28"/>
                    </a:cxn>
                    <a:cxn ang="0">
                      <a:pos x="6" y="36"/>
                    </a:cxn>
                    <a:cxn ang="0">
                      <a:pos x="8" y="42"/>
                    </a:cxn>
                    <a:cxn ang="0">
                      <a:pos x="10" y="46"/>
                    </a:cxn>
                    <a:cxn ang="0">
                      <a:pos x="16" y="44"/>
                    </a:cxn>
                    <a:cxn ang="0">
                      <a:pos x="24" y="48"/>
                    </a:cxn>
                    <a:cxn ang="0">
                      <a:pos x="22" y="52"/>
                    </a:cxn>
                    <a:cxn ang="0">
                      <a:pos x="18" y="50"/>
                    </a:cxn>
                    <a:cxn ang="0">
                      <a:pos x="16" y="54"/>
                    </a:cxn>
                    <a:cxn ang="0">
                      <a:pos x="20" y="56"/>
                    </a:cxn>
                    <a:cxn ang="0">
                      <a:pos x="24" y="62"/>
                    </a:cxn>
                    <a:cxn ang="0">
                      <a:pos x="30" y="64"/>
                    </a:cxn>
                    <a:cxn ang="0">
                      <a:pos x="36" y="64"/>
                    </a:cxn>
                    <a:cxn ang="0">
                      <a:pos x="40" y="60"/>
                    </a:cxn>
                    <a:cxn ang="0">
                      <a:pos x="44" y="58"/>
                    </a:cxn>
                  </a:cxnLst>
                  <a:rect l="0" t="0" r="r" b="b"/>
                  <a:pathLst>
                    <a:path w="58" h="64">
                      <a:moveTo>
                        <a:pt x="44" y="58"/>
                      </a:moveTo>
                      <a:lnTo>
                        <a:pt x="44" y="58"/>
                      </a:lnTo>
                      <a:lnTo>
                        <a:pt x="48" y="56"/>
                      </a:lnTo>
                      <a:lnTo>
                        <a:pt x="50" y="54"/>
                      </a:lnTo>
                      <a:lnTo>
                        <a:pt x="50" y="44"/>
                      </a:lnTo>
                      <a:lnTo>
                        <a:pt x="50" y="32"/>
                      </a:lnTo>
                      <a:lnTo>
                        <a:pt x="50" y="28"/>
                      </a:lnTo>
                      <a:lnTo>
                        <a:pt x="52" y="24"/>
                      </a:lnTo>
                      <a:lnTo>
                        <a:pt x="52" y="24"/>
                      </a:lnTo>
                      <a:lnTo>
                        <a:pt x="58" y="8"/>
                      </a:lnTo>
                      <a:lnTo>
                        <a:pt x="58" y="4"/>
                      </a:lnTo>
                      <a:lnTo>
                        <a:pt x="56" y="4"/>
                      </a:lnTo>
                      <a:lnTo>
                        <a:pt x="56" y="6"/>
                      </a:lnTo>
                      <a:lnTo>
                        <a:pt x="56" y="6"/>
                      </a:lnTo>
                      <a:lnTo>
                        <a:pt x="50" y="8"/>
                      </a:lnTo>
                      <a:lnTo>
                        <a:pt x="44" y="10"/>
                      </a:lnTo>
                      <a:lnTo>
                        <a:pt x="40" y="10"/>
                      </a:lnTo>
                      <a:lnTo>
                        <a:pt x="40" y="10"/>
                      </a:lnTo>
                      <a:lnTo>
                        <a:pt x="42" y="14"/>
                      </a:lnTo>
                      <a:lnTo>
                        <a:pt x="42" y="14"/>
                      </a:lnTo>
                      <a:lnTo>
                        <a:pt x="44" y="20"/>
                      </a:lnTo>
                      <a:lnTo>
                        <a:pt x="42" y="24"/>
                      </a:lnTo>
                      <a:lnTo>
                        <a:pt x="40" y="30"/>
                      </a:lnTo>
                      <a:lnTo>
                        <a:pt x="32" y="34"/>
                      </a:lnTo>
                      <a:lnTo>
                        <a:pt x="32" y="34"/>
                      </a:lnTo>
                      <a:lnTo>
                        <a:pt x="24" y="34"/>
                      </a:lnTo>
                      <a:lnTo>
                        <a:pt x="20" y="34"/>
                      </a:lnTo>
                      <a:lnTo>
                        <a:pt x="20" y="32"/>
                      </a:lnTo>
                      <a:lnTo>
                        <a:pt x="20" y="32"/>
                      </a:lnTo>
                      <a:lnTo>
                        <a:pt x="26" y="28"/>
                      </a:lnTo>
                      <a:lnTo>
                        <a:pt x="26" y="28"/>
                      </a:lnTo>
                      <a:lnTo>
                        <a:pt x="32" y="26"/>
                      </a:lnTo>
                      <a:lnTo>
                        <a:pt x="38" y="22"/>
                      </a:lnTo>
                      <a:lnTo>
                        <a:pt x="38" y="16"/>
                      </a:lnTo>
                      <a:lnTo>
                        <a:pt x="34" y="10"/>
                      </a:lnTo>
                      <a:lnTo>
                        <a:pt x="34" y="10"/>
                      </a:lnTo>
                      <a:lnTo>
                        <a:pt x="30" y="6"/>
                      </a:lnTo>
                      <a:lnTo>
                        <a:pt x="28" y="6"/>
                      </a:lnTo>
                      <a:lnTo>
                        <a:pt x="26" y="6"/>
                      </a:lnTo>
                      <a:lnTo>
                        <a:pt x="24" y="6"/>
                      </a:lnTo>
                      <a:lnTo>
                        <a:pt x="24" y="6"/>
                      </a:lnTo>
                      <a:lnTo>
                        <a:pt x="20" y="4"/>
                      </a:lnTo>
                      <a:lnTo>
                        <a:pt x="18" y="4"/>
                      </a:lnTo>
                      <a:lnTo>
                        <a:pt x="14" y="4"/>
                      </a:lnTo>
                      <a:lnTo>
                        <a:pt x="12" y="4"/>
                      </a:lnTo>
                      <a:lnTo>
                        <a:pt x="12" y="4"/>
                      </a:lnTo>
                      <a:lnTo>
                        <a:pt x="8" y="0"/>
                      </a:lnTo>
                      <a:lnTo>
                        <a:pt x="4" y="0"/>
                      </a:lnTo>
                      <a:lnTo>
                        <a:pt x="2" y="2"/>
                      </a:lnTo>
                      <a:lnTo>
                        <a:pt x="2" y="6"/>
                      </a:lnTo>
                      <a:lnTo>
                        <a:pt x="2" y="6"/>
                      </a:lnTo>
                      <a:lnTo>
                        <a:pt x="2" y="12"/>
                      </a:lnTo>
                      <a:lnTo>
                        <a:pt x="2" y="16"/>
                      </a:lnTo>
                      <a:lnTo>
                        <a:pt x="0" y="20"/>
                      </a:lnTo>
                      <a:lnTo>
                        <a:pt x="4" y="28"/>
                      </a:lnTo>
                      <a:lnTo>
                        <a:pt x="4" y="28"/>
                      </a:lnTo>
                      <a:lnTo>
                        <a:pt x="8" y="34"/>
                      </a:lnTo>
                      <a:lnTo>
                        <a:pt x="6" y="36"/>
                      </a:lnTo>
                      <a:lnTo>
                        <a:pt x="6" y="38"/>
                      </a:lnTo>
                      <a:lnTo>
                        <a:pt x="8" y="42"/>
                      </a:lnTo>
                      <a:lnTo>
                        <a:pt x="8" y="42"/>
                      </a:lnTo>
                      <a:lnTo>
                        <a:pt x="10" y="46"/>
                      </a:lnTo>
                      <a:lnTo>
                        <a:pt x="16" y="44"/>
                      </a:lnTo>
                      <a:lnTo>
                        <a:pt x="16" y="44"/>
                      </a:lnTo>
                      <a:lnTo>
                        <a:pt x="20" y="46"/>
                      </a:lnTo>
                      <a:lnTo>
                        <a:pt x="24" y="48"/>
                      </a:lnTo>
                      <a:lnTo>
                        <a:pt x="26" y="50"/>
                      </a:lnTo>
                      <a:lnTo>
                        <a:pt x="22" y="52"/>
                      </a:lnTo>
                      <a:lnTo>
                        <a:pt x="22" y="52"/>
                      </a:lnTo>
                      <a:lnTo>
                        <a:pt x="18" y="50"/>
                      </a:lnTo>
                      <a:lnTo>
                        <a:pt x="16" y="52"/>
                      </a:lnTo>
                      <a:lnTo>
                        <a:pt x="16" y="54"/>
                      </a:lnTo>
                      <a:lnTo>
                        <a:pt x="20" y="56"/>
                      </a:lnTo>
                      <a:lnTo>
                        <a:pt x="20" y="56"/>
                      </a:lnTo>
                      <a:lnTo>
                        <a:pt x="22" y="60"/>
                      </a:lnTo>
                      <a:lnTo>
                        <a:pt x="24" y="62"/>
                      </a:lnTo>
                      <a:lnTo>
                        <a:pt x="24" y="62"/>
                      </a:lnTo>
                      <a:lnTo>
                        <a:pt x="30" y="64"/>
                      </a:lnTo>
                      <a:lnTo>
                        <a:pt x="30" y="64"/>
                      </a:lnTo>
                      <a:lnTo>
                        <a:pt x="36" y="64"/>
                      </a:lnTo>
                      <a:lnTo>
                        <a:pt x="38" y="62"/>
                      </a:lnTo>
                      <a:lnTo>
                        <a:pt x="40" y="60"/>
                      </a:lnTo>
                      <a:lnTo>
                        <a:pt x="44" y="58"/>
                      </a:lnTo>
                      <a:lnTo>
                        <a:pt x="44" y="5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7" name="Freeform 6043"/>
                <p:cNvSpPr>
                  <a:spLocks/>
                </p:cNvSpPr>
                <p:nvPr/>
              </p:nvSpPr>
              <p:spPr bwMode="auto">
                <a:xfrm>
                  <a:off x="1118870" y="2185353"/>
                  <a:ext cx="132080" cy="93980"/>
                </a:xfrm>
                <a:custGeom>
                  <a:avLst/>
                  <a:gdLst/>
                  <a:ahLst/>
                  <a:cxnLst>
                    <a:cxn ang="0">
                      <a:pos x="196" y="148"/>
                    </a:cxn>
                    <a:cxn ang="0">
                      <a:pos x="206" y="146"/>
                    </a:cxn>
                    <a:cxn ang="0">
                      <a:pos x="208" y="144"/>
                    </a:cxn>
                    <a:cxn ang="0">
                      <a:pos x="202" y="130"/>
                    </a:cxn>
                    <a:cxn ang="0">
                      <a:pos x="200" y="124"/>
                    </a:cxn>
                    <a:cxn ang="0">
                      <a:pos x="192" y="116"/>
                    </a:cxn>
                    <a:cxn ang="0">
                      <a:pos x="180" y="94"/>
                    </a:cxn>
                    <a:cxn ang="0">
                      <a:pos x="172" y="90"/>
                    </a:cxn>
                    <a:cxn ang="0">
                      <a:pos x="144" y="76"/>
                    </a:cxn>
                    <a:cxn ang="0">
                      <a:pos x="144" y="70"/>
                    </a:cxn>
                    <a:cxn ang="0">
                      <a:pos x="138" y="60"/>
                    </a:cxn>
                    <a:cxn ang="0">
                      <a:pos x="122" y="38"/>
                    </a:cxn>
                    <a:cxn ang="0">
                      <a:pos x="110" y="30"/>
                    </a:cxn>
                    <a:cxn ang="0">
                      <a:pos x="52" y="14"/>
                    </a:cxn>
                    <a:cxn ang="0">
                      <a:pos x="36" y="4"/>
                    </a:cxn>
                    <a:cxn ang="0">
                      <a:pos x="8" y="0"/>
                    </a:cxn>
                    <a:cxn ang="0">
                      <a:pos x="0" y="4"/>
                    </a:cxn>
                    <a:cxn ang="0">
                      <a:pos x="14" y="20"/>
                    </a:cxn>
                    <a:cxn ang="0">
                      <a:pos x="24" y="20"/>
                    </a:cxn>
                    <a:cxn ang="0">
                      <a:pos x="40" y="20"/>
                    </a:cxn>
                    <a:cxn ang="0">
                      <a:pos x="30" y="22"/>
                    </a:cxn>
                    <a:cxn ang="0">
                      <a:pos x="22" y="30"/>
                    </a:cxn>
                    <a:cxn ang="0">
                      <a:pos x="26" y="34"/>
                    </a:cxn>
                    <a:cxn ang="0">
                      <a:pos x="22" y="42"/>
                    </a:cxn>
                    <a:cxn ang="0">
                      <a:pos x="22" y="44"/>
                    </a:cxn>
                    <a:cxn ang="0">
                      <a:pos x="30" y="42"/>
                    </a:cxn>
                    <a:cxn ang="0">
                      <a:pos x="40" y="44"/>
                    </a:cxn>
                    <a:cxn ang="0">
                      <a:pos x="44" y="46"/>
                    </a:cxn>
                    <a:cxn ang="0">
                      <a:pos x="50" y="42"/>
                    </a:cxn>
                    <a:cxn ang="0">
                      <a:pos x="52" y="46"/>
                    </a:cxn>
                    <a:cxn ang="0">
                      <a:pos x="50" y="56"/>
                    </a:cxn>
                    <a:cxn ang="0">
                      <a:pos x="54" y="60"/>
                    </a:cxn>
                    <a:cxn ang="0">
                      <a:pos x="68" y="52"/>
                    </a:cxn>
                    <a:cxn ang="0">
                      <a:pos x="72" y="58"/>
                    </a:cxn>
                    <a:cxn ang="0">
                      <a:pos x="82" y="68"/>
                    </a:cxn>
                    <a:cxn ang="0">
                      <a:pos x="80" y="72"/>
                    </a:cxn>
                    <a:cxn ang="0">
                      <a:pos x="76" y="84"/>
                    </a:cxn>
                    <a:cxn ang="0">
                      <a:pos x="94" y="84"/>
                    </a:cxn>
                    <a:cxn ang="0">
                      <a:pos x="100" y="90"/>
                    </a:cxn>
                    <a:cxn ang="0">
                      <a:pos x="106" y="96"/>
                    </a:cxn>
                    <a:cxn ang="0">
                      <a:pos x="108" y="104"/>
                    </a:cxn>
                    <a:cxn ang="0">
                      <a:pos x="122" y="112"/>
                    </a:cxn>
                    <a:cxn ang="0">
                      <a:pos x="132" y="112"/>
                    </a:cxn>
                    <a:cxn ang="0">
                      <a:pos x="134" y="116"/>
                    </a:cxn>
                    <a:cxn ang="0">
                      <a:pos x="136" y="126"/>
                    </a:cxn>
                    <a:cxn ang="0">
                      <a:pos x="154" y="136"/>
                    </a:cxn>
                    <a:cxn ang="0">
                      <a:pos x="176" y="144"/>
                    </a:cxn>
                  </a:cxnLst>
                  <a:rect l="0" t="0" r="r" b="b"/>
                  <a:pathLst>
                    <a:path w="208" h="148">
                      <a:moveTo>
                        <a:pt x="186" y="148"/>
                      </a:moveTo>
                      <a:lnTo>
                        <a:pt x="186" y="148"/>
                      </a:lnTo>
                      <a:lnTo>
                        <a:pt x="196" y="148"/>
                      </a:lnTo>
                      <a:lnTo>
                        <a:pt x="200" y="148"/>
                      </a:lnTo>
                      <a:lnTo>
                        <a:pt x="202" y="146"/>
                      </a:lnTo>
                      <a:lnTo>
                        <a:pt x="206" y="146"/>
                      </a:lnTo>
                      <a:lnTo>
                        <a:pt x="206" y="146"/>
                      </a:lnTo>
                      <a:lnTo>
                        <a:pt x="208" y="146"/>
                      </a:lnTo>
                      <a:lnTo>
                        <a:pt x="208" y="144"/>
                      </a:lnTo>
                      <a:lnTo>
                        <a:pt x="208" y="140"/>
                      </a:lnTo>
                      <a:lnTo>
                        <a:pt x="206" y="134"/>
                      </a:lnTo>
                      <a:lnTo>
                        <a:pt x="202" y="130"/>
                      </a:lnTo>
                      <a:lnTo>
                        <a:pt x="202" y="130"/>
                      </a:lnTo>
                      <a:lnTo>
                        <a:pt x="200" y="128"/>
                      </a:lnTo>
                      <a:lnTo>
                        <a:pt x="200" y="124"/>
                      </a:lnTo>
                      <a:lnTo>
                        <a:pt x="198" y="120"/>
                      </a:lnTo>
                      <a:lnTo>
                        <a:pt x="192" y="116"/>
                      </a:lnTo>
                      <a:lnTo>
                        <a:pt x="192" y="116"/>
                      </a:lnTo>
                      <a:lnTo>
                        <a:pt x="188" y="110"/>
                      </a:lnTo>
                      <a:lnTo>
                        <a:pt x="184" y="102"/>
                      </a:lnTo>
                      <a:lnTo>
                        <a:pt x="180" y="94"/>
                      </a:lnTo>
                      <a:lnTo>
                        <a:pt x="176" y="92"/>
                      </a:lnTo>
                      <a:lnTo>
                        <a:pt x="172" y="90"/>
                      </a:lnTo>
                      <a:lnTo>
                        <a:pt x="172" y="90"/>
                      </a:lnTo>
                      <a:lnTo>
                        <a:pt x="160" y="86"/>
                      </a:lnTo>
                      <a:lnTo>
                        <a:pt x="150" y="80"/>
                      </a:lnTo>
                      <a:lnTo>
                        <a:pt x="144" y="76"/>
                      </a:lnTo>
                      <a:lnTo>
                        <a:pt x="144" y="72"/>
                      </a:lnTo>
                      <a:lnTo>
                        <a:pt x="144" y="70"/>
                      </a:lnTo>
                      <a:lnTo>
                        <a:pt x="144" y="70"/>
                      </a:lnTo>
                      <a:lnTo>
                        <a:pt x="144" y="68"/>
                      </a:lnTo>
                      <a:lnTo>
                        <a:pt x="144" y="64"/>
                      </a:lnTo>
                      <a:lnTo>
                        <a:pt x="138" y="60"/>
                      </a:lnTo>
                      <a:lnTo>
                        <a:pt x="130" y="52"/>
                      </a:lnTo>
                      <a:lnTo>
                        <a:pt x="126" y="46"/>
                      </a:lnTo>
                      <a:lnTo>
                        <a:pt x="122" y="38"/>
                      </a:lnTo>
                      <a:lnTo>
                        <a:pt x="122" y="38"/>
                      </a:lnTo>
                      <a:lnTo>
                        <a:pt x="118" y="34"/>
                      </a:lnTo>
                      <a:lnTo>
                        <a:pt x="110" y="30"/>
                      </a:lnTo>
                      <a:lnTo>
                        <a:pt x="86" y="22"/>
                      </a:lnTo>
                      <a:lnTo>
                        <a:pt x="62" y="18"/>
                      </a:lnTo>
                      <a:lnTo>
                        <a:pt x="52" y="14"/>
                      </a:lnTo>
                      <a:lnTo>
                        <a:pt x="46" y="10"/>
                      </a:lnTo>
                      <a:lnTo>
                        <a:pt x="46" y="10"/>
                      </a:lnTo>
                      <a:lnTo>
                        <a:pt x="36" y="4"/>
                      </a:lnTo>
                      <a:lnTo>
                        <a:pt x="24" y="0"/>
                      </a:lnTo>
                      <a:lnTo>
                        <a:pt x="12" y="0"/>
                      </a:lnTo>
                      <a:lnTo>
                        <a:pt x="8" y="0"/>
                      </a:lnTo>
                      <a:lnTo>
                        <a:pt x="2" y="4"/>
                      </a:lnTo>
                      <a:lnTo>
                        <a:pt x="2" y="4"/>
                      </a:lnTo>
                      <a:lnTo>
                        <a:pt x="0" y="4"/>
                      </a:lnTo>
                      <a:lnTo>
                        <a:pt x="2" y="8"/>
                      </a:lnTo>
                      <a:lnTo>
                        <a:pt x="6" y="14"/>
                      </a:lnTo>
                      <a:lnTo>
                        <a:pt x="14" y="20"/>
                      </a:lnTo>
                      <a:lnTo>
                        <a:pt x="18" y="20"/>
                      </a:lnTo>
                      <a:lnTo>
                        <a:pt x="24" y="20"/>
                      </a:lnTo>
                      <a:lnTo>
                        <a:pt x="24" y="20"/>
                      </a:lnTo>
                      <a:lnTo>
                        <a:pt x="32" y="18"/>
                      </a:lnTo>
                      <a:lnTo>
                        <a:pt x="38" y="18"/>
                      </a:lnTo>
                      <a:lnTo>
                        <a:pt x="40" y="20"/>
                      </a:lnTo>
                      <a:lnTo>
                        <a:pt x="36" y="20"/>
                      </a:lnTo>
                      <a:lnTo>
                        <a:pt x="36" y="20"/>
                      </a:lnTo>
                      <a:lnTo>
                        <a:pt x="30" y="22"/>
                      </a:lnTo>
                      <a:lnTo>
                        <a:pt x="24" y="24"/>
                      </a:lnTo>
                      <a:lnTo>
                        <a:pt x="22" y="28"/>
                      </a:lnTo>
                      <a:lnTo>
                        <a:pt x="22" y="30"/>
                      </a:lnTo>
                      <a:lnTo>
                        <a:pt x="24" y="32"/>
                      </a:lnTo>
                      <a:lnTo>
                        <a:pt x="24" y="32"/>
                      </a:lnTo>
                      <a:lnTo>
                        <a:pt x="26" y="34"/>
                      </a:lnTo>
                      <a:lnTo>
                        <a:pt x="28" y="36"/>
                      </a:lnTo>
                      <a:lnTo>
                        <a:pt x="24" y="38"/>
                      </a:lnTo>
                      <a:lnTo>
                        <a:pt x="22" y="42"/>
                      </a:lnTo>
                      <a:lnTo>
                        <a:pt x="20" y="42"/>
                      </a:lnTo>
                      <a:lnTo>
                        <a:pt x="22" y="44"/>
                      </a:lnTo>
                      <a:lnTo>
                        <a:pt x="22" y="44"/>
                      </a:lnTo>
                      <a:lnTo>
                        <a:pt x="22" y="46"/>
                      </a:lnTo>
                      <a:lnTo>
                        <a:pt x="26" y="46"/>
                      </a:lnTo>
                      <a:lnTo>
                        <a:pt x="30" y="42"/>
                      </a:lnTo>
                      <a:lnTo>
                        <a:pt x="36" y="42"/>
                      </a:lnTo>
                      <a:lnTo>
                        <a:pt x="38" y="42"/>
                      </a:lnTo>
                      <a:lnTo>
                        <a:pt x="40" y="44"/>
                      </a:lnTo>
                      <a:lnTo>
                        <a:pt x="40" y="44"/>
                      </a:lnTo>
                      <a:lnTo>
                        <a:pt x="42" y="48"/>
                      </a:lnTo>
                      <a:lnTo>
                        <a:pt x="44" y="46"/>
                      </a:lnTo>
                      <a:lnTo>
                        <a:pt x="46" y="42"/>
                      </a:lnTo>
                      <a:lnTo>
                        <a:pt x="48" y="42"/>
                      </a:lnTo>
                      <a:lnTo>
                        <a:pt x="50" y="42"/>
                      </a:lnTo>
                      <a:lnTo>
                        <a:pt x="50" y="42"/>
                      </a:lnTo>
                      <a:lnTo>
                        <a:pt x="52" y="44"/>
                      </a:lnTo>
                      <a:lnTo>
                        <a:pt x="52" y="46"/>
                      </a:lnTo>
                      <a:lnTo>
                        <a:pt x="52" y="50"/>
                      </a:lnTo>
                      <a:lnTo>
                        <a:pt x="50" y="54"/>
                      </a:lnTo>
                      <a:lnTo>
                        <a:pt x="50" y="56"/>
                      </a:lnTo>
                      <a:lnTo>
                        <a:pt x="52" y="58"/>
                      </a:lnTo>
                      <a:lnTo>
                        <a:pt x="52" y="58"/>
                      </a:lnTo>
                      <a:lnTo>
                        <a:pt x="54" y="60"/>
                      </a:lnTo>
                      <a:lnTo>
                        <a:pt x="56" y="58"/>
                      </a:lnTo>
                      <a:lnTo>
                        <a:pt x="62" y="56"/>
                      </a:lnTo>
                      <a:lnTo>
                        <a:pt x="68" y="52"/>
                      </a:lnTo>
                      <a:lnTo>
                        <a:pt x="70" y="54"/>
                      </a:lnTo>
                      <a:lnTo>
                        <a:pt x="72" y="58"/>
                      </a:lnTo>
                      <a:lnTo>
                        <a:pt x="72" y="58"/>
                      </a:lnTo>
                      <a:lnTo>
                        <a:pt x="74" y="62"/>
                      </a:lnTo>
                      <a:lnTo>
                        <a:pt x="76" y="66"/>
                      </a:lnTo>
                      <a:lnTo>
                        <a:pt x="82" y="68"/>
                      </a:lnTo>
                      <a:lnTo>
                        <a:pt x="84" y="70"/>
                      </a:lnTo>
                      <a:lnTo>
                        <a:pt x="80" y="72"/>
                      </a:lnTo>
                      <a:lnTo>
                        <a:pt x="80" y="72"/>
                      </a:lnTo>
                      <a:lnTo>
                        <a:pt x="74" y="76"/>
                      </a:lnTo>
                      <a:lnTo>
                        <a:pt x="74" y="82"/>
                      </a:lnTo>
                      <a:lnTo>
                        <a:pt x="76" y="84"/>
                      </a:lnTo>
                      <a:lnTo>
                        <a:pt x="82" y="86"/>
                      </a:lnTo>
                      <a:lnTo>
                        <a:pt x="82" y="86"/>
                      </a:lnTo>
                      <a:lnTo>
                        <a:pt x="94" y="84"/>
                      </a:lnTo>
                      <a:lnTo>
                        <a:pt x="96" y="86"/>
                      </a:lnTo>
                      <a:lnTo>
                        <a:pt x="100" y="90"/>
                      </a:lnTo>
                      <a:lnTo>
                        <a:pt x="100" y="90"/>
                      </a:lnTo>
                      <a:lnTo>
                        <a:pt x="102" y="92"/>
                      </a:lnTo>
                      <a:lnTo>
                        <a:pt x="104" y="94"/>
                      </a:lnTo>
                      <a:lnTo>
                        <a:pt x="106" y="96"/>
                      </a:lnTo>
                      <a:lnTo>
                        <a:pt x="106" y="100"/>
                      </a:lnTo>
                      <a:lnTo>
                        <a:pt x="106" y="100"/>
                      </a:lnTo>
                      <a:lnTo>
                        <a:pt x="108" y="104"/>
                      </a:lnTo>
                      <a:lnTo>
                        <a:pt x="110" y="110"/>
                      </a:lnTo>
                      <a:lnTo>
                        <a:pt x="116" y="112"/>
                      </a:lnTo>
                      <a:lnTo>
                        <a:pt x="122" y="112"/>
                      </a:lnTo>
                      <a:lnTo>
                        <a:pt x="122" y="112"/>
                      </a:lnTo>
                      <a:lnTo>
                        <a:pt x="128" y="110"/>
                      </a:lnTo>
                      <a:lnTo>
                        <a:pt x="132" y="112"/>
                      </a:lnTo>
                      <a:lnTo>
                        <a:pt x="136" y="112"/>
                      </a:lnTo>
                      <a:lnTo>
                        <a:pt x="134" y="116"/>
                      </a:lnTo>
                      <a:lnTo>
                        <a:pt x="134" y="116"/>
                      </a:lnTo>
                      <a:lnTo>
                        <a:pt x="132" y="118"/>
                      </a:lnTo>
                      <a:lnTo>
                        <a:pt x="132" y="120"/>
                      </a:lnTo>
                      <a:lnTo>
                        <a:pt x="136" y="126"/>
                      </a:lnTo>
                      <a:lnTo>
                        <a:pt x="144" y="132"/>
                      </a:lnTo>
                      <a:lnTo>
                        <a:pt x="154" y="136"/>
                      </a:lnTo>
                      <a:lnTo>
                        <a:pt x="154" y="136"/>
                      </a:lnTo>
                      <a:lnTo>
                        <a:pt x="164" y="138"/>
                      </a:lnTo>
                      <a:lnTo>
                        <a:pt x="170" y="140"/>
                      </a:lnTo>
                      <a:lnTo>
                        <a:pt x="176" y="144"/>
                      </a:lnTo>
                      <a:lnTo>
                        <a:pt x="186" y="148"/>
                      </a:lnTo>
                      <a:lnTo>
                        <a:pt x="186" y="14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8" name="Freeform 6044"/>
                <p:cNvSpPr>
                  <a:spLocks/>
                </p:cNvSpPr>
                <p:nvPr/>
              </p:nvSpPr>
              <p:spPr bwMode="auto">
                <a:xfrm>
                  <a:off x="1097280" y="2091373"/>
                  <a:ext cx="16510" cy="26670"/>
                </a:xfrm>
                <a:custGeom>
                  <a:avLst/>
                  <a:gdLst/>
                  <a:ahLst/>
                  <a:cxnLst>
                    <a:cxn ang="0">
                      <a:pos x="6" y="0"/>
                    </a:cxn>
                    <a:cxn ang="0">
                      <a:pos x="6" y="0"/>
                    </a:cxn>
                    <a:cxn ang="0">
                      <a:pos x="6" y="2"/>
                    </a:cxn>
                    <a:cxn ang="0">
                      <a:pos x="6" y="2"/>
                    </a:cxn>
                    <a:cxn ang="0">
                      <a:pos x="6" y="8"/>
                    </a:cxn>
                    <a:cxn ang="0">
                      <a:pos x="6" y="12"/>
                    </a:cxn>
                    <a:cxn ang="0">
                      <a:pos x="4" y="14"/>
                    </a:cxn>
                    <a:cxn ang="0">
                      <a:pos x="4" y="14"/>
                    </a:cxn>
                    <a:cxn ang="0">
                      <a:pos x="2" y="18"/>
                    </a:cxn>
                    <a:cxn ang="0">
                      <a:pos x="0" y="22"/>
                    </a:cxn>
                    <a:cxn ang="0">
                      <a:pos x="0" y="24"/>
                    </a:cxn>
                    <a:cxn ang="0">
                      <a:pos x="2" y="24"/>
                    </a:cxn>
                    <a:cxn ang="0">
                      <a:pos x="6" y="24"/>
                    </a:cxn>
                    <a:cxn ang="0">
                      <a:pos x="6" y="24"/>
                    </a:cxn>
                    <a:cxn ang="0">
                      <a:pos x="10" y="20"/>
                    </a:cxn>
                    <a:cxn ang="0">
                      <a:pos x="12" y="18"/>
                    </a:cxn>
                    <a:cxn ang="0">
                      <a:pos x="12" y="16"/>
                    </a:cxn>
                    <a:cxn ang="0">
                      <a:pos x="16" y="16"/>
                    </a:cxn>
                    <a:cxn ang="0">
                      <a:pos x="16" y="16"/>
                    </a:cxn>
                    <a:cxn ang="0">
                      <a:pos x="16" y="18"/>
                    </a:cxn>
                    <a:cxn ang="0">
                      <a:pos x="16" y="20"/>
                    </a:cxn>
                    <a:cxn ang="0">
                      <a:pos x="10" y="24"/>
                    </a:cxn>
                    <a:cxn ang="0">
                      <a:pos x="6" y="28"/>
                    </a:cxn>
                    <a:cxn ang="0">
                      <a:pos x="4" y="30"/>
                    </a:cxn>
                    <a:cxn ang="0">
                      <a:pos x="4" y="32"/>
                    </a:cxn>
                    <a:cxn ang="0">
                      <a:pos x="4" y="32"/>
                    </a:cxn>
                    <a:cxn ang="0">
                      <a:pos x="8" y="36"/>
                    </a:cxn>
                    <a:cxn ang="0">
                      <a:pos x="10" y="38"/>
                    </a:cxn>
                    <a:cxn ang="0">
                      <a:pos x="14" y="36"/>
                    </a:cxn>
                    <a:cxn ang="0">
                      <a:pos x="18" y="32"/>
                    </a:cxn>
                    <a:cxn ang="0">
                      <a:pos x="18" y="32"/>
                    </a:cxn>
                    <a:cxn ang="0">
                      <a:pos x="18" y="30"/>
                    </a:cxn>
                    <a:cxn ang="0">
                      <a:pos x="20" y="34"/>
                    </a:cxn>
                    <a:cxn ang="0">
                      <a:pos x="20" y="38"/>
                    </a:cxn>
                    <a:cxn ang="0">
                      <a:pos x="20" y="40"/>
                    </a:cxn>
                    <a:cxn ang="0">
                      <a:pos x="22" y="42"/>
                    </a:cxn>
                    <a:cxn ang="0">
                      <a:pos x="22" y="42"/>
                    </a:cxn>
                    <a:cxn ang="0">
                      <a:pos x="24" y="42"/>
                    </a:cxn>
                    <a:cxn ang="0">
                      <a:pos x="26" y="38"/>
                    </a:cxn>
                    <a:cxn ang="0">
                      <a:pos x="26" y="24"/>
                    </a:cxn>
                    <a:cxn ang="0">
                      <a:pos x="26" y="24"/>
                    </a:cxn>
                    <a:cxn ang="0">
                      <a:pos x="26" y="18"/>
                    </a:cxn>
                    <a:cxn ang="0">
                      <a:pos x="24" y="14"/>
                    </a:cxn>
                    <a:cxn ang="0">
                      <a:pos x="18" y="8"/>
                    </a:cxn>
                    <a:cxn ang="0">
                      <a:pos x="12" y="2"/>
                    </a:cxn>
                    <a:cxn ang="0">
                      <a:pos x="6" y="0"/>
                    </a:cxn>
                    <a:cxn ang="0">
                      <a:pos x="6" y="0"/>
                    </a:cxn>
                  </a:cxnLst>
                  <a:rect l="0" t="0" r="r" b="b"/>
                  <a:pathLst>
                    <a:path w="26" h="42">
                      <a:moveTo>
                        <a:pt x="6" y="0"/>
                      </a:moveTo>
                      <a:lnTo>
                        <a:pt x="6" y="0"/>
                      </a:lnTo>
                      <a:lnTo>
                        <a:pt x="6" y="2"/>
                      </a:lnTo>
                      <a:lnTo>
                        <a:pt x="6" y="2"/>
                      </a:lnTo>
                      <a:lnTo>
                        <a:pt x="6" y="8"/>
                      </a:lnTo>
                      <a:lnTo>
                        <a:pt x="6" y="12"/>
                      </a:lnTo>
                      <a:lnTo>
                        <a:pt x="4" y="14"/>
                      </a:lnTo>
                      <a:lnTo>
                        <a:pt x="4" y="14"/>
                      </a:lnTo>
                      <a:lnTo>
                        <a:pt x="2" y="18"/>
                      </a:lnTo>
                      <a:lnTo>
                        <a:pt x="0" y="22"/>
                      </a:lnTo>
                      <a:lnTo>
                        <a:pt x="0" y="24"/>
                      </a:lnTo>
                      <a:lnTo>
                        <a:pt x="2" y="24"/>
                      </a:lnTo>
                      <a:lnTo>
                        <a:pt x="6" y="24"/>
                      </a:lnTo>
                      <a:lnTo>
                        <a:pt x="6" y="24"/>
                      </a:lnTo>
                      <a:lnTo>
                        <a:pt x="10" y="20"/>
                      </a:lnTo>
                      <a:lnTo>
                        <a:pt x="12" y="18"/>
                      </a:lnTo>
                      <a:lnTo>
                        <a:pt x="12" y="16"/>
                      </a:lnTo>
                      <a:lnTo>
                        <a:pt x="16" y="16"/>
                      </a:lnTo>
                      <a:lnTo>
                        <a:pt x="16" y="16"/>
                      </a:lnTo>
                      <a:lnTo>
                        <a:pt x="16" y="18"/>
                      </a:lnTo>
                      <a:lnTo>
                        <a:pt x="16" y="20"/>
                      </a:lnTo>
                      <a:lnTo>
                        <a:pt x="10" y="24"/>
                      </a:lnTo>
                      <a:lnTo>
                        <a:pt x="6" y="28"/>
                      </a:lnTo>
                      <a:lnTo>
                        <a:pt x="4" y="30"/>
                      </a:lnTo>
                      <a:lnTo>
                        <a:pt x="4" y="32"/>
                      </a:lnTo>
                      <a:lnTo>
                        <a:pt x="4" y="32"/>
                      </a:lnTo>
                      <a:lnTo>
                        <a:pt x="8" y="36"/>
                      </a:lnTo>
                      <a:lnTo>
                        <a:pt x="10" y="38"/>
                      </a:lnTo>
                      <a:lnTo>
                        <a:pt x="14" y="36"/>
                      </a:lnTo>
                      <a:lnTo>
                        <a:pt x="18" y="32"/>
                      </a:lnTo>
                      <a:lnTo>
                        <a:pt x="18" y="32"/>
                      </a:lnTo>
                      <a:lnTo>
                        <a:pt x="18" y="30"/>
                      </a:lnTo>
                      <a:lnTo>
                        <a:pt x="20" y="34"/>
                      </a:lnTo>
                      <a:lnTo>
                        <a:pt x="20" y="38"/>
                      </a:lnTo>
                      <a:lnTo>
                        <a:pt x="20" y="40"/>
                      </a:lnTo>
                      <a:lnTo>
                        <a:pt x="22" y="42"/>
                      </a:lnTo>
                      <a:lnTo>
                        <a:pt x="22" y="42"/>
                      </a:lnTo>
                      <a:lnTo>
                        <a:pt x="24" y="42"/>
                      </a:lnTo>
                      <a:lnTo>
                        <a:pt x="26" y="38"/>
                      </a:lnTo>
                      <a:lnTo>
                        <a:pt x="26" y="24"/>
                      </a:lnTo>
                      <a:lnTo>
                        <a:pt x="26" y="24"/>
                      </a:lnTo>
                      <a:lnTo>
                        <a:pt x="26" y="18"/>
                      </a:lnTo>
                      <a:lnTo>
                        <a:pt x="24" y="14"/>
                      </a:lnTo>
                      <a:lnTo>
                        <a:pt x="18" y="8"/>
                      </a:lnTo>
                      <a:lnTo>
                        <a:pt x="12" y="2"/>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9" name="Freeform 6045"/>
                <p:cNvSpPr>
                  <a:spLocks/>
                </p:cNvSpPr>
                <p:nvPr/>
              </p:nvSpPr>
              <p:spPr bwMode="auto">
                <a:xfrm>
                  <a:off x="1158240" y="2223453"/>
                  <a:ext cx="7620" cy="8890"/>
                </a:xfrm>
                <a:custGeom>
                  <a:avLst/>
                  <a:gdLst/>
                  <a:ahLst/>
                  <a:cxnLst>
                    <a:cxn ang="0">
                      <a:pos x="2" y="0"/>
                    </a:cxn>
                    <a:cxn ang="0">
                      <a:pos x="2" y="0"/>
                    </a:cxn>
                    <a:cxn ang="0">
                      <a:pos x="0" y="4"/>
                    </a:cxn>
                    <a:cxn ang="0">
                      <a:pos x="0" y="6"/>
                    </a:cxn>
                    <a:cxn ang="0">
                      <a:pos x="2" y="10"/>
                    </a:cxn>
                    <a:cxn ang="0">
                      <a:pos x="8" y="14"/>
                    </a:cxn>
                    <a:cxn ang="0">
                      <a:pos x="10" y="12"/>
                    </a:cxn>
                    <a:cxn ang="0">
                      <a:pos x="10" y="12"/>
                    </a:cxn>
                    <a:cxn ang="0">
                      <a:pos x="12" y="8"/>
                    </a:cxn>
                    <a:cxn ang="0">
                      <a:pos x="10" y="4"/>
                    </a:cxn>
                    <a:cxn ang="0">
                      <a:pos x="6" y="0"/>
                    </a:cxn>
                    <a:cxn ang="0">
                      <a:pos x="4" y="0"/>
                    </a:cxn>
                    <a:cxn ang="0">
                      <a:pos x="2" y="0"/>
                    </a:cxn>
                    <a:cxn ang="0">
                      <a:pos x="2" y="0"/>
                    </a:cxn>
                  </a:cxnLst>
                  <a:rect l="0" t="0" r="r" b="b"/>
                  <a:pathLst>
                    <a:path w="12" h="14">
                      <a:moveTo>
                        <a:pt x="2" y="0"/>
                      </a:moveTo>
                      <a:lnTo>
                        <a:pt x="2" y="0"/>
                      </a:lnTo>
                      <a:lnTo>
                        <a:pt x="0" y="4"/>
                      </a:lnTo>
                      <a:lnTo>
                        <a:pt x="0" y="6"/>
                      </a:lnTo>
                      <a:lnTo>
                        <a:pt x="2" y="10"/>
                      </a:lnTo>
                      <a:lnTo>
                        <a:pt x="8" y="14"/>
                      </a:lnTo>
                      <a:lnTo>
                        <a:pt x="10" y="12"/>
                      </a:lnTo>
                      <a:lnTo>
                        <a:pt x="10" y="12"/>
                      </a:lnTo>
                      <a:lnTo>
                        <a:pt x="12" y="8"/>
                      </a:lnTo>
                      <a:lnTo>
                        <a:pt x="10" y="4"/>
                      </a:lnTo>
                      <a:lnTo>
                        <a:pt x="6" y="0"/>
                      </a:lnTo>
                      <a:lnTo>
                        <a:pt x="4" y="0"/>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0" name="Freeform 6046"/>
                <p:cNvSpPr>
                  <a:spLocks/>
                </p:cNvSpPr>
                <p:nvPr/>
              </p:nvSpPr>
              <p:spPr bwMode="auto">
                <a:xfrm>
                  <a:off x="1059180" y="2060893"/>
                  <a:ext cx="11430" cy="8890"/>
                </a:xfrm>
                <a:custGeom>
                  <a:avLst/>
                  <a:gdLst/>
                  <a:ahLst/>
                  <a:cxnLst>
                    <a:cxn ang="0">
                      <a:pos x="18" y="12"/>
                    </a:cxn>
                    <a:cxn ang="0">
                      <a:pos x="18" y="12"/>
                    </a:cxn>
                    <a:cxn ang="0">
                      <a:pos x="18" y="8"/>
                    </a:cxn>
                    <a:cxn ang="0">
                      <a:pos x="18" y="4"/>
                    </a:cxn>
                    <a:cxn ang="0">
                      <a:pos x="14" y="2"/>
                    </a:cxn>
                    <a:cxn ang="0">
                      <a:pos x="10" y="0"/>
                    </a:cxn>
                    <a:cxn ang="0">
                      <a:pos x="10" y="0"/>
                    </a:cxn>
                    <a:cxn ang="0">
                      <a:pos x="6" y="0"/>
                    </a:cxn>
                    <a:cxn ang="0">
                      <a:pos x="2" y="4"/>
                    </a:cxn>
                    <a:cxn ang="0">
                      <a:pos x="0" y="8"/>
                    </a:cxn>
                    <a:cxn ang="0">
                      <a:pos x="0" y="12"/>
                    </a:cxn>
                    <a:cxn ang="0">
                      <a:pos x="0" y="12"/>
                    </a:cxn>
                    <a:cxn ang="0">
                      <a:pos x="0" y="14"/>
                    </a:cxn>
                    <a:cxn ang="0">
                      <a:pos x="2" y="14"/>
                    </a:cxn>
                    <a:cxn ang="0">
                      <a:pos x="4" y="10"/>
                    </a:cxn>
                    <a:cxn ang="0">
                      <a:pos x="8" y="10"/>
                    </a:cxn>
                    <a:cxn ang="0">
                      <a:pos x="8" y="10"/>
                    </a:cxn>
                    <a:cxn ang="0">
                      <a:pos x="12" y="14"/>
                    </a:cxn>
                    <a:cxn ang="0">
                      <a:pos x="14" y="14"/>
                    </a:cxn>
                    <a:cxn ang="0">
                      <a:pos x="18" y="12"/>
                    </a:cxn>
                    <a:cxn ang="0">
                      <a:pos x="18" y="12"/>
                    </a:cxn>
                  </a:cxnLst>
                  <a:rect l="0" t="0" r="r" b="b"/>
                  <a:pathLst>
                    <a:path w="18" h="14">
                      <a:moveTo>
                        <a:pt x="18" y="12"/>
                      </a:moveTo>
                      <a:lnTo>
                        <a:pt x="18" y="12"/>
                      </a:lnTo>
                      <a:lnTo>
                        <a:pt x="18" y="8"/>
                      </a:lnTo>
                      <a:lnTo>
                        <a:pt x="18" y="4"/>
                      </a:lnTo>
                      <a:lnTo>
                        <a:pt x="14" y="2"/>
                      </a:lnTo>
                      <a:lnTo>
                        <a:pt x="10" y="0"/>
                      </a:lnTo>
                      <a:lnTo>
                        <a:pt x="10" y="0"/>
                      </a:lnTo>
                      <a:lnTo>
                        <a:pt x="6" y="0"/>
                      </a:lnTo>
                      <a:lnTo>
                        <a:pt x="2" y="4"/>
                      </a:lnTo>
                      <a:lnTo>
                        <a:pt x="0" y="8"/>
                      </a:lnTo>
                      <a:lnTo>
                        <a:pt x="0" y="12"/>
                      </a:lnTo>
                      <a:lnTo>
                        <a:pt x="0" y="12"/>
                      </a:lnTo>
                      <a:lnTo>
                        <a:pt x="0" y="14"/>
                      </a:lnTo>
                      <a:lnTo>
                        <a:pt x="2" y="14"/>
                      </a:lnTo>
                      <a:lnTo>
                        <a:pt x="4" y="10"/>
                      </a:lnTo>
                      <a:lnTo>
                        <a:pt x="8" y="10"/>
                      </a:lnTo>
                      <a:lnTo>
                        <a:pt x="8" y="10"/>
                      </a:lnTo>
                      <a:lnTo>
                        <a:pt x="12" y="14"/>
                      </a:lnTo>
                      <a:lnTo>
                        <a:pt x="14" y="14"/>
                      </a:lnTo>
                      <a:lnTo>
                        <a:pt x="18" y="12"/>
                      </a:lnTo>
                      <a:lnTo>
                        <a:pt x="18" y="1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1" name="Freeform 6047"/>
                <p:cNvSpPr>
                  <a:spLocks/>
                </p:cNvSpPr>
                <p:nvPr/>
              </p:nvSpPr>
              <p:spPr bwMode="auto">
                <a:xfrm>
                  <a:off x="1051560" y="2039303"/>
                  <a:ext cx="6350" cy="6350"/>
                </a:xfrm>
                <a:custGeom>
                  <a:avLst/>
                  <a:gdLst/>
                  <a:ahLst/>
                  <a:cxnLst>
                    <a:cxn ang="0">
                      <a:pos x="0" y="8"/>
                    </a:cxn>
                    <a:cxn ang="0">
                      <a:pos x="0" y="8"/>
                    </a:cxn>
                    <a:cxn ang="0">
                      <a:pos x="2" y="10"/>
                    </a:cxn>
                    <a:cxn ang="0">
                      <a:pos x="2" y="10"/>
                    </a:cxn>
                    <a:cxn ang="0">
                      <a:pos x="6" y="8"/>
                    </a:cxn>
                    <a:cxn ang="0">
                      <a:pos x="8" y="4"/>
                    </a:cxn>
                    <a:cxn ang="0">
                      <a:pos x="10" y="0"/>
                    </a:cxn>
                    <a:cxn ang="0">
                      <a:pos x="10" y="0"/>
                    </a:cxn>
                    <a:cxn ang="0">
                      <a:pos x="8" y="0"/>
                    </a:cxn>
                    <a:cxn ang="0">
                      <a:pos x="4" y="0"/>
                    </a:cxn>
                    <a:cxn ang="0">
                      <a:pos x="0" y="4"/>
                    </a:cxn>
                    <a:cxn ang="0">
                      <a:pos x="0" y="8"/>
                    </a:cxn>
                    <a:cxn ang="0">
                      <a:pos x="0" y="8"/>
                    </a:cxn>
                  </a:cxnLst>
                  <a:rect l="0" t="0" r="r" b="b"/>
                  <a:pathLst>
                    <a:path w="10" h="10">
                      <a:moveTo>
                        <a:pt x="0" y="8"/>
                      </a:moveTo>
                      <a:lnTo>
                        <a:pt x="0" y="8"/>
                      </a:lnTo>
                      <a:lnTo>
                        <a:pt x="2" y="10"/>
                      </a:lnTo>
                      <a:lnTo>
                        <a:pt x="2" y="10"/>
                      </a:lnTo>
                      <a:lnTo>
                        <a:pt x="6" y="8"/>
                      </a:lnTo>
                      <a:lnTo>
                        <a:pt x="8" y="4"/>
                      </a:lnTo>
                      <a:lnTo>
                        <a:pt x="10" y="0"/>
                      </a:lnTo>
                      <a:lnTo>
                        <a:pt x="10" y="0"/>
                      </a:lnTo>
                      <a:lnTo>
                        <a:pt x="8" y="0"/>
                      </a:lnTo>
                      <a:lnTo>
                        <a:pt x="4" y="0"/>
                      </a:lnTo>
                      <a:lnTo>
                        <a:pt x="0" y="4"/>
                      </a:lnTo>
                      <a:lnTo>
                        <a:pt x="0" y="8"/>
                      </a:lnTo>
                      <a:lnTo>
                        <a:pt x="0"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2" name="Freeform 6048"/>
                <p:cNvSpPr>
                  <a:spLocks/>
                </p:cNvSpPr>
                <p:nvPr/>
              </p:nvSpPr>
              <p:spPr bwMode="auto">
                <a:xfrm>
                  <a:off x="1040130" y="2025333"/>
                  <a:ext cx="5080" cy="5080"/>
                </a:xfrm>
                <a:custGeom>
                  <a:avLst/>
                  <a:gdLst/>
                  <a:ahLst/>
                  <a:cxnLst>
                    <a:cxn ang="0">
                      <a:pos x="2" y="8"/>
                    </a:cxn>
                    <a:cxn ang="0">
                      <a:pos x="2" y="8"/>
                    </a:cxn>
                    <a:cxn ang="0">
                      <a:pos x="6" y="8"/>
                    </a:cxn>
                    <a:cxn ang="0">
                      <a:pos x="8" y="4"/>
                    </a:cxn>
                    <a:cxn ang="0">
                      <a:pos x="8" y="4"/>
                    </a:cxn>
                    <a:cxn ang="0">
                      <a:pos x="8" y="0"/>
                    </a:cxn>
                    <a:cxn ang="0">
                      <a:pos x="4" y="0"/>
                    </a:cxn>
                    <a:cxn ang="0">
                      <a:pos x="4" y="0"/>
                    </a:cxn>
                    <a:cxn ang="0">
                      <a:pos x="0" y="2"/>
                    </a:cxn>
                    <a:cxn ang="0">
                      <a:pos x="0" y="4"/>
                    </a:cxn>
                    <a:cxn ang="0">
                      <a:pos x="2" y="8"/>
                    </a:cxn>
                    <a:cxn ang="0">
                      <a:pos x="2" y="8"/>
                    </a:cxn>
                  </a:cxnLst>
                  <a:rect l="0" t="0" r="r" b="b"/>
                  <a:pathLst>
                    <a:path w="8" h="8">
                      <a:moveTo>
                        <a:pt x="2" y="8"/>
                      </a:moveTo>
                      <a:lnTo>
                        <a:pt x="2" y="8"/>
                      </a:lnTo>
                      <a:lnTo>
                        <a:pt x="6" y="8"/>
                      </a:lnTo>
                      <a:lnTo>
                        <a:pt x="8" y="4"/>
                      </a:lnTo>
                      <a:lnTo>
                        <a:pt x="8" y="4"/>
                      </a:lnTo>
                      <a:lnTo>
                        <a:pt x="8" y="0"/>
                      </a:lnTo>
                      <a:lnTo>
                        <a:pt x="4" y="0"/>
                      </a:lnTo>
                      <a:lnTo>
                        <a:pt x="4" y="0"/>
                      </a:lnTo>
                      <a:lnTo>
                        <a:pt x="0" y="2"/>
                      </a:lnTo>
                      <a:lnTo>
                        <a:pt x="0" y="4"/>
                      </a:lnTo>
                      <a:lnTo>
                        <a:pt x="2" y="8"/>
                      </a:lnTo>
                      <a:lnTo>
                        <a:pt x="2"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3" name="Freeform 6049"/>
                <p:cNvSpPr>
                  <a:spLocks/>
                </p:cNvSpPr>
                <p:nvPr/>
              </p:nvSpPr>
              <p:spPr bwMode="auto">
                <a:xfrm>
                  <a:off x="1012190" y="2092643"/>
                  <a:ext cx="39370" cy="43180"/>
                </a:xfrm>
                <a:custGeom>
                  <a:avLst/>
                  <a:gdLst/>
                  <a:ahLst/>
                  <a:cxnLst>
                    <a:cxn ang="0">
                      <a:pos x="52" y="56"/>
                    </a:cxn>
                    <a:cxn ang="0">
                      <a:pos x="52" y="50"/>
                    </a:cxn>
                    <a:cxn ang="0">
                      <a:pos x="48" y="52"/>
                    </a:cxn>
                    <a:cxn ang="0">
                      <a:pos x="46" y="52"/>
                    </a:cxn>
                    <a:cxn ang="0">
                      <a:pos x="44" y="48"/>
                    </a:cxn>
                    <a:cxn ang="0">
                      <a:pos x="42" y="46"/>
                    </a:cxn>
                    <a:cxn ang="0">
                      <a:pos x="34" y="40"/>
                    </a:cxn>
                    <a:cxn ang="0">
                      <a:pos x="32" y="32"/>
                    </a:cxn>
                    <a:cxn ang="0">
                      <a:pos x="34" y="30"/>
                    </a:cxn>
                    <a:cxn ang="0">
                      <a:pos x="30" y="28"/>
                    </a:cxn>
                    <a:cxn ang="0">
                      <a:pos x="26" y="26"/>
                    </a:cxn>
                    <a:cxn ang="0">
                      <a:pos x="28" y="24"/>
                    </a:cxn>
                    <a:cxn ang="0">
                      <a:pos x="38" y="22"/>
                    </a:cxn>
                    <a:cxn ang="0">
                      <a:pos x="38" y="18"/>
                    </a:cxn>
                    <a:cxn ang="0">
                      <a:pos x="36" y="16"/>
                    </a:cxn>
                    <a:cxn ang="0">
                      <a:pos x="36" y="14"/>
                    </a:cxn>
                    <a:cxn ang="0">
                      <a:pos x="36" y="8"/>
                    </a:cxn>
                    <a:cxn ang="0">
                      <a:pos x="32" y="4"/>
                    </a:cxn>
                    <a:cxn ang="0">
                      <a:pos x="32" y="2"/>
                    </a:cxn>
                    <a:cxn ang="0">
                      <a:pos x="26" y="2"/>
                    </a:cxn>
                    <a:cxn ang="0">
                      <a:pos x="22" y="6"/>
                    </a:cxn>
                    <a:cxn ang="0">
                      <a:pos x="16" y="8"/>
                    </a:cxn>
                    <a:cxn ang="0">
                      <a:pos x="2" y="10"/>
                    </a:cxn>
                    <a:cxn ang="0">
                      <a:pos x="2" y="14"/>
                    </a:cxn>
                    <a:cxn ang="0">
                      <a:pos x="2" y="14"/>
                    </a:cxn>
                    <a:cxn ang="0">
                      <a:pos x="10" y="14"/>
                    </a:cxn>
                    <a:cxn ang="0">
                      <a:pos x="14" y="16"/>
                    </a:cxn>
                    <a:cxn ang="0">
                      <a:pos x="16" y="18"/>
                    </a:cxn>
                    <a:cxn ang="0">
                      <a:pos x="12" y="20"/>
                    </a:cxn>
                    <a:cxn ang="0">
                      <a:pos x="10" y="24"/>
                    </a:cxn>
                    <a:cxn ang="0">
                      <a:pos x="18" y="30"/>
                    </a:cxn>
                    <a:cxn ang="0">
                      <a:pos x="22" y="30"/>
                    </a:cxn>
                    <a:cxn ang="0">
                      <a:pos x="20" y="32"/>
                    </a:cxn>
                    <a:cxn ang="0">
                      <a:pos x="20" y="34"/>
                    </a:cxn>
                    <a:cxn ang="0">
                      <a:pos x="34" y="48"/>
                    </a:cxn>
                    <a:cxn ang="0">
                      <a:pos x="38" y="52"/>
                    </a:cxn>
                    <a:cxn ang="0">
                      <a:pos x="40" y="56"/>
                    </a:cxn>
                    <a:cxn ang="0">
                      <a:pos x="42" y="58"/>
                    </a:cxn>
                    <a:cxn ang="0">
                      <a:pos x="46" y="64"/>
                    </a:cxn>
                    <a:cxn ang="0">
                      <a:pos x="54" y="68"/>
                    </a:cxn>
                    <a:cxn ang="0">
                      <a:pos x="60" y="68"/>
                    </a:cxn>
                    <a:cxn ang="0">
                      <a:pos x="62" y="64"/>
                    </a:cxn>
                    <a:cxn ang="0">
                      <a:pos x="60" y="60"/>
                    </a:cxn>
                    <a:cxn ang="0">
                      <a:pos x="52" y="58"/>
                    </a:cxn>
                    <a:cxn ang="0">
                      <a:pos x="52" y="56"/>
                    </a:cxn>
                  </a:cxnLst>
                  <a:rect l="0" t="0" r="r" b="b"/>
                  <a:pathLst>
                    <a:path w="62" h="68">
                      <a:moveTo>
                        <a:pt x="52" y="56"/>
                      </a:moveTo>
                      <a:lnTo>
                        <a:pt x="52" y="56"/>
                      </a:lnTo>
                      <a:lnTo>
                        <a:pt x="52" y="54"/>
                      </a:lnTo>
                      <a:lnTo>
                        <a:pt x="52" y="50"/>
                      </a:lnTo>
                      <a:lnTo>
                        <a:pt x="52" y="50"/>
                      </a:lnTo>
                      <a:lnTo>
                        <a:pt x="48" y="52"/>
                      </a:lnTo>
                      <a:lnTo>
                        <a:pt x="48" y="52"/>
                      </a:lnTo>
                      <a:lnTo>
                        <a:pt x="46" y="52"/>
                      </a:lnTo>
                      <a:lnTo>
                        <a:pt x="46" y="50"/>
                      </a:lnTo>
                      <a:lnTo>
                        <a:pt x="44" y="48"/>
                      </a:lnTo>
                      <a:lnTo>
                        <a:pt x="42" y="46"/>
                      </a:lnTo>
                      <a:lnTo>
                        <a:pt x="42" y="46"/>
                      </a:lnTo>
                      <a:lnTo>
                        <a:pt x="38" y="46"/>
                      </a:lnTo>
                      <a:lnTo>
                        <a:pt x="34" y="40"/>
                      </a:lnTo>
                      <a:lnTo>
                        <a:pt x="32" y="36"/>
                      </a:lnTo>
                      <a:lnTo>
                        <a:pt x="32" y="32"/>
                      </a:lnTo>
                      <a:lnTo>
                        <a:pt x="32" y="32"/>
                      </a:lnTo>
                      <a:lnTo>
                        <a:pt x="34" y="30"/>
                      </a:lnTo>
                      <a:lnTo>
                        <a:pt x="34" y="30"/>
                      </a:lnTo>
                      <a:lnTo>
                        <a:pt x="30" y="28"/>
                      </a:lnTo>
                      <a:lnTo>
                        <a:pt x="26" y="26"/>
                      </a:lnTo>
                      <a:lnTo>
                        <a:pt x="26" y="26"/>
                      </a:lnTo>
                      <a:lnTo>
                        <a:pt x="26" y="24"/>
                      </a:lnTo>
                      <a:lnTo>
                        <a:pt x="28" y="24"/>
                      </a:lnTo>
                      <a:lnTo>
                        <a:pt x="34" y="24"/>
                      </a:lnTo>
                      <a:lnTo>
                        <a:pt x="38" y="22"/>
                      </a:lnTo>
                      <a:lnTo>
                        <a:pt x="38" y="22"/>
                      </a:lnTo>
                      <a:lnTo>
                        <a:pt x="38" y="18"/>
                      </a:lnTo>
                      <a:lnTo>
                        <a:pt x="38" y="18"/>
                      </a:lnTo>
                      <a:lnTo>
                        <a:pt x="36" y="16"/>
                      </a:lnTo>
                      <a:lnTo>
                        <a:pt x="36" y="14"/>
                      </a:lnTo>
                      <a:lnTo>
                        <a:pt x="36" y="14"/>
                      </a:lnTo>
                      <a:lnTo>
                        <a:pt x="36" y="10"/>
                      </a:lnTo>
                      <a:lnTo>
                        <a:pt x="36" y="8"/>
                      </a:lnTo>
                      <a:lnTo>
                        <a:pt x="34" y="8"/>
                      </a:lnTo>
                      <a:lnTo>
                        <a:pt x="32" y="4"/>
                      </a:lnTo>
                      <a:lnTo>
                        <a:pt x="32" y="4"/>
                      </a:lnTo>
                      <a:lnTo>
                        <a:pt x="32" y="2"/>
                      </a:lnTo>
                      <a:lnTo>
                        <a:pt x="30" y="0"/>
                      </a:lnTo>
                      <a:lnTo>
                        <a:pt x="26" y="2"/>
                      </a:lnTo>
                      <a:lnTo>
                        <a:pt x="22" y="6"/>
                      </a:lnTo>
                      <a:lnTo>
                        <a:pt x="22" y="6"/>
                      </a:lnTo>
                      <a:lnTo>
                        <a:pt x="20" y="8"/>
                      </a:lnTo>
                      <a:lnTo>
                        <a:pt x="16" y="8"/>
                      </a:lnTo>
                      <a:lnTo>
                        <a:pt x="8" y="10"/>
                      </a:lnTo>
                      <a:lnTo>
                        <a:pt x="2" y="10"/>
                      </a:lnTo>
                      <a:lnTo>
                        <a:pt x="0" y="12"/>
                      </a:lnTo>
                      <a:lnTo>
                        <a:pt x="2" y="14"/>
                      </a:lnTo>
                      <a:lnTo>
                        <a:pt x="2" y="14"/>
                      </a:lnTo>
                      <a:lnTo>
                        <a:pt x="2" y="14"/>
                      </a:lnTo>
                      <a:lnTo>
                        <a:pt x="4" y="14"/>
                      </a:lnTo>
                      <a:lnTo>
                        <a:pt x="10" y="14"/>
                      </a:lnTo>
                      <a:lnTo>
                        <a:pt x="10" y="14"/>
                      </a:lnTo>
                      <a:lnTo>
                        <a:pt x="14" y="16"/>
                      </a:lnTo>
                      <a:lnTo>
                        <a:pt x="16" y="18"/>
                      </a:lnTo>
                      <a:lnTo>
                        <a:pt x="16" y="18"/>
                      </a:lnTo>
                      <a:lnTo>
                        <a:pt x="12" y="20"/>
                      </a:lnTo>
                      <a:lnTo>
                        <a:pt x="12" y="20"/>
                      </a:lnTo>
                      <a:lnTo>
                        <a:pt x="10" y="20"/>
                      </a:lnTo>
                      <a:lnTo>
                        <a:pt x="10" y="24"/>
                      </a:lnTo>
                      <a:lnTo>
                        <a:pt x="14" y="28"/>
                      </a:lnTo>
                      <a:lnTo>
                        <a:pt x="18" y="30"/>
                      </a:lnTo>
                      <a:lnTo>
                        <a:pt x="18" y="30"/>
                      </a:lnTo>
                      <a:lnTo>
                        <a:pt x="22" y="30"/>
                      </a:lnTo>
                      <a:lnTo>
                        <a:pt x="22" y="30"/>
                      </a:lnTo>
                      <a:lnTo>
                        <a:pt x="20" y="32"/>
                      </a:lnTo>
                      <a:lnTo>
                        <a:pt x="20" y="34"/>
                      </a:lnTo>
                      <a:lnTo>
                        <a:pt x="20" y="34"/>
                      </a:lnTo>
                      <a:lnTo>
                        <a:pt x="24" y="40"/>
                      </a:lnTo>
                      <a:lnTo>
                        <a:pt x="34" y="48"/>
                      </a:lnTo>
                      <a:lnTo>
                        <a:pt x="34" y="48"/>
                      </a:lnTo>
                      <a:lnTo>
                        <a:pt x="38" y="52"/>
                      </a:lnTo>
                      <a:lnTo>
                        <a:pt x="40" y="54"/>
                      </a:lnTo>
                      <a:lnTo>
                        <a:pt x="40" y="56"/>
                      </a:lnTo>
                      <a:lnTo>
                        <a:pt x="42" y="58"/>
                      </a:lnTo>
                      <a:lnTo>
                        <a:pt x="42" y="58"/>
                      </a:lnTo>
                      <a:lnTo>
                        <a:pt x="44" y="62"/>
                      </a:lnTo>
                      <a:lnTo>
                        <a:pt x="46" y="64"/>
                      </a:lnTo>
                      <a:lnTo>
                        <a:pt x="50" y="68"/>
                      </a:lnTo>
                      <a:lnTo>
                        <a:pt x="54" y="68"/>
                      </a:lnTo>
                      <a:lnTo>
                        <a:pt x="54" y="68"/>
                      </a:lnTo>
                      <a:lnTo>
                        <a:pt x="60" y="68"/>
                      </a:lnTo>
                      <a:lnTo>
                        <a:pt x="62" y="66"/>
                      </a:lnTo>
                      <a:lnTo>
                        <a:pt x="62" y="64"/>
                      </a:lnTo>
                      <a:lnTo>
                        <a:pt x="60" y="60"/>
                      </a:lnTo>
                      <a:lnTo>
                        <a:pt x="60" y="60"/>
                      </a:lnTo>
                      <a:lnTo>
                        <a:pt x="56" y="58"/>
                      </a:lnTo>
                      <a:lnTo>
                        <a:pt x="52" y="58"/>
                      </a:lnTo>
                      <a:lnTo>
                        <a:pt x="50" y="58"/>
                      </a:lnTo>
                      <a:lnTo>
                        <a:pt x="52" y="56"/>
                      </a:lnTo>
                      <a:lnTo>
                        <a:pt x="52" y="5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4" name="Freeform 6050"/>
                <p:cNvSpPr>
                  <a:spLocks/>
                </p:cNvSpPr>
                <p:nvPr/>
              </p:nvSpPr>
              <p:spPr bwMode="auto">
                <a:xfrm>
                  <a:off x="1109980" y="2124393"/>
                  <a:ext cx="3810" cy="6350"/>
                </a:xfrm>
                <a:custGeom>
                  <a:avLst/>
                  <a:gdLst/>
                  <a:ahLst/>
                  <a:cxnLst>
                    <a:cxn ang="0">
                      <a:pos x="2" y="0"/>
                    </a:cxn>
                    <a:cxn ang="0">
                      <a:pos x="2" y="0"/>
                    </a:cxn>
                    <a:cxn ang="0">
                      <a:pos x="0" y="2"/>
                    </a:cxn>
                    <a:cxn ang="0">
                      <a:pos x="0" y="6"/>
                    </a:cxn>
                    <a:cxn ang="0">
                      <a:pos x="0" y="8"/>
                    </a:cxn>
                    <a:cxn ang="0">
                      <a:pos x="4" y="10"/>
                    </a:cxn>
                    <a:cxn ang="0">
                      <a:pos x="4" y="10"/>
                    </a:cxn>
                    <a:cxn ang="0">
                      <a:pos x="6" y="10"/>
                    </a:cxn>
                    <a:cxn ang="0">
                      <a:pos x="6" y="6"/>
                    </a:cxn>
                    <a:cxn ang="0">
                      <a:pos x="4" y="2"/>
                    </a:cxn>
                    <a:cxn ang="0">
                      <a:pos x="2" y="0"/>
                    </a:cxn>
                    <a:cxn ang="0">
                      <a:pos x="2" y="0"/>
                    </a:cxn>
                  </a:cxnLst>
                  <a:rect l="0" t="0" r="r" b="b"/>
                  <a:pathLst>
                    <a:path w="6" h="10">
                      <a:moveTo>
                        <a:pt x="2" y="0"/>
                      </a:moveTo>
                      <a:lnTo>
                        <a:pt x="2" y="0"/>
                      </a:lnTo>
                      <a:lnTo>
                        <a:pt x="0" y="2"/>
                      </a:lnTo>
                      <a:lnTo>
                        <a:pt x="0" y="6"/>
                      </a:lnTo>
                      <a:lnTo>
                        <a:pt x="0" y="8"/>
                      </a:lnTo>
                      <a:lnTo>
                        <a:pt x="4" y="10"/>
                      </a:lnTo>
                      <a:lnTo>
                        <a:pt x="4" y="10"/>
                      </a:lnTo>
                      <a:lnTo>
                        <a:pt x="6" y="10"/>
                      </a:lnTo>
                      <a:lnTo>
                        <a:pt x="6" y="6"/>
                      </a:lnTo>
                      <a:lnTo>
                        <a:pt x="4" y="2"/>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5" name="Freeform 6051"/>
                <p:cNvSpPr>
                  <a:spLocks/>
                </p:cNvSpPr>
                <p:nvPr/>
              </p:nvSpPr>
              <p:spPr bwMode="auto">
                <a:xfrm>
                  <a:off x="1096010" y="2111693"/>
                  <a:ext cx="8890" cy="12700"/>
                </a:xfrm>
                <a:custGeom>
                  <a:avLst/>
                  <a:gdLst/>
                  <a:ahLst/>
                  <a:cxnLst>
                    <a:cxn ang="0">
                      <a:pos x="0" y="2"/>
                    </a:cxn>
                    <a:cxn ang="0">
                      <a:pos x="0" y="2"/>
                    </a:cxn>
                    <a:cxn ang="0">
                      <a:pos x="2" y="8"/>
                    </a:cxn>
                    <a:cxn ang="0">
                      <a:pos x="10" y="18"/>
                    </a:cxn>
                    <a:cxn ang="0">
                      <a:pos x="10" y="18"/>
                    </a:cxn>
                    <a:cxn ang="0">
                      <a:pos x="14" y="20"/>
                    </a:cxn>
                    <a:cxn ang="0">
                      <a:pos x="14" y="16"/>
                    </a:cxn>
                    <a:cxn ang="0">
                      <a:pos x="12" y="12"/>
                    </a:cxn>
                    <a:cxn ang="0">
                      <a:pos x="10" y="8"/>
                    </a:cxn>
                    <a:cxn ang="0">
                      <a:pos x="10" y="8"/>
                    </a:cxn>
                    <a:cxn ang="0">
                      <a:pos x="4" y="0"/>
                    </a:cxn>
                    <a:cxn ang="0">
                      <a:pos x="2" y="0"/>
                    </a:cxn>
                    <a:cxn ang="0">
                      <a:pos x="0" y="2"/>
                    </a:cxn>
                    <a:cxn ang="0">
                      <a:pos x="0" y="2"/>
                    </a:cxn>
                  </a:cxnLst>
                  <a:rect l="0" t="0" r="r" b="b"/>
                  <a:pathLst>
                    <a:path w="14" h="20">
                      <a:moveTo>
                        <a:pt x="0" y="2"/>
                      </a:moveTo>
                      <a:lnTo>
                        <a:pt x="0" y="2"/>
                      </a:lnTo>
                      <a:lnTo>
                        <a:pt x="2" y="8"/>
                      </a:lnTo>
                      <a:lnTo>
                        <a:pt x="10" y="18"/>
                      </a:lnTo>
                      <a:lnTo>
                        <a:pt x="10" y="18"/>
                      </a:lnTo>
                      <a:lnTo>
                        <a:pt x="14" y="20"/>
                      </a:lnTo>
                      <a:lnTo>
                        <a:pt x="14" y="16"/>
                      </a:lnTo>
                      <a:lnTo>
                        <a:pt x="12" y="12"/>
                      </a:lnTo>
                      <a:lnTo>
                        <a:pt x="10" y="8"/>
                      </a:lnTo>
                      <a:lnTo>
                        <a:pt x="10" y="8"/>
                      </a:lnTo>
                      <a:lnTo>
                        <a:pt x="4" y="0"/>
                      </a:lnTo>
                      <a:lnTo>
                        <a:pt x="2" y="0"/>
                      </a:lnTo>
                      <a:lnTo>
                        <a:pt x="0" y="2"/>
                      </a:lnTo>
                      <a:lnTo>
                        <a:pt x="0"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6" name="Freeform 6052"/>
                <p:cNvSpPr>
                  <a:spLocks/>
                </p:cNvSpPr>
                <p:nvPr/>
              </p:nvSpPr>
              <p:spPr bwMode="auto">
                <a:xfrm>
                  <a:off x="1070610" y="2068513"/>
                  <a:ext cx="19050" cy="26670"/>
                </a:xfrm>
                <a:custGeom>
                  <a:avLst/>
                  <a:gdLst/>
                  <a:ahLst/>
                  <a:cxnLst>
                    <a:cxn ang="0">
                      <a:pos x="30" y="26"/>
                    </a:cxn>
                    <a:cxn ang="0">
                      <a:pos x="30" y="26"/>
                    </a:cxn>
                    <a:cxn ang="0">
                      <a:pos x="20" y="16"/>
                    </a:cxn>
                    <a:cxn ang="0">
                      <a:pos x="8" y="2"/>
                    </a:cxn>
                    <a:cxn ang="0">
                      <a:pos x="8" y="2"/>
                    </a:cxn>
                    <a:cxn ang="0">
                      <a:pos x="2" y="0"/>
                    </a:cxn>
                    <a:cxn ang="0">
                      <a:pos x="0" y="2"/>
                    </a:cxn>
                    <a:cxn ang="0">
                      <a:pos x="0" y="4"/>
                    </a:cxn>
                    <a:cxn ang="0">
                      <a:pos x="0" y="8"/>
                    </a:cxn>
                    <a:cxn ang="0">
                      <a:pos x="0" y="8"/>
                    </a:cxn>
                    <a:cxn ang="0">
                      <a:pos x="6" y="16"/>
                    </a:cxn>
                    <a:cxn ang="0">
                      <a:pos x="8" y="18"/>
                    </a:cxn>
                    <a:cxn ang="0">
                      <a:pos x="12" y="20"/>
                    </a:cxn>
                    <a:cxn ang="0">
                      <a:pos x="12" y="20"/>
                    </a:cxn>
                    <a:cxn ang="0">
                      <a:pos x="14" y="22"/>
                    </a:cxn>
                    <a:cxn ang="0">
                      <a:pos x="18" y="26"/>
                    </a:cxn>
                    <a:cxn ang="0">
                      <a:pos x="24" y="40"/>
                    </a:cxn>
                    <a:cxn ang="0">
                      <a:pos x="24" y="40"/>
                    </a:cxn>
                    <a:cxn ang="0">
                      <a:pos x="26" y="40"/>
                    </a:cxn>
                    <a:cxn ang="0">
                      <a:pos x="28" y="42"/>
                    </a:cxn>
                    <a:cxn ang="0">
                      <a:pos x="30" y="40"/>
                    </a:cxn>
                    <a:cxn ang="0">
                      <a:pos x="30" y="38"/>
                    </a:cxn>
                    <a:cxn ang="0">
                      <a:pos x="30" y="38"/>
                    </a:cxn>
                    <a:cxn ang="0">
                      <a:pos x="30" y="36"/>
                    </a:cxn>
                    <a:cxn ang="0">
                      <a:pos x="30" y="34"/>
                    </a:cxn>
                    <a:cxn ang="0">
                      <a:pos x="30" y="32"/>
                    </a:cxn>
                    <a:cxn ang="0">
                      <a:pos x="30" y="26"/>
                    </a:cxn>
                    <a:cxn ang="0">
                      <a:pos x="30" y="26"/>
                    </a:cxn>
                  </a:cxnLst>
                  <a:rect l="0" t="0" r="r" b="b"/>
                  <a:pathLst>
                    <a:path w="30" h="42">
                      <a:moveTo>
                        <a:pt x="30" y="26"/>
                      </a:moveTo>
                      <a:lnTo>
                        <a:pt x="30" y="26"/>
                      </a:lnTo>
                      <a:lnTo>
                        <a:pt x="20" y="16"/>
                      </a:lnTo>
                      <a:lnTo>
                        <a:pt x="8" y="2"/>
                      </a:lnTo>
                      <a:lnTo>
                        <a:pt x="8" y="2"/>
                      </a:lnTo>
                      <a:lnTo>
                        <a:pt x="2" y="0"/>
                      </a:lnTo>
                      <a:lnTo>
                        <a:pt x="0" y="2"/>
                      </a:lnTo>
                      <a:lnTo>
                        <a:pt x="0" y="4"/>
                      </a:lnTo>
                      <a:lnTo>
                        <a:pt x="0" y="8"/>
                      </a:lnTo>
                      <a:lnTo>
                        <a:pt x="0" y="8"/>
                      </a:lnTo>
                      <a:lnTo>
                        <a:pt x="6" y="16"/>
                      </a:lnTo>
                      <a:lnTo>
                        <a:pt x="8" y="18"/>
                      </a:lnTo>
                      <a:lnTo>
                        <a:pt x="12" y="20"/>
                      </a:lnTo>
                      <a:lnTo>
                        <a:pt x="12" y="20"/>
                      </a:lnTo>
                      <a:lnTo>
                        <a:pt x="14" y="22"/>
                      </a:lnTo>
                      <a:lnTo>
                        <a:pt x="18" y="26"/>
                      </a:lnTo>
                      <a:lnTo>
                        <a:pt x="24" y="40"/>
                      </a:lnTo>
                      <a:lnTo>
                        <a:pt x="24" y="40"/>
                      </a:lnTo>
                      <a:lnTo>
                        <a:pt x="26" y="40"/>
                      </a:lnTo>
                      <a:lnTo>
                        <a:pt x="28" y="42"/>
                      </a:lnTo>
                      <a:lnTo>
                        <a:pt x="30" y="40"/>
                      </a:lnTo>
                      <a:lnTo>
                        <a:pt x="30" y="38"/>
                      </a:lnTo>
                      <a:lnTo>
                        <a:pt x="30" y="38"/>
                      </a:lnTo>
                      <a:lnTo>
                        <a:pt x="30" y="36"/>
                      </a:lnTo>
                      <a:lnTo>
                        <a:pt x="30" y="34"/>
                      </a:lnTo>
                      <a:lnTo>
                        <a:pt x="30" y="32"/>
                      </a:lnTo>
                      <a:lnTo>
                        <a:pt x="30" y="26"/>
                      </a:lnTo>
                      <a:lnTo>
                        <a:pt x="30" y="2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7" name="Freeform 6053"/>
                <p:cNvSpPr>
                  <a:spLocks/>
                </p:cNvSpPr>
                <p:nvPr/>
              </p:nvSpPr>
              <p:spPr bwMode="auto">
                <a:xfrm>
                  <a:off x="1064260" y="2078673"/>
                  <a:ext cx="17780" cy="17780"/>
                </a:xfrm>
                <a:custGeom>
                  <a:avLst/>
                  <a:gdLst/>
                  <a:ahLst/>
                  <a:cxnLst>
                    <a:cxn ang="0">
                      <a:pos x="6" y="2"/>
                    </a:cxn>
                    <a:cxn ang="0">
                      <a:pos x="6" y="2"/>
                    </a:cxn>
                    <a:cxn ang="0">
                      <a:pos x="0" y="0"/>
                    </a:cxn>
                    <a:cxn ang="0">
                      <a:pos x="0" y="0"/>
                    </a:cxn>
                    <a:cxn ang="0">
                      <a:pos x="0" y="0"/>
                    </a:cxn>
                    <a:cxn ang="0">
                      <a:pos x="4" y="10"/>
                    </a:cxn>
                    <a:cxn ang="0">
                      <a:pos x="4" y="10"/>
                    </a:cxn>
                    <a:cxn ang="0">
                      <a:pos x="8" y="14"/>
                    </a:cxn>
                    <a:cxn ang="0">
                      <a:pos x="12" y="16"/>
                    </a:cxn>
                    <a:cxn ang="0">
                      <a:pos x="16" y="18"/>
                    </a:cxn>
                    <a:cxn ang="0">
                      <a:pos x="20" y="24"/>
                    </a:cxn>
                    <a:cxn ang="0">
                      <a:pos x="20" y="24"/>
                    </a:cxn>
                    <a:cxn ang="0">
                      <a:pos x="24" y="28"/>
                    </a:cxn>
                    <a:cxn ang="0">
                      <a:pos x="26" y="28"/>
                    </a:cxn>
                    <a:cxn ang="0">
                      <a:pos x="28" y="24"/>
                    </a:cxn>
                    <a:cxn ang="0">
                      <a:pos x="28" y="18"/>
                    </a:cxn>
                    <a:cxn ang="0">
                      <a:pos x="28" y="18"/>
                    </a:cxn>
                    <a:cxn ang="0">
                      <a:pos x="24" y="14"/>
                    </a:cxn>
                    <a:cxn ang="0">
                      <a:pos x="20" y="10"/>
                    </a:cxn>
                    <a:cxn ang="0">
                      <a:pos x="6" y="2"/>
                    </a:cxn>
                    <a:cxn ang="0">
                      <a:pos x="6" y="2"/>
                    </a:cxn>
                  </a:cxnLst>
                  <a:rect l="0" t="0" r="r" b="b"/>
                  <a:pathLst>
                    <a:path w="28" h="28">
                      <a:moveTo>
                        <a:pt x="6" y="2"/>
                      </a:moveTo>
                      <a:lnTo>
                        <a:pt x="6" y="2"/>
                      </a:lnTo>
                      <a:lnTo>
                        <a:pt x="0" y="0"/>
                      </a:lnTo>
                      <a:lnTo>
                        <a:pt x="0" y="0"/>
                      </a:lnTo>
                      <a:lnTo>
                        <a:pt x="0" y="0"/>
                      </a:lnTo>
                      <a:lnTo>
                        <a:pt x="4" y="10"/>
                      </a:lnTo>
                      <a:lnTo>
                        <a:pt x="4" y="10"/>
                      </a:lnTo>
                      <a:lnTo>
                        <a:pt x="8" y="14"/>
                      </a:lnTo>
                      <a:lnTo>
                        <a:pt x="12" y="16"/>
                      </a:lnTo>
                      <a:lnTo>
                        <a:pt x="16" y="18"/>
                      </a:lnTo>
                      <a:lnTo>
                        <a:pt x="20" y="24"/>
                      </a:lnTo>
                      <a:lnTo>
                        <a:pt x="20" y="24"/>
                      </a:lnTo>
                      <a:lnTo>
                        <a:pt x="24" y="28"/>
                      </a:lnTo>
                      <a:lnTo>
                        <a:pt x="26" y="28"/>
                      </a:lnTo>
                      <a:lnTo>
                        <a:pt x="28" y="24"/>
                      </a:lnTo>
                      <a:lnTo>
                        <a:pt x="28" y="18"/>
                      </a:lnTo>
                      <a:lnTo>
                        <a:pt x="28" y="18"/>
                      </a:lnTo>
                      <a:lnTo>
                        <a:pt x="24" y="14"/>
                      </a:lnTo>
                      <a:lnTo>
                        <a:pt x="20" y="10"/>
                      </a:lnTo>
                      <a:lnTo>
                        <a:pt x="6" y="2"/>
                      </a:lnTo>
                      <a:lnTo>
                        <a:pt x="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8" name="Freeform 6055"/>
                <p:cNvSpPr>
                  <a:spLocks/>
                </p:cNvSpPr>
                <p:nvPr/>
              </p:nvSpPr>
              <p:spPr bwMode="auto">
                <a:xfrm>
                  <a:off x="2825750" y="3357563"/>
                  <a:ext cx="6350" cy="11430"/>
                </a:xfrm>
                <a:custGeom>
                  <a:avLst/>
                  <a:gdLst/>
                  <a:ahLst/>
                  <a:cxnLst>
                    <a:cxn ang="0">
                      <a:pos x="0" y="4"/>
                    </a:cxn>
                    <a:cxn ang="0">
                      <a:pos x="0" y="4"/>
                    </a:cxn>
                    <a:cxn ang="0">
                      <a:pos x="0" y="10"/>
                    </a:cxn>
                    <a:cxn ang="0">
                      <a:pos x="2" y="16"/>
                    </a:cxn>
                    <a:cxn ang="0">
                      <a:pos x="4" y="18"/>
                    </a:cxn>
                    <a:cxn ang="0">
                      <a:pos x="8" y="18"/>
                    </a:cxn>
                    <a:cxn ang="0">
                      <a:pos x="8" y="18"/>
                    </a:cxn>
                    <a:cxn ang="0">
                      <a:pos x="10" y="16"/>
                    </a:cxn>
                    <a:cxn ang="0">
                      <a:pos x="10" y="14"/>
                    </a:cxn>
                    <a:cxn ang="0">
                      <a:pos x="10" y="8"/>
                    </a:cxn>
                    <a:cxn ang="0">
                      <a:pos x="10" y="8"/>
                    </a:cxn>
                    <a:cxn ang="0">
                      <a:pos x="8" y="6"/>
                    </a:cxn>
                    <a:cxn ang="0">
                      <a:pos x="6" y="2"/>
                    </a:cxn>
                    <a:cxn ang="0">
                      <a:pos x="2" y="0"/>
                    </a:cxn>
                    <a:cxn ang="0">
                      <a:pos x="2" y="0"/>
                    </a:cxn>
                    <a:cxn ang="0">
                      <a:pos x="0" y="4"/>
                    </a:cxn>
                    <a:cxn ang="0">
                      <a:pos x="0" y="4"/>
                    </a:cxn>
                  </a:cxnLst>
                  <a:rect l="0" t="0" r="r" b="b"/>
                  <a:pathLst>
                    <a:path w="10" h="18">
                      <a:moveTo>
                        <a:pt x="0" y="4"/>
                      </a:moveTo>
                      <a:lnTo>
                        <a:pt x="0" y="4"/>
                      </a:lnTo>
                      <a:lnTo>
                        <a:pt x="0" y="10"/>
                      </a:lnTo>
                      <a:lnTo>
                        <a:pt x="2" y="16"/>
                      </a:lnTo>
                      <a:lnTo>
                        <a:pt x="4" y="18"/>
                      </a:lnTo>
                      <a:lnTo>
                        <a:pt x="8" y="18"/>
                      </a:lnTo>
                      <a:lnTo>
                        <a:pt x="8" y="18"/>
                      </a:lnTo>
                      <a:lnTo>
                        <a:pt x="10" y="16"/>
                      </a:lnTo>
                      <a:lnTo>
                        <a:pt x="10" y="14"/>
                      </a:lnTo>
                      <a:lnTo>
                        <a:pt x="10" y="8"/>
                      </a:lnTo>
                      <a:lnTo>
                        <a:pt x="10" y="8"/>
                      </a:lnTo>
                      <a:lnTo>
                        <a:pt x="8" y="6"/>
                      </a:lnTo>
                      <a:lnTo>
                        <a:pt x="6" y="2"/>
                      </a:lnTo>
                      <a:lnTo>
                        <a:pt x="2" y="0"/>
                      </a:lnTo>
                      <a:lnTo>
                        <a:pt x="2" y="0"/>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9" name="Freeform 6056"/>
                <p:cNvSpPr>
                  <a:spLocks/>
                </p:cNvSpPr>
                <p:nvPr/>
              </p:nvSpPr>
              <p:spPr bwMode="auto">
                <a:xfrm>
                  <a:off x="2833370" y="3381693"/>
                  <a:ext cx="6350" cy="11430"/>
                </a:xfrm>
                <a:custGeom>
                  <a:avLst/>
                  <a:gdLst/>
                  <a:ahLst/>
                  <a:cxnLst>
                    <a:cxn ang="0">
                      <a:pos x="2" y="8"/>
                    </a:cxn>
                    <a:cxn ang="0">
                      <a:pos x="2" y="8"/>
                    </a:cxn>
                    <a:cxn ang="0">
                      <a:pos x="4" y="12"/>
                    </a:cxn>
                    <a:cxn ang="0">
                      <a:pos x="6" y="16"/>
                    </a:cxn>
                    <a:cxn ang="0">
                      <a:pos x="6" y="18"/>
                    </a:cxn>
                    <a:cxn ang="0">
                      <a:pos x="8" y="18"/>
                    </a:cxn>
                    <a:cxn ang="0">
                      <a:pos x="8" y="18"/>
                    </a:cxn>
                    <a:cxn ang="0">
                      <a:pos x="10" y="14"/>
                    </a:cxn>
                    <a:cxn ang="0">
                      <a:pos x="10" y="10"/>
                    </a:cxn>
                    <a:cxn ang="0">
                      <a:pos x="10" y="4"/>
                    </a:cxn>
                    <a:cxn ang="0">
                      <a:pos x="6" y="0"/>
                    </a:cxn>
                    <a:cxn ang="0">
                      <a:pos x="6" y="0"/>
                    </a:cxn>
                    <a:cxn ang="0">
                      <a:pos x="2" y="0"/>
                    </a:cxn>
                    <a:cxn ang="0">
                      <a:pos x="0" y="0"/>
                    </a:cxn>
                    <a:cxn ang="0">
                      <a:pos x="0" y="4"/>
                    </a:cxn>
                    <a:cxn ang="0">
                      <a:pos x="2" y="8"/>
                    </a:cxn>
                    <a:cxn ang="0">
                      <a:pos x="2" y="8"/>
                    </a:cxn>
                  </a:cxnLst>
                  <a:rect l="0" t="0" r="r" b="b"/>
                  <a:pathLst>
                    <a:path w="10" h="18">
                      <a:moveTo>
                        <a:pt x="2" y="8"/>
                      </a:moveTo>
                      <a:lnTo>
                        <a:pt x="2" y="8"/>
                      </a:lnTo>
                      <a:lnTo>
                        <a:pt x="4" y="12"/>
                      </a:lnTo>
                      <a:lnTo>
                        <a:pt x="6" y="16"/>
                      </a:lnTo>
                      <a:lnTo>
                        <a:pt x="6" y="18"/>
                      </a:lnTo>
                      <a:lnTo>
                        <a:pt x="8" y="18"/>
                      </a:lnTo>
                      <a:lnTo>
                        <a:pt x="8" y="18"/>
                      </a:lnTo>
                      <a:lnTo>
                        <a:pt x="10" y="14"/>
                      </a:lnTo>
                      <a:lnTo>
                        <a:pt x="10" y="10"/>
                      </a:lnTo>
                      <a:lnTo>
                        <a:pt x="10" y="4"/>
                      </a:lnTo>
                      <a:lnTo>
                        <a:pt x="6" y="0"/>
                      </a:lnTo>
                      <a:lnTo>
                        <a:pt x="6" y="0"/>
                      </a:lnTo>
                      <a:lnTo>
                        <a:pt x="2" y="0"/>
                      </a:lnTo>
                      <a:lnTo>
                        <a:pt x="0" y="0"/>
                      </a:lnTo>
                      <a:lnTo>
                        <a:pt x="0" y="4"/>
                      </a:lnTo>
                      <a:lnTo>
                        <a:pt x="2" y="8"/>
                      </a:lnTo>
                      <a:lnTo>
                        <a:pt x="2"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0" name="Freeform 6057"/>
                <p:cNvSpPr>
                  <a:spLocks/>
                </p:cNvSpPr>
                <p:nvPr/>
              </p:nvSpPr>
              <p:spPr bwMode="auto">
                <a:xfrm>
                  <a:off x="2832100" y="3353753"/>
                  <a:ext cx="10160" cy="8890"/>
                </a:xfrm>
                <a:custGeom>
                  <a:avLst/>
                  <a:gdLst/>
                  <a:ahLst/>
                  <a:cxnLst>
                    <a:cxn ang="0">
                      <a:pos x="0" y="12"/>
                    </a:cxn>
                    <a:cxn ang="0">
                      <a:pos x="0" y="12"/>
                    </a:cxn>
                    <a:cxn ang="0">
                      <a:pos x="4" y="14"/>
                    </a:cxn>
                    <a:cxn ang="0">
                      <a:pos x="8" y="12"/>
                    </a:cxn>
                    <a:cxn ang="0">
                      <a:pos x="8" y="12"/>
                    </a:cxn>
                    <a:cxn ang="0">
                      <a:pos x="12" y="12"/>
                    </a:cxn>
                    <a:cxn ang="0">
                      <a:pos x="14" y="12"/>
                    </a:cxn>
                    <a:cxn ang="0">
                      <a:pos x="16" y="14"/>
                    </a:cxn>
                    <a:cxn ang="0">
                      <a:pos x="16" y="12"/>
                    </a:cxn>
                    <a:cxn ang="0">
                      <a:pos x="16" y="12"/>
                    </a:cxn>
                    <a:cxn ang="0">
                      <a:pos x="14" y="8"/>
                    </a:cxn>
                    <a:cxn ang="0">
                      <a:pos x="12" y="8"/>
                    </a:cxn>
                    <a:cxn ang="0">
                      <a:pos x="10" y="6"/>
                    </a:cxn>
                    <a:cxn ang="0">
                      <a:pos x="8" y="4"/>
                    </a:cxn>
                    <a:cxn ang="0">
                      <a:pos x="8" y="4"/>
                    </a:cxn>
                    <a:cxn ang="0">
                      <a:pos x="6" y="0"/>
                    </a:cxn>
                    <a:cxn ang="0">
                      <a:pos x="4" y="0"/>
                    </a:cxn>
                    <a:cxn ang="0">
                      <a:pos x="2" y="0"/>
                    </a:cxn>
                    <a:cxn ang="0">
                      <a:pos x="2" y="2"/>
                    </a:cxn>
                    <a:cxn ang="0">
                      <a:pos x="2" y="2"/>
                    </a:cxn>
                    <a:cxn ang="0">
                      <a:pos x="2" y="6"/>
                    </a:cxn>
                    <a:cxn ang="0">
                      <a:pos x="2" y="8"/>
                    </a:cxn>
                    <a:cxn ang="0">
                      <a:pos x="0" y="10"/>
                    </a:cxn>
                    <a:cxn ang="0">
                      <a:pos x="0" y="12"/>
                    </a:cxn>
                    <a:cxn ang="0">
                      <a:pos x="0" y="12"/>
                    </a:cxn>
                  </a:cxnLst>
                  <a:rect l="0" t="0" r="r" b="b"/>
                  <a:pathLst>
                    <a:path w="16" h="14">
                      <a:moveTo>
                        <a:pt x="0" y="12"/>
                      </a:moveTo>
                      <a:lnTo>
                        <a:pt x="0" y="12"/>
                      </a:lnTo>
                      <a:lnTo>
                        <a:pt x="4" y="14"/>
                      </a:lnTo>
                      <a:lnTo>
                        <a:pt x="8" y="12"/>
                      </a:lnTo>
                      <a:lnTo>
                        <a:pt x="8" y="12"/>
                      </a:lnTo>
                      <a:lnTo>
                        <a:pt x="12" y="12"/>
                      </a:lnTo>
                      <a:lnTo>
                        <a:pt x="14" y="12"/>
                      </a:lnTo>
                      <a:lnTo>
                        <a:pt x="16" y="14"/>
                      </a:lnTo>
                      <a:lnTo>
                        <a:pt x="16" y="12"/>
                      </a:lnTo>
                      <a:lnTo>
                        <a:pt x="16" y="12"/>
                      </a:lnTo>
                      <a:lnTo>
                        <a:pt x="14" y="8"/>
                      </a:lnTo>
                      <a:lnTo>
                        <a:pt x="12" y="8"/>
                      </a:lnTo>
                      <a:lnTo>
                        <a:pt x="10" y="6"/>
                      </a:lnTo>
                      <a:lnTo>
                        <a:pt x="8" y="4"/>
                      </a:lnTo>
                      <a:lnTo>
                        <a:pt x="8" y="4"/>
                      </a:lnTo>
                      <a:lnTo>
                        <a:pt x="6" y="0"/>
                      </a:lnTo>
                      <a:lnTo>
                        <a:pt x="4" y="0"/>
                      </a:lnTo>
                      <a:lnTo>
                        <a:pt x="2" y="0"/>
                      </a:lnTo>
                      <a:lnTo>
                        <a:pt x="2" y="2"/>
                      </a:lnTo>
                      <a:lnTo>
                        <a:pt x="2" y="2"/>
                      </a:lnTo>
                      <a:lnTo>
                        <a:pt x="2" y="6"/>
                      </a:lnTo>
                      <a:lnTo>
                        <a:pt x="2" y="8"/>
                      </a:lnTo>
                      <a:lnTo>
                        <a:pt x="0" y="10"/>
                      </a:lnTo>
                      <a:lnTo>
                        <a:pt x="0" y="12"/>
                      </a:lnTo>
                      <a:lnTo>
                        <a:pt x="0" y="1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1" name="Freeform 6058"/>
                <p:cNvSpPr>
                  <a:spLocks/>
                </p:cNvSpPr>
                <p:nvPr/>
              </p:nvSpPr>
              <p:spPr bwMode="auto">
                <a:xfrm>
                  <a:off x="2844800" y="3428683"/>
                  <a:ext cx="6350" cy="11430"/>
                </a:xfrm>
                <a:custGeom>
                  <a:avLst/>
                  <a:gdLst/>
                  <a:ahLst/>
                  <a:cxnLst>
                    <a:cxn ang="0">
                      <a:pos x="4" y="2"/>
                    </a:cxn>
                    <a:cxn ang="0">
                      <a:pos x="4" y="2"/>
                    </a:cxn>
                    <a:cxn ang="0">
                      <a:pos x="2" y="6"/>
                    </a:cxn>
                    <a:cxn ang="0">
                      <a:pos x="0" y="10"/>
                    </a:cxn>
                    <a:cxn ang="0">
                      <a:pos x="0" y="14"/>
                    </a:cxn>
                    <a:cxn ang="0">
                      <a:pos x="2" y="18"/>
                    </a:cxn>
                    <a:cxn ang="0">
                      <a:pos x="2" y="18"/>
                    </a:cxn>
                    <a:cxn ang="0">
                      <a:pos x="6" y="18"/>
                    </a:cxn>
                    <a:cxn ang="0">
                      <a:pos x="6" y="18"/>
                    </a:cxn>
                    <a:cxn ang="0">
                      <a:pos x="8" y="10"/>
                    </a:cxn>
                    <a:cxn ang="0">
                      <a:pos x="8" y="10"/>
                    </a:cxn>
                    <a:cxn ang="0">
                      <a:pos x="10" y="6"/>
                    </a:cxn>
                    <a:cxn ang="0">
                      <a:pos x="8" y="2"/>
                    </a:cxn>
                    <a:cxn ang="0">
                      <a:pos x="6" y="0"/>
                    </a:cxn>
                    <a:cxn ang="0">
                      <a:pos x="4" y="2"/>
                    </a:cxn>
                    <a:cxn ang="0">
                      <a:pos x="4" y="2"/>
                    </a:cxn>
                  </a:cxnLst>
                  <a:rect l="0" t="0" r="r" b="b"/>
                  <a:pathLst>
                    <a:path w="10" h="18">
                      <a:moveTo>
                        <a:pt x="4" y="2"/>
                      </a:moveTo>
                      <a:lnTo>
                        <a:pt x="4" y="2"/>
                      </a:lnTo>
                      <a:lnTo>
                        <a:pt x="2" y="6"/>
                      </a:lnTo>
                      <a:lnTo>
                        <a:pt x="0" y="10"/>
                      </a:lnTo>
                      <a:lnTo>
                        <a:pt x="0" y="14"/>
                      </a:lnTo>
                      <a:lnTo>
                        <a:pt x="2" y="18"/>
                      </a:lnTo>
                      <a:lnTo>
                        <a:pt x="2" y="18"/>
                      </a:lnTo>
                      <a:lnTo>
                        <a:pt x="6" y="18"/>
                      </a:lnTo>
                      <a:lnTo>
                        <a:pt x="6" y="18"/>
                      </a:lnTo>
                      <a:lnTo>
                        <a:pt x="8" y="10"/>
                      </a:lnTo>
                      <a:lnTo>
                        <a:pt x="8" y="10"/>
                      </a:lnTo>
                      <a:lnTo>
                        <a:pt x="10" y="6"/>
                      </a:lnTo>
                      <a:lnTo>
                        <a:pt x="8" y="2"/>
                      </a:lnTo>
                      <a:lnTo>
                        <a:pt x="6" y="0"/>
                      </a:lnTo>
                      <a:lnTo>
                        <a:pt x="4" y="2"/>
                      </a:lnTo>
                      <a:lnTo>
                        <a:pt x="4"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2" name="Freeform 6059"/>
                <p:cNvSpPr>
                  <a:spLocks/>
                </p:cNvSpPr>
                <p:nvPr/>
              </p:nvSpPr>
              <p:spPr bwMode="auto">
                <a:xfrm>
                  <a:off x="2824480" y="3332163"/>
                  <a:ext cx="5080" cy="5080"/>
                </a:xfrm>
                <a:custGeom>
                  <a:avLst/>
                  <a:gdLst/>
                  <a:ahLst/>
                  <a:cxnLst>
                    <a:cxn ang="0">
                      <a:pos x="2" y="8"/>
                    </a:cxn>
                    <a:cxn ang="0">
                      <a:pos x="2" y="8"/>
                    </a:cxn>
                    <a:cxn ang="0">
                      <a:pos x="6" y="8"/>
                    </a:cxn>
                    <a:cxn ang="0">
                      <a:pos x="8" y="6"/>
                    </a:cxn>
                    <a:cxn ang="0">
                      <a:pos x="8" y="4"/>
                    </a:cxn>
                    <a:cxn ang="0">
                      <a:pos x="4" y="2"/>
                    </a:cxn>
                    <a:cxn ang="0">
                      <a:pos x="4" y="2"/>
                    </a:cxn>
                    <a:cxn ang="0">
                      <a:pos x="2" y="0"/>
                    </a:cxn>
                    <a:cxn ang="0">
                      <a:pos x="0" y="4"/>
                    </a:cxn>
                    <a:cxn ang="0">
                      <a:pos x="0" y="6"/>
                    </a:cxn>
                    <a:cxn ang="0">
                      <a:pos x="2" y="8"/>
                    </a:cxn>
                    <a:cxn ang="0">
                      <a:pos x="2" y="8"/>
                    </a:cxn>
                  </a:cxnLst>
                  <a:rect l="0" t="0" r="r" b="b"/>
                  <a:pathLst>
                    <a:path w="8" h="8">
                      <a:moveTo>
                        <a:pt x="2" y="8"/>
                      </a:moveTo>
                      <a:lnTo>
                        <a:pt x="2" y="8"/>
                      </a:lnTo>
                      <a:lnTo>
                        <a:pt x="6" y="8"/>
                      </a:lnTo>
                      <a:lnTo>
                        <a:pt x="8" y="6"/>
                      </a:lnTo>
                      <a:lnTo>
                        <a:pt x="8" y="4"/>
                      </a:lnTo>
                      <a:lnTo>
                        <a:pt x="4" y="2"/>
                      </a:lnTo>
                      <a:lnTo>
                        <a:pt x="4" y="2"/>
                      </a:lnTo>
                      <a:lnTo>
                        <a:pt x="2" y="0"/>
                      </a:lnTo>
                      <a:lnTo>
                        <a:pt x="0" y="4"/>
                      </a:lnTo>
                      <a:lnTo>
                        <a:pt x="0" y="6"/>
                      </a:lnTo>
                      <a:lnTo>
                        <a:pt x="2" y="8"/>
                      </a:lnTo>
                      <a:lnTo>
                        <a:pt x="2"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3" name="Freeform 6060"/>
                <p:cNvSpPr>
                  <a:spLocks/>
                </p:cNvSpPr>
                <p:nvPr/>
              </p:nvSpPr>
              <p:spPr bwMode="auto">
                <a:xfrm>
                  <a:off x="2839720" y="3451543"/>
                  <a:ext cx="3810" cy="7620"/>
                </a:xfrm>
                <a:custGeom>
                  <a:avLst/>
                  <a:gdLst/>
                  <a:ahLst/>
                  <a:cxnLst>
                    <a:cxn ang="0">
                      <a:pos x="4" y="0"/>
                    </a:cxn>
                    <a:cxn ang="0">
                      <a:pos x="4" y="0"/>
                    </a:cxn>
                    <a:cxn ang="0">
                      <a:pos x="2" y="0"/>
                    </a:cxn>
                    <a:cxn ang="0">
                      <a:pos x="0" y="2"/>
                    </a:cxn>
                    <a:cxn ang="0">
                      <a:pos x="0" y="8"/>
                    </a:cxn>
                    <a:cxn ang="0">
                      <a:pos x="2" y="12"/>
                    </a:cxn>
                    <a:cxn ang="0">
                      <a:pos x="2" y="12"/>
                    </a:cxn>
                    <a:cxn ang="0">
                      <a:pos x="4" y="12"/>
                    </a:cxn>
                    <a:cxn ang="0">
                      <a:pos x="6" y="8"/>
                    </a:cxn>
                    <a:cxn ang="0">
                      <a:pos x="6" y="2"/>
                    </a:cxn>
                    <a:cxn ang="0">
                      <a:pos x="4" y="0"/>
                    </a:cxn>
                    <a:cxn ang="0">
                      <a:pos x="4" y="0"/>
                    </a:cxn>
                  </a:cxnLst>
                  <a:rect l="0" t="0" r="r" b="b"/>
                  <a:pathLst>
                    <a:path w="6" h="12">
                      <a:moveTo>
                        <a:pt x="4" y="0"/>
                      </a:moveTo>
                      <a:lnTo>
                        <a:pt x="4" y="0"/>
                      </a:lnTo>
                      <a:lnTo>
                        <a:pt x="2" y="0"/>
                      </a:lnTo>
                      <a:lnTo>
                        <a:pt x="0" y="2"/>
                      </a:lnTo>
                      <a:lnTo>
                        <a:pt x="0" y="8"/>
                      </a:lnTo>
                      <a:lnTo>
                        <a:pt x="2" y="12"/>
                      </a:lnTo>
                      <a:lnTo>
                        <a:pt x="2" y="12"/>
                      </a:lnTo>
                      <a:lnTo>
                        <a:pt x="4" y="12"/>
                      </a:lnTo>
                      <a:lnTo>
                        <a:pt x="6" y="8"/>
                      </a:lnTo>
                      <a:lnTo>
                        <a:pt x="6" y="2"/>
                      </a:lnTo>
                      <a:lnTo>
                        <a:pt x="4" y="0"/>
                      </a:lnTo>
                      <a:lnTo>
                        <a:pt x="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4" name="Freeform 6061"/>
                <p:cNvSpPr>
                  <a:spLocks/>
                </p:cNvSpPr>
                <p:nvPr/>
              </p:nvSpPr>
              <p:spPr bwMode="auto">
                <a:xfrm>
                  <a:off x="2840990" y="3404553"/>
                  <a:ext cx="11430" cy="15240"/>
                </a:xfrm>
                <a:custGeom>
                  <a:avLst/>
                  <a:gdLst/>
                  <a:ahLst/>
                  <a:cxnLst>
                    <a:cxn ang="0">
                      <a:pos x="10" y="20"/>
                    </a:cxn>
                    <a:cxn ang="0">
                      <a:pos x="10" y="20"/>
                    </a:cxn>
                    <a:cxn ang="0">
                      <a:pos x="12" y="22"/>
                    </a:cxn>
                    <a:cxn ang="0">
                      <a:pos x="14" y="22"/>
                    </a:cxn>
                    <a:cxn ang="0">
                      <a:pos x="14" y="24"/>
                    </a:cxn>
                    <a:cxn ang="0">
                      <a:pos x="16" y="24"/>
                    </a:cxn>
                    <a:cxn ang="0">
                      <a:pos x="16" y="24"/>
                    </a:cxn>
                    <a:cxn ang="0">
                      <a:pos x="18" y="22"/>
                    </a:cxn>
                    <a:cxn ang="0">
                      <a:pos x="18" y="16"/>
                    </a:cxn>
                    <a:cxn ang="0">
                      <a:pos x="14" y="10"/>
                    </a:cxn>
                    <a:cxn ang="0">
                      <a:pos x="10" y="4"/>
                    </a:cxn>
                    <a:cxn ang="0">
                      <a:pos x="10" y="4"/>
                    </a:cxn>
                    <a:cxn ang="0">
                      <a:pos x="6" y="0"/>
                    </a:cxn>
                    <a:cxn ang="0">
                      <a:pos x="2" y="0"/>
                    </a:cxn>
                    <a:cxn ang="0">
                      <a:pos x="0" y="2"/>
                    </a:cxn>
                    <a:cxn ang="0">
                      <a:pos x="2" y="6"/>
                    </a:cxn>
                    <a:cxn ang="0">
                      <a:pos x="2" y="6"/>
                    </a:cxn>
                    <a:cxn ang="0">
                      <a:pos x="4" y="12"/>
                    </a:cxn>
                    <a:cxn ang="0">
                      <a:pos x="4" y="16"/>
                    </a:cxn>
                    <a:cxn ang="0">
                      <a:pos x="6" y="18"/>
                    </a:cxn>
                    <a:cxn ang="0">
                      <a:pos x="10" y="20"/>
                    </a:cxn>
                    <a:cxn ang="0">
                      <a:pos x="10" y="20"/>
                    </a:cxn>
                  </a:cxnLst>
                  <a:rect l="0" t="0" r="r" b="b"/>
                  <a:pathLst>
                    <a:path w="18" h="24">
                      <a:moveTo>
                        <a:pt x="10" y="20"/>
                      </a:moveTo>
                      <a:lnTo>
                        <a:pt x="10" y="20"/>
                      </a:lnTo>
                      <a:lnTo>
                        <a:pt x="12" y="22"/>
                      </a:lnTo>
                      <a:lnTo>
                        <a:pt x="14" y="22"/>
                      </a:lnTo>
                      <a:lnTo>
                        <a:pt x="14" y="24"/>
                      </a:lnTo>
                      <a:lnTo>
                        <a:pt x="16" y="24"/>
                      </a:lnTo>
                      <a:lnTo>
                        <a:pt x="16" y="24"/>
                      </a:lnTo>
                      <a:lnTo>
                        <a:pt x="18" y="22"/>
                      </a:lnTo>
                      <a:lnTo>
                        <a:pt x="18" y="16"/>
                      </a:lnTo>
                      <a:lnTo>
                        <a:pt x="14" y="10"/>
                      </a:lnTo>
                      <a:lnTo>
                        <a:pt x="10" y="4"/>
                      </a:lnTo>
                      <a:lnTo>
                        <a:pt x="10" y="4"/>
                      </a:lnTo>
                      <a:lnTo>
                        <a:pt x="6" y="0"/>
                      </a:lnTo>
                      <a:lnTo>
                        <a:pt x="2" y="0"/>
                      </a:lnTo>
                      <a:lnTo>
                        <a:pt x="0" y="2"/>
                      </a:lnTo>
                      <a:lnTo>
                        <a:pt x="2" y="6"/>
                      </a:lnTo>
                      <a:lnTo>
                        <a:pt x="2" y="6"/>
                      </a:lnTo>
                      <a:lnTo>
                        <a:pt x="4" y="12"/>
                      </a:lnTo>
                      <a:lnTo>
                        <a:pt x="4" y="16"/>
                      </a:lnTo>
                      <a:lnTo>
                        <a:pt x="6" y="18"/>
                      </a:lnTo>
                      <a:lnTo>
                        <a:pt x="10" y="20"/>
                      </a:lnTo>
                      <a:lnTo>
                        <a:pt x="10" y="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5" name="Freeform 6062"/>
                <p:cNvSpPr>
                  <a:spLocks/>
                </p:cNvSpPr>
                <p:nvPr/>
              </p:nvSpPr>
              <p:spPr bwMode="auto">
                <a:xfrm>
                  <a:off x="2827020" y="3487103"/>
                  <a:ext cx="5080" cy="7620"/>
                </a:xfrm>
                <a:custGeom>
                  <a:avLst/>
                  <a:gdLst/>
                  <a:ahLst/>
                  <a:cxnLst>
                    <a:cxn ang="0">
                      <a:pos x="4" y="0"/>
                    </a:cxn>
                    <a:cxn ang="0">
                      <a:pos x="4" y="0"/>
                    </a:cxn>
                    <a:cxn ang="0">
                      <a:pos x="2" y="2"/>
                    </a:cxn>
                    <a:cxn ang="0">
                      <a:pos x="0" y="6"/>
                    </a:cxn>
                    <a:cxn ang="0">
                      <a:pos x="0" y="10"/>
                    </a:cxn>
                    <a:cxn ang="0">
                      <a:pos x="4" y="12"/>
                    </a:cxn>
                    <a:cxn ang="0">
                      <a:pos x="4" y="12"/>
                    </a:cxn>
                    <a:cxn ang="0">
                      <a:pos x="6" y="10"/>
                    </a:cxn>
                    <a:cxn ang="0">
                      <a:pos x="8" y="6"/>
                    </a:cxn>
                    <a:cxn ang="0">
                      <a:pos x="6" y="2"/>
                    </a:cxn>
                    <a:cxn ang="0">
                      <a:pos x="4" y="0"/>
                    </a:cxn>
                    <a:cxn ang="0">
                      <a:pos x="4" y="0"/>
                    </a:cxn>
                  </a:cxnLst>
                  <a:rect l="0" t="0" r="r" b="b"/>
                  <a:pathLst>
                    <a:path w="8" h="12">
                      <a:moveTo>
                        <a:pt x="4" y="0"/>
                      </a:moveTo>
                      <a:lnTo>
                        <a:pt x="4" y="0"/>
                      </a:lnTo>
                      <a:lnTo>
                        <a:pt x="2" y="2"/>
                      </a:lnTo>
                      <a:lnTo>
                        <a:pt x="0" y="6"/>
                      </a:lnTo>
                      <a:lnTo>
                        <a:pt x="0" y="10"/>
                      </a:lnTo>
                      <a:lnTo>
                        <a:pt x="4" y="12"/>
                      </a:lnTo>
                      <a:lnTo>
                        <a:pt x="4" y="12"/>
                      </a:lnTo>
                      <a:lnTo>
                        <a:pt x="6" y="10"/>
                      </a:lnTo>
                      <a:lnTo>
                        <a:pt x="8" y="6"/>
                      </a:lnTo>
                      <a:lnTo>
                        <a:pt x="6" y="2"/>
                      </a:lnTo>
                      <a:lnTo>
                        <a:pt x="4" y="0"/>
                      </a:lnTo>
                      <a:lnTo>
                        <a:pt x="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6" name="Freeform 6063"/>
                <p:cNvSpPr>
                  <a:spLocks/>
                </p:cNvSpPr>
                <p:nvPr/>
              </p:nvSpPr>
              <p:spPr bwMode="auto">
                <a:xfrm>
                  <a:off x="2838450" y="3368993"/>
                  <a:ext cx="2540" cy="3810"/>
                </a:xfrm>
                <a:custGeom>
                  <a:avLst/>
                  <a:gdLst/>
                  <a:ahLst/>
                  <a:cxnLst>
                    <a:cxn ang="0">
                      <a:pos x="4" y="6"/>
                    </a:cxn>
                    <a:cxn ang="0">
                      <a:pos x="4" y="6"/>
                    </a:cxn>
                    <a:cxn ang="0">
                      <a:pos x="4" y="6"/>
                    </a:cxn>
                    <a:cxn ang="0">
                      <a:pos x="4" y="4"/>
                    </a:cxn>
                    <a:cxn ang="0">
                      <a:pos x="2" y="2"/>
                    </a:cxn>
                    <a:cxn ang="0">
                      <a:pos x="2" y="0"/>
                    </a:cxn>
                    <a:cxn ang="0">
                      <a:pos x="2" y="0"/>
                    </a:cxn>
                    <a:cxn ang="0">
                      <a:pos x="0" y="2"/>
                    </a:cxn>
                    <a:cxn ang="0">
                      <a:pos x="0" y="4"/>
                    </a:cxn>
                    <a:cxn ang="0">
                      <a:pos x="0" y="6"/>
                    </a:cxn>
                    <a:cxn ang="0">
                      <a:pos x="4" y="6"/>
                    </a:cxn>
                    <a:cxn ang="0">
                      <a:pos x="4" y="6"/>
                    </a:cxn>
                  </a:cxnLst>
                  <a:rect l="0" t="0" r="r" b="b"/>
                  <a:pathLst>
                    <a:path w="4" h="6">
                      <a:moveTo>
                        <a:pt x="4" y="6"/>
                      </a:moveTo>
                      <a:lnTo>
                        <a:pt x="4" y="6"/>
                      </a:lnTo>
                      <a:lnTo>
                        <a:pt x="4" y="6"/>
                      </a:lnTo>
                      <a:lnTo>
                        <a:pt x="4" y="4"/>
                      </a:lnTo>
                      <a:lnTo>
                        <a:pt x="2" y="2"/>
                      </a:lnTo>
                      <a:lnTo>
                        <a:pt x="2" y="0"/>
                      </a:lnTo>
                      <a:lnTo>
                        <a:pt x="2" y="0"/>
                      </a:lnTo>
                      <a:lnTo>
                        <a:pt x="0" y="2"/>
                      </a:lnTo>
                      <a:lnTo>
                        <a:pt x="0" y="4"/>
                      </a:lnTo>
                      <a:lnTo>
                        <a:pt x="0" y="6"/>
                      </a:lnTo>
                      <a:lnTo>
                        <a:pt x="4" y="6"/>
                      </a:lnTo>
                      <a:lnTo>
                        <a:pt x="4"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7" name="Freeform 6064"/>
                <p:cNvSpPr>
                  <a:spLocks/>
                </p:cNvSpPr>
                <p:nvPr/>
              </p:nvSpPr>
              <p:spPr bwMode="auto">
                <a:xfrm>
                  <a:off x="2823210" y="3530283"/>
                  <a:ext cx="26670" cy="25400"/>
                </a:xfrm>
                <a:custGeom>
                  <a:avLst/>
                  <a:gdLst/>
                  <a:ahLst/>
                  <a:cxnLst>
                    <a:cxn ang="0">
                      <a:pos x="18" y="4"/>
                    </a:cxn>
                    <a:cxn ang="0">
                      <a:pos x="18" y="4"/>
                    </a:cxn>
                    <a:cxn ang="0">
                      <a:pos x="10" y="6"/>
                    </a:cxn>
                    <a:cxn ang="0">
                      <a:pos x="10" y="6"/>
                    </a:cxn>
                    <a:cxn ang="0">
                      <a:pos x="10" y="8"/>
                    </a:cxn>
                    <a:cxn ang="0">
                      <a:pos x="16" y="12"/>
                    </a:cxn>
                    <a:cxn ang="0">
                      <a:pos x="16" y="16"/>
                    </a:cxn>
                    <a:cxn ang="0">
                      <a:pos x="18" y="18"/>
                    </a:cxn>
                    <a:cxn ang="0">
                      <a:pos x="18" y="18"/>
                    </a:cxn>
                    <a:cxn ang="0">
                      <a:pos x="18" y="24"/>
                    </a:cxn>
                    <a:cxn ang="0">
                      <a:pos x="16" y="28"/>
                    </a:cxn>
                    <a:cxn ang="0">
                      <a:pos x="4" y="34"/>
                    </a:cxn>
                    <a:cxn ang="0">
                      <a:pos x="4" y="34"/>
                    </a:cxn>
                    <a:cxn ang="0">
                      <a:pos x="0" y="38"/>
                    </a:cxn>
                    <a:cxn ang="0">
                      <a:pos x="0" y="40"/>
                    </a:cxn>
                    <a:cxn ang="0">
                      <a:pos x="2" y="40"/>
                    </a:cxn>
                    <a:cxn ang="0">
                      <a:pos x="22" y="40"/>
                    </a:cxn>
                    <a:cxn ang="0">
                      <a:pos x="22" y="40"/>
                    </a:cxn>
                    <a:cxn ang="0">
                      <a:pos x="30" y="38"/>
                    </a:cxn>
                    <a:cxn ang="0">
                      <a:pos x="36" y="34"/>
                    </a:cxn>
                    <a:cxn ang="0">
                      <a:pos x="38" y="30"/>
                    </a:cxn>
                    <a:cxn ang="0">
                      <a:pos x="38" y="26"/>
                    </a:cxn>
                    <a:cxn ang="0">
                      <a:pos x="36" y="14"/>
                    </a:cxn>
                    <a:cxn ang="0">
                      <a:pos x="36" y="10"/>
                    </a:cxn>
                    <a:cxn ang="0">
                      <a:pos x="38" y="6"/>
                    </a:cxn>
                    <a:cxn ang="0">
                      <a:pos x="38" y="6"/>
                    </a:cxn>
                    <a:cxn ang="0">
                      <a:pos x="42" y="2"/>
                    </a:cxn>
                    <a:cxn ang="0">
                      <a:pos x="38" y="0"/>
                    </a:cxn>
                    <a:cxn ang="0">
                      <a:pos x="18" y="4"/>
                    </a:cxn>
                    <a:cxn ang="0">
                      <a:pos x="18" y="4"/>
                    </a:cxn>
                  </a:cxnLst>
                  <a:rect l="0" t="0" r="r" b="b"/>
                  <a:pathLst>
                    <a:path w="42" h="40">
                      <a:moveTo>
                        <a:pt x="18" y="4"/>
                      </a:moveTo>
                      <a:lnTo>
                        <a:pt x="18" y="4"/>
                      </a:lnTo>
                      <a:lnTo>
                        <a:pt x="10" y="6"/>
                      </a:lnTo>
                      <a:lnTo>
                        <a:pt x="10" y="6"/>
                      </a:lnTo>
                      <a:lnTo>
                        <a:pt x="10" y="8"/>
                      </a:lnTo>
                      <a:lnTo>
                        <a:pt x="16" y="12"/>
                      </a:lnTo>
                      <a:lnTo>
                        <a:pt x="16" y="16"/>
                      </a:lnTo>
                      <a:lnTo>
                        <a:pt x="18" y="18"/>
                      </a:lnTo>
                      <a:lnTo>
                        <a:pt x="18" y="18"/>
                      </a:lnTo>
                      <a:lnTo>
                        <a:pt x="18" y="24"/>
                      </a:lnTo>
                      <a:lnTo>
                        <a:pt x="16" y="28"/>
                      </a:lnTo>
                      <a:lnTo>
                        <a:pt x="4" y="34"/>
                      </a:lnTo>
                      <a:lnTo>
                        <a:pt x="4" y="34"/>
                      </a:lnTo>
                      <a:lnTo>
                        <a:pt x="0" y="38"/>
                      </a:lnTo>
                      <a:lnTo>
                        <a:pt x="0" y="40"/>
                      </a:lnTo>
                      <a:lnTo>
                        <a:pt x="2" y="40"/>
                      </a:lnTo>
                      <a:lnTo>
                        <a:pt x="22" y="40"/>
                      </a:lnTo>
                      <a:lnTo>
                        <a:pt x="22" y="40"/>
                      </a:lnTo>
                      <a:lnTo>
                        <a:pt x="30" y="38"/>
                      </a:lnTo>
                      <a:lnTo>
                        <a:pt x="36" y="34"/>
                      </a:lnTo>
                      <a:lnTo>
                        <a:pt x="38" y="30"/>
                      </a:lnTo>
                      <a:lnTo>
                        <a:pt x="38" y="26"/>
                      </a:lnTo>
                      <a:lnTo>
                        <a:pt x="36" y="14"/>
                      </a:lnTo>
                      <a:lnTo>
                        <a:pt x="36" y="10"/>
                      </a:lnTo>
                      <a:lnTo>
                        <a:pt x="38" y="6"/>
                      </a:lnTo>
                      <a:lnTo>
                        <a:pt x="38" y="6"/>
                      </a:lnTo>
                      <a:lnTo>
                        <a:pt x="42" y="2"/>
                      </a:lnTo>
                      <a:lnTo>
                        <a:pt x="38" y="0"/>
                      </a:lnTo>
                      <a:lnTo>
                        <a:pt x="18" y="4"/>
                      </a:lnTo>
                      <a:lnTo>
                        <a:pt x="18"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8" name="Freeform 6065"/>
                <p:cNvSpPr>
                  <a:spLocks/>
                </p:cNvSpPr>
                <p:nvPr/>
              </p:nvSpPr>
              <p:spPr bwMode="auto">
                <a:xfrm>
                  <a:off x="2824480" y="3314383"/>
                  <a:ext cx="3810" cy="6350"/>
                </a:xfrm>
                <a:custGeom>
                  <a:avLst/>
                  <a:gdLst/>
                  <a:ahLst/>
                  <a:cxnLst>
                    <a:cxn ang="0">
                      <a:pos x="2" y="10"/>
                    </a:cxn>
                    <a:cxn ang="0">
                      <a:pos x="2" y="10"/>
                    </a:cxn>
                    <a:cxn ang="0">
                      <a:pos x="4" y="10"/>
                    </a:cxn>
                    <a:cxn ang="0">
                      <a:pos x="6" y="6"/>
                    </a:cxn>
                    <a:cxn ang="0">
                      <a:pos x="6" y="4"/>
                    </a:cxn>
                    <a:cxn ang="0">
                      <a:pos x="4" y="0"/>
                    </a:cxn>
                    <a:cxn ang="0">
                      <a:pos x="4" y="0"/>
                    </a:cxn>
                    <a:cxn ang="0">
                      <a:pos x="2" y="0"/>
                    </a:cxn>
                    <a:cxn ang="0">
                      <a:pos x="0" y="4"/>
                    </a:cxn>
                    <a:cxn ang="0">
                      <a:pos x="0" y="6"/>
                    </a:cxn>
                    <a:cxn ang="0">
                      <a:pos x="2" y="10"/>
                    </a:cxn>
                    <a:cxn ang="0">
                      <a:pos x="2" y="10"/>
                    </a:cxn>
                  </a:cxnLst>
                  <a:rect l="0" t="0" r="r" b="b"/>
                  <a:pathLst>
                    <a:path w="6" h="10">
                      <a:moveTo>
                        <a:pt x="2" y="10"/>
                      </a:moveTo>
                      <a:lnTo>
                        <a:pt x="2" y="10"/>
                      </a:lnTo>
                      <a:lnTo>
                        <a:pt x="4" y="10"/>
                      </a:lnTo>
                      <a:lnTo>
                        <a:pt x="6" y="6"/>
                      </a:lnTo>
                      <a:lnTo>
                        <a:pt x="6" y="4"/>
                      </a:lnTo>
                      <a:lnTo>
                        <a:pt x="4" y="0"/>
                      </a:lnTo>
                      <a:lnTo>
                        <a:pt x="4" y="0"/>
                      </a:lnTo>
                      <a:lnTo>
                        <a:pt x="2" y="0"/>
                      </a:lnTo>
                      <a:lnTo>
                        <a:pt x="0" y="4"/>
                      </a:lnTo>
                      <a:lnTo>
                        <a:pt x="0" y="6"/>
                      </a:lnTo>
                      <a:lnTo>
                        <a:pt x="2" y="10"/>
                      </a:lnTo>
                      <a:lnTo>
                        <a:pt x="2" y="1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9" name="Freeform 6066"/>
                <p:cNvSpPr>
                  <a:spLocks/>
                </p:cNvSpPr>
                <p:nvPr/>
              </p:nvSpPr>
              <p:spPr bwMode="auto">
                <a:xfrm>
                  <a:off x="2635250" y="3483293"/>
                  <a:ext cx="11430" cy="11430"/>
                </a:xfrm>
                <a:custGeom>
                  <a:avLst/>
                  <a:gdLst/>
                  <a:ahLst/>
                  <a:cxnLst>
                    <a:cxn ang="0">
                      <a:pos x="2" y="0"/>
                    </a:cxn>
                    <a:cxn ang="0">
                      <a:pos x="2" y="0"/>
                    </a:cxn>
                    <a:cxn ang="0">
                      <a:pos x="0" y="0"/>
                    </a:cxn>
                    <a:cxn ang="0">
                      <a:pos x="0" y="4"/>
                    </a:cxn>
                    <a:cxn ang="0">
                      <a:pos x="4" y="8"/>
                    </a:cxn>
                    <a:cxn ang="0">
                      <a:pos x="10" y="14"/>
                    </a:cxn>
                    <a:cxn ang="0">
                      <a:pos x="10" y="14"/>
                    </a:cxn>
                    <a:cxn ang="0">
                      <a:pos x="16" y="18"/>
                    </a:cxn>
                    <a:cxn ang="0">
                      <a:pos x="18" y="18"/>
                    </a:cxn>
                    <a:cxn ang="0">
                      <a:pos x="18" y="16"/>
                    </a:cxn>
                    <a:cxn ang="0">
                      <a:pos x="16" y="12"/>
                    </a:cxn>
                    <a:cxn ang="0">
                      <a:pos x="12" y="8"/>
                    </a:cxn>
                    <a:cxn ang="0">
                      <a:pos x="12" y="8"/>
                    </a:cxn>
                    <a:cxn ang="0">
                      <a:pos x="8" y="8"/>
                    </a:cxn>
                    <a:cxn ang="0">
                      <a:pos x="8" y="6"/>
                    </a:cxn>
                    <a:cxn ang="0">
                      <a:pos x="6" y="2"/>
                    </a:cxn>
                    <a:cxn ang="0">
                      <a:pos x="2" y="0"/>
                    </a:cxn>
                    <a:cxn ang="0">
                      <a:pos x="2" y="0"/>
                    </a:cxn>
                  </a:cxnLst>
                  <a:rect l="0" t="0" r="r" b="b"/>
                  <a:pathLst>
                    <a:path w="18" h="18">
                      <a:moveTo>
                        <a:pt x="2" y="0"/>
                      </a:moveTo>
                      <a:lnTo>
                        <a:pt x="2" y="0"/>
                      </a:lnTo>
                      <a:lnTo>
                        <a:pt x="0" y="0"/>
                      </a:lnTo>
                      <a:lnTo>
                        <a:pt x="0" y="4"/>
                      </a:lnTo>
                      <a:lnTo>
                        <a:pt x="4" y="8"/>
                      </a:lnTo>
                      <a:lnTo>
                        <a:pt x="10" y="14"/>
                      </a:lnTo>
                      <a:lnTo>
                        <a:pt x="10" y="14"/>
                      </a:lnTo>
                      <a:lnTo>
                        <a:pt x="16" y="18"/>
                      </a:lnTo>
                      <a:lnTo>
                        <a:pt x="18" y="18"/>
                      </a:lnTo>
                      <a:lnTo>
                        <a:pt x="18" y="16"/>
                      </a:lnTo>
                      <a:lnTo>
                        <a:pt x="16" y="12"/>
                      </a:lnTo>
                      <a:lnTo>
                        <a:pt x="12" y="8"/>
                      </a:lnTo>
                      <a:lnTo>
                        <a:pt x="12" y="8"/>
                      </a:lnTo>
                      <a:lnTo>
                        <a:pt x="8" y="8"/>
                      </a:lnTo>
                      <a:lnTo>
                        <a:pt x="8" y="6"/>
                      </a:lnTo>
                      <a:lnTo>
                        <a:pt x="6" y="2"/>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0" name="Freeform 6067"/>
                <p:cNvSpPr>
                  <a:spLocks/>
                </p:cNvSpPr>
                <p:nvPr/>
              </p:nvSpPr>
              <p:spPr bwMode="auto">
                <a:xfrm>
                  <a:off x="2688590" y="3290253"/>
                  <a:ext cx="40640" cy="17780"/>
                </a:xfrm>
                <a:custGeom>
                  <a:avLst/>
                  <a:gdLst/>
                  <a:ahLst/>
                  <a:cxnLst>
                    <a:cxn ang="0">
                      <a:pos x="42" y="2"/>
                    </a:cxn>
                    <a:cxn ang="0">
                      <a:pos x="42" y="2"/>
                    </a:cxn>
                    <a:cxn ang="0">
                      <a:pos x="22" y="0"/>
                    </a:cxn>
                    <a:cxn ang="0">
                      <a:pos x="8" y="0"/>
                    </a:cxn>
                    <a:cxn ang="0">
                      <a:pos x="4" y="2"/>
                    </a:cxn>
                    <a:cxn ang="0">
                      <a:pos x="0" y="6"/>
                    </a:cxn>
                    <a:cxn ang="0">
                      <a:pos x="0" y="12"/>
                    </a:cxn>
                    <a:cxn ang="0">
                      <a:pos x="0" y="18"/>
                    </a:cxn>
                    <a:cxn ang="0">
                      <a:pos x="0" y="18"/>
                    </a:cxn>
                    <a:cxn ang="0">
                      <a:pos x="0" y="24"/>
                    </a:cxn>
                    <a:cxn ang="0">
                      <a:pos x="2" y="28"/>
                    </a:cxn>
                    <a:cxn ang="0">
                      <a:pos x="6" y="28"/>
                    </a:cxn>
                    <a:cxn ang="0">
                      <a:pos x="16" y="28"/>
                    </a:cxn>
                    <a:cxn ang="0">
                      <a:pos x="16" y="28"/>
                    </a:cxn>
                    <a:cxn ang="0">
                      <a:pos x="26" y="26"/>
                    </a:cxn>
                    <a:cxn ang="0">
                      <a:pos x="32" y="28"/>
                    </a:cxn>
                    <a:cxn ang="0">
                      <a:pos x="38" y="28"/>
                    </a:cxn>
                    <a:cxn ang="0">
                      <a:pos x="48" y="26"/>
                    </a:cxn>
                    <a:cxn ang="0">
                      <a:pos x="48" y="26"/>
                    </a:cxn>
                    <a:cxn ang="0">
                      <a:pos x="58" y="20"/>
                    </a:cxn>
                    <a:cxn ang="0">
                      <a:pos x="62" y="16"/>
                    </a:cxn>
                    <a:cxn ang="0">
                      <a:pos x="64" y="14"/>
                    </a:cxn>
                    <a:cxn ang="0">
                      <a:pos x="62" y="10"/>
                    </a:cxn>
                    <a:cxn ang="0">
                      <a:pos x="58" y="6"/>
                    </a:cxn>
                    <a:cxn ang="0">
                      <a:pos x="52" y="4"/>
                    </a:cxn>
                    <a:cxn ang="0">
                      <a:pos x="42" y="2"/>
                    </a:cxn>
                    <a:cxn ang="0">
                      <a:pos x="42" y="2"/>
                    </a:cxn>
                  </a:cxnLst>
                  <a:rect l="0" t="0" r="r" b="b"/>
                  <a:pathLst>
                    <a:path w="64" h="28">
                      <a:moveTo>
                        <a:pt x="42" y="2"/>
                      </a:moveTo>
                      <a:lnTo>
                        <a:pt x="42" y="2"/>
                      </a:lnTo>
                      <a:lnTo>
                        <a:pt x="22" y="0"/>
                      </a:lnTo>
                      <a:lnTo>
                        <a:pt x="8" y="0"/>
                      </a:lnTo>
                      <a:lnTo>
                        <a:pt x="4" y="2"/>
                      </a:lnTo>
                      <a:lnTo>
                        <a:pt x="0" y="6"/>
                      </a:lnTo>
                      <a:lnTo>
                        <a:pt x="0" y="12"/>
                      </a:lnTo>
                      <a:lnTo>
                        <a:pt x="0" y="18"/>
                      </a:lnTo>
                      <a:lnTo>
                        <a:pt x="0" y="18"/>
                      </a:lnTo>
                      <a:lnTo>
                        <a:pt x="0" y="24"/>
                      </a:lnTo>
                      <a:lnTo>
                        <a:pt x="2" y="28"/>
                      </a:lnTo>
                      <a:lnTo>
                        <a:pt x="6" y="28"/>
                      </a:lnTo>
                      <a:lnTo>
                        <a:pt x="16" y="28"/>
                      </a:lnTo>
                      <a:lnTo>
                        <a:pt x="16" y="28"/>
                      </a:lnTo>
                      <a:lnTo>
                        <a:pt x="26" y="26"/>
                      </a:lnTo>
                      <a:lnTo>
                        <a:pt x="32" y="28"/>
                      </a:lnTo>
                      <a:lnTo>
                        <a:pt x="38" y="28"/>
                      </a:lnTo>
                      <a:lnTo>
                        <a:pt x="48" y="26"/>
                      </a:lnTo>
                      <a:lnTo>
                        <a:pt x="48" y="26"/>
                      </a:lnTo>
                      <a:lnTo>
                        <a:pt x="58" y="20"/>
                      </a:lnTo>
                      <a:lnTo>
                        <a:pt x="62" y="16"/>
                      </a:lnTo>
                      <a:lnTo>
                        <a:pt x="64" y="14"/>
                      </a:lnTo>
                      <a:lnTo>
                        <a:pt x="62" y="10"/>
                      </a:lnTo>
                      <a:lnTo>
                        <a:pt x="58" y="6"/>
                      </a:lnTo>
                      <a:lnTo>
                        <a:pt x="52" y="4"/>
                      </a:lnTo>
                      <a:lnTo>
                        <a:pt x="42" y="2"/>
                      </a:lnTo>
                      <a:lnTo>
                        <a:pt x="42"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1" name="Freeform 6068"/>
                <p:cNvSpPr>
                  <a:spLocks/>
                </p:cNvSpPr>
                <p:nvPr/>
              </p:nvSpPr>
              <p:spPr bwMode="auto">
                <a:xfrm>
                  <a:off x="2500630" y="3244533"/>
                  <a:ext cx="157480" cy="69850"/>
                </a:xfrm>
                <a:custGeom>
                  <a:avLst/>
                  <a:gdLst/>
                  <a:ahLst/>
                  <a:cxnLst>
                    <a:cxn ang="0">
                      <a:pos x="234" y="50"/>
                    </a:cxn>
                    <a:cxn ang="0">
                      <a:pos x="222" y="46"/>
                    </a:cxn>
                    <a:cxn ang="0">
                      <a:pos x="204" y="42"/>
                    </a:cxn>
                    <a:cxn ang="0">
                      <a:pos x="210" y="38"/>
                    </a:cxn>
                    <a:cxn ang="0">
                      <a:pos x="218" y="34"/>
                    </a:cxn>
                    <a:cxn ang="0">
                      <a:pos x="200" y="32"/>
                    </a:cxn>
                    <a:cxn ang="0">
                      <a:pos x="190" y="30"/>
                    </a:cxn>
                    <a:cxn ang="0">
                      <a:pos x="184" y="16"/>
                    </a:cxn>
                    <a:cxn ang="0">
                      <a:pos x="178" y="14"/>
                    </a:cxn>
                    <a:cxn ang="0">
                      <a:pos x="158" y="8"/>
                    </a:cxn>
                    <a:cxn ang="0">
                      <a:pos x="138" y="2"/>
                    </a:cxn>
                    <a:cxn ang="0">
                      <a:pos x="132" y="4"/>
                    </a:cxn>
                    <a:cxn ang="0">
                      <a:pos x="114" y="6"/>
                    </a:cxn>
                    <a:cxn ang="0">
                      <a:pos x="104" y="10"/>
                    </a:cxn>
                    <a:cxn ang="0">
                      <a:pos x="84" y="6"/>
                    </a:cxn>
                    <a:cxn ang="0">
                      <a:pos x="60" y="0"/>
                    </a:cxn>
                    <a:cxn ang="0">
                      <a:pos x="42" y="8"/>
                    </a:cxn>
                    <a:cxn ang="0">
                      <a:pos x="46" y="16"/>
                    </a:cxn>
                    <a:cxn ang="0">
                      <a:pos x="68" y="20"/>
                    </a:cxn>
                    <a:cxn ang="0">
                      <a:pos x="72" y="34"/>
                    </a:cxn>
                    <a:cxn ang="0">
                      <a:pos x="74" y="50"/>
                    </a:cxn>
                    <a:cxn ang="0">
                      <a:pos x="90" y="66"/>
                    </a:cxn>
                    <a:cxn ang="0">
                      <a:pos x="82" y="70"/>
                    </a:cxn>
                    <a:cxn ang="0">
                      <a:pos x="68" y="74"/>
                    </a:cxn>
                    <a:cxn ang="0">
                      <a:pos x="24" y="66"/>
                    </a:cxn>
                    <a:cxn ang="0">
                      <a:pos x="4" y="68"/>
                    </a:cxn>
                    <a:cxn ang="0">
                      <a:pos x="0" y="76"/>
                    </a:cxn>
                    <a:cxn ang="0">
                      <a:pos x="4" y="82"/>
                    </a:cxn>
                    <a:cxn ang="0">
                      <a:pos x="24" y="92"/>
                    </a:cxn>
                    <a:cxn ang="0">
                      <a:pos x="30" y="96"/>
                    </a:cxn>
                    <a:cxn ang="0">
                      <a:pos x="38" y="86"/>
                    </a:cxn>
                    <a:cxn ang="0">
                      <a:pos x="58" y="90"/>
                    </a:cxn>
                    <a:cxn ang="0">
                      <a:pos x="82" y="90"/>
                    </a:cxn>
                    <a:cxn ang="0">
                      <a:pos x="102" y="90"/>
                    </a:cxn>
                    <a:cxn ang="0">
                      <a:pos x="116" y="102"/>
                    </a:cxn>
                    <a:cxn ang="0">
                      <a:pos x="126" y="110"/>
                    </a:cxn>
                    <a:cxn ang="0">
                      <a:pos x="138" y="96"/>
                    </a:cxn>
                    <a:cxn ang="0">
                      <a:pos x="150" y="78"/>
                    </a:cxn>
                    <a:cxn ang="0">
                      <a:pos x="158" y="80"/>
                    </a:cxn>
                    <a:cxn ang="0">
                      <a:pos x="166" y="88"/>
                    </a:cxn>
                    <a:cxn ang="0">
                      <a:pos x="180" y="80"/>
                    </a:cxn>
                    <a:cxn ang="0">
                      <a:pos x="208" y="74"/>
                    </a:cxn>
                    <a:cxn ang="0">
                      <a:pos x="230" y="82"/>
                    </a:cxn>
                    <a:cxn ang="0">
                      <a:pos x="242" y="82"/>
                    </a:cxn>
                    <a:cxn ang="0">
                      <a:pos x="248" y="70"/>
                    </a:cxn>
                    <a:cxn ang="0">
                      <a:pos x="244" y="62"/>
                    </a:cxn>
                  </a:cxnLst>
                  <a:rect l="0" t="0" r="r" b="b"/>
                  <a:pathLst>
                    <a:path w="248" h="110">
                      <a:moveTo>
                        <a:pt x="244" y="62"/>
                      </a:moveTo>
                      <a:lnTo>
                        <a:pt x="244" y="62"/>
                      </a:lnTo>
                      <a:lnTo>
                        <a:pt x="234" y="50"/>
                      </a:lnTo>
                      <a:lnTo>
                        <a:pt x="230" y="46"/>
                      </a:lnTo>
                      <a:lnTo>
                        <a:pt x="222" y="46"/>
                      </a:lnTo>
                      <a:lnTo>
                        <a:pt x="222" y="46"/>
                      </a:lnTo>
                      <a:lnTo>
                        <a:pt x="212" y="46"/>
                      </a:lnTo>
                      <a:lnTo>
                        <a:pt x="206" y="44"/>
                      </a:lnTo>
                      <a:lnTo>
                        <a:pt x="204" y="42"/>
                      </a:lnTo>
                      <a:lnTo>
                        <a:pt x="204" y="40"/>
                      </a:lnTo>
                      <a:lnTo>
                        <a:pt x="206" y="40"/>
                      </a:lnTo>
                      <a:lnTo>
                        <a:pt x="210" y="38"/>
                      </a:lnTo>
                      <a:lnTo>
                        <a:pt x="210" y="38"/>
                      </a:lnTo>
                      <a:lnTo>
                        <a:pt x="216" y="36"/>
                      </a:lnTo>
                      <a:lnTo>
                        <a:pt x="218" y="34"/>
                      </a:lnTo>
                      <a:lnTo>
                        <a:pt x="218" y="32"/>
                      </a:lnTo>
                      <a:lnTo>
                        <a:pt x="212" y="30"/>
                      </a:lnTo>
                      <a:lnTo>
                        <a:pt x="200" y="32"/>
                      </a:lnTo>
                      <a:lnTo>
                        <a:pt x="200" y="32"/>
                      </a:lnTo>
                      <a:lnTo>
                        <a:pt x="194" y="32"/>
                      </a:lnTo>
                      <a:lnTo>
                        <a:pt x="190" y="30"/>
                      </a:lnTo>
                      <a:lnTo>
                        <a:pt x="188" y="28"/>
                      </a:lnTo>
                      <a:lnTo>
                        <a:pt x="186" y="24"/>
                      </a:lnTo>
                      <a:lnTo>
                        <a:pt x="184" y="16"/>
                      </a:lnTo>
                      <a:lnTo>
                        <a:pt x="182" y="14"/>
                      </a:lnTo>
                      <a:lnTo>
                        <a:pt x="178" y="14"/>
                      </a:lnTo>
                      <a:lnTo>
                        <a:pt x="178" y="14"/>
                      </a:lnTo>
                      <a:lnTo>
                        <a:pt x="174" y="16"/>
                      </a:lnTo>
                      <a:lnTo>
                        <a:pt x="168" y="14"/>
                      </a:lnTo>
                      <a:lnTo>
                        <a:pt x="158" y="8"/>
                      </a:lnTo>
                      <a:lnTo>
                        <a:pt x="148" y="2"/>
                      </a:lnTo>
                      <a:lnTo>
                        <a:pt x="142" y="2"/>
                      </a:lnTo>
                      <a:lnTo>
                        <a:pt x="138" y="2"/>
                      </a:lnTo>
                      <a:lnTo>
                        <a:pt x="138" y="2"/>
                      </a:lnTo>
                      <a:lnTo>
                        <a:pt x="134" y="4"/>
                      </a:lnTo>
                      <a:lnTo>
                        <a:pt x="132" y="4"/>
                      </a:lnTo>
                      <a:lnTo>
                        <a:pt x="124" y="4"/>
                      </a:lnTo>
                      <a:lnTo>
                        <a:pt x="118" y="4"/>
                      </a:lnTo>
                      <a:lnTo>
                        <a:pt x="114" y="6"/>
                      </a:lnTo>
                      <a:lnTo>
                        <a:pt x="112" y="10"/>
                      </a:lnTo>
                      <a:lnTo>
                        <a:pt x="112" y="10"/>
                      </a:lnTo>
                      <a:lnTo>
                        <a:pt x="104" y="10"/>
                      </a:lnTo>
                      <a:lnTo>
                        <a:pt x="98" y="10"/>
                      </a:lnTo>
                      <a:lnTo>
                        <a:pt x="92" y="10"/>
                      </a:lnTo>
                      <a:lnTo>
                        <a:pt x="84" y="6"/>
                      </a:lnTo>
                      <a:lnTo>
                        <a:pt x="84" y="6"/>
                      </a:lnTo>
                      <a:lnTo>
                        <a:pt x="74" y="2"/>
                      </a:lnTo>
                      <a:lnTo>
                        <a:pt x="60" y="0"/>
                      </a:lnTo>
                      <a:lnTo>
                        <a:pt x="48" y="2"/>
                      </a:lnTo>
                      <a:lnTo>
                        <a:pt x="44" y="4"/>
                      </a:lnTo>
                      <a:lnTo>
                        <a:pt x="42" y="8"/>
                      </a:lnTo>
                      <a:lnTo>
                        <a:pt x="42" y="8"/>
                      </a:lnTo>
                      <a:lnTo>
                        <a:pt x="42" y="14"/>
                      </a:lnTo>
                      <a:lnTo>
                        <a:pt x="46" y="16"/>
                      </a:lnTo>
                      <a:lnTo>
                        <a:pt x="56" y="18"/>
                      </a:lnTo>
                      <a:lnTo>
                        <a:pt x="68" y="20"/>
                      </a:lnTo>
                      <a:lnTo>
                        <a:pt x="68" y="20"/>
                      </a:lnTo>
                      <a:lnTo>
                        <a:pt x="72" y="24"/>
                      </a:lnTo>
                      <a:lnTo>
                        <a:pt x="74" y="26"/>
                      </a:lnTo>
                      <a:lnTo>
                        <a:pt x="72" y="34"/>
                      </a:lnTo>
                      <a:lnTo>
                        <a:pt x="70" y="38"/>
                      </a:lnTo>
                      <a:lnTo>
                        <a:pt x="70" y="42"/>
                      </a:lnTo>
                      <a:lnTo>
                        <a:pt x="74" y="50"/>
                      </a:lnTo>
                      <a:lnTo>
                        <a:pt x="82" y="58"/>
                      </a:lnTo>
                      <a:lnTo>
                        <a:pt x="82" y="58"/>
                      </a:lnTo>
                      <a:lnTo>
                        <a:pt x="90" y="66"/>
                      </a:lnTo>
                      <a:lnTo>
                        <a:pt x="90" y="68"/>
                      </a:lnTo>
                      <a:lnTo>
                        <a:pt x="88" y="68"/>
                      </a:lnTo>
                      <a:lnTo>
                        <a:pt x="82" y="70"/>
                      </a:lnTo>
                      <a:lnTo>
                        <a:pt x="76" y="70"/>
                      </a:lnTo>
                      <a:lnTo>
                        <a:pt x="76" y="70"/>
                      </a:lnTo>
                      <a:lnTo>
                        <a:pt x="68" y="74"/>
                      </a:lnTo>
                      <a:lnTo>
                        <a:pt x="56" y="72"/>
                      </a:lnTo>
                      <a:lnTo>
                        <a:pt x="34" y="68"/>
                      </a:lnTo>
                      <a:lnTo>
                        <a:pt x="24" y="66"/>
                      </a:lnTo>
                      <a:lnTo>
                        <a:pt x="14" y="64"/>
                      </a:lnTo>
                      <a:lnTo>
                        <a:pt x="6" y="66"/>
                      </a:lnTo>
                      <a:lnTo>
                        <a:pt x="4" y="68"/>
                      </a:lnTo>
                      <a:lnTo>
                        <a:pt x="2" y="70"/>
                      </a:lnTo>
                      <a:lnTo>
                        <a:pt x="2" y="70"/>
                      </a:lnTo>
                      <a:lnTo>
                        <a:pt x="0" y="76"/>
                      </a:lnTo>
                      <a:lnTo>
                        <a:pt x="0" y="78"/>
                      </a:lnTo>
                      <a:lnTo>
                        <a:pt x="2" y="80"/>
                      </a:lnTo>
                      <a:lnTo>
                        <a:pt x="4" y="82"/>
                      </a:lnTo>
                      <a:lnTo>
                        <a:pt x="14" y="84"/>
                      </a:lnTo>
                      <a:lnTo>
                        <a:pt x="18" y="88"/>
                      </a:lnTo>
                      <a:lnTo>
                        <a:pt x="24" y="92"/>
                      </a:lnTo>
                      <a:lnTo>
                        <a:pt x="24" y="92"/>
                      </a:lnTo>
                      <a:lnTo>
                        <a:pt x="28" y="96"/>
                      </a:lnTo>
                      <a:lnTo>
                        <a:pt x="30" y="96"/>
                      </a:lnTo>
                      <a:lnTo>
                        <a:pt x="32" y="90"/>
                      </a:lnTo>
                      <a:lnTo>
                        <a:pt x="34" y="88"/>
                      </a:lnTo>
                      <a:lnTo>
                        <a:pt x="38" y="86"/>
                      </a:lnTo>
                      <a:lnTo>
                        <a:pt x="46" y="86"/>
                      </a:lnTo>
                      <a:lnTo>
                        <a:pt x="58" y="90"/>
                      </a:lnTo>
                      <a:lnTo>
                        <a:pt x="58" y="90"/>
                      </a:lnTo>
                      <a:lnTo>
                        <a:pt x="66" y="92"/>
                      </a:lnTo>
                      <a:lnTo>
                        <a:pt x="72" y="92"/>
                      </a:lnTo>
                      <a:lnTo>
                        <a:pt x="82" y="90"/>
                      </a:lnTo>
                      <a:lnTo>
                        <a:pt x="88" y="88"/>
                      </a:lnTo>
                      <a:lnTo>
                        <a:pt x="94" y="88"/>
                      </a:lnTo>
                      <a:lnTo>
                        <a:pt x="102" y="90"/>
                      </a:lnTo>
                      <a:lnTo>
                        <a:pt x="112" y="94"/>
                      </a:lnTo>
                      <a:lnTo>
                        <a:pt x="112" y="94"/>
                      </a:lnTo>
                      <a:lnTo>
                        <a:pt x="116" y="102"/>
                      </a:lnTo>
                      <a:lnTo>
                        <a:pt x="120" y="108"/>
                      </a:lnTo>
                      <a:lnTo>
                        <a:pt x="124" y="110"/>
                      </a:lnTo>
                      <a:lnTo>
                        <a:pt x="126" y="110"/>
                      </a:lnTo>
                      <a:lnTo>
                        <a:pt x="130" y="108"/>
                      </a:lnTo>
                      <a:lnTo>
                        <a:pt x="132" y="106"/>
                      </a:lnTo>
                      <a:lnTo>
                        <a:pt x="138" y="96"/>
                      </a:lnTo>
                      <a:lnTo>
                        <a:pt x="138" y="96"/>
                      </a:lnTo>
                      <a:lnTo>
                        <a:pt x="144" y="86"/>
                      </a:lnTo>
                      <a:lnTo>
                        <a:pt x="150" y="78"/>
                      </a:lnTo>
                      <a:lnTo>
                        <a:pt x="156" y="76"/>
                      </a:lnTo>
                      <a:lnTo>
                        <a:pt x="158" y="78"/>
                      </a:lnTo>
                      <a:lnTo>
                        <a:pt x="158" y="80"/>
                      </a:lnTo>
                      <a:lnTo>
                        <a:pt x="158" y="80"/>
                      </a:lnTo>
                      <a:lnTo>
                        <a:pt x="162" y="86"/>
                      </a:lnTo>
                      <a:lnTo>
                        <a:pt x="166" y="88"/>
                      </a:lnTo>
                      <a:lnTo>
                        <a:pt x="172" y="86"/>
                      </a:lnTo>
                      <a:lnTo>
                        <a:pt x="180" y="80"/>
                      </a:lnTo>
                      <a:lnTo>
                        <a:pt x="180" y="80"/>
                      </a:lnTo>
                      <a:lnTo>
                        <a:pt x="186" y="76"/>
                      </a:lnTo>
                      <a:lnTo>
                        <a:pt x="192" y="74"/>
                      </a:lnTo>
                      <a:lnTo>
                        <a:pt x="208" y="74"/>
                      </a:lnTo>
                      <a:lnTo>
                        <a:pt x="222" y="76"/>
                      </a:lnTo>
                      <a:lnTo>
                        <a:pt x="230" y="82"/>
                      </a:lnTo>
                      <a:lnTo>
                        <a:pt x="230" y="82"/>
                      </a:lnTo>
                      <a:lnTo>
                        <a:pt x="234" y="84"/>
                      </a:lnTo>
                      <a:lnTo>
                        <a:pt x="238" y="84"/>
                      </a:lnTo>
                      <a:lnTo>
                        <a:pt x="242" y="82"/>
                      </a:lnTo>
                      <a:lnTo>
                        <a:pt x="246" y="78"/>
                      </a:lnTo>
                      <a:lnTo>
                        <a:pt x="248" y="74"/>
                      </a:lnTo>
                      <a:lnTo>
                        <a:pt x="248" y="70"/>
                      </a:lnTo>
                      <a:lnTo>
                        <a:pt x="248" y="66"/>
                      </a:lnTo>
                      <a:lnTo>
                        <a:pt x="244" y="62"/>
                      </a:lnTo>
                      <a:lnTo>
                        <a:pt x="244" y="6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2" name="Freeform 6069"/>
                <p:cNvSpPr>
                  <a:spLocks/>
                </p:cNvSpPr>
                <p:nvPr/>
              </p:nvSpPr>
              <p:spPr bwMode="auto">
                <a:xfrm>
                  <a:off x="2730500" y="3300413"/>
                  <a:ext cx="6350" cy="3810"/>
                </a:xfrm>
                <a:custGeom>
                  <a:avLst/>
                  <a:gdLst/>
                  <a:ahLst/>
                  <a:cxnLst>
                    <a:cxn ang="0">
                      <a:pos x="0" y="4"/>
                    </a:cxn>
                    <a:cxn ang="0">
                      <a:pos x="0" y="4"/>
                    </a:cxn>
                    <a:cxn ang="0">
                      <a:pos x="2" y="6"/>
                    </a:cxn>
                    <a:cxn ang="0">
                      <a:pos x="6" y="4"/>
                    </a:cxn>
                    <a:cxn ang="0">
                      <a:pos x="8" y="4"/>
                    </a:cxn>
                    <a:cxn ang="0">
                      <a:pos x="10" y="2"/>
                    </a:cxn>
                    <a:cxn ang="0">
                      <a:pos x="10" y="2"/>
                    </a:cxn>
                    <a:cxn ang="0">
                      <a:pos x="8" y="0"/>
                    </a:cxn>
                    <a:cxn ang="0">
                      <a:pos x="4" y="0"/>
                    </a:cxn>
                    <a:cxn ang="0">
                      <a:pos x="0" y="2"/>
                    </a:cxn>
                    <a:cxn ang="0">
                      <a:pos x="0" y="4"/>
                    </a:cxn>
                    <a:cxn ang="0">
                      <a:pos x="0" y="4"/>
                    </a:cxn>
                  </a:cxnLst>
                  <a:rect l="0" t="0" r="r" b="b"/>
                  <a:pathLst>
                    <a:path w="10" h="6">
                      <a:moveTo>
                        <a:pt x="0" y="4"/>
                      </a:moveTo>
                      <a:lnTo>
                        <a:pt x="0" y="4"/>
                      </a:lnTo>
                      <a:lnTo>
                        <a:pt x="2" y="6"/>
                      </a:lnTo>
                      <a:lnTo>
                        <a:pt x="6" y="4"/>
                      </a:lnTo>
                      <a:lnTo>
                        <a:pt x="8" y="4"/>
                      </a:lnTo>
                      <a:lnTo>
                        <a:pt x="10" y="2"/>
                      </a:lnTo>
                      <a:lnTo>
                        <a:pt x="10" y="2"/>
                      </a:lnTo>
                      <a:lnTo>
                        <a:pt x="8" y="0"/>
                      </a:lnTo>
                      <a:lnTo>
                        <a:pt x="4" y="0"/>
                      </a:lnTo>
                      <a:lnTo>
                        <a:pt x="0" y="2"/>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3" name="Freeform 6070"/>
                <p:cNvSpPr>
                  <a:spLocks/>
                </p:cNvSpPr>
                <p:nvPr/>
              </p:nvSpPr>
              <p:spPr bwMode="auto">
                <a:xfrm>
                  <a:off x="2747010" y="3313113"/>
                  <a:ext cx="7620" cy="3810"/>
                </a:xfrm>
                <a:custGeom>
                  <a:avLst/>
                  <a:gdLst/>
                  <a:ahLst/>
                  <a:cxnLst>
                    <a:cxn ang="0">
                      <a:pos x="0" y="4"/>
                    </a:cxn>
                    <a:cxn ang="0">
                      <a:pos x="0" y="4"/>
                    </a:cxn>
                    <a:cxn ang="0">
                      <a:pos x="0" y="4"/>
                    </a:cxn>
                    <a:cxn ang="0">
                      <a:pos x="2" y="6"/>
                    </a:cxn>
                    <a:cxn ang="0">
                      <a:pos x="6" y="4"/>
                    </a:cxn>
                    <a:cxn ang="0">
                      <a:pos x="10" y="2"/>
                    </a:cxn>
                    <a:cxn ang="0">
                      <a:pos x="12" y="0"/>
                    </a:cxn>
                    <a:cxn ang="0">
                      <a:pos x="10" y="0"/>
                    </a:cxn>
                    <a:cxn ang="0">
                      <a:pos x="10" y="0"/>
                    </a:cxn>
                    <a:cxn ang="0">
                      <a:pos x="4" y="0"/>
                    </a:cxn>
                    <a:cxn ang="0">
                      <a:pos x="0" y="0"/>
                    </a:cxn>
                    <a:cxn ang="0">
                      <a:pos x="0" y="4"/>
                    </a:cxn>
                    <a:cxn ang="0">
                      <a:pos x="0" y="4"/>
                    </a:cxn>
                  </a:cxnLst>
                  <a:rect l="0" t="0" r="r" b="b"/>
                  <a:pathLst>
                    <a:path w="12" h="6">
                      <a:moveTo>
                        <a:pt x="0" y="4"/>
                      </a:moveTo>
                      <a:lnTo>
                        <a:pt x="0" y="4"/>
                      </a:lnTo>
                      <a:lnTo>
                        <a:pt x="0" y="4"/>
                      </a:lnTo>
                      <a:lnTo>
                        <a:pt x="2" y="6"/>
                      </a:lnTo>
                      <a:lnTo>
                        <a:pt x="6" y="4"/>
                      </a:lnTo>
                      <a:lnTo>
                        <a:pt x="10" y="2"/>
                      </a:lnTo>
                      <a:lnTo>
                        <a:pt x="12" y="0"/>
                      </a:lnTo>
                      <a:lnTo>
                        <a:pt x="10" y="0"/>
                      </a:lnTo>
                      <a:lnTo>
                        <a:pt x="10" y="0"/>
                      </a:lnTo>
                      <a:lnTo>
                        <a:pt x="4" y="0"/>
                      </a:lnTo>
                      <a:lnTo>
                        <a:pt x="0" y="0"/>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4" name="Freeform 6071"/>
                <p:cNvSpPr>
                  <a:spLocks/>
                </p:cNvSpPr>
                <p:nvPr/>
              </p:nvSpPr>
              <p:spPr bwMode="auto">
                <a:xfrm>
                  <a:off x="2401570" y="3290253"/>
                  <a:ext cx="55880" cy="24130"/>
                </a:xfrm>
                <a:custGeom>
                  <a:avLst/>
                  <a:gdLst/>
                  <a:ahLst/>
                  <a:cxnLst>
                    <a:cxn ang="0">
                      <a:pos x="50" y="4"/>
                    </a:cxn>
                    <a:cxn ang="0">
                      <a:pos x="50" y="4"/>
                    </a:cxn>
                    <a:cxn ang="0">
                      <a:pos x="32" y="0"/>
                    </a:cxn>
                    <a:cxn ang="0">
                      <a:pos x="20" y="0"/>
                    </a:cxn>
                    <a:cxn ang="0">
                      <a:pos x="10" y="2"/>
                    </a:cxn>
                    <a:cxn ang="0">
                      <a:pos x="4" y="10"/>
                    </a:cxn>
                    <a:cxn ang="0">
                      <a:pos x="4" y="10"/>
                    </a:cxn>
                    <a:cxn ang="0">
                      <a:pos x="2" y="12"/>
                    </a:cxn>
                    <a:cxn ang="0">
                      <a:pos x="0" y="14"/>
                    </a:cxn>
                    <a:cxn ang="0">
                      <a:pos x="12" y="18"/>
                    </a:cxn>
                    <a:cxn ang="0">
                      <a:pos x="12" y="18"/>
                    </a:cxn>
                    <a:cxn ang="0">
                      <a:pos x="18" y="22"/>
                    </a:cxn>
                    <a:cxn ang="0">
                      <a:pos x="20" y="26"/>
                    </a:cxn>
                    <a:cxn ang="0">
                      <a:pos x="24" y="32"/>
                    </a:cxn>
                    <a:cxn ang="0">
                      <a:pos x="38" y="36"/>
                    </a:cxn>
                    <a:cxn ang="0">
                      <a:pos x="38" y="36"/>
                    </a:cxn>
                    <a:cxn ang="0">
                      <a:pos x="50" y="38"/>
                    </a:cxn>
                    <a:cxn ang="0">
                      <a:pos x="52" y="38"/>
                    </a:cxn>
                    <a:cxn ang="0">
                      <a:pos x="54" y="36"/>
                    </a:cxn>
                    <a:cxn ang="0">
                      <a:pos x="56" y="32"/>
                    </a:cxn>
                    <a:cxn ang="0">
                      <a:pos x="58" y="30"/>
                    </a:cxn>
                    <a:cxn ang="0">
                      <a:pos x="62" y="30"/>
                    </a:cxn>
                    <a:cxn ang="0">
                      <a:pos x="62" y="30"/>
                    </a:cxn>
                    <a:cxn ang="0">
                      <a:pos x="72" y="30"/>
                    </a:cxn>
                    <a:cxn ang="0">
                      <a:pos x="82" y="32"/>
                    </a:cxn>
                    <a:cxn ang="0">
                      <a:pos x="86" y="32"/>
                    </a:cxn>
                    <a:cxn ang="0">
                      <a:pos x="88" y="30"/>
                    </a:cxn>
                    <a:cxn ang="0">
                      <a:pos x="88" y="28"/>
                    </a:cxn>
                    <a:cxn ang="0">
                      <a:pos x="88" y="28"/>
                    </a:cxn>
                    <a:cxn ang="0">
                      <a:pos x="84" y="20"/>
                    </a:cxn>
                    <a:cxn ang="0">
                      <a:pos x="76" y="14"/>
                    </a:cxn>
                    <a:cxn ang="0">
                      <a:pos x="66" y="8"/>
                    </a:cxn>
                    <a:cxn ang="0">
                      <a:pos x="50" y="4"/>
                    </a:cxn>
                    <a:cxn ang="0">
                      <a:pos x="50" y="4"/>
                    </a:cxn>
                  </a:cxnLst>
                  <a:rect l="0" t="0" r="r" b="b"/>
                  <a:pathLst>
                    <a:path w="88" h="38">
                      <a:moveTo>
                        <a:pt x="50" y="4"/>
                      </a:moveTo>
                      <a:lnTo>
                        <a:pt x="50" y="4"/>
                      </a:lnTo>
                      <a:lnTo>
                        <a:pt x="32" y="0"/>
                      </a:lnTo>
                      <a:lnTo>
                        <a:pt x="20" y="0"/>
                      </a:lnTo>
                      <a:lnTo>
                        <a:pt x="10" y="2"/>
                      </a:lnTo>
                      <a:lnTo>
                        <a:pt x="4" y="10"/>
                      </a:lnTo>
                      <a:lnTo>
                        <a:pt x="4" y="10"/>
                      </a:lnTo>
                      <a:lnTo>
                        <a:pt x="2" y="12"/>
                      </a:lnTo>
                      <a:lnTo>
                        <a:pt x="0" y="14"/>
                      </a:lnTo>
                      <a:lnTo>
                        <a:pt x="12" y="18"/>
                      </a:lnTo>
                      <a:lnTo>
                        <a:pt x="12" y="18"/>
                      </a:lnTo>
                      <a:lnTo>
                        <a:pt x="18" y="22"/>
                      </a:lnTo>
                      <a:lnTo>
                        <a:pt x="20" y="26"/>
                      </a:lnTo>
                      <a:lnTo>
                        <a:pt x="24" y="32"/>
                      </a:lnTo>
                      <a:lnTo>
                        <a:pt x="38" y="36"/>
                      </a:lnTo>
                      <a:lnTo>
                        <a:pt x="38" y="36"/>
                      </a:lnTo>
                      <a:lnTo>
                        <a:pt x="50" y="38"/>
                      </a:lnTo>
                      <a:lnTo>
                        <a:pt x="52" y="38"/>
                      </a:lnTo>
                      <a:lnTo>
                        <a:pt x="54" y="36"/>
                      </a:lnTo>
                      <a:lnTo>
                        <a:pt x="56" y="32"/>
                      </a:lnTo>
                      <a:lnTo>
                        <a:pt x="58" y="30"/>
                      </a:lnTo>
                      <a:lnTo>
                        <a:pt x="62" y="30"/>
                      </a:lnTo>
                      <a:lnTo>
                        <a:pt x="62" y="30"/>
                      </a:lnTo>
                      <a:lnTo>
                        <a:pt x="72" y="30"/>
                      </a:lnTo>
                      <a:lnTo>
                        <a:pt x="82" y="32"/>
                      </a:lnTo>
                      <a:lnTo>
                        <a:pt x="86" y="32"/>
                      </a:lnTo>
                      <a:lnTo>
                        <a:pt x="88" y="30"/>
                      </a:lnTo>
                      <a:lnTo>
                        <a:pt x="88" y="28"/>
                      </a:lnTo>
                      <a:lnTo>
                        <a:pt x="88" y="28"/>
                      </a:lnTo>
                      <a:lnTo>
                        <a:pt x="84" y="20"/>
                      </a:lnTo>
                      <a:lnTo>
                        <a:pt x="76" y="14"/>
                      </a:lnTo>
                      <a:lnTo>
                        <a:pt x="66" y="8"/>
                      </a:lnTo>
                      <a:lnTo>
                        <a:pt x="50" y="4"/>
                      </a:lnTo>
                      <a:lnTo>
                        <a:pt x="5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5" name="Freeform 6072"/>
                <p:cNvSpPr>
                  <a:spLocks/>
                </p:cNvSpPr>
                <p:nvPr/>
              </p:nvSpPr>
              <p:spPr bwMode="auto">
                <a:xfrm>
                  <a:off x="2849880" y="3513773"/>
                  <a:ext cx="8890" cy="7620"/>
                </a:xfrm>
                <a:custGeom>
                  <a:avLst/>
                  <a:gdLst/>
                  <a:ahLst/>
                  <a:cxnLst>
                    <a:cxn ang="0">
                      <a:pos x="14" y="2"/>
                    </a:cxn>
                    <a:cxn ang="0">
                      <a:pos x="14" y="2"/>
                    </a:cxn>
                    <a:cxn ang="0">
                      <a:pos x="14" y="2"/>
                    </a:cxn>
                    <a:cxn ang="0">
                      <a:pos x="14" y="0"/>
                    </a:cxn>
                    <a:cxn ang="0">
                      <a:pos x="8" y="2"/>
                    </a:cxn>
                    <a:cxn ang="0">
                      <a:pos x="4" y="4"/>
                    </a:cxn>
                    <a:cxn ang="0">
                      <a:pos x="0" y="10"/>
                    </a:cxn>
                    <a:cxn ang="0">
                      <a:pos x="0" y="10"/>
                    </a:cxn>
                    <a:cxn ang="0">
                      <a:pos x="2" y="12"/>
                    </a:cxn>
                    <a:cxn ang="0">
                      <a:pos x="2" y="12"/>
                    </a:cxn>
                    <a:cxn ang="0">
                      <a:pos x="6" y="10"/>
                    </a:cxn>
                    <a:cxn ang="0">
                      <a:pos x="10" y="8"/>
                    </a:cxn>
                    <a:cxn ang="0">
                      <a:pos x="14" y="2"/>
                    </a:cxn>
                    <a:cxn ang="0">
                      <a:pos x="14" y="2"/>
                    </a:cxn>
                  </a:cxnLst>
                  <a:rect l="0" t="0" r="r" b="b"/>
                  <a:pathLst>
                    <a:path w="14" h="12">
                      <a:moveTo>
                        <a:pt x="14" y="2"/>
                      </a:moveTo>
                      <a:lnTo>
                        <a:pt x="14" y="2"/>
                      </a:lnTo>
                      <a:lnTo>
                        <a:pt x="14" y="2"/>
                      </a:lnTo>
                      <a:lnTo>
                        <a:pt x="14" y="0"/>
                      </a:lnTo>
                      <a:lnTo>
                        <a:pt x="8" y="2"/>
                      </a:lnTo>
                      <a:lnTo>
                        <a:pt x="4" y="4"/>
                      </a:lnTo>
                      <a:lnTo>
                        <a:pt x="0" y="10"/>
                      </a:lnTo>
                      <a:lnTo>
                        <a:pt x="0" y="10"/>
                      </a:lnTo>
                      <a:lnTo>
                        <a:pt x="2" y="12"/>
                      </a:lnTo>
                      <a:lnTo>
                        <a:pt x="2" y="12"/>
                      </a:lnTo>
                      <a:lnTo>
                        <a:pt x="6" y="10"/>
                      </a:lnTo>
                      <a:lnTo>
                        <a:pt x="10" y="8"/>
                      </a:lnTo>
                      <a:lnTo>
                        <a:pt x="14" y="2"/>
                      </a:lnTo>
                      <a:lnTo>
                        <a:pt x="14"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6" name="Freeform 6073"/>
                <p:cNvSpPr>
                  <a:spLocks/>
                </p:cNvSpPr>
                <p:nvPr/>
              </p:nvSpPr>
              <p:spPr bwMode="auto">
                <a:xfrm>
                  <a:off x="2282190" y="3181033"/>
                  <a:ext cx="13970" cy="15240"/>
                </a:xfrm>
                <a:custGeom>
                  <a:avLst/>
                  <a:gdLst/>
                  <a:ahLst/>
                  <a:cxnLst>
                    <a:cxn ang="0">
                      <a:pos x="6" y="0"/>
                    </a:cxn>
                    <a:cxn ang="0">
                      <a:pos x="6" y="0"/>
                    </a:cxn>
                    <a:cxn ang="0">
                      <a:pos x="2" y="2"/>
                    </a:cxn>
                    <a:cxn ang="0">
                      <a:pos x="0" y="4"/>
                    </a:cxn>
                    <a:cxn ang="0">
                      <a:pos x="0" y="8"/>
                    </a:cxn>
                    <a:cxn ang="0">
                      <a:pos x="0" y="14"/>
                    </a:cxn>
                    <a:cxn ang="0">
                      <a:pos x="2" y="18"/>
                    </a:cxn>
                    <a:cxn ang="0">
                      <a:pos x="6" y="22"/>
                    </a:cxn>
                    <a:cxn ang="0">
                      <a:pos x="12" y="24"/>
                    </a:cxn>
                    <a:cxn ang="0">
                      <a:pos x="18" y="24"/>
                    </a:cxn>
                    <a:cxn ang="0">
                      <a:pos x="18" y="24"/>
                    </a:cxn>
                    <a:cxn ang="0">
                      <a:pos x="22" y="22"/>
                    </a:cxn>
                    <a:cxn ang="0">
                      <a:pos x="22" y="18"/>
                    </a:cxn>
                    <a:cxn ang="0">
                      <a:pos x="20" y="10"/>
                    </a:cxn>
                    <a:cxn ang="0">
                      <a:pos x="12" y="2"/>
                    </a:cxn>
                    <a:cxn ang="0">
                      <a:pos x="10" y="0"/>
                    </a:cxn>
                    <a:cxn ang="0">
                      <a:pos x="6" y="0"/>
                    </a:cxn>
                    <a:cxn ang="0">
                      <a:pos x="6" y="0"/>
                    </a:cxn>
                  </a:cxnLst>
                  <a:rect l="0" t="0" r="r" b="b"/>
                  <a:pathLst>
                    <a:path w="22" h="24">
                      <a:moveTo>
                        <a:pt x="6" y="0"/>
                      </a:moveTo>
                      <a:lnTo>
                        <a:pt x="6" y="0"/>
                      </a:lnTo>
                      <a:lnTo>
                        <a:pt x="2" y="2"/>
                      </a:lnTo>
                      <a:lnTo>
                        <a:pt x="0" y="4"/>
                      </a:lnTo>
                      <a:lnTo>
                        <a:pt x="0" y="8"/>
                      </a:lnTo>
                      <a:lnTo>
                        <a:pt x="0" y="14"/>
                      </a:lnTo>
                      <a:lnTo>
                        <a:pt x="2" y="18"/>
                      </a:lnTo>
                      <a:lnTo>
                        <a:pt x="6" y="22"/>
                      </a:lnTo>
                      <a:lnTo>
                        <a:pt x="12" y="24"/>
                      </a:lnTo>
                      <a:lnTo>
                        <a:pt x="18" y="24"/>
                      </a:lnTo>
                      <a:lnTo>
                        <a:pt x="18" y="24"/>
                      </a:lnTo>
                      <a:lnTo>
                        <a:pt x="22" y="22"/>
                      </a:lnTo>
                      <a:lnTo>
                        <a:pt x="22" y="18"/>
                      </a:lnTo>
                      <a:lnTo>
                        <a:pt x="20" y="10"/>
                      </a:lnTo>
                      <a:lnTo>
                        <a:pt x="12" y="2"/>
                      </a:lnTo>
                      <a:lnTo>
                        <a:pt x="10" y="0"/>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7" name="Freeform 6075"/>
                <p:cNvSpPr>
                  <a:spLocks/>
                </p:cNvSpPr>
                <p:nvPr/>
              </p:nvSpPr>
              <p:spPr bwMode="auto">
                <a:xfrm>
                  <a:off x="2759710" y="3521393"/>
                  <a:ext cx="15240" cy="7620"/>
                </a:xfrm>
                <a:custGeom>
                  <a:avLst/>
                  <a:gdLst/>
                  <a:ahLst/>
                  <a:cxnLst>
                    <a:cxn ang="0">
                      <a:pos x="16" y="2"/>
                    </a:cxn>
                    <a:cxn ang="0">
                      <a:pos x="16" y="2"/>
                    </a:cxn>
                    <a:cxn ang="0">
                      <a:pos x="14" y="4"/>
                    </a:cxn>
                    <a:cxn ang="0">
                      <a:pos x="12" y="6"/>
                    </a:cxn>
                    <a:cxn ang="0">
                      <a:pos x="6" y="4"/>
                    </a:cxn>
                    <a:cxn ang="0">
                      <a:pos x="4" y="2"/>
                    </a:cxn>
                    <a:cxn ang="0">
                      <a:pos x="2" y="4"/>
                    </a:cxn>
                    <a:cxn ang="0">
                      <a:pos x="0" y="6"/>
                    </a:cxn>
                    <a:cxn ang="0">
                      <a:pos x="0" y="6"/>
                    </a:cxn>
                    <a:cxn ang="0">
                      <a:pos x="0" y="10"/>
                    </a:cxn>
                    <a:cxn ang="0">
                      <a:pos x="2" y="10"/>
                    </a:cxn>
                    <a:cxn ang="0">
                      <a:pos x="8" y="10"/>
                    </a:cxn>
                    <a:cxn ang="0">
                      <a:pos x="8" y="10"/>
                    </a:cxn>
                    <a:cxn ang="0">
                      <a:pos x="14" y="12"/>
                    </a:cxn>
                    <a:cxn ang="0">
                      <a:pos x="20" y="12"/>
                    </a:cxn>
                    <a:cxn ang="0">
                      <a:pos x="24" y="10"/>
                    </a:cxn>
                    <a:cxn ang="0">
                      <a:pos x="24" y="10"/>
                    </a:cxn>
                    <a:cxn ang="0">
                      <a:pos x="24" y="6"/>
                    </a:cxn>
                    <a:cxn ang="0">
                      <a:pos x="24" y="2"/>
                    </a:cxn>
                    <a:cxn ang="0">
                      <a:pos x="20" y="0"/>
                    </a:cxn>
                    <a:cxn ang="0">
                      <a:pos x="16" y="2"/>
                    </a:cxn>
                    <a:cxn ang="0">
                      <a:pos x="16" y="2"/>
                    </a:cxn>
                  </a:cxnLst>
                  <a:rect l="0" t="0" r="r" b="b"/>
                  <a:pathLst>
                    <a:path w="24" h="12">
                      <a:moveTo>
                        <a:pt x="16" y="2"/>
                      </a:moveTo>
                      <a:lnTo>
                        <a:pt x="16" y="2"/>
                      </a:lnTo>
                      <a:lnTo>
                        <a:pt x="14" y="4"/>
                      </a:lnTo>
                      <a:lnTo>
                        <a:pt x="12" y="6"/>
                      </a:lnTo>
                      <a:lnTo>
                        <a:pt x="6" y="4"/>
                      </a:lnTo>
                      <a:lnTo>
                        <a:pt x="4" y="2"/>
                      </a:lnTo>
                      <a:lnTo>
                        <a:pt x="2" y="4"/>
                      </a:lnTo>
                      <a:lnTo>
                        <a:pt x="0" y="6"/>
                      </a:lnTo>
                      <a:lnTo>
                        <a:pt x="0" y="6"/>
                      </a:lnTo>
                      <a:lnTo>
                        <a:pt x="0" y="10"/>
                      </a:lnTo>
                      <a:lnTo>
                        <a:pt x="2" y="10"/>
                      </a:lnTo>
                      <a:lnTo>
                        <a:pt x="8" y="10"/>
                      </a:lnTo>
                      <a:lnTo>
                        <a:pt x="8" y="10"/>
                      </a:lnTo>
                      <a:lnTo>
                        <a:pt x="14" y="12"/>
                      </a:lnTo>
                      <a:lnTo>
                        <a:pt x="20" y="12"/>
                      </a:lnTo>
                      <a:lnTo>
                        <a:pt x="24" y="10"/>
                      </a:lnTo>
                      <a:lnTo>
                        <a:pt x="24" y="10"/>
                      </a:lnTo>
                      <a:lnTo>
                        <a:pt x="24" y="6"/>
                      </a:lnTo>
                      <a:lnTo>
                        <a:pt x="24" y="2"/>
                      </a:lnTo>
                      <a:lnTo>
                        <a:pt x="20" y="0"/>
                      </a:lnTo>
                      <a:lnTo>
                        <a:pt x="16" y="2"/>
                      </a:lnTo>
                      <a:lnTo>
                        <a:pt x="1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8" name="Freeform 6076"/>
                <p:cNvSpPr>
                  <a:spLocks/>
                </p:cNvSpPr>
                <p:nvPr/>
              </p:nvSpPr>
              <p:spPr bwMode="auto">
                <a:xfrm>
                  <a:off x="2325370" y="3263583"/>
                  <a:ext cx="7620" cy="2540"/>
                </a:xfrm>
                <a:custGeom>
                  <a:avLst/>
                  <a:gdLst/>
                  <a:ahLst/>
                  <a:cxnLst>
                    <a:cxn ang="0">
                      <a:pos x="0" y="4"/>
                    </a:cxn>
                    <a:cxn ang="0">
                      <a:pos x="0" y="4"/>
                    </a:cxn>
                    <a:cxn ang="0">
                      <a:pos x="6" y="4"/>
                    </a:cxn>
                    <a:cxn ang="0">
                      <a:pos x="12" y="2"/>
                    </a:cxn>
                    <a:cxn ang="0">
                      <a:pos x="12" y="2"/>
                    </a:cxn>
                    <a:cxn ang="0">
                      <a:pos x="12" y="2"/>
                    </a:cxn>
                    <a:cxn ang="0">
                      <a:pos x="10" y="0"/>
                    </a:cxn>
                    <a:cxn ang="0">
                      <a:pos x="6" y="0"/>
                    </a:cxn>
                    <a:cxn ang="0">
                      <a:pos x="2" y="0"/>
                    </a:cxn>
                    <a:cxn ang="0">
                      <a:pos x="0" y="2"/>
                    </a:cxn>
                    <a:cxn ang="0">
                      <a:pos x="0" y="4"/>
                    </a:cxn>
                    <a:cxn ang="0">
                      <a:pos x="0" y="4"/>
                    </a:cxn>
                  </a:cxnLst>
                  <a:rect l="0" t="0" r="r" b="b"/>
                  <a:pathLst>
                    <a:path w="12" h="4">
                      <a:moveTo>
                        <a:pt x="0" y="4"/>
                      </a:moveTo>
                      <a:lnTo>
                        <a:pt x="0" y="4"/>
                      </a:lnTo>
                      <a:lnTo>
                        <a:pt x="6" y="4"/>
                      </a:lnTo>
                      <a:lnTo>
                        <a:pt x="12" y="2"/>
                      </a:lnTo>
                      <a:lnTo>
                        <a:pt x="12" y="2"/>
                      </a:lnTo>
                      <a:lnTo>
                        <a:pt x="12" y="2"/>
                      </a:lnTo>
                      <a:lnTo>
                        <a:pt x="10" y="0"/>
                      </a:lnTo>
                      <a:lnTo>
                        <a:pt x="6" y="0"/>
                      </a:lnTo>
                      <a:lnTo>
                        <a:pt x="2" y="0"/>
                      </a:lnTo>
                      <a:lnTo>
                        <a:pt x="0" y="2"/>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9" name="Freeform 6077"/>
                <p:cNvSpPr>
                  <a:spLocks/>
                </p:cNvSpPr>
                <p:nvPr/>
              </p:nvSpPr>
              <p:spPr bwMode="auto">
                <a:xfrm>
                  <a:off x="2757170" y="2330133"/>
                  <a:ext cx="60960" cy="38100"/>
                </a:xfrm>
                <a:custGeom>
                  <a:avLst/>
                  <a:gdLst/>
                  <a:ahLst/>
                  <a:cxnLst>
                    <a:cxn ang="0">
                      <a:pos x="94" y="28"/>
                    </a:cxn>
                    <a:cxn ang="0">
                      <a:pos x="94" y="28"/>
                    </a:cxn>
                    <a:cxn ang="0">
                      <a:pos x="84" y="28"/>
                    </a:cxn>
                    <a:cxn ang="0">
                      <a:pos x="70" y="28"/>
                    </a:cxn>
                    <a:cxn ang="0">
                      <a:pos x="50" y="28"/>
                    </a:cxn>
                    <a:cxn ang="0">
                      <a:pos x="40" y="28"/>
                    </a:cxn>
                    <a:cxn ang="0">
                      <a:pos x="32" y="26"/>
                    </a:cxn>
                    <a:cxn ang="0">
                      <a:pos x="32" y="26"/>
                    </a:cxn>
                    <a:cxn ang="0">
                      <a:pos x="24" y="22"/>
                    </a:cxn>
                    <a:cxn ang="0">
                      <a:pos x="20" y="16"/>
                    </a:cxn>
                    <a:cxn ang="0">
                      <a:pos x="16" y="10"/>
                    </a:cxn>
                    <a:cxn ang="0">
                      <a:pos x="16" y="4"/>
                    </a:cxn>
                    <a:cxn ang="0">
                      <a:pos x="14" y="2"/>
                    </a:cxn>
                    <a:cxn ang="0">
                      <a:pos x="14" y="0"/>
                    </a:cxn>
                    <a:cxn ang="0">
                      <a:pos x="10" y="2"/>
                    </a:cxn>
                    <a:cxn ang="0">
                      <a:pos x="6" y="8"/>
                    </a:cxn>
                    <a:cxn ang="0">
                      <a:pos x="6" y="8"/>
                    </a:cxn>
                    <a:cxn ang="0">
                      <a:pos x="0" y="18"/>
                    </a:cxn>
                    <a:cxn ang="0">
                      <a:pos x="0" y="20"/>
                    </a:cxn>
                    <a:cxn ang="0">
                      <a:pos x="2" y="22"/>
                    </a:cxn>
                    <a:cxn ang="0">
                      <a:pos x="6" y="22"/>
                    </a:cxn>
                    <a:cxn ang="0">
                      <a:pos x="8" y="24"/>
                    </a:cxn>
                    <a:cxn ang="0">
                      <a:pos x="8" y="28"/>
                    </a:cxn>
                    <a:cxn ang="0">
                      <a:pos x="8" y="28"/>
                    </a:cxn>
                    <a:cxn ang="0">
                      <a:pos x="8" y="32"/>
                    </a:cxn>
                    <a:cxn ang="0">
                      <a:pos x="10" y="34"/>
                    </a:cxn>
                    <a:cxn ang="0">
                      <a:pos x="14" y="34"/>
                    </a:cxn>
                    <a:cxn ang="0">
                      <a:pos x="22" y="34"/>
                    </a:cxn>
                    <a:cxn ang="0">
                      <a:pos x="24" y="36"/>
                    </a:cxn>
                    <a:cxn ang="0">
                      <a:pos x="28" y="38"/>
                    </a:cxn>
                    <a:cxn ang="0">
                      <a:pos x="28" y="38"/>
                    </a:cxn>
                    <a:cxn ang="0">
                      <a:pos x="34" y="44"/>
                    </a:cxn>
                    <a:cxn ang="0">
                      <a:pos x="40" y="46"/>
                    </a:cxn>
                    <a:cxn ang="0">
                      <a:pos x="52" y="50"/>
                    </a:cxn>
                    <a:cxn ang="0">
                      <a:pos x="74" y="58"/>
                    </a:cxn>
                    <a:cxn ang="0">
                      <a:pos x="74" y="58"/>
                    </a:cxn>
                    <a:cxn ang="0">
                      <a:pos x="78" y="60"/>
                    </a:cxn>
                    <a:cxn ang="0">
                      <a:pos x="82" y="58"/>
                    </a:cxn>
                    <a:cxn ang="0">
                      <a:pos x="82" y="54"/>
                    </a:cxn>
                    <a:cxn ang="0">
                      <a:pos x="82" y="46"/>
                    </a:cxn>
                    <a:cxn ang="0">
                      <a:pos x="82" y="46"/>
                    </a:cxn>
                    <a:cxn ang="0">
                      <a:pos x="82" y="40"/>
                    </a:cxn>
                    <a:cxn ang="0">
                      <a:pos x="84" y="38"/>
                    </a:cxn>
                    <a:cxn ang="0">
                      <a:pos x="90" y="32"/>
                    </a:cxn>
                    <a:cxn ang="0">
                      <a:pos x="94" y="30"/>
                    </a:cxn>
                    <a:cxn ang="0">
                      <a:pos x="96" y="30"/>
                    </a:cxn>
                    <a:cxn ang="0">
                      <a:pos x="94" y="28"/>
                    </a:cxn>
                    <a:cxn ang="0">
                      <a:pos x="94" y="28"/>
                    </a:cxn>
                  </a:cxnLst>
                  <a:rect l="0" t="0" r="r" b="b"/>
                  <a:pathLst>
                    <a:path w="96" h="60">
                      <a:moveTo>
                        <a:pt x="94" y="28"/>
                      </a:moveTo>
                      <a:lnTo>
                        <a:pt x="94" y="28"/>
                      </a:lnTo>
                      <a:lnTo>
                        <a:pt x="84" y="28"/>
                      </a:lnTo>
                      <a:lnTo>
                        <a:pt x="70" y="28"/>
                      </a:lnTo>
                      <a:lnTo>
                        <a:pt x="50" y="28"/>
                      </a:lnTo>
                      <a:lnTo>
                        <a:pt x="40" y="28"/>
                      </a:lnTo>
                      <a:lnTo>
                        <a:pt x="32" y="26"/>
                      </a:lnTo>
                      <a:lnTo>
                        <a:pt x="32" y="26"/>
                      </a:lnTo>
                      <a:lnTo>
                        <a:pt x="24" y="22"/>
                      </a:lnTo>
                      <a:lnTo>
                        <a:pt x="20" y="16"/>
                      </a:lnTo>
                      <a:lnTo>
                        <a:pt x="16" y="10"/>
                      </a:lnTo>
                      <a:lnTo>
                        <a:pt x="16" y="4"/>
                      </a:lnTo>
                      <a:lnTo>
                        <a:pt x="14" y="2"/>
                      </a:lnTo>
                      <a:lnTo>
                        <a:pt x="14" y="0"/>
                      </a:lnTo>
                      <a:lnTo>
                        <a:pt x="10" y="2"/>
                      </a:lnTo>
                      <a:lnTo>
                        <a:pt x="6" y="8"/>
                      </a:lnTo>
                      <a:lnTo>
                        <a:pt x="6" y="8"/>
                      </a:lnTo>
                      <a:lnTo>
                        <a:pt x="0" y="18"/>
                      </a:lnTo>
                      <a:lnTo>
                        <a:pt x="0" y="20"/>
                      </a:lnTo>
                      <a:lnTo>
                        <a:pt x="2" y="22"/>
                      </a:lnTo>
                      <a:lnTo>
                        <a:pt x="6" y="22"/>
                      </a:lnTo>
                      <a:lnTo>
                        <a:pt x="8" y="24"/>
                      </a:lnTo>
                      <a:lnTo>
                        <a:pt x="8" y="28"/>
                      </a:lnTo>
                      <a:lnTo>
                        <a:pt x="8" y="28"/>
                      </a:lnTo>
                      <a:lnTo>
                        <a:pt x="8" y="32"/>
                      </a:lnTo>
                      <a:lnTo>
                        <a:pt x="10" y="34"/>
                      </a:lnTo>
                      <a:lnTo>
                        <a:pt x="14" y="34"/>
                      </a:lnTo>
                      <a:lnTo>
                        <a:pt x="22" y="34"/>
                      </a:lnTo>
                      <a:lnTo>
                        <a:pt x="24" y="36"/>
                      </a:lnTo>
                      <a:lnTo>
                        <a:pt x="28" y="38"/>
                      </a:lnTo>
                      <a:lnTo>
                        <a:pt x="28" y="38"/>
                      </a:lnTo>
                      <a:lnTo>
                        <a:pt x="34" y="44"/>
                      </a:lnTo>
                      <a:lnTo>
                        <a:pt x="40" y="46"/>
                      </a:lnTo>
                      <a:lnTo>
                        <a:pt x="52" y="50"/>
                      </a:lnTo>
                      <a:lnTo>
                        <a:pt x="74" y="58"/>
                      </a:lnTo>
                      <a:lnTo>
                        <a:pt x="74" y="58"/>
                      </a:lnTo>
                      <a:lnTo>
                        <a:pt x="78" y="60"/>
                      </a:lnTo>
                      <a:lnTo>
                        <a:pt x="82" y="58"/>
                      </a:lnTo>
                      <a:lnTo>
                        <a:pt x="82" y="54"/>
                      </a:lnTo>
                      <a:lnTo>
                        <a:pt x="82" y="46"/>
                      </a:lnTo>
                      <a:lnTo>
                        <a:pt x="82" y="46"/>
                      </a:lnTo>
                      <a:lnTo>
                        <a:pt x="82" y="40"/>
                      </a:lnTo>
                      <a:lnTo>
                        <a:pt x="84" y="38"/>
                      </a:lnTo>
                      <a:lnTo>
                        <a:pt x="90" y="32"/>
                      </a:lnTo>
                      <a:lnTo>
                        <a:pt x="94" y="30"/>
                      </a:lnTo>
                      <a:lnTo>
                        <a:pt x="96" y="30"/>
                      </a:lnTo>
                      <a:lnTo>
                        <a:pt x="94" y="28"/>
                      </a:lnTo>
                      <a:lnTo>
                        <a:pt x="94" y="2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0" name="Freeform 6078"/>
                <p:cNvSpPr>
                  <a:spLocks/>
                </p:cNvSpPr>
                <p:nvPr/>
              </p:nvSpPr>
              <p:spPr bwMode="auto">
                <a:xfrm>
                  <a:off x="2833370" y="2327593"/>
                  <a:ext cx="44450" cy="55880"/>
                </a:xfrm>
                <a:custGeom>
                  <a:avLst/>
                  <a:gdLst/>
                  <a:ahLst/>
                  <a:cxnLst>
                    <a:cxn ang="0">
                      <a:pos x="60" y="48"/>
                    </a:cxn>
                    <a:cxn ang="0">
                      <a:pos x="60" y="48"/>
                    </a:cxn>
                    <a:cxn ang="0">
                      <a:pos x="50" y="46"/>
                    </a:cxn>
                    <a:cxn ang="0">
                      <a:pos x="48" y="44"/>
                    </a:cxn>
                    <a:cxn ang="0">
                      <a:pos x="46" y="42"/>
                    </a:cxn>
                    <a:cxn ang="0">
                      <a:pos x="44" y="32"/>
                    </a:cxn>
                    <a:cxn ang="0">
                      <a:pos x="46" y="18"/>
                    </a:cxn>
                    <a:cxn ang="0">
                      <a:pos x="46" y="18"/>
                    </a:cxn>
                    <a:cxn ang="0">
                      <a:pos x="46" y="6"/>
                    </a:cxn>
                    <a:cxn ang="0">
                      <a:pos x="44" y="2"/>
                    </a:cxn>
                    <a:cxn ang="0">
                      <a:pos x="42" y="0"/>
                    </a:cxn>
                    <a:cxn ang="0">
                      <a:pos x="40" y="2"/>
                    </a:cxn>
                    <a:cxn ang="0">
                      <a:pos x="36" y="4"/>
                    </a:cxn>
                    <a:cxn ang="0">
                      <a:pos x="24" y="18"/>
                    </a:cxn>
                    <a:cxn ang="0">
                      <a:pos x="24" y="18"/>
                    </a:cxn>
                    <a:cxn ang="0">
                      <a:pos x="12" y="34"/>
                    </a:cxn>
                    <a:cxn ang="0">
                      <a:pos x="4" y="48"/>
                    </a:cxn>
                    <a:cxn ang="0">
                      <a:pos x="2" y="56"/>
                    </a:cxn>
                    <a:cxn ang="0">
                      <a:pos x="0" y="64"/>
                    </a:cxn>
                    <a:cxn ang="0">
                      <a:pos x="0" y="72"/>
                    </a:cxn>
                    <a:cxn ang="0">
                      <a:pos x="4" y="82"/>
                    </a:cxn>
                    <a:cxn ang="0">
                      <a:pos x="4" y="82"/>
                    </a:cxn>
                    <a:cxn ang="0">
                      <a:pos x="8" y="88"/>
                    </a:cxn>
                    <a:cxn ang="0">
                      <a:pos x="10" y="88"/>
                    </a:cxn>
                    <a:cxn ang="0">
                      <a:pos x="12" y="88"/>
                    </a:cxn>
                    <a:cxn ang="0">
                      <a:pos x="16" y="82"/>
                    </a:cxn>
                    <a:cxn ang="0">
                      <a:pos x="20" y="70"/>
                    </a:cxn>
                    <a:cxn ang="0">
                      <a:pos x="20" y="70"/>
                    </a:cxn>
                    <a:cxn ang="0">
                      <a:pos x="24" y="58"/>
                    </a:cxn>
                    <a:cxn ang="0">
                      <a:pos x="28" y="56"/>
                    </a:cxn>
                    <a:cxn ang="0">
                      <a:pos x="30" y="54"/>
                    </a:cxn>
                    <a:cxn ang="0">
                      <a:pos x="30" y="56"/>
                    </a:cxn>
                    <a:cxn ang="0">
                      <a:pos x="32" y="58"/>
                    </a:cxn>
                    <a:cxn ang="0">
                      <a:pos x="30" y="72"/>
                    </a:cxn>
                    <a:cxn ang="0">
                      <a:pos x="30" y="72"/>
                    </a:cxn>
                    <a:cxn ang="0">
                      <a:pos x="28" y="84"/>
                    </a:cxn>
                    <a:cxn ang="0">
                      <a:pos x="30" y="86"/>
                    </a:cxn>
                    <a:cxn ang="0">
                      <a:pos x="32" y="86"/>
                    </a:cxn>
                    <a:cxn ang="0">
                      <a:pos x="40" y="82"/>
                    </a:cxn>
                    <a:cxn ang="0">
                      <a:pos x="50" y="76"/>
                    </a:cxn>
                    <a:cxn ang="0">
                      <a:pos x="50" y="76"/>
                    </a:cxn>
                    <a:cxn ang="0">
                      <a:pos x="60" y="68"/>
                    </a:cxn>
                    <a:cxn ang="0">
                      <a:pos x="68" y="60"/>
                    </a:cxn>
                    <a:cxn ang="0">
                      <a:pos x="70" y="56"/>
                    </a:cxn>
                    <a:cxn ang="0">
                      <a:pos x="68" y="52"/>
                    </a:cxn>
                    <a:cxn ang="0">
                      <a:pos x="66" y="50"/>
                    </a:cxn>
                    <a:cxn ang="0">
                      <a:pos x="60" y="48"/>
                    </a:cxn>
                    <a:cxn ang="0">
                      <a:pos x="60" y="48"/>
                    </a:cxn>
                  </a:cxnLst>
                  <a:rect l="0" t="0" r="r" b="b"/>
                  <a:pathLst>
                    <a:path w="70" h="88">
                      <a:moveTo>
                        <a:pt x="60" y="48"/>
                      </a:moveTo>
                      <a:lnTo>
                        <a:pt x="60" y="48"/>
                      </a:lnTo>
                      <a:lnTo>
                        <a:pt x="50" y="46"/>
                      </a:lnTo>
                      <a:lnTo>
                        <a:pt x="48" y="44"/>
                      </a:lnTo>
                      <a:lnTo>
                        <a:pt x="46" y="42"/>
                      </a:lnTo>
                      <a:lnTo>
                        <a:pt x="44" y="32"/>
                      </a:lnTo>
                      <a:lnTo>
                        <a:pt x="46" y="18"/>
                      </a:lnTo>
                      <a:lnTo>
                        <a:pt x="46" y="18"/>
                      </a:lnTo>
                      <a:lnTo>
                        <a:pt x="46" y="6"/>
                      </a:lnTo>
                      <a:lnTo>
                        <a:pt x="44" y="2"/>
                      </a:lnTo>
                      <a:lnTo>
                        <a:pt x="42" y="0"/>
                      </a:lnTo>
                      <a:lnTo>
                        <a:pt x="40" y="2"/>
                      </a:lnTo>
                      <a:lnTo>
                        <a:pt x="36" y="4"/>
                      </a:lnTo>
                      <a:lnTo>
                        <a:pt x="24" y="18"/>
                      </a:lnTo>
                      <a:lnTo>
                        <a:pt x="24" y="18"/>
                      </a:lnTo>
                      <a:lnTo>
                        <a:pt x="12" y="34"/>
                      </a:lnTo>
                      <a:lnTo>
                        <a:pt x="4" y="48"/>
                      </a:lnTo>
                      <a:lnTo>
                        <a:pt x="2" y="56"/>
                      </a:lnTo>
                      <a:lnTo>
                        <a:pt x="0" y="64"/>
                      </a:lnTo>
                      <a:lnTo>
                        <a:pt x="0" y="72"/>
                      </a:lnTo>
                      <a:lnTo>
                        <a:pt x="4" y="82"/>
                      </a:lnTo>
                      <a:lnTo>
                        <a:pt x="4" y="82"/>
                      </a:lnTo>
                      <a:lnTo>
                        <a:pt x="8" y="88"/>
                      </a:lnTo>
                      <a:lnTo>
                        <a:pt x="10" y="88"/>
                      </a:lnTo>
                      <a:lnTo>
                        <a:pt x="12" y="88"/>
                      </a:lnTo>
                      <a:lnTo>
                        <a:pt x="16" y="82"/>
                      </a:lnTo>
                      <a:lnTo>
                        <a:pt x="20" y="70"/>
                      </a:lnTo>
                      <a:lnTo>
                        <a:pt x="20" y="70"/>
                      </a:lnTo>
                      <a:lnTo>
                        <a:pt x="24" y="58"/>
                      </a:lnTo>
                      <a:lnTo>
                        <a:pt x="28" y="56"/>
                      </a:lnTo>
                      <a:lnTo>
                        <a:pt x="30" y="54"/>
                      </a:lnTo>
                      <a:lnTo>
                        <a:pt x="30" y="56"/>
                      </a:lnTo>
                      <a:lnTo>
                        <a:pt x="32" y="58"/>
                      </a:lnTo>
                      <a:lnTo>
                        <a:pt x="30" y="72"/>
                      </a:lnTo>
                      <a:lnTo>
                        <a:pt x="30" y="72"/>
                      </a:lnTo>
                      <a:lnTo>
                        <a:pt x="28" y="84"/>
                      </a:lnTo>
                      <a:lnTo>
                        <a:pt x="30" y="86"/>
                      </a:lnTo>
                      <a:lnTo>
                        <a:pt x="32" y="86"/>
                      </a:lnTo>
                      <a:lnTo>
                        <a:pt x="40" y="82"/>
                      </a:lnTo>
                      <a:lnTo>
                        <a:pt x="50" y="76"/>
                      </a:lnTo>
                      <a:lnTo>
                        <a:pt x="50" y="76"/>
                      </a:lnTo>
                      <a:lnTo>
                        <a:pt x="60" y="68"/>
                      </a:lnTo>
                      <a:lnTo>
                        <a:pt x="68" y="60"/>
                      </a:lnTo>
                      <a:lnTo>
                        <a:pt x="70" y="56"/>
                      </a:lnTo>
                      <a:lnTo>
                        <a:pt x="68" y="52"/>
                      </a:lnTo>
                      <a:lnTo>
                        <a:pt x="66" y="50"/>
                      </a:lnTo>
                      <a:lnTo>
                        <a:pt x="60" y="48"/>
                      </a:lnTo>
                      <a:lnTo>
                        <a:pt x="60" y="4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1" name="Freeform 6079"/>
                <p:cNvSpPr>
                  <a:spLocks/>
                </p:cNvSpPr>
                <p:nvPr/>
              </p:nvSpPr>
              <p:spPr bwMode="auto">
                <a:xfrm>
                  <a:off x="2753360" y="2219643"/>
                  <a:ext cx="73660" cy="34290"/>
                </a:xfrm>
                <a:custGeom>
                  <a:avLst/>
                  <a:gdLst/>
                  <a:ahLst/>
                  <a:cxnLst>
                    <a:cxn ang="0">
                      <a:pos x="116" y="48"/>
                    </a:cxn>
                    <a:cxn ang="0">
                      <a:pos x="116" y="48"/>
                    </a:cxn>
                    <a:cxn ang="0">
                      <a:pos x="116" y="46"/>
                    </a:cxn>
                    <a:cxn ang="0">
                      <a:pos x="116" y="42"/>
                    </a:cxn>
                    <a:cxn ang="0">
                      <a:pos x="112" y="36"/>
                    </a:cxn>
                    <a:cxn ang="0">
                      <a:pos x="104" y="30"/>
                    </a:cxn>
                    <a:cxn ang="0">
                      <a:pos x="92" y="24"/>
                    </a:cxn>
                    <a:cxn ang="0">
                      <a:pos x="78" y="16"/>
                    </a:cxn>
                    <a:cxn ang="0">
                      <a:pos x="62" y="10"/>
                    </a:cxn>
                    <a:cxn ang="0">
                      <a:pos x="44" y="6"/>
                    </a:cxn>
                    <a:cxn ang="0">
                      <a:pos x="24" y="2"/>
                    </a:cxn>
                    <a:cxn ang="0">
                      <a:pos x="24" y="2"/>
                    </a:cxn>
                    <a:cxn ang="0">
                      <a:pos x="10" y="0"/>
                    </a:cxn>
                    <a:cxn ang="0">
                      <a:pos x="2" y="0"/>
                    </a:cxn>
                    <a:cxn ang="0">
                      <a:pos x="0" y="2"/>
                    </a:cxn>
                    <a:cxn ang="0">
                      <a:pos x="0" y="2"/>
                    </a:cxn>
                    <a:cxn ang="0">
                      <a:pos x="4" y="6"/>
                    </a:cxn>
                    <a:cxn ang="0">
                      <a:pos x="18" y="14"/>
                    </a:cxn>
                    <a:cxn ang="0">
                      <a:pos x="32" y="24"/>
                    </a:cxn>
                    <a:cxn ang="0">
                      <a:pos x="32" y="24"/>
                    </a:cxn>
                    <a:cxn ang="0">
                      <a:pos x="52" y="38"/>
                    </a:cxn>
                    <a:cxn ang="0">
                      <a:pos x="76" y="48"/>
                    </a:cxn>
                    <a:cxn ang="0">
                      <a:pos x="90" y="52"/>
                    </a:cxn>
                    <a:cxn ang="0">
                      <a:pos x="100" y="54"/>
                    </a:cxn>
                    <a:cxn ang="0">
                      <a:pos x="110" y="52"/>
                    </a:cxn>
                    <a:cxn ang="0">
                      <a:pos x="114" y="50"/>
                    </a:cxn>
                    <a:cxn ang="0">
                      <a:pos x="116" y="48"/>
                    </a:cxn>
                    <a:cxn ang="0">
                      <a:pos x="116" y="48"/>
                    </a:cxn>
                  </a:cxnLst>
                  <a:rect l="0" t="0" r="r" b="b"/>
                  <a:pathLst>
                    <a:path w="116" h="54">
                      <a:moveTo>
                        <a:pt x="116" y="48"/>
                      </a:moveTo>
                      <a:lnTo>
                        <a:pt x="116" y="48"/>
                      </a:lnTo>
                      <a:lnTo>
                        <a:pt x="116" y="46"/>
                      </a:lnTo>
                      <a:lnTo>
                        <a:pt x="116" y="42"/>
                      </a:lnTo>
                      <a:lnTo>
                        <a:pt x="112" y="36"/>
                      </a:lnTo>
                      <a:lnTo>
                        <a:pt x="104" y="30"/>
                      </a:lnTo>
                      <a:lnTo>
                        <a:pt x="92" y="24"/>
                      </a:lnTo>
                      <a:lnTo>
                        <a:pt x="78" y="16"/>
                      </a:lnTo>
                      <a:lnTo>
                        <a:pt x="62" y="10"/>
                      </a:lnTo>
                      <a:lnTo>
                        <a:pt x="44" y="6"/>
                      </a:lnTo>
                      <a:lnTo>
                        <a:pt x="24" y="2"/>
                      </a:lnTo>
                      <a:lnTo>
                        <a:pt x="24" y="2"/>
                      </a:lnTo>
                      <a:lnTo>
                        <a:pt x="10" y="0"/>
                      </a:lnTo>
                      <a:lnTo>
                        <a:pt x="2" y="0"/>
                      </a:lnTo>
                      <a:lnTo>
                        <a:pt x="0" y="2"/>
                      </a:lnTo>
                      <a:lnTo>
                        <a:pt x="0" y="2"/>
                      </a:lnTo>
                      <a:lnTo>
                        <a:pt x="4" y="6"/>
                      </a:lnTo>
                      <a:lnTo>
                        <a:pt x="18" y="14"/>
                      </a:lnTo>
                      <a:lnTo>
                        <a:pt x="32" y="24"/>
                      </a:lnTo>
                      <a:lnTo>
                        <a:pt x="32" y="24"/>
                      </a:lnTo>
                      <a:lnTo>
                        <a:pt x="52" y="38"/>
                      </a:lnTo>
                      <a:lnTo>
                        <a:pt x="76" y="48"/>
                      </a:lnTo>
                      <a:lnTo>
                        <a:pt x="90" y="52"/>
                      </a:lnTo>
                      <a:lnTo>
                        <a:pt x="100" y="54"/>
                      </a:lnTo>
                      <a:lnTo>
                        <a:pt x="110" y="52"/>
                      </a:lnTo>
                      <a:lnTo>
                        <a:pt x="114" y="50"/>
                      </a:lnTo>
                      <a:lnTo>
                        <a:pt x="116" y="48"/>
                      </a:lnTo>
                      <a:lnTo>
                        <a:pt x="116" y="4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2" name="Freeform 6080"/>
                <p:cNvSpPr>
                  <a:spLocks/>
                </p:cNvSpPr>
                <p:nvPr/>
              </p:nvSpPr>
              <p:spPr bwMode="auto">
                <a:xfrm>
                  <a:off x="2852420" y="3488373"/>
                  <a:ext cx="10160" cy="11430"/>
                </a:xfrm>
                <a:custGeom>
                  <a:avLst/>
                  <a:gdLst/>
                  <a:ahLst/>
                  <a:cxnLst>
                    <a:cxn ang="0">
                      <a:pos x="2" y="0"/>
                    </a:cxn>
                    <a:cxn ang="0">
                      <a:pos x="2" y="0"/>
                    </a:cxn>
                    <a:cxn ang="0">
                      <a:pos x="0" y="0"/>
                    </a:cxn>
                    <a:cxn ang="0">
                      <a:pos x="0" y="4"/>
                    </a:cxn>
                    <a:cxn ang="0">
                      <a:pos x="0" y="10"/>
                    </a:cxn>
                    <a:cxn ang="0">
                      <a:pos x="0" y="14"/>
                    </a:cxn>
                    <a:cxn ang="0">
                      <a:pos x="4" y="16"/>
                    </a:cxn>
                    <a:cxn ang="0">
                      <a:pos x="8" y="18"/>
                    </a:cxn>
                    <a:cxn ang="0">
                      <a:pos x="12" y="18"/>
                    </a:cxn>
                    <a:cxn ang="0">
                      <a:pos x="12" y="18"/>
                    </a:cxn>
                    <a:cxn ang="0">
                      <a:pos x="14" y="18"/>
                    </a:cxn>
                    <a:cxn ang="0">
                      <a:pos x="16" y="14"/>
                    </a:cxn>
                    <a:cxn ang="0">
                      <a:pos x="14" y="8"/>
                    </a:cxn>
                    <a:cxn ang="0">
                      <a:pos x="8" y="2"/>
                    </a:cxn>
                    <a:cxn ang="0">
                      <a:pos x="6" y="0"/>
                    </a:cxn>
                    <a:cxn ang="0">
                      <a:pos x="2" y="0"/>
                    </a:cxn>
                    <a:cxn ang="0">
                      <a:pos x="2" y="0"/>
                    </a:cxn>
                  </a:cxnLst>
                  <a:rect l="0" t="0" r="r" b="b"/>
                  <a:pathLst>
                    <a:path w="16" h="18">
                      <a:moveTo>
                        <a:pt x="2" y="0"/>
                      </a:moveTo>
                      <a:lnTo>
                        <a:pt x="2" y="0"/>
                      </a:lnTo>
                      <a:lnTo>
                        <a:pt x="0" y="0"/>
                      </a:lnTo>
                      <a:lnTo>
                        <a:pt x="0" y="4"/>
                      </a:lnTo>
                      <a:lnTo>
                        <a:pt x="0" y="10"/>
                      </a:lnTo>
                      <a:lnTo>
                        <a:pt x="0" y="14"/>
                      </a:lnTo>
                      <a:lnTo>
                        <a:pt x="4" y="16"/>
                      </a:lnTo>
                      <a:lnTo>
                        <a:pt x="8" y="18"/>
                      </a:lnTo>
                      <a:lnTo>
                        <a:pt x="12" y="18"/>
                      </a:lnTo>
                      <a:lnTo>
                        <a:pt x="12" y="18"/>
                      </a:lnTo>
                      <a:lnTo>
                        <a:pt x="14" y="18"/>
                      </a:lnTo>
                      <a:lnTo>
                        <a:pt x="16" y="14"/>
                      </a:lnTo>
                      <a:lnTo>
                        <a:pt x="14" y="8"/>
                      </a:lnTo>
                      <a:lnTo>
                        <a:pt x="8" y="2"/>
                      </a:lnTo>
                      <a:lnTo>
                        <a:pt x="6" y="0"/>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3" name="Freeform 6081"/>
                <p:cNvSpPr>
                  <a:spLocks/>
                </p:cNvSpPr>
                <p:nvPr/>
              </p:nvSpPr>
              <p:spPr bwMode="auto">
                <a:xfrm>
                  <a:off x="2805430" y="3330893"/>
                  <a:ext cx="2540" cy="3810"/>
                </a:xfrm>
                <a:custGeom>
                  <a:avLst/>
                  <a:gdLst/>
                  <a:ahLst/>
                  <a:cxnLst>
                    <a:cxn ang="0">
                      <a:pos x="0" y="0"/>
                    </a:cxn>
                    <a:cxn ang="0">
                      <a:pos x="0" y="0"/>
                    </a:cxn>
                    <a:cxn ang="0">
                      <a:pos x="0" y="6"/>
                    </a:cxn>
                    <a:cxn ang="0">
                      <a:pos x="0" y="6"/>
                    </a:cxn>
                    <a:cxn ang="0">
                      <a:pos x="2" y="4"/>
                    </a:cxn>
                    <a:cxn ang="0">
                      <a:pos x="2" y="4"/>
                    </a:cxn>
                    <a:cxn ang="0">
                      <a:pos x="4" y="4"/>
                    </a:cxn>
                    <a:cxn ang="0">
                      <a:pos x="4" y="2"/>
                    </a:cxn>
                    <a:cxn ang="0">
                      <a:pos x="2" y="0"/>
                    </a:cxn>
                    <a:cxn ang="0">
                      <a:pos x="0" y="0"/>
                    </a:cxn>
                    <a:cxn ang="0">
                      <a:pos x="0" y="0"/>
                    </a:cxn>
                  </a:cxnLst>
                  <a:rect l="0" t="0" r="r" b="b"/>
                  <a:pathLst>
                    <a:path w="4" h="6">
                      <a:moveTo>
                        <a:pt x="0" y="0"/>
                      </a:moveTo>
                      <a:lnTo>
                        <a:pt x="0" y="0"/>
                      </a:lnTo>
                      <a:lnTo>
                        <a:pt x="0" y="6"/>
                      </a:lnTo>
                      <a:lnTo>
                        <a:pt x="0" y="6"/>
                      </a:lnTo>
                      <a:lnTo>
                        <a:pt x="2" y="4"/>
                      </a:lnTo>
                      <a:lnTo>
                        <a:pt x="2" y="4"/>
                      </a:lnTo>
                      <a:lnTo>
                        <a:pt x="4" y="4"/>
                      </a:lnTo>
                      <a:lnTo>
                        <a:pt x="4" y="2"/>
                      </a:lnTo>
                      <a:lnTo>
                        <a:pt x="2" y="0"/>
                      </a:lnTo>
                      <a:lnTo>
                        <a:pt x="0" y="0"/>
                      </a:lnTo>
                      <a:lnTo>
                        <a:pt x="0"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4" name="Freeform 6082"/>
                <p:cNvSpPr>
                  <a:spLocks/>
                </p:cNvSpPr>
                <p:nvPr/>
              </p:nvSpPr>
              <p:spPr bwMode="auto">
                <a:xfrm>
                  <a:off x="2799080" y="3324543"/>
                  <a:ext cx="5080" cy="5080"/>
                </a:xfrm>
                <a:custGeom>
                  <a:avLst/>
                  <a:gdLst/>
                  <a:ahLst/>
                  <a:cxnLst>
                    <a:cxn ang="0">
                      <a:pos x="0" y="0"/>
                    </a:cxn>
                    <a:cxn ang="0">
                      <a:pos x="0" y="0"/>
                    </a:cxn>
                    <a:cxn ang="0">
                      <a:pos x="0" y="4"/>
                    </a:cxn>
                    <a:cxn ang="0">
                      <a:pos x="2" y="6"/>
                    </a:cxn>
                    <a:cxn ang="0">
                      <a:pos x="6" y="8"/>
                    </a:cxn>
                    <a:cxn ang="0">
                      <a:pos x="8" y="6"/>
                    </a:cxn>
                    <a:cxn ang="0">
                      <a:pos x="8" y="6"/>
                    </a:cxn>
                    <a:cxn ang="0">
                      <a:pos x="8" y="4"/>
                    </a:cxn>
                    <a:cxn ang="0">
                      <a:pos x="6" y="2"/>
                    </a:cxn>
                    <a:cxn ang="0">
                      <a:pos x="2" y="0"/>
                    </a:cxn>
                    <a:cxn ang="0">
                      <a:pos x="0" y="0"/>
                    </a:cxn>
                    <a:cxn ang="0">
                      <a:pos x="0" y="0"/>
                    </a:cxn>
                  </a:cxnLst>
                  <a:rect l="0" t="0" r="r" b="b"/>
                  <a:pathLst>
                    <a:path w="8" h="8">
                      <a:moveTo>
                        <a:pt x="0" y="0"/>
                      </a:moveTo>
                      <a:lnTo>
                        <a:pt x="0" y="0"/>
                      </a:lnTo>
                      <a:lnTo>
                        <a:pt x="0" y="4"/>
                      </a:lnTo>
                      <a:lnTo>
                        <a:pt x="2" y="6"/>
                      </a:lnTo>
                      <a:lnTo>
                        <a:pt x="6" y="8"/>
                      </a:lnTo>
                      <a:lnTo>
                        <a:pt x="8" y="6"/>
                      </a:lnTo>
                      <a:lnTo>
                        <a:pt x="8" y="6"/>
                      </a:lnTo>
                      <a:lnTo>
                        <a:pt x="8" y="4"/>
                      </a:lnTo>
                      <a:lnTo>
                        <a:pt x="6" y="2"/>
                      </a:lnTo>
                      <a:lnTo>
                        <a:pt x="2" y="0"/>
                      </a:lnTo>
                      <a:lnTo>
                        <a:pt x="0" y="0"/>
                      </a:lnTo>
                      <a:lnTo>
                        <a:pt x="0"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5" name="Freeform 6083"/>
                <p:cNvSpPr>
                  <a:spLocks/>
                </p:cNvSpPr>
                <p:nvPr/>
              </p:nvSpPr>
              <p:spPr bwMode="auto">
                <a:xfrm>
                  <a:off x="2814320" y="3343593"/>
                  <a:ext cx="2540" cy="5080"/>
                </a:xfrm>
                <a:custGeom>
                  <a:avLst/>
                  <a:gdLst/>
                  <a:ahLst/>
                  <a:cxnLst>
                    <a:cxn ang="0">
                      <a:pos x="2" y="0"/>
                    </a:cxn>
                    <a:cxn ang="0">
                      <a:pos x="2" y="0"/>
                    </a:cxn>
                    <a:cxn ang="0">
                      <a:pos x="0" y="2"/>
                    </a:cxn>
                    <a:cxn ang="0">
                      <a:pos x="0" y="6"/>
                    </a:cxn>
                    <a:cxn ang="0">
                      <a:pos x="2" y="8"/>
                    </a:cxn>
                    <a:cxn ang="0">
                      <a:pos x="4" y="8"/>
                    </a:cxn>
                    <a:cxn ang="0">
                      <a:pos x="4" y="8"/>
                    </a:cxn>
                    <a:cxn ang="0">
                      <a:pos x="4" y="2"/>
                    </a:cxn>
                    <a:cxn ang="0">
                      <a:pos x="4" y="0"/>
                    </a:cxn>
                    <a:cxn ang="0">
                      <a:pos x="2" y="0"/>
                    </a:cxn>
                    <a:cxn ang="0">
                      <a:pos x="2" y="0"/>
                    </a:cxn>
                  </a:cxnLst>
                  <a:rect l="0" t="0" r="r" b="b"/>
                  <a:pathLst>
                    <a:path w="4" h="8">
                      <a:moveTo>
                        <a:pt x="2" y="0"/>
                      </a:moveTo>
                      <a:lnTo>
                        <a:pt x="2" y="0"/>
                      </a:lnTo>
                      <a:lnTo>
                        <a:pt x="0" y="2"/>
                      </a:lnTo>
                      <a:lnTo>
                        <a:pt x="0" y="6"/>
                      </a:lnTo>
                      <a:lnTo>
                        <a:pt x="2" y="8"/>
                      </a:lnTo>
                      <a:lnTo>
                        <a:pt x="4" y="8"/>
                      </a:lnTo>
                      <a:lnTo>
                        <a:pt x="4" y="8"/>
                      </a:lnTo>
                      <a:lnTo>
                        <a:pt x="4" y="2"/>
                      </a:lnTo>
                      <a:lnTo>
                        <a:pt x="4" y="0"/>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6" name="Freeform 6085"/>
                <p:cNvSpPr>
                  <a:spLocks/>
                </p:cNvSpPr>
                <p:nvPr/>
              </p:nvSpPr>
              <p:spPr bwMode="auto">
                <a:xfrm>
                  <a:off x="2792730" y="3301683"/>
                  <a:ext cx="2540" cy="3810"/>
                </a:xfrm>
                <a:custGeom>
                  <a:avLst/>
                  <a:gdLst/>
                  <a:ahLst/>
                  <a:cxnLst>
                    <a:cxn ang="0">
                      <a:pos x="2" y="6"/>
                    </a:cxn>
                    <a:cxn ang="0">
                      <a:pos x="2" y="6"/>
                    </a:cxn>
                    <a:cxn ang="0">
                      <a:pos x="4" y="6"/>
                    </a:cxn>
                    <a:cxn ang="0">
                      <a:pos x="4" y="4"/>
                    </a:cxn>
                    <a:cxn ang="0">
                      <a:pos x="4" y="2"/>
                    </a:cxn>
                    <a:cxn ang="0">
                      <a:pos x="2" y="0"/>
                    </a:cxn>
                    <a:cxn ang="0">
                      <a:pos x="2" y="0"/>
                    </a:cxn>
                    <a:cxn ang="0">
                      <a:pos x="0" y="2"/>
                    </a:cxn>
                    <a:cxn ang="0">
                      <a:pos x="0" y="4"/>
                    </a:cxn>
                    <a:cxn ang="0">
                      <a:pos x="0" y="6"/>
                    </a:cxn>
                    <a:cxn ang="0">
                      <a:pos x="2" y="6"/>
                    </a:cxn>
                    <a:cxn ang="0">
                      <a:pos x="2" y="6"/>
                    </a:cxn>
                  </a:cxnLst>
                  <a:rect l="0" t="0" r="r" b="b"/>
                  <a:pathLst>
                    <a:path w="4" h="6">
                      <a:moveTo>
                        <a:pt x="2" y="6"/>
                      </a:moveTo>
                      <a:lnTo>
                        <a:pt x="2" y="6"/>
                      </a:lnTo>
                      <a:lnTo>
                        <a:pt x="4" y="6"/>
                      </a:lnTo>
                      <a:lnTo>
                        <a:pt x="4" y="4"/>
                      </a:lnTo>
                      <a:lnTo>
                        <a:pt x="4" y="2"/>
                      </a:lnTo>
                      <a:lnTo>
                        <a:pt x="2" y="0"/>
                      </a:lnTo>
                      <a:lnTo>
                        <a:pt x="2" y="0"/>
                      </a:lnTo>
                      <a:lnTo>
                        <a:pt x="0" y="2"/>
                      </a:lnTo>
                      <a:lnTo>
                        <a:pt x="0" y="4"/>
                      </a:lnTo>
                      <a:lnTo>
                        <a:pt x="0" y="6"/>
                      </a:lnTo>
                      <a:lnTo>
                        <a:pt x="2" y="6"/>
                      </a:lnTo>
                      <a:lnTo>
                        <a:pt x="2"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7" name="Freeform 6090"/>
                <p:cNvSpPr>
                  <a:spLocks/>
                </p:cNvSpPr>
                <p:nvPr/>
              </p:nvSpPr>
              <p:spPr bwMode="auto">
                <a:xfrm>
                  <a:off x="2880360" y="3452813"/>
                  <a:ext cx="6350" cy="8890"/>
                </a:xfrm>
                <a:custGeom>
                  <a:avLst/>
                  <a:gdLst/>
                  <a:ahLst/>
                  <a:cxnLst>
                    <a:cxn ang="0">
                      <a:pos x="0" y="4"/>
                    </a:cxn>
                    <a:cxn ang="0">
                      <a:pos x="0" y="4"/>
                    </a:cxn>
                    <a:cxn ang="0">
                      <a:pos x="2" y="8"/>
                    </a:cxn>
                    <a:cxn ang="0">
                      <a:pos x="4" y="12"/>
                    </a:cxn>
                    <a:cxn ang="0">
                      <a:pos x="6" y="14"/>
                    </a:cxn>
                    <a:cxn ang="0">
                      <a:pos x="8" y="12"/>
                    </a:cxn>
                    <a:cxn ang="0">
                      <a:pos x="8" y="12"/>
                    </a:cxn>
                    <a:cxn ang="0">
                      <a:pos x="10" y="10"/>
                    </a:cxn>
                    <a:cxn ang="0">
                      <a:pos x="10" y="8"/>
                    </a:cxn>
                    <a:cxn ang="0">
                      <a:pos x="6" y="2"/>
                    </a:cxn>
                    <a:cxn ang="0">
                      <a:pos x="6" y="2"/>
                    </a:cxn>
                    <a:cxn ang="0">
                      <a:pos x="2" y="0"/>
                    </a:cxn>
                    <a:cxn ang="0">
                      <a:pos x="2" y="0"/>
                    </a:cxn>
                    <a:cxn ang="0">
                      <a:pos x="0" y="4"/>
                    </a:cxn>
                    <a:cxn ang="0">
                      <a:pos x="0" y="4"/>
                    </a:cxn>
                  </a:cxnLst>
                  <a:rect l="0" t="0" r="r" b="b"/>
                  <a:pathLst>
                    <a:path w="10" h="14">
                      <a:moveTo>
                        <a:pt x="0" y="4"/>
                      </a:moveTo>
                      <a:lnTo>
                        <a:pt x="0" y="4"/>
                      </a:lnTo>
                      <a:lnTo>
                        <a:pt x="2" y="8"/>
                      </a:lnTo>
                      <a:lnTo>
                        <a:pt x="4" y="12"/>
                      </a:lnTo>
                      <a:lnTo>
                        <a:pt x="6" y="14"/>
                      </a:lnTo>
                      <a:lnTo>
                        <a:pt x="8" y="12"/>
                      </a:lnTo>
                      <a:lnTo>
                        <a:pt x="8" y="12"/>
                      </a:lnTo>
                      <a:lnTo>
                        <a:pt x="10" y="10"/>
                      </a:lnTo>
                      <a:lnTo>
                        <a:pt x="10" y="8"/>
                      </a:lnTo>
                      <a:lnTo>
                        <a:pt x="6" y="2"/>
                      </a:lnTo>
                      <a:lnTo>
                        <a:pt x="6" y="2"/>
                      </a:lnTo>
                      <a:lnTo>
                        <a:pt x="2" y="0"/>
                      </a:lnTo>
                      <a:lnTo>
                        <a:pt x="2" y="0"/>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8" name="Freeform 6093"/>
                <p:cNvSpPr>
                  <a:spLocks/>
                </p:cNvSpPr>
                <p:nvPr/>
              </p:nvSpPr>
              <p:spPr bwMode="auto">
                <a:xfrm>
                  <a:off x="2354580" y="1968183"/>
                  <a:ext cx="12700" cy="10160"/>
                </a:xfrm>
                <a:custGeom>
                  <a:avLst/>
                  <a:gdLst/>
                  <a:ahLst/>
                  <a:cxnLst>
                    <a:cxn ang="0">
                      <a:pos x="14" y="12"/>
                    </a:cxn>
                    <a:cxn ang="0">
                      <a:pos x="14" y="12"/>
                    </a:cxn>
                    <a:cxn ang="0">
                      <a:pos x="18" y="6"/>
                    </a:cxn>
                    <a:cxn ang="0">
                      <a:pos x="20" y="2"/>
                    </a:cxn>
                    <a:cxn ang="0">
                      <a:pos x="20" y="0"/>
                    </a:cxn>
                    <a:cxn ang="0">
                      <a:pos x="18" y="2"/>
                    </a:cxn>
                    <a:cxn ang="0">
                      <a:pos x="18" y="2"/>
                    </a:cxn>
                    <a:cxn ang="0">
                      <a:pos x="14" y="4"/>
                    </a:cxn>
                    <a:cxn ang="0">
                      <a:pos x="10" y="6"/>
                    </a:cxn>
                    <a:cxn ang="0">
                      <a:pos x="4" y="8"/>
                    </a:cxn>
                    <a:cxn ang="0">
                      <a:pos x="2" y="10"/>
                    </a:cxn>
                    <a:cxn ang="0">
                      <a:pos x="0" y="12"/>
                    </a:cxn>
                    <a:cxn ang="0">
                      <a:pos x="0" y="12"/>
                    </a:cxn>
                    <a:cxn ang="0">
                      <a:pos x="0" y="16"/>
                    </a:cxn>
                    <a:cxn ang="0">
                      <a:pos x="4" y="16"/>
                    </a:cxn>
                    <a:cxn ang="0">
                      <a:pos x="14" y="12"/>
                    </a:cxn>
                    <a:cxn ang="0">
                      <a:pos x="14" y="12"/>
                    </a:cxn>
                  </a:cxnLst>
                  <a:rect l="0" t="0" r="r" b="b"/>
                  <a:pathLst>
                    <a:path w="20" h="16">
                      <a:moveTo>
                        <a:pt x="14" y="12"/>
                      </a:moveTo>
                      <a:lnTo>
                        <a:pt x="14" y="12"/>
                      </a:lnTo>
                      <a:lnTo>
                        <a:pt x="18" y="6"/>
                      </a:lnTo>
                      <a:lnTo>
                        <a:pt x="20" y="2"/>
                      </a:lnTo>
                      <a:lnTo>
                        <a:pt x="20" y="0"/>
                      </a:lnTo>
                      <a:lnTo>
                        <a:pt x="18" y="2"/>
                      </a:lnTo>
                      <a:lnTo>
                        <a:pt x="18" y="2"/>
                      </a:lnTo>
                      <a:lnTo>
                        <a:pt x="14" y="4"/>
                      </a:lnTo>
                      <a:lnTo>
                        <a:pt x="10" y="6"/>
                      </a:lnTo>
                      <a:lnTo>
                        <a:pt x="4" y="8"/>
                      </a:lnTo>
                      <a:lnTo>
                        <a:pt x="2" y="10"/>
                      </a:lnTo>
                      <a:lnTo>
                        <a:pt x="0" y="12"/>
                      </a:lnTo>
                      <a:lnTo>
                        <a:pt x="0" y="12"/>
                      </a:lnTo>
                      <a:lnTo>
                        <a:pt x="0" y="16"/>
                      </a:lnTo>
                      <a:lnTo>
                        <a:pt x="4" y="16"/>
                      </a:lnTo>
                      <a:lnTo>
                        <a:pt x="14" y="12"/>
                      </a:lnTo>
                      <a:lnTo>
                        <a:pt x="14" y="1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9" name="Freeform 6095"/>
                <p:cNvSpPr>
                  <a:spLocks/>
                </p:cNvSpPr>
                <p:nvPr/>
              </p:nvSpPr>
              <p:spPr bwMode="auto">
                <a:xfrm>
                  <a:off x="2357120" y="1961833"/>
                  <a:ext cx="27940" cy="30480"/>
                </a:xfrm>
                <a:custGeom>
                  <a:avLst/>
                  <a:gdLst/>
                  <a:ahLst/>
                  <a:cxnLst>
                    <a:cxn ang="0">
                      <a:pos x="32" y="46"/>
                    </a:cxn>
                    <a:cxn ang="0">
                      <a:pos x="32" y="46"/>
                    </a:cxn>
                    <a:cxn ang="0">
                      <a:pos x="36" y="44"/>
                    </a:cxn>
                    <a:cxn ang="0">
                      <a:pos x="36" y="40"/>
                    </a:cxn>
                    <a:cxn ang="0">
                      <a:pos x="42" y="24"/>
                    </a:cxn>
                    <a:cxn ang="0">
                      <a:pos x="42" y="24"/>
                    </a:cxn>
                    <a:cxn ang="0">
                      <a:pos x="44" y="16"/>
                    </a:cxn>
                    <a:cxn ang="0">
                      <a:pos x="44" y="12"/>
                    </a:cxn>
                    <a:cxn ang="0">
                      <a:pos x="38" y="6"/>
                    </a:cxn>
                    <a:cxn ang="0">
                      <a:pos x="38" y="6"/>
                    </a:cxn>
                    <a:cxn ang="0">
                      <a:pos x="32" y="2"/>
                    </a:cxn>
                    <a:cxn ang="0">
                      <a:pos x="30" y="0"/>
                    </a:cxn>
                    <a:cxn ang="0">
                      <a:pos x="28" y="8"/>
                    </a:cxn>
                    <a:cxn ang="0">
                      <a:pos x="28" y="8"/>
                    </a:cxn>
                    <a:cxn ang="0">
                      <a:pos x="26" y="18"/>
                    </a:cxn>
                    <a:cxn ang="0">
                      <a:pos x="24" y="18"/>
                    </a:cxn>
                    <a:cxn ang="0">
                      <a:pos x="24" y="16"/>
                    </a:cxn>
                    <a:cxn ang="0">
                      <a:pos x="24" y="16"/>
                    </a:cxn>
                    <a:cxn ang="0">
                      <a:pos x="24" y="6"/>
                    </a:cxn>
                    <a:cxn ang="0">
                      <a:pos x="24" y="4"/>
                    </a:cxn>
                    <a:cxn ang="0">
                      <a:pos x="22" y="4"/>
                    </a:cxn>
                    <a:cxn ang="0">
                      <a:pos x="22" y="4"/>
                    </a:cxn>
                    <a:cxn ang="0">
                      <a:pos x="22" y="6"/>
                    </a:cxn>
                    <a:cxn ang="0">
                      <a:pos x="22" y="10"/>
                    </a:cxn>
                    <a:cxn ang="0">
                      <a:pos x="22" y="12"/>
                    </a:cxn>
                    <a:cxn ang="0">
                      <a:pos x="20" y="18"/>
                    </a:cxn>
                    <a:cxn ang="0">
                      <a:pos x="20" y="18"/>
                    </a:cxn>
                    <a:cxn ang="0">
                      <a:pos x="18" y="20"/>
                    </a:cxn>
                    <a:cxn ang="0">
                      <a:pos x="16" y="24"/>
                    </a:cxn>
                    <a:cxn ang="0">
                      <a:pos x="12" y="26"/>
                    </a:cxn>
                    <a:cxn ang="0">
                      <a:pos x="10" y="32"/>
                    </a:cxn>
                    <a:cxn ang="0">
                      <a:pos x="10" y="32"/>
                    </a:cxn>
                    <a:cxn ang="0">
                      <a:pos x="2" y="40"/>
                    </a:cxn>
                    <a:cxn ang="0">
                      <a:pos x="0" y="44"/>
                    </a:cxn>
                    <a:cxn ang="0">
                      <a:pos x="2" y="48"/>
                    </a:cxn>
                    <a:cxn ang="0">
                      <a:pos x="2" y="48"/>
                    </a:cxn>
                    <a:cxn ang="0">
                      <a:pos x="4" y="48"/>
                    </a:cxn>
                    <a:cxn ang="0">
                      <a:pos x="6" y="46"/>
                    </a:cxn>
                    <a:cxn ang="0">
                      <a:pos x="14" y="38"/>
                    </a:cxn>
                    <a:cxn ang="0">
                      <a:pos x="14" y="38"/>
                    </a:cxn>
                    <a:cxn ang="0">
                      <a:pos x="20" y="30"/>
                    </a:cxn>
                    <a:cxn ang="0">
                      <a:pos x="20" y="32"/>
                    </a:cxn>
                    <a:cxn ang="0">
                      <a:pos x="18" y="40"/>
                    </a:cxn>
                    <a:cxn ang="0">
                      <a:pos x="18" y="40"/>
                    </a:cxn>
                    <a:cxn ang="0">
                      <a:pos x="12" y="48"/>
                    </a:cxn>
                    <a:cxn ang="0">
                      <a:pos x="18" y="46"/>
                    </a:cxn>
                    <a:cxn ang="0">
                      <a:pos x="18" y="46"/>
                    </a:cxn>
                    <a:cxn ang="0">
                      <a:pos x="22" y="46"/>
                    </a:cxn>
                    <a:cxn ang="0">
                      <a:pos x="24" y="44"/>
                    </a:cxn>
                    <a:cxn ang="0">
                      <a:pos x="28" y="36"/>
                    </a:cxn>
                    <a:cxn ang="0">
                      <a:pos x="30" y="28"/>
                    </a:cxn>
                    <a:cxn ang="0">
                      <a:pos x="34" y="26"/>
                    </a:cxn>
                    <a:cxn ang="0">
                      <a:pos x="34" y="26"/>
                    </a:cxn>
                    <a:cxn ang="0">
                      <a:pos x="36" y="26"/>
                    </a:cxn>
                    <a:cxn ang="0">
                      <a:pos x="36" y="28"/>
                    </a:cxn>
                    <a:cxn ang="0">
                      <a:pos x="34" y="36"/>
                    </a:cxn>
                    <a:cxn ang="0">
                      <a:pos x="32" y="44"/>
                    </a:cxn>
                    <a:cxn ang="0">
                      <a:pos x="32" y="46"/>
                    </a:cxn>
                    <a:cxn ang="0">
                      <a:pos x="32" y="46"/>
                    </a:cxn>
                    <a:cxn ang="0">
                      <a:pos x="32" y="46"/>
                    </a:cxn>
                  </a:cxnLst>
                  <a:rect l="0" t="0" r="r" b="b"/>
                  <a:pathLst>
                    <a:path w="44" h="48">
                      <a:moveTo>
                        <a:pt x="32" y="46"/>
                      </a:moveTo>
                      <a:lnTo>
                        <a:pt x="32" y="46"/>
                      </a:lnTo>
                      <a:lnTo>
                        <a:pt x="36" y="44"/>
                      </a:lnTo>
                      <a:lnTo>
                        <a:pt x="36" y="40"/>
                      </a:lnTo>
                      <a:lnTo>
                        <a:pt x="42" y="24"/>
                      </a:lnTo>
                      <a:lnTo>
                        <a:pt x="42" y="24"/>
                      </a:lnTo>
                      <a:lnTo>
                        <a:pt x="44" y="16"/>
                      </a:lnTo>
                      <a:lnTo>
                        <a:pt x="44" y="12"/>
                      </a:lnTo>
                      <a:lnTo>
                        <a:pt x="38" y="6"/>
                      </a:lnTo>
                      <a:lnTo>
                        <a:pt x="38" y="6"/>
                      </a:lnTo>
                      <a:lnTo>
                        <a:pt x="32" y="2"/>
                      </a:lnTo>
                      <a:lnTo>
                        <a:pt x="30" y="0"/>
                      </a:lnTo>
                      <a:lnTo>
                        <a:pt x="28" y="8"/>
                      </a:lnTo>
                      <a:lnTo>
                        <a:pt x="28" y="8"/>
                      </a:lnTo>
                      <a:lnTo>
                        <a:pt x="26" y="18"/>
                      </a:lnTo>
                      <a:lnTo>
                        <a:pt x="24" y="18"/>
                      </a:lnTo>
                      <a:lnTo>
                        <a:pt x="24" y="16"/>
                      </a:lnTo>
                      <a:lnTo>
                        <a:pt x="24" y="16"/>
                      </a:lnTo>
                      <a:lnTo>
                        <a:pt x="24" y="6"/>
                      </a:lnTo>
                      <a:lnTo>
                        <a:pt x="24" y="4"/>
                      </a:lnTo>
                      <a:lnTo>
                        <a:pt x="22" y="4"/>
                      </a:lnTo>
                      <a:lnTo>
                        <a:pt x="22" y="4"/>
                      </a:lnTo>
                      <a:lnTo>
                        <a:pt x="22" y="6"/>
                      </a:lnTo>
                      <a:lnTo>
                        <a:pt x="22" y="10"/>
                      </a:lnTo>
                      <a:lnTo>
                        <a:pt x="22" y="12"/>
                      </a:lnTo>
                      <a:lnTo>
                        <a:pt x="20" y="18"/>
                      </a:lnTo>
                      <a:lnTo>
                        <a:pt x="20" y="18"/>
                      </a:lnTo>
                      <a:lnTo>
                        <a:pt x="18" y="20"/>
                      </a:lnTo>
                      <a:lnTo>
                        <a:pt x="16" y="24"/>
                      </a:lnTo>
                      <a:lnTo>
                        <a:pt x="12" y="26"/>
                      </a:lnTo>
                      <a:lnTo>
                        <a:pt x="10" y="32"/>
                      </a:lnTo>
                      <a:lnTo>
                        <a:pt x="10" y="32"/>
                      </a:lnTo>
                      <a:lnTo>
                        <a:pt x="2" y="40"/>
                      </a:lnTo>
                      <a:lnTo>
                        <a:pt x="0" y="44"/>
                      </a:lnTo>
                      <a:lnTo>
                        <a:pt x="2" y="48"/>
                      </a:lnTo>
                      <a:lnTo>
                        <a:pt x="2" y="48"/>
                      </a:lnTo>
                      <a:lnTo>
                        <a:pt x="4" y="48"/>
                      </a:lnTo>
                      <a:lnTo>
                        <a:pt x="6" y="46"/>
                      </a:lnTo>
                      <a:lnTo>
                        <a:pt x="14" y="38"/>
                      </a:lnTo>
                      <a:lnTo>
                        <a:pt x="14" y="38"/>
                      </a:lnTo>
                      <a:lnTo>
                        <a:pt x="20" y="30"/>
                      </a:lnTo>
                      <a:lnTo>
                        <a:pt x="20" y="32"/>
                      </a:lnTo>
                      <a:lnTo>
                        <a:pt x="18" y="40"/>
                      </a:lnTo>
                      <a:lnTo>
                        <a:pt x="18" y="40"/>
                      </a:lnTo>
                      <a:lnTo>
                        <a:pt x="12" y="48"/>
                      </a:lnTo>
                      <a:lnTo>
                        <a:pt x="18" y="46"/>
                      </a:lnTo>
                      <a:lnTo>
                        <a:pt x="18" y="46"/>
                      </a:lnTo>
                      <a:lnTo>
                        <a:pt x="22" y="46"/>
                      </a:lnTo>
                      <a:lnTo>
                        <a:pt x="24" y="44"/>
                      </a:lnTo>
                      <a:lnTo>
                        <a:pt x="28" y="36"/>
                      </a:lnTo>
                      <a:lnTo>
                        <a:pt x="30" y="28"/>
                      </a:lnTo>
                      <a:lnTo>
                        <a:pt x="34" y="26"/>
                      </a:lnTo>
                      <a:lnTo>
                        <a:pt x="34" y="26"/>
                      </a:lnTo>
                      <a:lnTo>
                        <a:pt x="36" y="26"/>
                      </a:lnTo>
                      <a:lnTo>
                        <a:pt x="36" y="28"/>
                      </a:lnTo>
                      <a:lnTo>
                        <a:pt x="34" y="36"/>
                      </a:lnTo>
                      <a:lnTo>
                        <a:pt x="32" y="44"/>
                      </a:lnTo>
                      <a:lnTo>
                        <a:pt x="32" y="46"/>
                      </a:lnTo>
                      <a:lnTo>
                        <a:pt x="32" y="46"/>
                      </a:lnTo>
                      <a:lnTo>
                        <a:pt x="32" y="4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0" name="Freeform 6096"/>
                <p:cNvSpPr>
                  <a:spLocks/>
                </p:cNvSpPr>
                <p:nvPr/>
              </p:nvSpPr>
              <p:spPr bwMode="auto">
                <a:xfrm>
                  <a:off x="2385060" y="1968183"/>
                  <a:ext cx="7620" cy="13970"/>
                </a:xfrm>
                <a:custGeom>
                  <a:avLst/>
                  <a:gdLst/>
                  <a:ahLst/>
                  <a:cxnLst>
                    <a:cxn ang="0">
                      <a:pos x="8" y="18"/>
                    </a:cxn>
                    <a:cxn ang="0">
                      <a:pos x="8" y="18"/>
                    </a:cxn>
                    <a:cxn ang="0">
                      <a:pos x="12" y="14"/>
                    </a:cxn>
                    <a:cxn ang="0">
                      <a:pos x="12" y="8"/>
                    </a:cxn>
                    <a:cxn ang="0">
                      <a:pos x="12" y="2"/>
                    </a:cxn>
                    <a:cxn ang="0">
                      <a:pos x="10" y="0"/>
                    </a:cxn>
                    <a:cxn ang="0">
                      <a:pos x="10" y="0"/>
                    </a:cxn>
                    <a:cxn ang="0">
                      <a:pos x="10" y="0"/>
                    </a:cxn>
                    <a:cxn ang="0">
                      <a:pos x="6" y="2"/>
                    </a:cxn>
                    <a:cxn ang="0">
                      <a:pos x="4" y="6"/>
                    </a:cxn>
                    <a:cxn ang="0">
                      <a:pos x="0" y="18"/>
                    </a:cxn>
                    <a:cxn ang="0">
                      <a:pos x="0" y="18"/>
                    </a:cxn>
                    <a:cxn ang="0">
                      <a:pos x="0" y="20"/>
                    </a:cxn>
                    <a:cxn ang="0">
                      <a:pos x="2" y="22"/>
                    </a:cxn>
                    <a:cxn ang="0">
                      <a:pos x="8" y="18"/>
                    </a:cxn>
                    <a:cxn ang="0">
                      <a:pos x="8" y="18"/>
                    </a:cxn>
                  </a:cxnLst>
                  <a:rect l="0" t="0" r="r" b="b"/>
                  <a:pathLst>
                    <a:path w="12" h="22">
                      <a:moveTo>
                        <a:pt x="8" y="18"/>
                      </a:moveTo>
                      <a:lnTo>
                        <a:pt x="8" y="18"/>
                      </a:lnTo>
                      <a:lnTo>
                        <a:pt x="12" y="14"/>
                      </a:lnTo>
                      <a:lnTo>
                        <a:pt x="12" y="8"/>
                      </a:lnTo>
                      <a:lnTo>
                        <a:pt x="12" y="2"/>
                      </a:lnTo>
                      <a:lnTo>
                        <a:pt x="10" y="0"/>
                      </a:lnTo>
                      <a:lnTo>
                        <a:pt x="10" y="0"/>
                      </a:lnTo>
                      <a:lnTo>
                        <a:pt x="10" y="0"/>
                      </a:lnTo>
                      <a:lnTo>
                        <a:pt x="6" y="2"/>
                      </a:lnTo>
                      <a:lnTo>
                        <a:pt x="4" y="6"/>
                      </a:lnTo>
                      <a:lnTo>
                        <a:pt x="0" y="18"/>
                      </a:lnTo>
                      <a:lnTo>
                        <a:pt x="0" y="18"/>
                      </a:lnTo>
                      <a:lnTo>
                        <a:pt x="0" y="20"/>
                      </a:lnTo>
                      <a:lnTo>
                        <a:pt x="2" y="22"/>
                      </a:lnTo>
                      <a:lnTo>
                        <a:pt x="8" y="18"/>
                      </a:lnTo>
                      <a:lnTo>
                        <a:pt x="8" y="1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1" name="Freeform 6097"/>
                <p:cNvSpPr>
                  <a:spLocks/>
                </p:cNvSpPr>
                <p:nvPr/>
              </p:nvSpPr>
              <p:spPr bwMode="auto">
                <a:xfrm>
                  <a:off x="2886710" y="2154873"/>
                  <a:ext cx="172720" cy="186690"/>
                </a:xfrm>
                <a:custGeom>
                  <a:avLst/>
                  <a:gdLst/>
                  <a:ahLst/>
                  <a:cxnLst>
                    <a:cxn ang="0">
                      <a:pos x="268" y="206"/>
                    </a:cxn>
                    <a:cxn ang="0">
                      <a:pos x="244" y="222"/>
                    </a:cxn>
                    <a:cxn ang="0">
                      <a:pos x="230" y="238"/>
                    </a:cxn>
                    <a:cxn ang="0">
                      <a:pos x="234" y="214"/>
                    </a:cxn>
                    <a:cxn ang="0">
                      <a:pos x="250" y="196"/>
                    </a:cxn>
                    <a:cxn ang="0">
                      <a:pos x="258" y="182"/>
                    </a:cxn>
                    <a:cxn ang="0">
                      <a:pos x="246" y="182"/>
                    </a:cxn>
                    <a:cxn ang="0">
                      <a:pos x="224" y="180"/>
                    </a:cxn>
                    <a:cxn ang="0">
                      <a:pos x="230" y="158"/>
                    </a:cxn>
                    <a:cxn ang="0">
                      <a:pos x="236" y="140"/>
                    </a:cxn>
                    <a:cxn ang="0">
                      <a:pos x="200" y="130"/>
                    </a:cxn>
                    <a:cxn ang="0">
                      <a:pos x="170" y="138"/>
                    </a:cxn>
                    <a:cxn ang="0">
                      <a:pos x="168" y="130"/>
                    </a:cxn>
                    <a:cxn ang="0">
                      <a:pos x="150" y="130"/>
                    </a:cxn>
                    <a:cxn ang="0">
                      <a:pos x="140" y="118"/>
                    </a:cxn>
                    <a:cxn ang="0">
                      <a:pos x="150" y="106"/>
                    </a:cxn>
                    <a:cxn ang="0">
                      <a:pos x="148" y="94"/>
                    </a:cxn>
                    <a:cxn ang="0">
                      <a:pos x="118" y="102"/>
                    </a:cxn>
                    <a:cxn ang="0">
                      <a:pos x="106" y="108"/>
                    </a:cxn>
                    <a:cxn ang="0">
                      <a:pos x="130" y="64"/>
                    </a:cxn>
                    <a:cxn ang="0">
                      <a:pos x="156" y="18"/>
                    </a:cxn>
                    <a:cxn ang="0">
                      <a:pos x="156" y="0"/>
                    </a:cxn>
                    <a:cxn ang="0">
                      <a:pos x="126" y="8"/>
                    </a:cxn>
                    <a:cxn ang="0">
                      <a:pos x="106" y="24"/>
                    </a:cxn>
                    <a:cxn ang="0">
                      <a:pos x="94" y="44"/>
                    </a:cxn>
                    <a:cxn ang="0">
                      <a:pos x="70" y="84"/>
                    </a:cxn>
                    <a:cxn ang="0">
                      <a:pos x="32" y="170"/>
                    </a:cxn>
                    <a:cxn ang="0">
                      <a:pos x="26" y="170"/>
                    </a:cxn>
                    <a:cxn ang="0">
                      <a:pos x="8" y="182"/>
                    </a:cxn>
                    <a:cxn ang="0">
                      <a:pos x="10" y="190"/>
                    </a:cxn>
                    <a:cxn ang="0">
                      <a:pos x="28" y="196"/>
                    </a:cxn>
                    <a:cxn ang="0">
                      <a:pos x="2" y="218"/>
                    </a:cxn>
                    <a:cxn ang="0">
                      <a:pos x="4" y="234"/>
                    </a:cxn>
                    <a:cxn ang="0">
                      <a:pos x="20" y="240"/>
                    </a:cxn>
                    <a:cxn ang="0">
                      <a:pos x="54" y="232"/>
                    </a:cxn>
                    <a:cxn ang="0">
                      <a:pos x="96" y="240"/>
                    </a:cxn>
                    <a:cxn ang="0">
                      <a:pos x="132" y="236"/>
                    </a:cxn>
                    <a:cxn ang="0">
                      <a:pos x="134" y="246"/>
                    </a:cxn>
                    <a:cxn ang="0">
                      <a:pos x="166" y="246"/>
                    </a:cxn>
                    <a:cxn ang="0">
                      <a:pos x="162" y="256"/>
                    </a:cxn>
                    <a:cxn ang="0">
                      <a:pos x="134" y="278"/>
                    </a:cxn>
                    <a:cxn ang="0">
                      <a:pos x="148" y="286"/>
                    </a:cxn>
                    <a:cxn ang="0">
                      <a:pos x="174" y="266"/>
                    </a:cxn>
                    <a:cxn ang="0">
                      <a:pos x="188" y="252"/>
                    </a:cxn>
                    <a:cxn ang="0">
                      <a:pos x="200" y="246"/>
                    </a:cxn>
                    <a:cxn ang="0">
                      <a:pos x="212" y="228"/>
                    </a:cxn>
                    <a:cxn ang="0">
                      <a:pos x="220" y="240"/>
                    </a:cxn>
                    <a:cxn ang="0">
                      <a:pos x="212" y="272"/>
                    </a:cxn>
                    <a:cxn ang="0">
                      <a:pos x="222" y="278"/>
                    </a:cxn>
                    <a:cxn ang="0">
                      <a:pos x="232" y="276"/>
                    </a:cxn>
                    <a:cxn ang="0">
                      <a:pos x="244" y="292"/>
                    </a:cxn>
                    <a:cxn ang="0">
                      <a:pos x="264" y="292"/>
                    </a:cxn>
                    <a:cxn ang="0">
                      <a:pos x="266" y="258"/>
                    </a:cxn>
                    <a:cxn ang="0">
                      <a:pos x="272" y="230"/>
                    </a:cxn>
                    <a:cxn ang="0">
                      <a:pos x="258" y="230"/>
                    </a:cxn>
                  </a:cxnLst>
                  <a:rect l="0" t="0" r="r" b="b"/>
                  <a:pathLst>
                    <a:path w="272" h="294">
                      <a:moveTo>
                        <a:pt x="262" y="218"/>
                      </a:moveTo>
                      <a:lnTo>
                        <a:pt x="262" y="218"/>
                      </a:lnTo>
                      <a:lnTo>
                        <a:pt x="266" y="210"/>
                      </a:lnTo>
                      <a:lnTo>
                        <a:pt x="268" y="206"/>
                      </a:lnTo>
                      <a:lnTo>
                        <a:pt x="266" y="204"/>
                      </a:lnTo>
                      <a:lnTo>
                        <a:pt x="262" y="206"/>
                      </a:lnTo>
                      <a:lnTo>
                        <a:pt x="250" y="216"/>
                      </a:lnTo>
                      <a:lnTo>
                        <a:pt x="244" y="222"/>
                      </a:lnTo>
                      <a:lnTo>
                        <a:pt x="238" y="230"/>
                      </a:lnTo>
                      <a:lnTo>
                        <a:pt x="238" y="230"/>
                      </a:lnTo>
                      <a:lnTo>
                        <a:pt x="234" y="236"/>
                      </a:lnTo>
                      <a:lnTo>
                        <a:pt x="230" y="238"/>
                      </a:lnTo>
                      <a:lnTo>
                        <a:pt x="228" y="234"/>
                      </a:lnTo>
                      <a:lnTo>
                        <a:pt x="228" y="228"/>
                      </a:lnTo>
                      <a:lnTo>
                        <a:pt x="230" y="222"/>
                      </a:lnTo>
                      <a:lnTo>
                        <a:pt x="234" y="214"/>
                      </a:lnTo>
                      <a:lnTo>
                        <a:pt x="238" y="206"/>
                      </a:lnTo>
                      <a:lnTo>
                        <a:pt x="244" y="200"/>
                      </a:lnTo>
                      <a:lnTo>
                        <a:pt x="244" y="200"/>
                      </a:lnTo>
                      <a:lnTo>
                        <a:pt x="250" y="196"/>
                      </a:lnTo>
                      <a:lnTo>
                        <a:pt x="256" y="192"/>
                      </a:lnTo>
                      <a:lnTo>
                        <a:pt x="258" y="188"/>
                      </a:lnTo>
                      <a:lnTo>
                        <a:pt x="258" y="186"/>
                      </a:lnTo>
                      <a:lnTo>
                        <a:pt x="258" y="182"/>
                      </a:lnTo>
                      <a:lnTo>
                        <a:pt x="256" y="182"/>
                      </a:lnTo>
                      <a:lnTo>
                        <a:pt x="252" y="182"/>
                      </a:lnTo>
                      <a:lnTo>
                        <a:pt x="246" y="182"/>
                      </a:lnTo>
                      <a:lnTo>
                        <a:pt x="246" y="182"/>
                      </a:lnTo>
                      <a:lnTo>
                        <a:pt x="240" y="184"/>
                      </a:lnTo>
                      <a:lnTo>
                        <a:pt x="234" y="184"/>
                      </a:lnTo>
                      <a:lnTo>
                        <a:pt x="228" y="182"/>
                      </a:lnTo>
                      <a:lnTo>
                        <a:pt x="224" y="180"/>
                      </a:lnTo>
                      <a:lnTo>
                        <a:pt x="222" y="174"/>
                      </a:lnTo>
                      <a:lnTo>
                        <a:pt x="222" y="170"/>
                      </a:lnTo>
                      <a:lnTo>
                        <a:pt x="224" y="164"/>
                      </a:lnTo>
                      <a:lnTo>
                        <a:pt x="230" y="158"/>
                      </a:lnTo>
                      <a:lnTo>
                        <a:pt x="230" y="158"/>
                      </a:lnTo>
                      <a:lnTo>
                        <a:pt x="236" y="152"/>
                      </a:lnTo>
                      <a:lnTo>
                        <a:pt x="238" y="146"/>
                      </a:lnTo>
                      <a:lnTo>
                        <a:pt x="236" y="140"/>
                      </a:lnTo>
                      <a:lnTo>
                        <a:pt x="230" y="136"/>
                      </a:lnTo>
                      <a:lnTo>
                        <a:pt x="222" y="132"/>
                      </a:lnTo>
                      <a:lnTo>
                        <a:pt x="212" y="130"/>
                      </a:lnTo>
                      <a:lnTo>
                        <a:pt x="200" y="130"/>
                      </a:lnTo>
                      <a:lnTo>
                        <a:pt x="186" y="134"/>
                      </a:lnTo>
                      <a:lnTo>
                        <a:pt x="186" y="134"/>
                      </a:lnTo>
                      <a:lnTo>
                        <a:pt x="176" y="136"/>
                      </a:lnTo>
                      <a:lnTo>
                        <a:pt x="170" y="138"/>
                      </a:lnTo>
                      <a:lnTo>
                        <a:pt x="168" y="136"/>
                      </a:lnTo>
                      <a:lnTo>
                        <a:pt x="168" y="134"/>
                      </a:lnTo>
                      <a:lnTo>
                        <a:pt x="168" y="132"/>
                      </a:lnTo>
                      <a:lnTo>
                        <a:pt x="168" y="130"/>
                      </a:lnTo>
                      <a:lnTo>
                        <a:pt x="164" y="128"/>
                      </a:lnTo>
                      <a:lnTo>
                        <a:pt x="158" y="130"/>
                      </a:lnTo>
                      <a:lnTo>
                        <a:pt x="158" y="130"/>
                      </a:lnTo>
                      <a:lnTo>
                        <a:pt x="150" y="130"/>
                      </a:lnTo>
                      <a:lnTo>
                        <a:pt x="144" y="130"/>
                      </a:lnTo>
                      <a:lnTo>
                        <a:pt x="142" y="126"/>
                      </a:lnTo>
                      <a:lnTo>
                        <a:pt x="140" y="122"/>
                      </a:lnTo>
                      <a:lnTo>
                        <a:pt x="140" y="118"/>
                      </a:lnTo>
                      <a:lnTo>
                        <a:pt x="142" y="112"/>
                      </a:lnTo>
                      <a:lnTo>
                        <a:pt x="146" y="108"/>
                      </a:lnTo>
                      <a:lnTo>
                        <a:pt x="150" y="106"/>
                      </a:lnTo>
                      <a:lnTo>
                        <a:pt x="150" y="106"/>
                      </a:lnTo>
                      <a:lnTo>
                        <a:pt x="154" y="104"/>
                      </a:lnTo>
                      <a:lnTo>
                        <a:pt x="154" y="102"/>
                      </a:lnTo>
                      <a:lnTo>
                        <a:pt x="152" y="98"/>
                      </a:lnTo>
                      <a:lnTo>
                        <a:pt x="148" y="94"/>
                      </a:lnTo>
                      <a:lnTo>
                        <a:pt x="142" y="92"/>
                      </a:lnTo>
                      <a:lnTo>
                        <a:pt x="136" y="92"/>
                      </a:lnTo>
                      <a:lnTo>
                        <a:pt x="128" y="96"/>
                      </a:lnTo>
                      <a:lnTo>
                        <a:pt x="118" y="102"/>
                      </a:lnTo>
                      <a:lnTo>
                        <a:pt x="118" y="102"/>
                      </a:lnTo>
                      <a:lnTo>
                        <a:pt x="110" y="110"/>
                      </a:lnTo>
                      <a:lnTo>
                        <a:pt x="108" y="110"/>
                      </a:lnTo>
                      <a:lnTo>
                        <a:pt x="106" y="108"/>
                      </a:lnTo>
                      <a:lnTo>
                        <a:pt x="108" y="102"/>
                      </a:lnTo>
                      <a:lnTo>
                        <a:pt x="118" y="84"/>
                      </a:lnTo>
                      <a:lnTo>
                        <a:pt x="130" y="64"/>
                      </a:lnTo>
                      <a:lnTo>
                        <a:pt x="130" y="64"/>
                      </a:lnTo>
                      <a:lnTo>
                        <a:pt x="138" y="46"/>
                      </a:lnTo>
                      <a:lnTo>
                        <a:pt x="148" y="30"/>
                      </a:lnTo>
                      <a:lnTo>
                        <a:pt x="156" y="18"/>
                      </a:lnTo>
                      <a:lnTo>
                        <a:pt x="156" y="18"/>
                      </a:lnTo>
                      <a:lnTo>
                        <a:pt x="160" y="12"/>
                      </a:lnTo>
                      <a:lnTo>
                        <a:pt x="160" y="8"/>
                      </a:lnTo>
                      <a:lnTo>
                        <a:pt x="160" y="4"/>
                      </a:lnTo>
                      <a:lnTo>
                        <a:pt x="156" y="0"/>
                      </a:lnTo>
                      <a:lnTo>
                        <a:pt x="152" y="0"/>
                      </a:lnTo>
                      <a:lnTo>
                        <a:pt x="144" y="0"/>
                      </a:lnTo>
                      <a:lnTo>
                        <a:pt x="136" y="2"/>
                      </a:lnTo>
                      <a:lnTo>
                        <a:pt x="126" y="8"/>
                      </a:lnTo>
                      <a:lnTo>
                        <a:pt x="126" y="8"/>
                      </a:lnTo>
                      <a:lnTo>
                        <a:pt x="116" y="14"/>
                      </a:lnTo>
                      <a:lnTo>
                        <a:pt x="110" y="18"/>
                      </a:lnTo>
                      <a:lnTo>
                        <a:pt x="106" y="24"/>
                      </a:lnTo>
                      <a:lnTo>
                        <a:pt x="104" y="28"/>
                      </a:lnTo>
                      <a:lnTo>
                        <a:pt x="102" y="36"/>
                      </a:lnTo>
                      <a:lnTo>
                        <a:pt x="98" y="40"/>
                      </a:lnTo>
                      <a:lnTo>
                        <a:pt x="94" y="44"/>
                      </a:lnTo>
                      <a:lnTo>
                        <a:pt x="94" y="44"/>
                      </a:lnTo>
                      <a:lnTo>
                        <a:pt x="88" y="50"/>
                      </a:lnTo>
                      <a:lnTo>
                        <a:pt x="82" y="60"/>
                      </a:lnTo>
                      <a:lnTo>
                        <a:pt x="70" y="84"/>
                      </a:lnTo>
                      <a:lnTo>
                        <a:pt x="56" y="116"/>
                      </a:lnTo>
                      <a:lnTo>
                        <a:pt x="42" y="150"/>
                      </a:lnTo>
                      <a:lnTo>
                        <a:pt x="42" y="150"/>
                      </a:lnTo>
                      <a:lnTo>
                        <a:pt x="32" y="170"/>
                      </a:lnTo>
                      <a:lnTo>
                        <a:pt x="30" y="172"/>
                      </a:lnTo>
                      <a:lnTo>
                        <a:pt x="28" y="172"/>
                      </a:lnTo>
                      <a:lnTo>
                        <a:pt x="28" y="170"/>
                      </a:lnTo>
                      <a:lnTo>
                        <a:pt x="26" y="170"/>
                      </a:lnTo>
                      <a:lnTo>
                        <a:pt x="24" y="170"/>
                      </a:lnTo>
                      <a:lnTo>
                        <a:pt x="18" y="174"/>
                      </a:lnTo>
                      <a:lnTo>
                        <a:pt x="18" y="174"/>
                      </a:lnTo>
                      <a:lnTo>
                        <a:pt x="8" y="182"/>
                      </a:lnTo>
                      <a:lnTo>
                        <a:pt x="6" y="186"/>
                      </a:lnTo>
                      <a:lnTo>
                        <a:pt x="4" y="188"/>
                      </a:lnTo>
                      <a:lnTo>
                        <a:pt x="6" y="188"/>
                      </a:lnTo>
                      <a:lnTo>
                        <a:pt x="10" y="190"/>
                      </a:lnTo>
                      <a:lnTo>
                        <a:pt x="22" y="192"/>
                      </a:lnTo>
                      <a:lnTo>
                        <a:pt x="22" y="192"/>
                      </a:lnTo>
                      <a:lnTo>
                        <a:pt x="28" y="194"/>
                      </a:lnTo>
                      <a:lnTo>
                        <a:pt x="28" y="196"/>
                      </a:lnTo>
                      <a:lnTo>
                        <a:pt x="28" y="198"/>
                      </a:lnTo>
                      <a:lnTo>
                        <a:pt x="14" y="206"/>
                      </a:lnTo>
                      <a:lnTo>
                        <a:pt x="8" y="212"/>
                      </a:lnTo>
                      <a:lnTo>
                        <a:pt x="2" y="218"/>
                      </a:lnTo>
                      <a:lnTo>
                        <a:pt x="0" y="222"/>
                      </a:lnTo>
                      <a:lnTo>
                        <a:pt x="0" y="226"/>
                      </a:lnTo>
                      <a:lnTo>
                        <a:pt x="0" y="230"/>
                      </a:lnTo>
                      <a:lnTo>
                        <a:pt x="4" y="234"/>
                      </a:lnTo>
                      <a:lnTo>
                        <a:pt x="4" y="234"/>
                      </a:lnTo>
                      <a:lnTo>
                        <a:pt x="6" y="236"/>
                      </a:lnTo>
                      <a:lnTo>
                        <a:pt x="10" y="240"/>
                      </a:lnTo>
                      <a:lnTo>
                        <a:pt x="20" y="240"/>
                      </a:lnTo>
                      <a:lnTo>
                        <a:pt x="38" y="234"/>
                      </a:lnTo>
                      <a:lnTo>
                        <a:pt x="38" y="234"/>
                      </a:lnTo>
                      <a:lnTo>
                        <a:pt x="48" y="232"/>
                      </a:lnTo>
                      <a:lnTo>
                        <a:pt x="54" y="232"/>
                      </a:lnTo>
                      <a:lnTo>
                        <a:pt x="68" y="236"/>
                      </a:lnTo>
                      <a:lnTo>
                        <a:pt x="74" y="238"/>
                      </a:lnTo>
                      <a:lnTo>
                        <a:pt x="84" y="240"/>
                      </a:lnTo>
                      <a:lnTo>
                        <a:pt x="96" y="240"/>
                      </a:lnTo>
                      <a:lnTo>
                        <a:pt x="112" y="238"/>
                      </a:lnTo>
                      <a:lnTo>
                        <a:pt x="112" y="238"/>
                      </a:lnTo>
                      <a:lnTo>
                        <a:pt x="126" y="236"/>
                      </a:lnTo>
                      <a:lnTo>
                        <a:pt x="132" y="236"/>
                      </a:lnTo>
                      <a:lnTo>
                        <a:pt x="134" y="238"/>
                      </a:lnTo>
                      <a:lnTo>
                        <a:pt x="134" y="240"/>
                      </a:lnTo>
                      <a:lnTo>
                        <a:pt x="134" y="244"/>
                      </a:lnTo>
                      <a:lnTo>
                        <a:pt x="134" y="246"/>
                      </a:lnTo>
                      <a:lnTo>
                        <a:pt x="140" y="246"/>
                      </a:lnTo>
                      <a:lnTo>
                        <a:pt x="154" y="246"/>
                      </a:lnTo>
                      <a:lnTo>
                        <a:pt x="154" y="246"/>
                      </a:lnTo>
                      <a:lnTo>
                        <a:pt x="166" y="246"/>
                      </a:lnTo>
                      <a:lnTo>
                        <a:pt x="170" y="246"/>
                      </a:lnTo>
                      <a:lnTo>
                        <a:pt x="170" y="248"/>
                      </a:lnTo>
                      <a:lnTo>
                        <a:pt x="168" y="252"/>
                      </a:lnTo>
                      <a:lnTo>
                        <a:pt x="162" y="256"/>
                      </a:lnTo>
                      <a:lnTo>
                        <a:pt x="144" y="268"/>
                      </a:lnTo>
                      <a:lnTo>
                        <a:pt x="138" y="274"/>
                      </a:lnTo>
                      <a:lnTo>
                        <a:pt x="134" y="278"/>
                      </a:lnTo>
                      <a:lnTo>
                        <a:pt x="134" y="278"/>
                      </a:lnTo>
                      <a:lnTo>
                        <a:pt x="136" y="282"/>
                      </a:lnTo>
                      <a:lnTo>
                        <a:pt x="138" y="284"/>
                      </a:lnTo>
                      <a:lnTo>
                        <a:pt x="142" y="286"/>
                      </a:lnTo>
                      <a:lnTo>
                        <a:pt x="148" y="286"/>
                      </a:lnTo>
                      <a:lnTo>
                        <a:pt x="154" y="284"/>
                      </a:lnTo>
                      <a:lnTo>
                        <a:pt x="162" y="280"/>
                      </a:lnTo>
                      <a:lnTo>
                        <a:pt x="168" y="274"/>
                      </a:lnTo>
                      <a:lnTo>
                        <a:pt x="174" y="266"/>
                      </a:lnTo>
                      <a:lnTo>
                        <a:pt x="174" y="266"/>
                      </a:lnTo>
                      <a:lnTo>
                        <a:pt x="180" y="258"/>
                      </a:lnTo>
                      <a:lnTo>
                        <a:pt x="184" y="254"/>
                      </a:lnTo>
                      <a:lnTo>
                        <a:pt x="188" y="252"/>
                      </a:lnTo>
                      <a:lnTo>
                        <a:pt x="192" y="252"/>
                      </a:lnTo>
                      <a:lnTo>
                        <a:pt x="194" y="252"/>
                      </a:lnTo>
                      <a:lnTo>
                        <a:pt x="196" y="250"/>
                      </a:lnTo>
                      <a:lnTo>
                        <a:pt x="200" y="246"/>
                      </a:lnTo>
                      <a:lnTo>
                        <a:pt x="204" y="238"/>
                      </a:lnTo>
                      <a:lnTo>
                        <a:pt x="204" y="238"/>
                      </a:lnTo>
                      <a:lnTo>
                        <a:pt x="208" y="232"/>
                      </a:lnTo>
                      <a:lnTo>
                        <a:pt x="212" y="228"/>
                      </a:lnTo>
                      <a:lnTo>
                        <a:pt x="214" y="228"/>
                      </a:lnTo>
                      <a:lnTo>
                        <a:pt x="218" y="230"/>
                      </a:lnTo>
                      <a:lnTo>
                        <a:pt x="220" y="234"/>
                      </a:lnTo>
                      <a:lnTo>
                        <a:pt x="220" y="240"/>
                      </a:lnTo>
                      <a:lnTo>
                        <a:pt x="218" y="248"/>
                      </a:lnTo>
                      <a:lnTo>
                        <a:pt x="216" y="256"/>
                      </a:lnTo>
                      <a:lnTo>
                        <a:pt x="216" y="256"/>
                      </a:lnTo>
                      <a:lnTo>
                        <a:pt x="212" y="272"/>
                      </a:lnTo>
                      <a:lnTo>
                        <a:pt x="210" y="282"/>
                      </a:lnTo>
                      <a:lnTo>
                        <a:pt x="210" y="284"/>
                      </a:lnTo>
                      <a:lnTo>
                        <a:pt x="212" y="284"/>
                      </a:lnTo>
                      <a:lnTo>
                        <a:pt x="222" y="278"/>
                      </a:lnTo>
                      <a:lnTo>
                        <a:pt x="222" y="278"/>
                      </a:lnTo>
                      <a:lnTo>
                        <a:pt x="228" y="274"/>
                      </a:lnTo>
                      <a:lnTo>
                        <a:pt x="230" y="274"/>
                      </a:lnTo>
                      <a:lnTo>
                        <a:pt x="232" y="276"/>
                      </a:lnTo>
                      <a:lnTo>
                        <a:pt x="234" y="280"/>
                      </a:lnTo>
                      <a:lnTo>
                        <a:pt x="236" y="284"/>
                      </a:lnTo>
                      <a:lnTo>
                        <a:pt x="240" y="290"/>
                      </a:lnTo>
                      <a:lnTo>
                        <a:pt x="244" y="292"/>
                      </a:lnTo>
                      <a:lnTo>
                        <a:pt x="252" y="294"/>
                      </a:lnTo>
                      <a:lnTo>
                        <a:pt x="252" y="294"/>
                      </a:lnTo>
                      <a:lnTo>
                        <a:pt x="260" y="294"/>
                      </a:lnTo>
                      <a:lnTo>
                        <a:pt x="264" y="292"/>
                      </a:lnTo>
                      <a:lnTo>
                        <a:pt x="266" y="288"/>
                      </a:lnTo>
                      <a:lnTo>
                        <a:pt x="266" y="284"/>
                      </a:lnTo>
                      <a:lnTo>
                        <a:pt x="264" y="268"/>
                      </a:lnTo>
                      <a:lnTo>
                        <a:pt x="266" y="258"/>
                      </a:lnTo>
                      <a:lnTo>
                        <a:pt x="270" y="246"/>
                      </a:lnTo>
                      <a:lnTo>
                        <a:pt x="270" y="246"/>
                      </a:lnTo>
                      <a:lnTo>
                        <a:pt x="272" y="236"/>
                      </a:lnTo>
                      <a:lnTo>
                        <a:pt x="272" y="230"/>
                      </a:lnTo>
                      <a:lnTo>
                        <a:pt x="268" y="228"/>
                      </a:lnTo>
                      <a:lnTo>
                        <a:pt x="264" y="230"/>
                      </a:lnTo>
                      <a:lnTo>
                        <a:pt x="260" y="230"/>
                      </a:lnTo>
                      <a:lnTo>
                        <a:pt x="258" y="230"/>
                      </a:lnTo>
                      <a:lnTo>
                        <a:pt x="258" y="226"/>
                      </a:lnTo>
                      <a:lnTo>
                        <a:pt x="262" y="218"/>
                      </a:lnTo>
                      <a:lnTo>
                        <a:pt x="262" y="21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2" name="Freeform 6114"/>
                <p:cNvSpPr>
                  <a:spLocks/>
                </p:cNvSpPr>
                <p:nvPr/>
              </p:nvSpPr>
              <p:spPr bwMode="auto">
                <a:xfrm>
                  <a:off x="2306320" y="2092643"/>
                  <a:ext cx="36830" cy="21590"/>
                </a:xfrm>
                <a:custGeom>
                  <a:avLst/>
                  <a:gdLst/>
                  <a:ahLst/>
                  <a:cxnLst>
                    <a:cxn ang="0">
                      <a:pos x="16" y="20"/>
                    </a:cxn>
                    <a:cxn ang="0">
                      <a:pos x="16" y="20"/>
                    </a:cxn>
                    <a:cxn ang="0">
                      <a:pos x="40" y="30"/>
                    </a:cxn>
                    <a:cxn ang="0">
                      <a:pos x="50" y="34"/>
                    </a:cxn>
                    <a:cxn ang="0">
                      <a:pos x="54" y="34"/>
                    </a:cxn>
                    <a:cxn ang="0">
                      <a:pos x="56" y="32"/>
                    </a:cxn>
                    <a:cxn ang="0">
                      <a:pos x="56" y="32"/>
                    </a:cxn>
                    <a:cxn ang="0">
                      <a:pos x="58" y="28"/>
                    </a:cxn>
                    <a:cxn ang="0">
                      <a:pos x="56" y="26"/>
                    </a:cxn>
                    <a:cxn ang="0">
                      <a:pos x="52" y="16"/>
                    </a:cxn>
                    <a:cxn ang="0">
                      <a:pos x="40" y="4"/>
                    </a:cxn>
                    <a:cxn ang="0">
                      <a:pos x="40" y="4"/>
                    </a:cxn>
                    <a:cxn ang="0">
                      <a:pos x="34" y="2"/>
                    </a:cxn>
                    <a:cxn ang="0">
                      <a:pos x="22" y="0"/>
                    </a:cxn>
                    <a:cxn ang="0">
                      <a:pos x="10" y="4"/>
                    </a:cxn>
                    <a:cxn ang="0">
                      <a:pos x="4" y="6"/>
                    </a:cxn>
                    <a:cxn ang="0">
                      <a:pos x="2" y="8"/>
                    </a:cxn>
                    <a:cxn ang="0">
                      <a:pos x="2" y="8"/>
                    </a:cxn>
                    <a:cxn ang="0">
                      <a:pos x="0" y="12"/>
                    </a:cxn>
                    <a:cxn ang="0">
                      <a:pos x="2" y="14"/>
                    </a:cxn>
                    <a:cxn ang="0">
                      <a:pos x="16" y="20"/>
                    </a:cxn>
                    <a:cxn ang="0">
                      <a:pos x="16" y="20"/>
                    </a:cxn>
                  </a:cxnLst>
                  <a:rect l="0" t="0" r="r" b="b"/>
                  <a:pathLst>
                    <a:path w="58" h="34">
                      <a:moveTo>
                        <a:pt x="16" y="20"/>
                      </a:moveTo>
                      <a:lnTo>
                        <a:pt x="16" y="20"/>
                      </a:lnTo>
                      <a:lnTo>
                        <a:pt x="40" y="30"/>
                      </a:lnTo>
                      <a:lnTo>
                        <a:pt x="50" y="34"/>
                      </a:lnTo>
                      <a:lnTo>
                        <a:pt x="54" y="34"/>
                      </a:lnTo>
                      <a:lnTo>
                        <a:pt x="56" y="32"/>
                      </a:lnTo>
                      <a:lnTo>
                        <a:pt x="56" y="32"/>
                      </a:lnTo>
                      <a:lnTo>
                        <a:pt x="58" y="28"/>
                      </a:lnTo>
                      <a:lnTo>
                        <a:pt x="56" y="26"/>
                      </a:lnTo>
                      <a:lnTo>
                        <a:pt x="52" y="16"/>
                      </a:lnTo>
                      <a:lnTo>
                        <a:pt x="40" y="4"/>
                      </a:lnTo>
                      <a:lnTo>
                        <a:pt x="40" y="4"/>
                      </a:lnTo>
                      <a:lnTo>
                        <a:pt x="34" y="2"/>
                      </a:lnTo>
                      <a:lnTo>
                        <a:pt x="22" y="0"/>
                      </a:lnTo>
                      <a:lnTo>
                        <a:pt x="10" y="4"/>
                      </a:lnTo>
                      <a:lnTo>
                        <a:pt x="4" y="6"/>
                      </a:lnTo>
                      <a:lnTo>
                        <a:pt x="2" y="8"/>
                      </a:lnTo>
                      <a:lnTo>
                        <a:pt x="2" y="8"/>
                      </a:lnTo>
                      <a:lnTo>
                        <a:pt x="0" y="12"/>
                      </a:lnTo>
                      <a:lnTo>
                        <a:pt x="2" y="14"/>
                      </a:lnTo>
                      <a:lnTo>
                        <a:pt x="16" y="20"/>
                      </a:lnTo>
                      <a:lnTo>
                        <a:pt x="16" y="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grpSp>
              <p:nvGrpSpPr>
                <p:cNvPr id="7" name="Gruppe 224"/>
                <p:cNvGrpSpPr/>
                <p:nvPr/>
              </p:nvGrpSpPr>
              <p:grpSpPr>
                <a:xfrm>
                  <a:off x="106680" y="699453"/>
                  <a:ext cx="3986530" cy="2951480"/>
                  <a:chOff x="106680" y="699453"/>
                  <a:chExt cx="3986530" cy="2951480"/>
                </a:xfrm>
                <a:grpFill/>
              </p:grpSpPr>
              <p:sp>
                <p:nvSpPr>
                  <p:cNvPr id="186" name="Freeform 6016"/>
                  <p:cNvSpPr>
                    <a:spLocks/>
                  </p:cNvSpPr>
                  <p:nvPr/>
                </p:nvSpPr>
                <p:spPr bwMode="auto">
                  <a:xfrm>
                    <a:off x="1352550" y="1099503"/>
                    <a:ext cx="40640" cy="26670"/>
                  </a:xfrm>
                  <a:custGeom>
                    <a:avLst/>
                    <a:gdLst/>
                    <a:ahLst/>
                    <a:cxnLst>
                      <a:cxn ang="0">
                        <a:pos x="54" y="2"/>
                      </a:cxn>
                      <a:cxn ang="0">
                        <a:pos x="54" y="2"/>
                      </a:cxn>
                      <a:cxn ang="0">
                        <a:pos x="32" y="12"/>
                      </a:cxn>
                      <a:cxn ang="0">
                        <a:pos x="10" y="24"/>
                      </a:cxn>
                      <a:cxn ang="0">
                        <a:pos x="4" y="30"/>
                      </a:cxn>
                      <a:cxn ang="0">
                        <a:pos x="0" y="36"/>
                      </a:cxn>
                      <a:cxn ang="0">
                        <a:pos x="2" y="38"/>
                      </a:cxn>
                      <a:cxn ang="0">
                        <a:pos x="4" y="40"/>
                      </a:cxn>
                      <a:cxn ang="0">
                        <a:pos x="16" y="42"/>
                      </a:cxn>
                      <a:cxn ang="0">
                        <a:pos x="16" y="42"/>
                      </a:cxn>
                      <a:cxn ang="0">
                        <a:pos x="22" y="42"/>
                      </a:cxn>
                      <a:cxn ang="0">
                        <a:pos x="28" y="42"/>
                      </a:cxn>
                      <a:cxn ang="0">
                        <a:pos x="40" y="36"/>
                      </a:cxn>
                      <a:cxn ang="0">
                        <a:pos x="50" y="28"/>
                      </a:cxn>
                      <a:cxn ang="0">
                        <a:pos x="58" y="20"/>
                      </a:cxn>
                      <a:cxn ang="0">
                        <a:pos x="62" y="10"/>
                      </a:cxn>
                      <a:cxn ang="0">
                        <a:pos x="64" y="4"/>
                      </a:cxn>
                      <a:cxn ang="0">
                        <a:pos x="64" y="2"/>
                      </a:cxn>
                      <a:cxn ang="0">
                        <a:pos x="62" y="0"/>
                      </a:cxn>
                      <a:cxn ang="0">
                        <a:pos x="58" y="0"/>
                      </a:cxn>
                      <a:cxn ang="0">
                        <a:pos x="54" y="2"/>
                      </a:cxn>
                      <a:cxn ang="0">
                        <a:pos x="54" y="2"/>
                      </a:cxn>
                    </a:cxnLst>
                    <a:rect l="0" t="0" r="r" b="b"/>
                    <a:pathLst>
                      <a:path w="64" h="42">
                        <a:moveTo>
                          <a:pt x="54" y="2"/>
                        </a:moveTo>
                        <a:lnTo>
                          <a:pt x="54" y="2"/>
                        </a:lnTo>
                        <a:lnTo>
                          <a:pt x="32" y="12"/>
                        </a:lnTo>
                        <a:lnTo>
                          <a:pt x="10" y="24"/>
                        </a:lnTo>
                        <a:lnTo>
                          <a:pt x="4" y="30"/>
                        </a:lnTo>
                        <a:lnTo>
                          <a:pt x="0" y="36"/>
                        </a:lnTo>
                        <a:lnTo>
                          <a:pt x="2" y="38"/>
                        </a:lnTo>
                        <a:lnTo>
                          <a:pt x="4" y="40"/>
                        </a:lnTo>
                        <a:lnTo>
                          <a:pt x="16" y="42"/>
                        </a:lnTo>
                        <a:lnTo>
                          <a:pt x="16" y="42"/>
                        </a:lnTo>
                        <a:lnTo>
                          <a:pt x="22" y="42"/>
                        </a:lnTo>
                        <a:lnTo>
                          <a:pt x="28" y="42"/>
                        </a:lnTo>
                        <a:lnTo>
                          <a:pt x="40" y="36"/>
                        </a:lnTo>
                        <a:lnTo>
                          <a:pt x="50" y="28"/>
                        </a:lnTo>
                        <a:lnTo>
                          <a:pt x="58" y="20"/>
                        </a:lnTo>
                        <a:lnTo>
                          <a:pt x="62" y="10"/>
                        </a:lnTo>
                        <a:lnTo>
                          <a:pt x="64" y="4"/>
                        </a:lnTo>
                        <a:lnTo>
                          <a:pt x="64" y="2"/>
                        </a:lnTo>
                        <a:lnTo>
                          <a:pt x="62" y="0"/>
                        </a:lnTo>
                        <a:lnTo>
                          <a:pt x="58" y="0"/>
                        </a:lnTo>
                        <a:lnTo>
                          <a:pt x="54" y="2"/>
                        </a:lnTo>
                        <a:lnTo>
                          <a:pt x="54"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7" name="Freeform 6017"/>
                  <p:cNvSpPr>
                    <a:spLocks/>
                  </p:cNvSpPr>
                  <p:nvPr/>
                </p:nvSpPr>
                <p:spPr bwMode="auto">
                  <a:xfrm>
                    <a:off x="1184910" y="1173163"/>
                    <a:ext cx="270510" cy="165100"/>
                  </a:xfrm>
                  <a:custGeom>
                    <a:avLst/>
                    <a:gdLst/>
                    <a:ahLst/>
                    <a:cxnLst>
                      <a:cxn ang="0">
                        <a:pos x="20" y="198"/>
                      </a:cxn>
                      <a:cxn ang="0">
                        <a:pos x="68" y="214"/>
                      </a:cxn>
                      <a:cxn ang="0">
                        <a:pos x="92" y="232"/>
                      </a:cxn>
                      <a:cxn ang="0">
                        <a:pos x="106" y="256"/>
                      </a:cxn>
                      <a:cxn ang="0">
                        <a:pos x="116" y="260"/>
                      </a:cxn>
                      <a:cxn ang="0">
                        <a:pos x="146" y="248"/>
                      </a:cxn>
                      <a:cxn ang="0">
                        <a:pos x="168" y="236"/>
                      </a:cxn>
                      <a:cxn ang="0">
                        <a:pos x="184" y="238"/>
                      </a:cxn>
                      <a:cxn ang="0">
                        <a:pos x="208" y="232"/>
                      </a:cxn>
                      <a:cxn ang="0">
                        <a:pos x="216" y="226"/>
                      </a:cxn>
                      <a:cxn ang="0">
                        <a:pos x="224" y="200"/>
                      </a:cxn>
                      <a:cxn ang="0">
                        <a:pos x="232" y="178"/>
                      </a:cxn>
                      <a:cxn ang="0">
                        <a:pos x="254" y="172"/>
                      </a:cxn>
                      <a:cxn ang="0">
                        <a:pos x="266" y="158"/>
                      </a:cxn>
                      <a:cxn ang="0">
                        <a:pos x="280" y="140"/>
                      </a:cxn>
                      <a:cxn ang="0">
                        <a:pos x="322" y="124"/>
                      </a:cxn>
                      <a:cxn ang="0">
                        <a:pos x="392" y="94"/>
                      </a:cxn>
                      <a:cxn ang="0">
                        <a:pos x="418" y="86"/>
                      </a:cxn>
                      <a:cxn ang="0">
                        <a:pos x="424" y="72"/>
                      </a:cxn>
                      <a:cxn ang="0">
                        <a:pos x="408" y="64"/>
                      </a:cxn>
                      <a:cxn ang="0">
                        <a:pos x="370" y="40"/>
                      </a:cxn>
                      <a:cxn ang="0">
                        <a:pos x="334" y="22"/>
                      </a:cxn>
                      <a:cxn ang="0">
                        <a:pos x="302" y="22"/>
                      </a:cxn>
                      <a:cxn ang="0">
                        <a:pos x="284" y="30"/>
                      </a:cxn>
                      <a:cxn ang="0">
                        <a:pos x="276" y="40"/>
                      </a:cxn>
                      <a:cxn ang="0">
                        <a:pos x="272" y="36"/>
                      </a:cxn>
                      <a:cxn ang="0">
                        <a:pos x="268" y="26"/>
                      </a:cxn>
                      <a:cxn ang="0">
                        <a:pos x="260" y="26"/>
                      </a:cxn>
                      <a:cxn ang="0">
                        <a:pos x="234" y="22"/>
                      </a:cxn>
                      <a:cxn ang="0">
                        <a:pos x="192" y="2"/>
                      </a:cxn>
                      <a:cxn ang="0">
                        <a:pos x="168" y="0"/>
                      </a:cxn>
                      <a:cxn ang="0">
                        <a:pos x="138" y="6"/>
                      </a:cxn>
                      <a:cxn ang="0">
                        <a:pos x="54" y="16"/>
                      </a:cxn>
                      <a:cxn ang="0">
                        <a:pos x="50" y="20"/>
                      </a:cxn>
                      <a:cxn ang="0">
                        <a:pos x="56" y="28"/>
                      </a:cxn>
                      <a:cxn ang="0">
                        <a:pos x="64" y="46"/>
                      </a:cxn>
                      <a:cxn ang="0">
                        <a:pos x="76" y="52"/>
                      </a:cxn>
                      <a:cxn ang="0">
                        <a:pos x="86" y="60"/>
                      </a:cxn>
                      <a:cxn ang="0">
                        <a:pos x="74" y="72"/>
                      </a:cxn>
                      <a:cxn ang="0">
                        <a:pos x="72" y="80"/>
                      </a:cxn>
                      <a:cxn ang="0">
                        <a:pos x="58" y="84"/>
                      </a:cxn>
                      <a:cxn ang="0">
                        <a:pos x="56" y="90"/>
                      </a:cxn>
                      <a:cxn ang="0">
                        <a:pos x="48" y="106"/>
                      </a:cxn>
                      <a:cxn ang="0">
                        <a:pos x="46" y="114"/>
                      </a:cxn>
                      <a:cxn ang="0">
                        <a:pos x="56" y="122"/>
                      </a:cxn>
                      <a:cxn ang="0">
                        <a:pos x="44" y="126"/>
                      </a:cxn>
                      <a:cxn ang="0">
                        <a:pos x="30" y="130"/>
                      </a:cxn>
                      <a:cxn ang="0">
                        <a:pos x="34" y="140"/>
                      </a:cxn>
                      <a:cxn ang="0">
                        <a:pos x="22" y="160"/>
                      </a:cxn>
                      <a:cxn ang="0">
                        <a:pos x="4" y="182"/>
                      </a:cxn>
                      <a:cxn ang="0">
                        <a:pos x="0" y="192"/>
                      </a:cxn>
                      <a:cxn ang="0">
                        <a:pos x="2" y="196"/>
                      </a:cxn>
                    </a:cxnLst>
                    <a:rect l="0" t="0" r="r" b="b"/>
                    <a:pathLst>
                      <a:path w="426" h="260">
                        <a:moveTo>
                          <a:pt x="2" y="196"/>
                        </a:moveTo>
                        <a:lnTo>
                          <a:pt x="2" y="196"/>
                        </a:lnTo>
                        <a:lnTo>
                          <a:pt x="20" y="198"/>
                        </a:lnTo>
                        <a:lnTo>
                          <a:pt x="38" y="204"/>
                        </a:lnTo>
                        <a:lnTo>
                          <a:pt x="68" y="214"/>
                        </a:lnTo>
                        <a:lnTo>
                          <a:pt x="68" y="214"/>
                        </a:lnTo>
                        <a:lnTo>
                          <a:pt x="78" y="220"/>
                        </a:lnTo>
                        <a:lnTo>
                          <a:pt x="86" y="226"/>
                        </a:lnTo>
                        <a:lnTo>
                          <a:pt x="92" y="232"/>
                        </a:lnTo>
                        <a:lnTo>
                          <a:pt x="96" y="240"/>
                        </a:lnTo>
                        <a:lnTo>
                          <a:pt x="102" y="252"/>
                        </a:lnTo>
                        <a:lnTo>
                          <a:pt x="106" y="256"/>
                        </a:lnTo>
                        <a:lnTo>
                          <a:pt x="110" y="260"/>
                        </a:lnTo>
                        <a:lnTo>
                          <a:pt x="110" y="260"/>
                        </a:lnTo>
                        <a:lnTo>
                          <a:pt x="116" y="260"/>
                        </a:lnTo>
                        <a:lnTo>
                          <a:pt x="122" y="260"/>
                        </a:lnTo>
                        <a:lnTo>
                          <a:pt x="134" y="256"/>
                        </a:lnTo>
                        <a:lnTo>
                          <a:pt x="146" y="248"/>
                        </a:lnTo>
                        <a:lnTo>
                          <a:pt x="160" y="240"/>
                        </a:lnTo>
                        <a:lnTo>
                          <a:pt x="160" y="240"/>
                        </a:lnTo>
                        <a:lnTo>
                          <a:pt x="168" y="236"/>
                        </a:lnTo>
                        <a:lnTo>
                          <a:pt x="172" y="234"/>
                        </a:lnTo>
                        <a:lnTo>
                          <a:pt x="180" y="236"/>
                        </a:lnTo>
                        <a:lnTo>
                          <a:pt x="184" y="238"/>
                        </a:lnTo>
                        <a:lnTo>
                          <a:pt x="190" y="238"/>
                        </a:lnTo>
                        <a:lnTo>
                          <a:pt x="198" y="236"/>
                        </a:lnTo>
                        <a:lnTo>
                          <a:pt x="208" y="232"/>
                        </a:lnTo>
                        <a:lnTo>
                          <a:pt x="208" y="232"/>
                        </a:lnTo>
                        <a:lnTo>
                          <a:pt x="212" y="230"/>
                        </a:lnTo>
                        <a:lnTo>
                          <a:pt x="216" y="226"/>
                        </a:lnTo>
                        <a:lnTo>
                          <a:pt x="222" y="218"/>
                        </a:lnTo>
                        <a:lnTo>
                          <a:pt x="224" y="210"/>
                        </a:lnTo>
                        <a:lnTo>
                          <a:pt x="224" y="200"/>
                        </a:lnTo>
                        <a:lnTo>
                          <a:pt x="224" y="192"/>
                        </a:lnTo>
                        <a:lnTo>
                          <a:pt x="226" y="184"/>
                        </a:lnTo>
                        <a:lnTo>
                          <a:pt x="232" y="178"/>
                        </a:lnTo>
                        <a:lnTo>
                          <a:pt x="244" y="174"/>
                        </a:lnTo>
                        <a:lnTo>
                          <a:pt x="244" y="174"/>
                        </a:lnTo>
                        <a:lnTo>
                          <a:pt x="254" y="172"/>
                        </a:lnTo>
                        <a:lnTo>
                          <a:pt x="260" y="170"/>
                        </a:lnTo>
                        <a:lnTo>
                          <a:pt x="264" y="164"/>
                        </a:lnTo>
                        <a:lnTo>
                          <a:pt x="266" y="158"/>
                        </a:lnTo>
                        <a:lnTo>
                          <a:pt x="268" y="152"/>
                        </a:lnTo>
                        <a:lnTo>
                          <a:pt x="272" y="146"/>
                        </a:lnTo>
                        <a:lnTo>
                          <a:pt x="280" y="140"/>
                        </a:lnTo>
                        <a:lnTo>
                          <a:pt x="292" y="136"/>
                        </a:lnTo>
                        <a:lnTo>
                          <a:pt x="292" y="136"/>
                        </a:lnTo>
                        <a:lnTo>
                          <a:pt x="322" y="124"/>
                        </a:lnTo>
                        <a:lnTo>
                          <a:pt x="348" y="112"/>
                        </a:lnTo>
                        <a:lnTo>
                          <a:pt x="370" y="102"/>
                        </a:lnTo>
                        <a:lnTo>
                          <a:pt x="392" y="94"/>
                        </a:lnTo>
                        <a:lnTo>
                          <a:pt x="392" y="94"/>
                        </a:lnTo>
                        <a:lnTo>
                          <a:pt x="408" y="90"/>
                        </a:lnTo>
                        <a:lnTo>
                          <a:pt x="418" y="86"/>
                        </a:lnTo>
                        <a:lnTo>
                          <a:pt x="424" y="82"/>
                        </a:lnTo>
                        <a:lnTo>
                          <a:pt x="426" y="76"/>
                        </a:lnTo>
                        <a:lnTo>
                          <a:pt x="424" y="72"/>
                        </a:lnTo>
                        <a:lnTo>
                          <a:pt x="420" y="70"/>
                        </a:lnTo>
                        <a:lnTo>
                          <a:pt x="408" y="64"/>
                        </a:lnTo>
                        <a:lnTo>
                          <a:pt x="408" y="64"/>
                        </a:lnTo>
                        <a:lnTo>
                          <a:pt x="398" y="60"/>
                        </a:lnTo>
                        <a:lnTo>
                          <a:pt x="390" y="54"/>
                        </a:lnTo>
                        <a:lnTo>
                          <a:pt x="370" y="40"/>
                        </a:lnTo>
                        <a:lnTo>
                          <a:pt x="360" y="32"/>
                        </a:lnTo>
                        <a:lnTo>
                          <a:pt x="348" y="26"/>
                        </a:lnTo>
                        <a:lnTo>
                          <a:pt x="334" y="22"/>
                        </a:lnTo>
                        <a:lnTo>
                          <a:pt x="318" y="22"/>
                        </a:lnTo>
                        <a:lnTo>
                          <a:pt x="318" y="22"/>
                        </a:lnTo>
                        <a:lnTo>
                          <a:pt x="302" y="22"/>
                        </a:lnTo>
                        <a:lnTo>
                          <a:pt x="294" y="24"/>
                        </a:lnTo>
                        <a:lnTo>
                          <a:pt x="288" y="26"/>
                        </a:lnTo>
                        <a:lnTo>
                          <a:pt x="284" y="30"/>
                        </a:lnTo>
                        <a:lnTo>
                          <a:pt x="282" y="36"/>
                        </a:lnTo>
                        <a:lnTo>
                          <a:pt x="280" y="38"/>
                        </a:lnTo>
                        <a:lnTo>
                          <a:pt x="276" y="40"/>
                        </a:lnTo>
                        <a:lnTo>
                          <a:pt x="276" y="40"/>
                        </a:lnTo>
                        <a:lnTo>
                          <a:pt x="272" y="40"/>
                        </a:lnTo>
                        <a:lnTo>
                          <a:pt x="272" y="36"/>
                        </a:lnTo>
                        <a:lnTo>
                          <a:pt x="272" y="32"/>
                        </a:lnTo>
                        <a:lnTo>
                          <a:pt x="272" y="30"/>
                        </a:lnTo>
                        <a:lnTo>
                          <a:pt x="268" y="26"/>
                        </a:lnTo>
                        <a:lnTo>
                          <a:pt x="268" y="26"/>
                        </a:lnTo>
                        <a:lnTo>
                          <a:pt x="266" y="26"/>
                        </a:lnTo>
                        <a:lnTo>
                          <a:pt x="260" y="26"/>
                        </a:lnTo>
                        <a:lnTo>
                          <a:pt x="250" y="24"/>
                        </a:lnTo>
                        <a:lnTo>
                          <a:pt x="234" y="22"/>
                        </a:lnTo>
                        <a:lnTo>
                          <a:pt x="234" y="22"/>
                        </a:lnTo>
                        <a:lnTo>
                          <a:pt x="218" y="16"/>
                        </a:lnTo>
                        <a:lnTo>
                          <a:pt x="208" y="12"/>
                        </a:lnTo>
                        <a:lnTo>
                          <a:pt x="192" y="2"/>
                        </a:lnTo>
                        <a:lnTo>
                          <a:pt x="186" y="0"/>
                        </a:lnTo>
                        <a:lnTo>
                          <a:pt x="178" y="0"/>
                        </a:lnTo>
                        <a:lnTo>
                          <a:pt x="168" y="0"/>
                        </a:lnTo>
                        <a:lnTo>
                          <a:pt x="154" y="2"/>
                        </a:lnTo>
                        <a:lnTo>
                          <a:pt x="154" y="2"/>
                        </a:lnTo>
                        <a:lnTo>
                          <a:pt x="138" y="6"/>
                        </a:lnTo>
                        <a:lnTo>
                          <a:pt x="120" y="8"/>
                        </a:lnTo>
                        <a:lnTo>
                          <a:pt x="82" y="12"/>
                        </a:lnTo>
                        <a:lnTo>
                          <a:pt x="54" y="16"/>
                        </a:lnTo>
                        <a:lnTo>
                          <a:pt x="48" y="18"/>
                        </a:lnTo>
                        <a:lnTo>
                          <a:pt x="48" y="18"/>
                        </a:lnTo>
                        <a:lnTo>
                          <a:pt x="50" y="20"/>
                        </a:lnTo>
                        <a:lnTo>
                          <a:pt x="50" y="20"/>
                        </a:lnTo>
                        <a:lnTo>
                          <a:pt x="54" y="24"/>
                        </a:lnTo>
                        <a:lnTo>
                          <a:pt x="56" y="28"/>
                        </a:lnTo>
                        <a:lnTo>
                          <a:pt x="58" y="36"/>
                        </a:lnTo>
                        <a:lnTo>
                          <a:pt x="60" y="42"/>
                        </a:lnTo>
                        <a:lnTo>
                          <a:pt x="64" y="46"/>
                        </a:lnTo>
                        <a:lnTo>
                          <a:pt x="68" y="48"/>
                        </a:lnTo>
                        <a:lnTo>
                          <a:pt x="76" y="52"/>
                        </a:lnTo>
                        <a:lnTo>
                          <a:pt x="76" y="52"/>
                        </a:lnTo>
                        <a:lnTo>
                          <a:pt x="84" y="56"/>
                        </a:lnTo>
                        <a:lnTo>
                          <a:pt x="86" y="58"/>
                        </a:lnTo>
                        <a:lnTo>
                          <a:pt x="86" y="60"/>
                        </a:lnTo>
                        <a:lnTo>
                          <a:pt x="84" y="64"/>
                        </a:lnTo>
                        <a:lnTo>
                          <a:pt x="76" y="68"/>
                        </a:lnTo>
                        <a:lnTo>
                          <a:pt x="74" y="72"/>
                        </a:lnTo>
                        <a:lnTo>
                          <a:pt x="72" y="76"/>
                        </a:lnTo>
                        <a:lnTo>
                          <a:pt x="72" y="76"/>
                        </a:lnTo>
                        <a:lnTo>
                          <a:pt x="72" y="80"/>
                        </a:lnTo>
                        <a:lnTo>
                          <a:pt x="70" y="82"/>
                        </a:lnTo>
                        <a:lnTo>
                          <a:pt x="64" y="82"/>
                        </a:lnTo>
                        <a:lnTo>
                          <a:pt x="58" y="84"/>
                        </a:lnTo>
                        <a:lnTo>
                          <a:pt x="56" y="86"/>
                        </a:lnTo>
                        <a:lnTo>
                          <a:pt x="56" y="90"/>
                        </a:lnTo>
                        <a:lnTo>
                          <a:pt x="56" y="90"/>
                        </a:lnTo>
                        <a:lnTo>
                          <a:pt x="56" y="94"/>
                        </a:lnTo>
                        <a:lnTo>
                          <a:pt x="54" y="98"/>
                        </a:lnTo>
                        <a:lnTo>
                          <a:pt x="48" y="106"/>
                        </a:lnTo>
                        <a:lnTo>
                          <a:pt x="44" y="110"/>
                        </a:lnTo>
                        <a:lnTo>
                          <a:pt x="44" y="112"/>
                        </a:lnTo>
                        <a:lnTo>
                          <a:pt x="46" y="114"/>
                        </a:lnTo>
                        <a:lnTo>
                          <a:pt x="46" y="114"/>
                        </a:lnTo>
                        <a:lnTo>
                          <a:pt x="54" y="118"/>
                        </a:lnTo>
                        <a:lnTo>
                          <a:pt x="56" y="122"/>
                        </a:lnTo>
                        <a:lnTo>
                          <a:pt x="56" y="124"/>
                        </a:lnTo>
                        <a:lnTo>
                          <a:pt x="54" y="124"/>
                        </a:lnTo>
                        <a:lnTo>
                          <a:pt x="44" y="126"/>
                        </a:lnTo>
                        <a:lnTo>
                          <a:pt x="44" y="126"/>
                        </a:lnTo>
                        <a:lnTo>
                          <a:pt x="34" y="128"/>
                        </a:lnTo>
                        <a:lnTo>
                          <a:pt x="30" y="130"/>
                        </a:lnTo>
                        <a:lnTo>
                          <a:pt x="30" y="134"/>
                        </a:lnTo>
                        <a:lnTo>
                          <a:pt x="34" y="140"/>
                        </a:lnTo>
                        <a:lnTo>
                          <a:pt x="34" y="140"/>
                        </a:lnTo>
                        <a:lnTo>
                          <a:pt x="34" y="144"/>
                        </a:lnTo>
                        <a:lnTo>
                          <a:pt x="32" y="150"/>
                        </a:lnTo>
                        <a:lnTo>
                          <a:pt x="22" y="160"/>
                        </a:lnTo>
                        <a:lnTo>
                          <a:pt x="10" y="172"/>
                        </a:lnTo>
                        <a:lnTo>
                          <a:pt x="6" y="178"/>
                        </a:lnTo>
                        <a:lnTo>
                          <a:pt x="4" y="182"/>
                        </a:lnTo>
                        <a:lnTo>
                          <a:pt x="4" y="182"/>
                        </a:lnTo>
                        <a:lnTo>
                          <a:pt x="2" y="188"/>
                        </a:lnTo>
                        <a:lnTo>
                          <a:pt x="0" y="192"/>
                        </a:lnTo>
                        <a:lnTo>
                          <a:pt x="0" y="194"/>
                        </a:lnTo>
                        <a:lnTo>
                          <a:pt x="2" y="196"/>
                        </a:lnTo>
                        <a:lnTo>
                          <a:pt x="2" y="19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8" name="Freeform 6018"/>
                  <p:cNvSpPr>
                    <a:spLocks/>
                  </p:cNvSpPr>
                  <p:nvPr/>
                </p:nvSpPr>
                <p:spPr bwMode="auto">
                  <a:xfrm>
                    <a:off x="1258570" y="1024573"/>
                    <a:ext cx="190500" cy="87630"/>
                  </a:xfrm>
                  <a:custGeom>
                    <a:avLst/>
                    <a:gdLst/>
                    <a:ahLst/>
                    <a:cxnLst>
                      <a:cxn ang="0">
                        <a:pos x="12" y="124"/>
                      </a:cxn>
                      <a:cxn ang="0">
                        <a:pos x="16" y="130"/>
                      </a:cxn>
                      <a:cxn ang="0">
                        <a:pos x="36" y="120"/>
                      </a:cxn>
                      <a:cxn ang="0">
                        <a:pos x="50" y="118"/>
                      </a:cxn>
                      <a:cxn ang="0">
                        <a:pos x="66" y="124"/>
                      </a:cxn>
                      <a:cxn ang="0">
                        <a:pos x="76" y="124"/>
                      </a:cxn>
                      <a:cxn ang="0">
                        <a:pos x="88" y="114"/>
                      </a:cxn>
                      <a:cxn ang="0">
                        <a:pos x="94" y="122"/>
                      </a:cxn>
                      <a:cxn ang="0">
                        <a:pos x="112" y="138"/>
                      </a:cxn>
                      <a:cxn ang="0">
                        <a:pos x="132" y="132"/>
                      </a:cxn>
                      <a:cxn ang="0">
                        <a:pos x="138" y="114"/>
                      </a:cxn>
                      <a:cxn ang="0">
                        <a:pos x="146" y="110"/>
                      </a:cxn>
                      <a:cxn ang="0">
                        <a:pos x="156" y="114"/>
                      </a:cxn>
                      <a:cxn ang="0">
                        <a:pos x="174" y="94"/>
                      </a:cxn>
                      <a:cxn ang="0">
                        <a:pos x="182" y="76"/>
                      </a:cxn>
                      <a:cxn ang="0">
                        <a:pos x="186" y="66"/>
                      </a:cxn>
                      <a:cxn ang="0">
                        <a:pos x="206" y="56"/>
                      </a:cxn>
                      <a:cxn ang="0">
                        <a:pos x="208" y="64"/>
                      </a:cxn>
                      <a:cxn ang="0">
                        <a:pos x="206" y="88"/>
                      </a:cxn>
                      <a:cxn ang="0">
                        <a:pos x="214" y="96"/>
                      </a:cxn>
                      <a:cxn ang="0">
                        <a:pos x="236" y="100"/>
                      </a:cxn>
                      <a:cxn ang="0">
                        <a:pos x="244" y="92"/>
                      </a:cxn>
                      <a:cxn ang="0">
                        <a:pos x="246" y="80"/>
                      </a:cxn>
                      <a:cxn ang="0">
                        <a:pos x="274" y="74"/>
                      </a:cxn>
                      <a:cxn ang="0">
                        <a:pos x="294" y="60"/>
                      </a:cxn>
                      <a:cxn ang="0">
                        <a:pos x="280" y="42"/>
                      </a:cxn>
                      <a:cxn ang="0">
                        <a:pos x="272" y="36"/>
                      </a:cxn>
                      <a:cxn ang="0">
                        <a:pos x="278" y="28"/>
                      </a:cxn>
                      <a:cxn ang="0">
                        <a:pos x="300" y="18"/>
                      </a:cxn>
                      <a:cxn ang="0">
                        <a:pos x="288" y="8"/>
                      </a:cxn>
                      <a:cxn ang="0">
                        <a:pos x="258" y="0"/>
                      </a:cxn>
                      <a:cxn ang="0">
                        <a:pos x="244" y="4"/>
                      </a:cxn>
                      <a:cxn ang="0">
                        <a:pos x="234" y="16"/>
                      </a:cxn>
                      <a:cxn ang="0">
                        <a:pos x="202" y="12"/>
                      </a:cxn>
                      <a:cxn ang="0">
                        <a:pos x="160" y="18"/>
                      </a:cxn>
                      <a:cxn ang="0">
                        <a:pos x="128" y="38"/>
                      </a:cxn>
                      <a:cxn ang="0">
                        <a:pos x="102" y="58"/>
                      </a:cxn>
                      <a:cxn ang="0">
                        <a:pos x="82" y="66"/>
                      </a:cxn>
                      <a:cxn ang="0">
                        <a:pos x="66" y="78"/>
                      </a:cxn>
                      <a:cxn ang="0">
                        <a:pos x="44" y="90"/>
                      </a:cxn>
                      <a:cxn ang="0">
                        <a:pos x="28" y="86"/>
                      </a:cxn>
                      <a:cxn ang="0">
                        <a:pos x="12" y="96"/>
                      </a:cxn>
                      <a:cxn ang="0">
                        <a:pos x="2" y="112"/>
                      </a:cxn>
                      <a:cxn ang="0">
                        <a:pos x="14" y="116"/>
                      </a:cxn>
                    </a:cxnLst>
                    <a:rect l="0" t="0" r="r" b="b"/>
                    <a:pathLst>
                      <a:path w="300" h="138">
                        <a:moveTo>
                          <a:pt x="14" y="120"/>
                        </a:moveTo>
                        <a:lnTo>
                          <a:pt x="14" y="120"/>
                        </a:lnTo>
                        <a:lnTo>
                          <a:pt x="12" y="124"/>
                        </a:lnTo>
                        <a:lnTo>
                          <a:pt x="12" y="126"/>
                        </a:lnTo>
                        <a:lnTo>
                          <a:pt x="14" y="128"/>
                        </a:lnTo>
                        <a:lnTo>
                          <a:pt x="16" y="130"/>
                        </a:lnTo>
                        <a:lnTo>
                          <a:pt x="24" y="128"/>
                        </a:lnTo>
                        <a:lnTo>
                          <a:pt x="36" y="120"/>
                        </a:lnTo>
                        <a:lnTo>
                          <a:pt x="36" y="120"/>
                        </a:lnTo>
                        <a:lnTo>
                          <a:pt x="42" y="118"/>
                        </a:lnTo>
                        <a:lnTo>
                          <a:pt x="46" y="116"/>
                        </a:lnTo>
                        <a:lnTo>
                          <a:pt x="50" y="118"/>
                        </a:lnTo>
                        <a:lnTo>
                          <a:pt x="52" y="118"/>
                        </a:lnTo>
                        <a:lnTo>
                          <a:pt x="60" y="124"/>
                        </a:lnTo>
                        <a:lnTo>
                          <a:pt x="66" y="124"/>
                        </a:lnTo>
                        <a:lnTo>
                          <a:pt x="72" y="126"/>
                        </a:lnTo>
                        <a:lnTo>
                          <a:pt x="72" y="126"/>
                        </a:lnTo>
                        <a:lnTo>
                          <a:pt x="76" y="124"/>
                        </a:lnTo>
                        <a:lnTo>
                          <a:pt x="82" y="122"/>
                        </a:lnTo>
                        <a:lnTo>
                          <a:pt x="86" y="116"/>
                        </a:lnTo>
                        <a:lnTo>
                          <a:pt x="88" y="114"/>
                        </a:lnTo>
                        <a:lnTo>
                          <a:pt x="90" y="114"/>
                        </a:lnTo>
                        <a:lnTo>
                          <a:pt x="94" y="122"/>
                        </a:lnTo>
                        <a:lnTo>
                          <a:pt x="94" y="122"/>
                        </a:lnTo>
                        <a:lnTo>
                          <a:pt x="98" y="130"/>
                        </a:lnTo>
                        <a:lnTo>
                          <a:pt x="104" y="134"/>
                        </a:lnTo>
                        <a:lnTo>
                          <a:pt x="112" y="138"/>
                        </a:lnTo>
                        <a:lnTo>
                          <a:pt x="118" y="138"/>
                        </a:lnTo>
                        <a:lnTo>
                          <a:pt x="126" y="136"/>
                        </a:lnTo>
                        <a:lnTo>
                          <a:pt x="132" y="132"/>
                        </a:lnTo>
                        <a:lnTo>
                          <a:pt x="136" y="124"/>
                        </a:lnTo>
                        <a:lnTo>
                          <a:pt x="138" y="114"/>
                        </a:lnTo>
                        <a:lnTo>
                          <a:pt x="138" y="114"/>
                        </a:lnTo>
                        <a:lnTo>
                          <a:pt x="138" y="106"/>
                        </a:lnTo>
                        <a:lnTo>
                          <a:pt x="140" y="104"/>
                        </a:lnTo>
                        <a:lnTo>
                          <a:pt x="146" y="110"/>
                        </a:lnTo>
                        <a:lnTo>
                          <a:pt x="150" y="114"/>
                        </a:lnTo>
                        <a:lnTo>
                          <a:pt x="154" y="114"/>
                        </a:lnTo>
                        <a:lnTo>
                          <a:pt x="156" y="114"/>
                        </a:lnTo>
                        <a:lnTo>
                          <a:pt x="160" y="112"/>
                        </a:lnTo>
                        <a:lnTo>
                          <a:pt x="164" y="108"/>
                        </a:lnTo>
                        <a:lnTo>
                          <a:pt x="174" y="94"/>
                        </a:lnTo>
                        <a:lnTo>
                          <a:pt x="174" y="94"/>
                        </a:lnTo>
                        <a:lnTo>
                          <a:pt x="180" y="82"/>
                        </a:lnTo>
                        <a:lnTo>
                          <a:pt x="182" y="76"/>
                        </a:lnTo>
                        <a:lnTo>
                          <a:pt x="182" y="68"/>
                        </a:lnTo>
                        <a:lnTo>
                          <a:pt x="184" y="66"/>
                        </a:lnTo>
                        <a:lnTo>
                          <a:pt x="186" y="66"/>
                        </a:lnTo>
                        <a:lnTo>
                          <a:pt x="198" y="58"/>
                        </a:lnTo>
                        <a:lnTo>
                          <a:pt x="198" y="58"/>
                        </a:lnTo>
                        <a:lnTo>
                          <a:pt x="206" y="56"/>
                        </a:lnTo>
                        <a:lnTo>
                          <a:pt x="208" y="58"/>
                        </a:lnTo>
                        <a:lnTo>
                          <a:pt x="210" y="58"/>
                        </a:lnTo>
                        <a:lnTo>
                          <a:pt x="208" y="64"/>
                        </a:lnTo>
                        <a:lnTo>
                          <a:pt x="206" y="72"/>
                        </a:lnTo>
                        <a:lnTo>
                          <a:pt x="204" y="80"/>
                        </a:lnTo>
                        <a:lnTo>
                          <a:pt x="206" y="88"/>
                        </a:lnTo>
                        <a:lnTo>
                          <a:pt x="208" y="92"/>
                        </a:lnTo>
                        <a:lnTo>
                          <a:pt x="210" y="94"/>
                        </a:lnTo>
                        <a:lnTo>
                          <a:pt x="214" y="96"/>
                        </a:lnTo>
                        <a:lnTo>
                          <a:pt x="222" y="98"/>
                        </a:lnTo>
                        <a:lnTo>
                          <a:pt x="222" y="98"/>
                        </a:lnTo>
                        <a:lnTo>
                          <a:pt x="236" y="100"/>
                        </a:lnTo>
                        <a:lnTo>
                          <a:pt x="242" y="98"/>
                        </a:lnTo>
                        <a:lnTo>
                          <a:pt x="246" y="96"/>
                        </a:lnTo>
                        <a:lnTo>
                          <a:pt x="244" y="92"/>
                        </a:lnTo>
                        <a:lnTo>
                          <a:pt x="244" y="86"/>
                        </a:lnTo>
                        <a:lnTo>
                          <a:pt x="244" y="82"/>
                        </a:lnTo>
                        <a:lnTo>
                          <a:pt x="246" y="80"/>
                        </a:lnTo>
                        <a:lnTo>
                          <a:pt x="254" y="78"/>
                        </a:lnTo>
                        <a:lnTo>
                          <a:pt x="254" y="78"/>
                        </a:lnTo>
                        <a:lnTo>
                          <a:pt x="274" y="74"/>
                        </a:lnTo>
                        <a:lnTo>
                          <a:pt x="284" y="70"/>
                        </a:lnTo>
                        <a:lnTo>
                          <a:pt x="290" y="66"/>
                        </a:lnTo>
                        <a:lnTo>
                          <a:pt x="294" y="60"/>
                        </a:lnTo>
                        <a:lnTo>
                          <a:pt x="294" y="54"/>
                        </a:lnTo>
                        <a:lnTo>
                          <a:pt x="290" y="48"/>
                        </a:lnTo>
                        <a:lnTo>
                          <a:pt x="280" y="42"/>
                        </a:lnTo>
                        <a:lnTo>
                          <a:pt x="280" y="42"/>
                        </a:lnTo>
                        <a:lnTo>
                          <a:pt x="274" y="38"/>
                        </a:lnTo>
                        <a:lnTo>
                          <a:pt x="272" y="36"/>
                        </a:lnTo>
                        <a:lnTo>
                          <a:pt x="272" y="34"/>
                        </a:lnTo>
                        <a:lnTo>
                          <a:pt x="272" y="32"/>
                        </a:lnTo>
                        <a:lnTo>
                          <a:pt x="278" y="28"/>
                        </a:lnTo>
                        <a:lnTo>
                          <a:pt x="288" y="24"/>
                        </a:lnTo>
                        <a:lnTo>
                          <a:pt x="296" y="22"/>
                        </a:lnTo>
                        <a:lnTo>
                          <a:pt x="300" y="18"/>
                        </a:lnTo>
                        <a:lnTo>
                          <a:pt x="300" y="16"/>
                        </a:lnTo>
                        <a:lnTo>
                          <a:pt x="298" y="14"/>
                        </a:lnTo>
                        <a:lnTo>
                          <a:pt x="288" y="8"/>
                        </a:lnTo>
                        <a:lnTo>
                          <a:pt x="288" y="8"/>
                        </a:lnTo>
                        <a:lnTo>
                          <a:pt x="266" y="0"/>
                        </a:lnTo>
                        <a:lnTo>
                          <a:pt x="258" y="0"/>
                        </a:lnTo>
                        <a:lnTo>
                          <a:pt x="254" y="0"/>
                        </a:lnTo>
                        <a:lnTo>
                          <a:pt x="248" y="2"/>
                        </a:lnTo>
                        <a:lnTo>
                          <a:pt x="244" y="4"/>
                        </a:lnTo>
                        <a:lnTo>
                          <a:pt x="238" y="14"/>
                        </a:lnTo>
                        <a:lnTo>
                          <a:pt x="238" y="14"/>
                        </a:lnTo>
                        <a:lnTo>
                          <a:pt x="234" y="16"/>
                        </a:lnTo>
                        <a:lnTo>
                          <a:pt x="232" y="16"/>
                        </a:lnTo>
                        <a:lnTo>
                          <a:pt x="224" y="16"/>
                        </a:lnTo>
                        <a:lnTo>
                          <a:pt x="202" y="12"/>
                        </a:lnTo>
                        <a:lnTo>
                          <a:pt x="186" y="12"/>
                        </a:lnTo>
                        <a:lnTo>
                          <a:pt x="170" y="14"/>
                        </a:lnTo>
                        <a:lnTo>
                          <a:pt x="160" y="18"/>
                        </a:lnTo>
                        <a:lnTo>
                          <a:pt x="150" y="22"/>
                        </a:lnTo>
                        <a:lnTo>
                          <a:pt x="140" y="28"/>
                        </a:lnTo>
                        <a:lnTo>
                          <a:pt x="128" y="38"/>
                        </a:lnTo>
                        <a:lnTo>
                          <a:pt x="128" y="38"/>
                        </a:lnTo>
                        <a:lnTo>
                          <a:pt x="112" y="50"/>
                        </a:lnTo>
                        <a:lnTo>
                          <a:pt x="102" y="58"/>
                        </a:lnTo>
                        <a:lnTo>
                          <a:pt x="94" y="62"/>
                        </a:lnTo>
                        <a:lnTo>
                          <a:pt x="90" y="62"/>
                        </a:lnTo>
                        <a:lnTo>
                          <a:pt x="82" y="66"/>
                        </a:lnTo>
                        <a:lnTo>
                          <a:pt x="76" y="70"/>
                        </a:lnTo>
                        <a:lnTo>
                          <a:pt x="66" y="78"/>
                        </a:lnTo>
                        <a:lnTo>
                          <a:pt x="66" y="78"/>
                        </a:lnTo>
                        <a:lnTo>
                          <a:pt x="58" y="86"/>
                        </a:lnTo>
                        <a:lnTo>
                          <a:pt x="50" y="88"/>
                        </a:lnTo>
                        <a:lnTo>
                          <a:pt x="44" y="90"/>
                        </a:lnTo>
                        <a:lnTo>
                          <a:pt x="38" y="88"/>
                        </a:lnTo>
                        <a:lnTo>
                          <a:pt x="34" y="86"/>
                        </a:lnTo>
                        <a:lnTo>
                          <a:pt x="28" y="86"/>
                        </a:lnTo>
                        <a:lnTo>
                          <a:pt x="20" y="90"/>
                        </a:lnTo>
                        <a:lnTo>
                          <a:pt x="12" y="96"/>
                        </a:lnTo>
                        <a:lnTo>
                          <a:pt x="12" y="96"/>
                        </a:lnTo>
                        <a:lnTo>
                          <a:pt x="4" y="104"/>
                        </a:lnTo>
                        <a:lnTo>
                          <a:pt x="0" y="108"/>
                        </a:lnTo>
                        <a:lnTo>
                          <a:pt x="2" y="112"/>
                        </a:lnTo>
                        <a:lnTo>
                          <a:pt x="4" y="112"/>
                        </a:lnTo>
                        <a:lnTo>
                          <a:pt x="12" y="114"/>
                        </a:lnTo>
                        <a:lnTo>
                          <a:pt x="14" y="116"/>
                        </a:lnTo>
                        <a:lnTo>
                          <a:pt x="14" y="120"/>
                        </a:lnTo>
                        <a:lnTo>
                          <a:pt x="14" y="1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9" name="Freeform 6019"/>
                  <p:cNvSpPr>
                    <a:spLocks/>
                  </p:cNvSpPr>
                  <p:nvPr/>
                </p:nvSpPr>
                <p:spPr bwMode="auto">
                  <a:xfrm>
                    <a:off x="1468120" y="1056323"/>
                    <a:ext cx="35560" cy="10160"/>
                  </a:xfrm>
                  <a:custGeom>
                    <a:avLst/>
                    <a:gdLst/>
                    <a:ahLst/>
                    <a:cxnLst>
                      <a:cxn ang="0">
                        <a:pos x="0" y="8"/>
                      </a:cxn>
                      <a:cxn ang="0">
                        <a:pos x="0" y="8"/>
                      </a:cxn>
                      <a:cxn ang="0">
                        <a:pos x="0" y="12"/>
                      </a:cxn>
                      <a:cxn ang="0">
                        <a:pos x="4" y="14"/>
                      </a:cxn>
                      <a:cxn ang="0">
                        <a:pos x="18" y="16"/>
                      </a:cxn>
                      <a:cxn ang="0">
                        <a:pos x="38" y="16"/>
                      </a:cxn>
                      <a:cxn ang="0">
                        <a:pos x="46" y="14"/>
                      </a:cxn>
                      <a:cxn ang="0">
                        <a:pos x="54" y="12"/>
                      </a:cxn>
                      <a:cxn ang="0">
                        <a:pos x="54" y="12"/>
                      </a:cxn>
                      <a:cxn ang="0">
                        <a:pos x="56" y="10"/>
                      </a:cxn>
                      <a:cxn ang="0">
                        <a:pos x="56" y="8"/>
                      </a:cxn>
                      <a:cxn ang="0">
                        <a:pos x="54" y="6"/>
                      </a:cxn>
                      <a:cxn ang="0">
                        <a:pos x="46" y="2"/>
                      </a:cxn>
                      <a:cxn ang="0">
                        <a:pos x="36" y="2"/>
                      </a:cxn>
                      <a:cxn ang="0">
                        <a:pos x="26" y="0"/>
                      </a:cxn>
                      <a:cxn ang="0">
                        <a:pos x="16" y="2"/>
                      </a:cxn>
                      <a:cxn ang="0">
                        <a:pos x="6" y="4"/>
                      </a:cxn>
                      <a:cxn ang="0">
                        <a:pos x="0" y="8"/>
                      </a:cxn>
                      <a:cxn ang="0">
                        <a:pos x="0" y="8"/>
                      </a:cxn>
                    </a:cxnLst>
                    <a:rect l="0" t="0" r="r" b="b"/>
                    <a:pathLst>
                      <a:path w="56" h="16">
                        <a:moveTo>
                          <a:pt x="0" y="8"/>
                        </a:moveTo>
                        <a:lnTo>
                          <a:pt x="0" y="8"/>
                        </a:lnTo>
                        <a:lnTo>
                          <a:pt x="0" y="12"/>
                        </a:lnTo>
                        <a:lnTo>
                          <a:pt x="4" y="14"/>
                        </a:lnTo>
                        <a:lnTo>
                          <a:pt x="18" y="16"/>
                        </a:lnTo>
                        <a:lnTo>
                          <a:pt x="38" y="16"/>
                        </a:lnTo>
                        <a:lnTo>
                          <a:pt x="46" y="14"/>
                        </a:lnTo>
                        <a:lnTo>
                          <a:pt x="54" y="12"/>
                        </a:lnTo>
                        <a:lnTo>
                          <a:pt x="54" y="12"/>
                        </a:lnTo>
                        <a:lnTo>
                          <a:pt x="56" y="10"/>
                        </a:lnTo>
                        <a:lnTo>
                          <a:pt x="56" y="8"/>
                        </a:lnTo>
                        <a:lnTo>
                          <a:pt x="54" y="6"/>
                        </a:lnTo>
                        <a:lnTo>
                          <a:pt x="46" y="2"/>
                        </a:lnTo>
                        <a:lnTo>
                          <a:pt x="36" y="2"/>
                        </a:lnTo>
                        <a:lnTo>
                          <a:pt x="26" y="0"/>
                        </a:lnTo>
                        <a:lnTo>
                          <a:pt x="16" y="2"/>
                        </a:lnTo>
                        <a:lnTo>
                          <a:pt x="6" y="4"/>
                        </a:lnTo>
                        <a:lnTo>
                          <a:pt x="0" y="8"/>
                        </a:lnTo>
                        <a:lnTo>
                          <a:pt x="0"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0" name="Freeform 6020"/>
                  <p:cNvSpPr>
                    <a:spLocks/>
                  </p:cNvSpPr>
                  <p:nvPr/>
                </p:nvSpPr>
                <p:spPr bwMode="auto">
                  <a:xfrm>
                    <a:off x="1464310" y="996633"/>
                    <a:ext cx="34290" cy="19050"/>
                  </a:xfrm>
                  <a:custGeom>
                    <a:avLst/>
                    <a:gdLst/>
                    <a:ahLst/>
                    <a:cxnLst>
                      <a:cxn ang="0">
                        <a:pos x="42" y="30"/>
                      </a:cxn>
                      <a:cxn ang="0">
                        <a:pos x="42" y="30"/>
                      </a:cxn>
                      <a:cxn ang="0">
                        <a:pos x="52" y="28"/>
                      </a:cxn>
                      <a:cxn ang="0">
                        <a:pos x="54" y="26"/>
                      </a:cxn>
                      <a:cxn ang="0">
                        <a:pos x="54" y="24"/>
                      </a:cxn>
                      <a:cxn ang="0">
                        <a:pos x="50" y="18"/>
                      </a:cxn>
                      <a:cxn ang="0">
                        <a:pos x="40" y="8"/>
                      </a:cxn>
                      <a:cxn ang="0">
                        <a:pos x="40" y="8"/>
                      </a:cxn>
                      <a:cxn ang="0">
                        <a:pos x="34" y="4"/>
                      </a:cxn>
                      <a:cxn ang="0">
                        <a:pos x="26" y="0"/>
                      </a:cxn>
                      <a:cxn ang="0">
                        <a:pos x="22" y="0"/>
                      </a:cxn>
                      <a:cxn ang="0">
                        <a:pos x="16" y="0"/>
                      </a:cxn>
                      <a:cxn ang="0">
                        <a:pos x="6" y="4"/>
                      </a:cxn>
                      <a:cxn ang="0">
                        <a:pos x="0" y="8"/>
                      </a:cxn>
                      <a:cxn ang="0">
                        <a:pos x="0" y="8"/>
                      </a:cxn>
                      <a:cxn ang="0">
                        <a:pos x="0" y="12"/>
                      </a:cxn>
                      <a:cxn ang="0">
                        <a:pos x="0" y="14"/>
                      </a:cxn>
                      <a:cxn ang="0">
                        <a:pos x="8" y="22"/>
                      </a:cxn>
                      <a:cxn ang="0">
                        <a:pos x="24" y="28"/>
                      </a:cxn>
                      <a:cxn ang="0">
                        <a:pos x="32" y="28"/>
                      </a:cxn>
                      <a:cxn ang="0">
                        <a:pos x="42" y="30"/>
                      </a:cxn>
                      <a:cxn ang="0">
                        <a:pos x="42" y="30"/>
                      </a:cxn>
                    </a:cxnLst>
                    <a:rect l="0" t="0" r="r" b="b"/>
                    <a:pathLst>
                      <a:path w="54" h="30">
                        <a:moveTo>
                          <a:pt x="42" y="30"/>
                        </a:moveTo>
                        <a:lnTo>
                          <a:pt x="42" y="30"/>
                        </a:lnTo>
                        <a:lnTo>
                          <a:pt x="52" y="28"/>
                        </a:lnTo>
                        <a:lnTo>
                          <a:pt x="54" y="26"/>
                        </a:lnTo>
                        <a:lnTo>
                          <a:pt x="54" y="24"/>
                        </a:lnTo>
                        <a:lnTo>
                          <a:pt x="50" y="18"/>
                        </a:lnTo>
                        <a:lnTo>
                          <a:pt x="40" y="8"/>
                        </a:lnTo>
                        <a:lnTo>
                          <a:pt x="40" y="8"/>
                        </a:lnTo>
                        <a:lnTo>
                          <a:pt x="34" y="4"/>
                        </a:lnTo>
                        <a:lnTo>
                          <a:pt x="26" y="0"/>
                        </a:lnTo>
                        <a:lnTo>
                          <a:pt x="22" y="0"/>
                        </a:lnTo>
                        <a:lnTo>
                          <a:pt x="16" y="0"/>
                        </a:lnTo>
                        <a:lnTo>
                          <a:pt x="6" y="4"/>
                        </a:lnTo>
                        <a:lnTo>
                          <a:pt x="0" y="8"/>
                        </a:lnTo>
                        <a:lnTo>
                          <a:pt x="0" y="8"/>
                        </a:lnTo>
                        <a:lnTo>
                          <a:pt x="0" y="12"/>
                        </a:lnTo>
                        <a:lnTo>
                          <a:pt x="0" y="14"/>
                        </a:lnTo>
                        <a:lnTo>
                          <a:pt x="8" y="22"/>
                        </a:lnTo>
                        <a:lnTo>
                          <a:pt x="24" y="28"/>
                        </a:lnTo>
                        <a:lnTo>
                          <a:pt x="32" y="28"/>
                        </a:lnTo>
                        <a:lnTo>
                          <a:pt x="42" y="30"/>
                        </a:lnTo>
                        <a:lnTo>
                          <a:pt x="42" y="3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1" name="Freeform 6021"/>
                  <p:cNvSpPr>
                    <a:spLocks/>
                  </p:cNvSpPr>
                  <p:nvPr/>
                </p:nvSpPr>
                <p:spPr bwMode="auto">
                  <a:xfrm>
                    <a:off x="1504950" y="994093"/>
                    <a:ext cx="97790" cy="39370"/>
                  </a:xfrm>
                  <a:custGeom>
                    <a:avLst/>
                    <a:gdLst/>
                    <a:ahLst/>
                    <a:cxnLst>
                      <a:cxn ang="0">
                        <a:pos x="106" y="56"/>
                      </a:cxn>
                      <a:cxn ang="0">
                        <a:pos x="106" y="56"/>
                      </a:cxn>
                      <a:cxn ang="0">
                        <a:pos x="120" y="52"/>
                      </a:cxn>
                      <a:cxn ang="0">
                        <a:pos x="130" y="48"/>
                      </a:cxn>
                      <a:cxn ang="0">
                        <a:pos x="136" y="44"/>
                      </a:cxn>
                      <a:cxn ang="0">
                        <a:pos x="138" y="40"/>
                      </a:cxn>
                      <a:cxn ang="0">
                        <a:pos x="138" y="34"/>
                      </a:cxn>
                      <a:cxn ang="0">
                        <a:pos x="132" y="30"/>
                      </a:cxn>
                      <a:cxn ang="0">
                        <a:pos x="124" y="28"/>
                      </a:cxn>
                      <a:cxn ang="0">
                        <a:pos x="114" y="26"/>
                      </a:cxn>
                      <a:cxn ang="0">
                        <a:pos x="114" y="26"/>
                      </a:cxn>
                      <a:cxn ang="0">
                        <a:pos x="104" y="24"/>
                      </a:cxn>
                      <a:cxn ang="0">
                        <a:pos x="104" y="24"/>
                      </a:cxn>
                      <a:cxn ang="0">
                        <a:pos x="118" y="22"/>
                      </a:cxn>
                      <a:cxn ang="0">
                        <a:pos x="138" y="16"/>
                      </a:cxn>
                      <a:cxn ang="0">
                        <a:pos x="148" y="12"/>
                      </a:cxn>
                      <a:cxn ang="0">
                        <a:pos x="152" y="8"/>
                      </a:cxn>
                      <a:cxn ang="0">
                        <a:pos x="152" y="8"/>
                      </a:cxn>
                      <a:cxn ang="0">
                        <a:pos x="154" y="4"/>
                      </a:cxn>
                      <a:cxn ang="0">
                        <a:pos x="152" y="2"/>
                      </a:cxn>
                      <a:cxn ang="0">
                        <a:pos x="148" y="0"/>
                      </a:cxn>
                      <a:cxn ang="0">
                        <a:pos x="138" y="0"/>
                      </a:cxn>
                      <a:cxn ang="0">
                        <a:pos x="124" y="0"/>
                      </a:cxn>
                      <a:cxn ang="0">
                        <a:pos x="90" y="4"/>
                      </a:cxn>
                      <a:cxn ang="0">
                        <a:pos x="50" y="8"/>
                      </a:cxn>
                      <a:cxn ang="0">
                        <a:pos x="50" y="8"/>
                      </a:cxn>
                      <a:cxn ang="0">
                        <a:pos x="18" y="14"/>
                      </a:cxn>
                      <a:cxn ang="0">
                        <a:pos x="8" y="18"/>
                      </a:cxn>
                      <a:cxn ang="0">
                        <a:pos x="4" y="22"/>
                      </a:cxn>
                      <a:cxn ang="0">
                        <a:pos x="0" y="26"/>
                      </a:cxn>
                      <a:cxn ang="0">
                        <a:pos x="0" y="30"/>
                      </a:cxn>
                      <a:cxn ang="0">
                        <a:pos x="8" y="46"/>
                      </a:cxn>
                      <a:cxn ang="0">
                        <a:pos x="8" y="46"/>
                      </a:cxn>
                      <a:cxn ang="0">
                        <a:pos x="14" y="52"/>
                      </a:cxn>
                      <a:cxn ang="0">
                        <a:pos x="22" y="58"/>
                      </a:cxn>
                      <a:cxn ang="0">
                        <a:pos x="32" y="60"/>
                      </a:cxn>
                      <a:cxn ang="0">
                        <a:pos x="46" y="62"/>
                      </a:cxn>
                      <a:cxn ang="0">
                        <a:pos x="74" y="60"/>
                      </a:cxn>
                      <a:cxn ang="0">
                        <a:pos x="106" y="56"/>
                      </a:cxn>
                      <a:cxn ang="0">
                        <a:pos x="106" y="56"/>
                      </a:cxn>
                    </a:cxnLst>
                    <a:rect l="0" t="0" r="r" b="b"/>
                    <a:pathLst>
                      <a:path w="154" h="62">
                        <a:moveTo>
                          <a:pt x="106" y="56"/>
                        </a:moveTo>
                        <a:lnTo>
                          <a:pt x="106" y="56"/>
                        </a:lnTo>
                        <a:lnTo>
                          <a:pt x="120" y="52"/>
                        </a:lnTo>
                        <a:lnTo>
                          <a:pt x="130" y="48"/>
                        </a:lnTo>
                        <a:lnTo>
                          <a:pt x="136" y="44"/>
                        </a:lnTo>
                        <a:lnTo>
                          <a:pt x="138" y="40"/>
                        </a:lnTo>
                        <a:lnTo>
                          <a:pt x="138" y="34"/>
                        </a:lnTo>
                        <a:lnTo>
                          <a:pt x="132" y="30"/>
                        </a:lnTo>
                        <a:lnTo>
                          <a:pt x="124" y="28"/>
                        </a:lnTo>
                        <a:lnTo>
                          <a:pt x="114" y="26"/>
                        </a:lnTo>
                        <a:lnTo>
                          <a:pt x="114" y="26"/>
                        </a:lnTo>
                        <a:lnTo>
                          <a:pt x="104" y="24"/>
                        </a:lnTo>
                        <a:lnTo>
                          <a:pt x="104" y="24"/>
                        </a:lnTo>
                        <a:lnTo>
                          <a:pt x="118" y="22"/>
                        </a:lnTo>
                        <a:lnTo>
                          <a:pt x="138" y="16"/>
                        </a:lnTo>
                        <a:lnTo>
                          <a:pt x="148" y="12"/>
                        </a:lnTo>
                        <a:lnTo>
                          <a:pt x="152" y="8"/>
                        </a:lnTo>
                        <a:lnTo>
                          <a:pt x="152" y="8"/>
                        </a:lnTo>
                        <a:lnTo>
                          <a:pt x="154" y="4"/>
                        </a:lnTo>
                        <a:lnTo>
                          <a:pt x="152" y="2"/>
                        </a:lnTo>
                        <a:lnTo>
                          <a:pt x="148" y="0"/>
                        </a:lnTo>
                        <a:lnTo>
                          <a:pt x="138" y="0"/>
                        </a:lnTo>
                        <a:lnTo>
                          <a:pt x="124" y="0"/>
                        </a:lnTo>
                        <a:lnTo>
                          <a:pt x="90" y="4"/>
                        </a:lnTo>
                        <a:lnTo>
                          <a:pt x="50" y="8"/>
                        </a:lnTo>
                        <a:lnTo>
                          <a:pt x="50" y="8"/>
                        </a:lnTo>
                        <a:lnTo>
                          <a:pt x="18" y="14"/>
                        </a:lnTo>
                        <a:lnTo>
                          <a:pt x="8" y="18"/>
                        </a:lnTo>
                        <a:lnTo>
                          <a:pt x="4" y="22"/>
                        </a:lnTo>
                        <a:lnTo>
                          <a:pt x="0" y="26"/>
                        </a:lnTo>
                        <a:lnTo>
                          <a:pt x="0" y="30"/>
                        </a:lnTo>
                        <a:lnTo>
                          <a:pt x="8" y="46"/>
                        </a:lnTo>
                        <a:lnTo>
                          <a:pt x="8" y="46"/>
                        </a:lnTo>
                        <a:lnTo>
                          <a:pt x="14" y="52"/>
                        </a:lnTo>
                        <a:lnTo>
                          <a:pt x="22" y="58"/>
                        </a:lnTo>
                        <a:lnTo>
                          <a:pt x="32" y="60"/>
                        </a:lnTo>
                        <a:lnTo>
                          <a:pt x="46" y="62"/>
                        </a:lnTo>
                        <a:lnTo>
                          <a:pt x="74" y="60"/>
                        </a:lnTo>
                        <a:lnTo>
                          <a:pt x="106" y="56"/>
                        </a:lnTo>
                        <a:lnTo>
                          <a:pt x="106" y="5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2" name="Freeform 6022"/>
                  <p:cNvSpPr>
                    <a:spLocks/>
                  </p:cNvSpPr>
                  <p:nvPr/>
                </p:nvSpPr>
                <p:spPr bwMode="auto">
                  <a:xfrm>
                    <a:off x="1772920" y="1067753"/>
                    <a:ext cx="143510" cy="87630"/>
                  </a:xfrm>
                  <a:custGeom>
                    <a:avLst/>
                    <a:gdLst/>
                    <a:ahLst/>
                    <a:cxnLst>
                      <a:cxn ang="0">
                        <a:pos x="144" y="12"/>
                      </a:cxn>
                      <a:cxn ang="0">
                        <a:pos x="130" y="4"/>
                      </a:cxn>
                      <a:cxn ang="0">
                        <a:pos x="104" y="4"/>
                      </a:cxn>
                      <a:cxn ang="0">
                        <a:pos x="88" y="8"/>
                      </a:cxn>
                      <a:cxn ang="0">
                        <a:pos x="78" y="14"/>
                      </a:cxn>
                      <a:cxn ang="0">
                        <a:pos x="84" y="22"/>
                      </a:cxn>
                      <a:cxn ang="0">
                        <a:pos x="124" y="62"/>
                      </a:cxn>
                      <a:cxn ang="0">
                        <a:pos x="102" y="50"/>
                      </a:cxn>
                      <a:cxn ang="0">
                        <a:pos x="82" y="34"/>
                      </a:cxn>
                      <a:cxn ang="0">
                        <a:pos x="74" y="24"/>
                      </a:cxn>
                      <a:cxn ang="0">
                        <a:pos x="64" y="20"/>
                      </a:cxn>
                      <a:cxn ang="0">
                        <a:pos x="54" y="18"/>
                      </a:cxn>
                      <a:cxn ang="0">
                        <a:pos x="32" y="20"/>
                      </a:cxn>
                      <a:cxn ang="0">
                        <a:pos x="26" y="26"/>
                      </a:cxn>
                      <a:cxn ang="0">
                        <a:pos x="32" y="36"/>
                      </a:cxn>
                      <a:cxn ang="0">
                        <a:pos x="46" y="52"/>
                      </a:cxn>
                      <a:cxn ang="0">
                        <a:pos x="56" y="64"/>
                      </a:cxn>
                      <a:cxn ang="0">
                        <a:pos x="42" y="60"/>
                      </a:cxn>
                      <a:cxn ang="0">
                        <a:pos x="32" y="62"/>
                      </a:cxn>
                      <a:cxn ang="0">
                        <a:pos x="26" y="66"/>
                      </a:cxn>
                      <a:cxn ang="0">
                        <a:pos x="8" y="74"/>
                      </a:cxn>
                      <a:cxn ang="0">
                        <a:pos x="0" y="78"/>
                      </a:cxn>
                      <a:cxn ang="0">
                        <a:pos x="4" y="86"/>
                      </a:cxn>
                      <a:cxn ang="0">
                        <a:pos x="8" y="88"/>
                      </a:cxn>
                      <a:cxn ang="0">
                        <a:pos x="26" y="90"/>
                      </a:cxn>
                      <a:cxn ang="0">
                        <a:pos x="66" y="86"/>
                      </a:cxn>
                      <a:cxn ang="0">
                        <a:pos x="122" y="76"/>
                      </a:cxn>
                      <a:cxn ang="0">
                        <a:pos x="136" y="76"/>
                      </a:cxn>
                      <a:cxn ang="0">
                        <a:pos x="138" y="80"/>
                      </a:cxn>
                      <a:cxn ang="0">
                        <a:pos x="106" y="90"/>
                      </a:cxn>
                      <a:cxn ang="0">
                        <a:pos x="92" y="98"/>
                      </a:cxn>
                      <a:cxn ang="0">
                        <a:pos x="90" y="104"/>
                      </a:cxn>
                      <a:cxn ang="0">
                        <a:pos x="92" y="106"/>
                      </a:cxn>
                      <a:cxn ang="0">
                        <a:pos x="100" y="120"/>
                      </a:cxn>
                      <a:cxn ang="0">
                        <a:pos x="104" y="136"/>
                      </a:cxn>
                      <a:cxn ang="0">
                        <a:pos x="116" y="136"/>
                      </a:cxn>
                      <a:cxn ang="0">
                        <a:pos x="126" y="134"/>
                      </a:cxn>
                      <a:cxn ang="0">
                        <a:pos x="142" y="128"/>
                      </a:cxn>
                      <a:cxn ang="0">
                        <a:pos x="166" y="132"/>
                      </a:cxn>
                      <a:cxn ang="0">
                        <a:pos x="200" y="128"/>
                      </a:cxn>
                      <a:cxn ang="0">
                        <a:pos x="208" y="122"/>
                      </a:cxn>
                      <a:cxn ang="0">
                        <a:pos x="208" y="112"/>
                      </a:cxn>
                      <a:cxn ang="0">
                        <a:pos x="202" y="100"/>
                      </a:cxn>
                      <a:cxn ang="0">
                        <a:pos x="202" y="88"/>
                      </a:cxn>
                      <a:cxn ang="0">
                        <a:pos x="210" y="88"/>
                      </a:cxn>
                      <a:cxn ang="0">
                        <a:pos x="214" y="92"/>
                      </a:cxn>
                      <a:cxn ang="0">
                        <a:pos x="226" y="98"/>
                      </a:cxn>
                      <a:cxn ang="0">
                        <a:pos x="224" y="90"/>
                      </a:cxn>
                      <a:cxn ang="0">
                        <a:pos x="216" y="76"/>
                      </a:cxn>
                      <a:cxn ang="0">
                        <a:pos x="212" y="60"/>
                      </a:cxn>
                      <a:cxn ang="0">
                        <a:pos x="208" y="30"/>
                      </a:cxn>
                      <a:cxn ang="0">
                        <a:pos x="196" y="10"/>
                      </a:cxn>
                      <a:cxn ang="0">
                        <a:pos x="184" y="4"/>
                      </a:cxn>
                      <a:cxn ang="0">
                        <a:pos x="164" y="0"/>
                      </a:cxn>
                      <a:cxn ang="0">
                        <a:pos x="156" y="6"/>
                      </a:cxn>
                      <a:cxn ang="0">
                        <a:pos x="148" y="14"/>
                      </a:cxn>
                      <a:cxn ang="0">
                        <a:pos x="144" y="12"/>
                      </a:cxn>
                    </a:cxnLst>
                    <a:rect l="0" t="0" r="r" b="b"/>
                    <a:pathLst>
                      <a:path w="226" h="138">
                        <a:moveTo>
                          <a:pt x="144" y="12"/>
                        </a:moveTo>
                        <a:lnTo>
                          <a:pt x="144" y="12"/>
                        </a:lnTo>
                        <a:lnTo>
                          <a:pt x="138" y="6"/>
                        </a:lnTo>
                        <a:lnTo>
                          <a:pt x="130" y="4"/>
                        </a:lnTo>
                        <a:lnTo>
                          <a:pt x="118" y="2"/>
                        </a:lnTo>
                        <a:lnTo>
                          <a:pt x="104" y="4"/>
                        </a:lnTo>
                        <a:lnTo>
                          <a:pt x="88" y="8"/>
                        </a:lnTo>
                        <a:lnTo>
                          <a:pt x="88" y="8"/>
                        </a:lnTo>
                        <a:lnTo>
                          <a:pt x="80" y="10"/>
                        </a:lnTo>
                        <a:lnTo>
                          <a:pt x="78" y="14"/>
                        </a:lnTo>
                        <a:lnTo>
                          <a:pt x="80" y="18"/>
                        </a:lnTo>
                        <a:lnTo>
                          <a:pt x="84" y="22"/>
                        </a:lnTo>
                        <a:lnTo>
                          <a:pt x="102" y="38"/>
                        </a:lnTo>
                        <a:lnTo>
                          <a:pt x="124" y="62"/>
                        </a:lnTo>
                        <a:lnTo>
                          <a:pt x="124" y="62"/>
                        </a:lnTo>
                        <a:lnTo>
                          <a:pt x="102" y="50"/>
                        </a:lnTo>
                        <a:lnTo>
                          <a:pt x="90" y="42"/>
                        </a:lnTo>
                        <a:lnTo>
                          <a:pt x="82" y="34"/>
                        </a:lnTo>
                        <a:lnTo>
                          <a:pt x="78" y="28"/>
                        </a:lnTo>
                        <a:lnTo>
                          <a:pt x="74" y="24"/>
                        </a:lnTo>
                        <a:lnTo>
                          <a:pt x="70" y="22"/>
                        </a:lnTo>
                        <a:lnTo>
                          <a:pt x="64" y="20"/>
                        </a:lnTo>
                        <a:lnTo>
                          <a:pt x="54" y="18"/>
                        </a:lnTo>
                        <a:lnTo>
                          <a:pt x="54" y="18"/>
                        </a:lnTo>
                        <a:lnTo>
                          <a:pt x="40" y="18"/>
                        </a:lnTo>
                        <a:lnTo>
                          <a:pt x="32" y="20"/>
                        </a:lnTo>
                        <a:lnTo>
                          <a:pt x="28" y="22"/>
                        </a:lnTo>
                        <a:lnTo>
                          <a:pt x="26" y="26"/>
                        </a:lnTo>
                        <a:lnTo>
                          <a:pt x="28" y="30"/>
                        </a:lnTo>
                        <a:lnTo>
                          <a:pt x="32" y="36"/>
                        </a:lnTo>
                        <a:lnTo>
                          <a:pt x="46" y="52"/>
                        </a:lnTo>
                        <a:lnTo>
                          <a:pt x="46" y="52"/>
                        </a:lnTo>
                        <a:lnTo>
                          <a:pt x="56" y="64"/>
                        </a:lnTo>
                        <a:lnTo>
                          <a:pt x="56" y="64"/>
                        </a:lnTo>
                        <a:lnTo>
                          <a:pt x="52" y="62"/>
                        </a:lnTo>
                        <a:lnTo>
                          <a:pt x="42" y="60"/>
                        </a:lnTo>
                        <a:lnTo>
                          <a:pt x="36" y="60"/>
                        </a:lnTo>
                        <a:lnTo>
                          <a:pt x="32" y="62"/>
                        </a:lnTo>
                        <a:lnTo>
                          <a:pt x="32" y="62"/>
                        </a:lnTo>
                        <a:lnTo>
                          <a:pt x="26" y="66"/>
                        </a:lnTo>
                        <a:lnTo>
                          <a:pt x="20" y="70"/>
                        </a:lnTo>
                        <a:lnTo>
                          <a:pt x="8" y="74"/>
                        </a:lnTo>
                        <a:lnTo>
                          <a:pt x="4" y="76"/>
                        </a:lnTo>
                        <a:lnTo>
                          <a:pt x="0" y="78"/>
                        </a:lnTo>
                        <a:lnTo>
                          <a:pt x="0" y="82"/>
                        </a:lnTo>
                        <a:lnTo>
                          <a:pt x="4" y="86"/>
                        </a:lnTo>
                        <a:lnTo>
                          <a:pt x="4" y="86"/>
                        </a:lnTo>
                        <a:lnTo>
                          <a:pt x="8" y="88"/>
                        </a:lnTo>
                        <a:lnTo>
                          <a:pt x="12" y="90"/>
                        </a:lnTo>
                        <a:lnTo>
                          <a:pt x="26" y="90"/>
                        </a:lnTo>
                        <a:lnTo>
                          <a:pt x="44" y="88"/>
                        </a:lnTo>
                        <a:lnTo>
                          <a:pt x="66" y="86"/>
                        </a:lnTo>
                        <a:lnTo>
                          <a:pt x="106" y="78"/>
                        </a:lnTo>
                        <a:lnTo>
                          <a:pt x="122" y="76"/>
                        </a:lnTo>
                        <a:lnTo>
                          <a:pt x="136" y="76"/>
                        </a:lnTo>
                        <a:lnTo>
                          <a:pt x="136" y="76"/>
                        </a:lnTo>
                        <a:lnTo>
                          <a:pt x="140" y="78"/>
                        </a:lnTo>
                        <a:lnTo>
                          <a:pt x="138" y="80"/>
                        </a:lnTo>
                        <a:lnTo>
                          <a:pt x="118" y="86"/>
                        </a:lnTo>
                        <a:lnTo>
                          <a:pt x="106" y="90"/>
                        </a:lnTo>
                        <a:lnTo>
                          <a:pt x="96" y="94"/>
                        </a:lnTo>
                        <a:lnTo>
                          <a:pt x="92" y="98"/>
                        </a:lnTo>
                        <a:lnTo>
                          <a:pt x="90" y="100"/>
                        </a:lnTo>
                        <a:lnTo>
                          <a:pt x="90" y="104"/>
                        </a:lnTo>
                        <a:lnTo>
                          <a:pt x="92" y="106"/>
                        </a:lnTo>
                        <a:lnTo>
                          <a:pt x="92" y="106"/>
                        </a:lnTo>
                        <a:lnTo>
                          <a:pt x="98" y="114"/>
                        </a:lnTo>
                        <a:lnTo>
                          <a:pt x="100" y="120"/>
                        </a:lnTo>
                        <a:lnTo>
                          <a:pt x="102" y="132"/>
                        </a:lnTo>
                        <a:lnTo>
                          <a:pt x="104" y="136"/>
                        </a:lnTo>
                        <a:lnTo>
                          <a:pt x="108" y="138"/>
                        </a:lnTo>
                        <a:lnTo>
                          <a:pt x="116" y="136"/>
                        </a:lnTo>
                        <a:lnTo>
                          <a:pt x="126" y="134"/>
                        </a:lnTo>
                        <a:lnTo>
                          <a:pt x="126" y="134"/>
                        </a:lnTo>
                        <a:lnTo>
                          <a:pt x="136" y="130"/>
                        </a:lnTo>
                        <a:lnTo>
                          <a:pt x="142" y="128"/>
                        </a:lnTo>
                        <a:lnTo>
                          <a:pt x="166" y="132"/>
                        </a:lnTo>
                        <a:lnTo>
                          <a:pt x="166" y="132"/>
                        </a:lnTo>
                        <a:lnTo>
                          <a:pt x="184" y="132"/>
                        </a:lnTo>
                        <a:lnTo>
                          <a:pt x="200" y="128"/>
                        </a:lnTo>
                        <a:lnTo>
                          <a:pt x="206" y="126"/>
                        </a:lnTo>
                        <a:lnTo>
                          <a:pt x="208" y="122"/>
                        </a:lnTo>
                        <a:lnTo>
                          <a:pt x="210" y="118"/>
                        </a:lnTo>
                        <a:lnTo>
                          <a:pt x="208" y="112"/>
                        </a:lnTo>
                        <a:lnTo>
                          <a:pt x="208" y="112"/>
                        </a:lnTo>
                        <a:lnTo>
                          <a:pt x="202" y="100"/>
                        </a:lnTo>
                        <a:lnTo>
                          <a:pt x="202" y="92"/>
                        </a:lnTo>
                        <a:lnTo>
                          <a:pt x="202" y="88"/>
                        </a:lnTo>
                        <a:lnTo>
                          <a:pt x="206" y="88"/>
                        </a:lnTo>
                        <a:lnTo>
                          <a:pt x="210" y="88"/>
                        </a:lnTo>
                        <a:lnTo>
                          <a:pt x="214" y="92"/>
                        </a:lnTo>
                        <a:lnTo>
                          <a:pt x="214" y="92"/>
                        </a:lnTo>
                        <a:lnTo>
                          <a:pt x="224" y="98"/>
                        </a:lnTo>
                        <a:lnTo>
                          <a:pt x="226" y="98"/>
                        </a:lnTo>
                        <a:lnTo>
                          <a:pt x="226" y="98"/>
                        </a:lnTo>
                        <a:lnTo>
                          <a:pt x="224" y="90"/>
                        </a:lnTo>
                        <a:lnTo>
                          <a:pt x="216" y="76"/>
                        </a:lnTo>
                        <a:lnTo>
                          <a:pt x="216" y="76"/>
                        </a:lnTo>
                        <a:lnTo>
                          <a:pt x="214" y="68"/>
                        </a:lnTo>
                        <a:lnTo>
                          <a:pt x="212" y="60"/>
                        </a:lnTo>
                        <a:lnTo>
                          <a:pt x="210" y="40"/>
                        </a:lnTo>
                        <a:lnTo>
                          <a:pt x="208" y="30"/>
                        </a:lnTo>
                        <a:lnTo>
                          <a:pt x="204" y="20"/>
                        </a:lnTo>
                        <a:lnTo>
                          <a:pt x="196" y="10"/>
                        </a:lnTo>
                        <a:lnTo>
                          <a:pt x="184" y="4"/>
                        </a:lnTo>
                        <a:lnTo>
                          <a:pt x="184" y="4"/>
                        </a:lnTo>
                        <a:lnTo>
                          <a:pt x="172" y="0"/>
                        </a:lnTo>
                        <a:lnTo>
                          <a:pt x="164" y="0"/>
                        </a:lnTo>
                        <a:lnTo>
                          <a:pt x="160" y="2"/>
                        </a:lnTo>
                        <a:lnTo>
                          <a:pt x="156" y="6"/>
                        </a:lnTo>
                        <a:lnTo>
                          <a:pt x="152" y="14"/>
                        </a:lnTo>
                        <a:lnTo>
                          <a:pt x="148" y="14"/>
                        </a:lnTo>
                        <a:lnTo>
                          <a:pt x="144" y="12"/>
                        </a:lnTo>
                        <a:lnTo>
                          <a:pt x="144" y="1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3" name="Freeform 6023"/>
                  <p:cNvSpPr>
                    <a:spLocks/>
                  </p:cNvSpPr>
                  <p:nvPr/>
                </p:nvSpPr>
                <p:spPr bwMode="auto">
                  <a:xfrm>
                    <a:off x="1842770" y="887413"/>
                    <a:ext cx="36830" cy="25400"/>
                  </a:xfrm>
                  <a:custGeom>
                    <a:avLst/>
                    <a:gdLst/>
                    <a:ahLst/>
                    <a:cxnLst>
                      <a:cxn ang="0">
                        <a:pos x="30" y="32"/>
                      </a:cxn>
                      <a:cxn ang="0">
                        <a:pos x="30" y="32"/>
                      </a:cxn>
                      <a:cxn ang="0">
                        <a:pos x="40" y="38"/>
                      </a:cxn>
                      <a:cxn ang="0">
                        <a:pos x="46" y="40"/>
                      </a:cxn>
                      <a:cxn ang="0">
                        <a:pos x="50" y="40"/>
                      </a:cxn>
                      <a:cxn ang="0">
                        <a:pos x="54" y="38"/>
                      </a:cxn>
                      <a:cxn ang="0">
                        <a:pos x="56" y="34"/>
                      </a:cxn>
                      <a:cxn ang="0">
                        <a:pos x="58" y="28"/>
                      </a:cxn>
                      <a:cxn ang="0">
                        <a:pos x="56" y="20"/>
                      </a:cxn>
                      <a:cxn ang="0">
                        <a:pos x="56" y="20"/>
                      </a:cxn>
                      <a:cxn ang="0">
                        <a:pos x="52" y="12"/>
                      </a:cxn>
                      <a:cxn ang="0">
                        <a:pos x="46" y="6"/>
                      </a:cxn>
                      <a:cxn ang="0">
                        <a:pos x="36" y="2"/>
                      </a:cxn>
                      <a:cxn ang="0">
                        <a:pos x="26" y="0"/>
                      </a:cxn>
                      <a:cxn ang="0">
                        <a:pos x="16" y="0"/>
                      </a:cxn>
                      <a:cxn ang="0">
                        <a:pos x="6" y="2"/>
                      </a:cxn>
                      <a:cxn ang="0">
                        <a:pos x="2" y="6"/>
                      </a:cxn>
                      <a:cxn ang="0">
                        <a:pos x="0" y="10"/>
                      </a:cxn>
                      <a:cxn ang="0">
                        <a:pos x="0" y="14"/>
                      </a:cxn>
                      <a:cxn ang="0">
                        <a:pos x="0" y="14"/>
                      </a:cxn>
                      <a:cxn ang="0">
                        <a:pos x="0" y="18"/>
                      </a:cxn>
                      <a:cxn ang="0">
                        <a:pos x="4" y="22"/>
                      </a:cxn>
                      <a:cxn ang="0">
                        <a:pos x="10" y="24"/>
                      </a:cxn>
                      <a:cxn ang="0">
                        <a:pos x="18" y="26"/>
                      </a:cxn>
                      <a:cxn ang="0">
                        <a:pos x="24" y="28"/>
                      </a:cxn>
                      <a:cxn ang="0">
                        <a:pos x="30" y="32"/>
                      </a:cxn>
                      <a:cxn ang="0">
                        <a:pos x="30" y="32"/>
                      </a:cxn>
                    </a:cxnLst>
                    <a:rect l="0" t="0" r="r" b="b"/>
                    <a:pathLst>
                      <a:path w="58" h="40">
                        <a:moveTo>
                          <a:pt x="30" y="32"/>
                        </a:moveTo>
                        <a:lnTo>
                          <a:pt x="30" y="32"/>
                        </a:lnTo>
                        <a:lnTo>
                          <a:pt x="40" y="38"/>
                        </a:lnTo>
                        <a:lnTo>
                          <a:pt x="46" y="40"/>
                        </a:lnTo>
                        <a:lnTo>
                          <a:pt x="50" y="40"/>
                        </a:lnTo>
                        <a:lnTo>
                          <a:pt x="54" y="38"/>
                        </a:lnTo>
                        <a:lnTo>
                          <a:pt x="56" y="34"/>
                        </a:lnTo>
                        <a:lnTo>
                          <a:pt x="58" y="28"/>
                        </a:lnTo>
                        <a:lnTo>
                          <a:pt x="56" y="20"/>
                        </a:lnTo>
                        <a:lnTo>
                          <a:pt x="56" y="20"/>
                        </a:lnTo>
                        <a:lnTo>
                          <a:pt x="52" y="12"/>
                        </a:lnTo>
                        <a:lnTo>
                          <a:pt x="46" y="6"/>
                        </a:lnTo>
                        <a:lnTo>
                          <a:pt x="36" y="2"/>
                        </a:lnTo>
                        <a:lnTo>
                          <a:pt x="26" y="0"/>
                        </a:lnTo>
                        <a:lnTo>
                          <a:pt x="16" y="0"/>
                        </a:lnTo>
                        <a:lnTo>
                          <a:pt x="6" y="2"/>
                        </a:lnTo>
                        <a:lnTo>
                          <a:pt x="2" y="6"/>
                        </a:lnTo>
                        <a:lnTo>
                          <a:pt x="0" y="10"/>
                        </a:lnTo>
                        <a:lnTo>
                          <a:pt x="0" y="14"/>
                        </a:lnTo>
                        <a:lnTo>
                          <a:pt x="0" y="14"/>
                        </a:lnTo>
                        <a:lnTo>
                          <a:pt x="0" y="18"/>
                        </a:lnTo>
                        <a:lnTo>
                          <a:pt x="4" y="22"/>
                        </a:lnTo>
                        <a:lnTo>
                          <a:pt x="10" y="24"/>
                        </a:lnTo>
                        <a:lnTo>
                          <a:pt x="18" y="26"/>
                        </a:lnTo>
                        <a:lnTo>
                          <a:pt x="24" y="28"/>
                        </a:lnTo>
                        <a:lnTo>
                          <a:pt x="30" y="32"/>
                        </a:lnTo>
                        <a:lnTo>
                          <a:pt x="30" y="3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4" name="Freeform 6024"/>
                  <p:cNvSpPr>
                    <a:spLocks/>
                  </p:cNvSpPr>
                  <p:nvPr/>
                </p:nvSpPr>
                <p:spPr bwMode="auto">
                  <a:xfrm>
                    <a:off x="1507490" y="963613"/>
                    <a:ext cx="102870" cy="24130"/>
                  </a:xfrm>
                  <a:custGeom>
                    <a:avLst/>
                    <a:gdLst/>
                    <a:ahLst/>
                    <a:cxnLst>
                      <a:cxn ang="0">
                        <a:pos x="20" y="34"/>
                      </a:cxn>
                      <a:cxn ang="0">
                        <a:pos x="20" y="34"/>
                      </a:cxn>
                      <a:cxn ang="0">
                        <a:pos x="26" y="32"/>
                      </a:cxn>
                      <a:cxn ang="0">
                        <a:pos x="34" y="32"/>
                      </a:cxn>
                      <a:cxn ang="0">
                        <a:pos x="60" y="36"/>
                      </a:cxn>
                      <a:cxn ang="0">
                        <a:pos x="60" y="36"/>
                      </a:cxn>
                      <a:cxn ang="0">
                        <a:pos x="72" y="38"/>
                      </a:cxn>
                      <a:cxn ang="0">
                        <a:pos x="76" y="36"/>
                      </a:cxn>
                      <a:cxn ang="0">
                        <a:pos x="84" y="34"/>
                      </a:cxn>
                      <a:cxn ang="0">
                        <a:pos x="108" y="34"/>
                      </a:cxn>
                      <a:cxn ang="0">
                        <a:pos x="108" y="34"/>
                      </a:cxn>
                      <a:cxn ang="0">
                        <a:pos x="124" y="36"/>
                      </a:cxn>
                      <a:cxn ang="0">
                        <a:pos x="138" y="34"/>
                      </a:cxn>
                      <a:cxn ang="0">
                        <a:pos x="150" y="32"/>
                      </a:cxn>
                      <a:cxn ang="0">
                        <a:pos x="158" y="28"/>
                      </a:cxn>
                      <a:cxn ang="0">
                        <a:pos x="162" y="24"/>
                      </a:cxn>
                      <a:cxn ang="0">
                        <a:pos x="162" y="22"/>
                      </a:cxn>
                      <a:cxn ang="0">
                        <a:pos x="160" y="18"/>
                      </a:cxn>
                      <a:cxn ang="0">
                        <a:pos x="152" y="12"/>
                      </a:cxn>
                      <a:cxn ang="0">
                        <a:pos x="138" y="6"/>
                      </a:cxn>
                      <a:cxn ang="0">
                        <a:pos x="138" y="6"/>
                      </a:cxn>
                      <a:cxn ang="0">
                        <a:pos x="122" y="0"/>
                      </a:cxn>
                      <a:cxn ang="0">
                        <a:pos x="108" y="0"/>
                      </a:cxn>
                      <a:cxn ang="0">
                        <a:pos x="96" y="0"/>
                      </a:cxn>
                      <a:cxn ang="0">
                        <a:pos x="86" y="2"/>
                      </a:cxn>
                      <a:cxn ang="0">
                        <a:pos x="64" y="10"/>
                      </a:cxn>
                      <a:cxn ang="0">
                        <a:pos x="52" y="14"/>
                      </a:cxn>
                      <a:cxn ang="0">
                        <a:pos x="36" y="16"/>
                      </a:cxn>
                      <a:cxn ang="0">
                        <a:pos x="36" y="16"/>
                      </a:cxn>
                      <a:cxn ang="0">
                        <a:pos x="22" y="20"/>
                      </a:cxn>
                      <a:cxn ang="0">
                        <a:pos x="10" y="24"/>
                      </a:cxn>
                      <a:cxn ang="0">
                        <a:pos x="4" y="28"/>
                      </a:cxn>
                      <a:cxn ang="0">
                        <a:pos x="0" y="30"/>
                      </a:cxn>
                      <a:cxn ang="0">
                        <a:pos x="0" y="34"/>
                      </a:cxn>
                      <a:cxn ang="0">
                        <a:pos x="4" y="36"/>
                      </a:cxn>
                      <a:cxn ang="0">
                        <a:pos x="10" y="36"/>
                      </a:cxn>
                      <a:cxn ang="0">
                        <a:pos x="20" y="34"/>
                      </a:cxn>
                      <a:cxn ang="0">
                        <a:pos x="20" y="34"/>
                      </a:cxn>
                    </a:cxnLst>
                    <a:rect l="0" t="0" r="r" b="b"/>
                    <a:pathLst>
                      <a:path w="162" h="38">
                        <a:moveTo>
                          <a:pt x="20" y="34"/>
                        </a:moveTo>
                        <a:lnTo>
                          <a:pt x="20" y="34"/>
                        </a:lnTo>
                        <a:lnTo>
                          <a:pt x="26" y="32"/>
                        </a:lnTo>
                        <a:lnTo>
                          <a:pt x="34" y="32"/>
                        </a:lnTo>
                        <a:lnTo>
                          <a:pt x="60" y="36"/>
                        </a:lnTo>
                        <a:lnTo>
                          <a:pt x="60" y="36"/>
                        </a:lnTo>
                        <a:lnTo>
                          <a:pt x="72" y="38"/>
                        </a:lnTo>
                        <a:lnTo>
                          <a:pt x="76" y="36"/>
                        </a:lnTo>
                        <a:lnTo>
                          <a:pt x="84" y="34"/>
                        </a:lnTo>
                        <a:lnTo>
                          <a:pt x="108" y="34"/>
                        </a:lnTo>
                        <a:lnTo>
                          <a:pt x="108" y="34"/>
                        </a:lnTo>
                        <a:lnTo>
                          <a:pt x="124" y="36"/>
                        </a:lnTo>
                        <a:lnTo>
                          <a:pt x="138" y="34"/>
                        </a:lnTo>
                        <a:lnTo>
                          <a:pt x="150" y="32"/>
                        </a:lnTo>
                        <a:lnTo>
                          <a:pt x="158" y="28"/>
                        </a:lnTo>
                        <a:lnTo>
                          <a:pt x="162" y="24"/>
                        </a:lnTo>
                        <a:lnTo>
                          <a:pt x="162" y="22"/>
                        </a:lnTo>
                        <a:lnTo>
                          <a:pt x="160" y="18"/>
                        </a:lnTo>
                        <a:lnTo>
                          <a:pt x="152" y="12"/>
                        </a:lnTo>
                        <a:lnTo>
                          <a:pt x="138" y="6"/>
                        </a:lnTo>
                        <a:lnTo>
                          <a:pt x="138" y="6"/>
                        </a:lnTo>
                        <a:lnTo>
                          <a:pt x="122" y="0"/>
                        </a:lnTo>
                        <a:lnTo>
                          <a:pt x="108" y="0"/>
                        </a:lnTo>
                        <a:lnTo>
                          <a:pt x="96" y="0"/>
                        </a:lnTo>
                        <a:lnTo>
                          <a:pt x="86" y="2"/>
                        </a:lnTo>
                        <a:lnTo>
                          <a:pt x="64" y="10"/>
                        </a:lnTo>
                        <a:lnTo>
                          <a:pt x="52" y="14"/>
                        </a:lnTo>
                        <a:lnTo>
                          <a:pt x="36" y="16"/>
                        </a:lnTo>
                        <a:lnTo>
                          <a:pt x="36" y="16"/>
                        </a:lnTo>
                        <a:lnTo>
                          <a:pt x="22" y="20"/>
                        </a:lnTo>
                        <a:lnTo>
                          <a:pt x="10" y="24"/>
                        </a:lnTo>
                        <a:lnTo>
                          <a:pt x="4" y="28"/>
                        </a:lnTo>
                        <a:lnTo>
                          <a:pt x="0" y="30"/>
                        </a:lnTo>
                        <a:lnTo>
                          <a:pt x="0" y="34"/>
                        </a:lnTo>
                        <a:lnTo>
                          <a:pt x="4" y="36"/>
                        </a:lnTo>
                        <a:lnTo>
                          <a:pt x="10" y="36"/>
                        </a:lnTo>
                        <a:lnTo>
                          <a:pt x="20" y="34"/>
                        </a:lnTo>
                        <a:lnTo>
                          <a:pt x="20" y="3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5" name="Freeform 6025"/>
                  <p:cNvSpPr>
                    <a:spLocks/>
                  </p:cNvSpPr>
                  <p:nvPr/>
                </p:nvSpPr>
                <p:spPr bwMode="auto">
                  <a:xfrm>
                    <a:off x="1703070" y="928053"/>
                    <a:ext cx="168910" cy="82550"/>
                  </a:xfrm>
                  <a:custGeom>
                    <a:avLst/>
                    <a:gdLst/>
                    <a:ahLst/>
                    <a:cxnLst>
                      <a:cxn ang="0">
                        <a:pos x="30" y="40"/>
                      </a:cxn>
                      <a:cxn ang="0">
                        <a:pos x="32" y="50"/>
                      </a:cxn>
                      <a:cxn ang="0">
                        <a:pos x="40" y="46"/>
                      </a:cxn>
                      <a:cxn ang="0">
                        <a:pos x="52" y="44"/>
                      </a:cxn>
                      <a:cxn ang="0">
                        <a:pos x="66" y="54"/>
                      </a:cxn>
                      <a:cxn ang="0">
                        <a:pos x="72" y="62"/>
                      </a:cxn>
                      <a:cxn ang="0">
                        <a:pos x="68" y="70"/>
                      </a:cxn>
                      <a:cxn ang="0">
                        <a:pos x="44" y="68"/>
                      </a:cxn>
                      <a:cxn ang="0">
                        <a:pos x="26" y="70"/>
                      </a:cxn>
                      <a:cxn ang="0">
                        <a:pos x="24" y="74"/>
                      </a:cxn>
                      <a:cxn ang="0">
                        <a:pos x="24" y="82"/>
                      </a:cxn>
                      <a:cxn ang="0">
                        <a:pos x="36" y="90"/>
                      </a:cxn>
                      <a:cxn ang="0">
                        <a:pos x="60" y="92"/>
                      </a:cxn>
                      <a:cxn ang="0">
                        <a:pos x="78" y="88"/>
                      </a:cxn>
                      <a:cxn ang="0">
                        <a:pos x="108" y="82"/>
                      </a:cxn>
                      <a:cxn ang="0">
                        <a:pos x="114" y="86"/>
                      </a:cxn>
                      <a:cxn ang="0">
                        <a:pos x="120" y="92"/>
                      </a:cxn>
                      <a:cxn ang="0">
                        <a:pos x="146" y="90"/>
                      </a:cxn>
                      <a:cxn ang="0">
                        <a:pos x="156" y="90"/>
                      </a:cxn>
                      <a:cxn ang="0">
                        <a:pos x="170" y="92"/>
                      </a:cxn>
                      <a:cxn ang="0">
                        <a:pos x="182" y="102"/>
                      </a:cxn>
                      <a:cxn ang="0">
                        <a:pos x="194" y="120"/>
                      </a:cxn>
                      <a:cxn ang="0">
                        <a:pos x="204" y="126"/>
                      </a:cxn>
                      <a:cxn ang="0">
                        <a:pos x="220" y="130"/>
                      </a:cxn>
                      <a:cxn ang="0">
                        <a:pos x="244" y="128"/>
                      </a:cxn>
                      <a:cxn ang="0">
                        <a:pos x="254" y="126"/>
                      </a:cxn>
                      <a:cxn ang="0">
                        <a:pos x="266" y="122"/>
                      </a:cxn>
                      <a:cxn ang="0">
                        <a:pos x="266" y="114"/>
                      </a:cxn>
                      <a:cxn ang="0">
                        <a:pos x="258" y="102"/>
                      </a:cxn>
                      <a:cxn ang="0">
                        <a:pos x="234" y="82"/>
                      </a:cxn>
                      <a:cxn ang="0">
                        <a:pos x="238" y="78"/>
                      </a:cxn>
                      <a:cxn ang="0">
                        <a:pos x="242" y="76"/>
                      </a:cxn>
                      <a:cxn ang="0">
                        <a:pos x="248" y="68"/>
                      </a:cxn>
                      <a:cxn ang="0">
                        <a:pos x="242" y="58"/>
                      </a:cxn>
                      <a:cxn ang="0">
                        <a:pos x="224" y="50"/>
                      </a:cxn>
                      <a:cxn ang="0">
                        <a:pos x="210" y="48"/>
                      </a:cxn>
                      <a:cxn ang="0">
                        <a:pos x="186" y="44"/>
                      </a:cxn>
                      <a:cxn ang="0">
                        <a:pos x="184" y="40"/>
                      </a:cxn>
                      <a:cxn ang="0">
                        <a:pos x="176" y="32"/>
                      </a:cxn>
                      <a:cxn ang="0">
                        <a:pos x="164" y="28"/>
                      </a:cxn>
                      <a:cxn ang="0">
                        <a:pos x="140" y="26"/>
                      </a:cxn>
                      <a:cxn ang="0">
                        <a:pos x="130" y="32"/>
                      </a:cxn>
                      <a:cxn ang="0">
                        <a:pos x="124" y="36"/>
                      </a:cxn>
                      <a:cxn ang="0">
                        <a:pos x="118" y="28"/>
                      </a:cxn>
                      <a:cxn ang="0">
                        <a:pos x="114" y="24"/>
                      </a:cxn>
                      <a:cxn ang="0">
                        <a:pos x="96" y="10"/>
                      </a:cxn>
                      <a:cxn ang="0">
                        <a:pos x="58" y="0"/>
                      </a:cxn>
                      <a:cxn ang="0">
                        <a:pos x="22" y="2"/>
                      </a:cxn>
                      <a:cxn ang="0">
                        <a:pos x="10" y="8"/>
                      </a:cxn>
                      <a:cxn ang="0">
                        <a:pos x="2" y="18"/>
                      </a:cxn>
                      <a:cxn ang="0">
                        <a:pos x="0" y="28"/>
                      </a:cxn>
                      <a:cxn ang="0">
                        <a:pos x="8" y="34"/>
                      </a:cxn>
                      <a:cxn ang="0">
                        <a:pos x="20" y="30"/>
                      </a:cxn>
                      <a:cxn ang="0">
                        <a:pos x="28" y="34"/>
                      </a:cxn>
                      <a:cxn ang="0">
                        <a:pos x="30" y="40"/>
                      </a:cxn>
                    </a:cxnLst>
                    <a:rect l="0" t="0" r="r" b="b"/>
                    <a:pathLst>
                      <a:path w="266" h="130">
                        <a:moveTo>
                          <a:pt x="30" y="40"/>
                        </a:moveTo>
                        <a:lnTo>
                          <a:pt x="30" y="40"/>
                        </a:lnTo>
                        <a:lnTo>
                          <a:pt x="30" y="48"/>
                        </a:lnTo>
                        <a:lnTo>
                          <a:pt x="32" y="50"/>
                        </a:lnTo>
                        <a:lnTo>
                          <a:pt x="36" y="50"/>
                        </a:lnTo>
                        <a:lnTo>
                          <a:pt x="40" y="46"/>
                        </a:lnTo>
                        <a:lnTo>
                          <a:pt x="46" y="44"/>
                        </a:lnTo>
                        <a:lnTo>
                          <a:pt x="52" y="44"/>
                        </a:lnTo>
                        <a:lnTo>
                          <a:pt x="58" y="46"/>
                        </a:lnTo>
                        <a:lnTo>
                          <a:pt x="66" y="54"/>
                        </a:lnTo>
                        <a:lnTo>
                          <a:pt x="66" y="54"/>
                        </a:lnTo>
                        <a:lnTo>
                          <a:pt x="72" y="62"/>
                        </a:lnTo>
                        <a:lnTo>
                          <a:pt x="72" y="66"/>
                        </a:lnTo>
                        <a:lnTo>
                          <a:pt x="68" y="70"/>
                        </a:lnTo>
                        <a:lnTo>
                          <a:pt x="60" y="70"/>
                        </a:lnTo>
                        <a:lnTo>
                          <a:pt x="44" y="68"/>
                        </a:lnTo>
                        <a:lnTo>
                          <a:pt x="34" y="68"/>
                        </a:lnTo>
                        <a:lnTo>
                          <a:pt x="26" y="70"/>
                        </a:lnTo>
                        <a:lnTo>
                          <a:pt x="26" y="70"/>
                        </a:lnTo>
                        <a:lnTo>
                          <a:pt x="24" y="74"/>
                        </a:lnTo>
                        <a:lnTo>
                          <a:pt x="22" y="78"/>
                        </a:lnTo>
                        <a:lnTo>
                          <a:pt x="24" y="82"/>
                        </a:lnTo>
                        <a:lnTo>
                          <a:pt x="28" y="86"/>
                        </a:lnTo>
                        <a:lnTo>
                          <a:pt x="36" y="90"/>
                        </a:lnTo>
                        <a:lnTo>
                          <a:pt x="46" y="92"/>
                        </a:lnTo>
                        <a:lnTo>
                          <a:pt x="60" y="92"/>
                        </a:lnTo>
                        <a:lnTo>
                          <a:pt x="78" y="88"/>
                        </a:lnTo>
                        <a:lnTo>
                          <a:pt x="78" y="88"/>
                        </a:lnTo>
                        <a:lnTo>
                          <a:pt x="98" y="82"/>
                        </a:lnTo>
                        <a:lnTo>
                          <a:pt x="108" y="82"/>
                        </a:lnTo>
                        <a:lnTo>
                          <a:pt x="112" y="82"/>
                        </a:lnTo>
                        <a:lnTo>
                          <a:pt x="114" y="86"/>
                        </a:lnTo>
                        <a:lnTo>
                          <a:pt x="116" y="88"/>
                        </a:lnTo>
                        <a:lnTo>
                          <a:pt x="120" y="92"/>
                        </a:lnTo>
                        <a:lnTo>
                          <a:pt x="130" y="92"/>
                        </a:lnTo>
                        <a:lnTo>
                          <a:pt x="146" y="90"/>
                        </a:lnTo>
                        <a:lnTo>
                          <a:pt x="146" y="90"/>
                        </a:lnTo>
                        <a:lnTo>
                          <a:pt x="156" y="90"/>
                        </a:lnTo>
                        <a:lnTo>
                          <a:pt x="164" y="90"/>
                        </a:lnTo>
                        <a:lnTo>
                          <a:pt x="170" y="92"/>
                        </a:lnTo>
                        <a:lnTo>
                          <a:pt x="174" y="94"/>
                        </a:lnTo>
                        <a:lnTo>
                          <a:pt x="182" y="102"/>
                        </a:lnTo>
                        <a:lnTo>
                          <a:pt x="186" y="110"/>
                        </a:lnTo>
                        <a:lnTo>
                          <a:pt x="194" y="120"/>
                        </a:lnTo>
                        <a:lnTo>
                          <a:pt x="198" y="124"/>
                        </a:lnTo>
                        <a:lnTo>
                          <a:pt x="204" y="126"/>
                        </a:lnTo>
                        <a:lnTo>
                          <a:pt x="210" y="128"/>
                        </a:lnTo>
                        <a:lnTo>
                          <a:pt x="220" y="130"/>
                        </a:lnTo>
                        <a:lnTo>
                          <a:pt x="230" y="130"/>
                        </a:lnTo>
                        <a:lnTo>
                          <a:pt x="244" y="128"/>
                        </a:lnTo>
                        <a:lnTo>
                          <a:pt x="244" y="128"/>
                        </a:lnTo>
                        <a:lnTo>
                          <a:pt x="254" y="126"/>
                        </a:lnTo>
                        <a:lnTo>
                          <a:pt x="262" y="124"/>
                        </a:lnTo>
                        <a:lnTo>
                          <a:pt x="266" y="122"/>
                        </a:lnTo>
                        <a:lnTo>
                          <a:pt x="266" y="118"/>
                        </a:lnTo>
                        <a:lnTo>
                          <a:pt x="266" y="114"/>
                        </a:lnTo>
                        <a:lnTo>
                          <a:pt x="264" y="110"/>
                        </a:lnTo>
                        <a:lnTo>
                          <a:pt x="258" y="102"/>
                        </a:lnTo>
                        <a:lnTo>
                          <a:pt x="240" y="88"/>
                        </a:lnTo>
                        <a:lnTo>
                          <a:pt x="234" y="82"/>
                        </a:lnTo>
                        <a:lnTo>
                          <a:pt x="234" y="80"/>
                        </a:lnTo>
                        <a:lnTo>
                          <a:pt x="238" y="78"/>
                        </a:lnTo>
                        <a:lnTo>
                          <a:pt x="238" y="78"/>
                        </a:lnTo>
                        <a:lnTo>
                          <a:pt x="242" y="76"/>
                        </a:lnTo>
                        <a:lnTo>
                          <a:pt x="246" y="72"/>
                        </a:lnTo>
                        <a:lnTo>
                          <a:pt x="248" y="68"/>
                        </a:lnTo>
                        <a:lnTo>
                          <a:pt x="246" y="64"/>
                        </a:lnTo>
                        <a:lnTo>
                          <a:pt x="242" y="58"/>
                        </a:lnTo>
                        <a:lnTo>
                          <a:pt x="236" y="54"/>
                        </a:lnTo>
                        <a:lnTo>
                          <a:pt x="224" y="50"/>
                        </a:lnTo>
                        <a:lnTo>
                          <a:pt x="210" y="48"/>
                        </a:lnTo>
                        <a:lnTo>
                          <a:pt x="210" y="48"/>
                        </a:lnTo>
                        <a:lnTo>
                          <a:pt x="190" y="46"/>
                        </a:lnTo>
                        <a:lnTo>
                          <a:pt x="186" y="44"/>
                        </a:lnTo>
                        <a:lnTo>
                          <a:pt x="186" y="42"/>
                        </a:lnTo>
                        <a:lnTo>
                          <a:pt x="184" y="40"/>
                        </a:lnTo>
                        <a:lnTo>
                          <a:pt x="182" y="36"/>
                        </a:lnTo>
                        <a:lnTo>
                          <a:pt x="176" y="32"/>
                        </a:lnTo>
                        <a:lnTo>
                          <a:pt x="164" y="28"/>
                        </a:lnTo>
                        <a:lnTo>
                          <a:pt x="164" y="28"/>
                        </a:lnTo>
                        <a:lnTo>
                          <a:pt x="150" y="26"/>
                        </a:lnTo>
                        <a:lnTo>
                          <a:pt x="140" y="26"/>
                        </a:lnTo>
                        <a:lnTo>
                          <a:pt x="134" y="28"/>
                        </a:lnTo>
                        <a:lnTo>
                          <a:pt x="130" y="32"/>
                        </a:lnTo>
                        <a:lnTo>
                          <a:pt x="126" y="34"/>
                        </a:lnTo>
                        <a:lnTo>
                          <a:pt x="124" y="36"/>
                        </a:lnTo>
                        <a:lnTo>
                          <a:pt x="122" y="34"/>
                        </a:lnTo>
                        <a:lnTo>
                          <a:pt x="118" y="28"/>
                        </a:lnTo>
                        <a:lnTo>
                          <a:pt x="118" y="28"/>
                        </a:lnTo>
                        <a:lnTo>
                          <a:pt x="114" y="24"/>
                        </a:lnTo>
                        <a:lnTo>
                          <a:pt x="110" y="18"/>
                        </a:lnTo>
                        <a:lnTo>
                          <a:pt x="96" y="10"/>
                        </a:lnTo>
                        <a:lnTo>
                          <a:pt x="78" y="4"/>
                        </a:lnTo>
                        <a:lnTo>
                          <a:pt x="58" y="0"/>
                        </a:lnTo>
                        <a:lnTo>
                          <a:pt x="40" y="0"/>
                        </a:lnTo>
                        <a:lnTo>
                          <a:pt x="22" y="2"/>
                        </a:lnTo>
                        <a:lnTo>
                          <a:pt x="14" y="4"/>
                        </a:lnTo>
                        <a:lnTo>
                          <a:pt x="10" y="8"/>
                        </a:lnTo>
                        <a:lnTo>
                          <a:pt x="4" y="12"/>
                        </a:lnTo>
                        <a:lnTo>
                          <a:pt x="2" y="18"/>
                        </a:lnTo>
                        <a:lnTo>
                          <a:pt x="2" y="18"/>
                        </a:lnTo>
                        <a:lnTo>
                          <a:pt x="0" y="28"/>
                        </a:lnTo>
                        <a:lnTo>
                          <a:pt x="2" y="32"/>
                        </a:lnTo>
                        <a:lnTo>
                          <a:pt x="8" y="34"/>
                        </a:lnTo>
                        <a:lnTo>
                          <a:pt x="14" y="32"/>
                        </a:lnTo>
                        <a:lnTo>
                          <a:pt x="20" y="30"/>
                        </a:lnTo>
                        <a:lnTo>
                          <a:pt x="24" y="30"/>
                        </a:lnTo>
                        <a:lnTo>
                          <a:pt x="28" y="34"/>
                        </a:lnTo>
                        <a:lnTo>
                          <a:pt x="30" y="40"/>
                        </a:lnTo>
                        <a:lnTo>
                          <a:pt x="30" y="4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6" name="Freeform 6026"/>
                  <p:cNvSpPr>
                    <a:spLocks/>
                  </p:cNvSpPr>
                  <p:nvPr/>
                </p:nvSpPr>
                <p:spPr bwMode="auto">
                  <a:xfrm>
                    <a:off x="1694180" y="1013143"/>
                    <a:ext cx="44450" cy="33020"/>
                  </a:xfrm>
                  <a:custGeom>
                    <a:avLst/>
                    <a:gdLst/>
                    <a:ahLst/>
                    <a:cxnLst>
                      <a:cxn ang="0">
                        <a:pos x="56" y="52"/>
                      </a:cxn>
                      <a:cxn ang="0">
                        <a:pos x="56" y="52"/>
                      </a:cxn>
                      <a:cxn ang="0">
                        <a:pos x="66" y="50"/>
                      </a:cxn>
                      <a:cxn ang="0">
                        <a:pos x="68" y="48"/>
                      </a:cxn>
                      <a:cxn ang="0">
                        <a:pos x="70" y="46"/>
                      </a:cxn>
                      <a:cxn ang="0">
                        <a:pos x="70" y="44"/>
                      </a:cxn>
                      <a:cxn ang="0">
                        <a:pos x="68" y="40"/>
                      </a:cxn>
                      <a:cxn ang="0">
                        <a:pos x="56" y="26"/>
                      </a:cxn>
                      <a:cxn ang="0">
                        <a:pos x="56" y="26"/>
                      </a:cxn>
                      <a:cxn ang="0">
                        <a:pos x="46" y="18"/>
                      </a:cxn>
                      <a:cxn ang="0">
                        <a:pos x="36" y="12"/>
                      </a:cxn>
                      <a:cxn ang="0">
                        <a:pos x="26" y="6"/>
                      </a:cxn>
                      <a:cxn ang="0">
                        <a:pos x="16" y="2"/>
                      </a:cxn>
                      <a:cxn ang="0">
                        <a:pos x="8" y="0"/>
                      </a:cxn>
                      <a:cxn ang="0">
                        <a:pos x="2" y="0"/>
                      </a:cxn>
                      <a:cxn ang="0">
                        <a:pos x="0" y="2"/>
                      </a:cxn>
                      <a:cxn ang="0">
                        <a:pos x="0" y="8"/>
                      </a:cxn>
                      <a:cxn ang="0">
                        <a:pos x="0" y="8"/>
                      </a:cxn>
                      <a:cxn ang="0">
                        <a:pos x="8" y="22"/>
                      </a:cxn>
                      <a:cxn ang="0">
                        <a:pos x="18" y="36"/>
                      </a:cxn>
                      <a:cxn ang="0">
                        <a:pos x="24" y="44"/>
                      </a:cxn>
                      <a:cxn ang="0">
                        <a:pos x="32" y="48"/>
                      </a:cxn>
                      <a:cxn ang="0">
                        <a:pos x="42" y="52"/>
                      </a:cxn>
                      <a:cxn ang="0">
                        <a:pos x="56" y="52"/>
                      </a:cxn>
                      <a:cxn ang="0">
                        <a:pos x="56" y="52"/>
                      </a:cxn>
                    </a:cxnLst>
                    <a:rect l="0" t="0" r="r" b="b"/>
                    <a:pathLst>
                      <a:path w="70" h="52">
                        <a:moveTo>
                          <a:pt x="56" y="52"/>
                        </a:moveTo>
                        <a:lnTo>
                          <a:pt x="56" y="52"/>
                        </a:lnTo>
                        <a:lnTo>
                          <a:pt x="66" y="50"/>
                        </a:lnTo>
                        <a:lnTo>
                          <a:pt x="68" y="48"/>
                        </a:lnTo>
                        <a:lnTo>
                          <a:pt x="70" y="46"/>
                        </a:lnTo>
                        <a:lnTo>
                          <a:pt x="70" y="44"/>
                        </a:lnTo>
                        <a:lnTo>
                          <a:pt x="68" y="40"/>
                        </a:lnTo>
                        <a:lnTo>
                          <a:pt x="56" y="26"/>
                        </a:lnTo>
                        <a:lnTo>
                          <a:pt x="56" y="26"/>
                        </a:lnTo>
                        <a:lnTo>
                          <a:pt x="46" y="18"/>
                        </a:lnTo>
                        <a:lnTo>
                          <a:pt x="36" y="12"/>
                        </a:lnTo>
                        <a:lnTo>
                          <a:pt x="26" y="6"/>
                        </a:lnTo>
                        <a:lnTo>
                          <a:pt x="16" y="2"/>
                        </a:lnTo>
                        <a:lnTo>
                          <a:pt x="8" y="0"/>
                        </a:lnTo>
                        <a:lnTo>
                          <a:pt x="2" y="0"/>
                        </a:lnTo>
                        <a:lnTo>
                          <a:pt x="0" y="2"/>
                        </a:lnTo>
                        <a:lnTo>
                          <a:pt x="0" y="8"/>
                        </a:lnTo>
                        <a:lnTo>
                          <a:pt x="0" y="8"/>
                        </a:lnTo>
                        <a:lnTo>
                          <a:pt x="8" y="22"/>
                        </a:lnTo>
                        <a:lnTo>
                          <a:pt x="18" y="36"/>
                        </a:lnTo>
                        <a:lnTo>
                          <a:pt x="24" y="44"/>
                        </a:lnTo>
                        <a:lnTo>
                          <a:pt x="32" y="48"/>
                        </a:lnTo>
                        <a:lnTo>
                          <a:pt x="42" y="52"/>
                        </a:lnTo>
                        <a:lnTo>
                          <a:pt x="56" y="52"/>
                        </a:lnTo>
                        <a:lnTo>
                          <a:pt x="56" y="5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7" name="Freeform 6027"/>
                  <p:cNvSpPr>
                    <a:spLocks/>
                  </p:cNvSpPr>
                  <p:nvPr/>
                </p:nvSpPr>
                <p:spPr bwMode="auto">
                  <a:xfrm>
                    <a:off x="1883410" y="957263"/>
                    <a:ext cx="95250" cy="54610"/>
                  </a:xfrm>
                  <a:custGeom>
                    <a:avLst/>
                    <a:gdLst/>
                    <a:ahLst/>
                    <a:cxnLst>
                      <a:cxn ang="0">
                        <a:pos x="14" y="38"/>
                      </a:cxn>
                      <a:cxn ang="0">
                        <a:pos x="22" y="44"/>
                      </a:cxn>
                      <a:cxn ang="0">
                        <a:pos x="44" y="54"/>
                      </a:cxn>
                      <a:cxn ang="0">
                        <a:pos x="50" y="56"/>
                      </a:cxn>
                      <a:cxn ang="0">
                        <a:pos x="52" y="58"/>
                      </a:cxn>
                      <a:cxn ang="0">
                        <a:pos x="42" y="64"/>
                      </a:cxn>
                      <a:cxn ang="0">
                        <a:pos x="32" y="68"/>
                      </a:cxn>
                      <a:cxn ang="0">
                        <a:pos x="40" y="68"/>
                      </a:cxn>
                      <a:cxn ang="0">
                        <a:pos x="50" y="70"/>
                      </a:cxn>
                      <a:cxn ang="0">
                        <a:pos x="56" y="76"/>
                      </a:cxn>
                      <a:cxn ang="0">
                        <a:pos x="60" y="84"/>
                      </a:cxn>
                      <a:cxn ang="0">
                        <a:pos x="66" y="86"/>
                      </a:cxn>
                      <a:cxn ang="0">
                        <a:pos x="74" y="82"/>
                      </a:cxn>
                      <a:cxn ang="0">
                        <a:pos x="98" y="76"/>
                      </a:cxn>
                      <a:cxn ang="0">
                        <a:pos x="132" y="70"/>
                      </a:cxn>
                      <a:cxn ang="0">
                        <a:pos x="142" y="64"/>
                      </a:cxn>
                      <a:cxn ang="0">
                        <a:pos x="140" y="60"/>
                      </a:cxn>
                      <a:cxn ang="0">
                        <a:pos x="140" y="52"/>
                      </a:cxn>
                      <a:cxn ang="0">
                        <a:pos x="150" y="42"/>
                      </a:cxn>
                      <a:cxn ang="0">
                        <a:pos x="148" y="36"/>
                      </a:cxn>
                      <a:cxn ang="0">
                        <a:pos x="140" y="32"/>
                      </a:cxn>
                      <a:cxn ang="0">
                        <a:pos x="122" y="24"/>
                      </a:cxn>
                      <a:cxn ang="0">
                        <a:pos x="100" y="22"/>
                      </a:cxn>
                      <a:cxn ang="0">
                        <a:pos x="82" y="14"/>
                      </a:cxn>
                      <a:cxn ang="0">
                        <a:pos x="68" y="8"/>
                      </a:cxn>
                      <a:cxn ang="0">
                        <a:pos x="42" y="0"/>
                      </a:cxn>
                      <a:cxn ang="0">
                        <a:pos x="18" y="0"/>
                      </a:cxn>
                      <a:cxn ang="0">
                        <a:pos x="8" y="8"/>
                      </a:cxn>
                      <a:cxn ang="0">
                        <a:pos x="8" y="14"/>
                      </a:cxn>
                      <a:cxn ang="0">
                        <a:pos x="10" y="20"/>
                      </a:cxn>
                      <a:cxn ang="0">
                        <a:pos x="6" y="28"/>
                      </a:cxn>
                      <a:cxn ang="0">
                        <a:pos x="0" y="30"/>
                      </a:cxn>
                      <a:cxn ang="0">
                        <a:pos x="14" y="38"/>
                      </a:cxn>
                    </a:cxnLst>
                    <a:rect l="0" t="0" r="r" b="b"/>
                    <a:pathLst>
                      <a:path w="150" h="86">
                        <a:moveTo>
                          <a:pt x="14" y="38"/>
                        </a:moveTo>
                        <a:lnTo>
                          <a:pt x="14" y="38"/>
                        </a:lnTo>
                        <a:lnTo>
                          <a:pt x="20" y="42"/>
                        </a:lnTo>
                        <a:lnTo>
                          <a:pt x="22" y="44"/>
                        </a:lnTo>
                        <a:lnTo>
                          <a:pt x="28" y="48"/>
                        </a:lnTo>
                        <a:lnTo>
                          <a:pt x="44" y="54"/>
                        </a:lnTo>
                        <a:lnTo>
                          <a:pt x="44" y="54"/>
                        </a:lnTo>
                        <a:lnTo>
                          <a:pt x="50" y="56"/>
                        </a:lnTo>
                        <a:lnTo>
                          <a:pt x="52" y="58"/>
                        </a:lnTo>
                        <a:lnTo>
                          <a:pt x="52" y="58"/>
                        </a:lnTo>
                        <a:lnTo>
                          <a:pt x="48" y="62"/>
                        </a:lnTo>
                        <a:lnTo>
                          <a:pt x="42" y="64"/>
                        </a:lnTo>
                        <a:lnTo>
                          <a:pt x="32" y="66"/>
                        </a:lnTo>
                        <a:lnTo>
                          <a:pt x="32" y="68"/>
                        </a:lnTo>
                        <a:lnTo>
                          <a:pt x="34" y="68"/>
                        </a:lnTo>
                        <a:lnTo>
                          <a:pt x="40" y="68"/>
                        </a:lnTo>
                        <a:lnTo>
                          <a:pt x="40" y="68"/>
                        </a:lnTo>
                        <a:lnTo>
                          <a:pt x="50" y="70"/>
                        </a:lnTo>
                        <a:lnTo>
                          <a:pt x="54" y="74"/>
                        </a:lnTo>
                        <a:lnTo>
                          <a:pt x="56" y="76"/>
                        </a:lnTo>
                        <a:lnTo>
                          <a:pt x="58" y="80"/>
                        </a:lnTo>
                        <a:lnTo>
                          <a:pt x="60" y="84"/>
                        </a:lnTo>
                        <a:lnTo>
                          <a:pt x="62" y="86"/>
                        </a:lnTo>
                        <a:lnTo>
                          <a:pt x="66" y="86"/>
                        </a:lnTo>
                        <a:lnTo>
                          <a:pt x="74" y="82"/>
                        </a:lnTo>
                        <a:lnTo>
                          <a:pt x="74" y="82"/>
                        </a:lnTo>
                        <a:lnTo>
                          <a:pt x="86" y="78"/>
                        </a:lnTo>
                        <a:lnTo>
                          <a:pt x="98" y="76"/>
                        </a:lnTo>
                        <a:lnTo>
                          <a:pt x="122" y="72"/>
                        </a:lnTo>
                        <a:lnTo>
                          <a:pt x="132" y="70"/>
                        </a:lnTo>
                        <a:lnTo>
                          <a:pt x="138" y="68"/>
                        </a:lnTo>
                        <a:lnTo>
                          <a:pt x="142" y="64"/>
                        </a:lnTo>
                        <a:lnTo>
                          <a:pt x="140" y="60"/>
                        </a:lnTo>
                        <a:lnTo>
                          <a:pt x="140" y="60"/>
                        </a:lnTo>
                        <a:lnTo>
                          <a:pt x="138" y="54"/>
                        </a:lnTo>
                        <a:lnTo>
                          <a:pt x="140" y="52"/>
                        </a:lnTo>
                        <a:lnTo>
                          <a:pt x="146" y="46"/>
                        </a:lnTo>
                        <a:lnTo>
                          <a:pt x="150" y="42"/>
                        </a:lnTo>
                        <a:lnTo>
                          <a:pt x="150" y="40"/>
                        </a:lnTo>
                        <a:lnTo>
                          <a:pt x="148" y="36"/>
                        </a:lnTo>
                        <a:lnTo>
                          <a:pt x="140" y="32"/>
                        </a:lnTo>
                        <a:lnTo>
                          <a:pt x="140" y="32"/>
                        </a:lnTo>
                        <a:lnTo>
                          <a:pt x="128" y="26"/>
                        </a:lnTo>
                        <a:lnTo>
                          <a:pt x="122" y="24"/>
                        </a:lnTo>
                        <a:lnTo>
                          <a:pt x="110" y="24"/>
                        </a:lnTo>
                        <a:lnTo>
                          <a:pt x="100" y="22"/>
                        </a:lnTo>
                        <a:lnTo>
                          <a:pt x="92" y="20"/>
                        </a:lnTo>
                        <a:lnTo>
                          <a:pt x="82" y="14"/>
                        </a:lnTo>
                        <a:lnTo>
                          <a:pt x="82" y="14"/>
                        </a:lnTo>
                        <a:lnTo>
                          <a:pt x="68" y="8"/>
                        </a:lnTo>
                        <a:lnTo>
                          <a:pt x="56" y="2"/>
                        </a:lnTo>
                        <a:lnTo>
                          <a:pt x="42" y="0"/>
                        </a:lnTo>
                        <a:lnTo>
                          <a:pt x="30" y="0"/>
                        </a:lnTo>
                        <a:lnTo>
                          <a:pt x="18" y="0"/>
                        </a:lnTo>
                        <a:lnTo>
                          <a:pt x="10" y="4"/>
                        </a:lnTo>
                        <a:lnTo>
                          <a:pt x="8" y="8"/>
                        </a:lnTo>
                        <a:lnTo>
                          <a:pt x="8" y="12"/>
                        </a:lnTo>
                        <a:lnTo>
                          <a:pt x="8" y="14"/>
                        </a:lnTo>
                        <a:lnTo>
                          <a:pt x="8" y="14"/>
                        </a:lnTo>
                        <a:lnTo>
                          <a:pt x="10" y="20"/>
                        </a:lnTo>
                        <a:lnTo>
                          <a:pt x="10" y="24"/>
                        </a:lnTo>
                        <a:lnTo>
                          <a:pt x="6" y="28"/>
                        </a:lnTo>
                        <a:lnTo>
                          <a:pt x="2" y="30"/>
                        </a:lnTo>
                        <a:lnTo>
                          <a:pt x="0" y="30"/>
                        </a:lnTo>
                        <a:lnTo>
                          <a:pt x="0" y="32"/>
                        </a:lnTo>
                        <a:lnTo>
                          <a:pt x="14" y="38"/>
                        </a:lnTo>
                        <a:lnTo>
                          <a:pt x="14" y="3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8" name="Freeform 6033"/>
                  <p:cNvSpPr>
                    <a:spLocks/>
                  </p:cNvSpPr>
                  <p:nvPr/>
                </p:nvSpPr>
                <p:spPr bwMode="auto">
                  <a:xfrm>
                    <a:off x="646430" y="1806893"/>
                    <a:ext cx="15240" cy="8890"/>
                  </a:xfrm>
                  <a:custGeom>
                    <a:avLst/>
                    <a:gdLst/>
                    <a:ahLst/>
                    <a:cxnLst>
                      <a:cxn ang="0">
                        <a:pos x="14" y="0"/>
                      </a:cxn>
                      <a:cxn ang="0">
                        <a:pos x="14" y="0"/>
                      </a:cxn>
                      <a:cxn ang="0">
                        <a:pos x="6" y="0"/>
                      </a:cxn>
                      <a:cxn ang="0">
                        <a:pos x="2" y="2"/>
                      </a:cxn>
                      <a:cxn ang="0">
                        <a:pos x="0" y="6"/>
                      </a:cxn>
                      <a:cxn ang="0">
                        <a:pos x="2" y="12"/>
                      </a:cxn>
                      <a:cxn ang="0">
                        <a:pos x="2" y="12"/>
                      </a:cxn>
                      <a:cxn ang="0">
                        <a:pos x="4" y="14"/>
                      </a:cxn>
                      <a:cxn ang="0">
                        <a:pos x="8" y="14"/>
                      </a:cxn>
                      <a:cxn ang="0">
                        <a:pos x="20" y="8"/>
                      </a:cxn>
                      <a:cxn ang="0">
                        <a:pos x="20" y="8"/>
                      </a:cxn>
                      <a:cxn ang="0">
                        <a:pos x="24" y="6"/>
                      </a:cxn>
                      <a:cxn ang="0">
                        <a:pos x="24" y="4"/>
                      </a:cxn>
                      <a:cxn ang="0">
                        <a:pos x="20" y="2"/>
                      </a:cxn>
                      <a:cxn ang="0">
                        <a:pos x="14" y="0"/>
                      </a:cxn>
                      <a:cxn ang="0">
                        <a:pos x="14" y="0"/>
                      </a:cxn>
                    </a:cxnLst>
                    <a:rect l="0" t="0" r="r" b="b"/>
                    <a:pathLst>
                      <a:path w="24" h="14">
                        <a:moveTo>
                          <a:pt x="14" y="0"/>
                        </a:moveTo>
                        <a:lnTo>
                          <a:pt x="14" y="0"/>
                        </a:lnTo>
                        <a:lnTo>
                          <a:pt x="6" y="0"/>
                        </a:lnTo>
                        <a:lnTo>
                          <a:pt x="2" y="2"/>
                        </a:lnTo>
                        <a:lnTo>
                          <a:pt x="0" y="6"/>
                        </a:lnTo>
                        <a:lnTo>
                          <a:pt x="2" y="12"/>
                        </a:lnTo>
                        <a:lnTo>
                          <a:pt x="2" y="12"/>
                        </a:lnTo>
                        <a:lnTo>
                          <a:pt x="4" y="14"/>
                        </a:lnTo>
                        <a:lnTo>
                          <a:pt x="8" y="14"/>
                        </a:lnTo>
                        <a:lnTo>
                          <a:pt x="20" y="8"/>
                        </a:lnTo>
                        <a:lnTo>
                          <a:pt x="20" y="8"/>
                        </a:lnTo>
                        <a:lnTo>
                          <a:pt x="24" y="6"/>
                        </a:lnTo>
                        <a:lnTo>
                          <a:pt x="24" y="4"/>
                        </a:lnTo>
                        <a:lnTo>
                          <a:pt x="20" y="2"/>
                        </a:lnTo>
                        <a:lnTo>
                          <a:pt x="14" y="0"/>
                        </a:lnTo>
                        <a:lnTo>
                          <a:pt x="1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9" name="Freeform 6037"/>
                  <p:cNvSpPr>
                    <a:spLocks/>
                  </p:cNvSpPr>
                  <p:nvPr/>
                </p:nvSpPr>
                <p:spPr bwMode="auto">
                  <a:xfrm>
                    <a:off x="615950" y="1811973"/>
                    <a:ext cx="24130" cy="22860"/>
                  </a:xfrm>
                  <a:custGeom>
                    <a:avLst/>
                    <a:gdLst/>
                    <a:ahLst/>
                    <a:cxnLst>
                      <a:cxn ang="0">
                        <a:pos x="28" y="2"/>
                      </a:cxn>
                      <a:cxn ang="0">
                        <a:pos x="28" y="2"/>
                      </a:cxn>
                      <a:cxn ang="0">
                        <a:pos x="18" y="16"/>
                      </a:cxn>
                      <a:cxn ang="0">
                        <a:pos x="0" y="34"/>
                      </a:cxn>
                      <a:cxn ang="0">
                        <a:pos x="0" y="34"/>
                      </a:cxn>
                      <a:cxn ang="0">
                        <a:pos x="0" y="36"/>
                      </a:cxn>
                      <a:cxn ang="0">
                        <a:pos x="4" y="36"/>
                      </a:cxn>
                      <a:cxn ang="0">
                        <a:pos x="16" y="32"/>
                      </a:cxn>
                      <a:cxn ang="0">
                        <a:pos x="16" y="32"/>
                      </a:cxn>
                      <a:cxn ang="0">
                        <a:pos x="20" y="30"/>
                      </a:cxn>
                      <a:cxn ang="0">
                        <a:pos x="22" y="26"/>
                      </a:cxn>
                      <a:cxn ang="0">
                        <a:pos x="26" y="20"/>
                      </a:cxn>
                      <a:cxn ang="0">
                        <a:pos x="32" y="12"/>
                      </a:cxn>
                      <a:cxn ang="0">
                        <a:pos x="32" y="12"/>
                      </a:cxn>
                      <a:cxn ang="0">
                        <a:pos x="36" y="4"/>
                      </a:cxn>
                      <a:cxn ang="0">
                        <a:pos x="38" y="2"/>
                      </a:cxn>
                      <a:cxn ang="0">
                        <a:pos x="36" y="0"/>
                      </a:cxn>
                      <a:cxn ang="0">
                        <a:pos x="32" y="0"/>
                      </a:cxn>
                      <a:cxn ang="0">
                        <a:pos x="28" y="2"/>
                      </a:cxn>
                      <a:cxn ang="0">
                        <a:pos x="28" y="2"/>
                      </a:cxn>
                    </a:cxnLst>
                    <a:rect l="0" t="0" r="r" b="b"/>
                    <a:pathLst>
                      <a:path w="38" h="36">
                        <a:moveTo>
                          <a:pt x="28" y="2"/>
                        </a:moveTo>
                        <a:lnTo>
                          <a:pt x="28" y="2"/>
                        </a:lnTo>
                        <a:lnTo>
                          <a:pt x="18" y="16"/>
                        </a:lnTo>
                        <a:lnTo>
                          <a:pt x="0" y="34"/>
                        </a:lnTo>
                        <a:lnTo>
                          <a:pt x="0" y="34"/>
                        </a:lnTo>
                        <a:lnTo>
                          <a:pt x="0" y="36"/>
                        </a:lnTo>
                        <a:lnTo>
                          <a:pt x="4" y="36"/>
                        </a:lnTo>
                        <a:lnTo>
                          <a:pt x="16" y="32"/>
                        </a:lnTo>
                        <a:lnTo>
                          <a:pt x="16" y="32"/>
                        </a:lnTo>
                        <a:lnTo>
                          <a:pt x="20" y="30"/>
                        </a:lnTo>
                        <a:lnTo>
                          <a:pt x="22" y="26"/>
                        </a:lnTo>
                        <a:lnTo>
                          <a:pt x="26" y="20"/>
                        </a:lnTo>
                        <a:lnTo>
                          <a:pt x="32" y="12"/>
                        </a:lnTo>
                        <a:lnTo>
                          <a:pt x="32" y="12"/>
                        </a:lnTo>
                        <a:lnTo>
                          <a:pt x="36" y="4"/>
                        </a:lnTo>
                        <a:lnTo>
                          <a:pt x="38" y="2"/>
                        </a:lnTo>
                        <a:lnTo>
                          <a:pt x="36" y="0"/>
                        </a:lnTo>
                        <a:lnTo>
                          <a:pt x="32" y="0"/>
                        </a:lnTo>
                        <a:lnTo>
                          <a:pt x="28" y="2"/>
                        </a:lnTo>
                        <a:lnTo>
                          <a:pt x="28"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0" name="Freeform 6054"/>
                  <p:cNvSpPr>
                    <a:spLocks/>
                  </p:cNvSpPr>
                  <p:nvPr/>
                </p:nvSpPr>
                <p:spPr bwMode="auto">
                  <a:xfrm>
                    <a:off x="1395730" y="1058863"/>
                    <a:ext cx="317500" cy="121920"/>
                  </a:xfrm>
                  <a:custGeom>
                    <a:avLst/>
                    <a:gdLst/>
                    <a:ahLst/>
                    <a:cxnLst>
                      <a:cxn ang="0">
                        <a:pos x="314" y="78"/>
                      </a:cxn>
                      <a:cxn ang="0">
                        <a:pos x="338" y="86"/>
                      </a:cxn>
                      <a:cxn ang="0">
                        <a:pos x="354" y="100"/>
                      </a:cxn>
                      <a:cxn ang="0">
                        <a:pos x="340" y="106"/>
                      </a:cxn>
                      <a:cxn ang="0">
                        <a:pos x="280" y="102"/>
                      </a:cxn>
                      <a:cxn ang="0">
                        <a:pos x="258" y="102"/>
                      </a:cxn>
                      <a:cxn ang="0">
                        <a:pos x="236" y="72"/>
                      </a:cxn>
                      <a:cxn ang="0">
                        <a:pos x="186" y="46"/>
                      </a:cxn>
                      <a:cxn ang="0">
                        <a:pos x="154" y="54"/>
                      </a:cxn>
                      <a:cxn ang="0">
                        <a:pos x="138" y="36"/>
                      </a:cxn>
                      <a:cxn ang="0">
                        <a:pos x="102" y="32"/>
                      </a:cxn>
                      <a:cxn ang="0">
                        <a:pos x="42" y="58"/>
                      </a:cxn>
                      <a:cxn ang="0">
                        <a:pos x="46" y="66"/>
                      </a:cxn>
                      <a:cxn ang="0">
                        <a:pos x="22" y="88"/>
                      </a:cxn>
                      <a:cxn ang="0">
                        <a:pos x="24" y="98"/>
                      </a:cxn>
                      <a:cxn ang="0">
                        <a:pos x="14" y="110"/>
                      </a:cxn>
                      <a:cxn ang="0">
                        <a:pos x="6" y="132"/>
                      </a:cxn>
                      <a:cxn ang="0">
                        <a:pos x="66" y="146"/>
                      </a:cxn>
                      <a:cxn ang="0">
                        <a:pos x="94" y="138"/>
                      </a:cxn>
                      <a:cxn ang="0">
                        <a:pos x="106" y="146"/>
                      </a:cxn>
                      <a:cxn ang="0">
                        <a:pos x="124" y="148"/>
                      </a:cxn>
                      <a:cxn ang="0">
                        <a:pos x="144" y="126"/>
                      </a:cxn>
                      <a:cxn ang="0">
                        <a:pos x="152" y="130"/>
                      </a:cxn>
                      <a:cxn ang="0">
                        <a:pos x="158" y="140"/>
                      </a:cxn>
                      <a:cxn ang="0">
                        <a:pos x="232" y="132"/>
                      </a:cxn>
                      <a:cxn ang="0">
                        <a:pos x="264" y="134"/>
                      </a:cxn>
                      <a:cxn ang="0">
                        <a:pos x="212" y="148"/>
                      </a:cxn>
                      <a:cxn ang="0">
                        <a:pos x="144" y="160"/>
                      </a:cxn>
                      <a:cxn ang="0">
                        <a:pos x="134" y="176"/>
                      </a:cxn>
                      <a:cxn ang="0">
                        <a:pos x="166" y="190"/>
                      </a:cxn>
                      <a:cxn ang="0">
                        <a:pos x="234" y="184"/>
                      </a:cxn>
                      <a:cxn ang="0">
                        <a:pos x="296" y="164"/>
                      </a:cxn>
                      <a:cxn ang="0">
                        <a:pos x="350" y="146"/>
                      </a:cxn>
                      <a:cxn ang="0">
                        <a:pos x="378" y="152"/>
                      </a:cxn>
                      <a:cxn ang="0">
                        <a:pos x="394" y="144"/>
                      </a:cxn>
                      <a:cxn ang="0">
                        <a:pos x="420" y="150"/>
                      </a:cxn>
                      <a:cxn ang="0">
                        <a:pos x="460" y="138"/>
                      </a:cxn>
                      <a:cxn ang="0">
                        <a:pos x="492" y="106"/>
                      </a:cxn>
                      <a:cxn ang="0">
                        <a:pos x="498" y="84"/>
                      </a:cxn>
                      <a:cxn ang="0">
                        <a:pos x="470" y="68"/>
                      </a:cxn>
                      <a:cxn ang="0">
                        <a:pos x="436" y="70"/>
                      </a:cxn>
                      <a:cxn ang="0">
                        <a:pos x="398" y="80"/>
                      </a:cxn>
                      <a:cxn ang="0">
                        <a:pos x="400" y="68"/>
                      </a:cxn>
                      <a:cxn ang="0">
                        <a:pos x="384" y="60"/>
                      </a:cxn>
                      <a:cxn ang="0">
                        <a:pos x="384" y="52"/>
                      </a:cxn>
                      <a:cxn ang="0">
                        <a:pos x="382" y="40"/>
                      </a:cxn>
                      <a:cxn ang="0">
                        <a:pos x="370" y="18"/>
                      </a:cxn>
                      <a:cxn ang="0">
                        <a:pos x="358" y="0"/>
                      </a:cxn>
                      <a:cxn ang="0">
                        <a:pos x="300" y="28"/>
                      </a:cxn>
                      <a:cxn ang="0">
                        <a:pos x="290" y="40"/>
                      </a:cxn>
                      <a:cxn ang="0">
                        <a:pos x="318" y="54"/>
                      </a:cxn>
                      <a:cxn ang="0">
                        <a:pos x="328" y="66"/>
                      </a:cxn>
                    </a:cxnLst>
                    <a:rect l="0" t="0" r="r" b="b"/>
                    <a:pathLst>
                      <a:path w="500" h="192">
                        <a:moveTo>
                          <a:pt x="322" y="70"/>
                        </a:moveTo>
                        <a:lnTo>
                          <a:pt x="322" y="70"/>
                        </a:lnTo>
                        <a:lnTo>
                          <a:pt x="316" y="76"/>
                        </a:lnTo>
                        <a:lnTo>
                          <a:pt x="314" y="78"/>
                        </a:lnTo>
                        <a:lnTo>
                          <a:pt x="316" y="80"/>
                        </a:lnTo>
                        <a:lnTo>
                          <a:pt x="320" y="82"/>
                        </a:lnTo>
                        <a:lnTo>
                          <a:pt x="330" y="84"/>
                        </a:lnTo>
                        <a:lnTo>
                          <a:pt x="338" y="86"/>
                        </a:lnTo>
                        <a:lnTo>
                          <a:pt x="348" y="90"/>
                        </a:lnTo>
                        <a:lnTo>
                          <a:pt x="354" y="94"/>
                        </a:lnTo>
                        <a:lnTo>
                          <a:pt x="356" y="96"/>
                        </a:lnTo>
                        <a:lnTo>
                          <a:pt x="354" y="100"/>
                        </a:lnTo>
                        <a:lnTo>
                          <a:pt x="354" y="100"/>
                        </a:lnTo>
                        <a:lnTo>
                          <a:pt x="352" y="104"/>
                        </a:lnTo>
                        <a:lnTo>
                          <a:pt x="346" y="108"/>
                        </a:lnTo>
                        <a:lnTo>
                          <a:pt x="340" y="106"/>
                        </a:lnTo>
                        <a:lnTo>
                          <a:pt x="332" y="106"/>
                        </a:lnTo>
                        <a:lnTo>
                          <a:pt x="310" y="102"/>
                        </a:lnTo>
                        <a:lnTo>
                          <a:pt x="296" y="100"/>
                        </a:lnTo>
                        <a:lnTo>
                          <a:pt x="280" y="102"/>
                        </a:lnTo>
                        <a:lnTo>
                          <a:pt x="280" y="102"/>
                        </a:lnTo>
                        <a:lnTo>
                          <a:pt x="268" y="104"/>
                        </a:lnTo>
                        <a:lnTo>
                          <a:pt x="260" y="104"/>
                        </a:lnTo>
                        <a:lnTo>
                          <a:pt x="258" y="102"/>
                        </a:lnTo>
                        <a:lnTo>
                          <a:pt x="256" y="98"/>
                        </a:lnTo>
                        <a:lnTo>
                          <a:pt x="252" y="90"/>
                        </a:lnTo>
                        <a:lnTo>
                          <a:pt x="246" y="82"/>
                        </a:lnTo>
                        <a:lnTo>
                          <a:pt x="236" y="72"/>
                        </a:lnTo>
                        <a:lnTo>
                          <a:pt x="220" y="60"/>
                        </a:lnTo>
                        <a:lnTo>
                          <a:pt x="220" y="60"/>
                        </a:lnTo>
                        <a:lnTo>
                          <a:pt x="200" y="50"/>
                        </a:lnTo>
                        <a:lnTo>
                          <a:pt x="186" y="46"/>
                        </a:lnTo>
                        <a:lnTo>
                          <a:pt x="174" y="46"/>
                        </a:lnTo>
                        <a:lnTo>
                          <a:pt x="166" y="50"/>
                        </a:lnTo>
                        <a:lnTo>
                          <a:pt x="160" y="52"/>
                        </a:lnTo>
                        <a:lnTo>
                          <a:pt x="154" y="54"/>
                        </a:lnTo>
                        <a:lnTo>
                          <a:pt x="150" y="52"/>
                        </a:lnTo>
                        <a:lnTo>
                          <a:pt x="144" y="44"/>
                        </a:lnTo>
                        <a:lnTo>
                          <a:pt x="144" y="44"/>
                        </a:lnTo>
                        <a:lnTo>
                          <a:pt x="138" y="36"/>
                        </a:lnTo>
                        <a:lnTo>
                          <a:pt x="130" y="30"/>
                        </a:lnTo>
                        <a:lnTo>
                          <a:pt x="122" y="30"/>
                        </a:lnTo>
                        <a:lnTo>
                          <a:pt x="112" y="30"/>
                        </a:lnTo>
                        <a:lnTo>
                          <a:pt x="102" y="32"/>
                        </a:lnTo>
                        <a:lnTo>
                          <a:pt x="88" y="38"/>
                        </a:lnTo>
                        <a:lnTo>
                          <a:pt x="60" y="50"/>
                        </a:lnTo>
                        <a:lnTo>
                          <a:pt x="60" y="50"/>
                        </a:lnTo>
                        <a:lnTo>
                          <a:pt x="42" y="58"/>
                        </a:lnTo>
                        <a:lnTo>
                          <a:pt x="40" y="60"/>
                        </a:lnTo>
                        <a:lnTo>
                          <a:pt x="42" y="60"/>
                        </a:lnTo>
                        <a:lnTo>
                          <a:pt x="44" y="64"/>
                        </a:lnTo>
                        <a:lnTo>
                          <a:pt x="46" y="66"/>
                        </a:lnTo>
                        <a:lnTo>
                          <a:pt x="42" y="72"/>
                        </a:lnTo>
                        <a:lnTo>
                          <a:pt x="32" y="80"/>
                        </a:lnTo>
                        <a:lnTo>
                          <a:pt x="32" y="80"/>
                        </a:lnTo>
                        <a:lnTo>
                          <a:pt x="22" y="88"/>
                        </a:lnTo>
                        <a:lnTo>
                          <a:pt x="20" y="94"/>
                        </a:lnTo>
                        <a:lnTo>
                          <a:pt x="20" y="96"/>
                        </a:lnTo>
                        <a:lnTo>
                          <a:pt x="22" y="98"/>
                        </a:lnTo>
                        <a:lnTo>
                          <a:pt x="24" y="98"/>
                        </a:lnTo>
                        <a:lnTo>
                          <a:pt x="26" y="100"/>
                        </a:lnTo>
                        <a:lnTo>
                          <a:pt x="22" y="104"/>
                        </a:lnTo>
                        <a:lnTo>
                          <a:pt x="14" y="110"/>
                        </a:lnTo>
                        <a:lnTo>
                          <a:pt x="14" y="110"/>
                        </a:lnTo>
                        <a:lnTo>
                          <a:pt x="4" y="118"/>
                        </a:lnTo>
                        <a:lnTo>
                          <a:pt x="0" y="124"/>
                        </a:lnTo>
                        <a:lnTo>
                          <a:pt x="2" y="128"/>
                        </a:lnTo>
                        <a:lnTo>
                          <a:pt x="6" y="132"/>
                        </a:lnTo>
                        <a:lnTo>
                          <a:pt x="26" y="138"/>
                        </a:lnTo>
                        <a:lnTo>
                          <a:pt x="54" y="144"/>
                        </a:lnTo>
                        <a:lnTo>
                          <a:pt x="54" y="144"/>
                        </a:lnTo>
                        <a:lnTo>
                          <a:pt x="66" y="146"/>
                        </a:lnTo>
                        <a:lnTo>
                          <a:pt x="76" y="146"/>
                        </a:lnTo>
                        <a:lnTo>
                          <a:pt x="84" y="144"/>
                        </a:lnTo>
                        <a:lnTo>
                          <a:pt x="88" y="142"/>
                        </a:lnTo>
                        <a:lnTo>
                          <a:pt x="94" y="138"/>
                        </a:lnTo>
                        <a:lnTo>
                          <a:pt x="96" y="136"/>
                        </a:lnTo>
                        <a:lnTo>
                          <a:pt x="98" y="140"/>
                        </a:lnTo>
                        <a:lnTo>
                          <a:pt x="98" y="140"/>
                        </a:lnTo>
                        <a:lnTo>
                          <a:pt x="106" y="146"/>
                        </a:lnTo>
                        <a:lnTo>
                          <a:pt x="110" y="148"/>
                        </a:lnTo>
                        <a:lnTo>
                          <a:pt x="114" y="150"/>
                        </a:lnTo>
                        <a:lnTo>
                          <a:pt x="118" y="150"/>
                        </a:lnTo>
                        <a:lnTo>
                          <a:pt x="124" y="148"/>
                        </a:lnTo>
                        <a:lnTo>
                          <a:pt x="128" y="144"/>
                        </a:lnTo>
                        <a:lnTo>
                          <a:pt x="134" y="138"/>
                        </a:lnTo>
                        <a:lnTo>
                          <a:pt x="134" y="138"/>
                        </a:lnTo>
                        <a:lnTo>
                          <a:pt x="144" y="126"/>
                        </a:lnTo>
                        <a:lnTo>
                          <a:pt x="150" y="122"/>
                        </a:lnTo>
                        <a:lnTo>
                          <a:pt x="152" y="122"/>
                        </a:lnTo>
                        <a:lnTo>
                          <a:pt x="154" y="124"/>
                        </a:lnTo>
                        <a:lnTo>
                          <a:pt x="152" y="130"/>
                        </a:lnTo>
                        <a:lnTo>
                          <a:pt x="152" y="130"/>
                        </a:lnTo>
                        <a:lnTo>
                          <a:pt x="150" y="134"/>
                        </a:lnTo>
                        <a:lnTo>
                          <a:pt x="154" y="138"/>
                        </a:lnTo>
                        <a:lnTo>
                          <a:pt x="158" y="140"/>
                        </a:lnTo>
                        <a:lnTo>
                          <a:pt x="166" y="142"/>
                        </a:lnTo>
                        <a:lnTo>
                          <a:pt x="192" y="140"/>
                        </a:lnTo>
                        <a:lnTo>
                          <a:pt x="232" y="132"/>
                        </a:lnTo>
                        <a:lnTo>
                          <a:pt x="232" y="132"/>
                        </a:lnTo>
                        <a:lnTo>
                          <a:pt x="252" y="130"/>
                        </a:lnTo>
                        <a:lnTo>
                          <a:pt x="262" y="130"/>
                        </a:lnTo>
                        <a:lnTo>
                          <a:pt x="266" y="130"/>
                        </a:lnTo>
                        <a:lnTo>
                          <a:pt x="264" y="134"/>
                        </a:lnTo>
                        <a:lnTo>
                          <a:pt x="256" y="138"/>
                        </a:lnTo>
                        <a:lnTo>
                          <a:pt x="244" y="142"/>
                        </a:lnTo>
                        <a:lnTo>
                          <a:pt x="228" y="144"/>
                        </a:lnTo>
                        <a:lnTo>
                          <a:pt x="212" y="148"/>
                        </a:lnTo>
                        <a:lnTo>
                          <a:pt x="212" y="148"/>
                        </a:lnTo>
                        <a:lnTo>
                          <a:pt x="176" y="152"/>
                        </a:lnTo>
                        <a:lnTo>
                          <a:pt x="158" y="156"/>
                        </a:lnTo>
                        <a:lnTo>
                          <a:pt x="144" y="160"/>
                        </a:lnTo>
                        <a:lnTo>
                          <a:pt x="136" y="166"/>
                        </a:lnTo>
                        <a:lnTo>
                          <a:pt x="134" y="168"/>
                        </a:lnTo>
                        <a:lnTo>
                          <a:pt x="134" y="172"/>
                        </a:lnTo>
                        <a:lnTo>
                          <a:pt x="134" y="176"/>
                        </a:lnTo>
                        <a:lnTo>
                          <a:pt x="138" y="178"/>
                        </a:lnTo>
                        <a:lnTo>
                          <a:pt x="152" y="186"/>
                        </a:lnTo>
                        <a:lnTo>
                          <a:pt x="152" y="186"/>
                        </a:lnTo>
                        <a:lnTo>
                          <a:pt x="166" y="190"/>
                        </a:lnTo>
                        <a:lnTo>
                          <a:pt x="178" y="192"/>
                        </a:lnTo>
                        <a:lnTo>
                          <a:pt x="192" y="192"/>
                        </a:lnTo>
                        <a:lnTo>
                          <a:pt x="206" y="190"/>
                        </a:lnTo>
                        <a:lnTo>
                          <a:pt x="234" y="184"/>
                        </a:lnTo>
                        <a:lnTo>
                          <a:pt x="266" y="174"/>
                        </a:lnTo>
                        <a:lnTo>
                          <a:pt x="266" y="174"/>
                        </a:lnTo>
                        <a:lnTo>
                          <a:pt x="282" y="170"/>
                        </a:lnTo>
                        <a:lnTo>
                          <a:pt x="296" y="164"/>
                        </a:lnTo>
                        <a:lnTo>
                          <a:pt x="318" y="154"/>
                        </a:lnTo>
                        <a:lnTo>
                          <a:pt x="328" y="150"/>
                        </a:lnTo>
                        <a:lnTo>
                          <a:pt x="338" y="146"/>
                        </a:lnTo>
                        <a:lnTo>
                          <a:pt x="350" y="146"/>
                        </a:lnTo>
                        <a:lnTo>
                          <a:pt x="360" y="148"/>
                        </a:lnTo>
                        <a:lnTo>
                          <a:pt x="360" y="148"/>
                        </a:lnTo>
                        <a:lnTo>
                          <a:pt x="370" y="150"/>
                        </a:lnTo>
                        <a:lnTo>
                          <a:pt x="378" y="152"/>
                        </a:lnTo>
                        <a:lnTo>
                          <a:pt x="382" y="150"/>
                        </a:lnTo>
                        <a:lnTo>
                          <a:pt x="386" y="148"/>
                        </a:lnTo>
                        <a:lnTo>
                          <a:pt x="388" y="146"/>
                        </a:lnTo>
                        <a:lnTo>
                          <a:pt x="394" y="144"/>
                        </a:lnTo>
                        <a:lnTo>
                          <a:pt x="400" y="144"/>
                        </a:lnTo>
                        <a:lnTo>
                          <a:pt x="410" y="146"/>
                        </a:lnTo>
                        <a:lnTo>
                          <a:pt x="410" y="146"/>
                        </a:lnTo>
                        <a:lnTo>
                          <a:pt x="420" y="150"/>
                        </a:lnTo>
                        <a:lnTo>
                          <a:pt x="430" y="150"/>
                        </a:lnTo>
                        <a:lnTo>
                          <a:pt x="440" y="148"/>
                        </a:lnTo>
                        <a:lnTo>
                          <a:pt x="450" y="144"/>
                        </a:lnTo>
                        <a:lnTo>
                          <a:pt x="460" y="138"/>
                        </a:lnTo>
                        <a:lnTo>
                          <a:pt x="470" y="130"/>
                        </a:lnTo>
                        <a:lnTo>
                          <a:pt x="482" y="120"/>
                        </a:lnTo>
                        <a:lnTo>
                          <a:pt x="492" y="106"/>
                        </a:lnTo>
                        <a:lnTo>
                          <a:pt x="492" y="106"/>
                        </a:lnTo>
                        <a:lnTo>
                          <a:pt x="496" y="100"/>
                        </a:lnTo>
                        <a:lnTo>
                          <a:pt x="500" y="94"/>
                        </a:lnTo>
                        <a:lnTo>
                          <a:pt x="500" y="88"/>
                        </a:lnTo>
                        <a:lnTo>
                          <a:pt x="498" y="84"/>
                        </a:lnTo>
                        <a:lnTo>
                          <a:pt x="496" y="80"/>
                        </a:lnTo>
                        <a:lnTo>
                          <a:pt x="492" y="76"/>
                        </a:lnTo>
                        <a:lnTo>
                          <a:pt x="482" y="70"/>
                        </a:lnTo>
                        <a:lnTo>
                          <a:pt x="470" y="68"/>
                        </a:lnTo>
                        <a:lnTo>
                          <a:pt x="456" y="66"/>
                        </a:lnTo>
                        <a:lnTo>
                          <a:pt x="444" y="68"/>
                        </a:lnTo>
                        <a:lnTo>
                          <a:pt x="436" y="70"/>
                        </a:lnTo>
                        <a:lnTo>
                          <a:pt x="436" y="70"/>
                        </a:lnTo>
                        <a:lnTo>
                          <a:pt x="420" y="76"/>
                        </a:lnTo>
                        <a:lnTo>
                          <a:pt x="406" y="80"/>
                        </a:lnTo>
                        <a:lnTo>
                          <a:pt x="402" y="82"/>
                        </a:lnTo>
                        <a:lnTo>
                          <a:pt x="398" y="80"/>
                        </a:lnTo>
                        <a:lnTo>
                          <a:pt x="398" y="78"/>
                        </a:lnTo>
                        <a:lnTo>
                          <a:pt x="400" y="72"/>
                        </a:lnTo>
                        <a:lnTo>
                          <a:pt x="400" y="72"/>
                        </a:lnTo>
                        <a:lnTo>
                          <a:pt x="400" y="68"/>
                        </a:lnTo>
                        <a:lnTo>
                          <a:pt x="398" y="64"/>
                        </a:lnTo>
                        <a:lnTo>
                          <a:pt x="394" y="62"/>
                        </a:lnTo>
                        <a:lnTo>
                          <a:pt x="390" y="62"/>
                        </a:lnTo>
                        <a:lnTo>
                          <a:pt x="384" y="60"/>
                        </a:lnTo>
                        <a:lnTo>
                          <a:pt x="380" y="60"/>
                        </a:lnTo>
                        <a:lnTo>
                          <a:pt x="380" y="56"/>
                        </a:lnTo>
                        <a:lnTo>
                          <a:pt x="384" y="52"/>
                        </a:lnTo>
                        <a:lnTo>
                          <a:pt x="384" y="52"/>
                        </a:lnTo>
                        <a:lnTo>
                          <a:pt x="388" y="46"/>
                        </a:lnTo>
                        <a:lnTo>
                          <a:pt x="388" y="44"/>
                        </a:lnTo>
                        <a:lnTo>
                          <a:pt x="386" y="42"/>
                        </a:lnTo>
                        <a:lnTo>
                          <a:pt x="382" y="40"/>
                        </a:lnTo>
                        <a:lnTo>
                          <a:pt x="378" y="38"/>
                        </a:lnTo>
                        <a:lnTo>
                          <a:pt x="374" y="34"/>
                        </a:lnTo>
                        <a:lnTo>
                          <a:pt x="372" y="28"/>
                        </a:lnTo>
                        <a:lnTo>
                          <a:pt x="370" y="18"/>
                        </a:lnTo>
                        <a:lnTo>
                          <a:pt x="370" y="18"/>
                        </a:lnTo>
                        <a:lnTo>
                          <a:pt x="368" y="8"/>
                        </a:lnTo>
                        <a:lnTo>
                          <a:pt x="364" y="2"/>
                        </a:lnTo>
                        <a:lnTo>
                          <a:pt x="358" y="0"/>
                        </a:lnTo>
                        <a:lnTo>
                          <a:pt x="350" y="2"/>
                        </a:lnTo>
                        <a:lnTo>
                          <a:pt x="340" y="6"/>
                        </a:lnTo>
                        <a:lnTo>
                          <a:pt x="328" y="12"/>
                        </a:lnTo>
                        <a:lnTo>
                          <a:pt x="300" y="28"/>
                        </a:lnTo>
                        <a:lnTo>
                          <a:pt x="300" y="28"/>
                        </a:lnTo>
                        <a:lnTo>
                          <a:pt x="294" y="32"/>
                        </a:lnTo>
                        <a:lnTo>
                          <a:pt x="292" y="36"/>
                        </a:lnTo>
                        <a:lnTo>
                          <a:pt x="290" y="40"/>
                        </a:lnTo>
                        <a:lnTo>
                          <a:pt x="292" y="42"/>
                        </a:lnTo>
                        <a:lnTo>
                          <a:pt x="298" y="46"/>
                        </a:lnTo>
                        <a:lnTo>
                          <a:pt x="308" y="50"/>
                        </a:lnTo>
                        <a:lnTo>
                          <a:pt x="318" y="54"/>
                        </a:lnTo>
                        <a:lnTo>
                          <a:pt x="326" y="58"/>
                        </a:lnTo>
                        <a:lnTo>
                          <a:pt x="328" y="60"/>
                        </a:lnTo>
                        <a:lnTo>
                          <a:pt x="328" y="64"/>
                        </a:lnTo>
                        <a:lnTo>
                          <a:pt x="328" y="66"/>
                        </a:lnTo>
                        <a:lnTo>
                          <a:pt x="322" y="70"/>
                        </a:lnTo>
                        <a:lnTo>
                          <a:pt x="322" y="7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1" name="Freeform 6074"/>
                  <p:cNvSpPr>
                    <a:spLocks/>
                  </p:cNvSpPr>
                  <p:nvPr/>
                </p:nvSpPr>
                <p:spPr bwMode="auto">
                  <a:xfrm>
                    <a:off x="2233930" y="3139123"/>
                    <a:ext cx="278130" cy="109220"/>
                  </a:xfrm>
                  <a:custGeom>
                    <a:avLst/>
                    <a:gdLst/>
                    <a:ahLst/>
                    <a:cxnLst>
                      <a:cxn ang="0">
                        <a:pos x="416" y="160"/>
                      </a:cxn>
                      <a:cxn ang="0">
                        <a:pos x="436" y="156"/>
                      </a:cxn>
                      <a:cxn ang="0">
                        <a:pos x="428" y="148"/>
                      </a:cxn>
                      <a:cxn ang="0">
                        <a:pos x="414" y="136"/>
                      </a:cxn>
                      <a:cxn ang="0">
                        <a:pos x="384" y="126"/>
                      </a:cxn>
                      <a:cxn ang="0">
                        <a:pos x="374" y="120"/>
                      </a:cxn>
                      <a:cxn ang="0">
                        <a:pos x="376" y="108"/>
                      </a:cxn>
                      <a:cxn ang="0">
                        <a:pos x="358" y="106"/>
                      </a:cxn>
                      <a:cxn ang="0">
                        <a:pos x="350" y="100"/>
                      </a:cxn>
                      <a:cxn ang="0">
                        <a:pos x="338" y="100"/>
                      </a:cxn>
                      <a:cxn ang="0">
                        <a:pos x="326" y="92"/>
                      </a:cxn>
                      <a:cxn ang="0">
                        <a:pos x="300" y="68"/>
                      </a:cxn>
                      <a:cxn ang="0">
                        <a:pos x="300" y="76"/>
                      </a:cxn>
                      <a:cxn ang="0">
                        <a:pos x="292" y="64"/>
                      </a:cxn>
                      <a:cxn ang="0">
                        <a:pos x="286" y="60"/>
                      </a:cxn>
                      <a:cxn ang="0">
                        <a:pos x="260" y="48"/>
                      </a:cxn>
                      <a:cxn ang="0">
                        <a:pos x="230" y="40"/>
                      </a:cxn>
                      <a:cxn ang="0">
                        <a:pos x="216" y="28"/>
                      </a:cxn>
                      <a:cxn ang="0">
                        <a:pos x="194" y="14"/>
                      </a:cxn>
                      <a:cxn ang="0">
                        <a:pos x="180" y="8"/>
                      </a:cxn>
                      <a:cxn ang="0">
                        <a:pos x="164" y="8"/>
                      </a:cxn>
                      <a:cxn ang="0">
                        <a:pos x="150" y="0"/>
                      </a:cxn>
                      <a:cxn ang="0">
                        <a:pos x="136" y="4"/>
                      </a:cxn>
                      <a:cxn ang="0">
                        <a:pos x="112" y="0"/>
                      </a:cxn>
                      <a:cxn ang="0">
                        <a:pos x="92" y="10"/>
                      </a:cxn>
                      <a:cxn ang="0">
                        <a:pos x="56" y="18"/>
                      </a:cxn>
                      <a:cxn ang="0">
                        <a:pos x="24" y="42"/>
                      </a:cxn>
                      <a:cxn ang="0">
                        <a:pos x="24" y="58"/>
                      </a:cxn>
                      <a:cxn ang="0">
                        <a:pos x="2" y="66"/>
                      </a:cxn>
                      <a:cxn ang="0">
                        <a:pos x="4" y="72"/>
                      </a:cxn>
                      <a:cxn ang="0">
                        <a:pos x="18" y="72"/>
                      </a:cxn>
                      <a:cxn ang="0">
                        <a:pos x="24" y="72"/>
                      </a:cxn>
                      <a:cxn ang="0">
                        <a:pos x="40" y="62"/>
                      </a:cxn>
                      <a:cxn ang="0">
                        <a:pos x="70" y="44"/>
                      </a:cxn>
                      <a:cxn ang="0">
                        <a:pos x="92" y="30"/>
                      </a:cxn>
                      <a:cxn ang="0">
                        <a:pos x="132" y="32"/>
                      </a:cxn>
                      <a:cxn ang="0">
                        <a:pos x="124" y="38"/>
                      </a:cxn>
                      <a:cxn ang="0">
                        <a:pos x="118" y="46"/>
                      </a:cxn>
                      <a:cxn ang="0">
                        <a:pos x="164" y="58"/>
                      </a:cxn>
                      <a:cxn ang="0">
                        <a:pos x="186" y="62"/>
                      </a:cxn>
                      <a:cxn ang="0">
                        <a:pos x="214" y="80"/>
                      </a:cxn>
                      <a:cxn ang="0">
                        <a:pos x="242" y="84"/>
                      </a:cxn>
                      <a:cxn ang="0">
                        <a:pos x="256" y="94"/>
                      </a:cxn>
                      <a:cxn ang="0">
                        <a:pos x="268" y="120"/>
                      </a:cxn>
                      <a:cxn ang="0">
                        <a:pos x="288" y="128"/>
                      </a:cxn>
                      <a:cxn ang="0">
                        <a:pos x="318" y="136"/>
                      </a:cxn>
                      <a:cxn ang="0">
                        <a:pos x="310" y="150"/>
                      </a:cxn>
                      <a:cxn ang="0">
                        <a:pos x="290" y="168"/>
                      </a:cxn>
                      <a:cxn ang="0">
                        <a:pos x="348" y="164"/>
                      </a:cxn>
                      <a:cxn ang="0">
                        <a:pos x="382" y="170"/>
                      </a:cxn>
                      <a:cxn ang="0">
                        <a:pos x="400" y="166"/>
                      </a:cxn>
                    </a:cxnLst>
                    <a:rect l="0" t="0" r="r" b="b"/>
                    <a:pathLst>
                      <a:path w="438" h="172">
                        <a:moveTo>
                          <a:pt x="400" y="166"/>
                        </a:moveTo>
                        <a:lnTo>
                          <a:pt x="400" y="166"/>
                        </a:lnTo>
                        <a:lnTo>
                          <a:pt x="410" y="162"/>
                        </a:lnTo>
                        <a:lnTo>
                          <a:pt x="416" y="160"/>
                        </a:lnTo>
                        <a:lnTo>
                          <a:pt x="426" y="160"/>
                        </a:lnTo>
                        <a:lnTo>
                          <a:pt x="432" y="162"/>
                        </a:lnTo>
                        <a:lnTo>
                          <a:pt x="436" y="156"/>
                        </a:lnTo>
                        <a:lnTo>
                          <a:pt x="436" y="156"/>
                        </a:lnTo>
                        <a:lnTo>
                          <a:pt x="438" y="152"/>
                        </a:lnTo>
                        <a:lnTo>
                          <a:pt x="438" y="150"/>
                        </a:lnTo>
                        <a:lnTo>
                          <a:pt x="434" y="150"/>
                        </a:lnTo>
                        <a:lnTo>
                          <a:pt x="428" y="148"/>
                        </a:lnTo>
                        <a:lnTo>
                          <a:pt x="424" y="146"/>
                        </a:lnTo>
                        <a:lnTo>
                          <a:pt x="420" y="144"/>
                        </a:lnTo>
                        <a:lnTo>
                          <a:pt x="420" y="144"/>
                        </a:lnTo>
                        <a:lnTo>
                          <a:pt x="414" y="136"/>
                        </a:lnTo>
                        <a:lnTo>
                          <a:pt x="410" y="132"/>
                        </a:lnTo>
                        <a:lnTo>
                          <a:pt x="400" y="128"/>
                        </a:lnTo>
                        <a:lnTo>
                          <a:pt x="384" y="126"/>
                        </a:lnTo>
                        <a:lnTo>
                          <a:pt x="384" y="126"/>
                        </a:lnTo>
                        <a:lnTo>
                          <a:pt x="372" y="124"/>
                        </a:lnTo>
                        <a:lnTo>
                          <a:pt x="370" y="124"/>
                        </a:lnTo>
                        <a:lnTo>
                          <a:pt x="372" y="122"/>
                        </a:lnTo>
                        <a:lnTo>
                          <a:pt x="374" y="120"/>
                        </a:lnTo>
                        <a:lnTo>
                          <a:pt x="376" y="116"/>
                        </a:lnTo>
                        <a:lnTo>
                          <a:pt x="376" y="112"/>
                        </a:lnTo>
                        <a:lnTo>
                          <a:pt x="376" y="112"/>
                        </a:lnTo>
                        <a:lnTo>
                          <a:pt x="376" y="108"/>
                        </a:lnTo>
                        <a:lnTo>
                          <a:pt x="374" y="108"/>
                        </a:lnTo>
                        <a:lnTo>
                          <a:pt x="368" y="106"/>
                        </a:lnTo>
                        <a:lnTo>
                          <a:pt x="362" y="106"/>
                        </a:lnTo>
                        <a:lnTo>
                          <a:pt x="358" y="106"/>
                        </a:lnTo>
                        <a:lnTo>
                          <a:pt x="356" y="104"/>
                        </a:lnTo>
                        <a:lnTo>
                          <a:pt x="356" y="104"/>
                        </a:lnTo>
                        <a:lnTo>
                          <a:pt x="352" y="102"/>
                        </a:lnTo>
                        <a:lnTo>
                          <a:pt x="350" y="100"/>
                        </a:lnTo>
                        <a:lnTo>
                          <a:pt x="344" y="102"/>
                        </a:lnTo>
                        <a:lnTo>
                          <a:pt x="340" y="102"/>
                        </a:lnTo>
                        <a:lnTo>
                          <a:pt x="338" y="102"/>
                        </a:lnTo>
                        <a:lnTo>
                          <a:pt x="338" y="100"/>
                        </a:lnTo>
                        <a:lnTo>
                          <a:pt x="338" y="100"/>
                        </a:lnTo>
                        <a:lnTo>
                          <a:pt x="334" y="96"/>
                        </a:lnTo>
                        <a:lnTo>
                          <a:pt x="332" y="94"/>
                        </a:lnTo>
                        <a:lnTo>
                          <a:pt x="326" y="92"/>
                        </a:lnTo>
                        <a:lnTo>
                          <a:pt x="320" y="86"/>
                        </a:lnTo>
                        <a:lnTo>
                          <a:pt x="320" y="86"/>
                        </a:lnTo>
                        <a:lnTo>
                          <a:pt x="304" y="70"/>
                        </a:lnTo>
                        <a:lnTo>
                          <a:pt x="300" y="68"/>
                        </a:lnTo>
                        <a:lnTo>
                          <a:pt x="300" y="70"/>
                        </a:lnTo>
                        <a:lnTo>
                          <a:pt x="300" y="72"/>
                        </a:lnTo>
                        <a:lnTo>
                          <a:pt x="300" y="72"/>
                        </a:lnTo>
                        <a:lnTo>
                          <a:pt x="300" y="76"/>
                        </a:lnTo>
                        <a:lnTo>
                          <a:pt x="300" y="76"/>
                        </a:lnTo>
                        <a:lnTo>
                          <a:pt x="296" y="76"/>
                        </a:lnTo>
                        <a:lnTo>
                          <a:pt x="294" y="70"/>
                        </a:lnTo>
                        <a:lnTo>
                          <a:pt x="292" y="64"/>
                        </a:lnTo>
                        <a:lnTo>
                          <a:pt x="292" y="64"/>
                        </a:lnTo>
                        <a:lnTo>
                          <a:pt x="292" y="62"/>
                        </a:lnTo>
                        <a:lnTo>
                          <a:pt x="292" y="60"/>
                        </a:lnTo>
                        <a:lnTo>
                          <a:pt x="286" y="60"/>
                        </a:lnTo>
                        <a:lnTo>
                          <a:pt x="276" y="56"/>
                        </a:lnTo>
                        <a:lnTo>
                          <a:pt x="268" y="54"/>
                        </a:lnTo>
                        <a:lnTo>
                          <a:pt x="260" y="48"/>
                        </a:lnTo>
                        <a:lnTo>
                          <a:pt x="260" y="48"/>
                        </a:lnTo>
                        <a:lnTo>
                          <a:pt x="252" y="42"/>
                        </a:lnTo>
                        <a:lnTo>
                          <a:pt x="244" y="40"/>
                        </a:lnTo>
                        <a:lnTo>
                          <a:pt x="234" y="40"/>
                        </a:lnTo>
                        <a:lnTo>
                          <a:pt x="230" y="40"/>
                        </a:lnTo>
                        <a:lnTo>
                          <a:pt x="226" y="38"/>
                        </a:lnTo>
                        <a:lnTo>
                          <a:pt x="220" y="34"/>
                        </a:lnTo>
                        <a:lnTo>
                          <a:pt x="216" y="28"/>
                        </a:lnTo>
                        <a:lnTo>
                          <a:pt x="216" y="28"/>
                        </a:lnTo>
                        <a:lnTo>
                          <a:pt x="210" y="20"/>
                        </a:lnTo>
                        <a:lnTo>
                          <a:pt x="204" y="16"/>
                        </a:lnTo>
                        <a:lnTo>
                          <a:pt x="200" y="14"/>
                        </a:lnTo>
                        <a:lnTo>
                          <a:pt x="194" y="14"/>
                        </a:lnTo>
                        <a:lnTo>
                          <a:pt x="186" y="14"/>
                        </a:lnTo>
                        <a:lnTo>
                          <a:pt x="182" y="12"/>
                        </a:lnTo>
                        <a:lnTo>
                          <a:pt x="180" y="8"/>
                        </a:lnTo>
                        <a:lnTo>
                          <a:pt x="180" y="8"/>
                        </a:lnTo>
                        <a:lnTo>
                          <a:pt x="176" y="6"/>
                        </a:lnTo>
                        <a:lnTo>
                          <a:pt x="174" y="4"/>
                        </a:lnTo>
                        <a:lnTo>
                          <a:pt x="168" y="6"/>
                        </a:lnTo>
                        <a:lnTo>
                          <a:pt x="164" y="8"/>
                        </a:lnTo>
                        <a:lnTo>
                          <a:pt x="160" y="6"/>
                        </a:lnTo>
                        <a:lnTo>
                          <a:pt x="156" y="4"/>
                        </a:lnTo>
                        <a:lnTo>
                          <a:pt x="156" y="4"/>
                        </a:lnTo>
                        <a:lnTo>
                          <a:pt x="150" y="0"/>
                        </a:lnTo>
                        <a:lnTo>
                          <a:pt x="148" y="2"/>
                        </a:lnTo>
                        <a:lnTo>
                          <a:pt x="146" y="2"/>
                        </a:lnTo>
                        <a:lnTo>
                          <a:pt x="142" y="4"/>
                        </a:lnTo>
                        <a:lnTo>
                          <a:pt x="136" y="4"/>
                        </a:lnTo>
                        <a:lnTo>
                          <a:pt x="126" y="2"/>
                        </a:lnTo>
                        <a:lnTo>
                          <a:pt x="126" y="2"/>
                        </a:lnTo>
                        <a:lnTo>
                          <a:pt x="118" y="0"/>
                        </a:lnTo>
                        <a:lnTo>
                          <a:pt x="112" y="0"/>
                        </a:lnTo>
                        <a:lnTo>
                          <a:pt x="108" y="2"/>
                        </a:lnTo>
                        <a:lnTo>
                          <a:pt x="104" y="4"/>
                        </a:lnTo>
                        <a:lnTo>
                          <a:pt x="98" y="8"/>
                        </a:lnTo>
                        <a:lnTo>
                          <a:pt x="92" y="10"/>
                        </a:lnTo>
                        <a:lnTo>
                          <a:pt x="86" y="10"/>
                        </a:lnTo>
                        <a:lnTo>
                          <a:pt x="86" y="10"/>
                        </a:lnTo>
                        <a:lnTo>
                          <a:pt x="68" y="14"/>
                        </a:lnTo>
                        <a:lnTo>
                          <a:pt x="56" y="18"/>
                        </a:lnTo>
                        <a:lnTo>
                          <a:pt x="44" y="22"/>
                        </a:lnTo>
                        <a:lnTo>
                          <a:pt x="36" y="28"/>
                        </a:lnTo>
                        <a:lnTo>
                          <a:pt x="28" y="34"/>
                        </a:lnTo>
                        <a:lnTo>
                          <a:pt x="24" y="42"/>
                        </a:lnTo>
                        <a:lnTo>
                          <a:pt x="22" y="48"/>
                        </a:lnTo>
                        <a:lnTo>
                          <a:pt x="24" y="54"/>
                        </a:lnTo>
                        <a:lnTo>
                          <a:pt x="24" y="54"/>
                        </a:lnTo>
                        <a:lnTo>
                          <a:pt x="24" y="58"/>
                        </a:lnTo>
                        <a:lnTo>
                          <a:pt x="22" y="60"/>
                        </a:lnTo>
                        <a:lnTo>
                          <a:pt x="14" y="62"/>
                        </a:lnTo>
                        <a:lnTo>
                          <a:pt x="4" y="64"/>
                        </a:lnTo>
                        <a:lnTo>
                          <a:pt x="2" y="66"/>
                        </a:lnTo>
                        <a:lnTo>
                          <a:pt x="0" y="68"/>
                        </a:lnTo>
                        <a:lnTo>
                          <a:pt x="0" y="68"/>
                        </a:lnTo>
                        <a:lnTo>
                          <a:pt x="2" y="70"/>
                        </a:lnTo>
                        <a:lnTo>
                          <a:pt x="4" y="72"/>
                        </a:lnTo>
                        <a:lnTo>
                          <a:pt x="8" y="72"/>
                        </a:lnTo>
                        <a:lnTo>
                          <a:pt x="14" y="72"/>
                        </a:lnTo>
                        <a:lnTo>
                          <a:pt x="16" y="72"/>
                        </a:lnTo>
                        <a:lnTo>
                          <a:pt x="18" y="72"/>
                        </a:lnTo>
                        <a:lnTo>
                          <a:pt x="18" y="72"/>
                        </a:lnTo>
                        <a:lnTo>
                          <a:pt x="18" y="74"/>
                        </a:lnTo>
                        <a:lnTo>
                          <a:pt x="20" y="74"/>
                        </a:lnTo>
                        <a:lnTo>
                          <a:pt x="24" y="72"/>
                        </a:lnTo>
                        <a:lnTo>
                          <a:pt x="30" y="68"/>
                        </a:lnTo>
                        <a:lnTo>
                          <a:pt x="38" y="68"/>
                        </a:lnTo>
                        <a:lnTo>
                          <a:pt x="38" y="68"/>
                        </a:lnTo>
                        <a:lnTo>
                          <a:pt x="40" y="62"/>
                        </a:lnTo>
                        <a:lnTo>
                          <a:pt x="42" y="58"/>
                        </a:lnTo>
                        <a:lnTo>
                          <a:pt x="52" y="54"/>
                        </a:lnTo>
                        <a:lnTo>
                          <a:pt x="62" y="48"/>
                        </a:lnTo>
                        <a:lnTo>
                          <a:pt x="70" y="44"/>
                        </a:lnTo>
                        <a:lnTo>
                          <a:pt x="76" y="40"/>
                        </a:lnTo>
                        <a:lnTo>
                          <a:pt x="76" y="40"/>
                        </a:lnTo>
                        <a:lnTo>
                          <a:pt x="84" y="34"/>
                        </a:lnTo>
                        <a:lnTo>
                          <a:pt x="92" y="30"/>
                        </a:lnTo>
                        <a:lnTo>
                          <a:pt x="100" y="28"/>
                        </a:lnTo>
                        <a:lnTo>
                          <a:pt x="108" y="28"/>
                        </a:lnTo>
                        <a:lnTo>
                          <a:pt x="124" y="28"/>
                        </a:lnTo>
                        <a:lnTo>
                          <a:pt x="132" y="32"/>
                        </a:lnTo>
                        <a:lnTo>
                          <a:pt x="132" y="32"/>
                        </a:lnTo>
                        <a:lnTo>
                          <a:pt x="134" y="34"/>
                        </a:lnTo>
                        <a:lnTo>
                          <a:pt x="132" y="36"/>
                        </a:lnTo>
                        <a:lnTo>
                          <a:pt x="124" y="38"/>
                        </a:lnTo>
                        <a:lnTo>
                          <a:pt x="116" y="42"/>
                        </a:lnTo>
                        <a:lnTo>
                          <a:pt x="116" y="44"/>
                        </a:lnTo>
                        <a:lnTo>
                          <a:pt x="118" y="46"/>
                        </a:lnTo>
                        <a:lnTo>
                          <a:pt x="118" y="46"/>
                        </a:lnTo>
                        <a:lnTo>
                          <a:pt x="126" y="52"/>
                        </a:lnTo>
                        <a:lnTo>
                          <a:pt x="134" y="56"/>
                        </a:lnTo>
                        <a:lnTo>
                          <a:pt x="146" y="58"/>
                        </a:lnTo>
                        <a:lnTo>
                          <a:pt x="164" y="58"/>
                        </a:lnTo>
                        <a:lnTo>
                          <a:pt x="164" y="58"/>
                        </a:lnTo>
                        <a:lnTo>
                          <a:pt x="174" y="58"/>
                        </a:lnTo>
                        <a:lnTo>
                          <a:pt x="180" y="60"/>
                        </a:lnTo>
                        <a:lnTo>
                          <a:pt x="186" y="62"/>
                        </a:lnTo>
                        <a:lnTo>
                          <a:pt x="190" y="66"/>
                        </a:lnTo>
                        <a:lnTo>
                          <a:pt x="200" y="74"/>
                        </a:lnTo>
                        <a:lnTo>
                          <a:pt x="206" y="78"/>
                        </a:lnTo>
                        <a:lnTo>
                          <a:pt x="214" y="80"/>
                        </a:lnTo>
                        <a:lnTo>
                          <a:pt x="214" y="80"/>
                        </a:lnTo>
                        <a:lnTo>
                          <a:pt x="222" y="84"/>
                        </a:lnTo>
                        <a:lnTo>
                          <a:pt x="230" y="84"/>
                        </a:lnTo>
                        <a:lnTo>
                          <a:pt x="242" y="84"/>
                        </a:lnTo>
                        <a:lnTo>
                          <a:pt x="246" y="84"/>
                        </a:lnTo>
                        <a:lnTo>
                          <a:pt x="250" y="86"/>
                        </a:lnTo>
                        <a:lnTo>
                          <a:pt x="252" y="88"/>
                        </a:lnTo>
                        <a:lnTo>
                          <a:pt x="256" y="94"/>
                        </a:lnTo>
                        <a:lnTo>
                          <a:pt x="256" y="94"/>
                        </a:lnTo>
                        <a:lnTo>
                          <a:pt x="260" y="106"/>
                        </a:lnTo>
                        <a:lnTo>
                          <a:pt x="266" y="116"/>
                        </a:lnTo>
                        <a:lnTo>
                          <a:pt x="268" y="120"/>
                        </a:lnTo>
                        <a:lnTo>
                          <a:pt x="274" y="124"/>
                        </a:lnTo>
                        <a:lnTo>
                          <a:pt x="280" y="126"/>
                        </a:lnTo>
                        <a:lnTo>
                          <a:pt x="288" y="128"/>
                        </a:lnTo>
                        <a:lnTo>
                          <a:pt x="288" y="128"/>
                        </a:lnTo>
                        <a:lnTo>
                          <a:pt x="304" y="128"/>
                        </a:lnTo>
                        <a:lnTo>
                          <a:pt x="310" y="130"/>
                        </a:lnTo>
                        <a:lnTo>
                          <a:pt x="316" y="134"/>
                        </a:lnTo>
                        <a:lnTo>
                          <a:pt x="318" y="136"/>
                        </a:lnTo>
                        <a:lnTo>
                          <a:pt x="318" y="140"/>
                        </a:lnTo>
                        <a:lnTo>
                          <a:pt x="316" y="144"/>
                        </a:lnTo>
                        <a:lnTo>
                          <a:pt x="310" y="150"/>
                        </a:lnTo>
                        <a:lnTo>
                          <a:pt x="310" y="150"/>
                        </a:lnTo>
                        <a:lnTo>
                          <a:pt x="298" y="158"/>
                        </a:lnTo>
                        <a:lnTo>
                          <a:pt x="292" y="162"/>
                        </a:lnTo>
                        <a:lnTo>
                          <a:pt x="290" y="166"/>
                        </a:lnTo>
                        <a:lnTo>
                          <a:pt x="290" y="168"/>
                        </a:lnTo>
                        <a:lnTo>
                          <a:pt x="296" y="170"/>
                        </a:lnTo>
                        <a:lnTo>
                          <a:pt x="328" y="166"/>
                        </a:lnTo>
                        <a:lnTo>
                          <a:pt x="328" y="166"/>
                        </a:lnTo>
                        <a:lnTo>
                          <a:pt x="348" y="164"/>
                        </a:lnTo>
                        <a:lnTo>
                          <a:pt x="360" y="166"/>
                        </a:lnTo>
                        <a:lnTo>
                          <a:pt x="370" y="166"/>
                        </a:lnTo>
                        <a:lnTo>
                          <a:pt x="376" y="168"/>
                        </a:lnTo>
                        <a:lnTo>
                          <a:pt x="382" y="170"/>
                        </a:lnTo>
                        <a:lnTo>
                          <a:pt x="386" y="172"/>
                        </a:lnTo>
                        <a:lnTo>
                          <a:pt x="392" y="170"/>
                        </a:lnTo>
                        <a:lnTo>
                          <a:pt x="400" y="166"/>
                        </a:lnTo>
                        <a:lnTo>
                          <a:pt x="400" y="16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2" name="Freeform 6084"/>
                  <p:cNvSpPr>
                    <a:spLocks/>
                  </p:cNvSpPr>
                  <p:nvPr/>
                </p:nvSpPr>
                <p:spPr bwMode="auto">
                  <a:xfrm>
                    <a:off x="2791460" y="3296603"/>
                    <a:ext cx="5080" cy="5080"/>
                  </a:xfrm>
                  <a:custGeom>
                    <a:avLst/>
                    <a:gdLst/>
                    <a:ahLst/>
                    <a:cxnLst>
                      <a:cxn ang="0">
                        <a:pos x="0" y="6"/>
                      </a:cxn>
                      <a:cxn ang="0">
                        <a:pos x="0" y="6"/>
                      </a:cxn>
                      <a:cxn ang="0">
                        <a:pos x="0" y="8"/>
                      </a:cxn>
                      <a:cxn ang="0">
                        <a:pos x="4" y="6"/>
                      </a:cxn>
                      <a:cxn ang="0">
                        <a:pos x="6" y="4"/>
                      </a:cxn>
                      <a:cxn ang="0">
                        <a:pos x="8" y="2"/>
                      </a:cxn>
                      <a:cxn ang="0">
                        <a:pos x="8" y="2"/>
                      </a:cxn>
                      <a:cxn ang="0">
                        <a:pos x="6" y="0"/>
                      </a:cxn>
                      <a:cxn ang="0">
                        <a:pos x="2" y="2"/>
                      </a:cxn>
                      <a:cxn ang="0">
                        <a:pos x="0" y="4"/>
                      </a:cxn>
                      <a:cxn ang="0">
                        <a:pos x="0" y="6"/>
                      </a:cxn>
                      <a:cxn ang="0">
                        <a:pos x="0" y="6"/>
                      </a:cxn>
                    </a:cxnLst>
                    <a:rect l="0" t="0" r="r" b="b"/>
                    <a:pathLst>
                      <a:path w="8" h="8">
                        <a:moveTo>
                          <a:pt x="0" y="6"/>
                        </a:moveTo>
                        <a:lnTo>
                          <a:pt x="0" y="6"/>
                        </a:lnTo>
                        <a:lnTo>
                          <a:pt x="0" y="8"/>
                        </a:lnTo>
                        <a:lnTo>
                          <a:pt x="4" y="6"/>
                        </a:lnTo>
                        <a:lnTo>
                          <a:pt x="6" y="4"/>
                        </a:lnTo>
                        <a:lnTo>
                          <a:pt x="8" y="2"/>
                        </a:lnTo>
                        <a:lnTo>
                          <a:pt x="8" y="2"/>
                        </a:lnTo>
                        <a:lnTo>
                          <a:pt x="6" y="0"/>
                        </a:lnTo>
                        <a:lnTo>
                          <a:pt x="2" y="2"/>
                        </a:lnTo>
                        <a:lnTo>
                          <a:pt x="0" y="4"/>
                        </a:lnTo>
                        <a:lnTo>
                          <a:pt x="0" y="6"/>
                        </a:lnTo>
                        <a:lnTo>
                          <a:pt x="0"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3" name="Freeform 6086"/>
                  <p:cNvSpPr>
                    <a:spLocks noEditPoints="1"/>
                  </p:cNvSpPr>
                  <p:nvPr/>
                </p:nvSpPr>
                <p:spPr bwMode="auto">
                  <a:xfrm>
                    <a:off x="106680" y="1296353"/>
                    <a:ext cx="2874010" cy="2354580"/>
                  </a:xfrm>
                  <a:custGeom>
                    <a:avLst/>
                    <a:gdLst/>
                    <a:ahLst/>
                    <a:cxnLst>
                      <a:cxn ang="0">
                        <a:pos x="3400" y="3516"/>
                      </a:cxn>
                      <a:cxn ang="0">
                        <a:pos x="3292" y="3276"/>
                      </a:cxn>
                      <a:cxn ang="0">
                        <a:pos x="3246" y="3102"/>
                      </a:cxn>
                      <a:cxn ang="0">
                        <a:pos x="3116" y="3080"/>
                      </a:cxn>
                      <a:cxn ang="0">
                        <a:pos x="2830" y="2916"/>
                      </a:cxn>
                      <a:cxn ang="0">
                        <a:pos x="3078" y="2572"/>
                      </a:cxn>
                      <a:cxn ang="0">
                        <a:pos x="3134" y="2554"/>
                      </a:cxn>
                      <a:cxn ang="0">
                        <a:pos x="3436" y="2646"/>
                      </a:cxn>
                      <a:cxn ang="0">
                        <a:pos x="3526" y="2642"/>
                      </a:cxn>
                      <a:cxn ang="0">
                        <a:pos x="3686" y="2282"/>
                      </a:cxn>
                      <a:cxn ang="0">
                        <a:pos x="3698" y="2162"/>
                      </a:cxn>
                      <a:cxn ang="0">
                        <a:pos x="3748" y="2092"/>
                      </a:cxn>
                      <a:cxn ang="0">
                        <a:pos x="3924" y="1928"/>
                      </a:cxn>
                      <a:cxn ang="0">
                        <a:pos x="4006" y="1782"/>
                      </a:cxn>
                      <a:cxn ang="0">
                        <a:pos x="4138" y="1824"/>
                      </a:cxn>
                      <a:cxn ang="0">
                        <a:pos x="4150" y="1496"/>
                      </a:cxn>
                      <a:cxn ang="0">
                        <a:pos x="4522" y="1296"/>
                      </a:cxn>
                      <a:cxn ang="0">
                        <a:pos x="4314" y="1090"/>
                      </a:cxn>
                      <a:cxn ang="0">
                        <a:pos x="4060" y="934"/>
                      </a:cxn>
                      <a:cxn ang="0">
                        <a:pos x="3720" y="680"/>
                      </a:cxn>
                      <a:cxn ang="0">
                        <a:pos x="3570" y="1166"/>
                      </a:cxn>
                      <a:cxn ang="0">
                        <a:pos x="3346" y="1132"/>
                      </a:cxn>
                      <a:cxn ang="0">
                        <a:pos x="3060" y="648"/>
                      </a:cxn>
                      <a:cxn ang="0">
                        <a:pos x="3304" y="420"/>
                      </a:cxn>
                      <a:cxn ang="0">
                        <a:pos x="3452" y="258"/>
                      </a:cxn>
                      <a:cxn ang="0">
                        <a:pos x="3282" y="322"/>
                      </a:cxn>
                      <a:cxn ang="0">
                        <a:pos x="3048" y="164"/>
                      </a:cxn>
                      <a:cxn ang="0">
                        <a:pos x="2954" y="232"/>
                      </a:cxn>
                      <a:cxn ang="0">
                        <a:pos x="2726" y="298"/>
                      </a:cxn>
                      <a:cxn ang="0">
                        <a:pos x="2330" y="286"/>
                      </a:cxn>
                      <a:cxn ang="0">
                        <a:pos x="1732" y="136"/>
                      </a:cxn>
                      <a:cxn ang="0">
                        <a:pos x="1406" y="178"/>
                      </a:cxn>
                      <a:cxn ang="0">
                        <a:pos x="636" y="94"/>
                      </a:cxn>
                      <a:cxn ang="0">
                        <a:pos x="54" y="266"/>
                      </a:cxn>
                      <a:cxn ang="0">
                        <a:pos x="28" y="440"/>
                      </a:cxn>
                      <a:cxn ang="0">
                        <a:pos x="270" y="598"/>
                      </a:cxn>
                      <a:cxn ang="0">
                        <a:pos x="246" y="900"/>
                      </a:cxn>
                      <a:cxn ang="0">
                        <a:pos x="218" y="1124"/>
                      </a:cxn>
                      <a:cxn ang="0">
                        <a:pos x="548" y="956"/>
                      </a:cxn>
                      <a:cxn ang="0">
                        <a:pos x="648" y="882"/>
                      </a:cxn>
                      <a:cxn ang="0">
                        <a:pos x="1136" y="842"/>
                      </a:cxn>
                      <a:cxn ang="0">
                        <a:pos x="1412" y="1020"/>
                      </a:cxn>
                      <a:cxn ang="0">
                        <a:pos x="1524" y="1162"/>
                      </a:cxn>
                      <a:cxn ang="0">
                        <a:pos x="1646" y="1306"/>
                      </a:cxn>
                      <a:cxn ang="0">
                        <a:pos x="1750" y="1434"/>
                      </a:cxn>
                      <a:cxn ang="0">
                        <a:pos x="1840" y="1570"/>
                      </a:cxn>
                      <a:cxn ang="0">
                        <a:pos x="1838" y="2170"/>
                      </a:cxn>
                      <a:cxn ang="0">
                        <a:pos x="2146" y="2682"/>
                      </a:cxn>
                      <a:cxn ang="0">
                        <a:pos x="2168" y="2564"/>
                      </a:cxn>
                      <a:cxn ang="0">
                        <a:pos x="2530" y="2998"/>
                      </a:cxn>
                      <a:cxn ang="0">
                        <a:pos x="3202" y="3400"/>
                      </a:cxn>
                      <a:cxn ang="0">
                        <a:pos x="3330" y="3570"/>
                      </a:cxn>
                      <a:cxn ang="0">
                        <a:pos x="3432" y="3656"/>
                      </a:cxn>
                      <a:cxn ang="0">
                        <a:pos x="3562" y="3616"/>
                      </a:cxn>
                      <a:cxn ang="0">
                        <a:pos x="3408" y="1922"/>
                      </a:cxn>
                      <a:cxn ang="0">
                        <a:pos x="3590" y="1870"/>
                      </a:cxn>
                      <a:cxn ang="0">
                        <a:pos x="3578" y="1812"/>
                      </a:cxn>
                      <a:cxn ang="0">
                        <a:pos x="3344" y="1588"/>
                      </a:cxn>
                      <a:cxn ang="0">
                        <a:pos x="3548" y="1750"/>
                      </a:cxn>
                      <a:cxn ang="0">
                        <a:pos x="3418" y="1798"/>
                      </a:cxn>
                      <a:cxn ang="0">
                        <a:pos x="3294" y="1766"/>
                      </a:cxn>
                      <a:cxn ang="0">
                        <a:pos x="3244" y="1726"/>
                      </a:cxn>
                      <a:cxn ang="0">
                        <a:pos x="3258" y="1654"/>
                      </a:cxn>
                    </a:cxnLst>
                    <a:rect l="0" t="0" r="r" b="b"/>
                    <a:pathLst>
                      <a:path w="4526" h="3708">
                        <a:moveTo>
                          <a:pt x="3654" y="3626"/>
                        </a:moveTo>
                        <a:lnTo>
                          <a:pt x="3654" y="3626"/>
                        </a:lnTo>
                        <a:lnTo>
                          <a:pt x="3654" y="3626"/>
                        </a:lnTo>
                        <a:lnTo>
                          <a:pt x="3654" y="3626"/>
                        </a:lnTo>
                        <a:lnTo>
                          <a:pt x="3642" y="3614"/>
                        </a:lnTo>
                        <a:lnTo>
                          <a:pt x="3628" y="3600"/>
                        </a:lnTo>
                        <a:lnTo>
                          <a:pt x="3622" y="3596"/>
                        </a:lnTo>
                        <a:lnTo>
                          <a:pt x="3614" y="3592"/>
                        </a:lnTo>
                        <a:lnTo>
                          <a:pt x="3606" y="3590"/>
                        </a:lnTo>
                        <a:lnTo>
                          <a:pt x="3598" y="3588"/>
                        </a:lnTo>
                        <a:lnTo>
                          <a:pt x="3598" y="3588"/>
                        </a:lnTo>
                        <a:lnTo>
                          <a:pt x="3588" y="3590"/>
                        </a:lnTo>
                        <a:lnTo>
                          <a:pt x="3588" y="3588"/>
                        </a:lnTo>
                        <a:lnTo>
                          <a:pt x="3588" y="3588"/>
                        </a:lnTo>
                        <a:lnTo>
                          <a:pt x="3588" y="3586"/>
                        </a:lnTo>
                        <a:lnTo>
                          <a:pt x="3586" y="3584"/>
                        </a:lnTo>
                        <a:lnTo>
                          <a:pt x="3574" y="3582"/>
                        </a:lnTo>
                        <a:lnTo>
                          <a:pt x="3574" y="3582"/>
                        </a:lnTo>
                        <a:lnTo>
                          <a:pt x="3562" y="3582"/>
                        </a:lnTo>
                        <a:lnTo>
                          <a:pt x="3560" y="3582"/>
                        </a:lnTo>
                        <a:lnTo>
                          <a:pt x="3560" y="3584"/>
                        </a:lnTo>
                        <a:lnTo>
                          <a:pt x="3556" y="3590"/>
                        </a:lnTo>
                        <a:lnTo>
                          <a:pt x="3552" y="3594"/>
                        </a:lnTo>
                        <a:lnTo>
                          <a:pt x="3546" y="3598"/>
                        </a:lnTo>
                        <a:lnTo>
                          <a:pt x="3546" y="3598"/>
                        </a:lnTo>
                        <a:lnTo>
                          <a:pt x="3524" y="3608"/>
                        </a:lnTo>
                        <a:lnTo>
                          <a:pt x="3518" y="3612"/>
                        </a:lnTo>
                        <a:lnTo>
                          <a:pt x="3514" y="3616"/>
                        </a:lnTo>
                        <a:lnTo>
                          <a:pt x="3496" y="3622"/>
                        </a:lnTo>
                        <a:lnTo>
                          <a:pt x="3496" y="3622"/>
                        </a:lnTo>
                        <a:lnTo>
                          <a:pt x="3492" y="3622"/>
                        </a:lnTo>
                        <a:lnTo>
                          <a:pt x="3488" y="3620"/>
                        </a:lnTo>
                        <a:lnTo>
                          <a:pt x="3480" y="3612"/>
                        </a:lnTo>
                        <a:lnTo>
                          <a:pt x="3480" y="3612"/>
                        </a:lnTo>
                        <a:lnTo>
                          <a:pt x="3476" y="3608"/>
                        </a:lnTo>
                        <a:lnTo>
                          <a:pt x="3474" y="3604"/>
                        </a:lnTo>
                        <a:lnTo>
                          <a:pt x="3474" y="3604"/>
                        </a:lnTo>
                        <a:lnTo>
                          <a:pt x="3472" y="3602"/>
                        </a:lnTo>
                        <a:lnTo>
                          <a:pt x="3470" y="3602"/>
                        </a:lnTo>
                        <a:lnTo>
                          <a:pt x="3468" y="3604"/>
                        </a:lnTo>
                        <a:lnTo>
                          <a:pt x="3470" y="3610"/>
                        </a:lnTo>
                        <a:lnTo>
                          <a:pt x="3470" y="3610"/>
                        </a:lnTo>
                        <a:lnTo>
                          <a:pt x="3470" y="3610"/>
                        </a:lnTo>
                        <a:lnTo>
                          <a:pt x="3468" y="3612"/>
                        </a:lnTo>
                        <a:lnTo>
                          <a:pt x="3464" y="3612"/>
                        </a:lnTo>
                        <a:lnTo>
                          <a:pt x="3460" y="3610"/>
                        </a:lnTo>
                        <a:lnTo>
                          <a:pt x="3456" y="3608"/>
                        </a:lnTo>
                        <a:lnTo>
                          <a:pt x="3456" y="3608"/>
                        </a:lnTo>
                        <a:lnTo>
                          <a:pt x="3458" y="3604"/>
                        </a:lnTo>
                        <a:lnTo>
                          <a:pt x="3460" y="3604"/>
                        </a:lnTo>
                        <a:lnTo>
                          <a:pt x="3460" y="3602"/>
                        </a:lnTo>
                        <a:lnTo>
                          <a:pt x="3460" y="3600"/>
                        </a:lnTo>
                        <a:lnTo>
                          <a:pt x="3460" y="3600"/>
                        </a:lnTo>
                        <a:lnTo>
                          <a:pt x="3458" y="3600"/>
                        </a:lnTo>
                        <a:lnTo>
                          <a:pt x="3454" y="3600"/>
                        </a:lnTo>
                        <a:lnTo>
                          <a:pt x="3452" y="3600"/>
                        </a:lnTo>
                        <a:lnTo>
                          <a:pt x="3452" y="3596"/>
                        </a:lnTo>
                        <a:lnTo>
                          <a:pt x="3452" y="3596"/>
                        </a:lnTo>
                        <a:lnTo>
                          <a:pt x="3452" y="3590"/>
                        </a:lnTo>
                        <a:lnTo>
                          <a:pt x="3450" y="3588"/>
                        </a:lnTo>
                        <a:lnTo>
                          <a:pt x="3444" y="3584"/>
                        </a:lnTo>
                        <a:lnTo>
                          <a:pt x="3444" y="3584"/>
                        </a:lnTo>
                        <a:lnTo>
                          <a:pt x="3440" y="3578"/>
                        </a:lnTo>
                        <a:lnTo>
                          <a:pt x="3432" y="3568"/>
                        </a:lnTo>
                        <a:lnTo>
                          <a:pt x="3422" y="3558"/>
                        </a:lnTo>
                        <a:lnTo>
                          <a:pt x="3412" y="3544"/>
                        </a:lnTo>
                        <a:lnTo>
                          <a:pt x="3412" y="3544"/>
                        </a:lnTo>
                        <a:lnTo>
                          <a:pt x="3406" y="3534"/>
                        </a:lnTo>
                        <a:lnTo>
                          <a:pt x="3404" y="3528"/>
                        </a:lnTo>
                        <a:lnTo>
                          <a:pt x="3404" y="3522"/>
                        </a:lnTo>
                        <a:lnTo>
                          <a:pt x="3400" y="3516"/>
                        </a:lnTo>
                        <a:lnTo>
                          <a:pt x="3400" y="3516"/>
                        </a:lnTo>
                        <a:lnTo>
                          <a:pt x="3396" y="3512"/>
                        </a:lnTo>
                        <a:lnTo>
                          <a:pt x="3392" y="3504"/>
                        </a:lnTo>
                        <a:lnTo>
                          <a:pt x="3392" y="3504"/>
                        </a:lnTo>
                        <a:lnTo>
                          <a:pt x="3392" y="3498"/>
                        </a:lnTo>
                        <a:lnTo>
                          <a:pt x="3392" y="3492"/>
                        </a:lnTo>
                        <a:lnTo>
                          <a:pt x="3396" y="3486"/>
                        </a:lnTo>
                        <a:lnTo>
                          <a:pt x="3398" y="3484"/>
                        </a:lnTo>
                        <a:lnTo>
                          <a:pt x="3398" y="3484"/>
                        </a:lnTo>
                        <a:lnTo>
                          <a:pt x="3400" y="3482"/>
                        </a:lnTo>
                        <a:lnTo>
                          <a:pt x="3400" y="3478"/>
                        </a:lnTo>
                        <a:lnTo>
                          <a:pt x="3398" y="3474"/>
                        </a:lnTo>
                        <a:lnTo>
                          <a:pt x="3396" y="3472"/>
                        </a:lnTo>
                        <a:lnTo>
                          <a:pt x="3396" y="3472"/>
                        </a:lnTo>
                        <a:lnTo>
                          <a:pt x="3396" y="3470"/>
                        </a:lnTo>
                        <a:lnTo>
                          <a:pt x="3394" y="3470"/>
                        </a:lnTo>
                        <a:lnTo>
                          <a:pt x="3396" y="3464"/>
                        </a:lnTo>
                        <a:lnTo>
                          <a:pt x="3400" y="3452"/>
                        </a:lnTo>
                        <a:lnTo>
                          <a:pt x="3400" y="3452"/>
                        </a:lnTo>
                        <a:lnTo>
                          <a:pt x="3400" y="3446"/>
                        </a:lnTo>
                        <a:lnTo>
                          <a:pt x="3402" y="3444"/>
                        </a:lnTo>
                        <a:lnTo>
                          <a:pt x="3404" y="3444"/>
                        </a:lnTo>
                        <a:lnTo>
                          <a:pt x="3404" y="3444"/>
                        </a:lnTo>
                        <a:lnTo>
                          <a:pt x="3408" y="3444"/>
                        </a:lnTo>
                        <a:lnTo>
                          <a:pt x="3406" y="3438"/>
                        </a:lnTo>
                        <a:lnTo>
                          <a:pt x="3406" y="3438"/>
                        </a:lnTo>
                        <a:lnTo>
                          <a:pt x="3406" y="3424"/>
                        </a:lnTo>
                        <a:lnTo>
                          <a:pt x="3404" y="3404"/>
                        </a:lnTo>
                        <a:lnTo>
                          <a:pt x="3404" y="3404"/>
                        </a:lnTo>
                        <a:lnTo>
                          <a:pt x="3402" y="3396"/>
                        </a:lnTo>
                        <a:lnTo>
                          <a:pt x="3404" y="3392"/>
                        </a:lnTo>
                        <a:lnTo>
                          <a:pt x="3406" y="3386"/>
                        </a:lnTo>
                        <a:lnTo>
                          <a:pt x="3408" y="3378"/>
                        </a:lnTo>
                        <a:lnTo>
                          <a:pt x="3408" y="3378"/>
                        </a:lnTo>
                        <a:lnTo>
                          <a:pt x="3410" y="3368"/>
                        </a:lnTo>
                        <a:lnTo>
                          <a:pt x="3414" y="3358"/>
                        </a:lnTo>
                        <a:lnTo>
                          <a:pt x="3418" y="3350"/>
                        </a:lnTo>
                        <a:lnTo>
                          <a:pt x="3418" y="3346"/>
                        </a:lnTo>
                        <a:lnTo>
                          <a:pt x="3418" y="3342"/>
                        </a:lnTo>
                        <a:lnTo>
                          <a:pt x="3418" y="3342"/>
                        </a:lnTo>
                        <a:lnTo>
                          <a:pt x="3416" y="3334"/>
                        </a:lnTo>
                        <a:lnTo>
                          <a:pt x="3416" y="3328"/>
                        </a:lnTo>
                        <a:lnTo>
                          <a:pt x="3418" y="3324"/>
                        </a:lnTo>
                        <a:lnTo>
                          <a:pt x="3420" y="3318"/>
                        </a:lnTo>
                        <a:lnTo>
                          <a:pt x="3420" y="3318"/>
                        </a:lnTo>
                        <a:lnTo>
                          <a:pt x="3420" y="3314"/>
                        </a:lnTo>
                        <a:lnTo>
                          <a:pt x="3418" y="3310"/>
                        </a:lnTo>
                        <a:lnTo>
                          <a:pt x="3412" y="3304"/>
                        </a:lnTo>
                        <a:lnTo>
                          <a:pt x="3406" y="3300"/>
                        </a:lnTo>
                        <a:lnTo>
                          <a:pt x="3406" y="3300"/>
                        </a:lnTo>
                        <a:lnTo>
                          <a:pt x="3388" y="3290"/>
                        </a:lnTo>
                        <a:lnTo>
                          <a:pt x="3380" y="3280"/>
                        </a:lnTo>
                        <a:lnTo>
                          <a:pt x="3380" y="3280"/>
                        </a:lnTo>
                        <a:lnTo>
                          <a:pt x="3372" y="3274"/>
                        </a:lnTo>
                        <a:lnTo>
                          <a:pt x="3360" y="3270"/>
                        </a:lnTo>
                        <a:lnTo>
                          <a:pt x="3350" y="3268"/>
                        </a:lnTo>
                        <a:lnTo>
                          <a:pt x="3344" y="3268"/>
                        </a:lnTo>
                        <a:lnTo>
                          <a:pt x="3344" y="3268"/>
                        </a:lnTo>
                        <a:lnTo>
                          <a:pt x="3340" y="3270"/>
                        </a:lnTo>
                        <a:lnTo>
                          <a:pt x="3334" y="3270"/>
                        </a:lnTo>
                        <a:lnTo>
                          <a:pt x="3326" y="3270"/>
                        </a:lnTo>
                        <a:lnTo>
                          <a:pt x="3320" y="3268"/>
                        </a:lnTo>
                        <a:lnTo>
                          <a:pt x="3320" y="3268"/>
                        </a:lnTo>
                        <a:lnTo>
                          <a:pt x="3308" y="3264"/>
                        </a:lnTo>
                        <a:lnTo>
                          <a:pt x="3306" y="3264"/>
                        </a:lnTo>
                        <a:lnTo>
                          <a:pt x="3308" y="3266"/>
                        </a:lnTo>
                        <a:lnTo>
                          <a:pt x="3308" y="3266"/>
                        </a:lnTo>
                        <a:lnTo>
                          <a:pt x="3308" y="3268"/>
                        </a:lnTo>
                        <a:lnTo>
                          <a:pt x="3308" y="3270"/>
                        </a:lnTo>
                        <a:lnTo>
                          <a:pt x="3304" y="3272"/>
                        </a:lnTo>
                        <a:lnTo>
                          <a:pt x="3292" y="3276"/>
                        </a:lnTo>
                        <a:lnTo>
                          <a:pt x="3292" y="3276"/>
                        </a:lnTo>
                        <a:lnTo>
                          <a:pt x="3278" y="3278"/>
                        </a:lnTo>
                        <a:lnTo>
                          <a:pt x="3266" y="3276"/>
                        </a:lnTo>
                        <a:lnTo>
                          <a:pt x="3258" y="3274"/>
                        </a:lnTo>
                        <a:lnTo>
                          <a:pt x="3248" y="3274"/>
                        </a:lnTo>
                        <a:lnTo>
                          <a:pt x="3248" y="3274"/>
                        </a:lnTo>
                        <a:lnTo>
                          <a:pt x="3244" y="3276"/>
                        </a:lnTo>
                        <a:lnTo>
                          <a:pt x="3242" y="3274"/>
                        </a:lnTo>
                        <a:lnTo>
                          <a:pt x="3240" y="3272"/>
                        </a:lnTo>
                        <a:lnTo>
                          <a:pt x="3238" y="3270"/>
                        </a:lnTo>
                        <a:lnTo>
                          <a:pt x="3238" y="3270"/>
                        </a:lnTo>
                        <a:lnTo>
                          <a:pt x="3236" y="3270"/>
                        </a:lnTo>
                        <a:lnTo>
                          <a:pt x="3232" y="3272"/>
                        </a:lnTo>
                        <a:lnTo>
                          <a:pt x="3226" y="3276"/>
                        </a:lnTo>
                        <a:lnTo>
                          <a:pt x="3222" y="3282"/>
                        </a:lnTo>
                        <a:lnTo>
                          <a:pt x="3218" y="3282"/>
                        </a:lnTo>
                        <a:lnTo>
                          <a:pt x="3216" y="3280"/>
                        </a:lnTo>
                        <a:lnTo>
                          <a:pt x="3216" y="3280"/>
                        </a:lnTo>
                        <a:lnTo>
                          <a:pt x="3206" y="3272"/>
                        </a:lnTo>
                        <a:lnTo>
                          <a:pt x="3202" y="3268"/>
                        </a:lnTo>
                        <a:lnTo>
                          <a:pt x="3200" y="3268"/>
                        </a:lnTo>
                        <a:lnTo>
                          <a:pt x="3202" y="3270"/>
                        </a:lnTo>
                        <a:lnTo>
                          <a:pt x="3202" y="3270"/>
                        </a:lnTo>
                        <a:lnTo>
                          <a:pt x="3204" y="3274"/>
                        </a:lnTo>
                        <a:lnTo>
                          <a:pt x="3202" y="3280"/>
                        </a:lnTo>
                        <a:lnTo>
                          <a:pt x="3202" y="3280"/>
                        </a:lnTo>
                        <a:lnTo>
                          <a:pt x="3200" y="3282"/>
                        </a:lnTo>
                        <a:lnTo>
                          <a:pt x="3198" y="3280"/>
                        </a:lnTo>
                        <a:lnTo>
                          <a:pt x="3194" y="3274"/>
                        </a:lnTo>
                        <a:lnTo>
                          <a:pt x="3188" y="3270"/>
                        </a:lnTo>
                        <a:lnTo>
                          <a:pt x="3188" y="3270"/>
                        </a:lnTo>
                        <a:lnTo>
                          <a:pt x="3188" y="3268"/>
                        </a:lnTo>
                        <a:lnTo>
                          <a:pt x="3190" y="3264"/>
                        </a:lnTo>
                        <a:lnTo>
                          <a:pt x="3196" y="3256"/>
                        </a:lnTo>
                        <a:lnTo>
                          <a:pt x="3202" y="3250"/>
                        </a:lnTo>
                        <a:lnTo>
                          <a:pt x="3208" y="3242"/>
                        </a:lnTo>
                        <a:lnTo>
                          <a:pt x="3208" y="3242"/>
                        </a:lnTo>
                        <a:lnTo>
                          <a:pt x="3212" y="3236"/>
                        </a:lnTo>
                        <a:lnTo>
                          <a:pt x="3214" y="3228"/>
                        </a:lnTo>
                        <a:lnTo>
                          <a:pt x="3216" y="3206"/>
                        </a:lnTo>
                        <a:lnTo>
                          <a:pt x="3218" y="3182"/>
                        </a:lnTo>
                        <a:lnTo>
                          <a:pt x="3222" y="3160"/>
                        </a:lnTo>
                        <a:lnTo>
                          <a:pt x="3222" y="3160"/>
                        </a:lnTo>
                        <a:lnTo>
                          <a:pt x="3222" y="3154"/>
                        </a:lnTo>
                        <a:lnTo>
                          <a:pt x="3220" y="3150"/>
                        </a:lnTo>
                        <a:lnTo>
                          <a:pt x="3218" y="3148"/>
                        </a:lnTo>
                        <a:lnTo>
                          <a:pt x="3216" y="3148"/>
                        </a:lnTo>
                        <a:lnTo>
                          <a:pt x="3216" y="3148"/>
                        </a:lnTo>
                        <a:lnTo>
                          <a:pt x="3214" y="3150"/>
                        </a:lnTo>
                        <a:lnTo>
                          <a:pt x="3212" y="3150"/>
                        </a:lnTo>
                        <a:lnTo>
                          <a:pt x="3212" y="3144"/>
                        </a:lnTo>
                        <a:lnTo>
                          <a:pt x="3212" y="3144"/>
                        </a:lnTo>
                        <a:lnTo>
                          <a:pt x="3220" y="3128"/>
                        </a:lnTo>
                        <a:lnTo>
                          <a:pt x="3220" y="3128"/>
                        </a:lnTo>
                        <a:lnTo>
                          <a:pt x="3222" y="3124"/>
                        </a:lnTo>
                        <a:lnTo>
                          <a:pt x="3224" y="3124"/>
                        </a:lnTo>
                        <a:lnTo>
                          <a:pt x="3224" y="3128"/>
                        </a:lnTo>
                        <a:lnTo>
                          <a:pt x="3222" y="3134"/>
                        </a:lnTo>
                        <a:lnTo>
                          <a:pt x="3222" y="3134"/>
                        </a:lnTo>
                        <a:lnTo>
                          <a:pt x="3222" y="3140"/>
                        </a:lnTo>
                        <a:lnTo>
                          <a:pt x="3224" y="3144"/>
                        </a:lnTo>
                        <a:lnTo>
                          <a:pt x="3226" y="3148"/>
                        </a:lnTo>
                        <a:lnTo>
                          <a:pt x="3230" y="3154"/>
                        </a:lnTo>
                        <a:lnTo>
                          <a:pt x="3230" y="3154"/>
                        </a:lnTo>
                        <a:lnTo>
                          <a:pt x="3232" y="3156"/>
                        </a:lnTo>
                        <a:lnTo>
                          <a:pt x="3232" y="3152"/>
                        </a:lnTo>
                        <a:lnTo>
                          <a:pt x="3236" y="3138"/>
                        </a:lnTo>
                        <a:lnTo>
                          <a:pt x="3242" y="3118"/>
                        </a:lnTo>
                        <a:lnTo>
                          <a:pt x="3244" y="3104"/>
                        </a:lnTo>
                        <a:lnTo>
                          <a:pt x="3244" y="3104"/>
                        </a:lnTo>
                        <a:lnTo>
                          <a:pt x="3246" y="3102"/>
                        </a:lnTo>
                        <a:lnTo>
                          <a:pt x="3244" y="3102"/>
                        </a:lnTo>
                        <a:lnTo>
                          <a:pt x="3240" y="3102"/>
                        </a:lnTo>
                        <a:lnTo>
                          <a:pt x="3238" y="3102"/>
                        </a:lnTo>
                        <a:lnTo>
                          <a:pt x="3242" y="3098"/>
                        </a:lnTo>
                        <a:lnTo>
                          <a:pt x="3242" y="3098"/>
                        </a:lnTo>
                        <a:lnTo>
                          <a:pt x="3250" y="3088"/>
                        </a:lnTo>
                        <a:lnTo>
                          <a:pt x="3248" y="3086"/>
                        </a:lnTo>
                        <a:lnTo>
                          <a:pt x="3244" y="3088"/>
                        </a:lnTo>
                        <a:lnTo>
                          <a:pt x="3244" y="3088"/>
                        </a:lnTo>
                        <a:lnTo>
                          <a:pt x="3238" y="3090"/>
                        </a:lnTo>
                        <a:lnTo>
                          <a:pt x="3236" y="3088"/>
                        </a:lnTo>
                        <a:lnTo>
                          <a:pt x="3236" y="3084"/>
                        </a:lnTo>
                        <a:lnTo>
                          <a:pt x="3242" y="3078"/>
                        </a:lnTo>
                        <a:lnTo>
                          <a:pt x="3242" y="3078"/>
                        </a:lnTo>
                        <a:lnTo>
                          <a:pt x="3246" y="3076"/>
                        </a:lnTo>
                        <a:lnTo>
                          <a:pt x="3248" y="3072"/>
                        </a:lnTo>
                        <a:lnTo>
                          <a:pt x="3248" y="3064"/>
                        </a:lnTo>
                        <a:lnTo>
                          <a:pt x="3252" y="3050"/>
                        </a:lnTo>
                        <a:lnTo>
                          <a:pt x="3256" y="3040"/>
                        </a:lnTo>
                        <a:lnTo>
                          <a:pt x="3264" y="3030"/>
                        </a:lnTo>
                        <a:lnTo>
                          <a:pt x="3264" y="3030"/>
                        </a:lnTo>
                        <a:lnTo>
                          <a:pt x="3274" y="3016"/>
                        </a:lnTo>
                        <a:lnTo>
                          <a:pt x="3276" y="3010"/>
                        </a:lnTo>
                        <a:lnTo>
                          <a:pt x="3274" y="3006"/>
                        </a:lnTo>
                        <a:lnTo>
                          <a:pt x="3272" y="3002"/>
                        </a:lnTo>
                        <a:lnTo>
                          <a:pt x="3272" y="3002"/>
                        </a:lnTo>
                        <a:lnTo>
                          <a:pt x="3272" y="2996"/>
                        </a:lnTo>
                        <a:lnTo>
                          <a:pt x="3272" y="2994"/>
                        </a:lnTo>
                        <a:lnTo>
                          <a:pt x="3268" y="2992"/>
                        </a:lnTo>
                        <a:lnTo>
                          <a:pt x="3266" y="2988"/>
                        </a:lnTo>
                        <a:lnTo>
                          <a:pt x="3266" y="2988"/>
                        </a:lnTo>
                        <a:lnTo>
                          <a:pt x="3264" y="2986"/>
                        </a:lnTo>
                        <a:lnTo>
                          <a:pt x="3260" y="2986"/>
                        </a:lnTo>
                        <a:lnTo>
                          <a:pt x="3256" y="2986"/>
                        </a:lnTo>
                        <a:lnTo>
                          <a:pt x="3252" y="2988"/>
                        </a:lnTo>
                        <a:lnTo>
                          <a:pt x="3252" y="2988"/>
                        </a:lnTo>
                        <a:lnTo>
                          <a:pt x="3254" y="2990"/>
                        </a:lnTo>
                        <a:lnTo>
                          <a:pt x="3254" y="2990"/>
                        </a:lnTo>
                        <a:lnTo>
                          <a:pt x="3260" y="2990"/>
                        </a:lnTo>
                        <a:lnTo>
                          <a:pt x="3260" y="2992"/>
                        </a:lnTo>
                        <a:lnTo>
                          <a:pt x="3256" y="2994"/>
                        </a:lnTo>
                        <a:lnTo>
                          <a:pt x="3256" y="2994"/>
                        </a:lnTo>
                        <a:lnTo>
                          <a:pt x="3254" y="2994"/>
                        </a:lnTo>
                        <a:lnTo>
                          <a:pt x="3250" y="2994"/>
                        </a:lnTo>
                        <a:lnTo>
                          <a:pt x="3242" y="2990"/>
                        </a:lnTo>
                        <a:lnTo>
                          <a:pt x="3230" y="2988"/>
                        </a:lnTo>
                        <a:lnTo>
                          <a:pt x="3222" y="2986"/>
                        </a:lnTo>
                        <a:lnTo>
                          <a:pt x="3214" y="2986"/>
                        </a:lnTo>
                        <a:lnTo>
                          <a:pt x="3214" y="2986"/>
                        </a:lnTo>
                        <a:lnTo>
                          <a:pt x="3202" y="2990"/>
                        </a:lnTo>
                        <a:lnTo>
                          <a:pt x="3196" y="2992"/>
                        </a:lnTo>
                        <a:lnTo>
                          <a:pt x="3190" y="2996"/>
                        </a:lnTo>
                        <a:lnTo>
                          <a:pt x="3180" y="2998"/>
                        </a:lnTo>
                        <a:lnTo>
                          <a:pt x="3180" y="2998"/>
                        </a:lnTo>
                        <a:lnTo>
                          <a:pt x="3162" y="3000"/>
                        </a:lnTo>
                        <a:lnTo>
                          <a:pt x="3146" y="3004"/>
                        </a:lnTo>
                        <a:lnTo>
                          <a:pt x="3140" y="3008"/>
                        </a:lnTo>
                        <a:lnTo>
                          <a:pt x="3134" y="3012"/>
                        </a:lnTo>
                        <a:lnTo>
                          <a:pt x="3130" y="3016"/>
                        </a:lnTo>
                        <a:lnTo>
                          <a:pt x="3130" y="3020"/>
                        </a:lnTo>
                        <a:lnTo>
                          <a:pt x="3130" y="3020"/>
                        </a:lnTo>
                        <a:lnTo>
                          <a:pt x="3128" y="3028"/>
                        </a:lnTo>
                        <a:lnTo>
                          <a:pt x="3126" y="3034"/>
                        </a:lnTo>
                        <a:lnTo>
                          <a:pt x="3124" y="3040"/>
                        </a:lnTo>
                        <a:lnTo>
                          <a:pt x="3124" y="3056"/>
                        </a:lnTo>
                        <a:lnTo>
                          <a:pt x="3124" y="3056"/>
                        </a:lnTo>
                        <a:lnTo>
                          <a:pt x="3126" y="3068"/>
                        </a:lnTo>
                        <a:lnTo>
                          <a:pt x="3124" y="3070"/>
                        </a:lnTo>
                        <a:lnTo>
                          <a:pt x="3122" y="3072"/>
                        </a:lnTo>
                        <a:lnTo>
                          <a:pt x="3118" y="3076"/>
                        </a:lnTo>
                        <a:lnTo>
                          <a:pt x="3116" y="3080"/>
                        </a:lnTo>
                        <a:lnTo>
                          <a:pt x="3116" y="3088"/>
                        </a:lnTo>
                        <a:lnTo>
                          <a:pt x="3116" y="3088"/>
                        </a:lnTo>
                        <a:lnTo>
                          <a:pt x="3114" y="3096"/>
                        </a:lnTo>
                        <a:lnTo>
                          <a:pt x="3112" y="3102"/>
                        </a:lnTo>
                        <a:lnTo>
                          <a:pt x="3108" y="3108"/>
                        </a:lnTo>
                        <a:lnTo>
                          <a:pt x="3104" y="3112"/>
                        </a:lnTo>
                        <a:lnTo>
                          <a:pt x="3094" y="3118"/>
                        </a:lnTo>
                        <a:lnTo>
                          <a:pt x="3086" y="3122"/>
                        </a:lnTo>
                        <a:lnTo>
                          <a:pt x="3086" y="3122"/>
                        </a:lnTo>
                        <a:lnTo>
                          <a:pt x="3084" y="3126"/>
                        </a:lnTo>
                        <a:lnTo>
                          <a:pt x="3084" y="3126"/>
                        </a:lnTo>
                        <a:lnTo>
                          <a:pt x="3088" y="3128"/>
                        </a:lnTo>
                        <a:lnTo>
                          <a:pt x="3092" y="3132"/>
                        </a:lnTo>
                        <a:lnTo>
                          <a:pt x="3092" y="3134"/>
                        </a:lnTo>
                        <a:lnTo>
                          <a:pt x="3090" y="3138"/>
                        </a:lnTo>
                        <a:lnTo>
                          <a:pt x="3090" y="3138"/>
                        </a:lnTo>
                        <a:lnTo>
                          <a:pt x="3086" y="3142"/>
                        </a:lnTo>
                        <a:lnTo>
                          <a:pt x="3078" y="3144"/>
                        </a:lnTo>
                        <a:lnTo>
                          <a:pt x="3072" y="3144"/>
                        </a:lnTo>
                        <a:lnTo>
                          <a:pt x="3070" y="3142"/>
                        </a:lnTo>
                        <a:lnTo>
                          <a:pt x="3070" y="3140"/>
                        </a:lnTo>
                        <a:lnTo>
                          <a:pt x="3070" y="3140"/>
                        </a:lnTo>
                        <a:lnTo>
                          <a:pt x="3068" y="3134"/>
                        </a:lnTo>
                        <a:lnTo>
                          <a:pt x="3066" y="3132"/>
                        </a:lnTo>
                        <a:lnTo>
                          <a:pt x="3058" y="3132"/>
                        </a:lnTo>
                        <a:lnTo>
                          <a:pt x="3046" y="3132"/>
                        </a:lnTo>
                        <a:lnTo>
                          <a:pt x="3046" y="3132"/>
                        </a:lnTo>
                        <a:lnTo>
                          <a:pt x="3038" y="3134"/>
                        </a:lnTo>
                        <a:lnTo>
                          <a:pt x="3034" y="3138"/>
                        </a:lnTo>
                        <a:lnTo>
                          <a:pt x="3028" y="3142"/>
                        </a:lnTo>
                        <a:lnTo>
                          <a:pt x="3010" y="3144"/>
                        </a:lnTo>
                        <a:lnTo>
                          <a:pt x="3010" y="3144"/>
                        </a:lnTo>
                        <a:lnTo>
                          <a:pt x="2996" y="3146"/>
                        </a:lnTo>
                        <a:lnTo>
                          <a:pt x="2986" y="3152"/>
                        </a:lnTo>
                        <a:lnTo>
                          <a:pt x="2978" y="3156"/>
                        </a:lnTo>
                        <a:lnTo>
                          <a:pt x="2968" y="3160"/>
                        </a:lnTo>
                        <a:lnTo>
                          <a:pt x="2968" y="3160"/>
                        </a:lnTo>
                        <a:lnTo>
                          <a:pt x="2964" y="3160"/>
                        </a:lnTo>
                        <a:lnTo>
                          <a:pt x="2960" y="3158"/>
                        </a:lnTo>
                        <a:lnTo>
                          <a:pt x="2956" y="3148"/>
                        </a:lnTo>
                        <a:lnTo>
                          <a:pt x="2952" y="3144"/>
                        </a:lnTo>
                        <a:lnTo>
                          <a:pt x="2946" y="3138"/>
                        </a:lnTo>
                        <a:lnTo>
                          <a:pt x="2938" y="3134"/>
                        </a:lnTo>
                        <a:lnTo>
                          <a:pt x="2924" y="3130"/>
                        </a:lnTo>
                        <a:lnTo>
                          <a:pt x="2924" y="3130"/>
                        </a:lnTo>
                        <a:lnTo>
                          <a:pt x="2912" y="3126"/>
                        </a:lnTo>
                        <a:lnTo>
                          <a:pt x="2904" y="3120"/>
                        </a:lnTo>
                        <a:lnTo>
                          <a:pt x="2898" y="3112"/>
                        </a:lnTo>
                        <a:lnTo>
                          <a:pt x="2894" y="3102"/>
                        </a:lnTo>
                        <a:lnTo>
                          <a:pt x="2884" y="3076"/>
                        </a:lnTo>
                        <a:lnTo>
                          <a:pt x="2876" y="3062"/>
                        </a:lnTo>
                        <a:lnTo>
                          <a:pt x="2864" y="3046"/>
                        </a:lnTo>
                        <a:lnTo>
                          <a:pt x="2864" y="3046"/>
                        </a:lnTo>
                        <a:lnTo>
                          <a:pt x="2858" y="3036"/>
                        </a:lnTo>
                        <a:lnTo>
                          <a:pt x="2852" y="3028"/>
                        </a:lnTo>
                        <a:lnTo>
                          <a:pt x="2848" y="3010"/>
                        </a:lnTo>
                        <a:lnTo>
                          <a:pt x="2844" y="2998"/>
                        </a:lnTo>
                        <a:lnTo>
                          <a:pt x="2844" y="2994"/>
                        </a:lnTo>
                        <a:lnTo>
                          <a:pt x="2842" y="2992"/>
                        </a:lnTo>
                        <a:lnTo>
                          <a:pt x="2842" y="2992"/>
                        </a:lnTo>
                        <a:lnTo>
                          <a:pt x="2838" y="2990"/>
                        </a:lnTo>
                        <a:lnTo>
                          <a:pt x="2836" y="2988"/>
                        </a:lnTo>
                        <a:lnTo>
                          <a:pt x="2834" y="2976"/>
                        </a:lnTo>
                        <a:lnTo>
                          <a:pt x="2830" y="2948"/>
                        </a:lnTo>
                        <a:lnTo>
                          <a:pt x="2830" y="2948"/>
                        </a:lnTo>
                        <a:lnTo>
                          <a:pt x="2830" y="2938"/>
                        </a:lnTo>
                        <a:lnTo>
                          <a:pt x="2828" y="2934"/>
                        </a:lnTo>
                        <a:lnTo>
                          <a:pt x="2828" y="2932"/>
                        </a:lnTo>
                        <a:lnTo>
                          <a:pt x="2830" y="2926"/>
                        </a:lnTo>
                        <a:lnTo>
                          <a:pt x="2830" y="2926"/>
                        </a:lnTo>
                        <a:lnTo>
                          <a:pt x="2830" y="2916"/>
                        </a:lnTo>
                        <a:lnTo>
                          <a:pt x="2830" y="2906"/>
                        </a:lnTo>
                        <a:lnTo>
                          <a:pt x="2830" y="2886"/>
                        </a:lnTo>
                        <a:lnTo>
                          <a:pt x="2834" y="2854"/>
                        </a:lnTo>
                        <a:lnTo>
                          <a:pt x="2834" y="2854"/>
                        </a:lnTo>
                        <a:lnTo>
                          <a:pt x="2840" y="2820"/>
                        </a:lnTo>
                        <a:lnTo>
                          <a:pt x="2846" y="2800"/>
                        </a:lnTo>
                        <a:lnTo>
                          <a:pt x="2852" y="2784"/>
                        </a:lnTo>
                        <a:lnTo>
                          <a:pt x="2856" y="2766"/>
                        </a:lnTo>
                        <a:lnTo>
                          <a:pt x="2856" y="2766"/>
                        </a:lnTo>
                        <a:lnTo>
                          <a:pt x="2854" y="2748"/>
                        </a:lnTo>
                        <a:lnTo>
                          <a:pt x="2850" y="2728"/>
                        </a:lnTo>
                        <a:lnTo>
                          <a:pt x="2846" y="2710"/>
                        </a:lnTo>
                        <a:lnTo>
                          <a:pt x="2846" y="2696"/>
                        </a:lnTo>
                        <a:lnTo>
                          <a:pt x="2846" y="2696"/>
                        </a:lnTo>
                        <a:lnTo>
                          <a:pt x="2850" y="2686"/>
                        </a:lnTo>
                        <a:lnTo>
                          <a:pt x="2854" y="2678"/>
                        </a:lnTo>
                        <a:lnTo>
                          <a:pt x="2858" y="2672"/>
                        </a:lnTo>
                        <a:lnTo>
                          <a:pt x="2864" y="2662"/>
                        </a:lnTo>
                        <a:lnTo>
                          <a:pt x="2864" y="2662"/>
                        </a:lnTo>
                        <a:lnTo>
                          <a:pt x="2866" y="2658"/>
                        </a:lnTo>
                        <a:lnTo>
                          <a:pt x="2870" y="2654"/>
                        </a:lnTo>
                        <a:lnTo>
                          <a:pt x="2880" y="2646"/>
                        </a:lnTo>
                        <a:lnTo>
                          <a:pt x="2886" y="2642"/>
                        </a:lnTo>
                        <a:lnTo>
                          <a:pt x="2888" y="2640"/>
                        </a:lnTo>
                        <a:lnTo>
                          <a:pt x="2886" y="2638"/>
                        </a:lnTo>
                        <a:lnTo>
                          <a:pt x="2886" y="2638"/>
                        </a:lnTo>
                        <a:lnTo>
                          <a:pt x="2880" y="2628"/>
                        </a:lnTo>
                        <a:lnTo>
                          <a:pt x="2878" y="2626"/>
                        </a:lnTo>
                        <a:lnTo>
                          <a:pt x="2882" y="2628"/>
                        </a:lnTo>
                        <a:lnTo>
                          <a:pt x="2882" y="2628"/>
                        </a:lnTo>
                        <a:lnTo>
                          <a:pt x="2886" y="2628"/>
                        </a:lnTo>
                        <a:lnTo>
                          <a:pt x="2890" y="2628"/>
                        </a:lnTo>
                        <a:lnTo>
                          <a:pt x="2892" y="2626"/>
                        </a:lnTo>
                        <a:lnTo>
                          <a:pt x="2894" y="2628"/>
                        </a:lnTo>
                        <a:lnTo>
                          <a:pt x="2894" y="2628"/>
                        </a:lnTo>
                        <a:lnTo>
                          <a:pt x="2896" y="2628"/>
                        </a:lnTo>
                        <a:lnTo>
                          <a:pt x="2902" y="2628"/>
                        </a:lnTo>
                        <a:lnTo>
                          <a:pt x="2912" y="2624"/>
                        </a:lnTo>
                        <a:lnTo>
                          <a:pt x="2926" y="2616"/>
                        </a:lnTo>
                        <a:lnTo>
                          <a:pt x="2936" y="2606"/>
                        </a:lnTo>
                        <a:lnTo>
                          <a:pt x="2936" y="2606"/>
                        </a:lnTo>
                        <a:lnTo>
                          <a:pt x="2942" y="2600"/>
                        </a:lnTo>
                        <a:lnTo>
                          <a:pt x="2948" y="2594"/>
                        </a:lnTo>
                        <a:lnTo>
                          <a:pt x="2964" y="2584"/>
                        </a:lnTo>
                        <a:lnTo>
                          <a:pt x="2964" y="2584"/>
                        </a:lnTo>
                        <a:lnTo>
                          <a:pt x="2980" y="2572"/>
                        </a:lnTo>
                        <a:lnTo>
                          <a:pt x="2990" y="2570"/>
                        </a:lnTo>
                        <a:lnTo>
                          <a:pt x="3006" y="2568"/>
                        </a:lnTo>
                        <a:lnTo>
                          <a:pt x="3006" y="2568"/>
                        </a:lnTo>
                        <a:lnTo>
                          <a:pt x="3014" y="2568"/>
                        </a:lnTo>
                        <a:lnTo>
                          <a:pt x="3020" y="2570"/>
                        </a:lnTo>
                        <a:lnTo>
                          <a:pt x="3032" y="2574"/>
                        </a:lnTo>
                        <a:lnTo>
                          <a:pt x="3040" y="2580"/>
                        </a:lnTo>
                        <a:lnTo>
                          <a:pt x="3046" y="2580"/>
                        </a:lnTo>
                        <a:lnTo>
                          <a:pt x="3050" y="2580"/>
                        </a:lnTo>
                        <a:lnTo>
                          <a:pt x="3050" y="2580"/>
                        </a:lnTo>
                        <a:lnTo>
                          <a:pt x="3060" y="2578"/>
                        </a:lnTo>
                        <a:lnTo>
                          <a:pt x="3064" y="2580"/>
                        </a:lnTo>
                        <a:lnTo>
                          <a:pt x="3068" y="2582"/>
                        </a:lnTo>
                        <a:lnTo>
                          <a:pt x="3072" y="2580"/>
                        </a:lnTo>
                        <a:lnTo>
                          <a:pt x="3072" y="2580"/>
                        </a:lnTo>
                        <a:lnTo>
                          <a:pt x="3074" y="2578"/>
                        </a:lnTo>
                        <a:lnTo>
                          <a:pt x="3072" y="2578"/>
                        </a:lnTo>
                        <a:lnTo>
                          <a:pt x="3066" y="2576"/>
                        </a:lnTo>
                        <a:lnTo>
                          <a:pt x="3058" y="2572"/>
                        </a:lnTo>
                        <a:lnTo>
                          <a:pt x="3058" y="2572"/>
                        </a:lnTo>
                        <a:lnTo>
                          <a:pt x="3060" y="2568"/>
                        </a:lnTo>
                        <a:lnTo>
                          <a:pt x="3060" y="2568"/>
                        </a:lnTo>
                        <a:lnTo>
                          <a:pt x="3068" y="2566"/>
                        </a:lnTo>
                        <a:lnTo>
                          <a:pt x="3074" y="2568"/>
                        </a:lnTo>
                        <a:lnTo>
                          <a:pt x="3078" y="2572"/>
                        </a:lnTo>
                        <a:lnTo>
                          <a:pt x="3082" y="2578"/>
                        </a:lnTo>
                        <a:lnTo>
                          <a:pt x="3082" y="2578"/>
                        </a:lnTo>
                        <a:lnTo>
                          <a:pt x="3084" y="2580"/>
                        </a:lnTo>
                        <a:lnTo>
                          <a:pt x="3086" y="2582"/>
                        </a:lnTo>
                        <a:lnTo>
                          <a:pt x="3092" y="2584"/>
                        </a:lnTo>
                        <a:lnTo>
                          <a:pt x="3096" y="2586"/>
                        </a:lnTo>
                        <a:lnTo>
                          <a:pt x="3094" y="2588"/>
                        </a:lnTo>
                        <a:lnTo>
                          <a:pt x="3092" y="2590"/>
                        </a:lnTo>
                        <a:lnTo>
                          <a:pt x="3092" y="2590"/>
                        </a:lnTo>
                        <a:lnTo>
                          <a:pt x="3092" y="2594"/>
                        </a:lnTo>
                        <a:lnTo>
                          <a:pt x="3094" y="2596"/>
                        </a:lnTo>
                        <a:lnTo>
                          <a:pt x="3102" y="2600"/>
                        </a:lnTo>
                        <a:lnTo>
                          <a:pt x="3112" y="2600"/>
                        </a:lnTo>
                        <a:lnTo>
                          <a:pt x="3118" y="2600"/>
                        </a:lnTo>
                        <a:lnTo>
                          <a:pt x="3118" y="2600"/>
                        </a:lnTo>
                        <a:lnTo>
                          <a:pt x="3120" y="2596"/>
                        </a:lnTo>
                        <a:lnTo>
                          <a:pt x="3126" y="2594"/>
                        </a:lnTo>
                        <a:lnTo>
                          <a:pt x="3130" y="2594"/>
                        </a:lnTo>
                        <a:lnTo>
                          <a:pt x="3134" y="2600"/>
                        </a:lnTo>
                        <a:lnTo>
                          <a:pt x="3134" y="2600"/>
                        </a:lnTo>
                        <a:lnTo>
                          <a:pt x="3136" y="2602"/>
                        </a:lnTo>
                        <a:lnTo>
                          <a:pt x="3138" y="2604"/>
                        </a:lnTo>
                        <a:lnTo>
                          <a:pt x="3142" y="2602"/>
                        </a:lnTo>
                        <a:lnTo>
                          <a:pt x="3144" y="2596"/>
                        </a:lnTo>
                        <a:lnTo>
                          <a:pt x="3144" y="2592"/>
                        </a:lnTo>
                        <a:lnTo>
                          <a:pt x="3142" y="2588"/>
                        </a:lnTo>
                        <a:lnTo>
                          <a:pt x="3142" y="2588"/>
                        </a:lnTo>
                        <a:lnTo>
                          <a:pt x="3142" y="2584"/>
                        </a:lnTo>
                        <a:lnTo>
                          <a:pt x="3146" y="2584"/>
                        </a:lnTo>
                        <a:lnTo>
                          <a:pt x="3152" y="2586"/>
                        </a:lnTo>
                        <a:lnTo>
                          <a:pt x="3160" y="2594"/>
                        </a:lnTo>
                        <a:lnTo>
                          <a:pt x="3160" y="2594"/>
                        </a:lnTo>
                        <a:lnTo>
                          <a:pt x="3166" y="2602"/>
                        </a:lnTo>
                        <a:lnTo>
                          <a:pt x="3168" y="2608"/>
                        </a:lnTo>
                        <a:lnTo>
                          <a:pt x="3168" y="2610"/>
                        </a:lnTo>
                        <a:lnTo>
                          <a:pt x="3170" y="2610"/>
                        </a:lnTo>
                        <a:lnTo>
                          <a:pt x="3176" y="2606"/>
                        </a:lnTo>
                        <a:lnTo>
                          <a:pt x="3176" y="2606"/>
                        </a:lnTo>
                        <a:lnTo>
                          <a:pt x="3180" y="2602"/>
                        </a:lnTo>
                        <a:lnTo>
                          <a:pt x="3182" y="2600"/>
                        </a:lnTo>
                        <a:lnTo>
                          <a:pt x="3182" y="2596"/>
                        </a:lnTo>
                        <a:lnTo>
                          <a:pt x="3180" y="2594"/>
                        </a:lnTo>
                        <a:lnTo>
                          <a:pt x="3174" y="2590"/>
                        </a:lnTo>
                        <a:lnTo>
                          <a:pt x="3162" y="2584"/>
                        </a:lnTo>
                        <a:lnTo>
                          <a:pt x="3162" y="2584"/>
                        </a:lnTo>
                        <a:lnTo>
                          <a:pt x="3158" y="2580"/>
                        </a:lnTo>
                        <a:lnTo>
                          <a:pt x="3158" y="2578"/>
                        </a:lnTo>
                        <a:lnTo>
                          <a:pt x="3160" y="2576"/>
                        </a:lnTo>
                        <a:lnTo>
                          <a:pt x="3164" y="2574"/>
                        </a:lnTo>
                        <a:lnTo>
                          <a:pt x="3170" y="2568"/>
                        </a:lnTo>
                        <a:lnTo>
                          <a:pt x="3172" y="2564"/>
                        </a:lnTo>
                        <a:lnTo>
                          <a:pt x="3172" y="2560"/>
                        </a:lnTo>
                        <a:lnTo>
                          <a:pt x="3172" y="2560"/>
                        </a:lnTo>
                        <a:lnTo>
                          <a:pt x="3170" y="2556"/>
                        </a:lnTo>
                        <a:lnTo>
                          <a:pt x="3168" y="2556"/>
                        </a:lnTo>
                        <a:lnTo>
                          <a:pt x="3164" y="2558"/>
                        </a:lnTo>
                        <a:lnTo>
                          <a:pt x="3160" y="2562"/>
                        </a:lnTo>
                        <a:lnTo>
                          <a:pt x="3158" y="2562"/>
                        </a:lnTo>
                        <a:lnTo>
                          <a:pt x="3156" y="2562"/>
                        </a:lnTo>
                        <a:lnTo>
                          <a:pt x="3156" y="2562"/>
                        </a:lnTo>
                        <a:lnTo>
                          <a:pt x="3154" y="2560"/>
                        </a:lnTo>
                        <a:lnTo>
                          <a:pt x="3154" y="2558"/>
                        </a:lnTo>
                        <a:lnTo>
                          <a:pt x="3156" y="2556"/>
                        </a:lnTo>
                        <a:lnTo>
                          <a:pt x="3158" y="2552"/>
                        </a:lnTo>
                        <a:lnTo>
                          <a:pt x="3154" y="2550"/>
                        </a:lnTo>
                        <a:lnTo>
                          <a:pt x="3154" y="2550"/>
                        </a:lnTo>
                        <a:lnTo>
                          <a:pt x="3148" y="2550"/>
                        </a:lnTo>
                        <a:lnTo>
                          <a:pt x="3144" y="2554"/>
                        </a:lnTo>
                        <a:lnTo>
                          <a:pt x="3142" y="2556"/>
                        </a:lnTo>
                        <a:lnTo>
                          <a:pt x="3134" y="2554"/>
                        </a:lnTo>
                        <a:lnTo>
                          <a:pt x="3134" y="2554"/>
                        </a:lnTo>
                        <a:lnTo>
                          <a:pt x="3130" y="2550"/>
                        </a:lnTo>
                        <a:lnTo>
                          <a:pt x="3128" y="2548"/>
                        </a:lnTo>
                        <a:lnTo>
                          <a:pt x="3128" y="2544"/>
                        </a:lnTo>
                        <a:lnTo>
                          <a:pt x="3130" y="2540"/>
                        </a:lnTo>
                        <a:lnTo>
                          <a:pt x="3132" y="2538"/>
                        </a:lnTo>
                        <a:lnTo>
                          <a:pt x="3136" y="2536"/>
                        </a:lnTo>
                        <a:lnTo>
                          <a:pt x="3142" y="2536"/>
                        </a:lnTo>
                        <a:lnTo>
                          <a:pt x="3148" y="2538"/>
                        </a:lnTo>
                        <a:lnTo>
                          <a:pt x="3148" y="2538"/>
                        </a:lnTo>
                        <a:lnTo>
                          <a:pt x="3156" y="2544"/>
                        </a:lnTo>
                        <a:lnTo>
                          <a:pt x="3164" y="2546"/>
                        </a:lnTo>
                        <a:lnTo>
                          <a:pt x="3170" y="2544"/>
                        </a:lnTo>
                        <a:lnTo>
                          <a:pt x="3178" y="2538"/>
                        </a:lnTo>
                        <a:lnTo>
                          <a:pt x="3178" y="2538"/>
                        </a:lnTo>
                        <a:lnTo>
                          <a:pt x="3182" y="2536"/>
                        </a:lnTo>
                        <a:lnTo>
                          <a:pt x="3190" y="2536"/>
                        </a:lnTo>
                        <a:lnTo>
                          <a:pt x="3202" y="2536"/>
                        </a:lnTo>
                        <a:lnTo>
                          <a:pt x="3214" y="2538"/>
                        </a:lnTo>
                        <a:lnTo>
                          <a:pt x="3218" y="2538"/>
                        </a:lnTo>
                        <a:lnTo>
                          <a:pt x="3220" y="2536"/>
                        </a:lnTo>
                        <a:lnTo>
                          <a:pt x="3220" y="2536"/>
                        </a:lnTo>
                        <a:lnTo>
                          <a:pt x="3222" y="2522"/>
                        </a:lnTo>
                        <a:lnTo>
                          <a:pt x="3224" y="2520"/>
                        </a:lnTo>
                        <a:lnTo>
                          <a:pt x="3226" y="2522"/>
                        </a:lnTo>
                        <a:lnTo>
                          <a:pt x="3232" y="2534"/>
                        </a:lnTo>
                        <a:lnTo>
                          <a:pt x="3232" y="2534"/>
                        </a:lnTo>
                        <a:lnTo>
                          <a:pt x="3232" y="2538"/>
                        </a:lnTo>
                        <a:lnTo>
                          <a:pt x="3230" y="2540"/>
                        </a:lnTo>
                        <a:lnTo>
                          <a:pt x="3226" y="2544"/>
                        </a:lnTo>
                        <a:lnTo>
                          <a:pt x="3224" y="2546"/>
                        </a:lnTo>
                        <a:lnTo>
                          <a:pt x="3234" y="2544"/>
                        </a:lnTo>
                        <a:lnTo>
                          <a:pt x="3234" y="2544"/>
                        </a:lnTo>
                        <a:lnTo>
                          <a:pt x="3268" y="2536"/>
                        </a:lnTo>
                        <a:lnTo>
                          <a:pt x="3282" y="2536"/>
                        </a:lnTo>
                        <a:lnTo>
                          <a:pt x="3296" y="2538"/>
                        </a:lnTo>
                        <a:lnTo>
                          <a:pt x="3296" y="2538"/>
                        </a:lnTo>
                        <a:lnTo>
                          <a:pt x="3312" y="2544"/>
                        </a:lnTo>
                        <a:lnTo>
                          <a:pt x="3318" y="2546"/>
                        </a:lnTo>
                        <a:lnTo>
                          <a:pt x="3320" y="2552"/>
                        </a:lnTo>
                        <a:lnTo>
                          <a:pt x="3320" y="2552"/>
                        </a:lnTo>
                        <a:lnTo>
                          <a:pt x="3324" y="2556"/>
                        </a:lnTo>
                        <a:lnTo>
                          <a:pt x="3326" y="2556"/>
                        </a:lnTo>
                        <a:lnTo>
                          <a:pt x="3330" y="2560"/>
                        </a:lnTo>
                        <a:lnTo>
                          <a:pt x="3330" y="2566"/>
                        </a:lnTo>
                        <a:lnTo>
                          <a:pt x="3330" y="2566"/>
                        </a:lnTo>
                        <a:lnTo>
                          <a:pt x="3332" y="2570"/>
                        </a:lnTo>
                        <a:lnTo>
                          <a:pt x="3336" y="2572"/>
                        </a:lnTo>
                        <a:lnTo>
                          <a:pt x="3340" y="2570"/>
                        </a:lnTo>
                        <a:lnTo>
                          <a:pt x="3346" y="2570"/>
                        </a:lnTo>
                        <a:lnTo>
                          <a:pt x="3360" y="2564"/>
                        </a:lnTo>
                        <a:lnTo>
                          <a:pt x="3368" y="2562"/>
                        </a:lnTo>
                        <a:lnTo>
                          <a:pt x="3368" y="2562"/>
                        </a:lnTo>
                        <a:lnTo>
                          <a:pt x="3370" y="2560"/>
                        </a:lnTo>
                        <a:lnTo>
                          <a:pt x="3372" y="2560"/>
                        </a:lnTo>
                        <a:lnTo>
                          <a:pt x="3372" y="2556"/>
                        </a:lnTo>
                        <a:lnTo>
                          <a:pt x="3376" y="2552"/>
                        </a:lnTo>
                        <a:lnTo>
                          <a:pt x="3382" y="2552"/>
                        </a:lnTo>
                        <a:lnTo>
                          <a:pt x="3382" y="2552"/>
                        </a:lnTo>
                        <a:lnTo>
                          <a:pt x="3388" y="2554"/>
                        </a:lnTo>
                        <a:lnTo>
                          <a:pt x="3394" y="2558"/>
                        </a:lnTo>
                        <a:lnTo>
                          <a:pt x="3406" y="2574"/>
                        </a:lnTo>
                        <a:lnTo>
                          <a:pt x="3418" y="2592"/>
                        </a:lnTo>
                        <a:lnTo>
                          <a:pt x="3424" y="2596"/>
                        </a:lnTo>
                        <a:lnTo>
                          <a:pt x="3428" y="2598"/>
                        </a:lnTo>
                        <a:lnTo>
                          <a:pt x="3428" y="2598"/>
                        </a:lnTo>
                        <a:lnTo>
                          <a:pt x="3432" y="2600"/>
                        </a:lnTo>
                        <a:lnTo>
                          <a:pt x="3434" y="2604"/>
                        </a:lnTo>
                        <a:lnTo>
                          <a:pt x="3438" y="2616"/>
                        </a:lnTo>
                        <a:lnTo>
                          <a:pt x="3440" y="2630"/>
                        </a:lnTo>
                        <a:lnTo>
                          <a:pt x="3436" y="2646"/>
                        </a:lnTo>
                        <a:lnTo>
                          <a:pt x="3436" y="2646"/>
                        </a:lnTo>
                        <a:lnTo>
                          <a:pt x="3434" y="2658"/>
                        </a:lnTo>
                        <a:lnTo>
                          <a:pt x="3434" y="2670"/>
                        </a:lnTo>
                        <a:lnTo>
                          <a:pt x="3436" y="2676"/>
                        </a:lnTo>
                        <a:lnTo>
                          <a:pt x="3438" y="2678"/>
                        </a:lnTo>
                        <a:lnTo>
                          <a:pt x="3440" y="2676"/>
                        </a:lnTo>
                        <a:lnTo>
                          <a:pt x="3440" y="2676"/>
                        </a:lnTo>
                        <a:lnTo>
                          <a:pt x="3446" y="2672"/>
                        </a:lnTo>
                        <a:lnTo>
                          <a:pt x="3450" y="2670"/>
                        </a:lnTo>
                        <a:lnTo>
                          <a:pt x="3450" y="2670"/>
                        </a:lnTo>
                        <a:lnTo>
                          <a:pt x="3452" y="2672"/>
                        </a:lnTo>
                        <a:lnTo>
                          <a:pt x="3448" y="2678"/>
                        </a:lnTo>
                        <a:lnTo>
                          <a:pt x="3448" y="2678"/>
                        </a:lnTo>
                        <a:lnTo>
                          <a:pt x="3444" y="2682"/>
                        </a:lnTo>
                        <a:lnTo>
                          <a:pt x="3444" y="2688"/>
                        </a:lnTo>
                        <a:lnTo>
                          <a:pt x="3446" y="2698"/>
                        </a:lnTo>
                        <a:lnTo>
                          <a:pt x="3450" y="2710"/>
                        </a:lnTo>
                        <a:lnTo>
                          <a:pt x="3456" y="2718"/>
                        </a:lnTo>
                        <a:lnTo>
                          <a:pt x="3456" y="2718"/>
                        </a:lnTo>
                        <a:lnTo>
                          <a:pt x="3458" y="2720"/>
                        </a:lnTo>
                        <a:lnTo>
                          <a:pt x="3460" y="2720"/>
                        </a:lnTo>
                        <a:lnTo>
                          <a:pt x="3462" y="2720"/>
                        </a:lnTo>
                        <a:lnTo>
                          <a:pt x="3462" y="2718"/>
                        </a:lnTo>
                        <a:lnTo>
                          <a:pt x="3462" y="2720"/>
                        </a:lnTo>
                        <a:lnTo>
                          <a:pt x="3464" y="2726"/>
                        </a:lnTo>
                        <a:lnTo>
                          <a:pt x="3464" y="2726"/>
                        </a:lnTo>
                        <a:lnTo>
                          <a:pt x="3466" y="2734"/>
                        </a:lnTo>
                        <a:lnTo>
                          <a:pt x="3470" y="2738"/>
                        </a:lnTo>
                        <a:lnTo>
                          <a:pt x="3474" y="2742"/>
                        </a:lnTo>
                        <a:lnTo>
                          <a:pt x="3476" y="2754"/>
                        </a:lnTo>
                        <a:lnTo>
                          <a:pt x="3476" y="2754"/>
                        </a:lnTo>
                        <a:lnTo>
                          <a:pt x="3478" y="2760"/>
                        </a:lnTo>
                        <a:lnTo>
                          <a:pt x="3480" y="2764"/>
                        </a:lnTo>
                        <a:lnTo>
                          <a:pt x="3484" y="2768"/>
                        </a:lnTo>
                        <a:lnTo>
                          <a:pt x="3486" y="2768"/>
                        </a:lnTo>
                        <a:lnTo>
                          <a:pt x="3492" y="2772"/>
                        </a:lnTo>
                        <a:lnTo>
                          <a:pt x="3496" y="2776"/>
                        </a:lnTo>
                        <a:lnTo>
                          <a:pt x="3498" y="2782"/>
                        </a:lnTo>
                        <a:lnTo>
                          <a:pt x="3498" y="2782"/>
                        </a:lnTo>
                        <a:lnTo>
                          <a:pt x="3500" y="2792"/>
                        </a:lnTo>
                        <a:lnTo>
                          <a:pt x="3504" y="2796"/>
                        </a:lnTo>
                        <a:lnTo>
                          <a:pt x="3506" y="2796"/>
                        </a:lnTo>
                        <a:lnTo>
                          <a:pt x="3504" y="2798"/>
                        </a:lnTo>
                        <a:lnTo>
                          <a:pt x="3504" y="2798"/>
                        </a:lnTo>
                        <a:lnTo>
                          <a:pt x="3502" y="2804"/>
                        </a:lnTo>
                        <a:lnTo>
                          <a:pt x="3504" y="2808"/>
                        </a:lnTo>
                        <a:lnTo>
                          <a:pt x="3508" y="2808"/>
                        </a:lnTo>
                        <a:lnTo>
                          <a:pt x="3518" y="2806"/>
                        </a:lnTo>
                        <a:lnTo>
                          <a:pt x="3518" y="2806"/>
                        </a:lnTo>
                        <a:lnTo>
                          <a:pt x="3522" y="2806"/>
                        </a:lnTo>
                        <a:lnTo>
                          <a:pt x="3524" y="2806"/>
                        </a:lnTo>
                        <a:lnTo>
                          <a:pt x="3526" y="2810"/>
                        </a:lnTo>
                        <a:lnTo>
                          <a:pt x="3526" y="2810"/>
                        </a:lnTo>
                        <a:lnTo>
                          <a:pt x="3530" y="2804"/>
                        </a:lnTo>
                        <a:lnTo>
                          <a:pt x="3530" y="2804"/>
                        </a:lnTo>
                        <a:lnTo>
                          <a:pt x="3534" y="2796"/>
                        </a:lnTo>
                        <a:lnTo>
                          <a:pt x="3536" y="2790"/>
                        </a:lnTo>
                        <a:lnTo>
                          <a:pt x="3536" y="2786"/>
                        </a:lnTo>
                        <a:lnTo>
                          <a:pt x="3540" y="2778"/>
                        </a:lnTo>
                        <a:lnTo>
                          <a:pt x="3540" y="2778"/>
                        </a:lnTo>
                        <a:lnTo>
                          <a:pt x="3544" y="2768"/>
                        </a:lnTo>
                        <a:lnTo>
                          <a:pt x="3544" y="2758"/>
                        </a:lnTo>
                        <a:lnTo>
                          <a:pt x="3544" y="2746"/>
                        </a:lnTo>
                        <a:lnTo>
                          <a:pt x="3546" y="2732"/>
                        </a:lnTo>
                        <a:lnTo>
                          <a:pt x="3546" y="2732"/>
                        </a:lnTo>
                        <a:lnTo>
                          <a:pt x="3546" y="2722"/>
                        </a:lnTo>
                        <a:lnTo>
                          <a:pt x="3544" y="2712"/>
                        </a:lnTo>
                        <a:lnTo>
                          <a:pt x="3536" y="2686"/>
                        </a:lnTo>
                        <a:lnTo>
                          <a:pt x="3526" y="2662"/>
                        </a:lnTo>
                        <a:lnTo>
                          <a:pt x="3526" y="2650"/>
                        </a:lnTo>
                        <a:lnTo>
                          <a:pt x="3526" y="2642"/>
                        </a:lnTo>
                        <a:lnTo>
                          <a:pt x="3526" y="2642"/>
                        </a:lnTo>
                        <a:lnTo>
                          <a:pt x="3526" y="2636"/>
                        </a:lnTo>
                        <a:lnTo>
                          <a:pt x="3524" y="2630"/>
                        </a:lnTo>
                        <a:lnTo>
                          <a:pt x="3514" y="2610"/>
                        </a:lnTo>
                        <a:lnTo>
                          <a:pt x="3506" y="2598"/>
                        </a:lnTo>
                        <a:lnTo>
                          <a:pt x="3500" y="2582"/>
                        </a:lnTo>
                        <a:lnTo>
                          <a:pt x="3496" y="2564"/>
                        </a:lnTo>
                        <a:lnTo>
                          <a:pt x="3492" y="2542"/>
                        </a:lnTo>
                        <a:lnTo>
                          <a:pt x="3492" y="2542"/>
                        </a:lnTo>
                        <a:lnTo>
                          <a:pt x="3490" y="2520"/>
                        </a:lnTo>
                        <a:lnTo>
                          <a:pt x="3492" y="2500"/>
                        </a:lnTo>
                        <a:lnTo>
                          <a:pt x="3496" y="2484"/>
                        </a:lnTo>
                        <a:lnTo>
                          <a:pt x="3502" y="2470"/>
                        </a:lnTo>
                        <a:lnTo>
                          <a:pt x="3508" y="2458"/>
                        </a:lnTo>
                        <a:lnTo>
                          <a:pt x="3514" y="2448"/>
                        </a:lnTo>
                        <a:lnTo>
                          <a:pt x="3524" y="2438"/>
                        </a:lnTo>
                        <a:lnTo>
                          <a:pt x="3524" y="2438"/>
                        </a:lnTo>
                        <a:lnTo>
                          <a:pt x="3528" y="2434"/>
                        </a:lnTo>
                        <a:lnTo>
                          <a:pt x="3528" y="2432"/>
                        </a:lnTo>
                        <a:lnTo>
                          <a:pt x="3528" y="2428"/>
                        </a:lnTo>
                        <a:lnTo>
                          <a:pt x="3528" y="2426"/>
                        </a:lnTo>
                        <a:lnTo>
                          <a:pt x="3528" y="2426"/>
                        </a:lnTo>
                        <a:lnTo>
                          <a:pt x="3536" y="2424"/>
                        </a:lnTo>
                        <a:lnTo>
                          <a:pt x="3536" y="2424"/>
                        </a:lnTo>
                        <a:lnTo>
                          <a:pt x="3542" y="2424"/>
                        </a:lnTo>
                        <a:lnTo>
                          <a:pt x="3548" y="2420"/>
                        </a:lnTo>
                        <a:lnTo>
                          <a:pt x="3556" y="2412"/>
                        </a:lnTo>
                        <a:lnTo>
                          <a:pt x="3564" y="2402"/>
                        </a:lnTo>
                        <a:lnTo>
                          <a:pt x="3568" y="2400"/>
                        </a:lnTo>
                        <a:lnTo>
                          <a:pt x="3570" y="2398"/>
                        </a:lnTo>
                        <a:lnTo>
                          <a:pt x="3570" y="2398"/>
                        </a:lnTo>
                        <a:lnTo>
                          <a:pt x="3574" y="2398"/>
                        </a:lnTo>
                        <a:lnTo>
                          <a:pt x="3576" y="2394"/>
                        </a:lnTo>
                        <a:lnTo>
                          <a:pt x="3580" y="2384"/>
                        </a:lnTo>
                        <a:lnTo>
                          <a:pt x="3588" y="2370"/>
                        </a:lnTo>
                        <a:lnTo>
                          <a:pt x="3592" y="2362"/>
                        </a:lnTo>
                        <a:lnTo>
                          <a:pt x="3600" y="2356"/>
                        </a:lnTo>
                        <a:lnTo>
                          <a:pt x="3600" y="2356"/>
                        </a:lnTo>
                        <a:lnTo>
                          <a:pt x="3606" y="2352"/>
                        </a:lnTo>
                        <a:lnTo>
                          <a:pt x="3612" y="2350"/>
                        </a:lnTo>
                        <a:lnTo>
                          <a:pt x="3624" y="2350"/>
                        </a:lnTo>
                        <a:lnTo>
                          <a:pt x="3628" y="2350"/>
                        </a:lnTo>
                        <a:lnTo>
                          <a:pt x="3630" y="2350"/>
                        </a:lnTo>
                        <a:lnTo>
                          <a:pt x="3634" y="2346"/>
                        </a:lnTo>
                        <a:lnTo>
                          <a:pt x="3636" y="2342"/>
                        </a:lnTo>
                        <a:lnTo>
                          <a:pt x="3636" y="2342"/>
                        </a:lnTo>
                        <a:lnTo>
                          <a:pt x="3638" y="2334"/>
                        </a:lnTo>
                        <a:lnTo>
                          <a:pt x="3642" y="2328"/>
                        </a:lnTo>
                        <a:lnTo>
                          <a:pt x="3654" y="2318"/>
                        </a:lnTo>
                        <a:lnTo>
                          <a:pt x="3666" y="2310"/>
                        </a:lnTo>
                        <a:lnTo>
                          <a:pt x="3680" y="2306"/>
                        </a:lnTo>
                        <a:lnTo>
                          <a:pt x="3680" y="2306"/>
                        </a:lnTo>
                        <a:lnTo>
                          <a:pt x="3690" y="2304"/>
                        </a:lnTo>
                        <a:lnTo>
                          <a:pt x="3696" y="2300"/>
                        </a:lnTo>
                        <a:lnTo>
                          <a:pt x="3698" y="2294"/>
                        </a:lnTo>
                        <a:lnTo>
                          <a:pt x="3698" y="2292"/>
                        </a:lnTo>
                        <a:lnTo>
                          <a:pt x="3696" y="2290"/>
                        </a:lnTo>
                        <a:lnTo>
                          <a:pt x="3696" y="2290"/>
                        </a:lnTo>
                        <a:lnTo>
                          <a:pt x="3694" y="2290"/>
                        </a:lnTo>
                        <a:lnTo>
                          <a:pt x="3690" y="2290"/>
                        </a:lnTo>
                        <a:lnTo>
                          <a:pt x="3686" y="2294"/>
                        </a:lnTo>
                        <a:lnTo>
                          <a:pt x="3680" y="2296"/>
                        </a:lnTo>
                        <a:lnTo>
                          <a:pt x="3676" y="2298"/>
                        </a:lnTo>
                        <a:lnTo>
                          <a:pt x="3674" y="2296"/>
                        </a:lnTo>
                        <a:lnTo>
                          <a:pt x="3674" y="2296"/>
                        </a:lnTo>
                        <a:lnTo>
                          <a:pt x="3672" y="2294"/>
                        </a:lnTo>
                        <a:lnTo>
                          <a:pt x="3674" y="2292"/>
                        </a:lnTo>
                        <a:lnTo>
                          <a:pt x="3680" y="2290"/>
                        </a:lnTo>
                        <a:lnTo>
                          <a:pt x="3682" y="2288"/>
                        </a:lnTo>
                        <a:lnTo>
                          <a:pt x="3684" y="2286"/>
                        </a:lnTo>
                        <a:lnTo>
                          <a:pt x="3684" y="2286"/>
                        </a:lnTo>
                        <a:lnTo>
                          <a:pt x="3686" y="2282"/>
                        </a:lnTo>
                        <a:lnTo>
                          <a:pt x="3684" y="2278"/>
                        </a:lnTo>
                        <a:lnTo>
                          <a:pt x="3678" y="2272"/>
                        </a:lnTo>
                        <a:lnTo>
                          <a:pt x="3676" y="2268"/>
                        </a:lnTo>
                        <a:lnTo>
                          <a:pt x="3682" y="2268"/>
                        </a:lnTo>
                        <a:lnTo>
                          <a:pt x="3682" y="2268"/>
                        </a:lnTo>
                        <a:lnTo>
                          <a:pt x="3692" y="2272"/>
                        </a:lnTo>
                        <a:lnTo>
                          <a:pt x="3696" y="2274"/>
                        </a:lnTo>
                        <a:lnTo>
                          <a:pt x="3698" y="2276"/>
                        </a:lnTo>
                        <a:lnTo>
                          <a:pt x="3700" y="2274"/>
                        </a:lnTo>
                        <a:lnTo>
                          <a:pt x="3706" y="2270"/>
                        </a:lnTo>
                        <a:lnTo>
                          <a:pt x="3706" y="2270"/>
                        </a:lnTo>
                        <a:lnTo>
                          <a:pt x="3710" y="2264"/>
                        </a:lnTo>
                        <a:lnTo>
                          <a:pt x="3714" y="2262"/>
                        </a:lnTo>
                        <a:lnTo>
                          <a:pt x="3716" y="2260"/>
                        </a:lnTo>
                        <a:lnTo>
                          <a:pt x="3718" y="2254"/>
                        </a:lnTo>
                        <a:lnTo>
                          <a:pt x="3718" y="2254"/>
                        </a:lnTo>
                        <a:lnTo>
                          <a:pt x="3720" y="2246"/>
                        </a:lnTo>
                        <a:lnTo>
                          <a:pt x="3718" y="2242"/>
                        </a:lnTo>
                        <a:lnTo>
                          <a:pt x="3714" y="2240"/>
                        </a:lnTo>
                        <a:lnTo>
                          <a:pt x="3710" y="2244"/>
                        </a:lnTo>
                        <a:lnTo>
                          <a:pt x="3710" y="2244"/>
                        </a:lnTo>
                        <a:lnTo>
                          <a:pt x="3708" y="2244"/>
                        </a:lnTo>
                        <a:lnTo>
                          <a:pt x="3708" y="2242"/>
                        </a:lnTo>
                        <a:lnTo>
                          <a:pt x="3704" y="2240"/>
                        </a:lnTo>
                        <a:lnTo>
                          <a:pt x="3694" y="2240"/>
                        </a:lnTo>
                        <a:lnTo>
                          <a:pt x="3694" y="2240"/>
                        </a:lnTo>
                        <a:lnTo>
                          <a:pt x="3684" y="2242"/>
                        </a:lnTo>
                        <a:lnTo>
                          <a:pt x="3678" y="2240"/>
                        </a:lnTo>
                        <a:lnTo>
                          <a:pt x="3678" y="2236"/>
                        </a:lnTo>
                        <a:lnTo>
                          <a:pt x="3678" y="2230"/>
                        </a:lnTo>
                        <a:lnTo>
                          <a:pt x="3678" y="2230"/>
                        </a:lnTo>
                        <a:lnTo>
                          <a:pt x="3678" y="2228"/>
                        </a:lnTo>
                        <a:lnTo>
                          <a:pt x="3678" y="2228"/>
                        </a:lnTo>
                        <a:lnTo>
                          <a:pt x="3680" y="2232"/>
                        </a:lnTo>
                        <a:lnTo>
                          <a:pt x="3684" y="2236"/>
                        </a:lnTo>
                        <a:lnTo>
                          <a:pt x="3686" y="2236"/>
                        </a:lnTo>
                        <a:lnTo>
                          <a:pt x="3690" y="2236"/>
                        </a:lnTo>
                        <a:lnTo>
                          <a:pt x="3696" y="2234"/>
                        </a:lnTo>
                        <a:lnTo>
                          <a:pt x="3696" y="2234"/>
                        </a:lnTo>
                        <a:lnTo>
                          <a:pt x="3704" y="2230"/>
                        </a:lnTo>
                        <a:lnTo>
                          <a:pt x="3708" y="2230"/>
                        </a:lnTo>
                        <a:lnTo>
                          <a:pt x="3714" y="2232"/>
                        </a:lnTo>
                        <a:lnTo>
                          <a:pt x="3718" y="2236"/>
                        </a:lnTo>
                        <a:lnTo>
                          <a:pt x="3724" y="2244"/>
                        </a:lnTo>
                        <a:lnTo>
                          <a:pt x="3726" y="2248"/>
                        </a:lnTo>
                        <a:lnTo>
                          <a:pt x="3728" y="2248"/>
                        </a:lnTo>
                        <a:lnTo>
                          <a:pt x="3728" y="2248"/>
                        </a:lnTo>
                        <a:lnTo>
                          <a:pt x="3728" y="2246"/>
                        </a:lnTo>
                        <a:lnTo>
                          <a:pt x="3728" y="2244"/>
                        </a:lnTo>
                        <a:lnTo>
                          <a:pt x="3724" y="2236"/>
                        </a:lnTo>
                        <a:lnTo>
                          <a:pt x="3718" y="2222"/>
                        </a:lnTo>
                        <a:lnTo>
                          <a:pt x="3712" y="2198"/>
                        </a:lnTo>
                        <a:lnTo>
                          <a:pt x="3712" y="2198"/>
                        </a:lnTo>
                        <a:lnTo>
                          <a:pt x="3708" y="2188"/>
                        </a:lnTo>
                        <a:lnTo>
                          <a:pt x="3706" y="2186"/>
                        </a:lnTo>
                        <a:lnTo>
                          <a:pt x="3704" y="2186"/>
                        </a:lnTo>
                        <a:lnTo>
                          <a:pt x="3700" y="2188"/>
                        </a:lnTo>
                        <a:lnTo>
                          <a:pt x="3694" y="2190"/>
                        </a:lnTo>
                        <a:lnTo>
                          <a:pt x="3694" y="2190"/>
                        </a:lnTo>
                        <a:lnTo>
                          <a:pt x="3692" y="2190"/>
                        </a:lnTo>
                        <a:lnTo>
                          <a:pt x="3692" y="2190"/>
                        </a:lnTo>
                        <a:lnTo>
                          <a:pt x="3696" y="2186"/>
                        </a:lnTo>
                        <a:lnTo>
                          <a:pt x="3698" y="2180"/>
                        </a:lnTo>
                        <a:lnTo>
                          <a:pt x="3698" y="2176"/>
                        </a:lnTo>
                        <a:lnTo>
                          <a:pt x="3694" y="2174"/>
                        </a:lnTo>
                        <a:lnTo>
                          <a:pt x="3694" y="2174"/>
                        </a:lnTo>
                        <a:lnTo>
                          <a:pt x="3690" y="2170"/>
                        </a:lnTo>
                        <a:lnTo>
                          <a:pt x="3692" y="2170"/>
                        </a:lnTo>
                        <a:lnTo>
                          <a:pt x="3696" y="2168"/>
                        </a:lnTo>
                        <a:lnTo>
                          <a:pt x="3698" y="2166"/>
                        </a:lnTo>
                        <a:lnTo>
                          <a:pt x="3698" y="2162"/>
                        </a:lnTo>
                        <a:lnTo>
                          <a:pt x="3698" y="2156"/>
                        </a:lnTo>
                        <a:lnTo>
                          <a:pt x="3698" y="2156"/>
                        </a:lnTo>
                        <a:lnTo>
                          <a:pt x="3696" y="2144"/>
                        </a:lnTo>
                        <a:lnTo>
                          <a:pt x="3696" y="2140"/>
                        </a:lnTo>
                        <a:lnTo>
                          <a:pt x="3696" y="2136"/>
                        </a:lnTo>
                        <a:lnTo>
                          <a:pt x="3690" y="2130"/>
                        </a:lnTo>
                        <a:lnTo>
                          <a:pt x="3690" y="2130"/>
                        </a:lnTo>
                        <a:lnTo>
                          <a:pt x="3678" y="2118"/>
                        </a:lnTo>
                        <a:lnTo>
                          <a:pt x="3678" y="2118"/>
                        </a:lnTo>
                        <a:lnTo>
                          <a:pt x="3678" y="2118"/>
                        </a:lnTo>
                        <a:lnTo>
                          <a:pt x="3686" y="2122"/>
                        </a:lnTo>
                        <a:lnTo>
                          <a:pt x="3686" y="2122"/>
                        </a:lnTo>
                        <a:lnTo>
                          <a:pt x="3694" y="2126"/>
                        </a:lnTo>
                        <a:lnTo>
                          <a:pt x="3696" y="2124"/>
                        </a:lnTo>
                        <a:lnTo>
                          <a:pt x="3696" y="2124"/>
                        </a:lnTo>
                        <a:lnTo>
                          <a:pt x="3692" y="2108"/>
                        </a:lnTo>
                        <a:lnTo>
                          <a:pt x="3692" y="2108"/>
                        </a:lnTo>
                        <a:lnTo>
                          <a:pt x="3688" y="2092"/>
                        </a:lnTo>
                        <a:lnTo>
                          <a:pt x="3690" y="2076"/>
                        </a:lnTo>
                        <a:lnTo>
                          <a:pt x="3690" y="2076"/>
                        </a:lnTo>
                        <a:lnTo>
                          <a:pt x="3692" y="2064"/>
                        </a:lnTo>
                        <a:lnTo>
                          <a:pt x="3696" y="2058"/>
                        </a:lnTo>
                        <a:lnTo>
                          <a:pt x="3702" y="2054"/>
                        </a:lnTo>
                        <a:lnTo>
                          <a:pt x="3702" y="2054"/>
                        </a:lnTo>
                        <a:lnTo>
                          <a:pt x="3704" y="2050"/>
                        </a:lnTo>
                        <a:lnTo>
                          <a:pt x="3704" y="2052"/>
                        </a:lnTo>
                        <a:lnTo>
                          <a:pt x="3700" y="2058"/>
                        </a:lnTo>
                        <a:lnTo>
                          <a:pt x="3698" y="2064"/>
                        </a:lnTo>
                        <a:lnTo>
                          <a:pt x="3698" y="2064"/>
                        </a:lnTo>
                        <a:lnTo>
                          <a:pt x="3694" y="2076"/>
                        </a:lnTo>
                        <a:lnTo>
                          <a:pt x="3694" y="2082"/>
                        </a:lnTo>
                        <a:lnTo>
                          <a:pt x="3696" y="2086"/>
                        </a:lnTo>
                        <a:lnTo>
                          <a:pt x="3696" y="2086"/>
                        </a:lnTo>
                        <a:lnTo>
                          <a:pt x="3696" y="2088"/>
                        </a:lnTo>
                        <a:lnTo>
                          <a:pt x="3696" y="2090"/>
                        </a:lnTo>
                        <a:lnTo>
                          <a:pt x="3694" y="2094"/>
                        </a:lnTo>
                        <a:lnTo>
                          <a:pt x="3696" y="2098"/>
                        </a:lnTo>
                        <a:lnTo>
                          <a:pt x="3696" y="2098"/>
                        </a:lnTo>
                        <a:lnTo>
                          <a:pt x="3698" y="2104"/>
                        </a:lnTo>
                        <a:lnTo>
                          <a:pt x="3696" y="2106"/>
                        </a:lnTo>
                        <a:lnTo>
                          <a:pt x="3696" y="2110"/>
                        </a:lnTo>
                        <a:lnTo>
                          <a:pt x="3700" y="2114"/>
                        </a:lnTo>
                        <a:lnTo>
                          <a:pt x="3700" y="2114"/>
                        </a:lnTo>
                        <a:lnTo>
                          <a:pt x="3706" y="2116"/>
                        </a:lnTo>
                        <a:lnTo>
                          <a:pt x="3708" y="2116"/>
                        </a:lnTo>
                        <a:lnTo>
                          <a:pt x="3710" y="2116"/>
                        </a:lnTo>
                        <a:lnTo>
                          <a:pt x="3712" y="2120"/>
                        </a:lnTo>
                        <a:lnTo>
                          <a:pt x="3712" y="2120"/>
                        </a:lnTo>
                        <a:lnTo>
                          <a:pt x="3712" y="2126"/>
                        </a:lnTo>
                        <a:lnTo>
                          <a:pt x="3712" y="2130"/>
                        </a:lnTo>
                        <a:lnTo>
                          <a:pt x="3712" y="2134"/>
                        </a:lnTo>
                        <a:lnTo>
                          <a:pt x="3716" y="2136"/>
                        </a:lnTo>
                        <a:lnTo>
                          <a:pt x="3716" y="2136"/>
                        </a:lnTo>
                        <a:lnTo>
                          <a:pt x="3718" y="2138"/>
                        </a:lnTo>
                        <a:lnTo>
                          <a:pt x="3716" y="2142"/>
                        </a:lnTo>
                        <a:lnTo>
                          <a:pt x="3710" y="2154"/>
                        </a:lnTo>
                        <a:lnTo>
                          <a:pt x="3706" y="2166"/>
                        </a:lnTo>
                        <a:lnTo>
                          <a:pt x="3706" y="2172"/>
                        </a:lnTo>
                        <a:lnTo>
                          <a:pt x="3710" y="2176"/>
                        </a:lnTo>
                        <a:lnTo>
                          <a:pt x="3710" y="2176"/>
                        </a:lnTo>
                        <a:lnTo>
                          <a:pt x="3712" y="2176"/>
                        </a:lnTo>
                        <a:lnTo>
                          <a:pt x="3714" y="2172"/>
                        </a:lnTo>
                        <a:lnTo>
                          <a:pt x="3720" y="2158"/>
                        </a:lnTo>
                        <a:lnTo>
                          <a:pt x="3728" y="2138"/>
                        </a:lnTo>
                        <a:lnTo>
                          <a:pt x="3738" y="2122"/>
                        </a:lnTo>
                        <a:lnTo>
                          <a:pt x="3738" y="2122"/>
                        </a:lnTo>
                        <a:lnTo>
                          <a:pt x="3744" y="2114"/>
                        </a:lnTo>
                        <a:lnTo>
                          <a:pt x="3746" y="2108"/>
                        </a:lnTo>
                        <a:lnTo>
                          <a:pt x="3748" y="2102"/>
                        </a:lnTo>
                        <a:lnTo>
                          <a:pt x="3748" y="2096"/>
                        </a:lnTo>
                        <a:lnTo>
                          <a:pt x="3748" y="2092"/>
                        </a:lnTo>
                        <a:lnTo>
                          <a:pt x="3746" y="2088"/>
                        </a:lnTo>
                        <a:lnTo>
                          <a:pt x="3744" y="2086"/>
                        </a:lnTo>
                        <a:lnTo>
                          <a:pt x="3740" y="2086"/>
                        </a:lnTo>
                        <a:lnTo>
                          <a:pt x="3740" y="2086"/>
                        </a:lnTo>
                        <a:lnTo>
                          <a:pt x="3738" y="2084"/>
                        </a:lnTo>
                        <a:lnTo>
                          <a:pt x="3736" y="2082"/>
                        </a:lnTo>
                        <a:lnTo>
                          <a:pt x="3732" y="2074"/>
                        </a:lnTo>
                        <a:lnTo>
                          <a:pt x="3726" y="2054"/>
                        </a:lnTo>
                        <a:lnTo>
                          <a:pt x="3726" y="2054"/>
                        </a:lnTo>
                        <a:lnTo>
                          <a:pt x="3724" y="2044"/>
                        </a:lnTo>
                        <a:lnTo>
                          <a:pt x="3726" y="2036"/>
                        </a:lnTo>
                        <a:lnTo>
                          <a:pt x="3730" y="2030"/>
                        </a:lnTo>
                        <a:lnTo>
                          <a:pt x="3738" y="2024"/>
                        </a:lnTo>
                        <a:lnTo>
                          <a:pt x="3738" y="2024"/>
                        </a:lnTo>
                        <a:lnTo>
                          <a:pt x="3742" y="2024"/>
                        </a:lnTo>
                        <a:lnTo>
                          <a:pt x="3736" y="2030"/>
                        </a:lnTo>
                        <a:lnTo>
                          <a:pt x="3732" y="2034"/>
                        </a:lnTo>
                        <a:lnTo>
                          <a:pt x="3730" y="2040"/>
                        </a:lnTo>
                        <a:lnTo>
                          <a:pt x="3730" y="2046"/>
                        </a:lnTo>
                        <a:lnTo>
                          <a:pt x="3732" y="2054"/>
                        </a:lnTo>
                        <a:lnTo>
                          <a:pt x="3732" y="2054"/>
                        </a:lnTo>
                        <a:lnTo>
                          <a:pt x="3738" y="2060"/>
                        </a:lnTo>
                        <a:lnTo>
                          <a:pt x="3742" y="2062"/>
                        </a:lnTo>
                        <a:lnTo>
                          <a:pt x="3748" y="2064"/>
                        </a:lnTo>
                        <a:lnTo>
                          <a:pt x="3750" y="2066"/>
                        </a:lnTo>
                        <a:lnTo>
                          <a:pt x="3750" y="2072"/>
                        </a:lnTo>
                        <a:lnTo>
                          <a:pt x="3750" y="2072"/>
                        </a:lnTo>
                        <a:lnTo>
                          <a:pt x="3750" y="2078"/>
                        </a:lnTo>
                        <a:lnTo>
                          <a:pt x="3752" y="2078"/>
                        </a:lnTo>
                        <a:lnTo>
                          <a:pt x="3754" y="2078"/>
                        </a:lnTo>
                        <a:lnTo>
                          <a:pt x="3758" y="2074"/>
                        </a:lnTo>
                        <a:lnTo>
                          <a:pt x="3766" y="2062"/>
                        </a:lnTo>
                        <a:lnTo>
                          <a:pt x="3774" y="2048"/>
                        </a:lnTo>
                        <a:lnTo>
                          <a:pt x="3774" y="2048"/>
                        </a:lnTo>
                        <a:lnTo>
                          <a:pt x="3784" y="2030"/>
                        </a:lnTo>
                        <a:lnTo>
                          <a:pt x="3790" y="2014"/>
                        </a:lnTo>
                        <a:lnTo>
                          <a:pt x="3790" y="2008"/>
                        </a:lnTo>
                        <a:lnTo>
                          <a:pt x="3790" y="2002"/>
                        </a:lnTo>
                        <a:lnTo>
                          <a:pt x="3790" y="2000"/>
                        </a:lnTo>
                        <a:lnTo>
                          <a:pt x="3786" y="1998"/>
                        </a:lnTo>
                        <a:lnTo>
                          <a:pt x="3786" y="1998"/>
                        </a:lnTo>
                        <a:lnTo>
                          <a:pt x="3778" y="1996"/>
                        </a:lnTo>
                        <a:lnTo>
                          <a:pt x="3776" y="1996"/>
                        </a:lnTo>
                        <a:lnTo>
                          <a:pt x="3776" y="1994"/>
                        </a:lnTo>
                        <a:lnTo>
                          <a:pt x="3778" y="1988"/>
                        </a:lnTo>
                        <a:lnTo>
                          <a:pt x="3784" y="1980"/>
                        </a:lnTo>
                        <a:lnTo>
                          <a:pt x="3784" y="1980"/>
                        </a:lnTo>
                        <a:lnTo>
                          <a:pt x="3796" y="1972"/>
                        </a:lnTo>
                        <a:lnTo>
                          <a:pt x="3808" y="1962"/>
                        </a:lnTo>
                        <a:lnTo>
                          <a:pt x="3824" y="1956"/>
                        </a:lnTo>
                        <a:lnTo>
                          <a:pt x="3838" y="1950"/>
                        </a:lnTo>
                        <a:lnTo>
                          <a:pt x="3838" y="1950"/>
                        </a:lnTo>
                        <a:lnTo>
                          <a:pt x="3854" y="1948"/>
                        </a:lnTo>
                        <a:lnTo>
                          <a:pt x="3870" y="1946"/>
                        </a:lnTo>
                        <a:lnTo>
                          <a:pt x="3886" y="1944"/>
                        </a:lnTo>
                        <a:lnTo>
                          <a:pt x="3890" y="1944"/>
                        </a:lnTo>
                        <a:lnTo>
                          <a:pt x="3892" y="1940"/>
                        </a:lnTo>
                        <a:lnTo>
                          <a:pt x="3892" y="1940"/>
                        </a:lnTo>
                        <a:lnTo>
                          <a:pt x="3894" y="1926"/>
                        </a:lnTo>
                        <a:lnTo>
                          <a:pt x="3896" y="1924"/>
                        </a:lnTo>
                        <a:lnTo>
                          <a:pt x="3898" y="1928"/>
                        </a:lnTo>
                        <a:lnTo>
                          <a:pt x="3898" y="1928"/>
                        </a:lnTo>
                        <a:lnTo>
                          <a:pt x="3900" y="1936"/>
                        </a:lnTo>
                        <a:lnTo>
                          <a:pt x="3904" y="1940"/>
                        </a:lnTo>
                        <a:lnTo>
                          <a:pt x="3906" y="1940"/>
                        </a:lnTo>
                        <a:lnTo>
                          <a:pt x="3908" y="1940"/>
                        </a:lnTo>
                        <a:lnTo>
                          <a:pt x="3914" y="1932"/>
                        </a:lnTo>
                        <a:lnTo>
                          <a:pt x="3914" y="1932"/>
                        </a:lnTo>
                        <a:lnTo>
                          <a:pt x="3920" y="1928"/>
                        </a:lnTo>
                        <a:lnTo>
                          <a:pt x="3922" y="1926"/>
                        </a:lnTo>
                        <a:lnTo>
                          <a:pt x="3924" y="1928"/>
                        </a:lnTo>
                        <a:lnTo>
                          <a:pt x="3924" y="1930"/>
                        </a:lnTo>
                        <a:lnTo>
                          <a:pt x="3924" y="1936"/>
                        </a:lnTo>
                        <a:lnTo>
                          <a:pt x="3926" y="1936"/>
                        </a:lnTo>
                        <a:lnTo>
                          <a:pt x="3928" y="1934"/>
                        </a:lnTo>
                        <a:lnTo>
                          <a:pt x="3928" y="1934"/>
                        </a:lnTo>
                        <a:lnTo>
                          <a:pt x="3932" y="1932"/>
                        </a:lnTo>
                        <a:lnTo>
                          <a:pt x="3936" y="1930"/>
                        </a:lnTo>
                        <a:lnTo>
                          <a:pt x="3946" y="1930"/>
                        </a:lnTo>
                        <a:lnTo>
                          <a:pt x="3952" y="1928"/>
                        </a:lnTo>
                        <a:lnTo>
                          <a:pt x="3952" y="1924"/>
                        </a:lnTo>
                        <a:lnTo>
                          <a:pt x="3952" y="1920"/>
                        </a:lnTo>
                        <a:lnTo>
                          <a:pt x="3952" y="1920"/>
                        </a:lnTo>
                        <a:lnTo>
                          <a:pt x="3948" y="1906"/>
                        </a:lnTo>
                        <a:lnTo>
                          <a:pt x="3946" y="1904"/>
                        </a:lnTo>
                        <a:lnTo>
                          <a:pt x="3942" y="1904"/>
                        </a:lnTo>
                        <a:lnTo>
                          <a:pt x="3942" y="1904"/>
                        </a:lnTo>
                        <a:lnTo>
                          <a:pt x="3940" y="1904"/>
                        </a:lnTo>
                        <a:lnTo>
                          <a:pt x="3942" y="1906"/>
                        </a:lnTo>
                        <a:lnTo>
                          <a:pt x="3946" y="1908"/>
                        </a:lnTo>
                        <a:lnTo>
                          <a:pt x="3948" y="1914"/>
                        </a:lnTo>
                        <a:lnTo>
                          <a:pt x="3948" y="1914"/>
                        </a:lnTo>
                        <a:lnTo>
                          <a:pt x="3944" y="1920"/>
                        </a:lnTo>
                        <a:lnTo>
                          <a:pt x="3940" y="1924"/>
                        </a:lnTo>
                        <a:lnTo>
                          <a:pt x="3936" y="1926"/>
                        </a:lnTo>
                        <a:lnTo>
                          <a:pt x="3932" y="1926"/>
                        </a:lnTo>
                        <a:lnTo>
                          <a:pt x="3930" y="1922"/>
                        </a:lnTo>
                        <a:lnTo>
                          <a:pt x="3928" y="1918"/>
                        </a:lnTo>
                        <a:lnTo>
                          <a:pt x="3928" y="1918"/>
                        </a:lnTo>
                        <a:lnTo>
                          <a:pt x="3924" y="1908"/>
                        </a:lnTo>
                        <a:lnTo>
                          <a:pt x="3924" y="1902"/>
                        </a:lnTo>
                        <a:lnTo>
                          <a:pt x="3920" y="1896"/>
                        </a:lnTo>
                        <a:lnTo>
                          <a:pt x="3912" y="1894"/>
                        </a:lnTo>
                        <a:lnTo>
                          <a:pt x="3912" y="1894"/>
                        </a:lnTo>
                        <a:lnTo>
                          <a:pt x="3910" y="1894"/>
                        </a:lnTo>
                        <a:lnTo>
                          <a:pt x="3910" y="1892"/>
                        </a:lnTo>
                        <a:lnTo>
                          <a:pt x="3918" y="1884"/>
                        </a:lnTo>
                        <a:lnTo>
                          <a:pt x="3926" y="1876"/>
                        </a:lnTo>
                        <a:lnTo>
                          <a:pt x="3926" y="1874"/>
                        </a:lnTo>
                        <a:lnTo>
                          <a:pt x="3924" y="1872"/>
                        </a:lnTo>
                        <a:lnTo>
                          <a:pt x="3924" y="1872"/>
                        </a:lnTo>
                        <a:lnTo>
                          <a:pt x="3922" y="1868"/>
                        </a:lnTo>
                        <a:lnTo>
                          <a:pt x="3920" y="1864"/>
                        </a:lnTo>
                        <a:lnTo>
                          <a:pt x="3922" y="1850"/>
                        </a:lnTo>
                        <a:lnTo>
                          <a:pt x="3928" y="1836"/>
                        </a:lnTo>
                        <a:lnTo>
                          <a:pt x="3936" y="1826"/>
                        </a:lnTo>
                        <a:lnTo>
                          <a:pt x="3936" y="1826"/>
                        </a:lnTo>
                        <a:lnTo>
                          <a:pt x="3940" y="1820"/>
                        </a:lnTo>
                        <a:lnTo>
                          <a:pt x="3940" y="1816"/>
                        </a:lnTo>
                        <a:lnTo>
                          <a:pt x="3940" y="1814"/>
                        </a:lnTo>
                        <a:lnTo>
                          <a:pt x="3942" y="1810"/>
                        </a:lnTo>
                        <a:lnTo>
                          <a:pt x="3942" y="1810"/>
                        </a:lnTo>
                        <a:lnTo>
                          <a:pt x="3944" y="1808"/>
                        </a:lnTo>
                        <a:lnTo>
                          <a:pt x="3946" y="1808"/>
                        </a:lnTo>
                        <a:lnTo>
                          <a:pt x="3948" y="1812"/>
                        </a:lnTo>
                        <a:lnTo>
                          <a:pt x="3952" y="1814"/>
                        </a:lnTo>
                        <a:lnTo>
                          <a:pt x="3954" y="1814"/>
                        </a:lnTo>
                        <a:lnTo>
                          <a:pt x="3958" y="1812"/>
                        </a:lnTo>
                        <a:lnTo>
                          <a:pt x="3958" y="1812"/>
                        </a:lnTo>
                        <a:lnTo>
                          <a:pt x="3966" y="1806"/>
                        </a:lnTo>
                        <a:lnTo>
                          <a:pt x="3970" y="1802"/>
                        </a:lnTo>
                        <a:lnTo>
                          <a:pt x="3974" y="1800"/>
                        </a:lnTo>
                        <a:lnTo>
                          <a:pt x="3976" y="1800"/>
                        </a:lnTo>
                        <a:lnTo>
                          <a:pt x="3976" y="1800"/>
                        </a:lnTo>
                        <a:lnTo>
                          <a:pt x="3982" y="1798"/>
                        </a:lnTo>
                        <a:lnTo>
                          <a:pt x="3984" y="1796"/>
                        </a:lnTo>
                        <a:lnTo>
                          <a:pt x="3988" y="1786"/>
                        </a:lnTo>
                        <a:lnTo>
                          <a:pt x="3992" y="1778"/>
                        </a:lnTo>
                        <a:lnTo>
                          <a:pt x="3996" y="1776"/>
                        </a:lnTo>
                        <a:lnTo>
                          <a:pt x="4000" y="1778"/>
                        </a:lnTo>
                        <a:lnTo>
                          <a:pt x="4000" y="1778"/>
                        </a:lnTo>
                        <a:lnTo>
                          <a:pt x="4006" y="1782"/>
                        </a:lnTo>
                        <a:lnTo>
                          <a:pt x="4008" y="1780"/>
                        </a:lnTo>
                        <a:lnTo>
                          <a:pt x="4010" y="1780"/>
                        </a:lnTo>
                        <a:lnTo>
                          <a:pt x="4012" y="1776"/>
                        </a:lnTo>
                        <a:lnTo>
                          <a:pt x="4016" y="1772"/>
                        </a:lnTo>
                        <a:lnTo>
                          <a:pt x="4016" y="1772"/>
                        </a:lnTo>
                        <a:lnTo>
                          <a:pt x="4022" y="1772"/>
                        </a:lnTo>
                        <a:lnTo>
                          <a:pt x="4024" y="1774"/>
                        </a:lnTo>
                        <a:lnTo>
                          <a:pt x="4028" y="1776"/>
                        </a:lnTo>
                        <a:lnTo>
                          <a:pt x="4036" y="1772"/>
                        </a:lnTo>
                        <a:lnTo>
                          <a:pt x="4036" y="1772"/>
                        </a:lnTo>
                        <a:lnTo>
                          <a:pt x="4044" y="1766"/>
                        </a:lnTo>
                        <a:lnTo>
                          <a:pt x="4052" y="1764"/>
                        </a:lnTo>
                        <a:lnTo>
                          <a:pt x="4060" y="1762"/>
                        </a:lnTo>
                        <a:lnTo>
                          <a:pt x="4066" y="1756"/>
                        </a:lnTo>
                        <a:lnTo>
                          <a:pt x="4066" y="1756"/>
                        </a:lnTo>
                        <a:lnTo>
                          <a:pt x="4070" y="1752"/>
                        </a:lnTo>
                        <a:lnTo>
                          <a:pt x="4070" y="1748"/>
                        </a:lnTo>
                        <a:lnTo>
                          <a:pt x="4068" y="1746"/>
                        </a:lnTo>
                        <a:lnTo>
                          <a:pt x="4066" y="1742"/>
                        </a:lnTo>
                        <a:lnTo>
                          <a:pt x="4066" y="1742"/>
                        </a:lnTo>
                        <a:lnTo>
                          <a:pt x="4064" y="1736"/>
                        </a:lnTo>
                        <a:lnTo>
                          <a:pt x="4062" y="1734"/>
                        </a:lnTo>
                        <a:lnTo>
                          <a:pt x="4054" y="1730"/>
                        </a:lnTo>
                        <a:lnTo>
                          <a:pt x="4054" y="1730"/>
                        </a:lnTo>
                        <a:lnTo>
                          <a:pt x="4052" y="1726"/>
                        </a:lnTo>
                        <a:lnTo>
                          <a:pt x="4050" y="1718"/>
                        </a:lnTo>
                        <a:lnTo>
                          <a:pt x="4050" y="1704"/>
                        </a:lnTo>
                        <a:lnTo>
                          <a:pt x="4050" y="1704"/>
                        </a:lnTo>
                        <a:lnTo>
                          <a:pt x="4052" y="1706"/>
                        </a:lnTo>
                        <a:lnTo>
                          <a:pt x="4054" y="1708"/>
                        </a:lnTo>
                        <a:lnTo>
                          <a:pt x="4054" y="1716"/>
                        </a:lnTo>
                        <a:lnTo>
                          <a:pt x="4054" y="1716"/>
                        </a:lnTo>
                        <a:lnTo>
                          <a:pt x="4054" y="1720"/>
                        </a:lnTo>
                        <a:lnTo>
                          <a:pt x="4056" y="1724"/>
                        </a:lnTo>
                        <a:lnTo>
                          <a:pt x="4060" y="1728"/>
                        </a:lnTo>
                        <a:lnTo>
                          <a:pt x="4066" y="1730"/>
                        </a:lnTo>
                        <a:lnTo>
                          <a:pt x="4066" y="1730"/>
                        </a:lnTo>
                        <a:lnTo>
                          <a:pt x="4078" y="1734"/>
                        </a:lnTo>
                        <a:lnTo>
                          <a:pt x="4088" y="1734"/>
                        </a:lnTo>
                        <a:lnTo>
                          <a:pt x="4096" y="1734"/>
                        </a:lnTo>
                        <a:lnTo>
                          <a:pt x="4106" y="1732"/>
                        </a:lnTo>
                        <a:lnTo>
                          <a:pt x="4122" y="1724"/>
                        </a:lnTo>
                        <a:lnTo>
                          <a:pt x="4144" y="1714"/>
                        </a:lnTo>
                        <a:lnTo>
                          <a:pt x="4144" y="1714"/>
                        </a:lnTo>
                        <a:lnTo>
                          <a:pt x="4152" y="1708"/>
                        </a:lnTo>
                        <a:lnTo>
                          <a:pt x="4156" y="1708"/>
                        </a:lnTo>
                        <a:lnTo>
                          <a:pt x="4156" y="1708"/>
                        </a:lnTo>
                        <a:lnTo>
                          <a:pt x="4158" y="1712"/>
                        </a:lnTo>
                        <a:lnTo>
                          <a:pt x="4160" y="1714"/>
                        </a:lnTo>
                        <a:lnTo>
                          <a:pt x="4164" y="1718"/>
                        </a:lnTo>
                        <a:lnTo>
                          <a:pt x="4172" y="1718"/>
                        </a:lnTo>
                        <a:lnTo>
                          <a:pt x="4188" y="1716"/>
                        </a:lnTo>
                        <a:lnTo>
                          <a:pt x="4188" y="1716"/>
                        </a:lnTo>
                        <a:lnTo>
                          <a:pt x="4202" y="1716"/>
                        </a:lnTo>
                        <a:lnTo>
                          <a:pt x="4194" y="1720"/>
                        </a:lnTo>
                        <a:lnTo>
                          <a:pt x="4172" y="1728"/>
                        </a:lnTo>
                        <a:lnTo>
                          <a:pt x="4148" y="1740"/>
                        </a:lnTo>
                        <a:lnTo>
                          <a:pt x="4148" y="1740"/>
                        </a:lnTo>
                        <a:lnTo>
                          <a:pt x="4136" y="1746"/>
                        </a:lnTo>
                        <a:lnTo>
                          <a:pt x="4126" y="1754"/>
                        </a:lnTo>
                        <a:lnTo>
                          <a:pt x="4118" y="1762"/>
                        </a:lnTo>
                        <a:lnTo>
                          <a:pt x="4110" y="1770"/>
                        </a:lnTo>
                        <a:lnTo>
                          <a:pt x="4106" y="1780"/>
                        </a:lnTo>
                        <a:lnTo>
                          <a:pt x="4104" y="1790"/>
                        </a:lnTo>
                        <a:lnTo>
                          <a:pt x="4106" y="1802"/>
                        </a:lnTo>
                        <a:lnTo>
                          <a:pt x="4110" y="1812"/>
                        </a:lnTo>
                        <a:lnTo>
                          <a:pt x="4110" y="1812"/>
                        </a:lnTo>
                        <a:lnTo>
                          <a:pt x="4116" y="1822"/>
                        </a:lnTo>
                        <a:lnTo>
                          <a:pt x="4124" y="1826"/>
                        </a:lnTo>
                        <a:lnTo>
                          <a:pt x="4130" y="1828"/>
                        </a:lnTo>
                        <a:lnTo>
                          <a:pt x="4138" y="1824"/>
                        </a:lnTo>
                        <a:lnTo>
                          <a:pt x="4146" y="1818"/>
                        </a:lnTo>
                        <a:lnTo>
                          <a:pt x="4154" y="1810"/>
                        </a:lnTo>
                        <a:lnTo>
                          <a:pt x="4174" y="1786"/>
                        </a:lnTo>
                        <a:lnTo>
                          <a:pt x="4174" y="1786"/>
                        </a:lnTo>
                        <a:lnTo>
                          <a:pt x="4182" y="1776"/>
                        </a:lnTo>
                        <a:lnTo>
                          <a:pt x="4190" y="1770"/>
                        </a:lnTo>
                        <a:lnTo>
                          <a:pt x="4196" y="1768"/>
                        </a:lnTo>
                        <a:lnTo>
                          <a:pt x="4202" y="1768"/>
                        </a:lnTo>
                        <a:lnTo>
                          <a:pt x="4208" y="1768"/>
                        </a:lnTo>
                        <a:lnTo>
                          <a:pt x="4216" y="1766"/>
                        </a:lnTo>
                        <a:lnTo>
                          <a:pt x="4224" y="1764"/>
                        </a:lnTo>
                        <a:lnTo>
                          <a:pt x="4238" y="1756"/>
                        </a:lnTo>
                        <a:lnTo>
                          <a:pt x="4238" y="1756"/>
                        </a:lnTo>
                        <a:lnTo>
                          <a:pt x="4252" y="1748"/>
                        </a:lnTo>
                        <a:lnTo>
                          <a:pt x="4266" y="1742"/>
                        </a:lnTo>
                        <a:lnTo>
                          <a:pt x="4290" y="1734"/>
                        </a:lnTo>
                        <a:lnTo>
                          <a:pt x="4300" y="1730"/>
                        </a:lnTo>
                        <a:lnTo>
                          <a:pt x="4306" y="1728"/>
                        </a:lnTo>
                        <a:lnTo>
                          <a:pt x="4308" y="1724"/>
                        </a:lnTo>
                        <a:lnTo>
                          <a:pt x="4304" y="1720"/>
                        </a:lnTo>
                        <a:lnTo>
                          <a:pt x="4304" y="1720"/>
                        </a:lnTo>
                        <a:lnTo>
                          <a:pt x="4284" y="1700"/>
                        </a:lnTo>
                        <a:lnTo>
                          <a:pt x="4280" y="1698"/>
                        </a:lnTo>
                        <a:lnTo>
                          <a:pt x="4276" y="1696"/>
                        </a:lnTo>
                        <a:lnTo>
                          <a:pt x="4270" y="1696"/>
                        </a:lnTo>
                        <a:lnTo>
                          <a:pt x="4264" y="1698"/>
                        </a:lnTo>
                        <a:lnTo>
                          <a:pt x="4264" y="1698"/>
                        </a:lnTo>
                        <a:lnTo>
                          <a:pt x="4258" y="1700"/>
                        </a:lnTo>
                        <a:lnTo>
                          <a:pt x="4246" y="1700"/>
                        </a:lnTo>
                        <a:lnTo>
                          <a:pt x="4236" y="1700"/>
                        </a:lnTo>
                        <a:lnTo>
                          <a:pt x="4224" y="1696"/>
                        </a:lnTo>
                        <a:lnTo>
                          <a:pt x="4212" y="1694"/>
                        </a:lnTo>
                        <a:lnTo>
                          <a:pt x="4204" y="1690"/>
                        </a:lnTo>
                        <a:lnTo>
                          <a:pt x="4198" y="1684"/>
                        </a:lnTo>
                        <a:lnTo>
                          <a:pt x="4196" y="1682"/>
                        </a:lnTo>
                        <a:lnTo>
                          <a:pt x="4196" y="1680"/>
                        </a:lnTo>
                        <a:lnTo>
                          <a:pt x="4196" y="1680"/>
                        </a:lnTo>
                        <a:lnTo>
                          <a:pt x="4196" y="1676"/>
                        </a:lnTo>
                        <a:lnTo>
                          <a:pt x="4194" y="1674"/>
                        </a:lnTo>
                        <a:lnTo>
                          <a:pt x="4186" y="1672"/>
                        </a:lnTo>
                        <a:lnTo>
                          <a:pt x="4178" y="1668"/>
                        </a:lnTo>
                        <a:lnTo>
                          <a:pt x="4172" y="1664"/>
                        </a:lnTo>
                        <a:lnTo>
                          <a:pt x="4166" y="1654"/>
                        </a:lnTo>
                        <a:lnTo>
                          <a:pt x="4160" y="1640"/>
                        </a:lnTo>
                        <a:lnTo>
                          <a:pt x="4160" y="1640"/>
                        </a:lnTo>
                        <a:lnTo>
                          <a:pt x="4156" y="1624"/>
                        </a:lnTo>
                        <a:lnTo>
                          <a:pt x="4156" y="1610"/>
                        </a:lnTo>
                        <a:lnTo>
                          <a:pt x="4158" y="1598"/>
                        </a:lnTo>
                        <a:lnTo>
                          <a:pt x="4160" y="1588"/>
                        </a:lnTo>
                        <a:lnTo>
                          <a:pt x="4162" y="1580"/>
                        </a:lnTo>
                        <a:lnTo>
                          <a:pt x="4162" y="1576"/>
                        </a:lnTo>
                        <a:lnTo>
                          <a:pt x="4158" y="1574"/>
                        </a:lnTo>
                        <a:lnTo>
                          <a:pt x="4148" y="1576"/>
                        </a:lnTo>
                        <a:lnTo>
                          <a:pt x="4148" y="1576"/>
                        </a:lnTo>
                        <a:lnTo>
                          <a:pt x="4134" y="1578"/>
                        </a:lnTo>
                        <a:lnTo>
                          <a:pt x="4126" y="1580"/>
                        </a:lnTo>
                        <a:lnTo>
                          <a:pt x="4124" y="1578"/>
                        </a:lnTo>
                        <a:lnTo>
                          <a:pt x="4126" y="1574"/>
                        </a:lnTo>
                        <a:lnTo>
                          <a:pt x="4140" y="1564"/>
                        </a:lnTo>
                        <a:lnTo>
                          <a:pt x="4164" y="1550"/>
                        </a:lnTo>
                        <a:lnTo>
                          <a:pt x="4164" y="1550"/>
                        </a:lnTo>
                        <a:lnTo>
                          <a:pt x="4178" y="1538"/>
                        </a:lnTo>
                        <a:lnTo>
                          <a:pt x="4182" y="1532"/>
                        </a:lnTo>
                        <a:lnTo>
                          <a:pt x="4184" y="1528"/>
                        </a:lnTo>
                        <a:lnTo>
                          <a:pt x="4184" y="1522"/>
                        </a:lnTo>
                        <a:lnTo>
                          <a:pt x="4180" y="1516"/>
                        </a:lnTo>
                        <a:lnTo>
                          <a:pt x="4174" y="1508"/>
                        </a:lnTo>
                        <a:lnTo>
                          <a:pt x="4166" y="1502"/>
                        </a:lnTo>
                        <a:lnTo>
                          <a:pt x="4166" y="1502"/>
                        </a:lnTo>
                        <a:lnTo>
                          <a:pt x="4160" y="1498"/>
                        </a:lnTo>
                        <a:lnTo>
                          <a:pt x="4150" y="1496"/>
                        </a:lnTo>
                        <a:lnTo>
                          <a:pt x="4140" y="1496"/>
                        </a:lnTo>
                        <a:lnTo>
                          <a:pt x="4130" y="1496"/>
                        </a:lnTo>
                        <a:lnTo>
                          <a:pt x="4102" y="1500"/>
                        </a:lnTo>
                        <a:lnTo>
                          <a:pt x="4074" y="1508"/>
                        </a:lnTo>
                        <a:lnTo>
                          <a:pt x="4044" y="1518"/>
                        </a:lnTo>
                        <a:lnTo>
                          <a:pt x="4018" y="1532"/>
                        </a:lnTo>
                        <a:lnTo>
                          <a:pt x="3996" y="1546"/>
                        </a:lnTo>
                        <a:lnTo>
                          <a:pt x="3988" y="1554"/>
                        </a:lnTo>
                        <a:lnTo>
                          <a:pt x="3982" y="1560"/>
                        </a:lnTo>
                        <a:lnTo>
                          <a:pt x="3982" y="1560"/>
                        </a:lnTo>
                        <a:lnTo>
                          <a:pt x="3964" y="1584"/>
                        </a:lnTo>
                        <a:lnTo>
                          <a:pt x="3948" y="1602"/>
                        </a:lnTo>
                        <a:lnTo>
                          <a:pt x="3934" y="1616"/>
                        </a:lnTo>
                        <a:lnTo>
                          <a:pt x="3922" y="1626"/>
                        </a:lnTo>
                        <a:lnTo>
                          <a:pt x="3914" y="1634"/>
                        </a:lnTo>
                        <a:lnTo>
                          <a:pt x="3908" y="1636"/>
                        </a:lnTo>
                        <a:lnTo>
                          <a:pt x="3908" y="1636"/>
                        </a:lnTo>
                        <a:lnTo>
                          <a:pt x="3908" y="1634"/>
                        </a:lnTo>
                        <a:lnTo>
                          <a:pt x="3914" y="1628"/>
                        </a:lnTo>
                        <a:lnTo>
                          <a:pt x="3914" y="1628"/>
                        </a:lnTo>
                        <a:lnTo>
                          <a:pt x="3924" y="1616"/>
                        </a:lnTo>
                        <a:lnTo>
                          <a:pt x="3936" y="1600"/>
                        </a:lnTo>
                        <a:lnTo>
                          <a:pt x="3964" y="1560"/>
                        </a:lnTo>
                        <a:lnTo>
                          <a:pt x="3978" y="1542"/>
                        </a:lnTo>
                        <a:lnTo>
                          <a:pt x="3994" y="1524"/>
                        </a:lnTo>
                        <a:lnTo>
                          <a:pt x="4010" y="1510"/>
                        </a:lnTo>
                        <a:lnTo>
                          <a:pt x="4020" y="1504"/>
                        </a:lnTo>
                        <a:lnTo>
                          <a:pt x="4030" y="1500"/>
                        </a:lnTo>
                        <a:lnTo>
                          <a:pt x="4030" y="1500"/>
                        </a:lnTo>
                        <a:lnTo>
                          <a:pt x="4040" y="1496"/>
                        </a:lnTo>
                        <a:lnTo>
                          <a:pt x="4050" y="1490"/>
                        </a:lnTo>
                        <a:lnTo>
                          <a:pt x="4056" y="1486"/>
                        </a:lnTo>
                        <a:lnTo>
                          <a:pt x="4060" y="1482"/>
                        </a:lnTo>
                        <a:lnTo>
                          <a:pt x="4066" y="1472"/>
                        </a:lnTo>
                        <a:lnTo>
                          <a:pt x="4068" y="1464"/>
                        </a:lnTo>
                        <a:lnTo>
                          <a:pt x="4072" y="1456"/>
                        </a:lnTo>
                        <a:lnTo>
                          <a:pt x="4076" y="1452"/>
                        </a:lnTo>
                        <a:lnTo>
                          <a:pt x="4082" y="1448"/>
                        </a:lnTo>
                        <a:lnTo>
                          <a:pt x="4090" y="1444"/>
                        </a:lnTo>
                        <a:lnTo>
                          <a:pt x="4102" y="1440"/>
                        </a:lnTo>
                        <a:lnTo>
                          <a:pt x="4136" y="1432"/>
                        </a:lnTo>
                        <a:lnTo>
                          <a:pt x="4136" y="1432"/>
                        </a:lnTo>
                        <a:lnTo>
                          <a:pt x="4160" y="1430"/>
                        </a:lnTo>
                        <a:lnTo>
                          <a:pt x="4182" y="1428"/>
                        </a:lnTo>
                        <a:lnTo>
                          <a:pt x="4202" y="1430"/>
                        </a:lnTo>
                        <a:lnTo>
                          <a:pt x="4220" y="1432"/>
                        </a:lnTo>
                        <a:lnTo>
                          <a:pt x="4252" y="1436"/>
                        </a:lnTo>
                        <a:lnTo>
                          <a:pt x="4278" y="1442"/>
                        </a:lnTo>
                        <a:lnTo>
                          <a:pt x="4304" y="1446"/>
                        </a:lnTo>
                        <a:lnTo>
                          <a:pt x="4316" y="1444"/>
                        </a:lnTo>
                        <a:lnTo>
                          <a:pt x="4330" y="1442"/>
                        </a:lnTo>
                        <a:lnTo>
                          <a:pt x="4342" y="1438"/>
                        </a:lnTo>
                        <a:lnTo>
                          <a:pt x="4356" y="1430"/>
                        </a:lnTo>
                        <a:lnTo>
                          <a:pt x="4370" y="1420"/>
                        </a:lnTo>
                        <a:lnTo>
                          <a:pt x="4386" y="1406"/>
                        </a:lnTo>
                        <a:lnTo>
                          <a:pt x="4386" y="1406"/>
                        </a:lnTo>
                        <a:lnTo>
                          <a:pt x="4414" y="1382"/>
                        </a:lnTo>
                        <a:lnTo>
                          <a:pt x="4434" y="1368"/>
                        </a:lnTo>
                        <a:lnTo>
                          <a:pt x="4448" y="1362"/>
                        </a:lnTo>
                        <a:lnTo>
                          <a:pt x="4458" y="1362"/>
                        </a:lnTo>
                        <a:lnTo>
                          <a:pt x="4470" y="1366"/>
                        </a:lnTo>
                        <a:lnTo>
                          <a:pt x="4474" y="1366"/>
                        </a:lnTo>
                        <a:lnTo>
                          <a:pt x="4482" y="1358"/>
                        </a:lnTo>
                        <a:lnTo>
                          <a:pt x="4482" y="1358"/>
                        </a:lnTo>
                        <a:lnTo>
                          <a:pt x="4492" y="1348"/>
                        </a:lnTo>
                        <a:lnTo>
                          <a:pt x="4502" y="1342"/>
                        </a:lnTo>
                        <a:lnTo>
                          <a:pt x="4518" y="1330"/>
                        </a:lnTo>
                        <a:lnTo>
                          <a:pt x="4524" y="1324"/>
                        </a:lnTo>
                        <a:lnTo>
                          <a:pt x="4526" y="1316"/>
                        </a:lnTo>
                        <a:lnTo>
                          <a:pt x="4526" y="1308"/>
                        </a:lnTo>
                        <a:lnTo>
                          <a:pt x="4522" y="1296"/>
                        </a:lnTo>
                        <a:lnTo>
                          <a:pt x="4522" y="1296"/>
                        </a:lnTo>
                        <a:lnTo>
                          <a:pt x="4518" y="1284"/>
                        </a:lnTo>
                        <a:lnTo>
                          <a:pt x="4518" y="1278"/>
                        </a:lnTo>
                        <a:lnTo>
                          <a:pt x="4518" y="1274"/>
                        </a:lnTo>
                        <a:lnTo>
                          <a:pt x="4522" y="1270"/>
                        </a:lnTo>
                        <a:lnTo>
                          <a:pt x="4524" y="1268"/>
                        </a:lnTo>
                        <a:lnTo>
                          <a:pt x="4526" y="1264"/>
                        </a:lnTo>
                        <a:lnTo>
                          <a:pt x="4524" y="1258"/>
                        </a:lnTo>
                        <a:lnTo>
                          <a:pt x="4522" y="1248"/>
                        </a:lnTo>
                        <a:lnTo>
                          <a:pt x="4522" y="1248"/>
                        </a:lnTo>
                        <a:lnTo>
                          <a:pt x="4516" y="1238"/>
                        </a:lnTo>
                        <a:lnTo>
                          <a:pt x="4510" y="1234"/>
                        </a:lnTo>
                        <a:lnTo>
                          <a:pt x="4502" y="1232"/>
                        </a:lnTo>
                        <a:lnTo>
                          <a:pt x="4496" y="1230"/>
                        </a:lnTo>
                        <a:lnTo>
                          <a:pt x="4488" y="1230"/>
                        </a:lnTo>
                        <a:lnTo>
                          <a:pt x="4480" y="1228"/>
                        </a:lnTo>
                        <a:lnTo>
                          <a:pt x="4472" y="1222"/>
                        </a:lnTo>
                        <a:lnTo>
                          <a:pt x="4464" y="1214"/>
                        </a:lnTo>
                        <a:lnTo>
                          <a:pt x="4464" y="1214"/>
                        </a:lnTo>
                        <a:lnTo>
                          <a:pt x="4454" y="1204"/>
                        </a:lnTo>
                        <a:lnTo>
                          <a:pt x="4446" y="1198"/>
                        </a:lnTo>
                        <a:lnTo>
                          <a:pt x="4436" y="1198"/>
                        </a:lnTo>
                        <a:lnTo>
                          <a:pt x="4428" y="1200"/>
                        </a:lnTo>
                        <a:lnTo>
                          <a:pt x="4416" y="1204"/>
                        </a:lnTo>
                        <a:lnTo>
                          <a:pt x="4406" y="1212"/>
                        </a:lnTo>
                        <a:lnTo>
                          <a:pt x="4376" y="1234"/>
                        </a:lnTo>
                        <a:lnTo>
                          <a:pt x="4376" y="1234"/>
                        </a:lnTo>
                        <a:lnTo>
                          <a:pt x="4362" y="1242"/>
                        </a:lnTo>
                        <a:lnTo>
                          <a:pt x="4352" y="1246"/>
                        </a:lnTo>
                        <a:lnTo>
                          <a:pt x="4344" y="1246"/>
                        </a:lnTo>
                        <a:lnTo>
                          <a:pt x="4342" y="1242"/>
                        </a:lnTo>
                        <a:lnTo>
                          <a:pt x="4342" y="1238"/>
                        </a:lnTo>
                        <a:lnTo>
                          <a:pt x="4346" y="1230"/>
                        </a:lnTo>
                        <a:lnTo>
                          <a:pt x="4354" y="1226"/>
                        </a:lnTo>
                        <a:lnTo>
                          <a:pt x="4364" y="1220"/>
                        </a:lnTo>
                        <a:lnTo>
                          <a:pt x="4364" y="1220"/>
                        </a:lnTo>
                        <a:lnTo>
                          <a:pt x="4376" y="1218"/>
                        </a:lnTo>
                        <a:lnTo>
                          <a:pt x="4386" y="1214"/>
                        </a:lnTo>
                        <a:lnTo>
                          <a:pt x="4400" y="1204"/>
                        </a:lnTo>
                        <a:lnTo>
                          <a:pt x="4414" y="1196"/>
                        </a:lnTo>
                        <a:lnTo>
                          <a:pt x="4424" y="1192"/>
                        </a:lnTo>
                        <a:lnTo>
                          <a:pt x="4438" y="1190"/>
                        </a:lnTo>
                        <a:lnTo>
                          <a:pt x="4438" y="1190"/>
                        </a:lnTo>
                        <a:lnTo>
                          <a:pt x="4450" y="1186"/>
                        </a:lnTo>
                        <a:lnTo>
                          <a:pt x="4456" y="1184"/>
                        </a:lnTo>
                        <a:lnTo>
                          <a:pt x="4458" y="1178"/>
                        </a:lnTo>
                        <a:lnTo>
                          <a:pt x="4456" y="1174"/>
                        </a:lnTo>
                        <a:lnTo>
                          <a:pt x="4450" y="1170"/>
                        </a:lnTo>
                        <a:lnTo>
                          <a:pt x="4442" y="1166"/>
                        </a:lnTo>
                        <a:lnTo>
                          <a:pt x="4432" y="1162"/>
                        </a:lnTo>
                        <a:lnTo>
                          <a:pt x="4418" y="1160"/>
                        </a:lnTo>
                        <a:lnTo>
                          <a:pt x="4418" y="1160"/>
                        </a:lnTo>
                        <a:lnTo>
                          <a:pt x="4406" y="1158"/>
                        </a:lnTo>
                        <a:lnTo>
                          <a:pt x="4400" y="1154"/>
                        </a:lnTo>
                        <a:lnTo>
                          <a:pt x="4396" y="1150"/>
                        </a:lnTo>
                        <a:lnTo>
                          <a:pt x="4394" y="1146"/>
                        </a:lnTo>
                        <a:lnTo>
                          <a:pt x="4392" y="1142"/>
                        </a:lnTo>
                        <a:lnTo>
                          <a:pt x="4388" y="1138"/>
                        </a:lnTo>
                        <a:lnTo>
                          <a:pt x="4378" y="1136"/>
                        </a:lnTo>
                        <a:lnTo>
                          <a:pt x="4364" y="1132"/>
                        </a:lnTo>
                        <a:lnTo>
                          <a:pt x="4364" y="1132"/>
                        </a:lnTo>
                        <a:lnTo>
                          <a:pt x="4350" y="1130"/>
                        </a:lnTo>
                        <a:lnTo>
                          <a:pt x="4342" y="1126"/>
                        </a:lnTo>
                        <a:lnTo>
                          <a:pt x="4340" y="1122"/>
                        </a:lnTo>
                        <a:lnTo>
                          <a:pt x="4338" y="1116"/>
                        </a:lnTo>
                        <a:lnTo>
                          <a:pt x="4340" y="1112"/>
                        </a:lnTo>
                        <a:lnTo>
                          <a:pt x="4338" y="1106"/>
                        </a:lnTo>
                        <a:lnTo>
                          <a:pt x="4334" y="1102"/>
                        </a:lnTo>
                        <a:lnTo>
                          <a:pt x="4324" y="1096"/>
                        </a:lnTo>
                        <a:lnTo>
                          <a:pt x="4324" y="1096"/>
                        </a:lnTo>
                        <a:lnTo>
                          <a:pt x="4314" y="1090"/>
                        </a:lnTo>
                        <a:lnTo>
                          <a:pt x="4304" y="1084"/>
                        </a:lnTo>
                        <a:lnTo>
                          <a:pt x="4296" y="1078"/>
                        </a:lnTo>
                        <a:lnTo>
                          <a:pt x="4290" y="1070"/>
                        </a:lnTo>
                        <a:lnTo>
                          <a:pt x="4286" y="1062"/>
                        </a:lnTo>
                        <a:lnTo>
                          <a:pt x="4286" y="1052"/>
                        </a:lnTo>
                        <a:lnTo>
                          <a:pt x="4288" y="1042"/>
                        </a:lnTo>
                        <a:lnTo>
                          <a:pt x="4294" y="1030"/>
                        </a:lnTo>
                        <a:lnTo>
                          <a:pt x="4294" y="1030"/>
                        </a:lnTo>
                        <a:lnTo>
                          <a:pt x="4298" y="1024"/>
                        </a:lnTo>
                        <a:lnTo>
                          <a:pt x="4298" y="1020"/>
                        </a:lnTo>
                        <a:lnTo>
                          <a:pt x="4298" y="1016"/>
                        </a:lnTo>
                        <a:lnTo>
                          <a:pt x="4296" y="1012"/>
                        </a:lnTo>
                        <a:lnTo>
                          <a:pt x="4290" y="1008"/>
                        </a:lnTo>
                        <a:lnTo>
                          <a:pt x="4282" y="1004"/>
                        </a:lnTo>
                        <a:lnTo>
                          <a:pt x="4274" y="1002"/>
                        </a:lnTo>
                        <a:lnTo>
                          <a:pt x="4268" y="998"/>
                        </a:lnTo>
                        <a:lnTo>
                          <a:pt x="4266" y="996"/>
                        </a:lnTo>
                        <a:lnTo>
                          <a:pt x="4266" y="994"/>
                        </a:lnTo>
                        <a:lnTo>
                          <a:pt x="4266" y="990"/>
                        </a:lnTo>
                        <a:lnTo>
                          <a:pt x="4270" y="986"/>
                        </a:lnTo>
                        <a:lnTo>
                          <a:pt x="4270" y="986"/>
                        </a:lnTo>
                        <a:lnTo>
                          <a:pt x="4274" y="978"/>
                        </a:lnTo>
                        <a:lnTo>
                          <a:pt x="4274" y="970"/>
                        </a:lnTo>
                        <a:lnTo>
                          <a:pt x="4270" y="966"/>
                        </a:lnTo>
                        <a:lnTo>
                          <a:pt x="4264" y="960"/>
                        </a:lnTo>
                        <a:lnTo>
                          <a:pt x="4258" y="954"/>
                        </a:lnTo>
                        <a:lnTo>
                          <a:pt x="4252" y="948"/>
                        </a:lnTo>
                        <a:lnTo>
                          <a:pt x="4246" y="940"/>
                        </a:lnTo>
                        <a:lnTo>
                          <a:pt x="4244" y="928"/>
                        </a:lnTo>
                        <a:lnTo>
                          <a:pt x="4244" y="928"/>
                        </a:lnTo>
                        <a:lnTo>
                          <a:pt x="4240" y="912"/>
                        </a:lnTo>
                        <a:lnTo>
                          <a:pt x="4238" y="908"/>
                        </a:lnTo>
                        <a:lnTo>
                          <a:pt x="4236" y="906"/>
                        </a:lnTo>
                        <a:lnTo>
                          <a:pt x="4230" y="902"/>
                        </a:lnTo>
                        <a:lnTo>
                          <a:pt x="4228" y="898"/>
                        </a:lnTo>
                        <a:lnTo>
                          <a:pt x="4226" y="890"/>
                        </a:lnTo>
                        <a:lnTo>
                          <a:pt x="4226" y="890"/>
                        </a:lnTo>
                        <a:lnTo>
                          <a:pt x="4222" y="882"/>
                        </a:lnTo>
                        <a:lnTo>
                          <a:pt x="4218" y="878"/>
                        </a:lnTo>
                        <a:lnTo>
                          <a:pt x="4210" y="872"/>
                        </a:lnTo>
                        <a:lnTo>
                          <a:pt x="4206" y="868"/>
                        </a:lnTo>
                        <a:lnTo>
                          <a:pt x="4200" y="862"/>
                        </a:lnTo>
                        <a:lnTo>
                          <a:pt x="4194" y="852"/>
                        </a:lnTo>
                        <a:lnTo>
                          <a:pt x="4186" y="838"/>
                        </a:lnTo>
                        <a:lnTo>
                          <a:pt x="4186" y="838"/>
                        </a:lnTo>
                        <a:lnTo>
                          <a:pt x="4180" y="824"/>
                        </a:lnTo>
                        <a:lnTo>
                          <a:pt x="4174" y="816"/>
                        </a:lnTo>
                        <a:lnTo>
                          <a:pt x="4168" y="812"/>
                        </a:lnTo>
                        <a:lnTo>
                          <a:pt x="4164" y="812"/>
                        </a:lnTo>
                        <a:lnTo>
                          <a:pt x="4158" y="814"/>
                        </a:lnTo>
                        <a:lnTo>
                          <a:pt x="4154" y="820"/>
                        </a:lnTo>
                        <a:lnTo>
                          <a:pt x="4140" y="836"/>
                        </a:lnTo>
                        <a:lnTo>
                          <a:pt x="4140" y="836"/>
                        </a:lnTo>
                        <a:lnTo>
                          <a:pt x="4132" y="848"/>
                        </a:lnTo>
                        <a:lnTo>
                          <a:pt x="4128" y="860"/>
                        </a:lnTo>
                        <a:lnTo>
                          <a:pt x="4124" y="884"/>
                        </a:lnTo>
                        <a:lnTo>
                          <a:pt x="4120" y="896"/>
                        </a:lnTo>
                        <a:lnTo>
                          <a:pt x="4116" y="904"/>
                        </a:lnTo>
                        <a:lnTo>
                          <a:pt x="4114" y="906"/>
                        </a:lnTo>
                        <a:lnTo>
                          <a:pt x="4110" y="908"/>
                        </a:lnTo>
                        <a:lnTo>
                          <a:pt x="4106" y="908"/>
                        </a:lnTo>
                        <a:lnTo>
                          <a:pt x="4100" y="906"/>
                        </a:lnTo>
                        <a:lnTo>
                          <a:pt x="4100" y="906"/>
                        </a:lnTo>
                        <a:lnTo>
                          <a:pt x="4090" y="904"/>
                        </a:lnTo>
                        <a:lnTo>
                          <a:pt x="4086" y="906"/>
                        </a:lnTo>
                        <a:lnTo>
                          <a:pt x="4084" y="908"/>
                        </a:lnTo>
                        <a:lnTo>
                          <a:pt x="4084" y="912"/>
                        </a:lnTo>
                        <a:lnTo>
                          <a:pt x="4082" y="916"/>
                        </a:lnTo>
                        <a:lnTo>
                          <a:pt x="4080" y="922"/>
                        </a:lnTo>
                        <a:lnTo>
                          <a:pt x="4074" y="928"/>
                        </a:lnTo>
                        <a:lnTo>
                          <a:pt x="4060" y="934"/>
                        </a:lnTo>
                        <a:lnTo>
                          <a:pt x="4060" y="934"/>
                        </a:lnTo>
                        <a:lnTo>
                          <a:pt x="4048" y="936"/>
                        </a:lnTo>
                        <a:lnTo>
                          <a:pt x="4038" y="934"/>
                        </a:lnTo>
                        <a:lnTo>
                          <a:pt x="4030" y="930"/>
                        </a:lnTo>
                        <a:lnTo>
                          <a:pt x="4024" y="922"/>
                        </a:lnTo>
                        <a:lnTo>
                          <a:pt x="4018" y="914"/>
                        </a:lnTo>
                        <a:lnTo>
                          <a:pt x="4010" y="908"/>
                        </a:lnTo>
                        <a:lnTo>
                          <a:pt x="4002" y="902"/>
                        </a:lnTo>
                        <a:lnTo>
                          <a:pt x="3988" y="900"/>
                        </a:lnTo>
                        <a:lnTo>
                          <a:pt x="3988" y="900"/>
                        </a:lnTo>
                        <a:lnTo>
                          <a:pt x="3976" y="900"/>
                        </a:lnTo>
                        <a:lnTo>
                          <a:pt x="3972" y="900"/>
                        </a:lnTo>
                        <a:lnTo>
                          <a:pt x="3970" y="896"/>
                        </a:lnTo>
                        <a:lnTo>
                          <a:pt x="3972" y="892"/>
                        </a:lnTo>
                        <a:lnTo>
                          <a:pt x="3974" y="888"/>
                        </a:lnTo>
                        <a:lnTo>
                          <a:pt x="3976" y="884"/>
                        </a:lnTo>
                        <a:lnTo>
                          <a:pt x="3974" y="880"/>
                        </a:lnTo>
                        <a:lnTo>
                          <a:pt x="3968" y="874"/>
                        </a:lnTo>
                        <a:lnTo>
                          <a:pt x="3968" y="874"/>
                        </a:lnTo>
                        <a:lnTo>
                          <a:pt x="3962" y="870"/>
                        </a:lnTo>
                        <a:lnTo>
                          <a:pt x="3960" y="866"/>
                        </a:lnTo>
                        <a:lnTo>
                          <a:pt x="3962" y="864"/>
                        </a:lnTo>
                        <a:lnTo>
                          <a:pt x="3964" y="860"/>
                        </a:lnTo>
                        <a:lnTo>
                          <a:pt x="3966" y="856"/>
                        </a:lnTo>
                        <a:lnTo>
                          <a:pt x="3968" y="850"/>
                        </a:lnTo>
                        <a:lnTo>
                          <a:pt x="3968" y="844"/>
                        </a:lnTo>
                        <a:lnTo>
                          <a:pt x="3964" y="836"/>
                        </a:lnTo>
                        <a:lnTo>
                          <a:pt x="3964" y="836"/>
                        </a:lnTo>
                        <a:lnTo>
                          <a:pt x="3960" y="824"/>
                        </a:lnTo>
                        <a:lnTo>
                          <a:pt x="3958" y="814"/>
                        </a:lnTo>
                        <a:lnTo>
                          <a:pt x="3962" y="802"/>
                        </a:lnTo>
                        <a:lnTo>
                          <a:pt x="3966" y="794"/>
                        </a:lnTo>
                        <a:lnTo>
                          <a:pt x="3974" y="776"/>
                        </a:lnTo>
                        <a:lnTo>
                          <a:pt x="3974" y="770"/>
                        </a:lnTo>
                        <a:lnTo>
                          <a:pt x="3972" y="764"/>
                        </a:lnTo>
                        <a:lnTo>
                          <a:pt x="3972" y="764"/>
                        </a:lnTo>
                        <a:lnTo>
                          <a:pt x="3968" y="758"/>
                        </a:lnTo>
                        <a:lnTo>
                          <a:pt x="3964" y="758"/>
                        </a:lnTo>
                        <a:lnTo>
                          <a:pt x="3960" y="760"/>
                        </a:lnTo>
                        <a:lnTo>
                          <a:pt x="3958" y="764"/>
                        </a:lnTo>
                        <a:lnTo>
                          <a:pt x="3954" y="770"/>
                        </a:lnTo>
                        <a:lnTo>
                          <a:pt x="3952" y="772"/>
                        </a:lnTo>
                        <a:lnTo>
                          <a:pt x="3950" y="770"/>
                        </a:lnTo>
                        <a:lnTo>
                          <a:pt x="3950" y="770"/>
                        </a:lnTo>
                        <a:lnTo>
                          <a:pt x="3944" y="766"/>
                        </a:lnTo>
                        <a:lnTo>
                          <a:pt x="3936" y="762"/>
                        </a:lnTo>
                        <a:lnTo>
                          <a:pt x="3914" y="756"/>
                        </a:lnTo>
                        <a:lnTo>
                          <a:pt x="3902" y="752"/>
                        </a:lnTo>
                        <a:lnTo>
                          <a:pt x="3894" y="748"/>
                        </a:lnTo>
                        <a:lnTo>
                          <a:pt x="3888" y="742"/>
                        </a:lnTo>
                        <a:lnTo>
                          <a:pt x="3886" y="740"/>
                        </a:lnTo>
                        <a:lnTo>
                          <a:pt x="3886" y="736"/>
                        </a:lnTo>
                        <a:lnTo>
                          <a:pt x="3886" y="736"/>
                        </a:lnTo>
                        <a:lnTo>
                          <a:pt x="3886" y="728"/>
                        </a:lnTo>
                        <a:lnTo>
                          <a:pt x="3882" y="722"/>
                        </a:lnTo>
                        <a:lnTo>
                          <a:pt x="3878" y="716"/>
                        </a:lnTo>
                        <a:lnTo>
                          <a:pt x="3870" y="710"/>
                        </a:lnTo>
                        <a:lnTo>
                          <a:pt x="3826" y="680"/>
                        </a:lnTo>
                        <a:lnTo>
                          <a:pt x="3826" y="680"/>
                        </a:lnTo>
                        <a:lnTo>
                          <a:pt x="3806" y="668"/>
                        </a:lnTo>
                        <a:lnTo>
                          <a:pt x="3800" y="668"/>
                        </a:lnTo>
                        <a:lnTo>
                          <a:pt x="3796" y="666"/>
                        </a:lnTo>
                        <a:lnTo>
                          <a:pt x="3790" y="668"/>
                        </a:lnTo>
                        <a:lnTo>
                          <a:pt x="3788" y="670"/>
                        </a:lnTo>
                        <a:lnTo>
                          <a:pt x="3780" y="678"/>
                        </a:lnTo>
                        <a:lnTo>
                          <a:pt x="3774" y="680"/>
                        </a:lnTo>
                        <a:lnTo>
                          <a:pt x="3768" y="684"/>
                        </a:lnTo>
                        <a:lnTo>
                          <a:pt x="3760" y="684"/>
                        </a:lnTo>
                        <a:lnTo>
                          <a:pt x="3750" y="686"/>
                        </a:lnTo>
                        <a:lnTo>
                          <a:pt x="3736" y="684"/>
                        </a:lnTo>
                        <a:lnTo>
                          <a:pt x="3720" y="680"/>
                        </a:lnTo>
                        <a:lnTo>
                          <a:pt x="3700" y="674"/>
                        </a:lnTo>
                        <a:lnTo>
                          <a:pt x="3676" y="664"/>
                        </a:lnTo>
                        <a:lnTo>
                          <a:pt x="3676" y="664"/>
                        </a:lnTo>
                        <a:lnTo>
                          <a:pt x="3666" y="662"/>
                        </a:lnTo>
                        <a:lnTo>
                          <a:pt x="3656" y="660"/>
                        </a:lnTo>
                        <a:lnTo>
                          <a:pt x="3648" y="660"/>
                        </a:lnTo>
                        <a:lnTo>
                          <a:pt x="3642" y="662"/>
                        </a:lnTo>
                        <a:lnTo>
                          <a:pt x="3636" y="664"/>
                        </a:lnTo>
                        <a:lnTo>
                          <a:pt x="3632" y="668"/>
                        </a:lnTo>
                        <a:lnTo>
                          <a:pt x="3626" y="678"/>
                        </a:lnTo>
                        <a:lnTo>
                          <a:pt x="3622" y="690"/>
                        </a:lnTo>
                        <a:lnTo>
                          <a:pt x="3622" y="702"/>
                        </a:lnTo>
                        <a:lnTo>
                          <a:pt x="3626" y="712"/>
                        </a:lnTo>
                        <a:lnTo>
                          <a:pt x="3630" y="720"/>
                        </a:lnTo>
                        <a:lnTo>
                          <a:pt x="3630" y="720"/>
                        </a:lnTo>
                        <a:lnTo>
                          <a:pt x="3634" y="726"/>
                        </a:lnTo>
                        <a:lnTo>
                          <a:pt x="3636" y="732"/>
                        </a:lnTo>
                        <a:lnTo>
                          <a:pt x="3638" y="738"/>
                        </a:lnTo>
                        <a:lnTo>
                          <a:pt x="3638" y="746"/>
                        </a:lnTo>
                        <a:lnTo>
                          <a:pt x="3634" y="760"/>
                        </a:lnTo>
                        <a:lnTo>
                          <a:pt x="3626" y="772"/>
                        </a:lnTo>
                        <a:lnTo>
                          <a:pt x="3626" y="772"/>
                        </a:lnTo>
                        <a:lnTo>
                          <a:pt x="3622" y="776"/>
                        </a:lnTo>
                        <a:lnTo>
                          <a:pt x="3622" y="780"/>
                        </a:lnTo>
                        <a:lnTo>
                          <a:pt x="3624" y="782"/>
                        </a:lnTo>
                        <a:lnTo>
                          <a:pt x="3626" y="786"/>
                        </a:lnTo>
                        <a:lnTo>
                          <a:pt x="3634" y="794"/>
                        </a:lnTo>
                        <a:lnTo>
                          <a:pt x="3640" y="802"/>
                        </a:lnTo>
                        <a:lnTo>
                          <a:pt x="3644" y="814"/>
                        </a:lnTo>
                        <a:lnTo>
                          <a:pt x="3644" y="814"/>
                        </a:lnTo>
                        <a:lnTo>
                          <a:pt x="3648" y="824"/>
                        </a:lnTo>
                        <a:lnTo>
                          <a:pt x="3650" y="832"/>
                        </a:lnTo>
                        <a:lnTo>
                          <a:pt x="3650" y="840"/>
                        </a:lnTo>
                        <a:lnTo>
                          <a:pt x="3648" y="844"/>
                        </a:lnTo>
                        <a:lnTo>
                          <a:pt x="3642" y="854"/>
                        </a:lnTo>
                        <a:lnTo>
                          <a:pt x="3636" y="870"/>
                        </a:lnTo>
                        <a:lnTo>
                          <a:pt x="3636" y="870"/>
                        </a:lnTo>
                        <a:lnTo>
                          <a:pt x="3634" y="878"/>
                        </a:lnTo>
                        <a:lnTo>
                          <a:pt x="3630" y="882"/>
                        </a:lnTo>
                        <a:lnTo>
                          <a:pt x="3620" y="888"/>
                        </a:lnTo>
                        <a:lnTo>
                          <a:pt x="3616" y="890"/>
                        </a:lnTo>
                        <a:lnTo>
                          <a:pt x="3612" y="894"/>
                        </a:lnTo>
                        <a:lnTo>
                          <a:pt x="3610" y="900"/>
                        </a:lnTo>
                        <a:lnTo>
                          <a:pt x="3606" y="910"/>
                        </a:lnTo>
                        <a:lnTo>
                          <a:pt x="3606" y="910"/>
                        </a:lnTo>
                        <a:lnTo>
                          <a:pt x="3606" y="916"/>
                        </a:lnTo>
                        <a:lnTo>
                          <a:pt x="3608" y="920"/>
                        </a:lnTo>
                        <a:lnTo>
                          <a:pt x="3614" y="926"/>
                        </a:lnTo>
                        <a:lnTo>
                          <a:pt x="3622" y="932"/>
                        </a:lnTo>
                        <a:lnTo>
                          <a:pt x="3634" y="940"/>
                        </a:lnTo>
                        <a:lnTo>
                          <a:pt x="3648" y="950"/>
                        </a:lnTo>
                        <a:lnTo>
                          <a:pt x="3660" y="964"/>
                        </a:lnTo>
                        <a:lnTo>
                          <a:pt x="3666" y="972"/>
                        </a:lnTo>
                        <a:lnTo>
                          <a:pt x="3672" y="984"/>
                        </a:lnTo>
                        <a:lnTo>
                          <a:pt x="3678" y="996"/>
                        </a:lnTo>
                        <a:lnTo>
                          <a:pt x="3684" y="1010"/>
                        </a:lnTo>
                        <a:lnTo>
                          <a:pt x="3684" y="1010"/>
                        </a:lnTo>
                        <a:lnTo>
                          <a:pt x="3686" y="1026"/>
                        </a:lnTo>
                        <a:lnTo>
                          <a:pt x="3688" y="1040"/>
                        </a:lnTo>
                        <a:lnTo>
                          <a:pt x="3688" y="1052"/>
                        </a:lnTo>
                        <a:lnTo>
                          <a:pt x="3684" y="1066"/>
                        </a:lnTo>
                        <a:lnTo>
                          <a:pt x="3680" y="1078"/>
                        </a:lnTo>
                        <a:lnTo>
                          <a:pt x="3674" y="1088"/>
                        </a:lnTo>
                        <a:lnTo>
                          <a:pt x="3668" y="1100"/>
                        </a:lnTo>
                        <a:lnTo>
                          <a:pt x="3660" y="1108"/>
                        </a:lnTo>
                        <a:lnTo>
                          <a:pt x="3642" y="1126"/>
                        </a:lnTo>
                        <a:lnTo>
                          <a:pt x="3624" y="1140"/>
                        </a:lnTo>
                        <a:lnTo>
                          <a:pt x="3604" y="1150"/>
                        </a:lnTo>
                        <a:lnTo>
                          <a:pt x="3584" y="1158"/>
                        </a:lnTo>
                        <a:lnTo>
                          <a:pt x="3584" y="1158"/>
                        </a:lnTo>
                        <a:lnTo>
                          <a:pt x="3570" y="1166"/>
                        </a:lnTo>
                        <a:lnTo>
                          <a:pt x="3562" y="1172"/>
                        </a:lnTo>
                        <a:lnTo>
                          <a:pt x="3562" y="1174"/>
                        </a:lnTo>
                        <a:lnTo>
                          <a:pt x="3562" y="1176"/>
                        </a:lnTo>
                        <a:lnTo>
                          <a:pt x="3566" y="1184"/>
                        </a:lnTo>
                        <a:lnTo>
                          <a:pt x="3572" y="1190"/>
                        </a:lnTo>
                        <a:lnTo>
                          <a:pt x="3578" y="1200"/>
                        </a:lnTo>
                        <a:lnTo>
                          <a:pt x="3582" y="1212"/>
                        </a:lnTo>
                        <a:lnTo>
                          <a:pt x="3584" y="1220"/>
                        </a:lnTo>
                        <a:lnTo>
                          <a:pt x="3584" y="1228"/>
                        </a:lnTo>
                        <a:lnTo>
                          <a:pt x="3584" y="1228"/>
                        </a:lnTo>
                        <a:lnTo>
                          <a:pt x="3586" y="1244"/>
                        </a:lnTo>
                        <a:lnTo>
                          <a:pt x="3588" y="1260"/>
                        </a:lnTo>
                        <a:lnTo>
                          <a:pt x="3598" y="1290"/>
                        </a:lnTo>
                        <a:lnTo>
                          <a:pt x="3602" y="1302"/>
                        </a:lnTo>
                        <a:lnTo>
                          <a:pt x="3604" y="1314"/>
                        </a:lnTo>
                        <a:lnTo>
                          <a:pt x="3604" y="1324"/>
                        </a:lnTo>
                        <a:lnTo>
                          <a:pt x="3600" y="1328"/>
                        </a:lnTo>
                        <a:lnTo>
                          <a:pt x="3598" y="1330"/>
                        </a:lnTo>
                        <a:lnTo>
                          <a:pt x="3598" y="1330"/>
                        </a:lnTo>
                        <a:lnTo>
                          <a:pt x="3594" y="1334"/>
                        </a:lnTo>
                        <a:lnTo>
                          <a:pt x="3592" y="1336"/>
                        </a:lnTo>
                        <a:lnTo>
                          <a:pt x="3590" y="1344"/>
                        </a:lnTo>
                        <a:lnTo>
                          <a:pt x="3592" y="1352"/>
                        </a:lnTo>
                        <a:lnTo>
                          <a:pt x="3594" y="1358"/>
                        </a:lnTo>
                        <a:lnTo>
                          <a:pt x="3596" y="1362"/>
                        </a:lnTo>
                        <a:lnTo>
                          <a:pt x="3594" y="1366"/>
                        </a:lnTo>
                        <a:lnTo>
                          <a:pt x="3590" y="1364"/>
                        </a:lnTo>
                        <a:lnTo>
                          <a:pt x="3580" y="1358"/>
                        </a:lnTo>
                        <a:lnTo>
                          <a:pt x="3580" y="1358"/>
                        </a:lnTo>
                        <a:lnTo>
                          <a:pt x="3570" y="1354"/>
                        </a:lnTo>
                        <a:lnTo>
                          <a:pt x="3568" y="1354"/>
                        </a:lnTo>
                        <a:lnTo>
                          <a:pt x="3566" y="1356"/>
                        </a:lnTo>
                        <a:lnTo>
                          <a:pt x="3562" y="1362"/>
                        </a:lnTo>
                        <a:lnTo>
                          <a:pt x="3562" y="1370"/>
                        </a:lnTo>
                        <a:lnTo>
                          <a:pt x="3562" y="1376"/>
                        </a:lnTo>
                        <a:lnTo>
                          <a:pt x="3560" y="1382"/>
                        </a:lnTo>
                        <a:lnTo>
                          <a:pt x="3558" y="1384"/>
                        </a:lnTo>
                        <a:lnTo>
                          <a:pt x="3554" y="1384"/>
                        </a:lnTo>
                        <a:lnTo>
                          <a:pt x="3546" y="1380"/>
                        </a:lnTo>
                        <a:lnTo>
                          <a:pt x="3546" y="1380"/>
                        </a:lnTo>
                        <a:lnTo>
                          <a:pt x="3536" y="1372"/>
                        </a:lnTo>
                        <a:lnTo>
                          <a:pt x="3530" y="1366"/>
                        </a:lnTo>
                        <a:lnTo>
                          <a:pt x="3522" y="1352"/>
                        </a:lnTo>
                        <a:lnTo>
                          <a:pt x="3516" y="1342"/>
                        </a:lnTo>
                        <a:lnTo>
                          <a:pt x="3508" y="1332"/>
                        </a:lnTo>
                        <a:lnTo>
                          <a:pt x="3494" y="1316"/>
                        </a:lnTo>
                        <a:lnTo>
                          <a:pt x="3474" y="1298"/>
                        </a:lnTo>
                        <a:lnTo>
                          <a:pt x="3474" y="1298"/>
                        </a:lnTo>
                        <a:lnTo>
                          <a:pt x="3464" y="1286"/>
                        </a:lnTo>
                        <a:lnTo>
                          <a:pt x="3458" y="1276"/>
                        </a:lnTo>
                        <a:lnTo>
                          <a:pt x="3456" y="1266"/>
                        </a:lnTo>
                        <a:lnTo>
                          <a:pt x="3456" y="1254"/>
                        </a:lnTo>
                        <a:lnTo>
                          <a:pt x="3456" y="1234"/>
                        </a:lnTo>
                        <a:lnTo>
                          <a:pt x="3456" y="1222"/>
                        </a:lnTo>
                        <a:lnTo>
                          <a:pt x="3454" y="1210"/>
                        </a:lnTo>
                        <a:lnTo>
                          <a:pt x="3454" y="1210"/>
                        </a:lnTo>
                        <a:lnTo>
                          <a:pt x="3450" y="1194"/>
                        </a:lnTo>
                        <a:lnTo>
                          <a:pt x="3450" y="1182"/>
                        </a:lnTo>
                        <a:lnTo>
                          <a:pt x="3454" y="1172"/>
                        </a:lnTo>
                        <a:lnTo>
                          <a:pt x="3456" y="1162"/>
                        </a:lnTo>
                        <a:lnTo>
                          <a:pt x="3458" y="1154"/>
                        </a:lnTo>
                        <a:lnTo>
                          <a:pt x="3456" y="1148"/>
                        </a:lnTo>
                        <a:lnTo>
                          <a:pt x="3452" y="1142"/>
                        </a:lnTo>
                        <a:lnTo>
                          <a:pt x="3440" y="1138"/>
                        </a:lnTo>
                        <a:lnTo>
                          <a:pt x="3440" y="1138"/>
                        </a:lnTo>
                        <a:lnTo>
                          <a:pt x="3414" y="1134"/>
                        </a:lnTo>
                        <a:lnTo>
                          <a:pt x="3394" y="1130"/>
                        </a:lnTo>
                        <a:lnTo>
                          <a:pt x="3378" y="1130"/>
                        </a:lnTo>
                        <a:lnTo>
                          <a:pt x="3368" y="1130"/>
                        </a:lnTo>
                        <a:lnTo>
                          <a:pt x="3354" y="1132"/>
                        </a:lnTo>
                        <a:lnTo>
                          <a:pt x="3346" y="1132"/>
                        </a:lnTo>
                        <a:lnTo>
                          <a:pt x="3340" y="1130"/>
                        </a:lnTo>
                        <a:lnTo>
                          <a:pt x="3340" y="1130"/>
                        </a:lnTo>
                        <a:lnTo>
                          <a:pt x="3334" y="1128"/>
                        </a:lnTo>
                        <a:lnTo>
                          <a:pt x="3330" y="1124"/>
                        </a:lnTo>
                        <a:lnTo>
                          <a:pt x="3322" y="1116"/>
                        </a:lnTo>
                        <a:lnTo>
                          <a:pt x="3316" y="1110"/>
                        </a:lnTo>
                        <a:lnTo>
                          <a:pt x="3306" y="1104"/>
                        </a:lnTo>
                        <a:lnTo>
                          <a:pt x="3290" y="1098"/>
                        </a:lnTo>
                        <a:lnTo>
                          <a:pt x="3268" y="1092"/>
                        </a:lnTo>
                        <a:lnTo>
                          <a:pt x="3268" y="1092"/>
                        </a:lnTo>
                        <a:lnTo>
                          <a:pt x="3246" y="1084"/>
                        </a:lnTo>
                        <a:lnTo>
                          <a:pt x="3236" y="1078"/>
                        </a:lnTo>
                        <a:lnTo>
                          <a:pt x="3232" y="1072"/>
                        </a:lnTo>
                        <a:lnTo>
                          <a:pt x="3230" y="1066"/>
                        </a:lnTo>
                        <a:lnTo>
                          <a:pt x="3226" y="1058"/>
                        </a:lnTo>
                        <a:lnTo>
                          <a:pt x="3216" y="1048"/>
                        </a:lnTo>
                        <a:lnTo>
                          <a:pt x="3198" y="1036"/>
                        </a:lnTo>
                        <a:lnTo>
                          <a:pt x="3166" y="1022"/>
                        </a:lnTo>
                        <a:lnTo>
                          <a:pt x="3166" y="1022"/>
                        </a:lnTo>
                        <a:lnTo>
                          <a:pt x="3146" y="1016"/>
                        </a:lnTo>
                        <a:lnTo>
                          <a:pt x="3130" y="1012"/>
                        </a:lnTo>
                        <a:lnTo>
                          <a:pt x="3114" y="1010"/>
                        </a:lnTo>
                        <a:lnTo>
                          <a:pt x="3102" y="1010"/>
                        </a:lnTo>
                        <a:lnTo>
                          <a:pt x="3090" y="1012"/>
                        </a:lnTo>
                        <a:lnTo>
                          <a:pt x="3080" y="1014"/>
                        </a:lnTo>
                        <a:lnTo>
                          <a:pt x="3064" y="1020"/>
                        </a:lnTo>
                        <a:lnTo>
                          <a:pt x="3052" y="1026"/>
                        </a:lnTo>
                        <a:lnTo>
                          <a:pt x="3046" y="1028"/>
                        </a:lnTo>
                        <a:lnTo>
                          <a:pt x="3044" y="1026"/>
                        </a:lnTo>
                        <a:lnTo>
                          <a:pt x="3042" y="1022"/>
                        </a:lnTo>
                        <a:lnTo>
                          <a:pt x="3040" y="1008"/>
                        </a:lnTo>
                        <a:lnTo>
                          <a:pt x="3040" y="1008"/>
                        </a:lnTo>
                        <a:lnTo>
                          <a:pt x="3040" y="992"/>
                        </a:lnTo>
                        <a:lnTo>
                          <a:pt x="3038" y="978"/>
                        </a:lnTo>
                        <a:lnTo>
                          <a:pt x="3032" y="962"/>
                        </a:lnTo>
                        <a:lnTo>
                          <a:pt x="3026" y="948"/>
                        </a:lnTo>
                        <a:lnTo>
                          <a:pt x="3024" y="938"/>
                        </a:lnTo>
                        <a:lnTo>
                          <a:pt x="3020" y="928"/>
                        </a:lnTo>
                        <a:lnTo>
                          <a:pt x="3020" y="928"/>
                        </a:lnTo>
                        <a:lnTo>
                          <a:pt x="3018" y="922"/>
                        </a:lnTo>
                        <a:lnTo>
                          <a:pt x="3016" y="918"/>
                        </a:lnTo>
                        <a:lnTo>
                          <a:pt x="3012" y="914"/>
                        </a:lnTo>
                        <a:lnTo>
                          <a:pt x="3008" y="914"/>
                        </a:lnTo>
                        <a:lnTo>
                          <a:pt x="2998" y="912"/>
                        </a:lnTo>
                        <a:lnTo>
                          <a:pt x="2986" y="912"/>
                        </a:lnTo>
                        <a:lnTo>
                          <a:pt x="2974" y="910"/>
                        </a:lnTo>
                        <a:lnTo>
                          <a:pt x="2968" y="908"/>
                        </a:lnTo>
                        <a:lnTo>
                          <a:pt x="2962" y="904"/>
                        </a:lnTo>
                        <a:lnTo>
                          <a:pt x="2958" y="898"/>
                        </a:lnTo>
                        <a:lnTo>
                          <a:pt x="2954" y="890"/>
                        </a:lnTo>
                        <a:lnTo>
                          <a:pt x="2950" y="882"/>
                        </a:lnTo>
                        <a:lnTo>
                          <a:pt x="2948" y="868"/>
                        </a:lnTo>
                        <a:lnTo>
                          <a:pt x="2948" y="868"/>
                        </a:lnTo>
                        <a:lnTo>
                          <a:pt x="2948" y="854"/>
                        </a:lnTo>
                        <a:lnTo>
                          <a:pt x="2948" y="840"/>
                        </a:lnTo>
                        <a:lnTo>
                          <a:pt x="2952" y="824"/>
                        </a:lnTo>
                        <a:lnTo>
                          <a:pt x="2956" y="808"/>
                        </a:lnTo>
                        <a:lnTo>
                          <a:pt x="2968" y="778"/>
                        </a:lnTo>
                        <a:lnTo>
                          <a:pt x="2982" y="750"/>
                        </a:lnTo>
                        <a:lnTo>
                          <a:pt x="2998" y="724"/>
                        </a:lnTo>
                        <a:lnTo>
                          <a:pt x="3014" y="706"/>
                        </a:lnTo>
                        <a:lnTo>
                          <a:pt x="3026" y="692"/>
                        </a:lnTo>
                        <a:lnTo>
                          <a:pt x="3030" y="690"/>
                        </a:lnTo>
                        <a:lnTo>
                          <a:pt x="3034" y="690"/>
                        </a:lnTo>
                        <a:lnTo>
                          <a:pt x="3034" y="690"/>
                        </a:lnTo>
                        <a:lnTo>
                          <a:pt x="3038" y="688"/>
                        </a:lnTo>
                        <a:lnTo>
                          <a:pt x="3042" y="684"/>
                        </a:lnTo>
                        <a:lnTo>
                          <a:pt x="3044" y="670"/>
                        </a:lnTo>
                        <a:lnTo>
                          <a:pt x="3048" y="662"/>
                        </a:lnTo>
                        <a:lnTo>
                          <a:pt x="3052" y="654"/>
                        </a:lnTo>
                        <a:lnTo>
                          <a:pt x="3060" y="648"/>
                        </a:lnTo>
                        <a:lnTo>
                          <a:pt x="3070" y="646"/>
                        </a:lnTo>
                        <a:lnTo>
                          <a:pt x="3070" y="646"/>
                        </a:lnTo>
                        <a:lnTo>
                          <a:pt x="3096" y="644"/>
                        </a:lnTo>
                        <a:lnTo>
                          <a:pt x="3106" y="640"/>
                        </a:lnTo>
                        <a:lnTo>
                          <a:pt x="3116" y="636"/>
                        </a:lnTo>
                        <a:lnTo>
                          <a:pt x="3120" y="630"/>
                        </a:lnTo>
                        <a:lnTo>
                          <a:pt x="3120" y="624"/>
                        </a:lnTo>
                        <a:lnTo>
                          <a:pt x="3116" y="614"/>
                        </a:lnTo>
                        <a:lnTo>
                          <a:pt x="3106" y="604"/>
                        </a:lnTo>
                        <a:lnTo>
                          <a:pt x="3106" y="604"/>
                        </a:lnTo>
                        <a:lnTo>
                          <a:pt x="3098" y="596"/>
                        </a:lnTo>
                        <a:lnTo>
                          <a:pt x="3098" y="594"/>
                        </a:lnTo>
                        <a:lnTo>
                          <a:pt x="3098" y="592"/>
                        </a:lnTo>
                        <a:lnTo>
                          <a:pt x="3104" y="590"/>
                        </a:lnTo>
                        <a:lnTo>
                          <a:pt x="3112" y="590"/>
                        </a:lnTo>
                        <a:lnTo>
                          <a:pt x="3124" y="590"/>
                        </a:lnTo>
                        <a:lnTo>
                          <a:pt x="3136" y="586"/>
                        </a:lnTo>
                        <a:lnTo>
                          <a:pt x="3140" y="584"/>
                        </a:lnTo>
                        <a:lnTo>
                          <a:pt x="3144" y="580"/>
                        </a:lnTo>
                        <a:lnTo>
                          <a:pt x="3148" y="576"/>
                        </a:lnTo>
                        <a:lnTo>
                          <a:pt x="3150" y="568"/>
                        </a:lnTo>
                        <a:lnTo>
                          <a:pt x="3150" y="568"/>
                        </a:lnTo>
                        <a:lnTo>
                          <a:pt x="3152" y="562"/>
                        </a:lnTo>
                        <a:lnTo>
                          <a:pt x="3154" y="558"/>
                        </a:lnTo>
                        <a:lnTo>
                          <a:pt x="3156" y="556"/>
                        </a:lnTo>
                        <a:lnTo>
                          <a:pt x="3158" y="556"/>
                        </a:lnTo>
                        <a:lnTo>
                          <a:pt x="3166" y="560"/>
                        </a:lnTo>
                        <a:lnTo>
                          <a:pt x="3176" y="566"/>
                        </a:lnTo>
                        <a:lnTo>
                          <a:pt x="3188" y="570"/>
                        </a:lnTo>
                        <a:lnTo>
                          <a:pt x="3194" y="572"/>
                        </a:lnTo>
                        <a:lnTo>
                          <a:pt x="3200" y="570"/>
                        </a:lnTo>
                        <a:lnTo>
                          <a:pt x="3206" y="568"/>
                        </a:lnTo>
                        <a:lnTo>
                          <a:pt x="3214" y="562"/>
                        </a:lnTo>
                        <a:lnTo>
                          <a:pt x="3220" y="554"/>
                        </a:lnTo>
                        <a:lnTo>
                          <a:pt x="3228" y="542"/>
                        </a:lnTo>
                        <a:lnTo>
                          <a:pt x="3228" y="542"/>
                        </a:lnTo>
                        <a:lnTo>
                          <a:pt x="3242" y="520"/>
                        </a:lnTo>
                        <a:lnTo>
                          <a:pt x="3252" y="506"/>
                        </a:lnTo>
                        <a:lnTo>
                          <a:pt x="3258" y="496"/>
                        </a:lnTo>
                        <a:lnTo>
                          <a:pt x="3260" y="492"/>
                        </a:lnTo>
                        <a:lnTo>
                          <a:pt x="3258" y="490"/>
                        </a:lnTo>
                        <a:lnTo>
                          <a:pt x="3256" y="488"/>
                        </a:lnTo>
                        <a:lnTo>
                          <a:pt x="3244" y="486"/>
                        </a:lnTo>
                        <a:lnTo>
                          <a:pt x="3228" y="484"/>
                        </a:lnTo>
                        <a:lnTo>
                          <a:pt x="3204" y="478"/>
                        </a:lnTo>
                        <a:lnTo>
                          <a:pt x="3204" y="478"/>
                        </a:lnTo>
                        <a:lnTo>
                          <a:pt x="3186" y="474"/>
                        </a:lnTo>
                        <a:lnTo>
                          <a:pt x="3176" y="470"/>
                        </a:lnTo>
                        <a:lnTo>
                          <a:pt x="3170" y="464"/>
                        </a:lnTo>
                        <a:lnTo>
                          <a:pt x="3164" y="460"/>
                        </a:lnTo>
                        <a:lnTo>
                          <a:pt x="3154" y="450"/>
                        </a:lnTo>
                        <a:lnTo>
                          <a:pt x="3144" y="444"/>
                        </a:lnTo>
                        <a:lnTo>
                          <a:pt x="3132" y="438"/>
                        </a:lnTo>
                        <a:lnTo>
                          <a:pt x="3132" y="438"/>
                        </a:lnTo>
                        <a:lnTo>
                          <a:pt x="3140" y="438"/>
                        </a:lnTo>
                        <a:lnTo>
                          <a:pt x="3148" y="438"/>
                        </a:lnTo>
                        <a:lnTo>
                          <a:pt x="3158" y="440"/>
                        </a:lnTo>
                        <a:lnTo>
                          <a:pt x="3166" y="442"/>
                        </a:lnTo>
                        <a:lnTo>
                          <a:pt x="3184" y="452"/>
                        </a:lnTo>
                        <a:lnTo>
                          <a:pt x="3202" y="462"/>
                        </a:lnTo>
                        <a:lnTo>
                          <a:pt x="3220" y="470"/>
                        </a:lnTo>
                        <a:lnTo>
                          <a:pt x="3230" y="472"/>
                        </a:lnTo>
                        <a:lnTo>
                          <a:pt x="3238" y="474"/>
                        </a:lnTo>
                        <a:lnTo>
                          <a:pt x="3246" y="474"/>
                        </a:lnTo>
                        <a:lnTo>
                          <a:pt x="3254" y="472"/>
                        </a:lnTo>
                        <a:lnTo>
                          <a:pt x="3262" y="466"/>
                        </a:lnTo>
                        <a:lnTo>
                          <a:pt x="3270" y="460"/>
                        </a:lnTo>
                        <a:lnTo>
                          <a:pt x="3270" y="460"/>
                        </a:lnTo>
                        <a:lnTo>
                          <a:pt x="3296" y="434"/>
                        </a:lnTo>
                        <a:lnTo>
                          <a:pt x="3302" y="426"/>
                        </a:lnTo>
                        <a:lnTo>
                          <a:pt x="3304" y="420"/>
                        </a:lnTo>
                        <a:lnTo>
                          <a:pt x="3304" y="416"/>
                        </a:lnTo>
                        <a:lnTo>
                          <a:pt x="3298" y="412"/>
                        </a:lnTo>
                        <a:lnTo>
                          <a:pt x="3278" y="402"/>
                        </a:lnTo>
                        <a:lnTo>
                          <a:pt x="3278" y="402"/>
                        </a:lnTo>
                        <a:lnTo>
                          <a:pt x="3270" y="394"/>
                        </a:lnTo>
                        <a:lnTo>
                          <a:pt x="3270" y="392"/>
                        </a:lnTo>
                        <a:lnTo>
                          <a:pt x="3270" y="390"/>
                        </a:lnTo>
                        <a:lnTo>
                          <a:pt x="3278" y="388"/>
                        </a:lnTo>
                        <a:lnTo>
                          <a:pt x="3288" y="388"/>
                        </a:lnTo>
                        <a:lnTo>
                          <a:pt x="3302" y="388"/>
                        </a:lnTo>
                        <a:lnTo>
                          <a:pt x="3316" y="390"/>
                        </a:lnTo>
                        <a:lnTo>
                          <a:pt x="3328" y="394"/>
                        </a:lnTo>
                        <a:lnTo>
                          <a:pt x="3336" y="400"/>
                        </a:lnTo>
                        <a:lnTo>
                          <a:pt x="3336" y="400"/>
                        </a:lnTo>
                        <a:lnTo>
                          <a:pt x="3346" y="410"/>
                        </a:lnTo>
                        <a:lnTo>
                          <a:pt x="3356" y="418"/>
                        </a:lnTo>
                        <a:lnTo>
                          <a:pt x="3366" y="426"/>
                        </a:lnTo>
                        <a:lnTo>
                          <a:pt x="3374" y="438"/>
                        </a:lnTo>
                        <a:lnTo>
                          <a:pt x="3374" y="438"/>
                        </a:lnTo>
                        <a:lnTo>
                          <a:pt x="3380" y="448"/>
                        </a:lnTo>
                        <a:lnTo>
                          <a:pt x="3388" y="452"/>
                        </a:lnTo>
                        <a:lnTo>
                          <a:pt x="3398" y="454"/>
                        </a:lnTo>
                        <a:lnTo>
                          <a:pt x="3410" y="452"/>
                        </a:lnTo>
                        <a:lnTo>
                          <a:pt x="3410" y="452"/>
                        </a:lnTo>
                        <a:lnTo>
                          <a:pt x="3412" y="450"/>
                        </a:lnTo>
                        <a:lnTo>
                          <a:pt x="3414" y="448"/>
                        </a:lnTo>
                        <a:lnTo>
                          <a:pt x="3412" y="444"/>
                        </a:lnTo>
                        <a:lnTo>
                          <a:pt x="3398" y="436"/>
                        </a:lnTo>
                        <a:lnTo>
                          <a:pt x="3392" y="432"/>
                        </a:lnTo>
                        <a:lnTo>
                          <a:pt x="3386" y="426"/>
                        </a:lnTo>
                        <a:lnTo>
                          <a:pt x="3384" y="424"/>
                        </a:lnTo>
                        <a:lnTo>
                          <a:pt x="3384" y="422"/>
                        </a:lnTo>
                        <a:lnTo>
                          <a:pt x="3386" y="418"/>
                        </a:lnTo>
                        <a:lnTo>
                          <a:pt x="3390" y="416"/>
                        </a:lnTo>
                        <a:lnTo>
                          <a:pt x="3390" y="416"/>
                        </a:lnTo>
                        <a:lnTo>
                          <a:pt x="3398" y="412"/>
                        </a:lnTo>
                        <a:lnTo>
                          <a:pt x="3404" y="406"/>
                        </a:lnTo>
                        <a:lnTo>
                          <a:pt x="3414" y="396"/>
                        </a:lnTo>
                        <a:lnTo>
                          <a:pt x="3426" y="388"/>
                        </a:lnTo>
                        <a:lnTo>
                          <a:pt x="3432" y="386"/>
                        </a:lnTo>
                        <a:lnTo>
                          <a:pt x="3438" y="386"/>
                        </a:lnTo>
                        <a:lnTo>
                          <a:pt x="3438" y="386"/>
                        </a:lnTo>
                        <a:lnTo>
                          <a:pt x="3444" y="386"/>
                        </a:lnTo>
                        <a:lnTo>
                          <a:pt x="3450" y="384"/>
                        </a:lnTo>
                        <a:lnTo>
                          <a:pt x="3456" y="380"/>
                        </a:lnTo>
                        <a:lnTo>
                          <a:pt x="3460" y="374"/>
                        </a:lnTo>
                        <a:lnTo>
                          <a:pt x="3468" y="364"/>
                        </a:lnTo>
                        <a:lnTo>
                          <a:pt x="3474" y="360"/>
                        </a:lnTo>
                        <a:lnTo>
                          <a:pt x="3478" y="360"/>
                        </a:lnTo>
                        <a:lnTo>
                          <a:pt x="3478" y="360"/>
                        </a:lnTo>
                        <a:lnTo>
                          <a:pt x="3484" y="358"/>
                        </a:lnTo>
                        <a:lnTo>
                          <a:pt x="3490" y="354"/>
                        </a:lnTo>
                        <a:lnTo>
                          <a:pt x="3492" y="348"/>
                        </a:lnTo>
                        <a:lnTo>
                          <a:pt x="3494" y="342"/>
                        </a:lnTo>
                        <a:lnTo>
                          <a:pt x="3492" y="334"/>
                        </a:lnTo>
                        <a:lnTo>
                          <a:pt x="3488" y="324"/>
                        </a:lnTo>
                        <a:lnTo>
                          <a:pt x="3482" y="316"/>
                        </a:lnTo>
                        <a:lnTo>
                          <a:pt x="3472" y="306"/>
                        </a:lnTo>
                        <a:lnTo>
                          <a:pt x="3472" y="306"/>
                        </a:lnTo>
                        <a:lnTo>
                          <a:pt x="3464" y="298"/>
                        </a:lnTo>
                        <a:lnTo>
                          <a:pt x="3460" y="292"/>
                        </a:lnTo>
                        <a:lnTo>
                          <a:pt x="3460" y="288"/>
                        </a:lnTo>
                        <a:lnTo>
                          <a:pt x="3462" y="284"/>
                        </a:lnTo>
                        <a:lnTo>
                          <a:pt x="3464" y="282"/>
                        </a:lnTo>
                        <a:lnTo>
                          <a:pt x="3466" y="278"/>
                        </a:lnTo>
                        <a:lnTo>
                          <a:pt x="3464" y="272"/>
                        </a:lnTo>
                        <a:lnTo>
                          <a:pt x="3458" y="266"/>
                        </a:lnTo>
                        <a:lnTo>
                          <a:pt x="3458" y="266"/>
                        </a:lnTo>
                        <a:lnTo>
                          <a:pt x="3452" y="260"/>
                        </a:lnTo>
                        <a:lnTo>
                          <a:pt x="3452" y="258"/>
                        </a:lnTo>
                        <a:lnTo>
                          <a:pt x="3452" y="258"/>
                        </a:lnTo>
                        <a:lnTo>
                          <a:pt x="3458" y="256"/>
                        </a:lnTo>
                        <a:lnTo>
                          <a:pt x="3466" y="256"/>
                        </a:lnTo>
                        <a:lnTo>
                          <a:pt x="3476" y="256"/>
                        </a:lnTo>
                        <a:lnTo>
                          <a:pt x="3484" y="254"/>
                        </a:lnTo>
                        <a:lnTo>
                          <a:pt x="3492" y="250"/>
                        </a:lnTo>
                        <a:lnTo>
                          <a:pt x="3494" y="248"/>
                        </a:lnTo>
                        <a:lnTo>
                          <a:pt x="3496" y="242"/>
                        </a:lnTo>
                        <a:lnTo>
                          <a:pt x="3496" y="242"/>
                        </a:lnTo>
                        <a:lnTo>
                          <a:pt x="3498" y="234"/>
                        </a:lnTo>
                        <a:lnTo>
                          <a:pt x="3496" y="230"/>
                        </a:lnTo>
                        <a:lnTo>
                          <a:pt x="3492" y="228"/>
                        </a:lnTo>
                        <a:lnTo>
                          <a:pt x="3488" y="226"/>
                        </a:lnTo>
                        <a:lnTo>
                          <a:pt x="3486" y="224"/>
                        </a:lnTo>
                        <a:lnTo>
                          <a:pt x="3484" y="222"/>
                        </a:lnTo>
                        <a:lnTo>
                          <a:pt x="3484" y="220"/>
                        </a:lnTo>
                        <a:lnTo>
                          <a:pt x="3490" y="214"/>
                        </a:lnTo>
                        <a:lnTo>
                          <a:pt x="3490" y="214"/>
                        </a:lnTo>
                        <a:lnTo>
                          <a:pt x="3492" y="206"/>
                        </a:lnTo>
                        <a:lnTo>
                          <a:pt x="3492" y="204"/>
                        </a:lnTo>
                        <a:lnTo>
                          <a:pt x="3486" y="202"/>
                        </a:lnTo>
                        <a:lnTo>
                          <a:pt x="3480" y="200"/>
                        </a:lnTo>
                        <a:lnTo>
                          <a:pt x="3472" y="198"/>
                        </a:lnTo>
                        <a:lnTo>
                          <a:pt x="3464" y="196"/>
                        </a:lnTo>
                        <a:lnTo>
                          <a:pt x="3458" y="192"/>
                        </a:lnTo>
                        <a:lnTo>
                          <a:pt x="3454" y="182"/>
                        </a:lnTo>
                        <a:lnTo>
                          <a:pt x="3454" y="182"/>
                        </a:lnTo>
                        <a:lnTo>
                          <a:pt x="3452" y="174"/>
                        </a:lnTo>
                        <a:lnTo>
                          <a:pt x="3446" y="170"/>
                        </a:lnTo>
                        <a:lnTo>
                          <a:pt x="3438" y="168"/>
                        </a:lnTo>
                        <a:lnTo>
                          <a:pt x="3428" y="168"/>
                        </a:lnTo>
                        <a:lnTo>
                          <a:pt x="3404" y="166"/>
                        </a:lnTo>
                        <a:lnTo>
                          <a:pt x="3392" y="164"/>
                        </a:lnTo>
                        <a:lnTo>
                          <a:pt x="3378" y="160"/>
                        </a:lnTo>
                        <a:lnTo>
                          <a:pt x="3378" y="160"/>
                        </a:lnTo>
                        <a:lnTo>
                          <a:pt x="3360" y="152"/>
                        </a:lnTo>
                        <a:lnTo>
                          <a:pt x="3356" y="152"/>
                        </a:lnTo>
                        <a:lnTo>
                          <a:pt x="3354" y="152"/>
                        </a:lnTo>
                        <a:lnTo>
                          <a:pt x="3348" y="156"/>
                        </a:lnTo>
                        <a:lnTo>
                          <a:pt x="3344" y="158"/>
                        </a:lnTo>
                        <a:lnTo>
                          <a:pt x="3334" y="158"/>
                        </a:lnTo>
                        <a:lnTo>
                          <a:pt x="3334" y="158"/>
                        </a:lnTo>
                        <a:lnTo>
                          <a:pt x="3326" y="160"/>
                        </a:lnTo>
                        <a:lnTo>
                          <a:pt x="3320" y="164"/>
                        </a:lnTo>
                        <a:lnTo>
                          <a:pt x="3318" y="172"/>
                        </a:lnTo>
                        <a:lnTo>
                          <a:pt x="3318" y="180"/>
                        </a:lnTo>
                        <a:lnTo>
                          <a:pt x="3322" y="190"/>
                        </a:lnTo>
                        <a:lnTo>
                          <a:pt x="3326" y="198"/>
                        </a:lnTo>
                        <a:lnTo>
                          <a:pt x="3330" y="206"/>
                        </a:lnTo>
                        <a:lnTo>
                          <a:pt x="3338" y="210"/>
                        </a:lnTo>
                        <a:lnTo>
                          <a:pt x="3338" y="210"/>
                        </a:lnTo>
                        <a:lnTo>
                          <a:pt x="3342" y="212"/>
                        </a:lnTo>
                        <a:lnTo>
                          <a:pt x="3346" y="216"/>
                        </a:lnTo>
                        <a:lnTo>
                          <a:pt x="3346" y="222"/>
                        </a:lnTo>
                        <a:lnTo>
                          <a:pt x="3344" y="226"/>
                        </a:lnTo>
                        <a:lnTo>
                          <a:pt x="3342" y="230"/>
                        </a:lnTo>
                        <a:lnTo>
                          <a:pt x="3338" y="232"/>
                        </a:lnTo>
                        <a:lnTo>
                          <a:pt x="3332" y="234"/>
                        </a:lnTo>
                        <a:lnTo>
                          <a:pt x="3326" y="234"/>
                        </a:lnTo>
                        <a:lnTo>
                          <a:pt x="3326" y="234"/>
                        </a:lnTo>
                        <a:lnTo>
                          <a:pt x="3322" y="236"/>
                        </a:lnTo>
                        <a:lnTo>
                          <a:pt x="3320" y="240"/>
                        </a:lnTo>
                        <a:lnTo>
                          <a:pt x="3318" y="256"/>
                        </a:lnTo>
                        <a:lnTo>
                          <a:pt x="3318" y="266"/>
                        </a:lnTo>
                        <a:lnTo>
                          <a:pt x="3316" y="278"/>
                        </a:lnTo>
                        <a:lnTo>
                          <a:pt x="3310" y="288"/>
                        </a:lnTo>
                        <a:lnTo>
                          <a:pt x="3300" y="296"/>
                        </a:lnTo>
                        <a:lnTo>
                          <a:pt x="3300" y="296"/>
                        </a:lnTo>
                        <a:lnTo>
                          <a:pt x="3292" y="302"/>
                        </a:lnTo>
                        <a:lnTo>
                          <a:pt x="3286" y="310"/>
                        </a:lnTo>
                        <a:lnTo>
                          <a:pt x="3284" y="316"/>
                        </a:lnTo>
                        <a:lnTo>
                          <a:pt x="3282" y="322"/>
                        </a:lnTo>
                        <a:lnTo>
                          <a:pt x="3280" y="328"/>
                        </a:lnTo>
                        <a:lnTo>
                          <a:pt x="3278" y="332"/>
                        </a:lnTo>
                        <a:lnTo>
                          <a:pt x="3274" y="338"/>
                        </a:lnTo>
                        <a:lnTo>
                          <a:pt x="3264" y="342"/>
                        </a:lnTo>
                        <a:lnTo>
                          <a:pt x="3264" y="342"/>
                        </a:lnTo>
                        <a:lnTo>
                          <a:pt x="3250" y="344"/>
                        </a:lnTo>
                        <a:lnTo>
                          <a:pt x="3246" y="344"/>
                        </a:lnTo>
                        <a:lnTo>
                          <a:pt x="3244" y="340"/>
                        </a:lnTo>
                        <a:lnTo>
                          <a:pt x="3238" y="330"/>
                        </a:lnTo>
                        <a:lnTo>
                          <a:pt x="3232" y="322"/>
                        </a:lnTo>
                        <a:lnTo>
                          <a:pt x="3222" y="312"/>
                        </a:lnTo>
                        <a:lnTo>
                          <a:pt x="3222" y="312"/>
                        </a:lnTo>
                        <a:lnTo>
                          <a:pt x="3214" y="304"/>
                        </a:lnTo>
                        <a:lnTo>
                          <a:pt x="3210" y="298"/>
                        </a:lnTo>
                        <a:lnTo>
                          <a:pt x="3212" y="292"/>
                        </a:lnTo>
                        <a:lnTo>
                          <a:pt x="3216" y="288"/>
                        </a:lnTo>
                        <a:lnTo>
                          <a:pt x="3226" y="280"/>
                        </a:lnTo>
                        <a:lnTo>
                          <a:pt x="3232" y="276"/>
                        </a:lnTo>
                        <a:lnTo>
                          <a:pt x="3234" y="270"/>
                        </a:lnTo>
                        <a:lnTo>
                          <a:pt x="3234" y="270"/>
                        </a:lnTo>
                        <a:lnTo>
                          <a:pt x="3232" y="260"/>
                        </a:lnTo>
                        <a:lnTo>
                          <a:pt x="3228" y="248"/>
                        </a:lnTo>
                        <a:lnTo>
                          <a:pt x="3220" y="234"/>
                        </a:lnTo>
                        <a:lnTo>
                          <a:pt x="3212" y="220"/>
                        </a:lnTo>
                        <a:lnTo>
                          <a:pt x="3200" y="210"/>
                        </a:lnTo>
                        <a:lnTo>
                          <a:pt x="3190" y="202"/>
                        </a:lnTo>
                        <a:lnTo>
                          <a:pt x="3184" y="200"/>
                        </a:lnTo>
                        <a:lnTo>
                          <a:pt x="3178" y="200"/>
                        </a:lnTo>
                        <a:lnTo>
                          <a:pt x="3172" y="202"/>
                        </a:lnTo>
                        <a:lnTo>
                          <a:pt x="3168" y="206"/>
                        </a:lnTo>
                        <a:lnTo>
                          <a:pt x="3168" y="206"/>
                        </a:lnTo>
                        <a:lnTo>
                          <a:pt x="3158" y="216"/>
                        </a:lnTo>
                        <a:lnTo>
                          <a:pt x="3154" y="230"/>
                        </a:lnTo>
                        <a:lnTo>
                          <a:pt x="3148" y="254"/>
                        </a:lnTo>
                        <a:lnTo>
                          <a:pt x="3146" y="262"/>
                        </a:lnTo>
                        <a:lnTo>
                          <a:pt x="3142" y="268"/>
                        </a:lnTo>
                        <a:lnTo>
                          <a:pt x="3140" y="268"/>
                        </a:lnTo>
                        <a:lnTo>
                          <a:pt x="3138" y="268"/>
                        </a:lnTo>
                        <a:lnTo>
                          <a:pt x="3130" y="260"/>
                        </a:lnTo>
                        <a:lnTo>
                          <a:pt x="3130" y="260"/>
                        </a:lnTo>
                        <a:lnTo>
                          <a:pt x="3124" y="252"/>
                        </a:lnTo>
                        <a:lnTo>
                          <a:pt x="3122" y="246"/>
                        </a:lnTo>
                        <a:lnTo>
                          <a:pt x="3122" y="242"/>
                        </a:lnTo>
                        <a:lnTo>
                          <a:pt x="3124" y="238"/>
                        </a:lnTo>
                        <a:lnTo>
                          <a:pt x="3126" y="236"/>
                        </a:lnTo>
                        <a:lnTo>
                          <a:pt x="3128" y="232"/>
                        </a:lnTo>
                        <a:lnTo>
                          <a:pt x="3124" y="226"/>
                        </a:lnTo>
                        <a:lnTo>
                          <a:pt x="3118" y="216"/>
                        </a:lnTo>
                        <a:lnTo>
                          <a:pt x="3118" y="216"/>
                        </a:lnTo>
                        <a:lnTo>
                          <a:pt x="3112" y="208"/>
                        </a:lnTo>
                        <a:lnTo>
                          <a:pt x="3110" y="204"/>
                        </a:lnTo>
                        <a:lnTo>
                          <a:pt x="3110" y="202"/>
                        </a:lnTo>
                        <a:lnTo>
                          <a:pt x="3114" y="198"/>
                        </a:lnTo>
                        <a:lnTo>
                          <a:pt x="3120" y="194"/>
                        </a:lnTo>
                        <a:lnTo>
                          <a:pt x="3126" y="192"/>
                        </a:lnTo>
                        <a:lnTo>
                          <a:pt x="3128" y="190"/>
                        </a:lnTo>
                        <a:lnTo>
                          <a:pt x="3126" y="186"/>
                        </a:lnTo>
                        <a:lnTo>
                          <a:pt x="3116" y="180"/>
                        </a:lnTo>
                        <a:lnTo>
                          <a:pt x="3116" y="180"/>
                        </a:lnTo>
                        <a:lnTo>
                          <a:pt x="3104" y="174"/>
                        </a:lnTo>
                        <a:lnTo>
                          <a:pt x="3094" y="172"/>
                        </a:lnTo>
                        <a:lnTo>
                          <a:pt x="3088" y="172"/>
                        </a:lnTo>
                        <a:lnTo>
                          <a:pt x="3082" y="174"/>
                        </a:lnTo>
                        <a:lnTo>
                          <a:pt x="3076" y="176"/>
                        </a:lnTo>
                        <a:lnTo>
                          <a:pt x="3070" y="178"/>
                        </a:lnTo>
                        <a:lnTo>
                          <a:pt x="3064" y="176"/>
                        </a:lnTo>
                        <a:lnTo>
                          <a:pt x="3054" y="172"/>
                        </a:lnTo>
                        <a:lnTo>
                          <a:pt x="3054" y="172"/>
                        </a:lnTo>
                        <a:lnTo>
                          <a:pt x="3050" y="170"/>
                        </a:lnTo>
                        <a:lnTo>
                          <a:pt x="3048" y="168"/>
                        </a:lnTo>
                        <a:lnTo>
                          <a:pt x="3048" y="164"/>
                        </a:lnTo>
                        <a:lnTo>
                          <a:pt x="3048" y="162"/>
                        </a:lnTo>
                        <a:lnTo>
                          <a:pt x="3054" y="154"/>
                        </a:lnTo>
                        <a:lnTo>
                          <a:pt x="3062" y="148"/>
                        </a:lnTo>
                        <a:lnTo>
                          <a:pt x="3076" y="134"/>
                        </a:lnTo>
                        <a:lnTo>
                          <a:pt x="3080" y="130"/>
                        </a:lnTo>
                        <a:lnTo>
                          <a:pt x="3080" y="126"/>
                        </a:lnTo>
                        <a:lnTo>
                          <a:pt x="3078" y="124"/>
                        </a:lnTo>
                        <a:lnTo>
                          <a:pt x="3078" y="124"/>
                        </a:lnTo>
                        <a:lnTo>
                          <a:pt x="3064" y="114"/>
                        </a:lnTo>
                        <a:lnTo>
                          <a:pt x="3046" y="102"/>
                        </a:lnTo>
                        <a:lnTo>
                          <a:pt x="3038" y="94"/>
                        </a:lnTo>
                        <a:lnTo>
                          <a:pt x="3032" y="86"/>
                        </a:lnTo>
                        <a:lnTo>
                          <a:pt x="3028" y="78"/>
                        </a:lnTo>
                        <a:lnTo>
                          <a:pt x="3026" y="66"/>
                        </a:lnTo>
                        <a:lnTo>
                          <a:pt x="3026" y="66"/>
                        </a:lnTo>
                        <a:lnTo>
                          <a:pt x="3026" y="62"/>
                        </a:lnTo>
                        <a:lnTo>
                          <a:pt x="3026" y="56"/>
                        </a:lnTo>
                        <a:lnTo>
                          <a:pt x="3020" y="44"/>
                        </a:lnTo>
                        <a:lnTo>
                          <a:pt x="3010" y="34"/>
                        </a:lnTo>
                        <a:lnTo>
                          <a:pt x="2998" y="24"/>
                        </a:lnTo>
                        <a:lnTo>
                          <a:pt x="2986" y="14"/>
                        </a:lnTo>
                        <a:lnTo>
                          <a:pt x="2972" y="8"/>
                        </a:lnTo>
                        <a:lnTo>
                          <a:pt x="2960" y="2"/>
                        </a:lnTo>
                        <a:lnTo>
                          <a:pt x="2948" y="0"/>
                        </a:lnTo>
                        <a:lnTo>
                          <a:pt x="2948" y="0"/>
                        </a:lnTo>
                        <a:lnTo>
                          <a:pt x="2940" y="0"/>
                        </a:lnTo>
                        <a:lnTo>
                          <a:pt x="2936" y="2"/>
                        </a:lnTo>
                        <a:lnTo>
                          <a:pt x="2934" y="4"/>
                        </a:lnTo>
                        <a:lnTo>
                          <a:pt x="2932" y="8"/>
                        </a:lnTo>
                        <a:lnTo>
                          <a:pt x="2932" y="12"/>
                        </a:lnTo>
                        <a:lnTo>
                          <a:pt x="2928" y="16"/>
                        </a:lnTo>
                        <a:lnTo>
                          <a:pt x="2924" y="20"/>
                        </a:lnTo>
                        <a:lnTo>
                          <a:pt x="2916" y="22"/>
                        </a:lnTo>
                        <a:lnTo>
                          <a:pt x="2916" y="22"/>
                        </a:lnTo>
                        <a:lnTo>
                          <a:pt x="2908" y="26"/>
                        </a:lnTo>
                        <a:lnTo>
                          <a:pt x="2904" y="28"/>
                        </a:lnTo>
                        <a:lnTo>
                          <a:pt x="2902" y="30"/>
                        </a:lnTo>
                        <a:lnTo>
                          <a:pt x="2902" y="34"/>
                        </a:lnTo>
                        <a:lnTo>
                          <a:pt x="2902" y="38"/>
                        </a:lnTo>
                        <a:lnTo>
                          <a:pt x="2900" y="42"/>
                        </a:lnTo>
                        <a:lnTo>
                          <a:pt x="2894" y="46"/>
                        </a:lnTo>
                        <a:lnTo>
                          <a:pt x="2886" y="50"/>
                        </a:lnTo>
                        <a:lnTo>
                          <a:pt x="2886" y="50"/>
                        </a:lnTo>
                        <a:lnTo>
                          <a:pt x="2878" y="56"/>
                        </a:lnTo>
                        <a:lnTo>
                          <a:pt x="2876" y="62"/>
                        </a:lnTo>
                        <a:lnTo>
                          <a:pt x="2876" y="70"/>
                        </a:lnTo>
                        <a:lnTo>
                          <a:pt x="2878" y="80"/>
                        </a:lnTo>
                        <a:lnTo>
                          <a:pt x="2886" y="98"/>
                        </a:lnTo>
                        <a:lnTo>
                          <a:pt x="2888" y="106"/>
                        </a:lnTo>
                        <a:lnTo>
                          <a:pt x="2886" y="114"/>
                        </a:lnTo>
                        <a:lnTo>
                          <a:pt x="2886" y="114"/>
                        </a:lnTo>
                        <a:lnTo>
                          <a:pt x="2884" y="128"/>
                        </a:lnTo>
                        <a:lnTo>
                          <a:pt x="2884" y="136"/>
                        </a:lnTo>
                        <a:lnTo>
                          <a:pt x="2886" y="142"/>
                        </a:lnTo>
                        <a:lnTo>
                          <a:pt x="2890" y="150"/>
                        </a:lnTo>
                        <a:lnTo>
                          <a:pt x="2898" y="156"/>
                        </a:lnTo>
                        <a:lnTo>
                          <a:pt x="2910" y="162"/>
                        </a:lnTo>
                        <a:lnTo>
                          <a:pt x="2924" y="168"/>
                        </a:lnTo>
                        <a:lnTo>
                          <a:pt x="2924" y="168"/>
                        </a:lnTo>
                        <a:lnTo>
                          <a:pt x="2940" y="172"/>
                        </a:lnTo>
                        <a:lnTo>
                          <a:pt x="2954" y="180"/>
                        </a:lnTo>
                        <a:lnTo>
                          <a:pt x="2964" y="186"/>
                        </a:lnTo>
                        <a:lnTo>
                          <a:pt x="2970" y="194"/>
                        </a:lnTo>
                        <a:lnTo>
                          <a:pt x="2974" y="202"/>
                        </a:lnTo>
                        <a:lnTo>
                          <a:pt x="2974" y="208"/>
                        </a:lnTo>
                        <a:lnTo>
                          <a:pt x="2972" y="214"/>
                        </a:lnTo>
                        <a:lnTo>
                          <a:pt x="2966" y="218"/>
                        </a:lnTo>
                        <a:lnTo>
                          <a:pt x="2966" y="218"/>
                        </a:lnTo>
                        <a:lnTo>
                          <a:pt x="2958" y="222"/>
                        </a:lnTo>
                        <a:lnTo>
                          <a:pt x="2954" y="226"/>
                        </a:lnTo>
                        <a:lnTo>
                          <a:pt x="2954" y="232"/>
                        </a:lnTo>
                        <a:lnTo>
                          <a:pt x="2956" y="234"/>
                        </a:lnTo>
                        <a:lnTo>
                          <a:pt x="2960" y="238"/>
                        </a:lnTo>
                        <a:lnTo>
                          <a:pt x="2966" y="238"/>
                        </a:lnTo>
                        <a:lnTo>
                          <a:pt x="2972" y="236"/>
                        </a:lnTo>
                        <a:lnTo>
                          <a:pt x="2980" y="234"/>
                        </a:lnTo>
                        <a:lnTo>
                          <a:pt x="2980" y="234"/>
                        </a:lnTo>
                        <a:lnTo>
                          <a:pt x="2986" y="230"/>
                        </a:lnTo>
                        <a:lnTo>
                          <a:pt x="2992" y="230"/>
                        </a:lnTo>
                        <a:lnTo>
                          <a:pt x="2996" y="232"/>
                        </a:lnTo>
                        <a:lnTo>
                          <a:pt x="2996" y="238"/>
                        </a:lnTo>
                        <a:lnTo>
                          <a:pt x="2994" y="246"/>
                        </a:lnTo>
                        <a:lnTo>
                          <a:pt x="2988" y="254"/>
                        </a:lnTo>
                        <a:lnTo>
                          <a:pt x="2980" y="262"/>
                        </a:lnTo>
                        <a:lnTo>
                          <a:pt x="2968" y="272"/>
                        </a:lnTo>
                        <a:lnTo>
                          <a:pt x="2968" y="272"/>
                        </a:lnTo>
                        <a:lnTo>
                          <a:pt x="2956" y="280"/>
                        </a:lnTo>
                        <a:lnTo>
                          <a:pt x="2946" y="282"/>
                        </a:lnTo>
                        <a:lnTo>
                          <a:pt x="2940" y="284"/>
                        </a:lnTo>
                        <a:lnTo>
                          <a:pt x="2934" y="282"/>
                        </a:lnTo>
                        <a:lnTo>
                          <a:pt x="2930" y="280"/>
                        </a:lnTo>
                        <a:lnTo>
                          <a:pt x="2928" y="282"/>
                        </a:lnTo>
                        <a:lnTo>
                          <a:pt x="2926" y="284"/>
                        </a:lnTo>
                        <a:lnTo>
                          <a:pt x="2922" y="290"/>
                        </a:lnTo>
                        <a:lnTo>
                          <a:pt x="2922" y="290"/>
                        </a:lnTo>
                        <a:lnTo>
                          <a:pt x="2920" y="300"/>
                        </a:lnTo>
                        <a:lnTo>
                          <a:pt x="2924" y="312"/>
                        </a:lnTo>
                        <a:lnTo>
                          <a:pt x="2930" y="334"/>
                        </a:lnTo>
                        <a:lnTo>
                          <a:pt x="2934" y="342"/>
                        </a:lnTo>
                        <a:lnTo>
                          <a:pt x="2934" y="348"/>
                        </a:lnTo>
                        <a:lnTo>
                          <a:pt x="2934" y="350"/>
                        </a:lnTo>
                        <a:lnTo>
                          <a:pt x="2930" y="348"/>
                        </a:lnTo>
                        <a:lnTo>
                          <a:pt x="2922" y="344"/>
                        </a:lnTo>
                        <a:lnTo>
                          <a:pt x="2922" y="344"/>
                        </a:lnTo>
                        <a:lnTo>
                          <a:pt x="2902" y="330"/>
                        </a:lnTo>
                        <a:lnTo>
                          <a:pt x="2896" y="326"/>
                        </a:lnTo>
                        <a:lnTo>
                          <a:pt x="2892" y="320"/>
                        </a:lnTo>
                        <a:lnTo>
                          <a:pt x="2892" y="316"/>
                        </a:lnTo>
                        <a:lnTo>
                          <a:pt x="2892" y="312"/>
                        </a:lnTo>
                        <a:lnTo>
                          <a:pt x="2896" y="298"/>
                        </a:lnTo>
                        <a:lnTo>
                          <a:pt x="2896" y="298"/>
                        </a:lnTo>
                        <a:lnTo>
                          <a:pt x="2900" y="286"/>
                        </a:lnTo>
                        <a:lnTo>
                          <a:pt x="2902" y="280"/>
                        </a:lnTo>
                        <a:lnTo>
                          <a:pt x="2900" y="276"/>
                        </a:lnTo>
                        <a:lnTo>
                          <a:pt x="2898" y="272"/>
                        </a:lnTo>
                        <a:lnTo>
                          <a:pt x="2892" y="270"/>
                        </a:lnTo>
                        <a:lnTo>
                          <a:pt x="2886" y="270"/>
                        </a:lnTo>
                        <a:lnTo>
                          <a:pt x="2876" y="270"/>
                        </a:lnTo>
                        <a:lnTo>
                          <a:pt x="2876" y="270"/>
                        </a:lnTo>
                        <a:lnTo>
                          <a:pt x="2866" y="270"/>
                        </a:lnTo>
                        <a:lnTo>
                          <a:pt x="2858" y="268"/>
                        </a:lnTo>
                        <a:lnTo>
                          <a:pt x="2844" y="260"/>
                        </a:lnTo>
                        <a:lnTo>
                          <a:pt x="2838" y="256"/>
                        </a:lnTo>
                        <a:lnTo>
                          <a:pt x="2830" y="254"/>
                        </a:lnTo>
                        <a:lnTo>
                          <a:pt x="2820" y="254"/>
                        </a:lnTo>
                        <a:lnTo>
                          <a:pt x="2810" y="258"/>
                        </a:lnTo>
                        <a:lnTo>
                          <a:pt x="2810" y="258"/>
                        </a:lnTo>
                        <a:lnTo>
                          <a:pt x="2800" y="264"/>
                        </a:lnTo>
                        <a:lnTo>
                          <a:pt x="2796" y="272"/>
                        </a:lnTo>
                        <a:lnTo>
                          <a:pt x="2796" y="278"/>
                        </a:lnTo>
                        <a:lnTo>
                          <a:pt x="2796" y="286"/>
                        </a:lnTo>
                        <a:lnTo>
                          <a:pt x="2798" y="292"/>
                        </a:lnTo>
                        <a:lnTo>
                          <a:pt x="2798" y="298"/>
                        </a:lnTo>
                        <a:lnTo>
                          <a:pt x="2794" y="304"/>
                        </a:lnTo>
                        <a:lnTo>
                          <a:pt x="2786" y="308"/>
                        </a:lnTo>
                        <a:lnTo>
                          <a:pt x="2786" y="308"/>
                        </a:lnTo>
                        <a:lnTo>
                          <a:pt x="2778" y="310"/>
                        </a:lnTo>
                        <a:lnTo>
                          <a:pt x="2772" y="308"/>
                        </a:lnTo>
                        <a:lnTo>
                          <a:pt x="2760" y="302"/>
                        </a:lnTo>
                        <a:lnTo>
                          <a:pt x="2752" y="300"/>
                        </a:lnTo>
                        <a:lnTo>
                          <a:pt x="2742" y="298"/>
                        </a:lnTo>
                        <a:lnTo>
                          <a:pt x="2726" y="298"/>
                        </a:lnTo>
                        <a:lnTo>
                          <a:pt x="2708" y="302"/>
                        </a:lnTo>
                        <a:lnTo>
                          <a:pt x="2708" y="302"/>
                        </a:lnTo>
                        <a:lnTo>
                          <a:pt x="2680" y="306"/>
                        </a:lnTo>
                        <a:lnTo>
                          <a:pt x="2658" y="306"/>
                        </a:lnTo>
                        <a:lnTo>
                          <a:pt x="2640" y="302"/>
                        </a:lnTo>
                        <a:lnTo>
                          <a:pt x="2626" y="298"/>
                        </a:lnTo>
                        <a:lnTo>
                          <a:pt x="2606" y="286"/>
                        </a:lnTo>
                        <a:lnTo>
                          <a:pt x="2598" y="284"/>
                        </a:lnTo>
                        <a:lnTo>
                          <a:pt x="2590" y="286"/>
                        </a:lnTo>
                        <a:lnTo>
                          <a:pt x="2590" y="286"/>
                        </a:lnTo>
                        <a:lnTo>
                          <a:pt x="2580" y="288"/>
                        </a:lnTo>
                        <a:lnTo>
                          <a:pt x="2572" y="288"/>
                        </a:lnTo>
                        <a:lnTo>
                          <a:pt x="2564" y="286"/>
                        </a:lnTo>
                        <a:lnTo>
                          <a:pt x="2556" y="282"/>
                        </a:lnTo>
                        <a:lnTo>
                          <a:pt x="2544" y="272"/>
                        </a:lnTo>
                        <a:lnTo>
                          <a:pt x="2532" y="260"/>
                        </a:lnTo>
                        <a:lnTo>
                          <a:pt x="2520" y="246"/>
                        </a:lnTo>
                        <a:lnTo>
                          <a:pt x="2510" y="234"/>
                        </a:lnTo>
                        <a:lnTo>
                          <a:pt x="2504" y="230"/>
                        </a:lnTo>
                        <a:lnTo>
                          <a:pt x="2498" y="226"/>
                        </a:lnTo>
                        <a:lnTo>
                          <a:pt x="2492" y="224"/>
                        </a:lnTo>
                        <a:lnTo>
                          <a:pt x="2486" y="224"/>
                        </a:lnTo>
                        <a:lnTo>
                          <a:pt x="2486" y="224"/>
                        </a:lnTo>
                        <a:lnTo>
                          <a:pt x="2456" y="230"/>
                        </a:lnTo>
                        <a:lnTo>
                          <a:pt x="2438" y="234"/>
                        </a:lnTo>
                        <a:lnTo>
                          <a:pt x="2422" y="240"/>
                        </a:lnTo>
                        <a:lnTo>
                          <a:pt x="2408" y="246"/>
                        </a:lnTo>
                        <a:lnTo>
                          <a:pt x="2398" y="252"/>
                        </a:lnTo>
                        <a:lnTo>
                          <a:pt x="2394" y="256"/>
                        </a:lnTo>
                        <a:lnTo>
                          <a:pt x="2392" y="262"/>
                        </a:lnTo>
                        <a:lnTo>
                          <a:pt x="2392" y="266"/>
                        </a:lnTo>
                        <a:lnTo>
                          <a:pt x="2394" y="270"/>
                        </a:lnTo>
                        <a:lnTo>
                          <a:pt x="2394" y="270"/>
                        </a:lnTo>
                        <a:lnTo>
                          <a:pt x="2398" y="274"/>
                        </a:lnTo>
                        <a:lnTo>
                          <a:pt x="2400" y="278"/>
                        </a:lnTo>
                        <a:lnTo>
                          <a:pt x="2406" y="280"/>
                        </a:lnTo>
                        <a:lnTo>
                          <a:pt x="2410" y="280"/>
                        </a:lnTo>
                        <a:lnTo>
                          <a:pt x="2420" y="278"/>
                        </a:lnTo>
                        <a:lnTo>
                          <a:pt x="2432" y="274"/>
                        </a:lnTo>
                        <a:lnTo>
                          <a:pt x="2456" y="264"/>
                        </a:lnTo>
                        <a:lnTo>
                          <a:pt x="2464" y="262"/>
                        </a:lnTo>
                        <a:lnTo>
                          <a:pt x="2468" y="262"/>
                        </a:lnTo>
                        <a:lnTo>
                          <a:pt x="2472" y="264"/>
                        </a:lnTo>
                        <a:lnTo>
                          <a:pt x="2472" y="264"/>
                        </a:lnTo>
                        <a:lnTo>
                          <a:pt x="2474" y="266"/>
                        </a:lnTo>
                        <a:lnTo>
                          <a:pt x="2476" y="268"/>
                        </a:lnTo>
                        <a:lnTo>
                          <a:pt x="2472" y="272"/>
                        </a:lnTo>
                        <a:lnTo>
                          <a:pt x="2456" y="278"/>
                        </a:lnTo>
                        <a:lnTo>
                          <a:pt x="2436" y="286"/>
                        </a:lnTo>
                        <a:lnTo>
                          <a:pt x="2428" y="292"/>
                        </a:lnTo>
                        <a:lnTo>
                          <a:pt x="2422" y="298"/>
                        </a:lnTo>
                        <a:lnTo>
                          <a:pt x="2422" y="298"/>
                        </a:lnTo>
                        <a:lnTo>
                          <a:pt x="2422" y="304"/>
                        </a:lnTo>
                        <a:lnTo>
                          <a:pt x="2424" y="308"/>
                        </a:lnTo>
                        <a:lnTo>
                          <a:pt x="2428" y="320"/>
                        </a:lnTo>
                        <a:lnTo>
                          <a:pt x="2440" y="342"/>
                        </a:lnTo>
                        <a:lnTo>
                          <a:pt x="2444" y="350"/>
                        </a:lnTo>
                        <a:lnTo>
                          <a:pt x="2444" y="352"/>
                        </a:lnTo>
                        <a:lnTo>
                          <a:pt x="2444" y="354"/>
                        </a:lnTo>
                        <a:lnTo>
                          <a:pt x="2436" y="350"/>
                        </a:lnTo>
                        <a:lnTo>
                          <a:pt x="2418" y="340"/>
                        </a:lnTo>
                        <a:lnTo>
                          <a:pt x="2418" y="340"/>
                        </a:lnTo>
                        <a:lnTo>
                          <a:pt x="2398" y="326"/>
                        </a:lnTo>
                        <a:lnTo>
                          <a:pt x="2382" y="318"/>
                        </a:lnTo>
                        <a:lnTo>
                          <a:pt x="2364" y="310"/>
                        </a:lnTo>
                        <a:lnTo>
                          <a:pt x="2354" y="306"/>
                        </a:lnTo>
                        <a:lnTo>
                          <a:pt x="2348" y="302"/>
                        </a:lnTo>
                        <a:lnTo>
                          <a:pt x="2340" y="294"/>
                        </a:lnTo>
                        <a:lnTo>
                          <a:pt x="2340" y="294"/>
                        </a:lnTo>
                        <a:lnTo>
                          <a:pt x="2334" y="288"/>
                        </a:lnTo>
                        <a:lnTo>
                          <a:pt x="2330" y="286"/>
                        </a:lnTo>
                        <a:lnTo>
                          <a:pt x="2326" y="288"/>
                        </a:lnTo>
                        <a:lnTo>
                          <a:pt x="2320" y="290"/>
                        </a:lnTo>
                        <a:lnTo>
                          <a:pt x="2314" y="296"/>
                        </a:lnTo>
                        <a:lnTo>
                          <a:pt x="2304" y="300"/>
                        </a:lnTo>
                        <a:lnTo>
                          <a:pt x="2286" y="304"/>
                        </a:lnTo>
                        <a:lnTo>
                          <a:pt x="2262" y="308"/>
                        </a:lnTo>
                        <a:lnTo>
                          <a:pt x="2262" y="308"/>
                        </a:lnTo>
                        <a:lnTo>
                          <a:pt x="2206" y="308"/>
                        </a:lnTo>
                        <a:lnTo>
                          <a:pt x="2180" y="308"/>
                        </a:lnTo>
                        <a:lnTo>
                          <a:pt x="2156" y="306"/>
                        </a:lnTo>
                        <a:lnTo>
                          <a:pt x="2140" y="302"/>
                        </a:lnTo>
                        <a:lnTo>
                          <a:pt x="2128" y="298"/>
                        </a:lnTo>
                        <a:lnTo>
                          <a:pt x="2124" y="296"/>
                        </a:lnTo>
                        <a:lnTo>
                          <a:pt x="2124" y="292"/>
                        </a:lnTo>
                        <a:lnTo>
                          <a:pt x="2126" y="288"/>
                        </a:lnTo>
                        <a:lnTo>
                          <a:pt x="2130" y="284"/>
                        </a:lnTo>
                        <a:lnTo>
                          <a:pt x="2130" y="284"/>
                        </a:lnTo>
                        <a:lnTo>
                          <a:pt x="2142" y="278"/>
                        </a:lnTo>
                        <a:lnTo>
                          <a:pt x="2154" y="274"/>
                        </a:lnTo>
                        <a:lnTo>
                          <a:pt x="2172" y="272"/>
                        </a:lnTo>
                        <a:lnTo>
                          <a:pt x="2178" y="270"/>
                        </a:lnTo>
                        <a:lnTo>
                          <a:pt x="2180" y="268"/>
                        </a:lnTo>
                        <a:lnTo>
                          <a:pt x="2178" y="264"/>
                        </a:lnTo>
                        <a:lnTo>
                          <a:pt x="2170" y="256"/>
                        </a:lnTo>
                        <a:lnTo>
                          <a:pt x="2170" y="256"/>
                        </a:lnTo>
                        <a:lnTo>
                          <a:pt x="2154" y="240"/>
                        </a:lnTo>
                        <a:lnTo>
                          <a:pt x="2144" y="232"/>
                        </a:lnTo>
                        <a:lnTo>
                          <a:pt x="2134" y="228"/>
                        </a:lnTo>
                        <a:lnTo>
                          <a:pt x="2124" y="222"/>
                        </a:lnTo>
                        <a:lnTo>
                          <a:pt x="2110" y="220"/>
                        </a:lnTo>
                        <a:lnTo>
                          <a:pt x="2096" y="220"/>
                        </a:lnTo>
                        <a:lnTo>
                          <a:pt x="2080" y="220"/>
                        </a:lnTo>
                        <a:lnTo>
                          <a:pt x="2080" y="220"/>
                        </a:lnTo>
                        <a:lnTo>
                          <a:pt x="2064" y="222"/>
                        </a:lnTo>
                        <a:lnTo>
                          <a:pt x="2046" y="220"/>
                        </a:lnTo>
                        <a:lnTo>
                          <a:pt x="2030" y="218"/>
                        </a:lnTo>
                        <a:lnTo>
                          <a:pt x="2014" y="212"/>
                        </a:lnTo>
                        <a:lnTo>
                          <a:pt x="1982" y="202"/>
                        </a:lnTo>
                        <a:lnTo>
                          <a:pt x="1948" y="194"/>
                        </a:lnTo>
                        <a:lnTo>
                          <a:pt x="1948" y="194"/>
                        </a:lnTo>
                        <a:lnTo>
                          <a:pt x="1932" y="190"/>
                        </a:lnTo>
                        <a:lnTo>
                          <a:pt x="1918" y="184"/>
                        </a:lnTo>
                        <a:lnTo>
                          <a:pt x="1890" y="172"/>
                        </a:lnTo>
                        <a:lnTo>
                          <a:pt x="1876" y="166"/>
                        </a:lnTo>
                        <a:lnTo>
                          <a:pt x="1862" y="160"/>
                        </a:lnTo>
                        <a:lnTo>
                          <a:pt x="1848" y="158"/>
                        </a:lnTo>
                        <a:lnTo>
                          <a:pt x="1832" y="158"/>
                        </a:lnTo>
                        <a:lnTo>
                          <a:pt x="1832" y="158"/>
                        </a:lnTo>
                        <a:lnTo>
                          <a:pt x="1820" y="160"/>
                        </a:lnTo>
                        <a:lnTo>
                          <a:pt x="1812" y="164"/>
                        </a:lnTo>
                        <a:lnTo>
                          <a:pt x="1808" y="170"/>
                        </a:lnTo>
                        <a:lnTo>
                          <a:pt x="1806" y="176"/>
                        </a:lnTo>
                        <a:lnTo>
                          <a:pt x="1804" y="182"/>
                        </a:lnTo>
                        <a:lnTo>
                          <a:pt x="1800" y="186"/>
                        </a:lnTo>
                        <a:lnTo>
                          <a:pt x="1792" y="188"/>
                        </a:lnTo>
                        <a:lnTo>
                          <a:pt x="1780" y="188"/>
                        </a:lnTo>
                        <a:lnTo>
                          <a:pt x="1780" y="188"/>
                        </a:lnTo>
                        <a:lnTo>
                          <a:pt x="1774" y="186"/>
                        </a:lnTo>
                        <a:lnTo>
                          <a:pt x="1768" y="184"/>
                        </a:lnTo>
                        <a:lnTo>
                          <a:pt x="1764" y="180"/>
                        </a:lnTo>
                        <a:lnTo>
                          <a:pt x="1762" y="176"/>
                        </a:lnTo>
                        <a:lnTo>
                          <a:pt x="1760" y="166"/>
                        </a:lnTo>
                        <a:lnTo>
                          <a:pt x="1760" y="156"/>
                        </a:lnTo>
                        <a:lnTo>
                          <a:pt x="1760" y="146"/>
                        </a:lnTo>
                        <a:lnTo>
                          <a:pt x="1758" y="138"/>
                        </a:lnTo>
                        <a:lnTo>
                          <a:pt x="1756" y="136"/>
                        </a:lnTo>
                        <a:lnTo>
                          <a:pt x="1750" y="134"/>
                        </a:lnTo>
                        <a:lnTo>
                          <a:pt x="1744" y="134"/>
                        </a:lnTo>
                        <a:lnTo>
                          <a:pt x="1736" y="134"/>
                        </a:lnTo>
                        <a:lnTo>
                          <a:pt x="1736" y="134"/>
                        </a:lnTo>
                        <a:lnTo>
                          <a:pt x="1732" y="136"/>
                        </a:lnTo>
                        <a:lnTo>
                          <a:pt x="1730" y="140"/>
                        </a:lnTo>
                        <a:lnTo>
                          <a:pt x="1726" y="148"/>
                        </a:lnTo>
                        <a:lnTo>
                          <a:pt x="1724" y="172"/>
                        </a:lnTo>
                        <a:lnTo>
                          <a:pt x="1720" y="182"/>
                        </a:lnTo>
                        <a:lnTo>
                          <a:pt x="1718" y="186"/>
                        </a:lnTo>
                        <a:lnTo>
                          <a:pt x="1716" y="190"/>
                        </a:lnTo>
                        <a:lnTo>
                          <a:pt x="1712" y="190"/>
                        </a:lnTo>
                        <a:lnTo>
                          <a:pt x="1706" y="190"/>
                        </a:lnTo>
                        <a:lnTo>
                          <a:pt x="1698" y="188"/>
                        </a:lnTo>
                        <a:lnTo>
                          <a:pt x="1688" y="184"/>
                        </a:lnTo>
                        <a:lnTo>
                          <a:pt x="1688" y="184"/>
                        </a:lnTo>
                        <a:lnTo>
                          <a:pt x="1684" y="182"/>
                        </a:lnTo>
                        <a:lnTo>
                          <a:pt x="1678" y="176"/>
                        </a:lnTo>
                        <a:lnTo>
                          <a:pt x="1668" y="162"/>
                        </a:lnTo>
                        <a:lnTo>
                          <a:pt x="1650" y="132"/>
                        </a:lnTo>
                        <a:lnTo>
                          <a:pt x="1640" y="116"/>
                        </a:lnTo>
                        <a:lnTo>
                          <a:pt x="1630" y="106"/>
                        </a:lnTo>
                        <a:lnTo>
                          <a:pt x="1624" y="104"/>
                        </a:lnTo>
                        <a:lnTo>
                          <a:pt x="1620" y="102"/>
                        </a:lnTo>
                        <a:lnTo>
                          <a:pt x="1614" y="102"/>
                        </a:lnTo>
                        <a:lnTo>
                          <a:pt x="1608" y="106"/>
                        </a:lnTo>
                        <a:lnTo>
                          <a:pt x="1608" y="106"/>
                        </a:lnTo>
                        <a:lnTo>
                          <a:pt x="1600" y="114"/>
                        </a:lnTo>
                        <a:lnTo>
                          <a:pt x="1598" y="116"/>
                        </a:lnTo>
                        <a:lnTo>
                          <a:pt x="1600" y="118"/>
                        </a:lnTo>
                        <a:lnTo>
                          <a:pt x="1604" y="120"/>
                        </a:lnTo>
                        <a:lnTo>
                          <a:pt x="1610" y="122"/>
                        </a:lnTo>
                        <a:lnTo>
                          <a:pt x="1616" y="124"/>
                        </a:lnTo>
                        <a:lnTo>
                          <a:pt x="1616" y="126"/>
                        </a:lnTo>
                        <a:lnTo>
                          <a:pt x="1616" y="130"/>
                        </a:lnTo>
                        <a:lnTo>
                          <a:pt x="1610" y="138"/>
                        </a:lnTo>
                        <a:lnTo>
                          <a:pt x="1592" y="150"/>
                        </a:lnTo>
                        <a:lnTo>
                          <a:pt x="1592" y="150"/>
                        </a:lnTo>
                        <a:lnTo>
                          <a:pt x="1574" y="160"/>
                        </a:lnTo>
                        <a:lnTo>
                          <a:pt x="1572" y="160"/>
                        </a:lnTo>
                        <a:lnTo>
                          <a:pt x="1570" y="158"/>
                        </a:lnTo>
                        <a:lnTo>
                          <a:pt x="1568" y="156"/>
                        </a:lnTo>
                        <a:lnTo>
                          <a:pt x="1560" y="156"/>
                        </a:lnTo>
                        <a:lnTo>
                          <a:pt x="1546" y="160"/>
                        </a:lnTo>
                        <a:lnTo>
                          <a:pt x="1522" y="168"/>
                        </a:lnTo>
                        <a:lnTo>
                          <a:pt x="1522" y="168"/>
                        </a:lnTo>
                        <a:lnTo>
                          <a:pt x="1482" y="180"/>
                        </a:lnTo>
                        <a:lnTo>
                          <a:pt x="1476" y="182"/>
                        </a:lnTo>
                        <a:lnTo>
                          <a:pt x="1476" y="180"/>
                        </a:lnTo>
                        <a:lnTo>
                          <a:pt x="1476" y="180"/>
                        </a:lnTo>
                        <a:lnTo>
                          <a:pt x="1494" y="168"/>
                        </a:lnTo>
                        <a:lnTo>
                          <a:pt x="1526" y="152"/>
                        </a:lnTo>
                        <a:lnTo>
                          <a:pt x="1526" y="152"/>
                        </a:lnTo>
                        <a:lnTo>
                          <a:pt x="1552" y="140"/>
                        </a:lnTo>
                        <a:lnTo>
                          <a:pt x="1558" y="136"/>
                        </a:lnTo>
                        <a:lnTo>
                          <a:pt x="1560" y="132"/>
                        </a:lnTo>
                        <a:lnTo>
                          <a:pt x="1560" y="132"/>
                        </a:lnTo>
                        <a:lnTo>
                          <a:pt x="1556" y="132"/>
                        </a:lnTo>
                        <a:lnTo>
                          <a:pt x="1538" y="134"/>
                        </a:lnTo>
                        <a:lnTo>
                          <a:pt x="1538" y="134"/>
                        </a:lnTo>
                        <a:lnTo>
                          <a:pt x="1530" y="136"/>
                        </a:lnTo>
                        <a:lnTo>
                          <a:pt x="1522" y="134"/>
                        </a:lnTo>
                        <a:lnTo>
                          <a:pt x="1510" y="134"/>
                        </a:lnTo>
                        <a:lnTo>
                          <a:pt x="1506" y="134"/>
                        </a:lnTo>
                        <a:lnTo>
                          <a:pt x="1498" y="136"/>
                        </a:lnTo>
                        <a:lnTo>
                          <a:pt x="1488" y="140"/>
                        </a:lnTo>
                        <a:lnTo>
                          <a:pt x="1474" y="148"/>
                        </a:lnTo>
                        <a:lnTo>
                          <a:pt x="1474" y="148"/>
                        </a:lnTo>
                        <a:lnTo>
                          <a:pt x="1462" y="156"/>
                        </a:lnTo>
                        <a:lnTo>
                          <a:pt x="1454" y="160"/>
                        </a:lnTo>
                        <a:lnTo>
                          <a:pt x="1448" y="160"/>
                        </a:lnTo>
                        <a:lnTo>
                          <a:pt x="1442" y="162"/>
                        </a:lnTo>
                        <a:lnTo>
                          <a:pt x="1438" y="162"/>
                        </a:lnTo>
                        <a:lnTo>
                          <a:pt x="1432" y="164"/>
                        </a:lnTo>
                        <a:lnTo>
                          <a:pt x="1422" y="168"/>
                        </a:lnTo>
                        <a:lnTo>
                          <a:pt x="1406" y="178"/>
                        </a:lnTo>
                        <a:lnTo>
                          <a:pt x="1406" y="178"/>
                        </a:lnTo>
                        <a:lnTo>
                          <a:pt x="1378" y="198"/>
                        </a:lnTo>
                        <a:lnTo>
                          <a:pt x="1358" y="210"/>
                        </a:lnTo>
                        <a:lnTo>
                          <a:pt x="1352" y="214"/>
                        </a:lnTo>
                        <a:lnTo>
                          <a:pt x="1350" y="218"/>
                        </a:lnTo>
                        <a:lnTo>
                          <a:pt x="1350" y="224"/>
                        </a:lnTo>
                        <a:lnTo>
                          <a:pt x="1352" y="230"/>
                        </a:lnTo>
                        <a:lnTo>
                          <a:pt x="1352" y="230"/>
                        </a:lnTo>
                        <a:lnTo>
                          <a:pt x="1352" y="234"/>
                        </a:lnTo>
                        <a:lnTo>
                          <a:pt x="1352" y="236"/>
                        </a:lnTo>
                        <a:lnTo>
                          <a:pt x="1340" y="232"/>
                        </a:lnTo>
                        <a:lnTo>
                          <a:pt x="1332" y="230"/>
                        </a:lnTo>
                        <a:lnTo>
                          <a:pt x="1324" y="228"/>
                        </a:lnTo>
                        <a:lnTo>
                          <a:pt x="1316" y="230"/>
                        </a:lnTo>
                        <a:lnTo>
                          <a:pt x="1308" y="232"/>
                        </a:lnTo>
                        <a:lnTo>
                          <a:pt x="1308" y="232"/>
                        </a:lnTo>
                        <a:lnTo>
                          <a:pt x="1300" y="236"/>
                        </a:lnTo>
                        <a:lnTo>
                          <a:pt x="1296" y="236"/>
                        </a:lnTo>
                        <a:lnTo>
                          <a:pt x="1294" y="236"/>
                        </a:lnTo>
                        <a:lnTo>
                          <a:pt x="1290" y="232"/>
                        </a:lnTo>
                        <a:lnTo>
                          <a:pt x="1286" y="228"/>
                        </a:lnTo>
                        <a:lnTo>
                          <a:pt x="1280" y="226"/>
                        </a:lnTo>
                        <a:lnTo>
                          <a:pt x="1270" y="224"/>
                        </a:lnTo>
                        <a:lnTo>
                          <a:pt x="1258" y="222"/>
                        </a:lnTo>
                        <a:lnTo>
                          <a:pt x="1258" y="222"/>
                        </a:lnTo>
                        <a:lnTo>
                          <a:pt x="1236" y="220"/>
                        </a:lnTo>
                        <a:lnTo>
                          <a:pt x="1216" y="214"/>
                        </a:lnTo>
                        <a:lnTo>
                          <a:pt x="1198" y="206"/>
                        </a:lnTo>
                        <a:lnTo>
                          <a:pt x="1178" y="196"/>
                        </a:lnTo>
                        <a:lnTo>
                          <a:pt x="1160" y="186"/>
                        </a:lnTo>
                        <a:lnTo>
                          <a:pt x="1138" y="178"/>
                        </a:lnTo>
                        <a:lnTo>
                          <a:pt x="1114" y="172"/>
                        </a:lnTo>
                        <a:lnTo>
                          <a:pt x="1102" y="172"/>
                        </a:lnTo>
                        <a:lnTo>
                          <a:pt x="1088" y="172"/>
                        </a:lnTo>
                        <a:lnTo>
                          <a:pt x="1088" y="172"/>
                        </a:lnTo>
                        <a:lnTo>
                          <a:pt x="1074" y="170"/>
                        </a:lnTo>
                        <a:lnTo>
                          <a:pt x="1062" y="168"/>
                        </a:lnTo>
                        <a:lnTo>
                          <a:pt x="1052" y="162"/>
                        </a:lnTo>
                        <a:lnTo>
                          <a:pt x="1044" y="158"/>
                        </a:lnTo>
                        <a:lnTo>
                          <a:pt x="1036" y="152"/>
                        </a:lnTo>
                        <a:lnTo>
                          <a:pt x="1026" y="146"/>
                        </a:lnTo>
                        <a:lnTo>
                          <a:pt x="1014" y="142"/>
                        </a:lnTo>
                        <a:lnTo>
                          <a:pt x="998" y="140"/>
                        </a:lnTo>
                        <a:lnTo>
                          <a:pt x="998" y="140"/>
                        </a:lnTo>
                        <a:lnTo>
                          <a:pt x="982" y="138"/>
                        </a:lnTo>
                        <a:lnTo>
                          <a:pt x="970" y="140"/>
                        </a:lnTo>
                        <a:lnTo>
                          <a:pt x="950" y="144"/>
                        </a:lnTo>
                        <a:lnTo>
                          <a:pt x="940" y="146"/>
                        </a:lnTo>
                        <a:lnTo>
                          <a:pt x="932" y="146"/>
                        </a:lnTo>
                        <a:lnTo>
                          <a:pt x="922" y="146"/>
                        </a:lnTo>
                        <a:lnTo>
                          <a:pt x="912" y="142"/>
                        </a:lnTo>
                        <a:lnTo>
                          <a:pt x="912" y="142"/>
                        </a:lnTo>
                        <a:lnTo>
                          <a:pt x="898" y="138"/>
                        </a:lnTo>
                        <a:lnTo>
                          <a:pt x="884" y="134"/>
                        </a:lnTo>
                        <a:lnTo>
                          <a:pt x="852" y="132"/>
                        </a:lnTo>
                        <a:lnTo>
                          <a:pt x="816" y="128"/>
                        </a:lnTo>
                        <a:lnTo>
                          <a:pt x="798" y="122"/>
                        </a:lnTo>
                        <a:lnTo>
                          <a:pt x="778" y="116"/>
                        </a:lnTo>
                        <a:lnTo>
                          <a:pt x="778" y="116"/>
                        </a:lnTo>
                        <a:lnTo>
                          <a:pt x="758" y="110"/>
                        </a:lnTo>
                        <a:lnTo>
                          <a:pt x="744" y="108"/>
                        </a:lnTo>
                        <a:lnTo>
                          <a:pt x="732" y="108"/>
                        </a:lnTo>
                        <a:lnTo>
                          <a:pt x="722" y="110"/>
                        </a:lnTo>
                        <a:lnTo>
                          <a:pt x="710" y="114"/>
                        </a:lnTo>
                        <a:lnTo>
                          <a:pt x="698" y="116"/>
                        </a:lnTo>
                        <a:lnTo>
                          <a:pt x="682" y="114"/>
                        </a:lnTo>
                        <a:lnTo>
                          <a:pt x="664" y="110"/>
                        </a:lnTo>
                        <a:lnTo>
                          <a:pt x="664" y="110"/>
                        </a:lnTo>
                        <a:lnTo>
                          <a:pt x="648" y="104"/>
                        </a:lnTo>
                        <a:lnTo>
                          <a:pt x="640" y="98"/>
                        </a:lnTo>
                        <a:lnTo>
                          <a:pt x="636" y="94"/>
                        </a:lnTo>
                        <a:lnTo>
                          <a:pt x="636" y="90"/>
                        </a:lnTo>
                        <a:lnTo>
                          <a:pt x="634" y="86"/>
                        </a:lnTo>
                        <a:lnTo>
                          <a:pt x="630" y="82"/>
                        </a:lnTo>
                        <a:lnTo>
                          <a:pt x="622" y="82"/>
                        </a:lnTo>
                        <a:lnTo>
                          <a:pt x="604" y="80"/>
                        </a:lnTo>
                        <a:lnTo>
                          <a:pt x="604" y="80"/>
                        </a:lnTo>
                        <a:lnTo>
                          <a:pt x="572" y="82"/>
                        </a:lnTo>
                        <a:lnTo>
                          <a:pt x="556" y="82"/>
                        </a:lnTo>
                        <a:lnTo>
                          <a:pt x="552" y="82"/>
                        </a:lnTo>
                        <a:lnTo>
                          <a:pt x="548" y="80"/>
                        </a:lnTo>
                        <a:lnTo>
                          <a:pt x="540" y="72"/>
                        </a:lnTo>
                        <a:lnTo>
                          <a:pt x="540" y="72"/>
                        </a:lnTo>
                        <a:lnTo>
                          <a:pt x="534" y="66"/>
                        </a:lnTo>
                        <a:lnTo>
                          <a:pt x="528" y="66"/>
                        </a:lnTo>
                        <a:lnTo>
                          <a:pt x="524" y="66"/>
                        </a:lnTo>
                        <a:lnTo>
                          <a:pt x="518" y="68"/>
                        </a:lnTo>
                        <a:lnTo>
                          <a:pt x="510" y="70"/>
                        </a:lnTo>
                        <a:lnTo>
                          <a:pt x="506" y="70"/>
                        </a:lnTo>
                        <a:lnTo>
                          <a:pt x="500" y="66"/>
                        </a:lnTo>
                        <a:lnTo>
                          <a:pt x="500" y="66"/>
                        </a:lnTo>
                        <a:lnTo>
                          <a:pt x="488" y="56"/>
                        </a:lnTo>
                        <a:lnTo>
                          <a:pt x="482" y="52"/>
                        </a:lnTo>
                        <a:lnTo>
                          <a:pt x="474" y="50"/>
                        </a:lnTo>
                        <a:lnTo>
                          <a:pt x="466" y="50"/>
                        </a:lnTo>
                        <a:lnTo>
                          <a:pt x="456" y="52"/>
                        </a:lnTo>
                        <a:lnTo>
                          <a:pt x="444" y="58"/>
                        </a:lnTo>
                        <a:lnTo>
                          <a:pt x="432" y="68"/>
                        </a:lnTo>
                        <a:lnTo>
                          <a:pt x="432" y="68"/>
                        </a:lnTo>
                        <a:lnTo>
                          <a:pt x="418" y="78"/>
                        </a:lnTo>
                        <a:lnTo>
                          <a:pt x="404" y="82"/>
                        </a:lnTo>
                        <a:lnTo>
                          <a:pt x="392" y="84"/>
                        </a:lnTo>
                        <a:lnTo>
                          <a:pt x="378" y="84"/>
                        </a:lnTo>
                        <a:lnTo>
                          <a:pt x="364" y="84"/>
                        </a:lnTo>
                        <a:lnTo>
                          <a:pt x="348" y="86"/>
                        </a:lnTo>
                        <a:lnTo>
                          <a:pt x="330" y="94"/>
                        </a:lnTo>
                        <a:lnTo>
                          <a:pt x="310" y="106"/>
                        </a:lnTo>
                        <a:lnTo>
                          <a:pt x="310" y="106"/>
                        </a:lnTo>
                        <a:lnTo>
                          <a:pt x="300" y="114"/>
                        </a:lnTo>
                        <a:lnTo>
                          <a:pt x="290" y="120"/>
                        </a:lnTo>
                        <a:lnTo>
                          <a:pt x="282" y="122"/>
                        </a:lnTo>
                        <a:lnTo>
                          <a:pt x="274" y="124"/>
                        </a:lnTo>
                        <a:lnTo>
                          <a:pt x="260" y="126"/>
                        </a:lnTo>
                        <a:lnTo>
                          <a:pt x="250" y="124"/>
                        </a:lnTo>
                        <a:lnTo>
                          <a:pt x="240" y="124"/>
                        </a:lnTo>
                        <a:lnTo>
                          <a:pt x="236" y="124"/>
                        </a:lnTo>
                        <a:lnTo>
                          <a:pt x="230" y="126"/>
                        </a:lnTo>
                        <a:lnTo>
                          <a:pt x="226" y="130"/>
                        </a:lnTo>
                        <a:lnTo>
                          <a:pt x="222" y="134"/>
                        </a:lnTo>
                        <a:lnTo>
                          <a:pt x="212" y="152"/>
                        </a:lnTo>
                        <a:lnTo>
                          <a:pt x="212" y="152"/>
                        </a:lnTo>
                        <a:lnTo>
                          <a:pt x="202" y="172"/>
                        </a:lnTo>
                        <a:lnTo>
                          <a:pt x="192" y="188"/>
                        </a:lnTo>
                        <a:lnTo>
                          <a:pt x="182" y="202"/>
                        </a:lnTo>
                        <a:lnTo>
                          <a:pt x="172" y="212"/>
                        </a:lnTo>
                        <a:lnTo>
                          <a:pt x="158" y="220"/>
                        </a:lnTo>
                        <a:lnTo>
                          <a:pt x="142" y="224"/>
                        </a:lnTo>
                        <a:lnTo>
                          <a:pt x="122" y="228"/>
                        </a:lnTo>
                        <a:lnTo>
                          <a:pt x="96" y="228"/>
                        </a:lnTo>
                        <a:lnTo>
                          <a:pt x="96" y="228"/>
                        </a:lnTo>
                        <a:lnTo>
                          <a:pt x="84" y="230"/>
                        </a:lnTo>
                        <a:lnTo>
                          <a:pt x="78" y="232"/>
                        </a:lnTo>
                        <a:lnTo>
                          <a:pt x="74" y="236"/>
                        </a:lnTo>
                        <a:lnTo>
                          <a:pt x="74" y="240"/>
                        </a:lnTo>
                        <a:lnTo>
                          <a:pt x="74" y="244"/>
                        </a:lnTo>
                        <a:lnTo>
                          <a:pt x="72" y="250"/>
                        </a:lnTo>
                        <a:lnTo>
                          <a:pt x="66" y="254"/>
                        </a:lnTo>
                        <a:lnTo>
                          <a:pt x="58" y="258"/>
                        </a:lnTo>
                        <a:lnTo>
                          <a:pt x="58" y="258"/>
                        </a:lnTo>
                        <a:lnTo>
                          <a:pt x="54" y="260"/>
                        </a:lnTo>
                        <a:lnTo>
                          <a:pt x="52" y="262"/>
                        </a:lnTo>
                        <a:lnTo>
                          <a:pt x="54" y="266"/>
                        </a:lnTo>
                        <a:lnTo>
                          <a:pt x="58" y="268"/>
                        </a:lnTo>
                        <a:lnTo>
                          <a:pt x="72" y="274"/>
                        </a:lnTo>
                        <a:lnTo>
                          <a:pt x="92" y="282"/>
                        </a:lnTo>
                        <a:lnTo>
                          <a:pt x="114" y="292"/>
                        </a:lnTo>
                        <a:lnTo>
                          <a:pt x="136" y="304"/>
                        </a:lnTo>
                        <a:lnTo>
                          <a:pt x="156" y="318"/>
                        </a:lnTo>
                        <a:lnTo>
                          <a:pt x="162" y="326"/>
                        </a:lnTo>
                        <a:lnTo>
                          <a:pt x="168" y="334"/>
                        </a:lnTo>
                        <a:lnTo>
                          <a:pt x="168" y="334"/>
                        </a:lnTo>
                        <a:lnTo>
                          <a:pt x="172" y="342"/>
                        </a:lnTo>
                        <a:lnTo>
                          <a:pt x="176" y="346"/>
                        </a:lnTo>
                        <a:lnTo>
                          <a:pt x="186" y="354"/>
                        </a:lnTo>
                        <a:lnTo>
                          <a:pt x="196" y="356"/>
                        </a:lnTo>
                        <a:lnTo>
                          <a:pt x="206" y="356"/>
                        </a:lnTo>
                        <a:lnTo>
                          <a:pt x="212" y="356"/>
                        </a:lnTo>
                        <a:lnTo>
                          <a:pt x="218" y="356"/>
                        </a:lnTo>
                        <a:lnTo>
                          <a:pt x="220" y="356"/>
                        </a:lnTo>
                        <a:lnTo>
                          <a:pt x="222" y="358"/>
                        </a:lnTo>
                        <a:lnTo>
                          <a:pt x="220" y="364"/>
                        </a:lnTo>
                        <a:lnTo>
                          <a:pt x="220" y="364"/>
                        </a:lnTo>
                        <a:lnTo>
                          <a:pt x="220" y="372"/>
                        </a:lnTo>
                        <a:lnTo>
                          <a:pt x="220" y="376"/>
                        </a:lnTo>
                        <a:lnTo>
                          <a:pt x="224" y="378"/>
                        </a:lnTo>
                        <a:lnTo>
                          <a:pt x="228" y="380"/>
                        </a:lnTo>
                        <a:lnTo>
                          <a:pt x="232" y="380"/>
                        </a:lnTo>
                        <a:lnTo>
                          <a:pt x="236" y="382"/>
                        </a:lnTo>
                        <a:lnTo>
                          <a:pt x="240" y="386"/>
                        </a:lnTo>
                        <a:lnTo>
                          <a:pt x="242" y="392"/>
                        </a:lnTo>
                        <a:lnTo>
                          <a:pt x="242" y="392"/>
                        </a:lnTo>
                        <a:lnTo>
                          <a:pt x="244" y="400"/>
                        </a:lnTo>
                        <a:lnTo>
                          <a:pt x="248" y="402"/>
                        </a:lnTo>
                        <a:lnTo>
                          <a:pt x="254" y="404"/>
                        </a:lnTo>
                        <a:lnTo>
                          <a:pt x="260" y="402"/>
                        </a:lnTo>
                        <a:lnTo>
                          <a:pt x="266" y="402"/>
                        </a:lnTo>
                        <a:lnTo>
                          <a:pt x="270" y="402"/>
                        </a:lnTo>
                        <a:lnTo>
                          <a:pt x="274" y="404"/>
                        </a:lnTo>
                        <a:lnTo>
                          <a:pt x="276" y="410"/>
                        </a:lnTo>
                        <a:lnTo>
                          <a:pt x="276" y="410"/>
                        </a:lnTo>
                        <a:lnTo>
                          <a:pt x="274" y="418"/>
                        </a:lnTo>
                        <a:lnTo>
                          <a:pt x="272" y="418"/>
                        </a:lnTo>
                        <a:lnTo>
                          <a:pt x="270" y="418"/>
                        </a:lnTo>
                        <a:lnTo>
                          <a:pt x="266" y="416"/>
                        </a:lnTo>
                        <a:lnTo>
                          <a:pt x="262" y="416"/>
                        </a:lnTo>
                        <a:lnTo>
                          <a:pt x="258" y="418"/>
                        </a:lnTo>
                        <a:lnTo>
                          <a:pt x="252" y="424"/>
                        </a:lnTo>
                        <a:lnTo>
                          <a:pt x="252" y="424"/>
                        </a:lnTo>
                        <a:lnTo>
                          <a:pt x="250" y="426"/>
                        </a:lnTo>
                        <a:lnTo>
                          <a:pt x="248" y="426"/>
                        </a:lnTo>
                        <a:lnTo>
                          <a:pt x="240" y="422"/>
                        </a:lnTo>
                        <a:lnTo>
                          <a:pt x="234" y="420"/>
                        </a:lnTo>
                        <a:lnTo>
                          <a:pt x="224" y="420"/>
                        </a:lnTo>
                        <a:lnTo>
                          <a:pt x="212" y="420"/>
                        </a:lnTo>
                        <a:lnTo>
                          <a:pt x="194" y="422"/>
                        </a:lnTo>
                        <a:lnTo>
                          <a:pt x="194" y="422"/>
                        </a:lnTo>
                        <a:lnTo>
                          <a:pt x="186" y="422"/>
                        </a:lnTo>
                        <a:lnTo>
                          <a:pt x="180" y="420"/>
                        </a:lnTo>
                        <a:lnTo>
                          <a:pt x="176" y="418"/>
                        </a:lnTo>
                        <a:lnTo>
                          <a:pt x="174" y="416"/>
                        </a:lnTo>
                        <a:lnTo>
                          <a:pt x="174" y="408"/>
                        </a:lnTo>
                        <a:lnTo>
                          <a:pt x="176" y="398"/>
                        </a:lnTo>
                        <a:lnTo>
                          <a:pt x="176" y="390"/>
                        </a:lnTo>
                        <a:lnTo>
                          <a:pt x="174" y="388"/>
                        </a:lnTo>
                        <a:lnTo>
                          <a:pt x="172" y="384"/>
                        </a:lnTo>
                        <a:lnTo>
                          <a:pt x="168" y="384"/>
                        </a:lnTo>
                        <a:lnTo>
                          <a:pt x="162" y="384"/>
                        </a:lnTo>
                        <a:lnTo>
                          <a:pt x="140" y="388"/>
                        </a:lnTo>
                        <a:lnTo>
                          <a:pt x="140" y="388"/>
                        </a:lnTo>
                        <a:lnTo>
                          <a:pt x="116" y="396"/>
                        </a:lnTo>
                        <a:lnTo>
                          <a:pt x="92" y="406"/>
                        </a:lnTo>
                        <a:lnTo>
                          <a:pt x="56" y="424"/>
                        </a:lnTo>
                        <a:lnTo>
                          <a:pt x="28" y="440"/>
                        </a:lnTo>
                        <a:lnTo>
                          <a:pt x="18" y="444"/>
                        </a:lnTo>
                        <a:lnTo>
                          <a:pt x="10" y="446"/>
                        </a:lnTo>
                        <a:lnTo>
                          <a:pt x="10" y="446"/>
                        </a:lnTo>
                        <a:lnTo>
                          <a:pt x="4" y="448"/>
                        </a:lnTo>
                        <a:lnTo>
                          <a:pt x="0" y="452"/>
                        </a:lnTo>
                        <a:lnTo>
                          <a:pt x="0" y="456"/>
                        </a:lnTo>
                        <a:lnTo>
                          <a:pt x="2" y="460"/>
                        </a:lnTo>
                        <a:lnTo>
                          <a:pt x="8" y="466"/>
                        </a:lnTo>
                        <a:lnTo>
                          <a:pt x="16" y="470"/>
                        </a:lnTo>
                        <a:lnTo>
                          <a:pt x="28" y="472"/>
                        </a:lnTo>
                        <a:lnTo>
                          <a:pt x="42" y="474"/>
                        </a:lnTo>
                        <a:lnTo>
                          <a:pt x="42" y="474"/>
                        </a:lnTo>
                        <a:lnTo>
                          <a:pt x="54" y="474"/>
                        </a:lnTo>
                        <a:lnTo>
                          <a:pt x="60" y="478"/>
                        </a:lnTo>
                        <a:lnTo>
                          <a:pt x="58" y="480"/>
                        </a:lnTo>
                        <a:lnTo>
                          <a:pt x="56" y="484"/>
                        </a:lnTo>
                        <a:lnTo>
                          <a:pt x="52" y="488"/>
                        </a:lnTo>
                        <a:lnTo>
                          <a:pt x="50" y="492"/>
                        </a:lnTo>
                        <a:lnTo>
                          <a:pt x="50" y="498"/>
                        </a:lnTo>
                        <a:lnTo>
                          <a:pt x="56" y="502"/>
                        </a:lnTo>
                        <a:lnTo>
                          <a:pt x="56" y="502"/>
                        </a:lnTo>
                        <a:lnTo>
                          <a:pt x="64" y="506"/>
                        </a:lnTo>
                        <a:lnTo>
                          <a:pt x="66" y="512"/>
                        </a:lnTo>
                        <a:lnTo>
                          <a:pt x="68" y="520"/>
                        </a:lnTo>
                        <a:lnTo>
                          <a:pt x="70" y="524"/>
                        </a:lnTo>
                        <a:lnTo>
                          <a:pt x="74" y="528"/>
                        </a:lnTo>
                        <a:lnTo>
                          <a:pt x="82" y="532"/>
                        </a:lnTo>
                        <a:lnTo>
                          <a:pt x="94" y="534"/>
                        </a:lnTo>
                        <a:lnTo>
                          <a:pt x="94" y="534"/>
                        </a:lnTo>
                        <a:lnTo>
                          <a:pt x="110" y="534"/>
                        </a:lnTo>
                        <a:lnTo>
                          <a:pt x="122" y="534"/>
                        </a:lnTo>
                        <a:lnTo>
                          <a:pt x="144" y="528"/>
                        </a:lnTo>
                        <a:lnTo>
                          <a:pt x="154" y="526"/>
                        </a:lnTo>
                        <a:lnTo>
                          <a:pt x="166" y="526"/>
                        </a:lnTo>
                        <a:lnTo>
                          <a:pt x="176" y="528"/>
                        </a:lnTo>
                        <a:lnTo>
                          <a:pt x="190" y="534"/>
                        </a:lnTo>
                        <a:lnTo>
                          <a:pt x="190" y="534"/>
                        </a:lnTo>
                        <a:lnTo>
                          <a:pt x="198" y="536"/>
                        </a:lnTo>
                        <a:lnTo>
                          <a:pt x="204" y="538"/>
                        </a:lnTo>
                        <a:lnTo>
                          <a:pt x="210" y="538"/>
                        </a:lnTo>
                        <a:lnTo>
                          <a:pt x="218" y="536"/>
                        </a:lnTo>
                        <a:lnTo>
                          <a:pt x="230" y="530"/>
                        </a:lnTo>
                        <a:lnTo>
                          <a:pt x="242" y="522"/>
                        </a:lnTo>
                        <a:lnTo>
                          <a:pt x="254" y="512"/>
                        </a:lnTo>
                        <a:lnTo>
                          <a:pt x="266" y="506"/>
                        </a:lnTo>
                        <a:lnTo>
                          <a:pt x="270" y="506"/>
                        </a:lnTo>
                        <a:lnTo>
                          <a:pt x="276" y="506"/>
                        </a:lnTo>
                        <a:lnTo>
                          <a:pt x="280" y="508"/>
                        </a:lnTo>
                        <a:lnTo>
                          <a:pt x="286" y="510"/>
                        </a:lnTo>
                        <a:lnTo>
                          <a:pt x="286" y="510"/>
                        </a:lnTo>
                        <a:lnTo>
                          <a:pt x="290" y="516"/>
                        </a:lnTo>
                        <a:lnTo>
                          <a:pt x="290" y="518"/>
                        </a:lnTo>
                        <a:lnTo>
                          <a:pt x="290" y="522"/>
                        </a:lnTo>
                        <a:lnTo>
                          <a:pt x="288" y="524"/>
                        </a:lnTo>
                        <a:lnTo>
                          <a:pt x="282" y="526"/>
                        </a:lnTo>
                        <a:lnTo>
                          <a:pt x="272" y="528"/>
                        </a:lnTo>
                        <a:lnTo>
                          <a:pt x="264" y="530"/>
                        </a:lnTo>
                        <a:lnTo>
                          <a:pt x="260" y="534"/>
                        </a:lnTo>
                        <a:lnTo>
                          <a:pt x="260" y="536"/>
                        </a:lnTo>
                        <a:lnTo>
                          <a:pt x="262" y="538"/>
                        </a:lnTo>
                        <a:lnTo>
                          <a:pt x="274" y="544"/>
                        </a:lnTo>
                        <a:lnTo>
                          <a:pt x="274" y="544"/>
                        </a:lnTo>
                        <a:lnTo>
                          <a:pt x="280" y="550"/>
                        </a:lnTo>
                        <a:lnTo>
                          <a:pt x="286" y="554"/>
                        </a:lnTo>
                        <a:lnTo>
                          <a:pt x="290" y="558"/>
                        </a:lnTo>
                        <a:lnTo>
                          <a:pt x="292" y="564"/>
                        </a:lnTo>
                        <a:lnTo>
                          <a:pt x="292" y="570"/>
                        </a:lnTo>
                        <a:lnTo>
                          <a:pt x="292" y="574"/>
                        </a:lnTo>
                        <a:lnTo>
                          <a:pt x="288" y="584"/>
                        </a:lnTo>
                        <a:lnTo>
                          <a:pt x="280" y="592"/>
                        </a:lnTo>
                        <a:lnTo>
                          <a:pt x="270" y="598"/>
                        </a:lnTo>
                        <a:lnTo>
                          <a:pt x="258" y="600"/>
                        </a:lnTo>
                        <a:lnTo>
                          <a:pt x="244" y="598"/>
                        </a:lnTo>
                        <a:lnTo>
                          <a:pt x="244" y="598"/>
                        </a:lnTo>
                        <a:lnTo>
                          <a:pt x="240" y="598"/>
                        </a:lnTo>
                        <a:lnTo>
                          <a:pt x="234" y="598"/>
                        </a:lnTo>
                        <a:lnTo>
                          <a:pt x="226" y="602"/>
                        </a:lnTo>
                        <a:lnTo>
                          <a:pt x="220" y="610"/>
                        </a:lnTo>
                        <a:lnTo>
                          <a:pt x="214" y="618"/>
                        </a:lnTo>
                        <a:lnTo>
                          <a:pt x="210" y="624"/>
                        </a:lnTo>
                        <a:lnTo>
                          <a:pt x="202" y="630"/>
                        </a:lnTo>
                        <a:lnTo>
                          <a:pt x="198" y="630"/>
                        </a:lnTo>
                        <a:lnTo>
                          <a:pt x="192" y="630"/>
                        </a:lnTo>
                        <a:lnTo>
                          <a:pt x="186" y="628"/>
                        </a:lnTo>
                        <a:lnTo>
                          <a:pt x="180" y="624"/>
                        </a:lnTo>
                        <a:lnTo>
                          <a:pt x="180" y="624"/>
                        </a:lnTo>
                        <a:lnTo>
                          <a:pt x="172" y="620"/>
                        </a:lnTo>
                        <a:lnTo>
                          <a:pt x="166" y="618"/>
                        </a:lnTo>
                        <a:lnTo>
                          <a:pt x="160" y="618"/>
                        </a:lnTo>
                        <a:lnTo>
                          <a:pt x="154" y="620"/>
                        </a:lnTo>
                        <a:lnTo>
                          <a:pt x="144" y="626"/>
                        </a:lnTo>
                        <a:lnTo>
                          <a:pt x="136" y="636"/>
                        </a:lnTo>
                        <a:lnTo>
                          <a:pt x="124" y="658"/>
                        </a:lnTo>
                        <a:lnTo>
                          <a:pt x="118" y="666"/>
                        </a:lnTo>
                        <a:lnTo>
                          <a:pt x="112" y="672"/>
                        </a:lnTo>
                        <a:lnTo>
                          <a:pt x="112" y="672"/>
                        </a:lnTo>
                        <a:lnTo>
                          <a:pt x="106" y="674"/>
                        </a:lnTo>
                        <a:lnTo>
                          <a:pt x="102" y="678"/>
                        </a:lnTo>
                        <a:lnTo>
                          <a:pt x="96" y="690"/>
                        </a:lnTo>
                        <a:lnTo>
                          <a:pt x="92" y="702"/>
                        </a:lnTo>
                        <a:lnTo>
                          <a:pt x="88" y="708"/>
                        </a:lnTo>
                        <a:lnTo>
                          <a:pt x="82" y="712"/>
                        </a:lnTo>
                        <a:lnTo>
                          <a:pt x="82" y="712"/>
                        </a:lnTo>
                        <a:lnTo>
                          <a:pt x="76" y="716"/>
                        </a:lnTo>
                        <a:lnTo>
                          <a:pt x="74" y="720"/>
                        </a:lnTo>
                        <a:lnTo>
                          <a:pt x="74" y="726"/>
                        </a:lnTo>
                        <a:lnTo>
                          <a:pt x="76" y="730"/>
                        </a:lnTo>
                        <a:lnTo>
                          <a:pt x="88" y="740"/>
                        </a:lnTo>
                        <a:lnTo>
                          <a:pt x="108" y="756"/>
                        </a:lnTo>
                        <a:lnTo>
                          <a:pt x="108" y="756"/>
                        </a:lnTo>
                        <a:lnTo>
                          <a:pt x="116" y="764"/>
                        </a:lnTo>
                        <a:lnTo>
                          <a:pt x="118" y="772"/>
                        </a:lnTo>
                        <a:lnTo>
                          <a:pt x="118" y="778"/>
                        </a:lnTo>
                        <a:lnTo>
                          <a:pt x="116" y="784"/>
                        </a:lnTo>
                        <a:lnTo>
                          <a:pt x="114" y="790"/>
                        </a:lnTo>
                        <a:lnTo>
                          <a:pt x="112" y="794"/>
                        </a:lnTo>
                        <a:lnTo>
                          <a:pt x="112" y="800"/>
                        </a:lnTo>
                        <a:lnTo>
                          <a:pt x="116" y="804"/>
                        </a:lnTo>
                        <a:lnTo>
                          <a:pt x="116" y="804"/>
                        </a:lnTo>
                        <a:lnTo>
                          <a:pt x="132" y="818"/>
                        </a:lnTo>
                        <a:lnTo>
                          <a:pt x="148" y="834"/>
                        </a:lnTo>
                        <a:lnTo>
                          <a:pt x="158" y="840"/>
                        </a:lnTo>
                        <a:lnTo>
                          <a:pt x="168" y="844"/>
                        </a:lnTo>
                        <a:lnTo>
                          <a:pt x="180" y="844"/>
                        </a:lnTo>
                        <a:lnTo>
                          <a:pt x="194" y="840"/>
                        </a:lnTo>
                        <a:lnTo>
                          <a:pt x="194" y="840"/>
                        </a:lnTo>
                        <a:lnTo>
                          <a:pt x="208" y="836"/>
                        </a:lnTo>
                        <a:lnTo>
                          <a:pt x="218" y="834"/>
                        </a:lnTo>
                        <a:lnTo>
                          <a:pt x="228" y="836"/>
                        </a:lnTo>
                        <a:lnTo>
                          <a:pt x="234" y="838"/>
                        </a:lnTo>
                        <a:lnTo>
                          <a:pt x="240" y="842"/>
                        </a:lnTo>
                        <a:lnTo>
                          <a:pt x="242" y="848"/>
                        </a:lnTo>
                        <a:lnTo>
                          <a:pt x="242" y="858"/>
                        </a:lnTo>
                        <a:lnTo>
                          <a:pt x="238" y="868"/>
                        </a:lnTo>
                        <a:lnTo>
                          <a:pt x="238" y="868"/>
                        </a:lnTo>
                        <a:lnTo>
                          <a:pt x="236" y="878"/>
                        </a:lnTo>
                        <a:lnTo>
                          <a:pt x="236" y="884"/>
                        </a:lnTo>
                        <a:lnTo>
                          <a:pt x="238" y="888"/>
                        </a:lnTo>
                        <a:lnTo>
                          <a:pt x="242" y="890"/>
                        </a:lnTo>
                        <a:lnTo>
                          <a:pt x="244" y="892"/>
                        </a:lnTo>
                        <a:lnTo>
                          <a:pt x="246" y="896"/>
                        </a:lnTo>
                        <a:lnTo>
                          <a:pt x="246" y="900"/>
                        </a:lnTo>
                        <a:lnTo>
                          <a:pt x="244" y="908"/>
                        </a:lnTo>
                        <a:lnTo>
                          <a:pt x="244" y="908"/>
                        </a:lnTo>
                        <a:lnTo>
                          <a:pt x="242" y="918"/>
                        </a:lnTo>
                        <a:lnTo>
                          <a:pt x="244" y="922"/>
                        </a:lnTo>
                        <a:lnTo>
                          <a:pt x="248" y="924"/>
                        </a:lnTo>
                        <a:lnTo>
                          <a:pt x="254" y="924"/>
                        </a:lnTo>
                        <a:lnTo>
                          <a:pt x="262" y="920"/>
                        </a:lnTo>
                        <a:lnTo>
                          <a:pt x="270" y="916"/>
                        </a:lnTo>
                        <a:lnTo>
                          <a:pt x="284" y="904"/>
                        </a:lnTo>
                        <a:lnTo>
                          <a:pt x="284" y="904"/>
                        </a:lnTo>
                        <a:lnTo>
                          <a:pt x="292" y="900"/>
                        </a:lnTo>
                        <a:lnTo>
                          <a:pt x="300" y="898"/>
                        </a:lnTo>
                        <a:lnTo>
                          <a:pt x="308" y="898"/>
                        </a:lnTo>
                        <a:lnTo>
                          <a:pt x="316" y="902"/>
                        </a:lnTo>
                        <a:lnTo>
                          <a:pt x="326" y="906"/>
                        </a:lnTo>
                        <a:lnTo>
                          <a:pt x="336" y="912"/>
                        </a:lnTo>
                        <a:lnTo>
                          <a:pt x="352" y="926"/>
                        </a:lnTo>
                        <a:lnTo>
                          <a:pt x="352" y="926"/>
                        </a:lnTo>
                        <a:lnTo>
                          <a:pt x="358" y="930"/>
                        </a:lnTo>
                        <a:lnTo>
                          <a:pt x="362" y="932"/>
                        </a:lnTo>
                        <a:lnTo>
                          <a:pt x="366" y="930"/>
                        </a:lnTo>
                        <a:lnTo>
                          <a:pt x="370" y="926"/>
                        </a:lnTo>
                        <a:lnTo>
                          <a:pt x="376" y="918"/>
                        </a:lnTo>
                        <a:lnTo>
                          <a:pt x="380" y="916"/>
                        </a:lnTo>
                        <a:lnTo>
                          <a:pt x="386" y="918"/>
                        </a:lnTo>
                        <a:lnTo>
                          <a:pt x="386" y="918"/>
                        </a:lnTo>
                        <a:lnTo>
                          <a:pt x="392" y="920"/>
                        </a:lnTo>
                        <a:lnTo>
                          <a:pt x="402" y="918"/>
                        </a:lnTo>
                        <a:lnTo>
                          <a:pt x="420" y="912"/>
                        </a:lnTo>
                        <a:lnTo>
                          <a:pt x="432" y="908"/>
                        </a:lnTo>
                        <a:lnTo>
                          <a:pt x="432" y="908"/>
                        </a:lnTo>
                        <a:lnTo>
                          <a:pt x="432" y="910"/>
                        </a:lnTo>
                        <a:lnTo>
                          <a:pt x="430" y="916"/>
                        </a:lnTo>
                        <a:lnTo>
                          <a:pt x="430" y="916"/>
                        </a:lnTo>
                        <a:lnTo>
                          <a:pt x="418" y="932"/>
                        </a:lnTo>
                        <a:lnTo>
                          <a:pt x="412" y="946"/>
                        </a:lnTo>
                        <a:lnTo>
                          <a:pt x="410" y="962"/>
                        </a:lnTo>
                        <a:lnTo>
                          <a:pt x="410" y="978"/>
                        </a:lnTo>
                        <a:lnTo>
                          <a:pt x="410" y="978"/>
                        </a:lnTo>
                        <a:lnTo>
                          <a:pt x="408" y="986"/>
                        </a:lnTo>
                        <a:lnTo>
                          <a:pt x="406" y="990"/>
                        </a:lnTo>
                        <a:lnTo>
                          <a:pt x="402" y="992"/>
                        </a:lnTo>
                        <a:lnTo>
                          <a:pt x="396" y="994"/>
                        </a:lnTo>
                        <a:lnTo>
                          <a:pt x="392" y="998"/>
                        </a:lnTo>
                        <a:lnTo>
                          <a:pt x="386" y="1000"/>
                        </a:lnTo>
                        <a:lnTo>
                          <a:pt x="380" y="1008"/>
                        </a:lnTo>
                        <a:lnTo>
                          <a:pt x="374" y="1018"/>
                        </a:lnTo>
                        <a:lnTo>
                          <a:pt x="374" y="1018"/>
                        </a:lnTo>
                        <a:lnTo>
                          <a:pt x="368" y="1028"/>
                        </a:lnTo>
                        <a:lnTo>
                          <a:pt x="360" y="1036"/>
                        </a:lnTo>
                        <a:lnTo>
                          <a:pt x="352" y="1040"/>
                        </a:lnTo>
                        <a:lnTo>
                          <a:pt x="342" y="1044"/>
                        </a:lnTo>
                        <a:lnTo>
                          <a:pt x="332" y="1048"/>
                        </a:lnTo>
                        <a:lnTo>
                          <a:pt x="324" y="1054"/>
                        </a:lnTo>
                        <a:lnTo>
                          <a:pt x="314" y="1060"/>
                        </a:lnTo>
                        <a:lnTo>
                          <a:pt x="306" y="1072"/>
                        </a:lnTo>
                        <a:lnTo>
                          <a:pt x="306" y="1072"/>
                        </a:lnTo>
                        <a:lnTo>
                          <a:pt x="300" y="1082"/>
                        </a:lnTo>
                        <a:lnTo>
                          <a:pt x="296" y="1088"/>
                        </a:lnTo>
                        <a:lnTo>
                          <a:pt x="292" y="1090"/>
                        </a:lnTo>
                        <a:lnTo>
                          <a:pt x="288" y="1088"/>
                        </a:lnTo>
                        <a:lnTo>
                          <a:pt x="276" y="1086"/>
                        </a:lnTo>
                        <a:lnTo>
                          <a:pt x="268" y="1088"/>
                        </a:lnTo>
                        <a:lnTo>
                          <a:pt x="254" y="1090"/>
                        </a:lnTo>
                        <a:lnTo>
                          <a:pt x="254" y="1090"/>
                        </a:lnTo>
                        <a:lnTo>
                          <a:pt x="244" y="1096"/>
                        </a:lnTo>
                        <a:lnTo>
                          <a:pt x="236" y="1100"/>
                        </a:lnTo>
                        <a:lnTo>
                          <a:pt x="232" y="1104"/>
                        </a:lnTo>
                        <a:lnTo>
                          <a:pt x="228" y="1110"/>
                        </a:lnTo>
                        <a:lnTo>
                          <a:pt x="222" y="1118"/>
                        </a:lnTo>
                        <a:lnTo>
                          <a:pt x="218" y="1124"/>
                        </a:lnTo>
                        <a:lnTo>
                          <a:pt x="210" y="1128"/>
                        </a:lnTo>
                        <a:lnTo>
                          <a:pt x="210" y="1128"/>
                        </a:lnTo>
                        <a:lnTo>
                          <a:pt x="200" y="1132"/>
                        </a:lnTo>
                        <a:lnTo>
                          <a:pt x="194" y="1138"/>
                        </a:lnTo>
                        <a:lnTo>
                          <a:pt x="188" y="1144"/>
                        </a:lnTo>
                        <a:lnTo>
                          <a:pt x="186" y="1148"/>
                        </a:lnTo>
                        <a:lnTo>
                          <a:pt x="188" y="1152"/>
                        </a:lnTo>
                        <a:lnTo>
                          <a:pt x="192" y="1154"/>
                        </a:lnTo>
                        <a:lnTo>
                          <a:pt x="200" y="1154"/>
                        </a:lnTo>
                        <a:lnTo>
                          <a:pt x="212" y="1150"/>
                        </a:lnTo>
                        <a:lnTo>
                          <a:pt x="212" y="1150"/>
                        </a:lnTo>
                        <a:lnTo>
                          <a:pt x="224" y="1144"/>
                        </a:lnTo>
                        <a:lnTo>
                          <a:pt x="234" y="1138"/>
                        </a:lnTo>
                        <a:lnTo>
                          <a:pt x="248" y="1124"/>
                        </a:lnTo>
                        <a:lnTo>
                          <a:pt x="256" y="1116"/>
                        </a:lnTo>
                        <a:lnTo>
                          <a:pt x="258" y="1116"/>
                        </a:lnTo>
                        <a:lnTo>
                          <a:pt x="262" y="1120"/>
                        </a:lnTo>
                        <a:lnTo>
                          <a:pt x="262" y="1120"/>
                        </a:lnTo>
                        <a:lnTo>
                          <a:pt x="266" y="1124"/>
                        </a:lnTo>
                        <a:lnTo>
                          <a:pt x="270" y="1124"/>
                        </a:lnTo>
                        <a:lnTo>
                          <a:pt x="278" y="1122"/>
                        </a:lnTo>
                        <a:lnTo>
                          <a:pt x="282" y="1120"/>
                        </a:lnTo>
                        <a:lnTo>
                          <a:pt x="284" y="1120"/>
                        </a:lnTo>
                        <a:lnTo>
                          <a:pt x="288" y="1124"/>
                        </a:lnTo>
                        <a:lnTo>
                          <a:pt x="290" y="1128"/>
                        </a:lnTo>
                        <a:lnTo>
                          <a:pt x="290" y="1128"/>
                        </a:lnTo>
                        <a:lnTo>
                          <a:pt x="292" y="1136"/>
                        </a:lnTo>
                        <a:lnTo>
                          <a:pt x="296" y="1138"/>
                        </a:lnTo>
                        <a:lnTo>
                          <a:pt x="298" y="1140"/>
                        </a:lnTo>
                        <a:lnTo>
                          <a:pt x="302" y="1138"/>
                        </a:lnTo>
                        <a:lnTo>
                          <a:pt x="306" y="1136"/>
                        </a:lnTo>
                        <a:lnTo>
                          <a:pt x="308" y="1130"/>
                        </a:lnTo>
                        <a:lnTo>
                          <a:pt x="308" y="1126"/>
                        </a:lnTo>
                        <a:lnTo>
                          <a:pt x="306" y="1120"/>
                        </a:lnTo>
                        <a:lnTo>
                          <a:pt x="306" y="1120"/>
                        </a:lnTo>
                        <a:lnTo>
                          <a:pt x="306" y="1114"/>
                        </a:lnTo>
                        <a:lnTo>
                          <a:pt x="308" y="1110"/>
                        </a:lnTo>
                        <a:lnTo>
                          <a:pt x="312" y="1106"/>
                        </a:lnTo>
                        <a:lnTo>
                          <a:pt x="316" y="1102"/>
                        </a:lnTo>
                        <a:lnTo>
                          <a:pt x="322" y="1100"/>
                        </a:lnTo>
                        <a:lnTo>
                          <a:pt x="328" y="1100"/>
                        </a:lnTo>
                        <a:lnTo>
                          <a:pt x="332" y="1102"/>
                        </a:lnTo>
                        <a:lnTo>
                          <a:pt x="334" y="1108"/>
                        </a:lnTo>
                        <a:lnTo>
                          <a:pt x="334" y="1108"/>
                        </a:lnTo>
                        <a:lnTo>
                          <a:pt x="334" y="1110"/>
                        </a:lnTo>
                        <a:lnTo>
                          <a:pt x="336" y="1110"/>
                        </a:lnTo>
                        <a:lnTo>
                          <a:pt x="340" y="1110"/>
                        </a:lnTo>
                        <a:lnTo>
                          <a:pt x="354" y="1100"/>
                        </a:lnTo>
                        <a:lnTo>
                          <a:pt x="372" y="1088"/>
                        </a:lnTo>
                        <a:lnTo>
                          <a:pt x="380" y="1084"/>
                        </a:lnTo>
                        <a:lnTo>
                          <a:pt x="388" y="1082"/>
                        </a:lnTo>
                        <a:lnTo>
                          <a:pt x="388" y="1082"/>
                        </a:lnTo>
                        <a:lnTo>
                          <a:pt x="394" y="1082"/>
                        </a:lnTo>
                        <a:lnTo>
                          <a:pt x="396" y="1080"/>
                        </a:lnTo>
                        <a:lnTo>
                          <a:pt x="394" y="1074"/>
                        </a:lnTo>
                        <a:lnTo>
                          <a:pt x="394" y="1068"/>
                        </a:lnTo>
                        <a:lnTo>
                          <a:pt x="398" y="1062"/>
                        </a:lnTo>
                        <a:lnTo>
                          <a:pt x="408" y="1052"/>
                        </a:lnTo>
                        <a:lnTo>
                          <a:pt x="424" y="1042"/>
                        </a:lnTo>
                        <a:lnTo>
                          <a:pt x="424" y="1042"/>
                        </a:lnTo>
                        <a:lnTo>
                          <a:pt x="440" y="1032"/>
                        </a:lnTo>
                        <a:lnTo>
                          <a:pt x="452" y="1024"/>
                        </a:lnTo>
                        <a:lnTo>
                          <a:pt x="462" y="1016"/>
                        </a:lnTo>
                        <a:lnTo>
                          <a:pt x="468" y="1010"/>
                        </a:lnTo>
                        <a:lnTo>
                          <a:pt x="478" y="998"/>
                        </a:lnTo>
                        <a:lnTo>
                          <a:pt x="484" y="994"/>
                        </a:lnTo>
                        <a:lnTo>
                          <a:pt x="492" y="988"/>
                        </a:lnTo>
                        <a:lnTo>
                          <a:pt x="492" y="988"/>
                        </a:lnTo>
                        <a:lnTo>
                          <a:pt x="516" y="976"/>
                        </a:lnTo>
                        <a:lnTo>
                          <a:pt x="538" y="964"/>
                        </a:lnTo>
                        <a:lnTo>
                          <a:pt x="548" y="956"/>
                        </a:lnTo>
                        <a:lnTo>
                          <a:pt x="556" y="950"/>
                        </a:lnTo>
                        <a:lnTo>
                          <a:pt x="562" y="942"/>
                        </a:lnTo>
                        <a:lnTo>
                          <a:pt x="566" y="934"/>
                        </a:lnTo>
                        <a:lnTo>
                          <a:pt x="566" y="934"/>
                        </a:lnTo>
                        <a:lnTo>
                          <a:pt x="568" y="928"/>
                        </a:lnTo>
                        <a:lnTo>
                          <a:pt x="572" y="922"/>
                        </a:lnTo>
                        <a:lnTo>
                          <a:pt x="580" y="916"/>
                        </a:lnTo>
                        <a:lnTo>
                          <a:pt x="588" y="912"/>
                        </a:lnTo>
                        <a:lnTo>
                          <a:pt x="592" y="906"/>
                        </a:lnTo>
                        <a:lnTo>
                          <a:pt x="592" y="900"/>
                        </a:lnTo>
                        <a:lnTo>
                          <a:pt x="592" y="900"/>
                        </a:lnTo>
                        <a:lnTo>
                          <a:pt x="592" y="898"/>
                        </a:lnTo>
                        <a:lnTo>
                          <a:pt x="590" y="896"/>
                        </a:lnTo>
                        <a:lnTo>
                          <a:pt x="582" y="892"/>
                        </a:lnTo>
                        <a:lnTo>
                          <a:pt x="564" y="892"/>
                        </a:lnTo>
                        <a:lnTo>
                          <a:pt x="556" y="890"/>
                        </a:lnTo>
                        <a:lnTo>
                          <a:pt x="554" y="890"/>
                        </a:lnTo>
                        <a:lnTo>
                          <a:pt x="554" y="888"/>
                        </a:lnTo>
                        <a:lnTo>
                          <a:pt x="554" y="886"/>
                        </a:lnTo>
                        <a:lnTo>
                          <a:pt x="556" y="882"/>
                        </a:lnTo>
                        <a:lnTo>
                          <a:pt x="570" y="870"/>
                        </a:lnTo>
                        <a:lnTo>
                          <a:pt x="570" y="870"/>
                        </a:lnTo>
                        <a:lnTo>
                          <a:pt x="598" y="846"/>
                        </a:lnTo>
                        <a:lnTo>
                          <a:pt x="616" y="828"/>
                        </a:lnTo>
                        <a:lnTo>
                          <a:pt x="630" y="810"/>
                        </a:lnTo>
                        <a:lnTo>
                          <a:pt x="644" y="786"/>
                        </a:lnTo>
                        <a:lnTo>
                          <a:pt x="644" y="786"/>
                        </a:lnTo>
                        <a:lnTo>
                          <a:pt x="654" y="774"/>
                        </a:lnTo>
                        <a:lnTo>
                          <a:pt x="666" y="764"/>
                        </a:lnTo>
                        <a:lnTo>
                          <a:pt x="680" y="756"/>
                        </a:lnTo>
                        <a:lnTo>
                          <a:pt x="694" y="750"/>
                        </a:lnTo>
                        <a:lnTo>
                          <a:pt x="710" y="750"/>
                        </a:lnTo>
                        <a:lnTo>
                          <a:pt x="726" y="752"/>
                        </a:lnTo>
                        <a:lnTo>
                          <a:pt x="742" y="758"/>
                        </a:lnTo>
                        <a:lnTo>
                          <a:pt x="750" y="764"/>
                        </a:lnTo>
                        <a:lnTo>
                          <a:pt x="758" y="770"/>
                        </a:lnTo>
                        <a:lnTo>
                          <a:pt x="758" y="770"/>
                        </a:lnTo>
                        <a:lnTo>
                          <a:pt x="768" y="782"/>
                        </a:lnTo>
                        <a:lnTo>
                          <a:pt x="770" y="784"/>
                        </a:lnTo>
                        <a:lnTo>
                          <a:pt x="770" y="784"/>
                        </a:lnTo>
                        <a:lnTo>
                          <a:pt x="752" y="776"/>
                        </a:lnTo>
                        <a:lnTo>
                          <a:pt x="738" y="768"/>
                        </a:lnTo>
                        <a:lnTo>
                          <a:pt x="720" y="764"/>
                        </a:lnTo>
                        <a:lnTo>
                          <a:pt x="712" y="762"/>
                        </a:lnTo>
                        <a:lnTo>
                          <a:pt x="704" y="762"/>
                        </a:lnTo>
                        <a:lnTo>
                          <a:pt x="696" y="764"/>
                        </a:lnTo>
                        <a:lnTo>
                          <a:pt x="690" y="768"/>
                        </a:lnTo>
                        <a:lnTo>
                          <a:pt x="690" y="768"/>
                        </a:lnTo>
                        <a:lnTo>
                          <a:pt x="680" y="776"/>
                        </a:lnTo>
                        <a:lnTo>
                          <a:pt x="674" y="784"/>
                        </a:lnTo>
                        <a:lnTo>
                          <a:pt x="672" y="790"/>
                        </a:lnTo>
                        <a:lnTo>
                          <a:pt x="672" y="796"/>
                        </a:lnTo>
                        <a:lnTo>
                          <a:pt x="672" y="802"/>
                        </a:lnTo>
                        <a:lnTo>
                          <a:pt x="670" y="810"/>
                        </a:lnTo>
                        <a:lnTo>
                          <a:pt x="666" y="818"/>
                        </a:lnTo>
                        <a:lnTo>
                          <a:pt x="658" y="828"/>
                        </a:lnTo>
                        <a:lnTo>
                          <a:pt x="658" y="828"/>
                        </a:lnTo>
                        <a:lnTo>
                          <a:pt x="652" y="836"/>
                        </a:lnTo>
                        <a:lnTo>
                          <a:pt x="650" y="844"/>
                        </a:lnTo>
                        <a:lnTo>
                          <a:pt x="652" y="848"/>
                        </a:lnTo>
                        <a:lnTo>
                          <a:pt x="656" y="852"/>
                        </a:lnTo>
                        <a:lnTo>
                          <a:pt x="660" y="856"/>
                        </a:lnTo>
                        <a:lnTo>
                          <a:pt x="662" y="858"/>
                        </a:lnTo>
                        <a:lnTo>
                          <a:pt x="662" y="862"/>
                        </a:lnTo>
                        <a:lnTo>
                          <a:pt x="656" y="866"/>
                        </a:lnTo>
                        <a:lnTo>
                          <a:pt x="656" y="866"/>
                        </a:lnTo>
                        <a:lnTo>
                          <a:pt x="646" y="874"/>
                        </a:lnTo>
                        <a:lnTo>
                          <a:pt x="644" y="876"/>
                        </a:lnTo>
                        <a:lnTo>
                          <a:pt x="644" y="878"/>
                        </a:lnTo>
                        <a:lnTo>
                          <a:pt x="646" y="880"/>
                        </a:lnTo>
                        <a:lnTo>
                          <a:pt x="648" y="882"/>
                        </a:lnTo>
                        <a:lnTo>
                          <a:pt x="658" y="884"/>
                        </a:lnTo>
                        <a:lnTo>
                          <a:pt x="670" y="884"/>
                        </a:lnTo>
                        <a:lnTo>
                          <a:pt x="684" y="882"/>
                        </a:lnTo>
                        <a:lnTo>
                          <a:pt x="698" y="876"/>
                        </a:lnTo>
                        <a:lnTo>
                          <a:pt x="712" y="866"/>
                        </a:lnTo>
                        <a:lnTo>
                          <a:pt x="712" y="866"/>
                        </a:lnTo>
                        <a:lnTo>
                          <a:pt x="732" y="850"/>
                        </a:lnTo>
                        <a:lnTo>
                          <a:pt x="748" y="840"/>
                        </a:lnTo>
                        <a:lnTo>
                          <a:pt x="762" y="834"/>
                        </a:lnTo>
                        <a:lnTo>
                          <a:pt x="778" y="834"/>
                        </a:lnTo>
                        <a:lnTo>
                          <a:pt x="778" y="834"/>
                        </a:lnTo>
                        <a:lnTo>
                          <a:pt x="786" y="832"/>
                        </a:lnTo>
                        <a:lnTo>
                          <a:pt x="790" y="830"/>
                        </a:lnTo>
                        <a:lnTo>
                          <a:pt x="790" y="828"/>
                        </a:lnTo>
                        <a:lnTo>
                          <a:pt x="790" y="824"/>
                        </a:lnTo>
                        <a:lnTo>
                          <a:pt x="790" y="820"/>
                        </a:lnTo>
                        <a:lnTo>
                          <a:pt x="790" y="818"/>
                        </a:lnTo>
                        <a:lnTo>
                          <a:pt x="794" y="814"/>
                        </a:lnTo>
                        <a:lnTo>
                          <a:pt x="800" y="810"/>
                        </a:lnTo>
                        <a:lnTo>
                          <a:pt x="800" y="810"/>
                        </a:lnTo>
                        <a:lnTo>
                          <a:pt x="804" y="806"/>
                        </a:lnTo>
                        <a:lnTo>
                          <a:pt x="806" y="802"/>
                        </a:lnTo>
                        <a:lnTo>
                          <a:pt x="804" y="796"/>
                        </a:lnTo>
                        <a:lnTo>
                          <a:pt x="802" y="790"/>
                        </a:lnTo>
                        <a:lnTo>
                          <a:pt x="800" y="784"/>
                        </a:lnTo>
                        <a:lnTo>
                          <a:pt x="800" y="780"/>
                        </a:lnTo>
                        <a:lnTo>
                          <a:pt x="804" y="776"/>
                        </a:lnTo>
                        <a:lnTo>
                          <a:pt x="812" y="774"/>
                        </a:lnTo>
                        <a:lnTo>
                          <a:pt x="812" y="774"/>
                        </a:lnTo>
                        <a:lnTo>
                          <a:pt x="824" y="772"/>
                        </a:lnTo>
                        <a:lnTo>
                          <a:pt x="834" y="770"/>
                        </a:lnTo>
                        <a:lnTo>
                          <a:pt x="850" y="764"/>
                        </a:lnTo>
                        <a:lnTo>
                          <a:pt x="856" y="764"/>
                        </a:lnTo>
                        <a:lnTo>
                          <a:pt x="860" y="764"/>
                        </a:lnTo>
                        <a:lnTo>
                          <a:pt x="862" y="768"/>
                        </a:lnTo>
                        <a:lnTo>
                          <a:pt x="862" y="774"/>
                        </a:lnTo>
                        <a:lnTo>
                          <a:pt x="862" y="774"/>
                        </a:lnTo>
                        <a:lnTo>
                          <a:pt x="862" y="780"/>
                        </a:lnTo>
                        <a:lnTo>
                          <a:pt x="866" y="784"/>
                        </a:lnTo>
                        <a:lnTo>
                          <a:pt x="870" y="788"/>
                        </a:lnTo>
                        <a:lnTo>
                          <a:pt x="874" y="790"/>
                        </a:lnTo>
                        <a:lnTo>
                          <a:pt x="888" y="794"/>
                        </a:lnTo>
                        <a:lnTo>
                          <a:pt x="896" y="798"/>
                        </a:lnTo>
                        <a:lnTo>
                          <a:pt x="906" y="802"/>
                        </a:lnTo>
                        <a:lnTo>
                          <a:pt x="906" y="802"/>
                        </a:lnTo>
                        <a:lnTo>
                          <a:pt x="912" y="806"/>
                        </a:lnTo>
                        <a:lnTo>
                          <a:pt x="918" y="806"/>
                        </a:lnTo>
                        <a:lnTo>
                          <a:pt x="922" y="804"/>
                        </a:lnTo>
                        <a:lnTo>
                          <a:pt x="924" y="802"/>
                        </a:lnTo>
                        <a:lnTo>
                          <a:pt x="926" y="800"/>
                        </a:lnTo>
                        <a:lnTo>
                          <a:pt x="930" y="800"/>
                        </a:lnTo>
                        <a:lnTo>
                          <a:pt x="934" y="804"/>
                        </a:lnTo>
                        <a:lnTo>
                          <a:pt x="940" y="810"/>
                        </a:lnTo>
                        <a:lnTo>
                          <a:pt x="940" y="810"/>
                        </a:lnTo>
                        <a:lnTo>
                          <a:pt x="948" y="820"/>
                        </a:lnTo>
                        <a:lnTo>
                          <a:pt x="958" y="824"/>
                        </a:lnTo>
                        <a:lnTo>
                          <a:pt x="968" y="828"/>
                        </a:lnTo>
                        <a:lnTo>
                          <a:pt x="978" y="828"/>
                        </a:lnTo>
                        <a:lnTo>
                          <a:pt x="1002" y="826"/>
                        </a:lnTo>
                        <a:lnTo>
                          <a:pt x="1024" y="824"/>
                        </a:lnTo>
                        <a:lnTo>
                          <a:pt x="1024" y="824"/>
                        </a:lnTo>
                        <a:lnTo>
                          <a:pt x="1036" y="826"/>
                        </a:lnTo>
                        <a:lnTo>
                          <a:pt x="1050" y="830"/>
                        </a:lnTo>
                        <a:lnTo>
                          <a:pt x="1076" y="842"/>
                        </a:lnTo>
                        <a:lnTo>
                          <a:pt x="1090" y="846"/>
                        </a:lnTo>
                        <a:lnTo>
                          <a:pt x="1104" y="850"/>
                        </a:lnTo>
                        <a:lnTo>
                          <a:pt x="1116" y="850"/>
                        </a:lnTo>
                        <a:lnTo>
                          <a:pt x="1122" y="848"/>
                        </a:lnTo>
                        <a:lnTo>
                          <a:pt x="1126" y="846"/>
                        </a:lnTo>
                        <a:lnTo>
                          <a:pt x="1126" y="846"/>
                        </a:lnTo>
                        <a:lnTo>
                          <a:pt x="1136" y="842"/>
                        </a:lnTo>
                        <a:lnTo>
                          <a:pt x="1142" y="840"/>
                        </a:lnTo>
                        <a:lnTo>
                          <a:pt x="1146" y="840"/>
                        </a:lnTo>
                        <a:lnTo>
                          <a:pt x="1150" y="842"/>
                        </a:lnTo>
                        <a:lnTo>
                          <a:pt x="1150" y="846"/>
                        </a:lnTo>
                        <a:lnTo>
                          <a:pt x="1150" y="850"/>
                        </a:lnTo>
                        <a:lnTo>
                          <a:pt x="1146" y="854"/>
                        </a:lnTo>
                        <a:lnTo>
                          <a:pt x="1142" y="858"/>
                        </a:lnTo>
                        <a:lnTo>
                          <a:pt x="1142" y="858"/>
                        </a:lnTo>
                        <a:lnTo>
                          <a:pt x="1138" y="860"/>
                        </a:lnTo>
                        <a:lnTo>
                          <a:pt x="1140" y="864"/>
                        </a:lnTo>
                        <a:lnTo>
                          <a:pt x="1146" y="868"/>
                        </a:lnTo>
                        <a:lnTo>
                          <a:pt x="1154" y="874"/>
                        </a:lnTo>
                        <a:lnTo>
                          <a:pt x="1174" y="882"/>
                        </a:lnTo>
                        <a:lnTo>
                          <a:pt x="1192" y="892"/>
                        </a:lnTo>
                        <a:lnTo>
                          <a:pt x="1192" y="892"/>
                        </a:lnTo>
                        <a:lnTo>
                          <a:pt x="1206" y="900"/>
                        </a:lnTo>
                        <a:lnTo>
                          <a:pt x="1216" y="912"/>
                        </a:lnTo>
                        <a:lnTo>
                          <a:pt x="1228" y="924"/>
                        </a:lnTo>
                        <a:lnTo>
                          <a:pt x="1244" y="934"/>
                        </a:lnTo>
                        <a:lnTo>
                          <a:pt x="1244" y="934"/>
                        </a:lnTo>
                        <a:lnTo>
                          <a:pt x="1254" y="938"/>
                        </a:lnTo>
                        <a:lnTo>
                          <a:pt x="1264" y="940"/>
                        </a:lnTo>
                        <a:lnTo>
                          <a:pt x="1272" y="940"/>
                        </a:lnTo>
                        <a:lnTo>
                          <a:pt x="1278" y="940"/>
                        </a:lnTo>
                        <a:lnTo>
                          <a:pt x="1282" y="938"/>
                        </a:lnTo>
                        <a:lnTo>
                          <a:pt x="1284" y="934"/>
                        </a:lnTo>
                        <a:lnTo>
                          <a:pt x="1284" y="930"/>
                        </a:lnTo>
                        <a:lnTo>
                          <a:pt x="1280" y="924"/>
                        </a:lnTo>
                        <a:lnTo>
                          <a:pt x="1280" y="924"/>
                        </a:lnTo>
                        <a:lnTo>
                          <a:pt x="1272" y="912"/>
                        </a:lnTo>
                        <a:lnTo>
                          <a:pt x="1268" y="904"/>
                        </a:lnTo>
                        <a:lnTo>
                          <a:pt x="1268" y="902"/>
                        </a:lnTo>
                        <a:lnTo>
                          <a:pt x="1270" y="902"/>
                        </a:lnTo>
                        <a:lnTo>
                          <a:pt x="1282" y="912"/>
                        </a:lnTo>
                        <a:lnTo>
                          <a:pt x="1282" y="912"/>
                        </a:lnTo>
                        <a:lnTo>
                          <a:pt x="1298" y="928"/>
                        </a:lnTo>
                        <a:lnTo>
                          <a:pt x="1314" y="938"/>
                        </a:lnTo>
                        <a:lnTo>
                          <a:pt x="1320" y="940"/>
                        </a:lnTo>
                        <a:lnTo>
                          <a:pt x="1324" y="940"/>
                        </a:lnTo>
                        <a:lnTo>
                          <a:pt x="1326" y="938"/>
                        </a:lnTo>
                        <a:lnTo>
                          <a:pt x="1326" y="930"/>
                        </a:lnTo>
                        <a:lnTo>
                          <a:pt x="1326" y="930"/>
                        </a:lnTo>
                        <a:lnTo>
                          <a:pt x="1322" y="916"/>
                        </a:lnTo>
                        <a:lnTo>
                          <a:pt x="1322" y="908"/>
                        </a:lnTo>
                        <a:lnTo>
                          <a:pt x="1322" y="906"/>
                        </a:lnTo>
                        <a:lnTo>
                          <a:pt x="1324" y="908"/>
                        </a:lnTo>
                        <a:lnTo>
                          <a:pt x="1332" y="922"/>
                        </a:lnTo>
                        <a:lnTo>
                          <a:pt x="1332" y="922"/>
                        </a:lnTo>
                        <a:lnTo>
                          <a:pt x="1338" y="930"/>
                        </a:lnTo>
                        <a:lnTo>
                          <a:pt x="1344" y="934"/>
                        </a:lnTo>
                        <a:lnTo>
                          <a:pt x="1348" y="936"/>
                        </a:lnTo>
                        <a:lnTo>
                          <a:pt x="1354" y="938"/>
                        </a:lnTo>
                        <a:lnTo>
                          <a:pt x="1358" y="938"/>
                        </a:lnTo>
                        <a:lnTo>
                          <a:pt x="1362" y="940"/>
                        </a:lnTo>
                        <a:lnTo>
                          <a:pt x="1368" y="942"/>
                        </a:lnTo>
                        <a:lnTo>
                          <a:pt x="1372" y="950"/>
                        </a:lnTo>
                        <a:lnTo>
                          <a:pt x="1372" y="950"/>
                        </a:lnTo>
                        <a:lnTo>
                          <a:pt x="1378" y="966"/>
                        </a:lnTo>
                        <a:lnTo>
                          <a:pt x="1382" y="976"/>
                        </a:lnTo>
                        <a:lnTo>
                          <a:pt x="1384" y="982"/>
                        </a:lnTo>
                        <a:lnTo>
                          <a:pt x="1390" y="988"/>
                        </a:lnTo>
                        <a:lnTo>
                          <a:pt x="1390" y="988"/>
                        </a:lnTo>
                        <a:lnTo>
                          <a:pt x="1394" y="992"/>
                        </a:lnTo>
                        <a:lnTo>
                          <a:pt x="1394" y="996"/>
                        </a:lnTo>
                        <a:lnTo>
                          <a:pt x="1390" y="1002"/>
                        </a:lnTo>
                        <a:lnTo>
                          <a:pt x="1388" y="1006"/>
                        </a:lnTo>
                        <a:lnTo>
                          <a:pt x="1388" y="1008"/>
                        </a:lnTo>
                        <a:lnTo>
                          <a:pt x="1392" y="1012"/>
                        </a:lnTo>
                        <a:lnTo>
                          <a:pt x="1398" y="1014"/>
                        </a:lnTo>
                        <a:lnTo>
                          <a:pt x="1398" y="1014"/>
                        </a:lnTo>
                        <a:lnTo>
                          <a:pt x="1412" y="1020"/>
                        </a:lnTo>
                        <a:lnTo>
                          <a:pt x="1414" y="1024"/>
                        </a:lnTo>
                        <a:lnTo>
                          <a:pt x="1416" y="1026"/>
                        </a:lnTo>
                        <a:lnTo>
                          <a:pt x="1422" y="1036"/>
                        </a:lnTo>
                        <a:lnTo>
                          <a:pt x="1426" y="1042"/>
                        </a:lnTo>
                        <a:lnTo>
                          <a:pt x="1434" y="1052"/>
                        </a:lnTo>
                        <a:lnTo>
                          <a:pt x="1434" y="1052"/>
                        </a:lnTo>
                        <a:lnTo>
                          <a:pt x="1452" y="1064"/>
                        </a:lnTo>
                        <a:lnTo>
                          <a:pt x="1464" y="1070"/>
                        </a:lnTo>
                        <a:lnTo>
                          <a:pt x="1466" y="1074"/>
                        </a:lnTo>
                        <a:lnTo>
                          <a:pt x="1460" y="1076"/>
                        </a:lnTo>
                        <a:lnTo>
                          <a:pt x="1460" y="1076"/>
                        </a:lnTo>
                        <a:lnTo>
                          <a:pt x="1452" y="1080"/>
                        </a:lnTo>
                        <a:lnTo>
                          <a:pt x="1450" y="1086"/>
                        </a:lnTo>
                        <a:lnTo>
                          <a:pt x="1448" y="1092"/>
                        </a:lnTo>
                        <a:lnTo>
                          <a:pt x="1442" y="1100"/>
                        </a:lnTo>
                        <a:lnTo>
                          <a:pt x="1442" y="1100"/>
                        </a:lnTo>
                        <a:lnTo>
                          <a:pt x="1440" y="1104"/>
                        </a:lnTo>
                        <a:lnTo>
                          <a:pt x="1440" y="1108"/>
                        </a:lnTo>
                        <a:lnTo>
                          <a:pt x="1440" y="1112"/>
                        </a:lnTo>
                        <a:lnTo>
                          <a:pt x="1442" y="1114"/>
                        </a:lnTo>
                        <a:lnTo>
                          <a:pt x="1446" y="1116"/>
                        </a:lnTo>
                        <a:lnTo>
                          <a:pt x="1450" y="1114"/>
                        </a:lnTo>
                        <a:lnTo>
                          <a:pt x="1452" y="1112"/>
                        </a:lnTo>
                        <a:lnTo>
                          <a:pt x="1456" y="1106"/>
                        </a:lnTo>
                        <a:lnTo>
                          <a:pt x="1456" y="1106"/>
                        </a:lnTo>
                        <a:lnTo>
                          <a:pt x="1462" y="1092"/>
                        </a:lnTo>
                        <a:lnTo>
                          <a:pt x="1466" y="1088"/>
                        </a:lnTo>
                        <a:lnTo>
                          <a:pt x="1470" y="1084"/>
                        </a:lnTo>
                        <a:lnTo>
                          <a:pt x="1474" y="1082"/>
                        </a:lnTo>
                        <a:lnTo>
                          <a:pt x="1478" y="1084"/>
                        </a:lnTo>
                        <a:lnTo>
                          <a:pt x="1484" y="1088"/>
                        </a:lnTo>
                        <a:lnTo>
                          <a:pt x="1488" y="1094"/>
                        </a:lnTo>
                        <a:lnTo>
                          <a:pt x="1488" y="1094"/>
                        </a:lnTo>
                        <a:lnTo>
                          <a:pt x="1492" y="1104"/>
                        </a:lnTo>
                        <a:lnTo>
                          <a:pt x="1494" y="1112"/>
                        </a:lnTo>
                        <a:lnTo>
                          <a:pt x="1494" y="1118"/>
                        </a:lnTo>
                        <a:lnTo>
                          <a:pt x="1492" y="1124"/>
                        </a:lnTo>
                        <a:lnTo>
                          <a:pt x="1488" y="1134"/>
                        </a:lnTo>
                        <a:lnTo>
                          <a:pt x="1488" y="1138"/>
                        </a:lnTo>
                        <a:lnTo>
                          <a:pt x="1488" y="1144"/>
                        </a:lnTo>
                        <a:lnTo>
                          <a:pt x="1488" y="1144"/>
                        </a:lnTo>
                        <a:lnTo>
                          <a:pt x="1492" y="1152"/>
                        </a:lnTo>
                        <a:lnTo>
                          <a:pt x="1494" y="1160"/>
                        </a:lnTo>
                        <a:lnTo>
                          <a:pt x="1496" y="1164"/>
                        </a:lnTo>
                        <a:lnTo>
                          <a:pt x="1498" y="1164"/>
                        </a:lnTo>
                        <a:lnTo>
                          <a:pt x="1502" y="1162"/>
                        </a:lnTo>
                        <a:lnTo>
                          <a:pt x="1508" y="1158"/>
                        </a:lnTo>
                        <a:lnTo>
                          <a:pt x="1508" y="1158"/>
                        </a:lnTo>
                        <a:lnTo>
                          <a:pt x="1516" y="1150"/>
                        </a:lnTo>
                        <a:lnTo>
                          <a:pt x="1524" y="1142"/>
                        </a:lnTo>
                        <a:lnTo>
                          <a:pt x="1526" y="1138"/>
                        </a:lnTo>
                        <a:lnTo>
                          <a:pt x="1526" y="1132"/>
                        </a:lnTo>
                        <a:lnTo>
                          <a:pt x="1524" y="1118"/>
                        </a:lnTo>
                        <a:lnTo>
                          <a:pt x="1524" y="1118"/>
                        </a:lnTo>
                        <a:lnTo>
                          <a:pt x="1522" y="1106"/>
                        </a:lnTo>
                        <a:lnTo>
                          <a:pt x="1524" y="1098"/>
                        </a:lnTo>
                        <a:lnTo>
                          <a:pt x="1528" y="1094"/>
                        </a:lnTo>
                        <a:lnTo>
                          <a:pt x="1530" y="1090"/>
                        </a:lnTo>
                        <a:lnTo>
                          <a:pt x="1530" y="1090"/>
                        </a:lnTo>
                        <a:lnTo>
                          <a:pt x="1528" y="1098"/>
                        </a:lnTo>
                        <a:lnTo>
                          <a:pt x="1530" y="1106"/>
                        </a:lnTo>
                        <a:lnTo>
                          <a:pt x="1532" y="1118"/>
                        </a:lnTo>
                        <a:lnTo>
                          <a:pt x="1534" y="1130"/>
                        </a:lnTo>
                        <a:lnTo>
                          <a:pt x="1532" y="1136"/>
                        </a:lnTo>
                        <a:lnTo>
                          <a:pt x="1530" y="1140"/>
                        </a:lnTo>
                        <a:lnTo>
                          <a:pt x="1530" y="1140"/>
                        </a:lnTo>
                        <a:lnTo>
                          <a:pt x="1526" y="1142"/>
                        </a:lnTo>
                        <a:lnTo>
                          <a:pt x="1526" y="1146"/>
                        </a:lnTo>
                        <a:lnTo>
                          <a:pt x="1526" y="1152"/>
                        </a:lnTo>
                        <a:lnTo>
                          <a:pt x="1526" y="1160"/>
                        </a:lnTo>
                        <a:lnTo>
                          <a:pt x="1524" y="1162"/>
                        </a:lnTo>
                        <a:lnTo>
                          <a:pt x="1522" y="1166"/>
                        </a:lnTo>
                        <a:lnTo>
                          <a:pt x="1522" y="1166"/>
                        </a:lnTo>
                        <a:lnTo>
                          <a:pt x="1516" y="1172"/>
                        </a:lnTo>
                        <a:lnTo>
                          <a:pt x="1512" y="1178"/>
                        </a:lnTo>
                        <a:lnTo>
                          <a:pt x="1512" y="1182"/>
                        </a:lnTo>
                        <a:lnTo>
                          <a:pt x="1512" y="1186"/>
                        </a:lnTo>
                        <a:lnTo>
                          <a:pt x="1518" y="1192"/>
                        </a:lnTo>
                        <a:lnTo>
                          <a:pt x="1520" y="1194"/>
                        </a:lnTo>
                        <a:lnTo>
                          <a:pt x="1524" y="1198"/>
                        </a:lnTo>
                        <a:lnTo>
                          <a:pt x="1524" y="1198"/>
                        </a:lnTo>
                        <a:lnTo>
                          <a:pt x="1528" y="1210"/>
                        </a:lnTo>
                        <a:lnTo>
                          <a:pt x="1534" y="1222"/>
                        </a:lnTo>
                        <a:lnTo>
                          <a:pt x="1542" y="1232"/>
                        </a:lnTo>
                        <a:lnTo>
                          <a:pt x="1554" y="1244"/>
                        </a:lnTo>
                        <a:lnTo>
                          <a:pt x="1554" y="1244"/>
                        </a:lnTo>
                        <a:lnTo>
                          <a:pt x="1558" y="1246"/>
                        </a:lnTo>
                        <a:lnTo>
                          <a:pt x="1560" y="1244"/>
                        </a:lnTo>
                        <a:lnTo>
                          <a:pt x="1562" y="1236"/>
                        </a:lnTo>
                        <a:lnTo>
                          <a:pt x="1564" y="1230"/>
                        </a:lnTo>
                        <a:lnTo>
                          <a:pt x="1566" y="1224"/>
                        </a:lnTo>
                        <a:lnTo>
                          <a:pt x="1574" y="1218"/>
                        </a:lnTo>
                        <a:lnTo>
                          <a:pt x="1584" y="1216"/>
                        </a:lnTo>
                        <a:lnTo>
                          <a:pt x="1584" y="1216"/>
                        </a:lnTo>
                        <a:lnTo>
                          <a:pt x="1592" y="1216"/>
                        </a:lnTo>
                        <a:lnTo>
                          <a:pt x="1594" y="1216"/>
                        </a:lnTo>
                        <a:lnTo>
                          <a:pt x="1586" y="1222"/>
                        </a:lnTo>
                        <a:lnTo>
                          <a:pt x="1582" y="1228"/>
                        </a:lnTo>
                        <a:lnTo>
                          <a:pt x="1578" y="1234"/>
                        </a:lnTo>
                        <a:lnTo>
                          <a:pt x="1574" y="1240"/>
                        </a:lnTo>
                        <a:lnTo>
                          <a:pt x="1576" y="1248"/>
                        </a:lnTo>
                        <a:lnTo>
                          <a:pt x="1576" y="1248"/>
                        </a:lnTo>
                        <a:lnTo>
                          <a:pt x="1582" y="1258"/>
                        </a:lnTo>
                        <a:lnTo>
                          <a:pt x="1586" y="1260"/>
                        </a:lnTo>
                        <a:lnTo>
                          <a:pt x="1588" y="1262"/>
                        </a:lnTo>
                        <a:lnTo>
                          <a:pt x="1590" y="1274"/>
                        </a:lnTo>
                        <a:lnTo>
                          <a:pt x="1590" y="1274"/>
                        </a:lnTo>
                        <a:lnTo>
                          <a:pt x="1592" y="1280"/>
                        </a:lnTo>
                        <a:lnTo>
                          <a:pt x="1596" y="1280"/>
                        </a:lnTo>
                        <a:lnTo>
                          <a:pt x="1600" y="1280"/>
                        </a:lnTo>
                        <a:lnTo>
                          <a:pt x="1604" y="1278"/>
                        </a:lnTo>
                        <a:lnTo>
                          <a:pt x="1608" y="1278"/>
                        </a:lnTo>
                        <a:lnTo>
                          <a:pt x="1610" y="1278"/>
                        </a:lnTo>
                        <a:lnTo>
                          <a:pt x="1610" y="1280"/>
                        </a:lnTo>
                        <a:lnTo>
                          <a:pt x="1606" y="1290"/>
                        </a:lnTo>
                        <a:lnTo>
                          <a:pt x="1606" y="1290"/>
                        </a:lnTo>
                        <a:lnTo>
                          <a:pt x="1598" y="1306"/>
                        </a:lnTo>
                        <a:lnTo>
                          <a:pt x="1596" y="1318"/>
                        </a:lnTo>
                        <a:lnTo>
                          <a:pt x="1598" y="1322"/>
                        </a:lnTo>
                        <a:lnTo>
                          <a:pt x="1600" y="1322"/>
                        </a:lnTo>
                        <a:lnTo>
                          <a:pt x="1600" y="1322"/>
                        </a:lnTo>
                        <a:lnTo>
                          <a:pt x="1602" y="1322"/>
                        </a:lnTo>
                        <a:lnTo>
                          <a:pt x="1602" y="1324"/>
                        </a:lnTo>
                        <a:lnTo>
                          <a:pt x="1602" y="1330"/>
                        </a:lnTo>
                        <a:lnTo>
                          <a:pt x="1602" y="1336"/>
                        </a:lnTo>
                        <a:lnTo>
                          <a:pt x="1604" y="1340"/>
                        </a:lnTo>
                        <a:lnTo>
                          <a:pt x="1608" y="1342"/>
                        </a:lnTo>
                        <a:lnTo>
                          <a:pt x="1608" y="1342"/>
                        </a:lnTo>
                        <a:lnTo>
                          <a:pt x="1610" y="1342"/>
                        </a:lnTo>
                        <a:lnTo>
                          <a:pt x="1612" y="1340"/>
                        </a:lnTo>
                        <a:lnTo>
                          <a:pt x="1614" y="1330"/>
                        </a:lnTo>
                        <a:lnTo>
                          <a:pt x="1616" y="1320"/>
                        </a:lnTo>
                        <a:lnTo>
                          <a:pt x="1618" y="1316"/>
                        </a:lnTo>
                        <a:lnTo>
                          <a:pt x="1622" y="1314"/>
                        </a:lnTo>
                        <a:lnTo>
                          <a:pt x="1622" y="1314"/>
                        </a:lnTo>
                        <a:lnTo>
                          <a:pt x="1630" y="1310"/>
                        </a:lnTo>
                        <a:lnTo>
                          <a:pt x="1636" y="1304"/>
                        </a:lnTo>
                        <a:lnTo>
                          <a:pt x="1642" y="1300"/>
                        </a:lnTo>
                        <a:lnTo>
                          <a:pt x="1642" y="1300"/>
                        </a:lnTo>
                        <a:lnTo>
                          <a:pt x="1644" y="1304"/>
                        </a:lnTo>
                        <a:lnTo>
                          <a:pt x="1644" y="1304"/>
                        </a:lnTo>
                        <a:lnTo>
                          <a:pt x="1646" y="1306"/>
                        </a:lnTo>
                        <a:lnTo>
                          <a:pt x="1648" y="1308"/>
                        </a:lnTo>
                        <a:lnTo>
                          <a:pt x="1654" y="1308"/>
                        </a:lnTo>
                        <a:lnTo>
                          <a:pt x="1660" y="1308"/>
                        </a:lnTo>
                        <a:lnTo>
                          <a:pt x="1660" y="1310"/>
                        </a:lnTo>
                        <a:lnTo>
                          <a:pt x="1660" y="1314"/>
                        </a:lnTo>
                        <a:lnTo>
                          <a:pt x="1660" y="1314"/>
                        </a:lnTo>
                        <a:lnTo>
                          <a:pt x="1660" y="1318"/>
                        </a:lnTo>
                        <a:lnTo>
                          <a:pt x="1658" y="1318"/>
                        </a:lnTo>
                        <a:lnTo>
                          <a:pt x="1656" y="1316"/>
                        </a:lnTo>
                        <a:lnTo>
                          <a:pt x="1652" y="1314"/>
                        </a:lnTo>
                        <a:lnTo>
                          <a:pt x="1648" y="1312"/>
                        </a:lnTo>
                        <a:lnTo>
                          <a:pt x="1642" y="1314"/>
                        </a:lnTo>
                        <a:lnTo>
                          <a:pt x="1634" y="1318"/>
                        </a:lnTo>
                        <a:lnTo>
                          <a:pt x="1634" y="1318"/>
                        </a:lnTo>
                        <a:lnTo>
                          <a:pt x="1622" y="1330"/>
                        </a:lnTo>
                        <a:lnTo>
                          <a:pt x="1618" y="1336"/>
                        </a:lnTo>
                        <a:lnTo>
                          <a:pt x="1618" y="1342"/>
                        </a:lnTo>
                        <a:lnTo>
                          <a:pt x="1618" y="1350"/>
                        </a:lnTo>
                        <a:lnTo>
                          <a:pt x="1618" y="1350"/>
                        </a:lnTo>
                        <a:lnTo>
                          <a:pt x="1620" y="1356"/>
                        </a:lnTo>
                        <a:lnTo>
                          <a:pt x="1622" y="1358"/>
                        </a:lnTo>
                        <a:lnTo>
                          <a:pt x="1626" y="1360"/>
                        </a:lnTo>
                        <a:lnTo>
                          <a:pt x="1628" y="1362"/>
                        </a:lnTo>
                        <a:lnTo>
                          <a:pt x="1624" y="1366"/>
                        </a:lnTo>
                        <a:lnTo>
                          <a:pt x="1624" y="1366"/>
                        </a:lnTo>
                        <a:lnTo>
                          <a:pt x="1622" y="1368"/>
                        </a:lnTo>
                        <a:lnTo>
                          <a:pt x="1622" y="1370"/>
                        </a:lnTo>
                        <a:lnTo>
                          <a:pt x="1624" y="1372"/>
                        </a:lnTo>
                        <a:lnTo>
                          <a:pt x="1626" y="1374"/>
                        </a:lnTo>
                        <a:lnTo>
                          <a:pt x="1624" y="1376"/>
                        </a:lnTo>
                        <a:lnTo>
                          <a:pt x="1624" y="1376"/>
                        </a:lnTo>
                        <a:lnTo>
                          <a:pt x="1620" y="1378"/>
                        </a:lnTo>
                        <a:lnTo>
                          <a:pt x="1620" y="1382"/>
                        </a:lnTo>
                        <a:lnTo>
                          <a:pt x="1620" y="1384"/>
                        </a:lnTo>
                        <a:lnTo>
                          <a:pt x="1622" y="1386"/>
                        </a:lnTo>
                        <a:lnTo>
                          <a:pt x="1630" y="1392"/>
                        </a:lnTo>
                        <a:lnTo>
                          <a:pt x="1642" y="1396"/>
                        </a:lnTo>
                        <a:lnTo>
                          <a:pt x="1642" y="1396"/>
                        </a:lnTo>
                        <a:lnTo>
                          <a:pt x="1650" y="1398"/>
                        </a:lnTo>
                        <a:lnTo>
                          <a:pt x="1656" y="1396"/>
                        </a:lnTo>
                        <a:lnTo>
                          <a:pt x="1662" y="1394"/>
                        </a:lnTo>
                        <a:lnTo>
                          <a:pt x="1670" y="1394"/>
                        </a:lnTo>
                        <a:lnTo>
                          <a:pt x="1670" y="1394"/>
                        </a:lnTo>
                        <a:lnTo>
                          <a:pt x="1676" y="1396"/>
                        </a:lnTo>
                        <a:lnTo>
                          <a:pt x="1676" y="1398"/>
                        </a:lnTo>
                        <a:lnTo>
                          <a:pt x="1676" y="1400"/>
                        </a:lnTo>
                        <a:lnTo>
                          <a:pt x="1682" y="1400"/>
                        </a:lnTo>
                        <a:lnTo>
                          <a:pt x="1682" y="1400"/>
                        </a:lnTo>
                        <a:lnTo>
                          <a:pt x="1688" y="1402"/>
                        </a:lnTo>
                        <a:lnTo>
                          <a:pt x="1688" y="1404"/>
                        </a:lnTo>
                        <a:lnTo>
                          <a:pt x="1686" y="1412"/>
                        </a:lnTo>
                        <a:lnTo>
                          <a:pt x="1686" y="1416"/>
                        </a:lnTo>
                        <a:lnTo>
                          <a:pt x="1686" y="1420"/>
                        </a:lnTo>
                        <a:lnTo>
                          <a:pt x="1688" y="1422"/>
                        </a:lnTo>
                        <a:lnTo>
                          <a:pt x="1694" y="1420"/>
                        </a:lnTo>
                        <a:lnTo>
                          <a:pt x="1694" y="1420"/>
                        </a:lnTo>
                        <a:lnTo>
                          <a:pt x="1700" y="1420"/>
                        </a:lnTo>
                        <a:lnTo>
                          <a:pt x="1702" y="1422"/>
                        </a:lnTo>
                        <a:lnTo>
                          <a:pt x="1706" y="1424"/>
                        </a:lnTo>
                        <a:lnTo>
                          <a:pt x="1714" y="1422"/>
                        </a:lnTo>
                        <a:lnTo>
                          <a:pt x="1714" y="1422"/>
                        </a:lnTo>
                        <a:lnTo>
                          <a:pt x="1718" y="1422"/>
                        </a:lnTo>
                        <a:lnTo>
                          <a:pt x="1722" y="1422"/>
                        </a:lnTo>
                        <a:lnTo>
                          <a:pt x="1730" y="1426"/>
                        </a:lnTo>
                        <a:lnTo>
                          <a:pt x="1736" y="1430"/>
                        </a:lnTo>
                        <a:lnTo>
                          <a:pt x="1738" y="1430"/>
                        </a:lnTo>
                        <a:lnTo>
                          <a:pt x="1742" y="1428"/>
                        </a:lnTo>
                        <a:lnTo>
                          <a:pt x="1742" y="1428"/>
                        </a:lnTo>
                        <a:lnTo>
                          <a:pt x="1744" y="1428"/>
                        </a:lnTo>
                        <a:lnTo>
                          <a:pt x="1748" y="1430"/>
                        </a:lnTo>
                        <a:lnTo>
                          <a:pt x="1750" y="1434"/>
                        </a:lnTo>
                        <a:lnTo>
                          <a:pt x="1750" y="1442"/>
                        </a:lnTo>
                        <a:lnTo>
                          <a:pt x="1748" y="1444"/>
                        </a:lnTo>
                        <a:lnTo>
                          <a:pt x="1744" y="1446"/>
                        </a:lnTo>
                        <a:lnTo>
                          <a:pt x="1744" y="1446"/>
                        </a:lnTo>
                        <a:lnTo>
                          <a:pt x="1742" y="1448"/>
                        </a:lnTo>
                        <a:lnTo>
                          <a:pt x="1742" y="1450"/>
                        </a:lnTo>
                        <a:lnTo>
                          <a:pt x="1748" y="1458"/>
                        </a:lnTo>
                        <a:lnTo>
                          <a:pt x="1758" y="1464"/>
                        </a:lnTo>
                        <a:lnTo>
                          <a:pt x="1764" y="1464"/>
                        </a:lnTo>
                        <a:lnTo>
                          <a:pt x="1768" y="1464"/>
                        </a:lnTo>
                        <a:lnTo>
                          <a:pt x="1768" y="1464"/>
                        </a:lnTo>
                        <a:lnTo>
                          <a:pt x="1774" y="1458"/>
                        </a:lnTo>
                        <a:lnTo>
                          <a:pt x="1778" y="1454"/>
                        </a:lnTo>
                        <a:lnTo>
                          <a:pt x="1778" y="1452"/>
                        </a:lnTo>
                        <a:lnTo>
                          <a:pt x="1778" y="1454"/>
                        </a:lnTo>
                        <a:lnTo>
                          <a:pt x="1780" y="1460"/>
                        </a:lnTo>
                        <a:lnTo>
                          <a:pt x="1780" y="1460"/>
                        </a:lnTo>
                        <a:lnTo>
                          <a:pt x="1780" y="1468"/>
                        </a:lnTo>
                        <a:lnTo>
                          <a:pt x="1784" y="1470"/>
                        </a:lnTo>
                        <a:lnTo>
                          <a:pt x="1786" y="1470"/>
                        </a:lnTo>
                        <a:lnTo>
                          <a:pt x="1786" y="1474"/>
                        </a:lnTo>
                        <a:lnTo>
                          <a:pt x="1786" y="1474"/>
                        </a:lnTo>
                        <a:lnTo>
                          <a:pt x="1784" y="1476"/>
                        </a:lnTo>
                        <a:lnTo>
                          <a:pt x="1782" y="1476"/>
                        </a:lnTo>
                        <a:lnTo>
                          <a:pt x="1780" y="1472"/>
                        </a:lnTo>
                        <a:lnTo>
                          <a:pt x="1776" y="1468"/>
                        </a:lnTo>
                        <a:lnTo>
                          <a:pt x="1774" y="1468"/>
                        </a:lnTo>
                        <a:lnTo>
                          <a:pt x="1772" y="1470"/>
                        </a:lnTo>
                        <a:lnTo>
                          <a:pt x="1772" y="1470"/>
                        </a:lnTo>
                        <a:lnTo>
                          <a:pt x="1770" y="1472"/>
                        </a:lnTo>
                        <a:lnTo>
                          <a:pt x="1772" y="1476"/>
                        </a:lnTo>
                        <a:lnTo>
                          <a:pt x="1780" y="1484"/>
                        </a:lnTo>
                        <a:lnTo>
                          <a:pt x="1790" y="1486"/>
                        </a:lnTo>
                        <a:lnTo>
                          <a:pt x="1794" y="1486"/>
                        </a:lnTo>
                        <a:lnTo>
                          <a:pt x="1794" y="1484"/>
                        </a:lnTo>
                        <a:lnTo>
                          <a:pt x="1794" y="1484"/>
                        </a:lnTo>
                        <a:lnTo>
                          <a:pt x="1796" y="1478"/>
                        </a:lnTo>
                        <a:lnTo>
                          <a:pt x="1800" y="1474"/>
                        </a:lnTo>
                        <a:lnTo>
                          <a:pt x="1804" y="1474"/>
                        </a:lnTo>
                        <a:lnTo>
                          <a:pt x="1804" y="1478"/>
                        </a:lnTo>
                        <a:lnTo>
                          <a:pt x="1804" y="1478"/>
                        </a:lnTo>
                        <a:lnTo>
                          <a:pt x="1804" y="1486"/>
                        </a:lnTo>
                        <a:lnTo>
                          <a:pt x="1806" y="1492"/>
                        </a:lnTo>
                        <a:lnTo>
                          <a:pt x="1808" y="1498"/>
                        </a:lnTo>
                        <a:lnTo>
                          <a:pt x="1808" y="1504"/>
                        </a:lnTo>
                        <a:lnTo>
                          <a:pt x="1808" y="1504"/>
                        </a:lnTo>
                        <a:lnTo>
                          <a:pt x="1808" y="1510"/>
                        </a:lnTo>
                        <a:lnTo>
                          <a:pt x="1810" y="1512"/>
                        </a:lnTo>
                        <a:lnTo>
                          <a:pt x="1812" y="1510"/>
                        </a:lnTo>
                        <a:lnTo>
                          <a:pt x="1816" y="1506"/>
                        </a:lnTo>
                        <a:lnTo>
                          <a:pt x="1816" y="1506"/>
                        </a:lnTo>
                        <a:lnTo>
                          <a:pt x="1818" y="1504"/>
                        </a:lnTo>
                        <a:lnTo>
                          <a:pt x="1820" y="1506"/>
                        </a:lnTo>
                        <a:lnTo>
                          <a:pt x="1822" y="1508"/>
                        </a:lnTo>
                        <a:lnTo>
                          <a:pt x="1822" y="1508"/>
                        </a:lnTo>
                        <a:lnTo>
                          <a:pt x="1822" y="1516"/>
                        </a:lnTo>
                        <a:lnTo>
                          <a:pt x="1824" y="1520"/>
                        </a:lnTo>
                        <a:lnTo>
                          <a:pt x="1828" y="1526"/>
                        </a:lnTo>
                        <a:lnTo>
                          <a:pt x="1832" y="1528"/>
                        </a:lnTo>
                        <a:lnTo>
                          <a:pt x="1832" y="1530"/>
                        </a:lnTo>
                        <a:lnTo>
                          <a:pt x="1832" y="1534"/>
                        </a:lnTo>
                        <a:lnTo>
                          <a:pt x="1832" y="1534"/>
                        </a:lnTo>
                        <a:lnTo>
                          <a:pt x="1832" y="1538"/>
                        </a:lnTo>
                        <a:lnTo>
                          <a:pt x="1830" y="1538"/>
                        </a:lnTo>
                        <a:lnTo>
                          <a:pt x="1826" y="1540"/>
                        </a:lnTo>
                        <a:lnTo>
                          <a:pt x="1824" y="1540"/>
                        </a:lnTo>
                        <a:lnTo>
                          <a:pt x="1824" y="1542"/>
                        </a:lnTo>
                        <a:lnTo>
                          <a:pt x="1830" y="1550"/>
                        </a:lnTo>
                        <a:lnTo>
                          <a:pt x="1830" y="1550"/>
                        </a:lnTo>
                        <a:lnTo>
                          <a:pt x="1836" y="1562"/>
                        </a:lnTo>
                        <a:lnTo>
                          <a:pt x="1840" y="1570"/>
                        </a:lnTo>
                        <a:lnTo>
                          <a:pt x="1840" y="1582"/>
                        </a:lnTo>
                        <a:lnTo>
                          <a:pt x="1840" y="1600"/>
                        </a:lnTo>
                        <a:lnTo>
                          <a:pt x="1840" y="1600"/>
                        </a:lnTo>
                        <a:lnTo>
                          <a:pt x="1838" y="1608"/>
                        </a:lnTo>
                        <a:lnTo>
                          <a:pt x="1836" y="1610"/>
                        </a:lnTo>
                        <a:lnTo>
                          <a:pt x="1834" y="1608"/>
                        </a:lnTo>
                        <a:lnTo>
                          <a:pt x="1834" y="1604"/>
                        </a:lnTo>
                        <a:lnTo>
                          <a:pt x="1828" y="1570"/>
                        </a:lnTo>
                        <a:lnTo>
                          <a:pt x="1828" y="1570"/>
                        </a:lnTo>
                        <a:lnTo>
                          <a:pt x="1824" y="1564"/>
                        </a:lnTo>
                        <a:lnTo>
                          <a:pt x="1816" y="1560"/>
                        </a:lnTo>
                        <a:lnTo>
                          <a:pt x="1808" y="1558"/>
                        </a:lnTo>
                        <a:lnTo>
                          <a:pt x="1798" y="1556"/>
                        </a:lnTo>
                        <a:lnTo>
                          <a:pt x="1776" y="1554"/>
                        </a:lnTo>
                        <a:lnTo>
                          <a:pt x="1766" y="1552"/>
                        </a:lnTo>
                        <a:lnTo>
                          <a:pt x="1758" y="1548"/>
                        </a:lnTo>
                        <a:lnTo>
                          <a:pt x="1758" y="1548"/>
                        </a:lnTo>
                        <a:lnTo>
                          <a:pt x="1752" y="1546"/>
                        </a:lnTo>
                        <a:lnTo>
                          <a:pt x="1746" y="1546"/>
                        </a:lnTo>
                        <a:lnTo>
                          <a:pt x="1744" y="1548"/>
                        </a:lnTo>
                        <a:lnTo>
                          <a:pt x="1742" y="1552"/>
                        </a:lnTo>
                        <a:lnTo>
                          <a:pt x="1744" y="1556"/>
                        </a:lnTo>
                        <a:lnTo>
                          <a:pt x="1746" y="1564"/>
                        </a:lnTo>
                        <a:lnTo>
                          <a:pt x="1754" y="1578"/>
                        </a:lnTo>
                        <a:lnTo>
                          <a:pt x="1754" y="1578"/>
                        </a:lnTo>
                        <a:lnTo>
                          <a:pt x="1758" y="1586"/>
                        </a:lnTo>
                        <a:lnTo>
                          <a:pt x="1764" y="1598"/>
                        </a:lnTo>
                        <a:lnTo>
                          <a:pt x="1770" y="1626"/>
                        </a:lnTo>
                        <a:lnTo>
                          <a:pt x="1774" y="1658"/>
                        </a:lnTo>
                        <a:lnTo>
                          <a:pt x="1774" y="1690"/>
                        </a:lnTo>
                        <a:lnTo>
                          <a:pt x="1774" y="1690"/>
                        </a:lnTo>
                        <a:lnTo>
                          <a:pt x="1774" y="1726"/>
                        </a:lnTo>
                        <a:lnTo>
                          <a:pt x="1770" y="1768"/>
                        </a:lnTo>
                        <a:lnTo>
                          <a:pt x="1766" y="1810"/>
                        </a:lnTo>
                        <a:lnTo>
                          <a:pt x="1762" y="1828"/>
                        </a:lnTo>
                        <a:lnTo>
                          <a:pt x="1756" y="1842"/>
                        </a:lnTo>
                        <a:lnTo>
                          <a:pt x="1756" y="1842"/>
                        </a:lnTo>
                        <a:lnTo>
                          <a:pt x="1754" y="1854"/>
                        </a:lnTo>
                        <a:lnTo>
                          <a:pt x="1754" y="1870"/>
                        </a:lnTo>
                        <a:lnTo>
                          <a:pt x="1756" y="1886"/>
                        </a:lnTo>
                        <a:lnTo>
                          <a:pt x="1760" y="1904"/>
                        </a:lnTo>
                        <a:lnTo>
                          <a:pt x="1764" y="1920"/>
                        </a:lnTo>
                        <a:lnTo>
                          <a:pt x="1766" y="1938"/>
                        </a:lnTo>
                        <a:lnTo>
                          <a:pt x="1766" y="1956"/>
                        </a:lnTo>
                        <a:lnTo>
                          <a:pt x="1762" y="1972"/>
                        </a:lnTo>
                        <a:lnTo>
                          <a:pt x="1762" y="1972"/>
                        </a:lnTo>
                        <a:lnTo>
                          <a:pt x="1760" y="1986"/>
                        </a:lnTo>
                        <a:lnTo>
                          <a:pt x="1758" y="1996"/>
                        </a:lnTo>
                        <a:lnTo>
                          <a:pt x="1762" y="2006"/>
                        </a:lnTo>
                        <a:lnTo>
                          <a:pt x="1766" y="2012"/>
                        </a:lnTo>
                        <a:lnTo>
                          <a:pt x="1774" y="2030"/>
                        </a:lnTo>
                        <a:lnTo>
                          <a:pt x="1778" y="2042"/>
                        </a:lnTo>
                        <a:lnTo>
                          <a:pt x="1780" y="2056"/>
                        </a:lnTo>
                        <a:lnTo>
                          <a:pt x="1780" y="2056"/>
                        </a:lnTo>
                        <a:lnTo>
                          <a:pt x="1784" y="2072"/>
                        </a:lnTo>
                        <a:lnTo>
                          <a:pt x="1786" y="2082"/>
                        </a:lnTo>
                        <a:lnTo>
                          <a:pt x="1792" y="2090"/>
                        </a:lnTo>
                        <a:lnTo>
                          <a:pt x="1798" y="2096"/>
                        </a:lnTo>
                        <a:lnTo>
                          <a:pt x="1808" y="2104"/>
                        </a:lnTo>
                        <a:lnTo>
                          <a:pt x="1812" y="2110"/>
                        </a:lnTo>
                        <a:lnTo>
                          <a:pt x="1814" y="2118"/>
                        </a:lnTo>
                        <a:lnTo>
                          <a:pt x="1814" y="2118"/>
                        </a:lnTo>
                        <a:lnTo>
                          <a:pt x="1816" y="2124"/>
                        </a:lnTo>
                        <a:lnTo>
                          <a:pt x="1818" y="2128"/>
                        </a:lnTo>
                        <a:lnTo>
                          <a:pt x="1824" y="2132"/>
                        </a:lnTo>
                        <a:lnTo>
                          <a:pt x="1828" y="2136"/>
                        </a:lnTo>
                        <a:lnTo>
                          <a:pt x="1832" y="2140"/>
                        </a:lnTo>
                        <a:lnTo>
                          <a:pt x="1834" y="2146"/>
                        </a:lnTo>
                        <a:lnTo>
                          <a:pt x="1836" y="2158"/>
                        </a:lnTo>
                        <a:lnTo>
                          <a:pt x="1836" y="2158"/>
                        </a:lnTo>
                        <a:lnTo>
                          <a:pt x="1838" y="2170"/>
                        </a:lnTo>
                        <a:lnTo>
                          <a:pt x="1842" y="2178"/>
                        </a:lnTo>
                        <a:lnTo>
                          <a:pt x="1846" y="2182"/>
                        </a:lnTo>
                        <a:lnTo>
                          <a:pt x="1852" y="2186"/>
                        </a:lnTo>
                        <a:lnTo>
                          <a:pt x="1856" y="2188"/>
                        </a:lnTo>
                        <a:lnTo>
                          <a:pt x="1860" y="2190"/>
                        </a:lnTo>
                        <a:lnTo>
                          <a:pt x="1862" y="2194"/>
                        </a:lnTo>
                        <a:lnTo>
                          <a:pt x="1860" y="2200"/>
                        </a:lnTo>
                        <a:lnTo>
                          <a:pt x="1860" y="2200"/>
                        </a:lnTo>
                        <a:lnTo>
                          <a:pt x="1858" y="2208"/>
                        </a:lnTo>
                        <a:lnTo>
                          <a:pt x="1858" y="2214"/>
                        </a:lnTo>
                        <a:lnTo>
                          <a:pt x="1860" y="2218"/>
                        </a:lnTo>
                        <a:lnTo>
                          <a:pt x="1862" y="2224"/>
                        </a:lnTo>
                        <a:lnTo>
                          <a:pt x="1872" y="2238"/>
                        </a:lnTo>
                        <a:lnTo>
                          <a:pt x="1890" y="2260"/>
                        </a:lnTo>
                        <a:lnTo>
                          <a:pt x="1890" y="2260"/>
                        </a:lnTo>
                        <a:lnTo>
                          <a:pt x="1900" y="2272"/>
                        </a:lnTo>
                        <a:lnTo>
                          <a:pt x="1904" y="2282"/>
                        </a:lnTo>
                        <a:lnTo>
                          <a:pt x="1908" y="2292"/>
                        </a:lnTo>
                        <a:lnTo>
                          <a:pt x="1908" y="2298"/>
                        </a:lnTo>
                        <a:lnTo>
                          <a:pt x="1910" y="2310"/>
                        </a:lnTo>
                        <a:lnTo>
                          <a:pt x="1912" y="2314"/>
                        </a:lnTo>
                        <a:lnTo>
                          <a:pt x="1916" y="2318"/>
                        </a:lnTo>
                        <a:lnTo>
                          <a:pt x="1916" y="2318"/>
                        </a:lnTo>
                        <a:lnTo>
                          <a:pt x="1920" y="2322"/>
                        </a:lnTo>
                        <a:lnTo>
                          <a:pt x="1926" y="2324"/>
                        </a:lnTo>
                        <a:lnTo>
                          <a:pt x="1940" y="2326"/>
                        </a:lnTo>
                        <a:lnTo>
                          <a:pt x="1948" y="2328"/>
                        </a:lnTo>
                        <a:lnTo>
                          <a:pt x="1958" y="2332"/>
                        </a:lnTo>
                        <a:lnTo>
                          <a:pt x="1968" y="2336"/>
                        </a:lnTo>
                        <a:lnTo>
                          <a:pt x="1978" y="2344"/>
                        </a:lnTo>
                        <a:lnTo>
                          <a:pt x="1978" y="2344"/>
                        </a:lnTo>
                        <a:lnTo>
                          <a:pt x="1986" y="2352"/>
                        </a:lnTo>
                        <a:lnTo>
                          <a:pt x="1994" y="2358"/>
                        </a:lnTo>
                        <a:lnTo>
                          <a:pt x="2006" y="2360"/>
                        </a:lnTo>
                        <a:lnTo>
                          <a:pt x="2016" y="2364"/>
                        </a:lnTo>
                        <a:lnTo>
                          <a:pt x="2022" y="2368"/>
                        </a:lnTo>
                        <a:lnTo>
                          <a:pt x="2030" y="2374"/>
                        </a:lnTo>
                        <a:lnTo>
                          <a:pt x="2030" y="2374"/>
                        </a:lnTo>
                        <a:lnTo>
                          <a:pt x="2036" y="2382"/>
                        </a:lnTo>
                        <a:lnTo>
                          <a:pt x="2040" y="2388"/>
                        </a:lnTo>
                        <a:lnTo>
                          <a:pt x="2046" y="2400"/>
                        </a:lnTo>
                        <a:lnTo>
                          <a:pt x="2048" y="2410"/>
                        </a:lnTo>
                        <a:lnTo>
                          <a:pt x="2052" y="2424"/>
                        </a:lnTo>
                        <a:lnTo>
                          <a:pt x="2052" y="2424"/>
                        </a:lnTo>
                        <a:lnTo>
                          <a:pt x="2052" y="2424"/>
                        </a:lnTo>
                        <a:lnTo>
                          <a:pt x="2052" y="2424"/>
                        </a:lnTo>
                        <a:lnTo>
                          <a:pt x="2066" y="2454"/>
                        </a:lnTo>
                        <a:lnTo>
                          <a:pt x="2078" y="2480"/>
                        </a:lnTo>
                        <a:lnTo>
                          <a:pt x="2092" y="2520"/>
                        </a:lnTo>
                        <a:lnTo>
                          <a:pt x="2100" y="2548"/>
                        </a:lnTo>
                        <a:lnTo>
                          <a:pt x="2106" y="2560"/>
                        </a:lnTo>
                        <a:lnTo>
                          <a:pt x="2112" y="2568"/>
                        </a:lnTo>
                        <a:lnTo>
                          <a:pt x="2112" y="2568"/>
                        </a:lnTo>
                        <a:lnTo>
                          <a:pt x="2120" y="2578"/>
                        </a:lnTo>
                        <a:lnTo>
                          <a:pt x="2130" y="2586"/>
                        </a:lnTo>
                        <a:lnTo>
                          <a:pt x="2150" y="2604"/>
                        </a:lnTo>
                        <a:lnTo>
                          <a:pt x="2160" y="2614"/>
                        </a:lnTo>
                        <a:lnTo>
                          <a:pt x="2166" y="2624"/>
                        </a:lnTo>
                        <a:lnTo>
                          <a:pt x="2170" y="2636"/>
                        </a:lnTo>
                        <a:lnTo>
                          <a:pt x="2170" y="2650"/>
                        </a:lnTo>
                        <a:lnTo>
                          <a:pt x="2170" y="2650"/>
                        </a:lnTo>
                        <a:lnTo>
                          <a:pt x="2170" y="2656"/>
                        </a:lnTo>
                        <a:lnTo>
                          <a:pt x="2168" y="2662"/>
                        </a:lnTo>
                        <a:lnTo>
                          <a:pt x="2164" y="2664"/>
                        </a:lnTo>
                        <a:lnTo>
                          <a:pt x="2162" y="2668"/>
                        </a:lnTo>
                        <a:lnTo>
                          <a:pt x="2154" y="2668"/>
                        </a:lnTo>
                        <a:lnTo>
                          <a:pt x="2148" y="2668"/>
                        </a:lnTo>
                        <a:lnTo>
                          <a:pt x="2142" y="2668"/>
                        </a:lnTo>
                        <a:lnTo>
                          <a:pt x="2138" y="2668"/>
                        </a:lnTo>
                        <a:lnTo>
                          <a:pt x="2140" y="2672"/>
                        </a:lnTo>
                        <a:lnTo>
                          <a:pt x="2146" y="2682"/>
                        </a:lnTo>
                        <a:lnTo>
                          <a:pt x="2146" y="2682"/>
                        </a:lnTo>
                        <a:lnTo>
                          <a:pt x="2156" y="2692"/>
                        </a:lnTo>
                        <a:lnTo>
                          <a:pt x="2166" y="2700"/>
                        </a:lnTo>
                        <a:lnTo>
                          <a:pt x="2188" y="2716"/>
                        </a:lnTo>
                        <a:lnTo>
                          <a:pt x="2212" y="2730"/>
                        </a:lnTo>
                        <a:lnTo>
                          <a:pt x="2226" y="2738"/>
                        </a:lnTo>
                        <a:lnTo>
                          <a:pt x="2238" y="2748"/>
                        </a:lnTo>
                        <a:lnTo>
                          <a:pt x="2238" y="2748"/>
                        </a:lnTo>
                        <a:lnTo>
                          <a:pt x="2244" y="2754"/>
                        </a:lnTo>
                        <a:lnTo>
                          <a:pt x="2248" y="2758"/>
                        </a:lnTo>
                        <a:lnTo>
                          <a:pt x="2250" y="2764"/>
                        </a:lnTo>
                        <a:lnTo>
                          <a:pt x="2252" y="2770"/>
                        </a:lnTo>
                        <a:lnTo>
                          <a:pt x="2250" y="2782"/>
                        </a:lnTo>
                        <a:lnTo>
                          <a:pt x="2250" y="2794"/>
                        </a:lnTo>
                        <a:lnTo>
                          <a:pt x="2248" y="2808"/>
                        </a:lnTo>
                        <a:lnTo>
                          <a:pt x="2250" y="2814"/>
                        </a:lnTo>
                        <a:lnTo>
                          <a:pt x="2252" y="2820"/>
                        </a:lnTo>
                        <a:lnTo>
                          <a:pt x="2256" y="2828"/>
                        </a:lnTo>
                        <a:lnTo>
                          <a:pt x="2262" y="2834"/>
                        </a:lnTo>
                        <a:lnTo>
                          <a:pt x="2270" y="2842"/>
                        </a:lnTo>
                        <a:lnTo>
                          <a:pt x="2280" y="2850"/>
                        </a:lnTo>
                        <a:lnTo>
                          <a:pt x="2280" y="2850"/>
                        </a:lnTo>
                        <a:lnTo>
                          <a:pt x="2300" y="2866"/>
                        </a:lnTo>
                        <a:lnTo>
                          <a:pt x="2316" y="2882"/>
                        </a:lnTo>
                        <a:lnTo>
                          <a:pt x="2326" y="2894"/>
                        </a:lnTo>
                        <a:lnTo>
                          <a:pt x="2332" y="2906"/>
                        </a:lnTo>
                        <a:lnTo>
                          <a:pt x="2336" y="2914"/>
                        </a:lnTo>
                        <a:lnTo>
                          <a:pt x="2340" y="2918"/>
                        </a:lnTo>
                        <a:lnTo>
                          <a:pt x="2344" y="2920"/>
                        </a:lnTo>
                        <a:lnTo>
                          <a:pt x="2350" y="2916"/>
                        </a:lnTo>
                        <a:lnTo>
                          <a:pt x="2350" y="2916"/>
                        </a:lnTo>
                        <a:lnTo>
                          <a:pt x="2358" y="2910"/>
                        </a:lnTo>
                        <a:lnTo>
                          <a:pt x="2362" y="2906"/>
                        </a:lnTo>
                        <a:lnTo>
                          <a:pt x="2364" y="2900"/>
                        </a:lnTo>
                        <a:lnTo>
                          <a:pt x="2364" y="2896"/>
                        </a:lnTo>
                        <a:lnTo>
                          <a:pt x="2358" y="2884"/>
                        </a:lnTo>
                        <a:lnTo>
                          <a:pt x="2346" y="2864"/>
                        </a:lnTo>
                        <a:lnTo>
                          <a:pt x="2346" y="2864"/>
                        </a:lnTo>
                        <a:lnTo>
                          <a:pt x="2340" y="2856"/>
                        </a:lnTo>
                        <a:lnTo>
                          <a:pt x="2336" y="2850"/>
                        </a:lnTo>
                        <a:lnTo>
                          <a:pt x="2332" y="2850"/>
                        </a:lnTo>
                        <a:lnTo>
                          <a:pt x="2330" y="2850"/>
                        </a:lnTo>
                        <a:lnTo>
                          <a:pt x="2324" y="2854"/>
                        </a:lnTo>
                        <a:lnTo>
                          <a:pt x="2320" y="2854"/>
                        </a:lnTo>
                        <a:lnTo>
                          <a:pt x="2316" y="2850"/>
                        </a:lnTo>
                        <a:lnTo>
                          <a:pt x="2316" y="2850"/>
                        </a:lnTo>
                        <a:lnTo>
                          <a:pt x="2312" y="2846"/>
                        </a:lnTo>
                        <a:lnTo>
                          <a:pt x="2310" y="2842"/>
                        </a:lnTo>
                        <a:lnTo>
                          <a:pt x="2310" y="2832"/>
                        </a:lnTo>
                        <a:lnTo>
                          <a:pt x="2310" y="2826"/>
                        </a:lnTo>
                        <a:lnTo>
                          <a:pt x="2310" y="2820"/>
                        </a:lnTo>
                        <a:lnTo>
                          <a:pt x="2306" y="2810"/>
                        </a:lnTo>
                        <a:lnTo>
                          <a:pt x="2300" y="2798"/>
                        </a:lnTo>
                        <a:lnTo>
                          <a:pt x="2300" y="2798"/>
                        </a:lnTo>
                        <a:lnTo>
                          <a:pt x="2290" y="2776"/>
                        </a:lnTo>
                        <a:lnTo>
                          <a:pt x="2286" y="2762"/>
                        </a:lnTo>
                        <a:lnTo>
                          <a:pt x="2282" y="2748"/>
                        </a:lnTo>
                        <a:lnTo>
                          <a:pt x="2276" y="2730"/>
                        </a:lnTo>
                        <a:lnTo>
                          <a:pt x="2276" y="2730"/>
                        </a:lnTo>
                        <a:lnTo>
                          <a:pt x="2270" y="2718"/>
                        </a:lnTo>
                        <a:lnTo>
                          <a:pt x="2264" y="2708"/>
                        </a:lnTo>
                        <a:lnTo>
                          <a:pt x="2250" y="2690"/>
                        </a:lnTo>
                        <a:lnTo>
                          <a:pt x="2236" y="2672"/>
                        </a:lnTo>
                        <a:lnTo>
                          <a:pt x="2230" y="2662"/>
                        </a:lnTo>
                        <a:lnTo>
                          <a:pt x="2224" y="2648"/>
                        </a:lnTo>
                        <a:lnTo>
                          <a:pt x="2224" y="2648"/>
                        </a:lnTo>
                        <a:lnTo>
                          <a:pt x="2220" y="2636"/>
                        </a:lnTo>
                        <a:lnTo>
                          <a:pt x="2214" y="2624"/>
                        </a:lnTo>
                        <a:lnTo>
                          <a:pt x="2198" y="2604"/>
                        </a:lnTo>
                        <a:lnTo>
                          <a:pt x="2182" y="2584"/>
                        </a:lnTo>
                        <a:lnTo>
                          <a:pt x="2168" y="2564"/>
                        </a:lnTo>
                        <a:lnTo>
                          <a:pt x="2168" y="2564"/>
                        </a:lnTo>
                        <a:lnTo>
                          <a:pt x="2160" y="2550"/>
                        </a:lnTo>
                        <a:lnTo>
                          <a:pt x="2154" y="2534"/>
                        </a:lnTo>
                        <a:lnTo>
                          <a:pt x="2148" y="2516"/>
                        </a:lnTo>
                        <a:lnTo>
                          <a:pt x="2144" y="2498"/>
                        </a:lnTo>
                        <a:lnTo>
                          <a:pt x="2142" y="2482"/>
                        </a:lnTo>
                        <a:lnTo>
                          <a:pt x="2142" y="2470"/>
                        </a:lnTo>
                        <a:lnTo>
                          <a:pt x="2144" y="2466"/>
                        </a:lnTo>
                        <a:lnTo>
                          <a:pt x="2146" y="2464"/>
                        </a:lnTo>
                        <a:lnTo>
                          <a:pt x="2148" y="2464"/>
                        </a:lnTo>
                        <a:lnTo>
                          <a:pt x="2154" y="2466"/>
                        </a:lnTo>
                        <a:lnTo>
                          <a:pt x="2154" y="2466"/>
                        </a:lnTo>
                        <a:lnTo>
                          <a:pt x="2168" y="2474"/>
                        </a:lnTo>
                        <a:lnTo>
                          <a:pt x="2172" y="2476"/>
                        </a:lnTo>
                        <a:lnTo>
                          <a:pt x="2178" y="2474"/>
                        </a:lnTo>
                        <a:lnTo>
                          <a:pt x="2186" y="2478"/>
                        </a:lnTo>
                        <a:lnTo>
                          <a:pt x="2186" y="2478"/>
                        </a:lnTo>
                        <a:lnTo>
                          <a:pt x="2198" y="2484"/>
                        </a:lnTo>
                        <a:lnTo>
                          <a:pt x="2202" y="2488"/>
                        </a:lnTo>
                        <a:lnTo>
                          <a:pt x="2206" y="2492"/>
                        </a:lnTo>
                        <a:lnTo>
                          <a:pt x="2214" y="2508"/>
                        </a:lnTo>
                        <a:lnTo>
                          <a:pt x="2222" y="2536"/>
                        </a:lnTo>
                        <a:lnTo>
                          <a:pt x="2222" y="2536"/>
                        </a:lnTo>
                        <a:lnTo>
                          <a:pt x="2228" y="2556"/>
                        </a:lnTo>
                        <a:lnTo>
                          <a:pt x="2236" y="2574"/>
                        </a:lnTo>
                        <a:lnTo>
                          <a:pt x="2244" y="2594"/>
                        </a:lnTo>
                        <a:lnTo>
                          <a:pt x="2254" y="2612"/>
                        </a:lnTo>
                        <a:lnTo>
                          <a:pt x="2264" y="2628"/>
                        </a:lnTo>
                        <a:lnTo>
                          <a:pt x="2276" y="2642"/>
                        </a:lnTo>
                        <a:lnTo>
                          <a:pt x="2288" y="2654"/>
                        </a:lnTo>
                        <a:lnTo>
                          <a:pt x="2300" y="2664"/>
                        </a:lnTo>
                        <a:lnTo>
                          <a:pt x="2300" y="2664"/>
                        </a:lnTo>
                        <a:lnTo>
                          <a:pt x="2308" y="2672"/>
                        </a:lnTo>
                        <a:lnTo>
                          <a:pt x="2314" y="2678"/>
                        </a:lnTo>
                        <a:lnTo>
                          <a:pt x="2320" y="2694"/>
                        </a:lnTo>
                        <a:lnTo>
                          <a:pt x="2324" y="2700"/>
                        </a:lnTo>
                        <a:lnTo>
                          <a:pt x="2328" y="2706"/>
                        </a:lnTo>
                        <a:lnTo>
                          <a:pt x="2338" y="2714"/>
                        </a:lnTo>
                        <a:lnTo>
                          <a:pt x="2352" y="2722"/>
                        </a:lnTo>
                        <a:lnTo>
                          <a:pt x="2352" y="2722"/>
                        </a:lnTo>
                        <a:lnTo>
                          <a:pt x="2360" y="2724"/>
                        </a:lnTo>
                        <a:lnTo>
                          <a:pt x="2364" y="2728"/>
                        </a:lnTo>
                        <a:lnTo>
                          <a:pt x="2368" y="2732"/>
                        </a:lnTo>
                        <a:lnTo>
                          <a:pt x="2370" y="2736"/>
                        </a:lnTo>
                        <a:lnTo>
                          <a:pt x="2368" y="2746"/>
                        </a:lnTo>
                        <a:lnTo>
                          <a:pt x="2366" y="2754"/>
                        </a:lnTo>
                        <a:lnTo>
                          <a:pt x="2364" y="2764"/>
                        </a:lnTo>
                        <a:lnTo>
                          <a:pt x="2362" y="2772"/>
                        </a:lnTo>
                        <a:lnTo>
                          <a:pt x="2364" y="2776"/>
                        </a:lnTo>
                        <a:lnTo>
                          <a:pt x="2368" y="2782"/>
                        </a:lnTo>
                        <a:lnTo>
                          <a:pt x="2372" y="2786"/>
                        </a:lnTo>
                        <a:lnTo>
                          <a:pt x="2380" y="2790"/>
                        </a:lnTo>
                        <a:lnTo>
                          <a:pt x="2380" y="2790"/>
                        </a:lnTo>
                        <a:lnTo>
                          <a:pt x="2394" y="2798"/>
                        </a:lnTo>
                        <a:lnTo>
                          <a:pt x="2402" y="2804"/>
                        </a:lnTo>
                        <a:lnTo>
                          <a:pt x="2408" y="2810"/>
                        </a:lnTo>
                        <a:lnTo>
                          <a:pt x="2410" y="2816"/>
                        </a:lnTo>
                        <a:lnTo>
                          <a:pt x="2422" y="2834"/>
                        </a:lnTo>
                        <a:lnTo>
                          <a:pt x="2432" y="2848"/>
                        </a:lnTo>
                        <a:lnTo>
                          <a:pt x="2450" y="2864"/>
                        </a:lnTo>
                        <a:lnTo>
                          <a:pt x="2450" y="2864"/>
                        </a:lnTo>
                        <a:lnTo>
                          <a:pt x="2476" y="2890"/>
                        </a:lnTo>
                        <a:lnTo>
                          <a:pt x="2494" y="2912"/>
                        </a:lnTo>
                        <a:lnTo>
                          <a:pt x="2504" y="2928"/>
                        </a:lnTo>
                        <a:lnTo>
                          <a:pt x="2512" y="2942"/>
                        </a:lnTo>
                        <a:lnTo>
                          <a:pt x="2516" y="2954"/>
                        </a:lnTo>
                        <a:lnTo>
                          <a:pt x="2518" y="2964"/>
                        </a:lnTo>
                        <a:lnTo>
                          <a:pt x="2522" y="2976"/>
                        </a:lnTo>
                        <a:lnTo>
                          <a:pt x="2526" y="2988"/>
                        </a:lnTo>
                        <a:lnTo>
                          <a:pt x="2526" y="2988"/>
                        </a:lnTo>
                        <a:lnTo>
                          <a:pt x="2530" y="2998"/>
                        </a:lnTo>
                        <a:lnTo>
                          <a:pt x="2530" y="3010"/>
                        </a:lnTo>
                        <a:lnTo>
                          <a:pt x="2528" y="3020"/>
                        </a:lnTo>
                        <a:lnTo>
                          <a:pt x="2524" y="3028"/>
                        </a:lnTo>
                        <a:lnTo>
                          <a:pt x="2518" y="3038"/>
                        </a:lnTo>
                        <a:lnTo>
                          <a:pt x="2516" y="3050"/>
                        </a:lnTo>
                        <a:lnTo>
                          <a:pt x="2516" y="3060"/>
                        </a:lnTo>
                        <a:lnTo>
                          <a:pt x="2520" y="3072"/>
                        </a:lnTo>
                        <a:lnTo>
                          <a:pt x="2520" y="3072"/>
                        </a:lnTo>
                        <a:lnTo>
                          <a:pt x="2528" y="3084"/>
                        </a:lnTo>
                        <a:lnTo>
                          <a:pt x="2534" y="3094"/>
                        </a:lnTo>
                        <a:lnTo>
                          <a:pt x="2550" y="3106"/>
                        </a:lnTo>
                        <a:lnTo>
                          <a:pt x="2570" y="3120"/>
                        </a:lnTo>
                        <a:lnTo>
                          <a:pt x="2580" y="3130"/>
                        </a:lnTo>
                        <a:lnTo>
                          <a:pt x="2594" y="3140"/>
                        </a:lnTo>
                        <a:lnTo>
                          <a:pt x="2594" y="3140"/>
                        </a:lnTo>
                        <a:lnTo>
                          <a:pt x="2606" y="3152"/>
                        </a:lnTo>
                        <a:lnTo>
                          <a:pt x="2618" y="3158"/>
                        </a:lnTo>
                        <a:lnTo>
                          <a:pt x="2628" y="3162"/>
                        </a:lnTo>
                        <a:lnTo>
                          <a:pt x="2638" y="3164"/>
                        </a:lnTo>
                        <a:lnTo>
                          <a:pt x="2648" y="3168"/>
                        </a:lnTo>
                        <a:lnTo>
                          <a:pt x="2658" y="3170"/>
                        </a:lnTo>
                        <a:lnTo>
                          <a:pt x="2668" y="3176"/>
                        </a:lnTo>
                        <a:lnTo>
                          <a:pt x="2680" y="3186"/>
                        </a:lnTo>
                        <a:lnTo>
                          <a:pt x="2680" y="3186"/>
                        </a:lnTo>
                        <a:lnTo>
                          <a:pt x="2694" y="3198"/>
                        </a:lnTo>
                        <a:lnTo>
                          <a:pt x="2714" y="3210"/>
                        </a:lnTo>
                        <a:lnTo>
                          <a:pt x="2736" y="3224"/>
                        </a:lnTo>
                        <a:lnTo>
                          <a:pt x="2762" y="3236"/>
                        </a:lnTo>
                        <a:lnTo>
                          <a:pt x="2814" y="3260"/>
                        </a:lnTo>
                        <a:lnTo>
                          <a:pt x="2862" y="3278"/>
                        </a:lnTo>
                        <a:lnTo>
                          <a:pt x="2862" y="3278"/>
                        </a:lnTo>
                        <a:lnTo>
                          <a:pt x="2880" y="3282"/>
                        </a:lnTo>
                        <a:lnTo>
                          <a:pt x="2894" y="3282"/>
                        </a:lnTo>
                        <a:lnTo>
                          <a:pt x="2906" y="3278"/>
                        </a:lnTo>
                        <a:lnTo>
                          <a:pt x="2916" y="3272"/>
                        </a:lnTo>
                        <a:lnTo>
                          <a:pt x="2926" y="3266"/>
                        </a:lnTo>
                        <a:lnTo>
                          <a:pt x="2938" y="3260"/>
                        </a:lnTo>
                        <a:lnTo>
                          <a:pt x="2950" y="3258"/>
                        </a:lnTo>
                        <a:lnTo>
                          <a:pt x="2968" y="3260"/>
                        </a:lnTo>
                        <a:lnTo>
                          <a:pt x="2968" y="3260"/>
                        </a:lnTo>
                        <a:lnTo>
                          <a:pt x="2984" y="3264"/>
                        </a:lnTo>
                        <a:lnTo>
                          <a:pt x="2996" y="3272"/>
                        </a:lnTo>
                        <a:lnTo>
                          <a:pt x="3006" y="3280"/>
                        </a:lnTo>
                        <a:lnTo>
                          <a:pt x="3014" y="3290"/>
                        </a:lnTo>
                        <a:lnTo>
                          <a:pt x="3032" y="3314"/>
                        </a:lnTo>
                        <a:lnTo>
                          <a:pt x="3042" y="3326"/>
                        </a:lnTo>
                        <a:lnTo>
                          <a:pt x="3054" y="3338"/>
                        </a:lnTo>
                        <a:lnTo>
                          <a:pt x="3054" y="3338"/>
                        </a:lnTo>
                        <a:lnTo>
                          <a:pt x="3072" y="3356"/>
                        </a:lnTo>
                        <a:lnTo>
                          <a:pt x="3086" y="3364"/>
                        </a:lnTo>
                        <a:lnTo>
                          <a:pt x="3094" y="3368"/>
                        </a:lnTo>
                        <a:lnTo>
                          <a:pt x="3104" y="3368"/>
                        </a:lnTo>
                        <a:lnTo>
                          <a:pt x="3104" y="3368"/>
                        </a:lnTo>
                        <a:lnTo>
                          <a:pt x="3116" y="3368"/>
                        </a:lnTo>
                        <a:lnTo>
                          <a:pt x="3124" y="3370"/>
                        </a:lnTo>
                        <a:lnTo>
                          <a:pt x="3140" y="3376"/>
                        </a:lnTo>
                        <a:lnTo>
                          <a:pt x="3140" y="3376"/>
                        </a:lnTo>
                        <a:lnTo>
                          <a:pt x="3146" y="3382"/>
                        </a:lnTo>
                        <a:lnTo>
                          <a:pt x="3150" y="3386"/>
                        </a:lnTo>
                        <a:lnTo>
                          <a:pt x="3152" y="3388"/>
                        </a:lnTo>
                        <a:lnTo>
                          <a:pt x="3160" y="3390"/>
                        </a:lnTo>
                        <a:lnTo>
                          <a:pt x="3160" y="3390"/>
                        </a:lnTo>
                        <a:lnTo>
                          <a:pt x="3174" y="3392"/>
                        </a:lnTo>
                        <a:lnTo>
                          <a:pt x="3186" y="3398"/>
                        </a:lnTo>
                        <a:lnTo>
                          <a:pt x="3196" y="3404"/>
                        </a:lnTo>
                        <a:lnTo>
                          <a:pt x="3204" y="3406"/>
                        </a:lnTo>
                        <a:lnTo>
                          <a:pt x="3204" y="3406"/>
                        </a:lnTo>
                        <a:lnTo>
                          <a:pt x="3204" y="3406"/>
                        </a:lnTo>
                        <a:lnTo>
                          <a:pt x="3204" y="3404"/>
                        </a:lnTo>
                        <a:lnTo>
                          <a:pt x="3202" y="3402"/>
                        </a:lnTo>
                        <a:lnTo>
                          <a:pt x="3202" y="3400"/>
                        </a:lnTo>
                        <a:lnTo>
                          <a:pt x="3210" y="3404"/>
                        </a:lnTo>
                        <a:lnTo>
                          <a:pt x="3210" y="3404"/>
                        </a:lnTo>
                        <a:lnTo>
                          <a:pt x="3212" y="3406"/>
                        </a:lnTo>
                        <a:lnTo>
                          <a:pt x="3218" y="3406"/>
                        </a:lnTo>
                        <a:lnTo>
                          <a:pt x="3226" y="3406"/>
                        </a:lnTo>
                        <a:lnTo>
                          <a:pt x="3234" y="3404"/>
                        </a:lnTo>
                        <a:lnTo>
                          <a:pt x="3236" y="3402"/>
                        </a:lnTo>
                        <a:lnTo>
                          <a:pt x="3234" y="3400"/>
                        </a:lnTo>
                        <a:lnTo>
                          <a:pt x="3234" y="3400"/>
                        </a:lnTo>
                        <a:lnTo>
                          <a:pt x="3230" y="3398"/>
                        </a:lnTo>
                        <a:lnTo>
                          <a:pt x="3230" y="3396"/>
                        </a:lnTo>
                        <a:lnTo>
                          <a:pt x="3230" y="3394"/>
                        </a:lnTo>
                        <a:lnTo>
                          <a:pt x="3232" y="3394"/>
                        </a:lnTo>
                        <a:lnTo>
                          <a:pt x="3232" y="3394"/>
                        </a:lnTo>
                        <a:lnTo>
                          <a:pt x="3236" y="3396"/>
                        </a:lnTo>
                        <a:lnTo>
                          <a:pt x="3238" y="3396"/>
                        </a:lnTo>
                        <a:lnTo>
                          <a:pt x="3240" y="3392"/>
                        </a:lnTo>
                        <a:lnTo>
                          <a:pt x="3240" y="3392"/>
                        </a:lnTo>
                        <a:lnTo>
                          <a:pt x="3242" y="3398"/>
                        </a:lnTo>
                        <a:lnTo>
                          <a:pt x="3242" y="3398"/>
                        </a:lnTo>
                        <a:lnTo>
                          <a:pt x="3248" y="3406"/>
                        </a:lnTo>
                        <a:lnTo>
                          <a:pt x="3252" y="3410"/>
                        </a:lnTo>
                        <a:lnTo>
                          <a:pt x="3254" y="3412"/>
                        </a:lnTo>
                        <a:lnTo>
                          <a:pt x="3252" y="3416"/>
                        </a:lnTo>
                        <a:lnTo>
                          <a:pt x="3252" y="3416"/>
                        </a:lnTo>
                        <a:lnTo>
                          <a:pt x="3250" y="3418"/>
                        </a:lnTo>
                        <a:lnTo>
                          <a:pt x="3250" y="3418"/>
                        </a:lnTo>
                        <a:lnTo>
                          <a:pt x="3246" y="3416"/>
                        </a:lnTo>
                        <a:lnTo>
                          <a:pt x="3244" y="3412"/>
                        </a:lnTo>
                        <a:lnTo>
                          <a:pt x="3242" y="3412"/>
                        </a:lnTo>
                        <a:lnTo>
                          <a:pt x="3240" y="3414"/>
                        </a:lnTo>
                        <a:lnTo>
                          <a:pt x="3240" y="3414"/>
                        </a:lnTo>
                        <a:lnTo>
                          <a:pt x="3238" y="3418"/>
                        </a:lnTo>
                        <a:lnTo>
                          <a:pt x="3242" y="3422"/>
                        </a:lnTo>
                        <a:lnTo>
                          <a:pt x="3246" y="3426"/>
                        </a:lnTo>
                        <a:lnTo>
                          <a:pt x="3252" y="3434"/>
                        </a:lnTo>
                        <a:lnTo>
                          <a:pt x="3252" y="3434"/>
                        </a:lnTo>
                        <a:lnTo>
                          <a:pt x="3258" y="3442"/>
                        </a:lnTo>
                        <a:lnTo>
                          <a:pt x="3266" y="3448"/>
                        </a:lnTo>
                        <a:lnTo>
                          <a:pt x="3274" y="3454"/>
                        </a:lnTo>
                        <a:lnTo>
                          <a:pt x="3278" y="3460"/>
                        </a:lnTo>
                        <a:lnTo>
                          <a:pt x="3282" y="3466"/>
                        </a:lnTo>
                        <a:lnTo>
                          <a:pt x="3282" y="3466"/>
                        </a:lnTo>
                        <a:lnTo>
                          <a:pt x="3288" y="3478"/>
                        </a:lnTo>
                        <a:lnTo>
                          <a:pt x="3294" y="3486"/>
                        </a:lnTo>
                        <a:lnTo>
                          <a:pt x="3304" y="3494"/>
                        </a:lnTo>
                        <a:lnTo>
                          <a:pt x="3316" y="3506"/>
                        </a:lnTo>
                        <a:lnTo>
                          <a:pt x="3316" y="3506"/>
                        </a:lnTo>
                        <a:lnTo>
                          <a:pt x="3318" y="3510"/>
                        </a:lnTo>
                        <a:lnTo>
                          <a:pt x="3318" y="3512"/>
                        </a:lnTo>
                        <a:lnTo>
                          <a:pt x="3314" y="3514"/>
                        </a:lnTo>
                        <a:lnTo>
                          <a:pt x="3310" y="3518"/>
                        </a:lnTo>
                        <a:lnTo>
                          <a:pt x="3310" y="3518"/>
                        </a:lnTo>
                        <a:lnTo>
                          <a:pt x="3310" y="3520"/>
                        </a:lnTo>
                        <a:lnTo>
                          <a:pt x="3310" y="3520"/>
                        </a:lnTo>
                        <a:lnTo>
                          <a:pt x="3316" y="3522"/>
                        </a:lnTo>
                        <a:lnTo>
                          <a:pt x="3318" y="3522"/>
                        </a:lnTo>
                        <a:lnTo>
                          <a:pt x="3318" y="3522"/>
                        </a:lnTo>
                        <a:lnTo>
                          <a:pt x="3318" y="3528"/>
                        </a:lnTo>
                        <a:lnTo>
                          <a:pt x="3318" y="3528"/>
                        </a:lnTo>
                        <a:lnTo>
                          <a:pt x="3318" y="3534"/>
                        </a:lnTo>
                        <a:lnTo>
                          <a:pt x="3316" y="3534"/>
                        </a:lnTo>
                        <a:lnTo>
                          <a:pt x="3314" y="3536"/>
                        </a:lnTo>
                        <a:lnTo>
                          <a:pt x="3312" y="3540"/>
                        </a:lnTo>
                        <a:lnTo>
                          <a:pt x="3312" y="3540"/>
                        </a:lnTo>
                        <a:lnTo>
                          <a:pt x="3312" y="3550"/>
                        </a:lnTo>
                        <a:lnTo>
                          <a:pt x="3314" y="3558"/>
                        </a:lnTo>
                        <a:lnTo>
                          <a:pt x="3318" y="3564"/>
                        </a:lnTo>
                        <a:lnTo>
                          <a:pt x="3322" y="3566"/>
                        </a:lnTo>
                        <a:lnTo>
                          <a:pt x="3322" y="3566"/>
                        </a:lnTo>
                        <a:lnTo>
                          <a:pt x="3330" y="3570"/>
                        </a:lnTo>
                        <a:lnTo>
                          <a:pt x="3334" y="3574"/>
                        </a:lnTo>
                        <a:lnTo>
                          <a:pt x="3338" y="3578"/>
                        </a:lnTo>
                        <a:lnTo>
                          <a:pt x="3338" y="3578"/>
                        </a:lnTo>
                        <a:lnTo>
                          <a:pt x="3340" y="3582"/>
                        </a:lnTo>
                        <a:lnTo>
                          <a:pt x="3342" y="3580"/>
                        </a:lnTo>
                        <a:lnTo>
                          <a:pt x="3348" y="3574"/>
                        </a:lnTo>
                        <a:lnTo>
                          <a:pt x="3348" y="3574"/>
                        </a:lnTo>
                        <a:lnTo>
                          <a:pt x="3350" y="3572"/>
                        </a:lnTo>
                        <a:lnTo>
                          <a:pt x="3350" y="3570"/>
                        </a:lnTo>
                        <a:lnTo>
                          <a:pt x="3348" y="3566"/>
                        </a:lnTo>
                        <a:lnTo>
                          <a:pt x="3338" y="3558"/>
                        </a:lnTo>
                        <a:lnTo>
                          <a:pt x="3338" y="3558"/>
                        </a:lnTo>
                        <a:lnTo>
                          <a:pt x="3336" y="3554"/>
                        </a:lnTo>
                        <a:lnTo>
                          <a:pt x="3336" y="3552"/>
                        </a:lnTo>
                        <a:lnTo>
                          <a:pt x="3336" y="3550"/>
                        </a:lnTo>
                        <a:lnTo>
                          <a:pt x="3338" y="3552"/>
                        </a:lnTo>
                        <a:lnTo>
                          <a:pt x="3338" y="3552"/>
                        </a:lnTo>
                        <a:lnTo>
                          <a:pt x="3342" y="3554"/>
                        </a:lnTo>
                        <a:lnTo>
                          <a:pt x="3348" y="3558"/>
                        </a:lnTo>
                        <a:lnTo>
                          <a:pt x="3354" y="3562"/>
                        </a:lnTo>
                        <a:lnTo>
                          <a:pt x="3358" y="3566"/>
                        </a:lnTo>
                        <a:lnTo>
                          <a:pt x="3358" y="3566"/>
                        </a:lnTo>
                        <a:lnTo>
                          <a:pt x="3358" y="3576"/>
                        </a:lnTo>
                        <a:lnTo>
                          <a:pt x="3360" y="3578"/>
                        </a:lnTo>
                        <a:lnTo>
                          <a:pt x="3362" y="3582"/>
                        </a:lnTo>
                        <a:lnTo>
                          <a:pt x="3362" y="3582"/>
                        </a:lnTo>
                        <a:lnTo>
                          <a:pt x="3366" y="3584"/>
                        </a:lnTo>
                        <a:lnTo>
                          <a:pt x="3368" y="3586"/>
                        </a:lnTo>
                        <a:lnTo>
                          <a:pt x="3374" y="3586"/>
                        </a:lnTo>
                        <a:lnTo>
                          <a:pt x="3384" y="3592"/>
                        </a:lnTo>
                        <a:lnTo>
                          <a:pt x="3384" y="3592"/>
                        </a:lnTo>
                        <a:lnTo>
                          <a:pt x="3398" y="3604"/>
                        </a:lnTo>
                        <a:lnTo>
                          <a:pt x="3402" y="3608"/>
                        </a:lnTo>
                        <a:lnTo>
                          <a:pt x="3402" y="3612"/>
                        </a:lnTo>
                        <a:lnTo>
                          <a:pt x="3402" y="3612"/>
                        </a:lnTo>
                        <a:lnTo>
                          <a:pt x="3402" y="3620"/>
                        </a:lnTo>
                        <a:lnTo>
                          <a:pt x="3400" y="3624"/>
                        </a:lnTo>
                        <a:lnTo>
                          <a:pt x="3398" y="3626"/>
                        </a:lnTo>
                        <a:lnTo>
                          <a:pt x="3398" y="3626"/>
                        </a:lnTo>
                        <a:lnTo>
                          <a:pt x="3398" y="3628"/>
                        </a:lnTo>
                        <a:lnTo>
                          <a:pt x="3396" y="3630"/>
                        </a:lnTo>
                        <a:lnTo>
                          <a:pt x="3400" y="3634"/>
                        </a:lnTo>
                        <a:lnTo>
                          <a:pt x="3404" y="3636"/>
                        </a:lnTo>
                        <a:lnTo>
                          <a:pt x="3408" y="3638"/>
                        </a:lnTo>
                        <a:lnTo>
                          <a:pt x="3408" y="3638"/>
                        </a:lnTo>
                        <a:lnTo>
                          <a:pt x="3410" y="3640"/>
                        </a:lnTo>
                        <a:lnTo>
                          <a:pt x="3414" y="3640"/>
                        </a:lnTo>
                        <a:lnTo>
                          <a:pt x="3414" y="3642"/>
                        </a:lnTo>
                        <a:lnTo>
                          <a:pt x="3416" y="3640"/>
                        </a:lnTo>
                        <a:lnTo>
                          <a:pt x="3416" y="3640"/>
                        </a:lnTo>
                        <a:lnTo>
                          <a:pt x="3416" y="3636"/>
                        </a:lnTo>
                        <a:lnTo>
                          <a:pt x="3414" y="3634"/>
                        </a:lnTo>
                        <a:lnTo>
                          <a:pt x="3410" y="3630"/>
                        </a:lnTo>
                        <a:lnTo>
                          <a:pt x="3406" y="3626"/>
                        </a:lnTo>
                        <a:lnTo>
                          <a:pt x="3408" y="3626"/>
                        </a:lnTo>
                        <a:lnTo>
                          <a:pt x="3410" y="3624"/>
                        </a:lnTo>
                        <a:lnTo>
                          <a:pt x="3410" y="3624"/>
                        </a:lnTo>
                        <a:lnTo>
                          <a:pt x="3414" y="3622"/>
                        </a:lnTo>
                        <a:lnTo>
                          <a:pt x="3414" y="3624"/>
                        </a:lnTo>
                        <a:lnTo>
                          <a:pt x="3416" y="3628"/>
                        </a:lnTo>
                        <a:lnTo>
                          <a:pt x="3418" y="3630"/>
                        </a:lnTo>
                        <a:lnTo>
                          <a:pt x="3418" y="3630"/>
                        </a:lnTo>
                        <a:lnTo>
                          <a:pt x="3420" y="3630"/>
                        </a:lnTo>
                        <a:lnTo>
                          <a:pt x="3422" y="3632"/>
                        </a:lnTo>
                        <a:lnTo>
                          <a:pt x="3422" y="3636"/>
                        </a:lnTo>
                        <a:lnTo>
                          <a:pt x="3422" y="3642"/>
                        </a:lnTo>
                        <a:lnTo>
                          <a:pt x="3422" y="3646"/>
                        </a:lnTo>
                        <a:lnTo>
                          <a:pt x="3422" y="3646"/>
                        </a:lnTo>
                        <a:lnTo>
                          <a:pt x="3428" y="3654"/>
                        </a:lnTo>
                        <a:lnTo>
                          <a:pt x="3430" y="3656"/>
                        </a:lnTo>
                        <a:lnTo>
                          <a:pt x="3432" y="3656"/>
                        </a:lnTo>
                        <a:lnTo>
                          <a:pt x="3432" y="3656"/>
                        </a:lnTo>
                        <a:lnTo>
                          <a:pt x="3434" y="3648"/>
                        </a:lnTo>
                        <a:lnTo>
                          <a:pt x="3436" y="3646"/>
                        </a:lnTo>
                        <a:lnTo>
                          <a:pt x="3440" y="3644"/>
                        </a:lnTo>
                        <a:lnTo>
                          <a:pt x="3440" y="3644"/>
                        </a:lnTo>
                        <a:lnTo>
                          <a:pt x="3452" y="3646"/>
                        </a:lnTo>
                        <a:lnTo>
                          <a:pt x="3464" y="3650"/>
                        </a:lnTo>
                        <a:lnTo>
                          <a:pt x="3472" y="3652"/>
                        </a:lnTo>
                        <a:lnTo>
                          <a:pt x="3476" y="3654"/>
                        </a:lnTo>
                        <a:lnTo>
                          <a:pt x="3476" y="3654"/>
                        </a:lnTo>
                        <a:lnTo>
                          <a:pt x="3478" y="3652"/>
                        </a:lnTo>
                        <a:lnTo>
                          <a:pt x="3480" y="3654"/>
                        </a:lnTo>
                        <a:lnTo>
                          <a:pt x="3482" y="3662"/>
                        </a:lnTo>
                        <a:lnTo>
                          <a:pt x="3482" y="3662"/>
                        </a:lnTo>
                        <a:lnTo>
                          <a:pt x="3484" y="3666"/>
                        </a:lnTo>
                        <a:lnTo>
                          <a:pt x="3484" y="3670"/>
                        </a:lnTo>
                        <a:lnTo>
                          <a:pt x="3486" y="3672"/>
                        </a:lnTo>
                        <a:lnTo>
                          <a:pt x="3490" y="3676"/>
                        </a:lnTo>
                        <a:lnTo>
                          <a:pt x="3490" y="3676"/>
                        </a:lnTo>
                        <a:lnTo>
                          <a:pt x="3496" y="3678"/>
                        </a:lnTo>
                        <a:lnTo>
                          <a:pt x="3498" y="3678"/>
                        </a:lnTo>
                        <a:lnTo>
                          <a:pt x="3498" y="3674"/>
                        </a:lnTo>
                        <a:lnTo>
                          <a:pt x="3498" y="3674"/>
                        </a:lnTo>
                        <a:lnTo>
                          <a:pt x="3500" y="3668"/>
                        </a:lnTo>
                        <a:lnTo>
                          <a:pt x="3502" y="3666"/>
                        </a:lnTo>
                        <a:lnTo>
                          <a:pt x="3504" y="3666"/>
                        </a:lnTo>
                        <a:lnTo>
                          <a:pt x="3504" y="3668"/>
                        </a:lnTo>
                        <a:lnTo>
                          <a:pt x="3504" y="3668"/>
                        </a:lnTo>
                        <a:lnTo>
                          <a:pt x="3504" y="3672"/>
                        </a:lnTo>
                        <a:lnTo>
                          <a:pt x="3508" y="3680"/>
                        </a:lnTo>
                        <a:lnTo>
                          <a:pt x="3510" y="3686"/>
                        </a:lnTo>
                        <a:lnTo>
                          <a:pt x="3510" y="3694"/>
                        </a:lnTo>
                        <a:lnTo>
                          <a:pt x="3510" y="3694"/>
                        </a:lnTo>
                        <a:lnTo>
                          <a:pt x="3510" y="3696"/>
                        </a:lnTo>
                        <a:lnTo>
                          <a:pt x="3510" y="3698"/>
                        </a:lnTo>
                        <a:lnTo>
                          <a:pt x="3516" y="3698"/>
                        </a:lnTo>
                        <a:lnTo>
                          <a:pt x="3528" y="3696"/>
                        </a:lnTo>
                        <a:lnTo>
                          <a:pt x="3528" y="3696"/>
                        </a:lnTo>
                        <a:lnTo>
                          <a:pt x="3530" y="3696"/>
                        </a:lnTo>
                        <a:lnTo>
                          <a:pt x="3532" y="3696"/>
                        </a:lnTo>
                        <a:lnTo>
                          <a:pt x="3532" y="3692"/>
                        </a:lnTo>
                        <a:lnTo>
                          <a:pt x="3532" y="3690"/>
                        </a:lnTo>
                        <a:lnTo>
                          <a:pt x="3538" y="3688"/>
                        </a:lnTo>
                        <a:lnTo>
                          <a:pt x="3538" y="3688"/>
                        </a:lnTo>
                        <a:lnTo>
                          <a:pt x="3544" y="3688"/>
                        </a:lnTo>
                        <a:lnTo>
                          <a:pt x="3546" y="3686"/>
                        </a:lnTo>
                        <a:lnTo>
                          <a:pt x="3548" y="3684"/>
                        </a:lnTo>
                        <a:lnTo>
                          <a:pt x="3546" y="3680"/>
                        </a:lnTo>
                        <a:lnTo>
                          <a:pt x="3542" y="3672"/>
                        </a:lnTo>
                        <a:lnTo>
                          <a:pt x="3542" y="3672"/>
                        </a:lnTo>
                        <a:lnTo>
                          <a:pt x="3536" y="3664"/>
                        </a:lnTo>
                        <a:lnTo>
                          <a:pt x="3534" y="3660"/>
                        </a:lnTo>
                        <a:lnTo>
                          <a:pt x="3534" y="3658"/>
                        </a:lnTo>
                        <a:lnTo>
                          <a:pt x="3532" y="3658"/>
                        </a:lnTo>
                        <a:lnTo>
                          <a:pt x="3532" y="3658"/>
                        </a:lnTo>
                        <a:lnTo>
                          <a:pt x="3530" y="3658"/>
                        </a:lnTo>
                        <a:lnTo>
                          <a:pt x="3528" y="3656"/>
                        </a:lnTo>
                        <a:lnTo>
                          <a:pt x="3526" y="3652"/>
                        </a:lnTo>
                        <a:lnTo>
                          <a:pt x="3528" y="3648"/>
                        </a:lnTo>
                        <a:lnTo>
                          <a:pt x="3530" y="3646"/>
                        </a:lnTo>
                        <a:lnTo>
                          <a:pt x="3532" y="3646"/>
                        </a:lnTo>
                        <a:lnTo>
                          <a:pt x="3532" y="3646"/>
                        </a:lnTo>
                        <a:lnTo>
                          <a:pt x="3538" y="3644"/>
                        </a:lnTo>
                        <a:lnTo>
                          <a:pt x="3544" y="3642"/>
                        </a:lnTo>
                        <a:lnTo>
                          <a:pt x="3550" y="3636"/>
                        </a:lnTo>
                        <a:lnTo>
                          <a:pt x="3556" y="3628"/>
                        </a:lnTo>
                        <a:lnTo>
                          <a:pt x="3556" y="3628"/>
                        </a:lnTo>
                        <a:lnTo>
                          <a:pt x="3558" y="3624"/>
                        </a:lnTo>
                        <a:lnTo>
                          <a:pt x="3558" y="3622"/>
                        </a:lnTo>
                        <a:lnTo>
                          <a:pt x="3558" y="3618"/>
                        </a:lnTo>
                        <a:lnTo>
                          <a:pt x="3562" y="3616"/>
                        </a:lnTo>
                        <a:lnTo>
                          <a:pt x="3562" y="3616"/>
                        </a:lnTo>
                        <a:lnTo>
                          <a:pt x="3566" y="3614"/>
                        </a:lnTo>
                        <a:lnTo>
                          <a:pt x="3568" y="3612"/>
                        </a:lnTo>
                        <a:lnTo>
                          <a:pt x="3570" y="3610"/>
                        </a:lnTo>
                        <a:lnTo>
                          <a:pt x="3576" y="3610"/>
                        </a:lnTo>
                        <a:lnTo>
                          <a:pt x="3576" y="3610"/>
                        </a:lnTo>
                        <a:lnTo>
                          <a:pt x="3586" y="3612"/>
                        </a:lnTo>
                        <a:lnTo>
                          <a:pt x="3598" y="3620"/>
                        </a:lnTo>
                        <a:lnTo>
                          <a:pt x="3606" y="3626"/>
                        </a:lnTo>
                        <a:lnTo>
                          <a:pt x="3608" y="3630"/>
                        </a:lnTo>
                        <a:lnTo>
                          <a:pt x="3608" y="3632"/>
                        </a:lnTo>
                        <a:lnTo>
                          <a:pt x="3608" y="3632"/>
                        </a:lnTo>
                        <a:lnTo>
                          <a:pt x="3606" y="3636"/>
                        </a:lnTo>
                        <a:lnTo>
                          <a:pt x="3608" y="3638"/>
                        </a:lnTo>
                        <a:lnTo>
                          <a:pt x="3610" y="3640"/>
                        </a:lnTo>
                        <a:lnTo>
                          <a:pt x="3612" y="3640"/>
                        </a:lnTo>
                        <a:lnTo>
                          <a:pt x="3612" y="3640"/>
                        </a:lnTo>
                        <a:lnTo>
                          <a:pt x="3616" y="3638"/>
                        </a:lnTo>
                        <a:lnTo>
                          <a:pt x="3616" y="3638"/>
                        </a:lnTo>
                        <a:lnTo>
                          <a:pt x="3618" y="3638"/>
                        </a:lnTo>
                        <a:lnTo>
                          <a:pt x="3620" y="3638"/>
                        </a:lnTo>
                        <a:lnTo>
                          <a:pt x="3620" y="3638"/>
                        </a:lnTo>
                        <a:lnTo>
                          <a:pt x="3622" y="3638"/>
                        </a:lnTo>
                        <a:lnTo>
                          <a:pt x="3620" y="3640"/>
                        </a:lnTo>
                        <a:lnTo>
                          <a:pt x="3618" y="3648"/>
                        </a:lnTo>
                        <a:lnTo>
                          <a:pt x="3614" y="3658"/>
                        </a:lnTo>
                        <a:lnTo>
                          <a:pt x="3612" y="3662"/>
                        </a:lnTo>
                        <a:lnTo>
                          <a:pt x="3614" y="3666"/>
                        </a:lnTo>
                        <a:lnTo>
                          <a:pt x="3614" y="3666"/>
                        </a:lnTo>
                        <a:lnTo>
                          <a:pt x="3622" y="3682"/>
                        </a:lnTo>
                        <a:lnTo>
                          <a:pt x="3626" y="3690"/>
                        </a:lnTo>
                        <a:lnTo>
                          <a:pt x="3632" y="3696"/>
                        </a:lnTo>
                        <a:lnTo>
                          <a:pt x="3632" y="3696"/>
                        </a:lnTo>
                        <a:lnTo>
                          <a:pt x="3636" y="3700"/>
                        </a:lnTo>
                        <a:lnTo>
                          <a:pt x="3638" y="3702"/>
                        </a:lnTo>
                        <a:lnTo>
                          <a:pt x="3640" y="3704"/>
                        </a:lnTo>
                        <a:lnTo>
                          <a:pt x="3640" y="3708"/>
                        </a:lnTo>
                        <a:lnTo>
                          <a:pt x="3672" y="3654"/>
                        </a:lnTo>
                        <a:lnTo>
                          <a:pt x="3672" y="3654"/>
                        </a:lnTo>
                        <a:lnTo>
                          <a:pt x="3654" y="3626"/>
                        </a:lnTo>
                        <a:lnTo>
                          <a:pt x="3654" y="3626"/>
                        </a:lnTo>
                        <a:close/>
                        <a:moveTo>
                          <a:pt x="3590" y="1870"/>
                        </a:moveTo>
                        <a:lnTo>
                          <a:pt x="3590" y="1870"/>
                        </a:lnTo>
                        <a:lnTo>
                          <a:pt x="3570" y="1886"/>
                        </a:lnTo>
                        <a:lnTo>
                          <a:pt x="3558" y="1894"/>
                        </a:lnTo>
                        <a:lnTo>
                          <a:pt x="3546" y="1900"/>
                        </a:lnTo>
                        <a:lnTo>
                          <a:pt x="3546" y="1900"/>
                        </a:lnTo>
                        <a:lnTo>
                          <a:pt x="3536" y="1904"/>
                        </a:lnTo>
                        <a:lnTo>
                          <a:pt x="3524" y="1910"/>
                        </a:lnTo>
                        <a:lnTo>
                          <a:pt x="3508" y="1920"/>
                        </a:lnTo>
                        <a:lnTo>
                          <a:pt x="3488" y="1932"/>
                        </a:lnTo>
                        <a:lnTo>
                          <a:pt x="3488" y="1932"/>
                        </a:lnTo>
                        <a:lnTo>
                          <a:pt x="3466" y="1938"/>
                        </a:lnTo>
                        <a:lnTo>
                          <a:pt x="3448" y="1942"/>
                        </a:lnTo>
                        <a:lnTo>
                          <a:pt x="3434" y="1942"/>
                        </a:lnTo>
                        <a:lnTo>
                          <a:pt x="3426" y="1940"/>
                        </a:lnTo>
                        <a:lnTo>
                          <a:pt x="3426" y="1940"/>
                        </a:lnTo>
                        <a:lnTo>
                          <a:pt x="3424" y="1938"/>
                        </a:lnTo>
                        <a:lnTo>
                          <a:pt x="3424" y="1938"/>
                        </a:lnTo>
                        <a:lnTo>
                          <a:pt x="3430" y="1936"/>
                        </a:lnTo>
                        <a:lnTo>
                          <a:pt x="3434" y="1936"/>
                        </a:lnTo>
                        <a:lnTo>
                          <a:pt x="3434" y="1934"/>
                        </a:lnTo>
                        <a:lnTo>
                          <a:pt x="3434" y="1934"/>
                        </a:lnTo>
                        <a:lnTo>
                          <a:pt x="3434" y="1934"/>
                        </a:lnTo>
                        <a:lnTo>
                          <a:pt x="3426" y="1932"/>
                        </a:lnTo>
                        <a:lnTo>
                          <a:pt x="3418" y="1930"/>
                        </a:lnTo>
                        <a:lnTo>
                          <a:pt x="3410" y="1930"/>
                        </a:lnTo>
                        <a:lnTo>
                          <a:pt x="3408" y="1928"/>
                        </a:lnTo>
                        <a:lnTo>
                          <a:pt x="3406" y="1926"/>
                        </a:lnTo>
                        <a:lnTo>
                          <a:pt x="3406" y="1926"/>
                        </a:lnTo>
                        <a:lnTo>
                          <a:pt x="3408" y="1922"/>
                        </a:lnTo>
                        <a:lnTo>
                          <a:pt x="3410" y="1916"/>
                        </a:lnTo>
                        <a:lnTo>
                          <a:pt x="3414" y="1910"/>
                        </a:lnTo>
                        <a:lnTo>
                          <a:pt x="3416" y="1900"/>
                        </a:lnTo>
                        <a:lnTo>
                          <a:pt x="3416" y="1900"/>
                        </a:lnTo>
                        <a:lnTo>
                          <a:pt x="3420" y="1892"/>
                        </a:lnTo>
                        <a:lnTo>
                          <a:pt x="3422" y="1890"/>
                        </a:lnTo>
                        <a:lnTo>
                          <a:pt x="3426" y="1886"/>
                        </a:lnTo>
                        <a:lnTo>
                          <a:pt x="3430" y="1880"/>
                        </a:lnTo>
                        <a:lnTo>
                          <a:pt x="3430" y="1880"/>
                        </a:lnTo>
                        <a:lnTo>
                          <a:pt x="3434" y="1872"/>
                        </a:lnTo>
                        <a:lnTo>
                          <a:pt x="3436" y="1870"/>
                        </a:lnTo>
                        <a:lnTo>
                          <a:pt x="3438" y="1872"/>
                        </a:lnTo>
                        <a:lnTo>
                          <a:pt x="3440" y="1880"/>
                        </a:lnTo>
                        <a:lnTo>
                          <a:pt x="3440" y="1880"/>
                        </a:lnTo>
                        <a:lnTo>
                          <a:pt x="3446" y="1882"/>
                        </a:lnTo>
                        <a:lnTo>
                          <a:pt x="3448" y="1884"/>
                        </a:lnTo>
                        <a:lnTo>
                          <a:pt x="3450" y="1886"/>
                        </a:lnTo>
                        <a:lnTo>
                          <a:pt x="3448" y="1888"/>
                        </a:lnTo>
                        <a:lnTo>
                          <a:pt x="3442" y="1892"/>
                        </a:lnTo>
                        <a:lnTo>
                          <a:pt x="3432" y="1894"/>
                        </a:lnTo>
                        <a:lnTo>
                          <a:pt x="3432" y="1894"/>
                        </a:lnTo>
                        <a:lnTo>
                          <a:pt x="3426" y="1894"/>
                        </a:lnTo>
                        <a:lnTo>
                          <a:pt x="3424" y="1896"/>
                        </a:lnTo>
                        <a:lnTo>
                          <a:pt x="3422" y="1898"/>
                        </a:lnTo>
                        <a:lnTo>
                          <a:pt x="3422" y="1902"/>
                        </a:lnTo>
                        <a:lnTo>
                          <a:pt x="3422" y="1904"/>
                        </a:lnTo>
                        <a:lnTo>
                          <a:pt x="3424" y="1906"/>
                        </a:lnTo>
                        <a:lnTo>
                          <a:pt x="3428" y="1908"/>
                        </a:lnTo>
                        <a:lnTo>
                          <a:pt x="3432" y="1908"/>
                        </a:lnTo>
                        <a:lnTo>
                          <a:pt x="3432" y="1908"/>
                        </a:lnTo>
                        <a:lnTo>
                          <a:pt x="3438" y="1908"/>
                        </a:lnTo>
                        <a:lnTo>
                          <a:pt x="3442" y="1910"/>
                        </a:lnTo>
                        <a:lnTo>
                          <a:pt x="3444" y="1912"/>
                        </a:lnTo>
                        <a:lnTo>
                          <a:pt x="3446" y="1910"/>
                        </a:lnTo>
                        <a:lnTo>
                          <a:pt x="3446" y="1910"/>
                        </a:lnTo>
                        <a:lnTo>
                          <a:pt x="3450" y="1904"/>
                        </a:lnTo>
                        <a:lnTo>
                          <a:pt x="3456" y="1900"/>
                        </a:lnTo>
                        <a:lnTo>
                          <a:pt x="3466" y="1896"/>
                        </a:lnTo>
                        <a:lnTo>
                          <a:pt x="3466" y="1896"/>
                        </a:lnTo>
                        <a:lnTo>
                          <a:pt x="3470" y="1892"/>
                        </a:lnTo>
                        <a:lnTo>
                          <a:pt x="3474" y="1888"/>
                        </a:lnTo>
                        <a:lnTo>
                          <a:pt x="3482" y="1880"/>
                        </a:lnTo>
                        <a:lnTo>
                          <a:pt x="3488" y="1876"/>
                        </a:lnTo>
                        <a:lnTo>
                          <a:pt x="3496" y="1874"/>
                        </a:lnTo>
                        <a:lnTo>
                          <a:pt x="3504" y="1874"/>
                        </a:lnTo>
                        <a:lnTo>
                          <a:pt x="3518" y="1876"/>
                        </a:lnTo>
                        <a:lnTo>
                          <a:pt x="3518" y="1876"/>
                        </a:lnTo>
                        <a:lnTo>
                          <a:pt x="3534" y="1880"/>
                        </a:lnTo>
                        <a:lnTo>
                          <a:pt x="3538" y="1880"/>
                        </a:lnTo>
                        <a:lnTo>
                          <a:pt x="3536" y="1878"/>
                        </a:lnTo>
                        <a:lnTo>
                          <a:pt x="3532" y="1876"/>
                        </a:lnTo>
                        <a:lnTo>
                          <a:pt x="3532" y="1872"/>
                        </a:lnTo>
                        <a:lnTo>
                          <a:pt x="3532" y="1870"/>
                        </a:lnTo>
                        <a:lnTo>
                          <a:pt x="3532" y="1870"/>
                        </a:lnTo>
                        <a:lnTo>
                          <a:pt x="3536" y="1866"/>
                        </a:lnTo>
                        <a:lnTo>
                          <a:pt x="3540" y="1864"/>
                        </a:lnTo>
                        <a:lnTo>
                          <a:pt x="3560" y="1862"/>
                        </a:lnTo>
                        <a:lnTo>
                          <a:pt x="3560" y="1862"/>
                        </a:lnTo>
                        <a:lnTo>
                          <a:pt x="3580" y="1860"/>
                        </a:lnTo>
                        <a:lnTo>
                          <a:pt x="3584" y="1860"/>
                        </a:lnTo>
                        <a:lnTo>
                          <a:pt x="3586" y="1858"/>
                        </a:lnTo>
                        <a:lnTo>
                          <a:pt x="3586" y="1858"/>
                        </a:lnTo>
                        <a:lnTo>
                          <a:pt x="3586" y="1854"/>
                        </a:lnTo>
                        <a:lnTo>
                          <a:pt x="3586" y="1852"/>
                        </a:lnTo>
                        <a:lnTo>
                          <a:pt x="3588" y="1850"/>
                        </a:lnTo>
                        <a:lnTo>
                          <a:pt x="3588" y="1850"/>
                        </a:lnTo>
                        <a:lnTo>
                          <a:pt x="3590" y="1850"/>
                        </a:lnTo>
                        <a:lnTo>
                          <a:pt x="3592" y="1852"/>
                        </a:lnTo>
                        <a:lnTo>
                          <a:pt x="3594" y="1858"/>
                        </a:lnTo>
                        <a:lnTo>
                          <a:pt x="3592" y="1864"/>
                        </a:lnTo>
                        <a:lnTo>
                          <a:pt x="3590" y="1870"/>
                        </a:lnTo>
                        <a:lnTo>
                          <a:pt x="3590" y="1870"/>
                        </a:lnTo>
                        <a:close/>
                        <a:moveTo>
                          <a:pt x="3578" y="1812"/>
                        </a:moveTo>
                        <a:lnTo>
                          <a:pt x="3578" y="1812"/>
                        </a:lnTo>
                        <a:lnTo>
                          <a:pt x="3586" y="1806"/>
                        </a:lnTo>
                        <a:lnTo>
                          <a:pt x="3596" y="1804"/>
                        </a:lnTo>
                        <a:lnTo>
                          <a:pt x="3624" y="1798"/>
                        </a:lnTo>
                        <a:lnTo>
                          <a:pt x="3624" y="1798"/>
                        </a:lnTo>
                        <a:lnTo>
                          <a:pt x="3636" y="1796"/>
                        </a:lnTo>
                        <a:lnTo>
                          <a:pt x="3642" y="1794"/>
                        </a:lnTo>
                        <a:lnTo>
                          <a:pt x="3656" y="1802"/>
                        </a:lnTo>
                        <a:lnTo>
                          <a:pt x="3656" y="1802"/>
                        </a:lnTo>
                        <a:lnTo>
                          <a:pt x="3662" y="1804"/>
                        </a:lnTo>
                        <a:lnTo>
                          <a:pt x="3664" y="1804"/>
                        </a:lnTo>
                        <a:lnTo>
                          <a:pt x="3668" y="1804"/>
                        </a:lnTo>
                        <a:lnTo>
                          <a:pt x="3668" y="1802"/>
                        </a:lnTo>
                        <a:lnTo>
                          <a:pt x="3672" y="1794"/>
                        </a:lnTo>
                        <a:lnTo>
                          <a:pt x="3674" y="1790"/>
                        </a:lnTo>
                        <a:lnTo>
                          <a:pt x="3678" y="1788"/>
                        </a:lnTo>
                        <a:lnTo>
                          <a:pt x="3678" y="1788"/>
                        </a:lnTo>
                        <a:lnTo>
                          <a:pt x="3686" y="1782"/>
                        </a:lnTo>
                        <a:lnTo>
                          <a:pt x="3696" y="1778"/>
                        </a:lnTo>
                        <a:lnTo>
                          <a:pt x="3706" y="1776"/>
                        </a:lnTo>
                        <a:lnTo>
                          <a:pt x="3716" y="1770"/>
                        </a:lnTo>
                        <a:lnTo>
                          <a:pt x="3716" y="1770"/>
                        </a:lnTo>
                        <a:lnTo>
                          <a:pt x="3714" y="1774"/>
                        </a:lnTo>
                        <a:lnTo>
                          <a:pt x="3712" y="1778"/>
                        </a:lnTo>
                        <a:lnTo>
                          <a:pt x="3708" y="1782"/>
                        </a:lnTo>
                        <a:lnTo>
                          <a:pt x="3702" y="1784"/>
                        </a:lnTo>
                        <a:lnTo>
                          <a:pt x="3702" y="1784"/>
                        </a:lnTo>
                        <a:lnTo>
                          <a:pt x="3698" y="1786"/>
                        </a:lnTo>
                        <a:lnTo>
                          <a:pt x="3694" y="1790"/>
                        </a:lnTo>
                        <a:lnTo>
                          <a:pt x="3696" y="1794"/>
                        </a:lnTo>
                        <a:lnTo>
                          <a:pt x="3698" y="1798"/>
                        </a:lnTo>
                        <a:lnTo>
                          <a:pt x="3698" y="1798"/>
                        </a:lnTo>
                        <a:lnTo>
                          <a:pt x="3702" y="1800"/>
                        </a:lnTo>
                        <a:lnTo>
                          <a:pt x="3702" y="1802"/>
                        </a:lnTo>
                        <a:lnTo>
                          <a:pt x="3700" y="1806"/>
                        </a:lnTo>
                        <a:lnTo>
                          <a:pt x="3700" y="1814"/>
                        </a:lnTo>
                        <a:lnTo>
                          <a:pt x="3700" y="1814"/>
                        </a:lnTo>
                        <a:lnTo>
                          <a:pt x="3700" y="1820"/>
                        </a:lnTo>
                        <a:lnTo>
                          <a:pt x="3696" y="1822"/>
                        </a:lnTo>
                        <a:lnTo>
                          <a:pt x="3690" y="1826"/>
                        </a:lnTo>
                        <a:lnTo>
                          <a:pt x="3684" y="1830"/>
                        </a:lnTo>
                        <a:lnTo>
                          <a:pt x="3684" y="1830"/>
                        </a:lnTo>
                        <a:lnTo>
                          <a:pt x="3680" y="1834"/>
                        </a:lnTo>
                        <a:lnTo>
                          <a:pt x="3676" y="1836"/>
                        </a:lnTo>
                        <a:lnTo>
                          <a:pt x="3662" y="1838"/>
                        </a:lnTo>
                        <a:lnTo>
                          <a:pt x="3648" y="1838"/>
                        </a:lnTo>
                        <a:lnTo>
                          <a:pt x="3638" y="1834"/>
                        </a:lnTo>
                        <a:lnTo>
                          <a:pt x="3638" y="1834"/>
                        </a:lnTo>
                        <a:lnTo>
                          <a:pt x="3628" y="1832"/>
                        </a:lnTo>
                        <a:lnTo>
                          <a:pt x="3616" y="1830"/>
                        </a:lnTo>
                        <a:lnTo>
                          <a:pt x="3604" y="1832"/>
                        </a:lnTo>
                        <a:lnTo>
                          <a:pt x="3594" y="1834"/>
                        </a:lnTo>
                        <a:lnTo>
                          <a:pt x="3594" y="1834"/>
                        </a:lnTo>
                        <a:lnTo>
                          <a:pt x="3588" y="1838"/>
                        </a:lnTo>
                        <a:lnTo>
                          <a:pt x="3582" y="1840"/>
                        </a:lnTo>
                        <a:lnTo>
                          <a:pt x="3574" y="1842"/>
                        </a:lnTo>
                        <a:lnTo>
                          <a:pt x="3574" y="1842"/>
                        </a:lnTo>
                        <a:lnTo>
                          <a:pt x="3568" y="1842"/>
                        </a:lnTo>
                        <a:lnTo>
                          <a:pt x="3562" y="1842"/>
                        </a:lnTo>
                        <a:lnTo>
                          <a:pt x="3560" y="1840"/>
                        </a:lnTo>
                        <a:lnTo>
                          <a:pt x="3558" y="1838"/>
                        </a:lnTo>
                        <a:lnTo>
                          <a:pt x="3558" y="1834"/>
                        </a:lnTo>
                        <a:lnTo>
                          <a:pt x="3560" y="1828"/>
                        </a:lnTo>
                        <a:lnTo>
                          <a:pt x="3560" y="1828"/>
                        </a:lnTo>
                        <a:lnTo>
                          <a:pt x="3564" y="1820"/>
                        </a:lnTo>
                        <a:lnTo>
                          <a:pt x="3570" y="1818"/>
                        </a:lnTo>
                        <a:lnTo>
                          <a:pt x="3574" y="1816"/>
                        </a:lnTo>
                        <a:lnTo>
                          <a:pt x="3578" y="1812"/>
                        </a:lnTo>
                        <a:lnTo>
                          <a:pt x="3578" y="1812"/>
                        </a:lnTo>
                        <a:close/>
                        <a:moveTo>
                          <a:pt x="3092" y="1606"/>
                        </a:moveTo>
                        <a:lnTo>
                          <a:pt x="3092" y="1606"/>
                        </a:lnTo>
                        <a:lnTo>
                          <a:pt x="3104" y="1594"/>
                        </a:lnTo>
                        <a:lnTo>
                          <a:pt x="3118" y="1586"/>
                        </a:lnTo>
                        <a:lnTo>
                          <a:pt x="3158" y="1566"/>
                        </a:lnTo>
                        <a:lnTo>
                          <a:pt x="3158" y="1566"/>
                        </a:lnTo>
                        <a:lnTo>
                          <a:pt x="3164" y="1564"/>
                        </a:lnTo>
                        <a:lnTo>
                          <a:pt x="3164" y="1564"/>
                        </a:lnTo>
                        <a:lnTo>
                          <a:pt x="3168" y="1560"/>
                        </a:lnTo>
                        <a:lnTo>
                          <a:pt x="3172" y="1556"/>
                        </a:lnTo>
                        <a:lnTo>
                          <a:pt x="3176" y="1544"/>
                        </a:lnTo>
                        <a:lnTo>
                          <a:pt x="3176" y="1544"/>
                        </a:lnTo>
                        <a:lnTo>
                          <a:pt x="3180" y="1538"/>
                        </a:lnTo>
                        <a:lnTo>
                          <a:pt x="3184" y="1534"/>
                        </a:lnTo>
                        <a:lnTo>
                          <a:pt x="3188" y="1534"/>
                        </a:lnTo>
                        <a:lnTo>
                          <a:pt x="3190" y="1536"/>
                        </a:lnTo>
                        <a:lnTo>
                          <a:pt x="3190" y="1538"/>
                        </a:lnTo>
                        <a:lnTo>
                          <a:pt x="3190" y="1542"/>
                        </a:lnTo>
                        <a:lnTo>
                          <a:pt x="3190" y="1542"/>
                        </a:lnTo>
                        <a:lnTo>
                          <a:pt x="3188" y="1548"/>
                        </a:lnTo>
                        <a:lnTo>
                          <a:pt x="3192" y="1544"/>
                        </a:lnTo>
                        <a:lnTo>
                          <a:pt x="3196" y="1536"/>
                        </a:lnTo>
                        <a:lnTo>
                          <a:pt x="3200" y="1524"/>
                        </a:lnTo>
                        <a:lnTo>
                          <a:pt x="3200" y="1524"/>
                        </a:lnTo>
                        <a:lnTo>
                          <a:pt x="3204" y="1516"/>
                        </a:lnTo>
                        <a:lnTo>
                          <a:pt x="3206" y="1516"/>
                        </a:lnTo>
                        <a:lnTo>
                          <a:pt x="3208" y="1516"/>
                        </a:lnTo>
                        <a:lnTo>
                          <a:pt x="3208" y="1522"/>
                        </a:lnTo>
                        <a:lnTo>
                          <a:pt x="3206" y="1532"/>
                        </a:lnTo>
                        <a:lnTo>
                          <a:pt x="3206" y="1532"/>
                        </a:lnTo>
                        <a:lnTo>
                          <a:pt x="3204" y="1538"/>
                        </a:lnTo>
                        <a:lnTo>
                          <a:pt x="3204" y="1540"/>
                        </a:lnTo>
                        <a:lnTo>
                          <a:pt x="3204" y="1540"/>
                        </a:lnTo>
                        <a:lnTo>
                          <a:pt x="3216" y="1532"/>
                        </a:lnTo>
                        <a:lnTo>
                          <a:pt x="3216" y="1532"/>
                        </a:lnTo>
                        <a:lnTo>
                          <a:pt x="3218" y="1530"/>
                        </a:lnTo>
                        <a:lnTo>
                          <a:pt x="3220" y="1526"/>
                        </a:lnTo>
                        <a:lnTo>
                          <a:pt x="3218" y="1520"/>
                        </a:lnTo>
                        <a:lnTo>
                          <a:pt x="3216" y="1514"/>
                        </a:lnTo>
                        <a:lnTo>
                          <a:pt x="3216" y="1512"/>
                        </a:lnTo>
                        <a:lnTo>
                          <a:pt x="3216" y="1510"/>
                        </a:lnTo>
                        <a:lnTo>
                          <a:pt x="3216" y="1510"/>
                        </a:lnTo>
                        <a:lnTo>
                          <a:pt x="3220" y="1508"/>
                        </a:lnTo>
                        <a:lnTo>
                          <a:pt x="3224" y="1510"/>
                        </a:lnTo>
                        <a:lnTo>
                          <a:pt x="3236" y="1514"/>
                        </a:lnTo>
                        <a:lnTo>
                          <a:pt x="3248" y="1520"/>
                        </a:lnTo>
                        <a:lnTo>
                          <a:pt x="3254" y="1522"/>
                        </a:lnTo>
                        <a:lnTo>
                          <a:pt x="3260" y="1522"/>
                        </a:lnTo>
                        <a:lnTo>
                          <a:pt x="3260" y="1522"/>
                        </a:lnTo>
                        <a:lnTo>
                          <a:pt x="3268" y="1522"/>
                        </a:lnTo>
                        <a:lnTo>
                          <a:pt x="3272" y="1522"/>
                        </a:lnTo>
                        <a:lnTo>
                          <a:pt x="3276" y="1522"/>
                        </a:lnTo>
                        <a:lnTo>
                          <a:pt x="3284" y="1522"/>
                        </a:lnTo>
                        <a:lnTo>
                          <a:pt x="3284" y="1522"/>
                        </a:lnTo>
                        <a:lnTo>
                          <a:pt x="3288" y="1524"/>
                        </a:lnTo>
                        <a:lnTo>
                          <a:pt x="3292" y="1528"/>
                        </a:lnTo>
                        <a:lnTo>
                          <a:pt x="3296" y="1542"/>
                        </a:lnTo>
                        <a:lnTo>
                          <a:pt x="3298" y="1550"/>
                        </a:lnTo>
                        <a:lnTo>
                          <a:pt x="3302" y="1558"/>
                        </a:lnTo>
                        <a:lnTo>
                          <a:pt x="3308" y="1566"/>
                        </a:lnTo>
                        <a:lnTo>
                          <a:pt x="3314" y="1570"/>
                        </a:lnTo>
                        <a:lnTo>
                          <a:pt x="3314" y="1570"/>
                        </a:lnTo>
                        <a:lnTo>
                          <a:pt x="3320" y="1572"/>
                        </a:lnTo>
                        <a:lnTo>
                          <a:pt x="3328" y="1572"/>
                        </a:lnTo>
                        <a:lnTo>
                          <a:pt x="3340" y="1570"/>
                        </a:lnTo>
                        <a:lnTo>
                          <a:pt x="3344" y="1570"/>
                        </a:lnTo>
                        <a:lnTo>
                          <a:pt x="3348" y="1570"/>
                        </a:lnTo>
                        <a:lnTo>
                          <a:pt x="3348" y="1574"/>
                        </a:lnTo>
                        <a:lnTo>
                          <a:pt x="3346" y="1580"/>
                        </a:lnTo>
                        <a:lnTo>
                          <a:pt x="3346" y="1580"/>
                        </a:lnTo>
                        <a:lnTo>
                          <a:pt x="3344" y="1588"/>
                        </a:lnTo>
                        <a:lnTo>
                          <a:pt x="3346" y="1594"/>
                        </a:lnTo>
                        <a:lnTo>
                          <a:pt x="3358" y="1604"/>
                        </a:lnTo>
                        <a:lnTo>
                          <a:pt x="3358" y="1604"/>
                        </a:lnTo>
                        <a:lnTo>
                          <a:pt x="3360" y="1606"/>
                        </a:lnTo>
                        <a:lnTo>
                          <a:pt x="3360" y="1610"/>
                        </a:lnTo>
                        <a:lnTo>
                          <a:pt x="3358" y="1618"/>
                        </a:lnTo>
                        <a:lnTo>
                          <a:pt x="3354" y="1624"/>
                        </a:lnTo>
                        <a:lnTo>
                          <a:pt x="3354" y="1626"/>
                        </a:lnTo>
                        <a:lnTo>
                          <a:pt x="3356" y="1630"/>
                        </a:lnTo>
                        <a:lnTo>
                          <a:pt x="3356" y="1630"/>
                        </a:lnTo>
                        <a:lnTo>
                          <a:pt x="3362" y="1630"/>
                        </a:lnTo>
                        <a:lnTo>
                          <a:pt x="3364" y="1630"/>
                        </a:lnTo>
                        <a:lnTo>
                          <a:pt x="3366" y="1630"/>
                        </a:lnTo>
                        <a:lnTo>
                          <a:pt x="3368" y="1632"/>
                        </a:lnTo>
                        <a:lnTo>
                          <a:pt x="3368" y="1632"/>
                        </a:lnTo>
                        <a:lnTo>
                          <a:pt x="3370" y="1634"/>
                        </a:lnTo>
                        <a:lnTo>
                          <a:pt x="3368" y="1636"/>
                        </a:lnTo>
                        <a:lnTo>
                          <a:pt x="3364" y="1640"/>
                        </a:lnTo>
                        <a:lnTo>
                          <a:pt x="3362" y="1642"/>
                        </a:lnTo>
                        <a:lnTo>
                          <a:pt x="3362" y="1648"/>
                        </a:lnTo>
                        <a:lnTo>
                          <a:pt x="3362" y="1648"/>
                        </a:lnTo>
                        <a:lnTo>
                          <a:pt x="3362" y="1652"/>
                        </a:lnTo>
                        <a:lnTo>
                          <a:pt x="3364" y="1654"/>
                        </a:lnTo>
                        <a:lnTo>
                          <a:pt x="3372" y="1652"/>
                        </a:lnTo>
                        <a:lnTo>
                          <a:pt x="3380" y="1652"/>
                        </a:lnTo>
                        <a:lnTo>
                          <a:pt x="3382" y="1652"/>
                        </a:lnTo>
                        <a:lnTo>
                          <a:pt x="3382" y="1656"/>
                        </a:lnTo>
                        <a:lnTo>
                          <a:pt x="3382" y="1656"/>
                        </a:lnTo>
                        <a:lnTo>
                          <a:pt x="3382" y="1662"/>
                        </a:lnTo>
                        <a:lnTo>
                          <a:pt x="3386" y="1664"/>
                        </a:lnTo>
                        <a:lnTo>
                          <a:pt x="3392" y="1666"/>
                        </a:lnTo>
                        <a:lnTo>
                          <a:pt x="3402" y="1668"/>
                        </a:lnTo>
                        <a:lnTo>
                          <a:pt x="3402" y="1668"/>
                        </a:lnTo>
                        <a:lnTo>
                          <a:pt x="3416" y="1672"/>
                        </a:lnTo>
                        <a:lnTo>
                          <a:pt x="3430" y="1674"/>
                        </a:lnTo>
                        <a:lnTo>
                          <a:pt x="3446" y="1674"/>
                        </a:lnTo>
                        <a:lnTo>
                          <a:pt x="3460" y="1676"/>
                        </a:lnTo>
                        <a:lnTo>
                          <a:pt x="3460" y="1676"/>
                        </a:lnTo>
                        <a:lnTo>
                          <a:pt x="3470" y="1676"/>
                        </a:lnTo>
                        <a:lnTo>
                          <a:pt x="3478" y="1676"/>
                        </a:lnTo>
                        <a:lnTo>
                          <a:pt x="3484" y="1678"/>
                        </a:lnTo>
                        <a:lnTo>
                          <a:pt x="3484" y="1678"/>
                        </a:lnTo>
                        <a:lnTo>
                          <a:pt x="3484" y="1680"/>
                        </a:lnTo>
                        <a:lnTo>
                          <a:pt x="3484" y="1680"/>
                        </a:lnTo>
                        <a:lnTo>
                          <a:pt x="3484" y="1682"/>
                        </a:lnTo>
                        <a:lnTo>
                          <a:pt x="3484" y="1684"/>
                        </a:lnTo>
                        <a:lnTo>
                          <a:pt x="3490" y="1686"/>
                        </a:lnTo>
                        <a:lnTo>
                          <a:pt x="3508" y="1686"/>
                        </a:lnTo>
                        <a:lnTo>
                          <a:pt x="3508" y="1686"/>
                        </a:lnTo>
                        <a:lnTo>
                          <a:pt x="3514" y="1688"/>
                        </a:lnTo>
                        <a:lnTo>
                          <a:pt x="3518" y="1692"/>
                        </a:lnTo>
                        <a:lnTo>
                          <a:pt x="3526" y="1704"/>
                        </a:lnTo>
                        <a:lnTo>
                          <a:pt x="3532" y="1716"/>
                        </a:lnTo>
                        <a:lnTo>
                          <a:pt x="3534" y="1718"/>
                        </a:lnTo>
                        <a:lnTo>
                          <a:pt x="3536" y="1718"/>
                        </a:lnTo>
                        <a:lnTo>
                          <a:pt x="3536" y="1718"/>
                        </a:lnTo>
                        <a:lnTo>
                          <a:pt x="3540" y="1716"/>
                        </a:lnTo>
                        <a:lnTo>
                          <a:pt x="3542" y="1716"/>
                        </a:lnTo>
                        <a:lnTo>
                          <a:pt x="3544" y="1720"/>
                        </a:lnTo>
                        <a:lnTo>
                          <a:pt x="3544" y="1726"/>
                        </a:lnTo>
                        <a:lnTo>
                          <a:pt x="3544" y="1726"/>
                        </a:lnTo>
                        <a:lnTo>
                          <a:pt x="3544" y="1730"/>
                        </a:lnTo>
                        <a:lnTo>
                          <a:pt x="3546" y="1734"/>
                        </a:lnTo>
                        <a:lnTo>
                          <a:pt x="3552" y="1742"/>
                        </a:lnTo>
                        <a:lnTo>
                          <a:pt x="3556" y="1748"/>
                        </a:lnTo>
                        <a:lnTo>
                          <a:pt x="3560" y="1756"/>
                        </a:lnTo>
                        <a:lnTo>
                          <a:pt x="3560" y="1756"/>
                        </a:lnTo>
                        <a:lnTo>
                          <a:pt x="3558" y="1758"/>
                        </a:lnTo>
                        <a:lnTo>
                          <a:pt x="3558" y="1758"/>
                        </a:lnTo>
                        <a:lnTo>
                          <a:pt x="3554" y="1754"/>
                        </a:lnTo>
                        <a:lnTo>
                          <a:pt x="3548" y="1750"/>
                        </a:lnTo>
                        <a:lnTo>
                          <a:pt x="3546" y="1750"/>
                        </a:lnTo>
                        <a:lnTo>
                          <a:pt x="3544" y="1750"/>
                        </a:lnTo>
                        <a:lnTo>
                          <a:pt x="3544" y="1750"/>
                        </a:lnTo>
                        <a:lnTo>
                          <a:pt x="3542" y="1752"/>
                        </a:lnTo>
                        <a:lnTo>
                          <a:pt x="3542" y="1754"/>
                        </a:lnTo>
                        <a:lnTo>
                          <a:pt x="3546" y="1760"/>
                        </a:lnTo>
                        <a:lnTo>
                          <a:pt x="3548" y="1766"/>
                        </a:lnTo>
                        <a:lnTo>
                          <a:pt x="3546" y="1768"/>
                        </a:lnTo>
                        <a:lnTo>
                          <a:pt x="3544" y="1770"/>
                        </a:lnTo>
                        <a:lnTo>
                          <a:pt x="3544" y="1770"/>
                        </a:lnTo>
                        <a:lnTo>
                          <a:pt x="3542" y="1772"/>
                        </a:lnTo>
                        <a:lnTo>
                          <a:pt x="3538" y="1770"/>
                        </a:lnTo>
                        <a:lnTo>
                          <a:pt x="3530" y="1764"/>
                        </a:lnTo>
                        <a:lnTo>
                          <a:pt x="3520" y="1760"/>
                        </a:lnTo>
                        <a:lnTo>
                          <a:pt x="3516" y="1758"/>
                        </a:lnTo>
                        <a:lnTo>
                          <a:pt x="3512" y="1760"/>
                        </a:lnTo>
                        <a:lnTo>
                          <a:pt x="3512" y="1760"/>
                        </a:lnTo>
                        <a:lnTo>
                          <a:pt x="3508" y="1762"/>
                        </a:lnTo>
                        <a:lnTo>
                          <a:pt x="3508" y="1758"/>
                        </a:lnTo>
                        <a:lnTo>
                          <a:pt x="3508" y="1754"/>
                        </a:lnTo>
                        <a:lnTo>
                          <a:pt x="3508" y="1754"/>
                        </a:lnTo>
                        <a:lnTo>
                          <a:pt x="3504" y="1754"/>
                        </a:lnTo>
                        <a:lnTo>
                          <a:pt x="3504" y="1754"/>
                        </a:lnTo>
                        <a:lnTo>
                          <a:pt x="3502" y="1754"/>
                        </a:lnTo>
                        <a:lnTo>
                          <a:pt x="3502" y="1754"/>
                        </a:lnTo>
                        <a:lnTo>
                          <a:pt x="3504" y="1750"/>
                        </a:lnTo>
                        <a:lnTo>
                          <a:pt x="3506" y="1746"/>
                        </a:lnTo>
                        <a:lnTo>
                          <a:pt x="3504" y="1744"/>
                        </a:lnTo>
                        <a:lnTo>
                          <a:pt x="3502" y="1742"/>
                        </a:lnTo>
                        <a:lnTo>
                          <a:pt x="3502" y="1742"/>
                        </a:lnTo>
                        <a:lnTo>
                          <a:pt x="3498" y="1742"/>
                        </a:lnTo>
                        <a:lnTo>
                          <a:pt x="3496" y="1740"/>
                        </a:lnTo>
                        <a:lnTo>
                          <a:pt x="3494" y="1734"/>
                        </a:lnTo>
                        <a:lnTo>
                          <a:pt x="3494" y="1728"/>
                        </a:lnTo>
                        <a:lnTo>
                          <a:pt x="3492" y="1728"/>
                        </a:lnTo>
                        <a:lnTo>
                          <a:pt x="3490" y="1726"/>
                        </a:lnTo>
                        <a:lnTo>
                          <a:pt x="3490" y="1726"/>
                        </a:lnTo>
                        <a:lnTo>
                          <a:pt x="3486" y="1726"/>
                        </a:lnTo>
                        <a:lnTo>
                          <a:pt x="3482" y="1726"/>
                        </a:lnTo>
                        <a:lnTo>
                          <a:pt x="3480" y="1724"/>
                        </a:lnTo>
                        <a:lnTo>
                          <a:pt x="3478" y="1726"/>
                        </a:lnTo>
                        <a:lnTo>
                          <a:pt x="3478" y="1726"/>
                        </a:lnTo>
                        <a:lnTo>
                          <a:pt x="3480" y="1730"/>
                        </a:lnTo>
                        <a:lnTo>
                          <a:pt x="3484" y="1736"/>
                        </a:lnTo>
                        <a:lnTo>
                          <a:pt x="3490" y="1744"/>
                        </a:lnTo>
                        <a:lnTo>
                          <a:pt x="3496" y="1756"/>
                        </a:lnTo>
                        <a:lnTo>
                          <a:pt x="3496" y="1756"/>
                        </a:lnTo>
                        <a:lnTo>
                          <a:pt x="3496" y="1762"/>
                        </a:lnTo>
                        <a:lnTo>
                          <a:pt x="3494" y="1766"/>
                        </a:lnTo>
                        <a:lnTo>
                          <a:pt x="3486" y="1776"/>
                        </a:lnTo>
                        <a:lnTo>
                          <a:pt x="3482" y="1782"/>
                        </a:lnTo>
                        <a:lnTo>
                          <a:pt x="3480" y="1788"/>
                        </a:lnTo>
                        <a:lnTo>
                          <a:pt x="3476" y="1796"/>
                        </a:lnTo>
                        <a:lnTo>
                          <a:pt x="3476" y="1806"/>
                        </a:lnTo>
                        <a:lnTo>
                          <a:pt x="3476" y="1806"/>
                        </a:lnTo>
                        <a:lnTo>
                          <a:pt x="3476" y="1826"/>
                        </a:lnTo>
                        <a:lnTo>
                          <a:pt x="3476" y="1832"/>
                        </a:lnTo>
                        <a:lnTo>
                          <a:pt x="3472" y="1838"/>
                        </a:lnTo>
                        <a:lnTo>
                          <a:pt x="3468" y="1842"/>
                        </a:lnTo>
                        <a:lnTo>
                          <a:pt x="3464" y="1844"/>
                        </a:lnTo>
                        <a:lnTo>
                          <a:pt x="3448" y="1852"/>
                        </a:lnTo>
                        <a:lnTo>
                          <a:pt x="3448" y="1852"/>
                        </a:lnTo>
                        <a:lnTo>
                          <a:pt x="3446" y="1846"/>
                        </a:lnTo>
                        <a:lnTo>
                          <a:pt x="3444" y="1838"/>
                        </a:lnTo>
                        <a:lnTo>
                          <a:pt x="3440" y="1818"/>
                        </a:lnTo>
                        <a:lnTo>
                          <a:pt x="3438" y="1808"/>
                        </a:lnTo>
                        <a:lnTo>
                          <a:pt x="3434" y="1802"/>
                        </a:lnTo>
                        <a:lnTo>
                          <a:pt x="3428" y="1796"/>
                        </a:lnTo>
                        <a:lnTo>
                          <a:pt x="3424" y="1796"/>
                        </a:lnTo>
                        <a:lnTo>
                          <a:pt x="3424" y="1796"/>
                        </a:lnTo>
                        <a:lnTo>
                          <a:pt x="3418" y="1798"/>
                        </a:lnTo>
                        <a:lnTo>
                          <a:pt x="3414" y="1800"/>
                        </a:lnTo>
                        <a:lnTo>
                          <a:pt x="3408" y="1808"/>
                        </a:lnTo>
                        <a:lnTo>
                          <a:pt x="3404" y="1816"/>
                        </a:lnTo>
                        <a:lnTo>
                          <a:pt x="3400" y="1818"/>
                        </a:lnTo>
                        <a:lnTo>
                          <a:pt x="3398" y="1820"/>
                        </a:lnTo>
                        <a:lnTo>
                          <a:pt x="3398" y="1820"/>
                        </a:lnTo>
                        <a:lnTo>
                          <a:pt x="3394" y="1818"/>
                        </a:lnTo>
                        <a:lnTo>
                          <a:pt x="3392" y="1816"/>
                        </a:lnTo>
                        <a:lnTo>
                          <a:pt x="3388" y="1810"/>
                        </a:lnTo>
                        <a:lnTo>
                          <a:pt x="3390" y="1802"/>
                        </a:lnTo>
                        <a:lnTo>
                          <a:pt x="3392" y="1798"/>
                        </a:lnTo>
                        <a:lnTo>
                          <a:pt x="3394" y="1796"/>
                        </a:lnTo>
                        <a:lnTo>
                          <a:pt x="3394" y="1796"/>
                        </a:lnTo>
                        <a:lnTo>
                          <a:pt x="3400" y="1790"/>
                        </a:lnTo>
                        <a:lnTo>
                          <a:pt x="3406" y="1784"/>
                        </a:lnTo>
                        <a:lnTo>
                          <a:pt x="3410" y="1776"/>
                        </a:lnTo>
                        <a:lnTo>
                          <a:pt x="3412" y="1764"/>
                        </a:lnTo>
                        <a:lnTo>
                          <a:pt x="3412" y="1764"/>
                        </a:lnTo>
                        <a:lnTo>
                          <a:pt x="3412" y="1758"/>
                        </a:lnTo>
                        <a:lnTo>
                          <a:pt x="3412" y="1754"/>
                        </a:lnTo>
                        <a:lnTo>
                          <a:pt x="3410" y="1746"/>
                        </a:lnTo>
                        <a:lnTo>
                          <a:pt x="3408" y="1740"/>
                        </a:lnTo>
                        <a:lnTo>
                          <a:pt x="3408" y="1738"/>
                        </a:lnTo>
                        <a:lnTo>
                          <a:pt x="3410" y="1738"/>
                        </a:lnTo>
                        <a:lnTo>
                          <a:pt x="3410" y="1738"/>
                        </a:lnTo>
                        <a:lnTo>
                          <a:pt x="3414" y="1736"/>
                        </a:lnTo>
                        <a:lnTo>
                          <a:pt x="3414" y="1734"/>
                        </a:lnTo>
                        <a:lnTo>
                          <a:pt x="3410" y="1728"/>
                        </a:lnTo>
                        <a:lnTo>
                          <a:pt x="3402" y="1722"/>
                        </a:lnTo>
                        <a:lnTo>
                          <a:pt x="3392" y="1716"/>
                        </a:lnTo>
                        <a:lnTo>
                          <a:pt x="3392" y="1716"/>
                        </a:lnTo>
                        <a:lnTo>
                          <a:pt x="3382" y="1712"/>
                        </a:lnTo>
                        <a:lnTo>
                          <a:pt x="3380" y="1708"/>
                        </a:lnTo>
                        <a:lnTo>
                          <a:pt x="3378" y="1706"/>
                        </a:lnTo>
                        <a:lnTo>
                          <a:pt x="3372" y="1704"/>
                        </a:lnTo>
                        <a:lnTo>
                          <a:pt x="3372" y="1704"/>
                        </a:lnTo>
                        <a:lnTo>
                          <a:pt x="3366" y="1702"/>
                        </a:lnTo>
                        <a:lnTo>
                          <a:pt x="3362" y="1698"/>
                        </a:lnTo>
                        <a:lnTo>
                          <a:pt x="3358" y="1696"/>
                        </a:lnTo>
                        <a:lnTo>
                          <a:pt x="3356" y="1696"/>
                        </a:lnTo>
                        <a:lnTo>
                          <a:pt x="3352" y="1698"/>
                        </a:lnTo>
                        <a:lnTo>
                          <a:pt x="3346" y="1702"/>
                        </a:lnTo>
                        <a:lnTo>
                          <a:pt x="3346" y="1702"/>
                        </a:lnTo>
                        <a:lnTo>
                          <a:pt x="3342" y="1706"/>
                        </a:lnTo>
                        <a:lnTo>
                          <a:pt x="3340" y="1710"/>
                        </a:lnTo>
                        <a:lnTo>
                          <a:pt x="3342" y="1712"/>
                        </a:lnTo>
                        <a:lnTo>
                          <a:pt x="3344" y="1714"/>
                        </a:lnTo>
                        <a:lnTo>
                          <a:pt x="3346" y="1718"/>
                        </a:lnTo>
                        <a:lnTo>
                          <a:pt x="3340" y="1720"/>
                        </a:lnTo>
                        <a:lnTo>
                          <a:pt x="3340" y="1720"/>
                        </a:lnTo>
                        <a:lnTo>
                          <a:pt x="3334" y="1722"/>
                        </a:lnTo>
                        <a:lnTo>
                          <a:pt x="3330" y="1726"/>
                        </a:lnTo>
                        <a:lnTo>
                          <a:pt x="3328" y="1732"/>
                        </a:lnTo>
                        <a:lnTo>
                          <a:pt x="3328" y="1738"/>
                        </a:lnTo>
                        <a:lnTo>
                          <a:pt x="3326" y="1748"/>
                        </a:lnTo>
                        <a:lnTo>
                          <a:pt x="3324" y="1752"/>
                        </a:lnTo>
                        <a:lnTo>
                          <a:pt x="3322" y="1752"/>
                        </a:lnTo>
                        <a:lnTo>
                          <a:pt x="3322" y="1752"/>
                        </a:lnTo>
                        <a:lnTo>
                          <a:pt x="3320" y="1752"/>
                        </a:lnTo>
                        <a:lnTo>
                          <a:pt x="3318" y="1748"/>
                        </a:lnTo>
                        <a:lnTo>
                          <a:pt x="3318" y="1738"/>
                        </a:lnTo>
                        <a:lnTo>
                          <a:pt x="3318" y="1734"/>
                        </a:lnTo>
                        <a:lnTo>
                          <a:pt x="3316" y="1734"/>
                        </a:lnTo>
                        <a:lnTo>
                          <a:pt x="3314" y="1736"/>
                        </a:lnTo>
                        <a:lnTo>
                          <a:pt x="3308" y="1744"/>
                        </a:lnTo>
                        <a:lnTo>
                          <a:pt x="3308" y="1744"/>
                        </a:lnTo>
                        <a:lnTo>
                          <a:pt x="3300" y="1752"/>
                        </a:lnTo>
                        <a:lnTo>
                          <a:pt x="3296" y="1754"/>
                        </a:lnTo>
                        <a:lnTo>
                          <a:pt x="3294" y="1756"/>
                        </a:lnTo>
                        <a:lnTo>
                          <a:pt x="3294" y="1766"/>
                        </a:lnTo>
                        <a:lnTo>
                          <a:pt x="3294" y="1766"/>
                        </a:lnTo>
                        <a:lnTo>
                          <a:pt x="3296" y="1772"/>
                        </a:lnTo>
                        <a:lnTo>
                          <a:pt x="3294" y="1778"/>
                        </a:lnTo>
                        <a:lnTo>
                          <a:pt x="3290" y="1786"/>
                        </a:lnTo>
                        <a:lnTo>
                          <a:pt x="3286" y="1792"/>
                        </a:lnTo>
                        <a:lnTo>
                          <a:pt x="3286" y="1796"/>
                        </a:lnTo>
                        <a:lnTo>
                          <a:pt x="3286" y="1800"/>
                        </a:lnTo>
                        <a:lnTo>
                          <a:pt x="3286" y="1800"/>
                        </a:lnTo>
                        <a:lnTo>
                          <a:pt x="3288" y="1808"/>
                        </a:lnTo>
                        <a:lnTo>
                          <a:pt x="3286" y="1812"/>
                        </a:lnTo>
                        <a:lnTo>
                          <a:pt x="3284" y="1818"/>
                        </a:lnTo>
                        <a:lnTo>
                          <a:pt x="3286" y="1828"/>
                        </a:lnTo>
                        <a:lnTo>
                          <a:pt x="3286" y="1828"/>
                        </a:lnTo>
                        <a:lnTo>
                          <a:pt x="3292" y="1840"/>
                        </a:lnTo>
                        <a:lnTo>
                          <a:pt x="3294" y="1852"/>
                        </a:lnTo>
                        <a:lnTo>
                          <a:pt x="3296" y="1862"/>
                        </a:lnTo>
                        <a:lnTo>
                          <a:pt x="3294" y="1872"/>
                        </a:lnTo>
                        <a:lnTo>
                          <a:pt x="3294" y="1880"/>
                        </a:lnTo>
                        <a:lnTo>
                          <a:pt x="3290" y="1890"/>
                        </a:lnTo>
                        <a:lnTo>
                          <a:pt x="3282" y="1908"/>
                        </a:lnTo>
                        <a:lnTo>
                          <a:pt x="3282" y="1908"/>
                        </a:lnTo>
                        <a:lnTo>
                          <a:pt x="3276" y="1916"/>
                        </a:lnTo>
                        <a:lnTo>
                          <a:pt x="3270" y="1922"/>
                        </a:lnTo>
                        <a:lnTo>
                          <a:pt x="3264" y="1928"/>
                        </a:lnTo>
                        <a:lnTo>
                          <a:pt x="3258" y="1930"/>
                        </a:lnTo>
                        <a:lnTo>
                          <a:pt x="3252" y="1930"/>
                        </a:lnTo>
                        <a:lnTo>
                          <a:pt x="3246" y="1926"/>
                        </a:lnTo>
                        <a:lnTo>
                          <a:pt x="3242" y="1922"/>
                        </a:lnTo>
                        <a:lnTo>
                          <a:pt x="3236" y="1914"/>
                        </a:lnTo>
                        <a:lnTo>
                          <a:pt x="3236" y="1914"/>
                        </a:lnTo>
                        <a:lnTo>
                          <a:pt x="3232" y="1904"/>
                        </a:lnTo>
                        <a:lnTo>
                          <a:pt x="3230" y="1898"/>
                        </a:lnTo>
                        <a:lnTo>
                          <a:pt x="3230" y="1884"/>
                        </a:lnTo>
                        <a:lnTo>
                          <a:pt x="3230" y="1872"/>
                        </a:lnTo>
                        <a:lnTo>
                          <a:pt x="3230" y="1864"/>
                        </a:lnTo>
                        <a:lnTo>
                          <a:pt x="3230" y="1856"/>
                        </a:lnTo>
                        <a:lnTo>
                          <a:pt x="3230" y="1856"/>
                        </a:lnTo>
                        <a:lnTo>
                          <a:pt x="3228" y="1842"/>
                        </a:lnTo>
                        <a:lnTo>
                          <a:pt x="3228" y="1834"/>
                        </a:lnTo>
                        <a:lnTo>
                          <a:pt x="3232" y="1824"/>
                        </a:lnTo>
                        <a:lnTo>
                          <a:pt x="3234" y="1810"/>
                        </a:lnTo>
                        <a:lnTo>
                          <a:pt x="3234" y="1810"/>
                        </a:lnTo>
                        <a:lnTo>
                          <a:pt x="3234" y="1802"/>
                        </a:lnTo>
                        <a:lnTo>
                          <a:pt x="3236" y="1796"/>
                        </a:lnTo>
                        <a:lnTo>
                          <a:pt x="3238" y="1792"/>
                        </a:lnTo>
                        <a:lnTo>
                          <a:pt x="3240" y="1792"/>
                        </a:lnTo>
                        <a:lnTo>
                          <a:pt x="3242" y="1790"/>
                        </a:lnTo>
                        <a:lnTo>
                          <a:pt x="3242" y="1784"/>
                        </a:lnTo>
                        <a:lnTo>
                          <a:pt x="3242" y="1784"/>
                        </a:lnTo>
                        <a:lnTo>
                          <a:pt x="3240" y="1780"/>
                        </a:lnTo>
                        <a:lnTo>
                          <a:pt x="3242" y="1776"/>
                        </a:lnTo>
                        <a:lnTo>
                          <a:pt x="3246" y="1764"/>
                        </a:lnTo>
                        <a:lnTo>
                          <a:pt x="3248" y="1754"/>
                        </a:lnTo>
                        <a:lnTo>
                          <a:pt x="3248" y="1752"/>
                        </a:lnTo>
                        <a:lnTo>
                          <a:pt x="3246" y="1748"/>
                        </a:lnTo>
                        <a:lnTo>
                          <a:pt x="3246" y="1748"/>
                        </a:lnTo>
                        <a:lnTo>
                          <a:pt x="3240" y="1748"/>
                        </a:lnTo>
                        <a:lnTo>
                          <a:pt x="3238" y="1752"/>
                        </a:lnTo>
                        <a:lnTo>
                          <a:pt x="3234" y="1758"/>
                        </a:lnTo>
                        <a:lnTo>
                          <a:pt x="3228" y="1764"/>
                        </a:lnTo>
                        <a:lnTo>
                          <a:pt x="3228" y="1764"/>
                        </a:lnTo>
                        <a:lnTo>
                          <a:pt x="3226" y="1766"/>
                        </a:lnTo>
                        <a:lnTo>
                          <a:pt x="3224" y="1766"/>
                        </a:lnTo>
                        <a:lnTo>
                          <a:pt x="3224" y="1758"/>
                        </a:lnTo>
                        <a:lnTo>
                          <a:pt x="3226" y="1750"/>
                        </a:lnTo>
                        <a:lnTo>
                          <a:pt x="3230" y="1746"/>
                        </a:lnTo>
                        <a:lnTo>
                          <a:pt x="3232" y="1742"/>
                        </a:lnTo>
                        <a:lnTo>
                          <a:pt x="3232" y="1742"/>
                        </a:lnTo>
                        <a:lnTo>
                          <a:pt x="3236" y="1740"/>
                        </a:lnTo>
                        <a:lnTo>
                          <a:pt x="3238" y="1736"/>
                        </a:lnTo>
                        <a:lnTo>
                          <a:pt x="3240" y="1732"/>
                        </a:lnTo>
                        <a:lnTo>
                          <a:pt x="3244" y="1726"/>
                        </a:lnTo>
                        <a:lnTo>
                          <a:pt x="3244" y="1726"/>
                        </a:lnTo>
                        <a:lnTo>
                          <a:pt x="3252" y="1714"/>
                        </a:lnTo>
                        <a:lnTo>
                          <a:pt x="3258" y="1700"/>
                        </a:lnTo>
                        <a:lnTo>
                          <a:pt x="3264" y="1692"/>
                        </a:lnTo>
                        <a:lnTo>
                          <a:pt x="3266" y="1690"/>
                        </a:lnTo>
                        <a:lnTo>
                          <a:pt x="3266" y="1692"/>
                        </a:lnTo>
                        <a:lnTo>
                          <a:pt x="3266" y="1692"/>
                        </a:lnTo>
                        <a:lnTo>
                          <a:pt x="3268" y="1696"/>
                        </a:lnTo>
                        <a:lnTo>
                          <a:pt x="3270" y="1696"/>
                        </a:lnTo>
                        <a:lnTo>
                          <a:pt x="3274" y="1694"/>
                        </a:lnTo>
                        <a:lnTo>
                          <a:pt x="3278" y="1692"/>
                        </a:lnTo>
                        <a:lnTo>
                          <a:pt x="3280" y="1692"/>
                        </a:lnTo>
                        <a:lnTo>
                          <a:pt x="3278" y="1698"/>
                        </a:lnTo>
                        <a:lnTo>
                          <a:pt x="3278" y="1698"/>
                        </a:lnTo>
                        <a:lnTo>
                          <a:pt x="3278" y="1702"/>
                        </a:lnTo>
                        <a:lnTo>
                          <a:pt x="3278" y="1702"/>
                        </a:lnTo>
                        <a:lnTo>
                          <a:pt x="3284" y="1696"/>
                        </a:lnTo>
                        <a:lnTo>
                          <a:pt x="3292" y="1688"/>
                        </a:lnTo>
                        <a:lnTo>
                          <a:pt x="3296" y="1686"/>
                        </a:lnTo>
                        <a:lnTo>
                          <a:pt x="3300" y="1684"/>
                        </a:lnTo>
                        <a:lnTo>
                          <a:pt x="3300" y="1684"/>
                        </a:lnTo>
                        <a:lnTo>
                          <a:pt x="3310" y="1684"/>
                        </a:lnTo>
                        <a:lnTo>
                          <a:pt x="3314" y="1684"/>
                        </a:lnTo>
                        <a:lnTo>
                          <a:pt x="3320" y="1678"/>
                        </a:lnTo>
                        <a:lnTo>
                          <a:pt x="3324" y="1676"/>
                        </a:lnTo>
                        <a:lnTo>
                          <a:pt x="3328" y="1678"/>
                        </a:lnTo>
                        <a:lnTo>
                          <a:pt x="3336" y="1680"/>
                        </a:lnTo>
                        <a:lnTo>
                          <a:pt x="3346" y="1686"/>
                        </a:lnTo>
                        <a:lnTo>
                          <a:pt x="3346" y="1686"/>
                        </a:lnTo>
                        <a:lnTo>
                          <a:pt x="3352" y="1690"/>
                        </a:lnTo>
                        <a:lnTo>
                          <a:pt x="3354" y="1690"/>
                        </a:lnTo>
                        <a:lnTo>
                          <a:pt x="3356" y="1688"/>
                        </a:lnTo>
                        <a:lnTo>
                          <a:pt x="3358" y="1686"/>
                        </a:lnTo>
                        <a:lnTo>
                          <a:pt x="3358" y="1682"/>
                        </a:lnTo>
                        <a:lnTo>
                          <a:pt x="3360" y="1680"/>
                        </a:lnTo>
                        <a:lnTo>
                          <a:pt x="3362" y="1680"/>
                        </a:lnTo>
                        <a:lnTo>
                          <a:pt x="3362" y="1680"/>
                        </a:lnTo>
                        <a:lnTo>
                          <a:pt x="3370" y="1684"/>
                        </a:lnTo>
                        <a:lnTo>
                          <a:pt x="3380" y="1686"/>
                        </a:lnTo>
                        <a:lnTo>
                          <a:pt x="3386" y="1684"/>
                        </a:lnTo>
                        <a:lnTo>
                          <a:pt x="3388" y="1682"/>
                        </a:lnTo>
                        <a:lnTo>
                          <a:pt x="3388" y="1678"/>
                        </a:lnTo>
                        <a:lnTo>
                          <a:pt x="3388" y="1678"/>
                        </a:lnTo>
                        <a:lnTo>
                          <a:pt x="3384" y="1674"/>
                        </a:lnTo>
                        <a:lnTo>
                          <a:pt x="3380" y="1672"/>
                        </a:lnTo>
                        <a:lnTo>
                          <a:pt x="3376" y="1670"/>
                        </a:lnTo>
                        <a:lnTo>
                          <a:pt x="3374" y="1662"/>
                        </a:lnTo>
                        <a:lnTo>
                          <a:pt x="3374" y="1662"/>
                        </a:lnTo>
                        <a:lnTo>
                          <a:pt x="3374" y="1658"/>
                        </a:lnTo>
                        <a:lnTo>
                          <a:pt x="3372" y="1658"/>
                        </a:lnTo>
                        <a:lnTo>
                          <a:pt x="3368" y="1658"/>
                        </a:lnTo>
                        <a:lnTo>
                          <a:pt x="3360" y="1658"/>
                        </a:lnTo>
                        <a:lnTo>
                          <a:pt x="3348" y="1654"/>
                        </a:lnTo>
                        <a:lnTo>
                          <a:pt x="3348" y="1654"/>
                        </a:lnTo>
                        <a:lnTo>
                          <a:pt x="3346" y="1652"/>
                        </a:lnTo>
                        <a:lnTo>
                          <a:pt x="3344" y="1650"/>
                        </a:lnTo>
                        <a:lnTo>
                          <a:pt x="3344" y="1644"/>
                        </a:lnTo>
                        <a:lnTo>
                          <a:pt x="3346" y="1638"/>
                        </a:lnTo>
                        <a:lnTo>
                          <a:pt x="3344" y="1638"/>
                        </a:lnTo>
                        <a:lnTo>
                          <a:pt x="3340" y="1640"/>
                        </a:lnTo>
                        <a:lnTo>
                          <a:pt x="3340" y="1640"/>
                        </a:lnTo>
                        <a:lnTo>
                          <a:pt x="3330" y="1642"/>
                        </a:lnTo>
                        <a:lnTo>
                          <a:pt x="3314" y="1644"/>
                        </a:lnTo>
                        <a:lnTo>
                          <a:pt x="3300" y="1646"/>
                        </a:lnTo>
                        <a:lnTo>
                          <a:pt x="3294" y="1648"/>
                        </a:lnTo>
                        <a:lnTo>
                          <a:pt x="3288" y="1652"/>
                        </a:lnTo>
                        <a:lnTo>
                          <a:pt x="3288" y="1652"/>
                        </a:lnTo>
                        <a:lnTo>
                          <a:pt x="3280" y="1656"/>
                        </a:lnTo>
                        <a:lnTo>
                          <a:pt x="3274" y="1656"/>
                        </a:lnTo>
                        <a:lnTo>
                          <a:pt x="3268" y="1656"/>
                        </a:lnTo>
                        <a:lnTo>
                          <a:pt x="3258" y="1654"/>
                        </a:lnTo>
                        <a:lnTo>
                          <a:pt x="3258" y="1654"/>
                        </a:lnTo>
                        <a:lnTo>
                          <a:pt x="3252" y="1654"/>
                        </a:lnTo>
                        <a:lnTo>
                          <a:pt x="3250" y="1652"/>
                        </a:lnTo>
                        <a:lnTo>
                          <a:pt x="3244" y="1646"/>
                        </a:lnTo>
                        <a:lnTo>
                          <a:pt x="3238" y="1636"/>
                        </a:lnTo>
                        <a:lnTo>
                          <a:pt x="3234" y="1632"/>
                        </a:lnTo>
                        <a:lnTo>
                          <a:pt x="3228" y="1630"/>
                        </a:lnTo>
                        <a:lnTo>
                          <a:pt x="3228" y="1630"/>
                        </a:lnTo>
                        <a:lnTo>
                          <a:pt x="3222" y="1628"/>
                        </a:lnTo>
                        <a:lnTo>
                          <a:pt x="3218" y="1628"/>
                        </a:lnTo>
                        <a:lnTo>
                          <a:pt x="3210" y="1632"/>
                        </a:lnTo>
                        <a:lnTo>
                          <a:pt x="3208" y="1634"/>
                        </a:lnTo>
                        <a:lnTo>
                          <a:pt x="3206" y="1634"/>
                        </a:lnTo>
                        <a:lnTo>
                          <a:pt x="3206" y="1632"/>
                        </a:lnTo>
                        <a:lnTo>
                          <a:pt x="3204" y="1628"/>
                        </a:lnTo>
                        <a:lnTo>
                          <a:pt x="3204" y="1628"/>
                        </a:lnTo>
                        <a:lnTo>
                          <a:pt x="3202" y="1618"/>
                        </a:lnTo>
                        <a:lnTo>
                          <a:pt x="3200" y="1616"/>
                        </a:lnTo>
                        <a:lnTo>
                          <a:pt x="3198" y="1614"/>
                        </a:lnTo>
                        <a:lnTo>
                          <a:pt x="3190" y="1618"/>
                        </a:lnTo>
                        <a:lnTo>
                          <a:pt x="3180" y="1628"/>
                        </a:lnTo>
                        <a:lnTo>
                          <a:pt x="3180" y="1628"/>
                        </a:lnTo>
                        <a:lnTo>
                          <a:pt x="3176" y="1632"/>
                        </a:lnTo>
                        <a:lnTo>
                          <a:pt x="3170" y="1634"/>
                        </a:lnTo>
                        <a:lnTo>
                          <a:pt x="3164" y="1636"/>
                        </a:lnTo>
                        <a:lnTo>
                          <a:pt x="3156" y="1636"/>
                        </a:lnTo>
                        <a:lnTo>
                          <a:pt x="3150" y="1638"/>
                        </a:lnTo>
                        <a:lnTo>
                          <a:pt x="3144" y="1642"/>
                        </a:lnTo>
                        <a:lnTo>
                          <a:pt x="3144" y="1642"/>
                        </a:lnTo>
                        <a:lnTo>
                          <a:pt x="3134" y="1648"/>
                        </a:lnTo>
                        <a:lnTo>
                          <a:pt x="3126" y="1650"/>
                        </a:lnTo>
                        <a:lnTo>
                          <a:pt x="3118" y="1648"/>
                        </a:lnTo>
                        <a:lnTo>
                          <a:pt x="3110" y="1648"/>
                        </a:lnTo>
                        <a:lnTo>
                          <a:pt x="3110" y="1648"/>
                        </a:lnTo>
                        <a:lnTo>
                          <a:pt x="3106" y="1650"/>
                        </a:lnTo>
                        <a:lnTo>
                          <a:pt x="3104" y="1648"/>
                        </a:lnTo>
                        <a:lnTo>
                          <a:pt x="3108" y="1640"/>
                        </a:lnTo>
                        <a:lnTo>
                          <a:pt x="3112" y="1632"/>
                        </a:lnTo>
                        <a:lnTo>
                          <a:pt x="3110" y="1630"/>
                        </a:lnTo>
                        <a:lnTo>
                          <a:pt x="3108" y="1628"/>
                        </a:lnTo>
                        <a:lnTo>
                          <a:pt x="3108" y="1628"/>
                        </a:lnTo>
                        <a:lnTo>
                          <a:pt x="3104" y="1628"/>
                        </a:lnTo>
                        <a:lnTo>
                          <a:pt x="3098" y="1630"/>
                        </a:lnTo>
                        <a:lnTo>
                          <a:pt x="3086" y="1636"/>
                        </a:lnTo>
                        <a:lnTo>
                          <a:pt x="3074" y="1642"/>
                        </a:lnTo>
                        <a:lnTo>
                          <a:pt x="3068" y="1642"/>
                        </a:lnTo>
                        <a:lnTo>
                          <a:pt x="3062" y="1642"/>
                        </a:lnTo>
                        <a:lnTo>
                          <a:pt x="3062" y="1642"/>
                        </a:lnTo>
                        <a:lnTo>
                          <a:pt x="3058" y="1640"/>
                        </a:lnTo>
                        <a:lnTo>
                          <a:pt x="3058" y="1638"/>
                        </a:lnTo>
                        <a:lnTo>
                          <a:pt x="3060" y="1636"/>
                        </a:lnTo>
                        <a:lnTo>
                          <a:pt x="3064" y="1632"/>
                        </a:lnTo>
                        <a:lnTo>
                          <a:pt x="3076" y="1620"/>
                        </a:lnTo>
                        <a:lnTo>
                          <a:pt x="3092" y="1606"/>
                        </a:lnTo>
                        <a:lnTo>
                          <a:pt x="3092" y="160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4" name="Freeform 6087"/>
                  <p:cNvSpPr>
                    <a:spLocks/>
                  </p:cNvSpPr>
                  <p:nvPr/>
                </p:nvSpPr>
                <p:spPr bwMode="auto">
                  <a:xfrm>
                    <a:off x="1927860" y="823913"/>
                    <a:ext cx="304800" cy="171450"/>
                  </a:xfrm>
                  <a:custGeom>
                    <a:avLst/>
                    <a:gdLst/>
                    <a:ahLst/>
                    <a:cxnLst>
                      <a:cxn ang="0">
                        <a:pos x="78" y="174"/>
                      </a:cxn>
                      <a:cxn ang="0">
                        <a:pos x="110" y="166"/>
                      </a:cxn>
                      <a:cxn ang="0">
                        <a:pos x="110" y="174"/>
                      </a:cxn>
                      <a:cxn ang="0">
                        <a:pos x="176" y="164"/>
                      </a:cxn>
                      <a:cxn ang="0">
                        <a:pos x="174" y="172"/>
                      </a:cxn>
                      <a:cxn ang="0">
                        <a:pos x="118" y="192"/>
                      </a:cxn>
                      <a:cxn ang="0">
                        <a:pos x="108" y="204"/>
                      </a:cxn>
                      <a:cxn ang="0">
                        <a:pos x="148" y="238"/>
                      </a:cxn>
                      <a:cxn ang="0">
                        <a:pos x="224" y="268"/>
                      </a:cxn>
                      <a:cxn ang="0">
                        <a:pos x="260" y="262"/>
                      </a:cxn>
                      <a:cxn ang="0">
                        <a:pos x="268" y="252"/>
                      </a:cxn>
                      <a:cxn ang="0">
                        <a:pos x="288" y="260"/>
                      </a:cxn>
                      <a:cxn ang="0">
                        <a:pos x="282" y="242"/>
                      </a:cxn>
                      <a:cxn ang="0">
                        <a:pos x="296" y="246"/>
                      </a:cxn>
                      <a:cxn ang="0">
                        <a:pos x="322" y="266"/>
                      </a:cxn>
                      <a:cxn ang="0">
                        <a:pos x="328" y="246"/>
                      </a:cxn>
                      <a:cxn ang="0">
                        <a:pos x="340" y="234"/>
                      </a:cxn>
                      <a:cxn ang="0">
                        <a:pos x="364" y="230"/>
                      </a:cxn>
                      <a:cxn ang="0">
                        <a:pos x="426" y="192"/>
                      </a:cxn>
                      <a:cxn ang="0">
                        <a:pos x="480" y="174"/>
                      </a:cxn>
                      <a:cxn ang="0">
                        <a:pos x="472" y="166"/>
                      </a:cxn>
                      <a:cxn ang="0">
                        <a:pos x="438" y="146"/>
                      </a:cxn>
                      <a:cxn ang="0">
                        <a:pos x="400" y="146"/>
                      </a:cxn>
                      <a:cxn ang="0">
                        <a:pos x="390" y="142"/>
                      </a:cxn>
                      <a:cxn ang="0">
                        <a:pos x="400" y="122"/>
                      </a:cxn>
                      <a:cxn ang="0">
                        <a:pos x="382" y="108"/>
                      </a:cxn>
                      <a:cxn ang="0">
                        <a:pos x="376" y="86"/>
                      </a:cxn>
                      <a:cxn ang="0">
                        <a:pos x="352" y="78"/>
                      </a:cxn>
                      <a:cxn ang="0">
                        <a:pos x="328" y="90"/>
                      </a:cxn>
                      <a:cxn ang="0">
                        <a:pos x="326" y="102"/>
                      </a:cxn>
                      <a:cxn ang="0">
                        <a:pos x="306" y="92"/>
                      </a:cxn>
                      <a:cxn ang="0">
                        <a:pos x="306" y="74"/>
                      </a:cxn>
                      <a:cxn ang="0">
                        <a:pos x="274" y="68"/>
                      </a:cxn>
                      <a:cxn ang="0">
                        <a:pos x="192" y="20"/>
                      </a:cxn>
                      <a:cxn ang="0">
                        <a:pos x="134" y="0"/>
                      </a:cxn>
                      <a:cxn ang="0">
                        <a:pos x="100" y="4"/>
                      </a:cxn>
                      <a:cxn ang="0">
                        <a:pos x="112" y="20"/>
                      </a:cxn>
                      <a:cxn ang="0">
                        <a:pos x="98" y="28"/>
                      </a:cxn>
                      <a:cxn ang="0">
                        <a:pos x="66" y="32"/>
                      </a:cxn>
                      <a:cxn ang="0">
                        <a:pos x="54" y="54"/>
                      </a:cxn>
                      <a:cxn ang="0">
                        <a:pos x="26" y="76"/>
                      </a:cxn>
                      <a:cxn ang="0">
                        <a:pos x="18" y="92"/>
                      </a:cxn>
                      <a:cxn ang="0">
                        <a:pos x="50" y="100"/>
                      </a:cxn>
                      <a:cxn ang="0">
                        <a:pos x="90" y="104"/>
                      </a:cxn>
                      <a:cxn ang="0">
                        <a:pos x="72" y="112"/>
                      </a:cxn>
                      <a:cxn ang="0">
                        <a:pos x="4" y="106"/>
                      </a:cxn>
                      <a:cxn ang="0">
                        <a:pos x="2" y="116"/>
                      </a:cxn>
                      <a:cxn ang="0">
                        <a:pos x="32" y="148"/>
                      </a:cxn>
                    </a:cxnLst>
                    <a:rect l="0" t="0" r="r" b="b"/>
                    <a:pathLst>
                      <a:path w="480" h="270">
                        <a:moveTo>
                          <a:pt x="54" y="164"/>
                        </a:moveTo>
                        <a:lnTo>
                          <a:pt x="54" y="164"/>
                        </a:lnTo>
                        <a:lnTo>
                          <a:pt x="66" y="172"/>
                        </a:lnTo>
                        <a:lnTo>
                          <a:pt x="78" y="174"/>
                        </a:lnTo>
                        <a:lnTo>
                          <a:pt x="88" y="172"/>
                        </a:lnTo>
                        <a:lnTo>
                          <a:pt x="98" y="170"/>
                        </a:lnTo>
                        <a:lnTo>
                          <a:pt x="108" y="164"/>
                        </a:lnTo>
                        <a:lnTo>
                          <a:pt x="110" y="166"/>
                        </a:lnTo>
                        <a:lnTo>
                          <a:pt x="108" y="170"/>
                        </a:lnTo>
                        <a:lnTo>
                          <a:pt x="108" y="170"/>
                        </a:lnTo>
                        <a:lnTo>
                          <a:pt x="108" y="172"/>
                        </a:lnTo>
                        <a:lnTo>
                          <a:pt x="110" y="174"/>
                        </a:lnTo>
                        <a:lnTo>
                          <a:pt x="116" y="176"/>
                        </a:lnTo>
                        <a:lnTo>
                          <a:pt x="142" y="168"/>
                        </a:lnTo>
                        <a:lnTo>
                          <a:pt x="168" y="162"/>
                        </a:lnTo>
                        <a:lnTo>
                          <a:pt x="176" y="164"/>
                        </a:lnTo>
                        <a:lnTo>
                          <a:pt x="176" y="164"/>
                        </a:lnTo>
                        <a:lnTo>
                          <a:pt x="176" y="168"/>
                        </a:lnTo>
                        <a:lnTo>
                          <a:pt x="176" y="168"/>
                        </a:lnTo>
                        <a:lnTo>
                          <a:pt x="174" y="172"/>
                        </a:lnTo>
                        <a:lnTo>
                          <a:pt x="170" y="174"/>
                        </a:lnTo>
                        <a:lnTo>
                          <a:pt x="158" y="180"/>
                        </a:lnTo>
                        <a:lnTo>
                          <a:pt x="130" y="188"/>
                        </a:lnTo>
                        <a:lnTo>
                          <a:pt x="118" y="192"/>
                        </a:lnTo>
                        <a:lnTo>
                          <a:pt x="108" y="196"/>
                        </a:lnTo>
                        <a:lnTo>
                          <a:pt x="104" y="200"/>
                        </a:lnTo>
                        <a:lnTo>
                          <a:pt x="106" y="202"/>
                        </a:lnTo>
                        <a:lnTo>
                          <a:pt x="108" y="204"/>
                        </a:lnTo>
                        <a:lnTo>
                          <a:pt x="108" y="204"/>
                        </a:lnTo>
                        <a:lnTo>
                          <a:pt x="122" y="214"/>
                        </a:lnTo>
                        <a:lnTo>
                          <a:pt x="134" y="226"/>
                        </a:lnTo>
                        <a:lnTo>
                          <a:pt x="148" y="238"/>
                        </a:lnTo>
                        <a:lnTo>
                          <a:pt x="166" y="250"/>
                        </a:lnTo>
                        <a:lnTo>
                          <a:pt x="166" y="250"/>
                        </a:lnTo>
                        <a:lnTo>
                          <a:pt x="194" y="260"/>
                        </a:lnTo>
                        <a:lnTo>
                          <a:pt x="224" y="268"/>
                        </a:lnTo>
                        <a:lnTo>
                          <a:pt x="238" y="270"/>
                        </a:lnTo>
                        <a:lnTo>
                          <a:pt x="250" y="270"/>
                        </a:lnTo>
                        <a:lnTo>
                          <a:pt x="258" y="266"/>
                        </a:lnTo>
                        <a:lnTo>
                          <a:pt x="260" y="262"/>
                        </a:lnTo>
                        <a:lnTo>
                          <a:pt x="262" y="260"/>
                        </a:lnTo>
                        <a:lnTo>
                          <a:pt x="262" y="260"/>
                        </a:lnTo>
                        <a:lnTo>
                          <a:pt x="262" y="254"/>
                        </a:lnTo>
                        <a:lnTo>
                          <a:pt x="268" y="252"/>
                        </a:lnTo>
                        <a:lnTo>
                          <a:pt x="274" y="254"/>
                        </a:lnTo>
                        <a:lnTo>
                          <a:pt x="280" y="256"/>
                        </a:lnTo>
                        <a:lnTo>
                          <a:pt x="284" y="258"/>
                        </a:lnTo>
                        <a:lnTo>
                          <a:pt x="288" y="260"/>
                        </a:lnTo>
                        <a:lnTo>
                          <a:pt x="290" y="258"/>
                        </a:lnTo>
                        <a:lnTo>
                          <a:pt x="286" y="250"/>
                        </a:lnTo>
                        <a:lnTo>
                          <a:pt x="286" y="250"/>
                        </a:lnTo>
                        <a:lnTo>
                          <a:pt x="282" y="242"/>
                        </a:lnTo>
                        <a:lnTo>
                          <a:pt x="280" y="236"/>
                        </a:lnTo>
                        <a:lnTo>
                          <a:pt x="282" y="236"/>
                        </a:lnTo>
                        <a:lnTo>
                          <a:pt x="284" y="236"/>
                        </a:lnTo>
                        <a:lnTo>
                          <a:pt x="296" y="246"/>
                        </a:lnTo>
                        <a:lnTo>
                          <a:pt x="314" y="260"/>
                        </a:lnTo>
                        <a:lnTo>
                          <a:pt x="314" y="260"/>
                        </a:lnTo>
                        <a:lnTo>
                          <a:pt x="320" y="266"/>
                        </a:lnTo>
                        <a:lnTo>
                          <a:pt x="322" y="266"/>
                        </a:lnTo>
                        <a:lnTo>
                          <a:pt x="324" y="266"/>
                        </a:lnTo>
                        <a:lnTo>
                          <a:pt x="326" y="262"/>
                        </a:lnTo>
                        <a:lnTo>
                          <a:pt x="328" y="254"/>
                        </a:lnTo>
                        <a:lnTo>
                          <a:pt x="328" y="246"/>
                        </a:lnTo>
                        <a:lnTo>
                          <a:pt x="330" y="240"/>
                        </a:lnTo>
                        <a:lnTo>
                          <a:pt x="334" y="236"/>
                        </a:lnTo>
                        <a:lnTo>
                          <a:pt x="336" y="234"/>
                        </a:lnTo>
                        <a:lnTo>
                          <a:pt x="340" y="234"/>
                        </a:lnTo>
                        <a:lnTo>
                          <a:pt x="340" y="234"/>
                        </a:lnTo>
                        <a:lnTo>
                          <a:pt x="348" y="236"/>
                        </a:lnTo>
                        <a:lnTo>
                          <a:pt x="356" y="234"/>
                        </a:lnTo>
                        <a:lnTo>
                          <a:pt x="364" y="230"/>
                        </a:lnTo>
                        <a:lnTo>
                          <a:pt x="374" y="226"/>
                        </a:lnTo>
                        <a:lnTo>
                          <a:pt x="414" y="198"/>
                        </a:lnTo>
                        <a:lnTo>
                          <a:pt x="414" y="198"/>
                        </a:lnTo>
                        <a:lnTo>
                          <a:pt x="426" y="192"/>
                        </a:lnTo>
                        <a:lnTo>
                          <a:pt x="440" y="186"/>
                        </a:lnTo>
                        <a:lnTo>
                          <a:pt x="466" y="180"/>
                        </a:lnTo>
                        <a:lnTo>
                          <a:pt x="474" y="176"/>
                        </a:lnTo>
                        <a:lnTo>
                          <a:pt x="480" y="174"/>
                        </a:lnTo>
                        <a:lnTo>
                          <a:pt x="480" y="172"/>
                        </a:lnTo>
                        <a:lnTo>
                          <a:pt x="480" y="170"/>
                        </a:lnTo>
                        <a:lnTo>
                          <a:pt x="472" y="166"/>
                        </a:lnTo>
                        <a:lnTo>
                          <a:pt x="472" y="166"/>
                        </a:lnTo>
                        <a:lnTo>
                          <a:pt x="464" y="162"/>
                        </a:lnTo>
                        <a:lnTo>
                          <a:pt x="456" y="156"/>
                        </a:lnTo>
                        <a:lnTo>
                          <a:pt x="444" y="148"/>
                        </a:lnTo>
                        <a:lnTo>
                          <a:pt x="438" y="146"/>
                        </a:lnTo>
                        <a:lnTo>
                          <a:pt x="430" y="144"/>
                        </a:lnTo>
                        <a:lnTo>
                          <a:pt x="418" y="144"/>
                        </a:lnTo>
                        <a:lnTo>
                          <a:pt x="400" y="146"/>
                        </a:lnTo>
                        <a:lnTo>
                          <a:pt x="400" y="146"/>
                        </a:lnTo>
                        <a:lnTo>
                          <a:pt x="388" y="148"/>
                        </a:lnTo>
                        <a:lnTo>
                          <a:pt x="384" y="148"/>
                        </a:lnTo>
                        <a:lnTo>
                          <a:pt x="386" y="146"/>
                        </a:lnTo>
                        <a:lnTo>
                          <a:pt x="390" y="142"/>
                        </a:lnTo>
                        <a:lnTo>
                          <a:pt x="396" y="136"/>
                        </a:lnTo>
                        <a:lnTo>
                          <a:pt x="400" y="130"/>
                        </a:lnTo>
                        <a:lnTo>
                          <a:pt x="400" y="126"/>
                        </a:lnTo>
                        <a:lnTo>
                          <a:pt x="400" y="122"/>
                        </a:lnTo>
                        <a:lnTo>
                          <a:pt x="396" y="118"/>
                        </a:lnTo>
                        <a:lnTo>
                          <a:pt x="392" y="114"/>
                        </a:lnTo>
                        <a:lnTo>
                          <a:pt x="392" y="114"/>
                        </a:lnTo>
                        <a:lnTo>
                          <a:pt x="382" y="108"/>
                        </a:lnTo>
                        <a:lnTo>
                          <a:pt x="376" y="100"/>
                        </a:lnTo>
                        <a:lnTo>
                          <a:pt x="376" y="96"/>
                        </a:lnTo>
                        <a:lnTo>
                          <a:pt x="376" y="90"/>
                        </a:lnTo>
                        <a:lnTo>
                          <a:pt x="376" y="86"/>
                        </a:lnTo>
                        <a:lnTo>
                          <a:pt x="372" y="82"/>
                        </a:lnTo>
                        <a:lnTo>
                          <a:pt x="366" y="80"/>
                        </a:lnTo>
                        <a:lnTo>
                          <a:pt x="352" y="78"/>
                        </a:lnTo>
                        <a:lnTo>
                          <a:pt x="352" y="78"/>
                        </a:lnTo>
                        <a:lnTo>
                          <a:pt x="338" y="76"/>
                        </a:lnTo>
                        <a:lnTo>
                          <a:pt x="330" y="80"/>
                        </a:lnTo>
                        <a:lnTo>
                          <a:pt x="328" y="84"/>
                        </a:lnTo>
                        <a:lnTo>
                          <a:pt x="328" y="90"/>
                        </a:lnTo>
                        <a:lnTo>
                          <a:pt x="330" y="96"/>
                        </a:lnTo>
                        <a:lnTo>
                          <a:pt x="328" y="100"/>
                        </a:lnTo>
                        <a:lnTo>
                          <a:pt x="328" y="102"/>
                        </a:lnTo>
                        <a:lnTo>
                          <a:pt x="326" y="102"/>
                        </a:lnTo>
                        <a:lnTo>
                          <a:pt x="318" y="100"/>
                        </a:lnTo>
                        <a:lnTo>
                          <a:pt x="318" y="100"/>
                        </a:lnTo>
                        <a:lnTo>
                          <a:pt x="310" y="96"/>
                        </a:lnTo>
                        <a:lnTo>
                          <a:pt x="306" y="92"/>
                        </a:lnTo>
                        <a:lnTo>
                          <a:pt x="306" y="86"/>
                        </a:lnTo>
                        <a:lnTo>
                          <a:pt x="308" y="82"/>
                        </a:lnTo>
                        <a:lnTo>
                          <a:pt x="308" y="78"/>
                        </a:lnTo>
                        <a:lnTo>
                          <a:pt x="306" y="74"/>
                        </a:lnTo>
                        <a:lnTo>
                          <a:pt x="298" y="70"/>
                        </a:lnTo>
                        <a:lnTo>
                          <a:pt x="284" y="70"/>
                        </a:lnTo>
                        <a:lnTo>
                          <a:pt x="284" y="70"/>
                        </a:lnTo>
                        <a:lnTo>
                          <a:pt x="274" y="68"/>
                        </a:lnTo>
                        <a:lnTo>
                          <a:pt x="266" y="66"/>
                        </a:lnTo>
                        <a:lnTo>
                          <a:pt x="248" y="56"/>
                        </a:lnTo>
                        <a:lnTo>
                          <a:pt x="212" y="32"/>
                        </a:lnTo>
                        <a:lnTo>
                          <a:pt x="192" y="20"/>
                        </a:lnTo>
                        <a:lnTo>
                          <a:pt x="170" y="10"/>
                        </a:lnTo>
                        <a:lnTo>
                          <a:pt x="158" y="6"/>
                        </a:lnTo>
                        <a:lnTo>
                          <a:pt x="146" y="2"/>
                        </a:lnTo>
                        <a:lnTo>
                          <a:pt x="134" y="0"/>
                        </a:lnTo>
                        <a:lnTo>
                          <a:pt x="118" y="0"/>
                        </a:lnTo>
                        <a:lnTo>
                          <a:pt x="118" y="0"/>
                        </a:lnTo>
                        <a:lnTo>
                          <a:pt x="104" y="2"/>
                        </a:lnTo>
                        <a:lnTo>
                          <a:pt x="100" y="4"/>
                        </a:lnTo>
                        <a:lnTo>
                          <a:pt x="100" y="6"/>
                        </a:lnTo>
                        <a:lnTo>
                          <a:pt x="102" y="10"/>
                        </a:lnTo>
                        <a:lnTo>
                          <a:pt x="108" y="14"/>
                        </a:lnTo>
                        <a:lnTo>
                          <a:pt x="112" y="20"/>
                        </a:lnTo>
                        <a:lnTo>
                          <a:pt x="114" y="24"/>
                        </a:lnTo>
                        <a:lnTo>
                          <a:pt x="114" y="24"/>
                        </a:lnTo>
                        <a:lnTo>
                          <a:pt x="110" y="26"/>
                        </a:lnTo>
                        <a:lnTo>
                          <a:pt x="98" y="28"/>
                        </a:lnTo>
                        <a:lnTo>
                          <a:pt x="98" y="28"/>
                        </a:lnTo>
                        <a:lnTo>
                          <a:pt x="82" y="28"/>
                        </a:lnTo>
                        <a:lnTo>
                          <a:pt x="70" y="30"/>
                        </a:lnTo>
                        <a:lnTo>
                          <a:pt x="66" y="32"/>
                        </a:lnTo>
                        <a:lnTo>
                          <a:pt x="64" y="36"/>
                        </a:lnTo>
                        <a:lnTo>
                          <a:pt x="58" y="48"/>
                        </a:lnTo>
                        <a:lnTo>
                          <a:pt x="58" y="48"/>
                        </a:lnTo>
                        <a:lnTo>
                          <a:pt x="54" y="54"/>
                        </a:lnTo>
                        <a:lnTo>
                          <a:pt x="52" y="58"/>
                        </a:lnTo>
                        <a:lnTo>
                          <a:pt x="42" y="64"/>
                        </a:lnTo>
                        <a:lnTo>
                          <a:pt x="32" y="72"/>
                        </a:lnTo>
                        <a:lnTo>
                          <a:pt x="26" y="76"/>
                        </a:lnTo>
                        <a:lnTo>
                          <a:pt x="20" y="84"/>
                        </a:lnTo>
                        <a:lnTo>
                          <a:pt x="20" y="84"/>
                        </a:lnTo>
                        <a:lnTo>
                          <a:pt x="18" y="88"/>
                        </a:lnTo>
                        <a:lnTo>
                          <a:pt x="18" y="92"/>
                        </a:lnTo>
                        <a:lnTo>
                          <a:pt x="20" y="94"/>
                        </a:lnTo>
                        <a:lnTo>
                          <a:pt x="24" y="96"/>
                        </a:lnTo>
                        <a:lnTo>
                          <a:pt x="34" y="98"/>
                        </a:lnTo>
                        <a:lnTo>
                          <a:pt x="50" y="100"/>
                        </a:lnTo>
                        <a:lnTo>
                          <a:pt x="78" y="102"/>
                        </a:lnTo>
                        <a:lnTo>
                          <a:pt x="86" y="102"/>
                        </a:lnTo>
                        <a:lnTo>
                          <a:pt x="88" y="102"/>
                        </a:lnTo>
                        <a:lnTo>
                          <a:pt x="90" y="104"/>
                        </a:lnTo>
                        <a:lnTo>
                          <a:pt x="90" y="104"/>
                        </a:lnTo>
                        <a:lnTo>
                          <a:pt x="86" y="108"/>
                        </a:lnTo>
                        <a:lnTo>
                          <a:pt x="82" y="110"/>
                        </a:lnTo>
                        <a:lnTo>
                          <a:pt x="72" y="112"/>
                        </a:lnTo>
                        <a:lnTo>
                          <a:pt x="58" y="112"/>
                        </a:lnTo>
                        <a:lnTo>
                          <a:pt x="42" y="110"/>
                        </a:lnTo>
                        <a:lnTo>
                          <a:pt x="14" y="106"/>
                        </a:lnTo>
                        <a:lnTo>
                          <a:pt x="4" y="106"/>
                        </a:lnTo>
                        <a:lnTo>
                          <a:pt x="2" y="108"/>
                        </a:lnTo>
                        <a:lnTo>
                          <a:pt x="0" y="110"/>
                        </a:lnTo>
                        <a:lnTo>
                          <a:pt x="0" y="110"/>
                        </a:lnTo>
                        <a:lnTo>
                          <a:pt x="2" y="116"/>
                        </a:lnTo>
                        <a:lnTo>
                          <a:pt x="4" y="122"/>
                        </a:lnTo>
                        <a:lnTo>
                          <a:pt x="8" y="128"/>
                        </a:lnTo>
                        <a:lnTo>
                          <a:pt x="14" y="134"/>
                        </a:lnTo>
                        <a:lnTo>
                          <a:pt x="32" y="148"/>
                        </a:lnTo>
                        <a:lnTo>
                          <a:pt x="54" y="164"/>
                        </a:lnTo>
                        <a:lnTo>
                          <a:pt x="54" y="16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5" name="Freeform 6088"/>
                  <p:cNvSpPr>
                    <a:spLocks/>
                  </p:cNvSpPr>
                  <p:nvPr/>
                </p:nvSpPr>
                <p:spPr bwMode="auto">
                  <a:xfrm>
                    <a:off x="2100580" y="1206183"/>
                    <a:ext cx="734060" cy="539750"/>
                  </a:xfrm>
                  <a:custGeom>
                    <a:avLst/>
                    <a:gdLst/>
                    <a:ahLst/>
                    <a:cxnLst>
                      <a:cxn ang="0">
                        <a:pos x="1088" y="504"/>
                      </a:cxn>
                      <a:cxn ang="0">
                        <a:pos x="1060" y="480"/>
                      </a:cxn>
                      <a:cxn ang="0">
                        <a:pos x="960" y="426"/>
                      </a:cxn>
                      <a:cxn ang="0">
                        <a:pos x="890" y="396"/>
                      </a:cxn>
                      <a:cxn ang="0">
                        <a:pos x="890" y="348"/>
                      </a:cxn>
                      <a:cxn ang="0">
                        <a:pos x="926" y="328"/>
                      </a:cxn>
                      <a:cxn ang="0">
                        <a:pos x="926" y="298"/>
                      </a:cxn>
                      <a:cxn ang="0">
                        <a:pos x="846" y="276"/>
                      </a:cxn>
                      <a:cxn ang="0">
                        <a:pos x="844" y="232"/>
                      </a:cxn>
                      <a:cxn ang="0">
                        <a:pos x="782" y="204"/>
                      </a:cxn>
                      <a:cxn ang="0">
                        <a:pos x="706" y="174"/>
                      </a:cxn>
                      <a:cxn ang="0">
                        <a:pos x="642" y="134"/>
                      </a:cxn>
                      <a:cxn ang="0">
                        <a:pos x="560" y="98"/>
                      </a:cxn>
                      <a:cxn ang="0">
                        <a:pos x="462" y="112"/>
                      </a:cxn>
                      <a:cxn ang="0">
                        <a:pos x="404" y="110"/>
                      </a:cxn>
                      <a:cxn ang="0">
                        <a:pos x="388" y="90"/>
                      </a:cxn>
                      <a:cxn ang="0">
                        <a:pos x="352" y="18"/>
                      </a:cxn>
                      <a:cxn ang="0">
                        <a:pos x="200" y="50"/>
                      </a:cxn>
                      <a:cxn ang="0">
                        <a:pos x="174" y="84"/>
                      </a:cxn>
                      <a:cxn ang="0">
                        <a:pos x="168" y="138"/>
                      </a:cxn>
                      <a:cxn ang="0">
                        <a:pos x="222" y="180"/>
                      </a:cxn>
                      <a:cxn ang="0">
                        <a:pos x="150" y="122"/>
                      </a:cxn>
                      <a:cxn ang="0">
                        <a:pos x="188" y="26"/>
                      </a:cxn>
                      <a:cxn ang="0">
                        <a:pos x="116" y="8"/>
                      </a:cxn>
                      <a:cxn ang="0">
                        <a:pos x="18" y="90"/>
                      </a:cxn>
                      <a:cxn ang="0">
                        <a:pos x="58" y="196"/>
                      </a:cxn>
                      <a:cxn ang="0">
                        <a:pos x="40" y="216"/>
                      </a:cxn>
                      <a:cxn ang="0">
                        <a:pos x="118" y="270"/>
                      </a:cxn>
                      <a:cxn ang="0">
                        <a:pos x="234" y="288"/>
                      </a:cxn>
                      <a:cxn ang="0">
                        <a:pos x="336" y="290"/>
                      </a:cxn>
                      <a:cxn ang="0">
                        <a:pos x="358" y="284"/>
                      </a:cxn>
                      <a:cxn ang="0">
                        <a:pos x="462" y="284"/>
                      </a:cxn>
                      <a:cxn ang="0">
                        <a:pos x="498" y="274"/>
                      </a:cxn>
                      <a:cxn ang="0">
                        <a:pos x="580" y="338"/>
                      </a:cxn>
                      <a:cxn ang="0">
                        <a:pos x="538" y="376"/>
                      </a:cxn>
                      <a:cxn ang="0">
                        <a:pos x="654" y="402"/>
                      </a:cxn>
                      <a:cxn ang="0">
                        <a:pos x="712" y="474"/>
                      </a:cxn>
                      <a:cxn ang="0">
                        <a:pos x="640" y="558"/>
                      </a:cxn>
                      <a:cxn ang="0">
                        <a:pos x="628" y="608"/>
                      </a:cxn>
                      <a:cxn ang="0">
                        <a:pos x="510" y="624"/>
                      </a:cxn>
                      <a:cxn ang="0">
                        <a:pos x="514" y="688"/>
                      </a:cxn>
                      <a:cxn ang="0">
                        <a:pos x="616" y="688"/>
                      </a:cxn>
                      <a:cxn ang="0">
                        <a:pos x="656" y="674"/>
                      </a:cxn>
                      <a:cxn ang="0">
                        <a:pos x="736" y="724"/>
                      </a:cxn>
                      <a:cxn ang="0">
                        <a:pos x="732" y="752"/>
                      </a:cxn>
                      <a:cxn ang="0">
                        <a:pos x="854" y="818"/>
                      </a:cxn>
                      <a:cxn ang="0">
                        <a:pos x="966" y="822"/>
                      </a:cxn>
                      <a:cxn ang="0">
                        <a:pos x="854" y="724"/>
                      </a:cxn>
                      <a:cxn ang="0">
                        <a:pos x="908" y="744"/>
                      </a:cxn>
                      <a:cxn ang="0">
                        <a:pos x="1012" y="814"/>
                      </a:cxn>
                      <a:cxn ang="0">
                        <a:pos x="1018" y="766"/>
                      </a:cxn>
                      <a:cxn ang="0">
                        <a:pos x="1022" y="724"/>
                      </a:cxn>
                      <a:cxn ang="0">
                        <a:pos x="1000" y="694"/>
                      </a:cxn>
                      <a:cxn ang="0">
                        <a:pos x="942" y="632"/>
                      </a:cxn>
                      <a:cxn ang="0">
                        <a:pos x="890" y="586"/>
                      </a:cxn>
                      <a:cxn ang="0">
                        <a:pos x="902" y="544"/>
                      </a:cxn>
                      <a:cxn ang="0">
                        <a:pos x="942" y="544"/>
                      </a:cxn>
                      <a:cxn ang="0">
                        <a:pos x="990" y="580"/>
                      </a:cxn>
                      <a:cxn ang="0">
                        <a:pos x="1070" y="648"/>
                      </a:cxn>
                      <a:cxn ang="0">
                        <a:pos x="1102" y="596"/>
                      </a:cxn>
                      <a:cxn ang="0">
                        <a:pos x="1128" y="568"/>
                      </a:cxn>
                      <a:cxn ang="0">
                        <a:pos x="1148" y="514"/>
                      </a:cxn>
                    </a:cxnLst>
                    <a:rect l="0" t="0" r="r" b="b"/>
                    <a:pathLst>
                      <a:path w="1156" h="850">
                        <a:moveTo>
                          <a:pt x="1148" y="514"/>
                        </a:moveTo>
                        <a:lnTo>
                          <a:pt x="1148" y="514"/>
                        </a:lnTo>
                        <a:lnTo>
                          <a:pt x="1144" y="506"/>
                        </a:lnTo>
                        <a:lnTo>
                          <a:pt x="1138" y="502"/>
                        </a:lnTo>
                        <a:lnTo>
                          <a:pt x="1134" y="500"/>
                        </a:lnTo>
                        <a:lnTo>
                          <a:pt x="1128" y="498"/>
                        </a:lnTo>
                        <a:lnTo>
                          <a:pt x="1116" y="498"/>
                        </a:lnTo>
                        <a:lnTo>
                          <a:pt x="1106" y="502"/>
                        </a:lnTo>
                        <a:lnTo>
                          <a:pt x="1096" y="506"/>
                        </a:lnTo>
                        <a:lnTo>
                          <a:pt x="1090" y="508"/>
                        </a:lnTo>
                        <a:lnTo>
                          <a:pt x="1088" y="506"/>
                        </a:lnTo>
                        <a:lnTo>
                          <a:pt x="1088" y="504"/>
                        </a:lnTo>
                        <a:lnTo>
                          <a:pt x="1090" y="496"/>
                        </a:lnTo>
                        <a:lnTo>
                          <a:pt x="1090" y="496"/>
                        </a:lnTo>
                        <a:lnTo>
                          <a:pt x="1092" y="486"/>
                        </a:lnTo>
                        <a:lnTo>
                          <a:pt x="1090" y="482"/>
                        </a:lnTo>
                        <a:lnTo>
                          <a:pt x="1088" y="480"/>
                        </a:lnTo>
                        <a:lnTo>
                          <a:pt x="1084" y="480"/>
                        </a:lnTo>
                        <a:lnTo>
                          <a:pt x="1076" y="482"/>
                        </a:lnTo>
                        <a:lnTo>
                          <a:pt x="1062" y="486"/>
                        </a:lnTo>
                        <a:lnTo>
                          <a:pt x="1060" y="486"/>
                        </a:lnTo>
                        <a:lnTo>
                          <a:pt x="1058" y="486"/>
                        </a:lnTo>
                        <a:lnTo>
                          <a:pt x="1060" y="480"/>
                        </a:lnTo>
                        <a:lnTo>
                          <a:pt x="1060" y="480"/>
                        </a:lnTo>
                        <a:lnTo>
                          <a:pt x="1062" y="472"/>
                        </a:lnTo>
                        <a:lnTo>
                          <a:pt x="1062" y="466"/>
                        </a:lnTo>
                        <a:lnTo>
                          <a:pt x="1060" y="462"/>
                        </a:lnTo>
                        <a:lnTo>
                          <a:pt x="1056" y="458"/>
                        </a:lnTo>
                        <a:lnTo>
                          <a:pt x="1042" y="450"/>
                        </a:lnTo>
                        <a:lnTo>
                          <a:pt x="1022" y="436"/>
                        </a:lnTo>
                        <a:lnTo>
                          <a:pt x="1022" y="436"/>
                        </a:lnTo>
                        <a:lnTo>
                          <a:pt x="1010" y="430"/>
                        </a:lnTo>
                        <a:lnTo>
                          <a:pt x="996" y="428"/>
                        </a:lnTo>
                        <a:lnTo>
                          <a:pt x="984" y="426"/>
                        </a:lnTo>
                        <a:lnTo>
                          <a:pt x="970" y="426"/>
                        </a:lnTo>
                        <a:lnTo>
                          <a:pt x="960" y="426"/>
                        </a:lnTo>
                        <a:lnTo>
                          <a:pt x="950" y="424"/>
                        </a:lnTo>
                        <a:lnTo>
                          <a:pt x="944" y="420"/>
                        </a:lnTo>
                        <a:lnTo>
                          <a:pt x="942" y="416"/>
                        </a:lnTo>
                        <a:lnTo>
                          <a:pt x="940" y="410"/>
                        </a:lnTo>
                        <a:lnTo>
                          <a:pt x="940" y="410"/>
                        </a:lnTo>
                        <a:lnTo>
                          <a:pt x="938" y="406"/>
                        </a:lnTo>
                        <a:lnTo>
                          <a:pt x="936" y="402"/>
                        </a:lnTo>
                        <a:lnTo>
                          <a:pt x="930" y="400"/>
                        </a:lnTo>
                        <a:lnTo>
                          <a:pt x="926" y="398"/>
                        </a:lnTo>
                        <a:lnTo>
                          <a:pt x="914" y="396"/>
                        </a:lnTo>
                        <a:lnTo>
                          <a:pt x="900" y="396"/>
                        </a:lnTo>
                        <a:lnTo>
                          <a:pt x="890" y="396"/>
                        </a:lnTo>
                        <a:lnTo>
                          <a:pt x="882" y="394"/>
                        </a:lnTo>
                        <a:lnTo>
                          <a:pt x="882" y="394"/>
                        </a:lnTo>
                        <a:lnTo>
                          <a:pt x="882" y="392"/>
                        </a:lnTo>
                        <a:lnTo>
                          <a:pt x="890" y="384"/>
                        </a:lnTo>
                        <a:lnTo>
                          <a:pt x="890" y="384"/>
                        </a:lnTo>
                        <a:lnTo>
                          <a:pt x="896" y="380"/>
                        </a:lnTo>
                        <a:lnTo>
                          <a:pt x="900" y="376"/>
                        </a:lnTo>
                        <a:lnTo>
                          <a:pt x="902" y="372"/>
                        </a:lnTo>
                        <a:lnTo>
                          <a:pt x="902" y="366"/>
                        </a:lnTo>
                        <a:lnTo>
                          <a:pt x="900" y="360"/>
                        </a:lnTo>
                        <a:lnTo>
                          <a:pt x="894" y="352"/>
                        </a:lnTo>
                        <a:lnTo>
                          <a:pt x="890" y="348"/>
                        </a:lnTo>
                        <a:lnTo>
                          <a:pt x="888" y="344"/>
                        </a:lnTo>
                        <a:lnTo>
                          <a:pt x="890" y="344"/>
                        </a:lnTo>
                        <a:lnTo>
                          <a:pt x="902" y="346"/>
                        </a:lnTo>
                        <a:lnTo>
                          <a:pt x="902" y="346"/>
                        </a:lnTo>
                        <a:lnTo>
                          <a:pt x="916" y="348"/>
                        </a:lnTo>
                        <a:lnTo>
                          <a:pt x="928" y="348"/>
                        </a:lnTo>
                        <a:lnTo>
                          <a:pt x="938" y="346"/>
                        </a:lnTo>
                        <a:lnTo>
                          <a:pt x="942" y="342"/>
                        </a:lnTo>
                        <a:lnTo>
                          <a:pt x="944" y="340"/>
                        </a:lnTo>
                        <a:lnTo>
                          <a:pt x="944" y="338"/>
                        </a:lnTo>
                        <a:lnTo>
                          <a:pt x="938" y="334"/>
                        </a:lnTo>
                        <a:lnTo>
                          <a:pt x="926" y="328"/>
                        </a:lnTo>
                        <a:lnTo>
                          <a:pt x="906" y="324"/>
                        </a:lnTo>
                        <a:lnTo>
                          <a:pt x="906" y="324"/>
                        </a:lnTo>
                        <a:lnTo>
                          <a:pt x="876" y="318"/>
                        </a:lnTo>
                        <a:lnTo>
                          <a:pt x="876" y="318"/>
                        </a:lnTo>
                        <a:lnTo>
                          <a:pt x="876" y="318"/>
                        </a:lnTo>
                        <a:lnTo>
                          <a:pt x="880" y="316"/>
                        </a:lnTo>
                        <a:lnTo>
                          <a:pt x="900" y="312"/>
                        </a:lnTo>
                        <a:lnTo>
                          <a:pt x="910" y="308"/>
                        </a:lnTo>
                        <a:lnTo>
                          <a:pt x="920" y="304"/>
                        </a:lnTo>
                        <a:lnTo>
                          <a:pt x="920" y="304"/>
                        </a:lnTo>
                        <a:lnTo>
                          <a:pt x="924" y="300"/>
                        </a:lnTo>
                        <a:lnTo>
                          <a:pt x="926" y="298"/>
                        </a:lnTo>
                        <a:lnTo>
                          <a:pt x="926" y="294"/>
                        </a:lnTo>
                        <a:lnTo>
                          <a:pt x="926" y="290"/>
                        </a:lnTo>
                        <a:lnTo>
                          <a:pt x="922" y="284"/>
                        </a:lnTo>
                        <a:lnTo>
                          <a:pt x="914" y="278"/>
                        </a:lnTo>
                        <a:lnTo>
                          <a:pt x="904" y="272"/>
                        </a:lnTo>
                        <a:lnTo>
                          <a:pt x="894" y="268"/>
                        </a:lnTo>
                        <a:lnTo>
                          <a:pt x="886" y="268"/>
                        </a:lnTo>
                        <a:lnTo>
                          <a:pt x="880" y="270"/>
                        </a:lnTo>
                        <a:lnTo>
                          <a:pt x="880" y="270"/>
                        </a:lnTo>
                        <a:lnTo>
                          <a:pt x="872" y="274"/>
                        </a:lnTo>
                        <a:lnTo>
                          <a:pt x="864" y="276"/>
                        </a:lnTo>
                        <a:lnTo>
                          <a:pt x="846" y="276"/>
                        </a:lnTo>
                        <a:lnTo>
                          <a:pt x="842" y="276"/>
                        </a:lnTo>
                        <a:lnTo>
                          <a:pt x="840" y="274"/>
                        </a:lnTo>
                        <a:lnTo>
                          <a:pt x="842" y="270"/>
                        </a:lnTo>
                        <a:lnTo>
                          <a:pt x="852" y="266"/>
                        </a:lnTo>
                        <a:lnTo>
                          <a:pt x="852" y="266"/>
                        </a:lnTo>
                        <a:lnTo>
                          <a:pt x="874" y="258"/>
                        </a:lnTo>
                        <a:lnTo>
                          <a:pt x="880" y="254"/>
                        </a:lnTo>
                        <a:lnTo>
                          <a:pt x="882" y="252"/>
                        </a:lnTo>
                        <a:lnTo>
                          <a:pt x="878" y="248"/>
                        </a:lnTo>
                        <a:lnTo>
                          <a:pt x="872" y="244"/>
                        </a:lnTo>
                        <a:lnTo>
                          <a:pt x="844" y="232"/>
                        </a:lnTo>
                        <a:lnTo>
                          <a:pt x="844" y="232"/>
                        </a:lnTo>
                        <a:lnTo>
                          <a:pt x="826" y="226"/>
                        </a:lnTo>
                        <a:lnTo>
                          <a:pt x="812" y="226"/>
                        </a:lnTo>
                        <a:lnTo>
                          <a:pt x="802" y="228"/>
                        </a:lnTo>
                        <a:lnTo>
                          <a:pt x="794" y="230"/>
                        </a:lnTo>
                        <a:lnTo>
                          <a:pt x="790" y="232"/>
                        </a:lnTo>
                        <a:lnTo>
                          <a:pt x="786" y="232"/>
                        </a:lnTo>
                        <a:lnTo>
                          <a:pt x="786" y="230"/>
                        </a:lnTo>
                        <a:lnTo>
                          <a:pt x="786" y="220"/>
                        </a:lnTo>
                        <a:lnTo>
                          <a:pt x="786" y="220"/>
                        </a:lnTo>
                        <a:lnTo>
                          <a:pt x="788" y="210"/>
                        </a:lnTo>
                        <a:lnTo>
                          <a:pt x="784" y="206"/>
                        </a:lnTo>
                        <a:lnTo>
                          <a:pt x="782" y="204"/>
                        </a:lnTo>
                        <a:lnTo>
                          <a:pt x="776" y="204"/>
                        </a:lnTo>
                        <a:lnTo>
                          <a:pt x="768" y="206"/>
                        </a:lnTo>
                        <a:lnTo>
                          <a:pt x="764" y="204"/>
                        </a:lnTo>
                        <a:lnTo>
                          <a:pt x="762" y="198"/>
                        </a:lnTo>
                        <a:lnTo>
                          <a:pt x="762" y="198"/>
                        </a:lnTo>
                        <a:lnTo>
                          <a:pt x="762" y="190"/>
                        </a:lnTo>
                        <a:lnTo>
                          <a:pt x="756" y="184"/>
                        </a:lnTo>
                        <a:lnTo>
                          <a:pt x="748" y="178"/>
                        </a:lnTo>
                        <a:lnTo>
                          <a:pt x="738" y="174"/>
                        </a:lnTo>
                        <a:lnTo>
                          <a:pt x="728" y="170"/>
                        </a:lnTo>
                        <a:lnTo>
                          <a:pt x="716" y="170"/>
                        </a:lnTo>
                        <a:lnTo>
                          <a:pt x="706" y="174"/>
                        </a:lnTo>
                        <a:lnTo>
                          <a:pt x="696" y="182"/>
                        </a:lnTo>
                        <a:lnTo>
                          <a:pt x="696" y="182"/>
                        </a:lnTo>
                        <a:lnTo>
                          <a:pt x="686" y="190"/>
                        </a:lnTo>
                        <a:lnTo>
                          <a:pt x="680" y="192"/>
                        </a:lnTo>
                        <a:lnTo>
                          <a:pt x="674" y="190"/>
                        </a:lnTo>
                        <a:lnTo>
                          <a:pt x="670" y="186"/>
                        </a:lnTo>
                        <a:lnTo>
                          <a:pt x="666" y="178"/>
                        </a:lnTo>
                        <a:lnTo>
                          <a:pt x="662" y="168"/>
                        </a:lnTo>
                        <a:lnTo>
                          <a:pt x="652" y="148"/>
                        </a:lnTo>
                        <a:lnTo>
                          <a:pt x="652" y="148"/>
                        </a:lnTo>
                        <a:lnTo>
                          <a:pt x="648" y="138"/>
                        </a:lnTo>
                        <a:lnTo>
                          <a:pt x="642" y="134"/>
                        </a:lnTo>
                        <a:lnTo>
                          <a:pt x="638" y="134"/>
                        </a:lnTo>
                        <a:lnTo>
                          <a:pt x="632" y="134"/>
                        </a:lnTo>
                        <a:lnTo>
                          <a:pt x="628" y="134"/>
                        </a:lnTo>
                        <a:lnTo>
                          <a:pt x="622" y="134"/>
                        </a:lnTo>
                        <a:lnTo>
                          <a:pt x="616" y="128"/>
                        </a:lnTo>
                        <a:lnTo>
                          <a:pt x="610" y="120"/>
                        </a:lnTo>
                        <a:lnTo>
                          <a:pt x="610" y="120"/>
                        </a:lnTo>
                        <a:lnTo>
                          <a:pt x="602" y="110"/>
                        </a:lnTo>
                        <a:lnTo>
                          <a:pt x="594" y="104"/>
                        </a:lnTo>
                        <a:lnTo>
                          <a:pt x="586" y="100"/>
                        </a:lnTo>
                        <a:lnTo>
                          <a:pt x="578" y="100"/>
                        </a:lnTo>
                        <a:lnTo>
                          <a:pt x="560" y="98"/>
                        </a:lnTo>
                        <a:lnTo>
                          <a:pt x="552" y="98"/>
                        </a:lnTo>
                        <a:lnTo>
                          <a:pt x="546" y="94"/>
                        </a:lnTo>
                        <a:lnTo>
                          <a:pt x="546" y="94"/>
                        </a:lnTo>
                        <a:lnTo>
                          <a:pt x="528" y="88"/>
                        </a:lnTo>
                        <a:lnTo>
                          <a:pt x="518" y="84"/>
                        </a:lnTo>
                        <a:lnTo>
                          <a:pt x="506" y="82"/>
                        </a:lnTo>
                        <a:lnTo>
                          <a:pt x="494" y="84"/>
                        </a:lnTo>
                        <a:lnTo>
                          <a:pt x="484" y="88"/>
                        </a:lnTo>
                        <a:lnTo>
                          <a:pt x="474" y="94"/>
                        </a:lnTo>
                        <a:lnTo>
                          <a:pt x="466" y="106"/>
                        </a:lnTo>
                        <a:lnTo>
                          <a:pt x="466" y="106"/>
                        </a:lnTo>
                        <a:lnTo>
                          <a:pt x="462" y="112"/>
                        </a:lnTo>
                        <a:lnTo>
                          <a:pt x="460" y="116"/>
                        </a:lnTo>
                        <a:lnTo>
                          <a:pt x="456" y="118"/>
                        </a:lnTo>
                        <a:lnTo>
                          <a:pt x="452" y="118"/>
                        </a:lnTo>
                        <a:lnTo>
                          <a:pt x="444" y="116"/>
                        </a:lnTo>
                        <a:lnTo>
                          <a:pt x="436" y="112"/>
                        </a:lnTo>
                        <a:lnTo>
                          <a:pt x="428" y="106"/>
                        </a:lnTo>
                        <a:lnTo>
                          <a:pt x="420" y="104"/>
                        </a:lnTo>
                        <a:lnTo>
                          <a:pt x="416" y="102"/>
                        </a:lnTo>
                        <a:lnTo>
                          <a:pt x="412" y="104"/>
                        </a:lnTo>
                        <a:lnTo>
                          <a:pt x="408" y="106"/>
                        </a:lnTo>
                        <a:lnTo>
                          <a:pt x="404" y="110"/>
                        </a:lnTo>
                        <a:lnTo>
                          <a:pt x="404" y="110"/>
                        </a:lnTo>
                        <a:lnTo>
                          <a:pt x="396" y="118"/>
                        </a:lnTo>
                        <a:lnTo>
                          <a:pt x="388" y="124"/>
                        </a:lnTo>
                        <a:lnTo>
                          <a:pt x="380" y="130"/>
                        </a:lnTo>
                        <a:lnTo>
                          <a:pt x="376" y="132"/>
                        </a:lnTo>
                        <a:lnTo>
                          <a:pt x="372" y="132"/>
                        </a:lnTo>
                        <a:lnTo>
                          <a:pt x="370" y="130"/>
                        </a:lnTo>
                        <a:lnTo>
                          <a:pt x="372" y="126"/>
                        </a:lnTo>
                        <a:lnTo>
                          <a:pt x="376" y="118"/>
                        </a:lnTo>
                        <a:lnTo>
                          <a:pt x="376" y="118"/>
                        </a:lnTo>
                        <a:lnTo>
                          <a:pt x="382" y="110"/>
                        </a:lnTo>
                        <a:lnTo>
                          <a:pt x="386" y="100"/>
                        </a:lnTo>
                        <a:lnTo>
                          <a:pt x="388" y="90"/>
                        </a:lnTo>
                        <a:lnTo>
                          <a:pt x="388" y="82"/>
                        </a:lnTo>
                        <a:lnTo>
                          <a:pt x="386" y="72"/>
                        </a:lnTo>
                        <a:lnTo>
                          <a:pt x="382" y="64"/>
                        </a:lnTo>
                        <a:lnTo>
                          <a:pt x="376" y="58"/>
                        </a:lnTo>
                        <a:lnTo>
                          <a:pt x="368" y="54"/>
                        </a:lnTo>
                        <a:lnTo>
                          <a:pt x="368" y="54"/>
                        </a:lnTo>
                        <a:lnTo>
                          <a:pt x="360" y="50"/>
                        </a:lnTo>
                        <a:lnTo>
                          <a:pt x="356" y="44"/>
                        </a:lnTo>
                        <a:lnTo>
                          <a:pt x="356" y="38"/>
                        </a:lnTo>
                        <a:lnTo>
                          <a:pt x="354" y="32"/>
                        </a:lnTo>
                        <a:lnTo>
                          <a:pt x="354" y="24"/>
                        </a:lnTo>
                        <a:lnTo>
                          <a:pt x="352" y="18"/>
                        </a:lnTo>
                        <a:lnTo>
                          <a:pt x="346" y="14"/>
                        </a:lnTo>
                        <a:lnTo>
                          <a:pt x="338" y="12"/>
                        </a:lnTo>
                        <a:lnTo>
                          <a:pt x="338" y="12"/>
                        </a:lnTo>
                        <a:lnTo>
                          <a:pt x="326" y="10"/>
                        </a:lnTo>
                        <a:lnTo>
                          <a:pt x="306" y="12"/>
                        </a:lnTo>
                        <a:lnTo>
                          <a:pt x="282" y="14"/>
                        </a:lnTo>
                        <a:lnTo>
                          <a:pt x="260" y="18"/>
                        </a:lnTo>
                        <a:lnTo>
                          <a:pt x="236" y="24"/>
                        </a:lnTo>
                        <a:lnTo>
                          <a:pt x="218" y="32"/>
                        </a:lnTo>
                        <a:lnTo>
                          <a:pt x="210" y="38"/>
                        </a:lnTo>
                        <a:lnTo>
                          <a:pt x="204" y="44"/>
                        </a:lnTo>
                        <a:lnTo>
                          <a:pt x="200" y="50"/>
                        </a:lnTo>
                        <a:lnTo>
                          <a:pt x="198" y="56"/>
                        </a:lnTo>
                        <a:lnTo>
                          <a:pt x="198" y="56"/>
                        </a:lnTo>
                        <a:lnTo>
                          <a:pt x="198" y="62"/>
                        </a:lnTo>
                        <a:lnTo>
                          <a:pt x="196" y="66"/>
                        </a:lnTo>
                        <a:lnTo>
                          <a:pt x="194" y="68"/>
                        </a:lnTo>
                        <a:lnTo>
                          <a:pt x="192" y="70"/>
                        </a:lnTo>
                        <a:lnTo>
                          <a:pt x="186" y="72"/>
                        </a:lnTo>
                        <a:lnTo>
                          <a:pt x="178" y="70"/>
                        </a:lnTo>
                        <a:lnTo>
                          <a:pt x="174" y="72"/>
                        </a:lnTo>
                        <a:lnTo>
                          <a:pt x="172" y="72"/>
                        </a:lnTo>
                        <a:lnTo>
                          <a:pt x="172" y="74"/>
                        </a:lnTo>
                        <a:lnTo>
                          <a:pt x="174" y="84"/>
                        </a:lnTo>
                        <a:lnTo>
                          <a:pt x="182" y="100"/>
                        </a:lnTo>
                        <a:lnTo>
                          <a:pt x="182" y="100"/>
                        </a:lnTo>
                        <a:lnTo>
                          <a:pt x="188" y="116"/>
                        </a:lnTo>
                        <a:lnTo>
                          <a:pt x="188" y="122"/>
                        </a:lnTo>
                        <a:lnTo>
                          <a:pt x="188" y="126"/>
                        </a:lnTo>
                        <a:lnTo>
                          <a:pt x="188" y="130"/>
                        </a:lnTo>
                        <a:lnTo>
                          <a:pt x="184" y="130"/>
                        </a:lnTo>
                        <a:lnTo>
                          <a:pt x="180" y="132"/>
                        </a:lnTo>
                        <a:lnTo>
                          <a:pt x="174" y="132"/>
                        </a:lnTo>
                        <a:lnTo>
                          <a:pt x="168" y="134"/>
                        </a:lnTo>
                        <a:lnTo>
                          <a:pt x="168" y="136"/>
                        </a:lnTo>
                        <a:lnTo>
                          <a:pt x="168" y="138"/>
                        </a:lnTo>
                        <a:lnTo>
                          <a:pt x="174" y="148"/>
                        </a:lnTo>
                        <a:lnTo>
                          <a:pt x="174" y="148"/>
                        </a:lnTo>
                        <a:lnTo>
                          <a:pt x="184" y="158"/>
                        </a:lnTo>
                        <a:lnTo>
                          <a:pt x="192" y="164"/>
                        </a:lnTo>
                        <a:lnTo>
                          <a:pt x="200" y="166"/>
                        </a:lnTo>
                        <a:lnTo>
                          <a:pt x="208" y="166"/>
                        </a:lnTo>
                        <a:lnTo>
                          <a:pt x="212" y="164"/>
                        </a:lnTo>
                        <a:lnTo>
                          <a:pt x="218" y="166"/>
                        </a:lnTo>
                        <a:lnTo>
                          <a:pt x="220" y="168"/>
                        </a:lnTo>
                        <a:lnTo>
                          <a:pt x="222" y="176"/>
                        </a:lnTo>
                        <a:lnTo>
                          <a:pt x="222" y="176"/>
                        </a:lnTo>
                        <a:lnTo>
                          <a:pt x="222" y="180"/>
                        </a:lnTo>
                        <a:lnTo>
                          <a:pt x="220" y="182"/>
                        </a:lnTo>
                        <a:lnTo>
                          <a:pt x="216" y="184"/>
                        </a:lnTo>
                        <a:lnTo>
                          <a:pt x="210" y="184"/>
                        </a:lnTo>
                        <a:lnTo>
                          <a:pt x="196" y="180"/>
                        </a:lnTo>
                        <a:lnTo>
                          <a:pt x="180" y="174"/>
                        </a:lnTo>
                        <a:lnTo>
                          <a:pt x="164" y="164"/>
                        </a:lnTo>
                        <a:lnTo>
                          <a:pt x="152" y="150"/>
                        </a:lnTo>
                        <a:lnTo>
                          <a:pt x="148" y="144"/>
                        </a:lnTo>
                        <a:lnTo>
                          <a:pt x="146" y="136"/>
                        </a:lnTo>
                        <a:lnTo>
                          <a:pt x="146" y="130"/>
                        </a:lnTo>
                        <a:lnTo>
                          <a:pt x="150" y="122"/>
                        </a:lnTo>
                        <a:lnTo>
                          <a:pt x="150" y="122"/>
                        </a:lnTo>
                        <a:lnTo>
                          <a:pt x="154" y="110"/>
                        </a:lnTo>
                        <a:lnTo>
                          <a:pt x="152" y="102"/>
                        </a:lnTo>
                        <a:lnTo>
                          <a:pt x="150" y="98"/>
                        </a:lnTo>
                        <a:lnTo>
                          <a:pt x="144" y="94"/>
                        </a:lnTo>
                        <a:lnTo>
                          <a:pt x="142" y="90"/>
                        </a:lnTo>
                        <a:lnTo>
                          <a:pt x="140" y="84"/>
                        </a:lnTo>
                        <a:lnTo>
                          <a:pt x="144" y="74"/>
                        </a:lnTo>
                        <a:lnTo>
                          <a:pt x="154" y="60"/>
                        </a:lnTo>
                        <a:lnTo>
                          <a:pt x="154" y="60"/>
                        </a:lnTo>
                        <a:lnTo>
                          <a:pt x="168" y="44"/>
                        </a:lnTo>
                        <a:lnTo>
                          <a:pt x="180" y="34"/>
                        </a:lnTo>
                        <a:lnTo>
                          <a:pt x="188" y="26"/>
                        </a:lnTo>
                        <a:lnTo>
                          <a:pt x="198" y="22"/>
                        </a:lnTo>
                        <a:lnTo>
                          <a:pt x="208" y="16"/>
                        </a:lnTo>
                        <a:lnTo>
                          <a:pt x="212" y="14"/>
                        </a:lnTo>
                        <a:lnTo>
                          <a:pt x="212" y="10"/>
                        </a:lnTo>
                        <a:lnTo>
                          <a:pt x="212" y="10"/>
                        </a:lnTo>
                        <a:lnTo>
                          <a:pt x="212" y="8"/>
                        </a:lnTo>
                        <a:lnTo>
                          <a:pt x="210" y="6"/>
                        </a:lnTo>
                        <a:lnTo>
                          <a:pt x="200" y="2"/>
                        </a:lnTo>
                        <a:lnTo>
                          <a:pt x="184" y="0"/>
                        </a:lnTo>
                        <a:lnTo>
                          <a:pt x="164" y="0"/>
                        </a:lnTo>
                        <a:lnTo>
                          <a:pt x="140" y="2"/>
                        </a:lnTo>
                        <a:lnTo>
                          <a:pt x="116" y="8"/>
                        </a:lnTo>
                        <a:lnTo>
                          <a:pt x="92" y="16"/>
                        </a:lnTo>
                        <a:lnTo>
                          <a:pt x="70" y="26"/>
                        </a:lnTo>
                        <a:lnTo>
                          <a:pt x="70" y="26"/>
                        </a:lnTo>
                        <a:lnTo>
                          <a:pt x="52" y="38"/>
                        </a:lnTo>
                        <a:lnTo>
                          <a:pt x="40" y="48"/>
                        </a:lnTo>
                        <a:lnTo>
                          <a:pt x="34" y="56"/>
                        </a:lnTo>
                        <a:lnTo>
                          <a:pt x="32" y="62"/>
                        </a:lnTo>
                        <a:lnTo>
                          <a:pt x="30" y="72"/>
                        </a:lnTo>
                        <a:lnTo>
                          <a:pt x="28" y="76"/>
                        </a:lnTo>
                        <a:lnTo>
                          <a:pt x="24" y="82"/>
                        </a:lnTo>
                        <a:lnTo>
                          <a:pt x="24" y="82"/>
                        </a:lnTo>
                        <a:lnTo>
                          <a:pt x="18" y="90"/>
                        </a:lnTo>
                        <a:lnTo>
                          <a:pt x="14" y="96"/>
                        </a:lnTo>
                        <a:lnTo>
                          <a:pt x="8" y="112"/>
                        </a:lnTo>
                        <a:lnTo>
                          <a:pt x="4" y="132"/>
                        </a:lnTo>
                        <a:lnTo>
                          <a:pt x="2" y="156"/>
                        </a:lnTo>
                        <a:lnTo>
                          <a:pt x="2" y="156"/>
                        </a:lnTo>
                        <a:lnTo>
                          <a:pt x="0" y="168"/>
                        </a:lnTo>
                        <a:lnTo>
                          <a:pt x="0" y="178"/>
                        </a:lnTo>
                        <a:lnTo>
                          <a:pt x="2" y="184"/>
                        </a:lnTo>
                        <a:lnTo>
                          <a:pt x="8" y="188"/>
                        </a:lnTo>
                        <a:lnTo>
                          <a:pt x="14" y="192"/>
                        </a:lnTo>
                        <a:lnTo>
                          <a:pt x="26" y="194"/>
                        </a:lnTo>
                        <a:lnTo>
                          <a:pt x="58" y="196"/>
                        </a:lnTo>
                        <a:lnTo>
                          <a:pt x="58" y="196"/>
                        </a:lnTo>
                        <a:lnTo>
                          <a:pt x="76" y="200"/>
                        </a:lnTo>
                        <a:lnTo>
                          <a:pt x="90" y="202"/>
                        </a:lnTo>
                        <a:lnTo>
                          <a:pt x="100" y="208"/>
                        </a:lnTo>
                        <a:lnTo>
                          <a:pt x="106" y="212"/>
                        </a:lnTo>
                        <a:lnTo>
                          <a:pt x="106" y="216"/>
                        </a:lnTo>
                        <a:lnTo>
                          <a:pt x="102" y="218"/>
                        </a:lnTo>
                        <a:lnTo>
                          <a:pt x="94" y="220"/>
                        </a:lnTo>
                        <a:lnTo>
                          <a:pt x="78" y="218"/>
                        </a:lnTo>
                        <a:lnTo>
                          <a:pt x="78" y="218"/>
                        </a:lnTo>
                        <a:lnTo>
                          <a:pt x="50" y="216"/>
                        </a:lnTo>
                        <a:lnTo>
                          <a:pt x="40" y="216"/>
                        </a:lnTo>
                        <a:lnTo>
                          <a:pt x="32" y="218"/>
                        </a:lnTo>
                        <a:lnTo>
                          <a:pt x="32" y="220"/>
                        </a:lnTo>
                        <a:lnTo>
                          <a:pt x="30" y="222"/>
                        </a:lnTo>
                        <a:lnTo>
                          <a:pt x="32" y="228"/>
                        </a:lnTo>
                        <a:lnTo>
                          <a:pt x="40" y="238"/>
                        </a:lnTo>
                        <a:lnTo>
                          <a:pt x="52" y="250"/>
                        </a:lnTo>
                        <a:lnTo>
                          <a:pt x="52" y="250"/>
                        </a:lnTo>
                        <a:lnTo>
                          <a:pt x="68" y="262"/>
                        </a:lnTo>
                        <a:lnTo>
                          <a:pt x="82" y="268"/>
                        </a:lnTo>
                        <a:lnTo>
                          <a:pt x="94" y="270"/>
                        </a:lnTo>
                        <a:lnTo>
                          <a:pt x="106" y="270"/>
                        </a:lnTo>
                        <a:lnTo>
                          <a:pt x="118" y="270"/>
                        </a:lnTo>
                        <a:lnTo>
                          <a:pt x="130" y="270"/>
                        </a:lnTo>
                        <a:lnTo>
                          <a:pt x="142" y="272"/>
                        </a:lnTo>
                        <a:lnTo>
                          <a:pt x="152" y="278"/>
                        </a:lnTo>
                        <a:lnTo>
                          <a:pt x="152" y="278"/>
                        </a:lnTo>
                        <a:lnTo>
                          <a:pt x="162" y="284"/>
                        </a:lnTo>
                        <a:lnTo>
                          <a:pt x="174" y="288"/>
                        </a:lnTo>
                        <a:lnTo>
                          <a:pt x="184" y="290"/>
                        </a:lnTo>
                        <a:lnTo>
                          <a:pt x="194" y="288"/>
                        </a:lnTo>
                        <a:lnTo>
                          <a:pt x="208" y="286"/>
                        </a:lnTo>
                        <a:lnTo>
                          <a:pt x="218" y="286"/>
                        </a:lnTo>
                        <a:lnTo>
                          <a:pt x="218" y="286"/>
                        </a:lnTo>
                        <a:lnTo>
                          <a:pt x="234" y="288"/>
                        </a:lnTo>
                        <a:lnTo>
                          <a:pt x="244" y="290"/>
                        </a:lnTo>
                        <a:lnTo>
                          <a:pt x="260" y="290"/>
                        </a:lnTo>
                        <a:lnTo>
                          <a:pt x="268" y="290"/>
                        </a:lnTo>
                        <a:lnTo>
                          <a:pt x="276" y="290"/>
                        </a:lnTo>
                        <a:lnTo>
                          <a:pt x="288" y="292"/>
                        </a:lnTo>
                        <a:lnTo>
                          <a:pt x="304" y="296"/>
                        </a:lnTo>
                        <a:lnTo>
                          <a:pt x="304" y="296"/>
                        </a:lnTo>
                        <a:lnTo>
                          <a:pt x="316" y="300"/>
                        </a:lnTo>
                        <a:lnTo>
                          <a:pt x="324" y="298"/>
                        </a:lnTo>
                        <a:lnTo>
                          <a:pt x="328" y="296"/>
                        </a:lnTo>
                        <a:lnTo>
                          <a:pt x="332" y="292"/>
                        </a:lnTo>
                        <a:lnTo>
                          <a:pt x="336" y="290"/>
                        </a:lnTo>
                        <a:lnTo>
                          <a:pt x="340" y="290"/>
                        </a:lnTo>
                        <a:lnTo>
                          <a:pt x="346" y="292"/>
                        </a:lnTo>
                        <a:lnTo>
                          <a:pt x="356" y="298"/>
                        </a:lnTo>
                        <a:lnTo>
                          <a:pt x="356" y="298"/>
                        </a:lnTo>
                        <a:lnTo>
                          <a:pt x="374" y="312"/>
                        </a:lnTo>
                        <a:lnTo>
                          <a:pt x="378" y="314"/>
                        </a:lnTo>
                        <a:lnTo>
                          <a:pt x="380" y="312"/>
                        </a:lnTo>
                        <a:lnTo>
                          <a:pt x="378" y="310"/>
                        </a:lnTo>
                        <a:lnTo>
                          <a:pt x="376" y="306"/>
                        </a:lnTo>
                        <a:lnTo>
                          <a:pt x="362" y="292"/>
                        </a:lnTo>
                        <a:lnTo>
                          <a:pt x="362" y="292"/>
                        </a:lnTo>
                        <a:lnTo>
                          <a:pt x="358" y="284"/>
                        </a:lnTo>
                        <a:lnTo>
                          <a:pt x="358" y="282"/>
                        </a:lnTo>
                        <a:lnTo>
                          <a:pt x="360" y="282"/>
                        </a:lnTo>
                        <a:lnTo>
                          <a:pt x="368" y="282"/>
                        </a:lnTo>
                        <a:lnTo>
                          <a:pt x="380" y="284"/>
                        </a:lnTo>
                        <a:lnTo>
                          <a:pt x="410" y="290"/>
                        </a:lnTo>
                        <a:lnTo>
                          <a:pt x="444" y="296"/>
                        </a:lnTo>
                        <a:lnTo>
                          <a:pt x="444" y="296"/>
                        </a:lnTo>
                        <a:lnTo>
                          <a:pt x="450" y="296"/>
                        </a:lnTo>
                        <a:lnTo>
                          <a:pt x="454" y="296"/>
                        </a:lnTo>
                        <a:lnTo>
                          <a:pt x="458" y="294"/>
                        </a:lnTo>
                        <a:lnTo>
                          <a:pt x="460" y="290"/>
                        </a:lnTo>
                        <a:lnTo>
                          <a:pt x="462" y="284"/>
                        </a:lnTo>
                        <a:lnTo>
                          <a:pt x="460" y="274"/>
                        </a:lnTo>
                        <a:lnTo>
                          <a:pt x="456" y="260"/>
                        </a:lnTo>
                        <a:lnTo>
                          <a:pt x="456" y="260"/>
                        </a:lnTo>
                        <a:lnTo>
                          <a:pt x="458" y="260"/>
                        </a:lnTo>
                        <a:lnTo>
                          <a:pt x="464" y="264"/>
                        </a:lnTo>
                        <a:lnTo>
                          <a:pt x="464" y="264"/>
                        </a:lnTo>
                        <a:lnTo>
                          <a:pt x="472" y="270"/>
                        </a:lnTo>
                        <a:lnTo>
                          <a:pt x="478" y="272"/>
                        </a:lnTo>
                        <a:lnTo>
                          <a:pt x="484" y="272"/>
                        </a:lnTo>
                        <a:lnTo>
                          <a:pt x="490" y="272"/>
                        </a:lnTo>
                        <a:lnTo>
                          <a:pt x="494" y="272"/>
                        </a:lnTo>
                        <a:lnTo>
                          <a:pt x="498" y="274"/>
                        </a:lnTo>
                        <a:lnTo>
                          <a:pt x="500" y="278"/>
                        </a:lnTo>
                        <a:lnTo>
                          <a:pt x="502" y="286"/>
                        </a:lnTo>
                        <a:lnTo>
                          <a:pt x="502" y="286"/>
                        </a:lnTo>
                        <a:lnTo>
                          <a:pt x="502" y="294"/>
                        </a:lnTo>
                        <a:lnTo>
                          <a:pt x="504" y="302"/>
                        </a:lnTo>
                        <a:lnTo>
                          <a:pt x="508" y="306"/>
                        </a:lnTo>
                        <a:lnTo>
                          <a:pt x="512" y="310"/>
                        </a:lnTo>
                        <a:lnTo>
                          <a:pt x="528" y="318"/>
                        </a:lnTo>
                        <a:lnTo>
                          <a:pt x="556" y="326"/>
                        </a:lnTo>
                        <a:lnTo>
                          <a:pt x="556" y="326"/>
                        </a:lnTo>
                        <a:lnTo>
                          <a:pt x="570" y="332"/>
                        </a:lnTo>
                        <a:lnTo>
                          <a:pt x="580" y="338"/>
                        </a:lnTo>
                        <a:lnTo>
                          <a:pt x="584" y="344"/>
                        </a:lnTo>
                        <a:lnTo>
                          <a:pt x="584" y="348"/>
                        </a:lnTo>
                        <a:lnTo>
                          <a:pt x="580" y="352"/>
                        </a:lnTo>
                        <a:lnTo>
                          <a:pt x="574" y="356"/>
                        </a:lnTo>
                        <a:lnTo>
                          <a:pt x="568" y="356"/>
                        </a:lnTo>
                        <a:lnTo>
                          <a:pt x="558" y="356"/>
                        </a:lnTo>
                        <a:lnTo>
                          <a:pt x="558" y="356"/>
                        </a:lnTo>
                        <a:lnTo>
                          <a:pt x="550" y="358"/>
                        </a:lnTo>
                        <a:lnTo>
                          <a:pt x="542" y="360"/>
                        </a:lnTo>
                        <a:lnTo>
                          <a:pt x="538" y="366"/>
                        </a:lnTo>
                        <a:lnTo>
                          <a:pt x="538" y="370"/>
                        </a:lnTo>
                        <a:lnTo>
                          <a:pt x="538" y="376"/>
                        </a:lnTo>
                        <a:lnTo>
                          <a:pt x="544" y="378"/>
                        </a:lnTo>
                        <a:lnTo>
                          <a:pt x="550" y="380"/>
                        </a:lnTo>
                        <a:lnTo>
                          <a:pt x="562" y="378"/>
                        </a:lnTo>
                        <a:lnTo>
                          <a:pt x="562" y="378"/>
                        </a:lnTo>
                        <a:lnTo>
                          <a:pt x="576" y="374"/>
                        </a:lnTo>
                        <a:lnTo>
                          <a:pt x="590" y="374"/>
                        </a:lnTo>
                        <a:lnTo>
                          <a:pt x="606" y="376"/>
                        </a:lnTo>
                        <a:lnTo>
                          <a:pt x="618" y="380"/>
                        </a:lnTo>
                        <a:lnTo>
                          <a:pt x="630" y="384"/>
                        </a:lnTo>
                        <a:lnTo>
                          <a:pt x="640" y="390"/>
                        </a:lnTo>
                        <a:lnTo>
                          <a:pt x="648" y="396"/>
                        </a:lnTo>
                        <a:lnTo>
                          <a:pt x="654" y="402"/>
                        </a:lnTo>
                        <a:lnTo>
                          <a:pt x="654" y="402"/>
                        </a:lnTo>
                        <a:lnTo>
                          <a:pt x="656" y="406"/>
                        </a:lnTo>
                        <a:lnTo>
                          <a:pt x="662" y="408"/>
                        </a:lnTo>
                        <a:lnTo>
                          <a:pt x="674" y="414"/>
                        </a:lnTo>
                        <a:lnTo>
                          <a:pt x="682" y="416"/>
                        </a:lnTo>
                        <a:lnTo>
                          <a:pt x="688" y="420"/>
                        </a:lnTo>
                        <a:lnTo>
                          <a:pt x="692" y="428"/>
                        </a:lnTo>
                        <a:lnTo>
                          <a:pt x="696" y="438"/>
                        </a:lnTo>
                        <a:lnTo>
                          <a:pt x="696" y="438"/>
                        </a:lnTo>
                        <a:lnTo>
                          <a:pt x="698" y="450"/>
                        </a:lnTo>
                        <a:lnTo>
                          <a:pt x="704" y="460"/>
                        </a:lnTo>
                        <a:lnTo>
                          <a:pt x="712" y="474"/>
                        </a:lnTo>
                        <a:lnTo>
                          <a:pt x="716" y="480"/>
                        </a:lnTo>
                        <a:lnTo>
                          <a:pt x="718" y="486"/>
                        </a:lnTo>
                        <a:lnTo>
                          <a:pt x="716" y="490"/>
                        </a:lnTo>
                        <a:lnTo>
                          <a:pt x="710" y="494"/>
                        </a:lnTo>
                        <a:lnTo>
                          <a:pt x="710" y="494"/>
                        </a:lnTo>
                        <a:lnTo>
                          <a:pt x="696" y="504"/>
                        </a:lnTo>
                        <a:lnTo>
                          <a:pt x="682" y="518"/>
                        </a:lnTo>
                        <a:lnTo>
                          <a:pt x="668" y="532"/>
                        </a:lnTo>
                        <a:lnTo>
                          <a:pt x="648" y="548"/>
                        </a:lnTo>
                        <a:lnTo>
                          <a:pt x="648" y="548"/>
                        </a:lnTo>
                        <a:lnTo>
                          <a:pt x="644" y="554"/>
                        </a:lnTo>
                        <a:lnTo>
                          <a:pt x="640" y="558"/>
                        </a:lnTo>
                        <a:lnTo>
                          <a:pt x="640" y="564"/>
                        </a:lnTo>
                        <a:lnTo>
                          <a:pt x="642" y="570"/>
                        </a:lnTo>
                        <a:lnTo>
                          <a:pt x="646" y="580"/>
                        </a:lnTo>
                        <a:lnTo>
                          <a:pt x="654" y="590"/>
                        </a:lnTo>
                        <a:lnTo>
                          <a:pt x="666" y="604"/>
                        </a:lnTo>
                        <a:lnTo>
                          <a:pt x="666" y="606"/>
                        </a:lnTo>
                        <a:lnTo>
                          <a:pt x="666" y="608"/>
                        </a:lnTo>
                        <a:lnTo>
                          <a:pt x="656" y="606"/>
                        </a:lnTo>
                        <a:lnTo>
                          <a:pt x="656" y="606"/>
                        </a:lnTo>
                        <a:lnTo>
                          <a:pt x="646" y="602"/>
                        </a:lnTo>
                        <a:lnTo>
                          <a:pt x="636" y="604"/>
                        </a:lnTo>
                        <a:lnTo>
                          <a:pt x="628" y="608"/>
                        </a:lnTo>
                        <a:lnTo>
                          <a:pt x="620" y="612"/>
                        </a:lnTo>
                        <a:lnTo>
                          <a:pt x="608" y="616"/>
                        </a:lnTo>
                        <a:lnTo>
                          <a:pt x="594" y="620"/>
                        </a:lnTo>
                        <a:lnTo>
                          <a:pt x="576" y="620"/>
                        </a:lnTo>
                        <a:lnTo>
                          <a:pt x="552" y="614"/>
                        </a:lnTo>
                        <a:lnTo>
                          <a:pt x="552" y="614"/>
                        </a:lnTo>
                        <a:lnTo>
                          <a:pt x="528" y="610"/>
                        </a:lnTo>
                        <a:lnTo>
                          <a:pt x="516" y="608"/>
                        </a:lnTo>
                        <a:lnTo>
                          <a:pt x="510" y="608"/>
                        </a:lnTo>
                        <a:lnTo>
                          <a:pt x="510" y="612"/>
                        </a:lnTo>
                        <a:lnTo>
                          <a:pt x="510" y="616"/>
                        </a:lnTo>
                        <a:lnTo>
                          <a:pt x="510" y="624"/>
                        </a:lnTo>
                        <a:lnTo>
                          <a:pt x="504" y="630"/>
                        </a:lnTo>
                        <a:lnTo>
                          <a:pt x="494" y="638"/>
                        </a:lnTo>
                        <a:lnTo>
                          <a:pt x="494" y="638"/>
                        </a:lnTo>
                        <a:lnTo>
                          <a:pt x="488" y="642"/>
                        </a:lnTo>
                        <a:lnTo>
                          <a:pt x="484" y="648"/>
                        </a:lnTo>
                        <a:lnTo>
                          <a:pt x="482" y="652"/>
                        </a:lnTo>
                        <a:lnTo>
                          <a:pt x="480" y="658"/>
                        </a:lnTo>
                        <a:lnTo>
                          <a:pt x="482" y="664"/>
                        </a:lnTo>
                        <a:lnTo>
                          <a:pt x="484" y="668"/>
                        </a:lnTo>
                        <a:lnTo>
                          <a:pt x="494" y="678"/>
                        </a:lnTo>
                        <a:lnTo>
                          <a:pt x="506" y="686"/>
                        </a:lnTo>
                        <a:lnTo>
                          <a:pt x="514" y="688"/>
                        </a:lnTo>
                        <a:lnTo>
                          <a:pt x="522" y="690"/>
                        </a:lnTo>
                        <a:lnTo>
                          <a:pt x="532" y="690"/>
                        </a:lnTo>
                        <a:lnTo>
                          <a:pt x="542" y="690"/>
                        </a:lnTo>
                        <a:lnTo>
                          <a:pt x="552" y="686"/>
                        </a:lnTo>
                        <a:lnTo>
                          <a:pt x="562" y="682"/>
                        </a:lnTo>
                        <a:lnTo>
                          <a:pt x="562" y="682"/>
                        </a:lnTo>
                        <a:lnTo>
                          <a:pt x="580" y="676"/>
                        </a:lnTo>
                        <a:lnTo>
                          <a:pt x="592" y="674"/>
                        </a:lnTo>
                        <a:lnTo>
                          <a:pt x="602" y="676"/>
                        </a:lnTo>
                        <a:lnTo>
                          <a:pt x="608" y="680"/>
                        </a:lnTo>
                        <a:lnTo>
                          <a:pt x="612" y="684"/>
                        </a:lnTo>
                        <a:lnTo>
                          <a:pt x="616" y="688"/>
                        </a:lnTo>
                        <a:lnTo>
                          <a:pt x="622" y="686"/>
                        </a:lnTo>
                        <a:lnTo>
                          <a:pt x="628" y="680"/>
                        </a:lnTo>
                        <a:lnTo>
                          <a:pt x="628" y="680"/>
                        </a:lnTo>
                        <a:lnTo>
                          <a:pt x="634" y="674"/>
                        </a:lnTo>
                        <a:lnTo>
                          <a:pt x="640" y="674"/>
                        </a:lnTo>
                        <a:lnTo>
                          <a:pt x="642" y="676"/>
                        </a:lnTo>
                        <a:lnTo>
                          <a:pt x="644" y="680"/>
                        </a:lnTo>
                        <a:lnTo>
                          <a:pt x="646" y="688"/>
                        </a:lnTo>
                        <a:lnTo>
                          <a:pt x="648" y="690"/>
                        </a:lnTo>
                        <a:lnTo>
                          <a:pt x="650" y="686"/>
                        </a:lnTo>
                        <a:lnTo>
                          <a:pt x="650" y="686"/>
                        </a:lnTo>
                        <a:lnTo>
                          <a:pt x="656" y="674"/>
                        </a:lnTo>
                        <a:lnTo>
                          <a:pt x="658" y="672"/>
                        </a:lnTo>
                        <a:lnTo>
                          <a:pt x="662" y="672"/>
                        </a:lnTo>
                        <a:lnTo>
                          <a:pt x="666" y="674"/>
                        </a:lnTo>
                        <a:lnTo>
                          <a:pt x="672" y="680"/>
                        </a:lnTo>
                        <a:lnTo>
                          <a:pt x="696" y="706"/>
                        </a:lnTo>
                        <a:lnTo>
                          <a:pt x="696" y="706"/>
                        </a:lnTo>
                        <a:lnTo>
                          <a:pt x="708" y="720"/>
                        </a:lnTo>
                        <a:lnTo>
                          <a:pt x="718" y="726"/>
                        </a:lnTo>
                        <a:lnTo>
                          <a:pt x="724" y="728"/>
                        </a:lnTo>
                        <a:lnTo>
                          <a:pt x="728" y="728"/>
                        </a:lnTo>
                        <a:lnTo>
                          <a:pt x="732" y="726"/>
                        </a:lnTo>
                        <a:lnTo>
                          <a:pt x="736" y="724"/>
                        </a:lnTo>
                        <a:lnTo>
                          <a:pt x="742" y="726"/>
                        </a:lnTo>
                        <a:lnTo>
                          <a:pt x="750" y="732"/>
                        </a:lnTo>
                        <a:lnTo>
                          <a:pt x="750" y="732"/>
                        </a:lnTo>
                        <a:lnTo>
                          <a:pt x="756" y="738"/>
                        </a:lnTo>
                        <a:lnTo>
                          <a:pt x="756" y="740"/>
                        </a:lnTo>
                        <a:lnTo>
                          <a:pt x="754" y="742"/>
                        </a:lnTo>
                        <a:lnTo>
                          <a:pt x="750" y="744"/>
                        </a:lnTo>
                        <a:lnTo>
                          <a:pt x="742" y="744"/>
                        </a:lnTo>
                        <a:lnTo>
                          <a:pt x="734" y="746"/>
                        </a:lnTo>
                        <a:lnTo>
                          <a:pt x="732" y="748"/>
                        </a:lnTo>
                        <a:lnTo>
                          <a:pt x="732" y="750"/>
                        </a:lnTo>
                        <a:lnTo>
                          <a:pt x="732" y="752"/>
                        </a:lnTo>
                        <a:lnTo>
                          <a:pt x="734" y="756"/>
                        </a:lnTo>
                        <a:lnTo>
                          <a:pt x="744" y="768"/>
                        </a:lnTo>
                        <a:lnTo>
                          <a:pt x="744" y="768"/>
                        </a:lnTo>
                        <a:lnTo>
                          <a:pt x="754" y="776"/>
                        </a:lnTo>
                        <a:lnTo>
                          <a:pt x="766" y="780"/>
                        </a:lnTo>
                        <a:lnTo>
                          <a:pt x="792" y="788"/>
                        </a:lnTo>
                        <a:lnTo>
                          <a:pt x="816" y="794"/>
                        </a:lnTo>
                        <a:lnTo>
                          <a:pt x="826" y="798"/>
                        </a:lnTo>
                        <a:lnTo>
                          <a:pt x="834" y="804"/>
                        </a:lnTo>
                        <a:lnTo>
                          <a:pt x="834" y="804"/>
                        </a:lnTo>
                        <a:lnTo>
                          <a:pt x="842" y="812"/>
                        </a:lnTo>
                        <a:lnTo>
                          <a:pt x="854" y="818"/>
                        </a:lnTo>
                        <a:lnTo>
                          <a:pt x="868" y="824"/>
                        </a:lnTo>
                        <a:lnTo>
                          <a:pt x="882" y="828"/>
                        </a:lnTo>
                        <a:lnTo>
                          <a:pt x="916" y="836"/>
                        </a:lnTo>
                        <a:lnTo>
                          <a:pt x="948" y="846"/>
                        </a:lnTo>
                        <a:lnTo>
                          <a:pt x="948" y="846"/>
                        </a:lnTo>
                        <a:lnTo>
                          <a:pt x="962" y="850"/>
                        </a:lnTo>
                        <a:lnTo>
                          <a:pt x="970" y="850"/>
                        </a:lnTo>
                        <a:lnTo>
                          <a:pt x="972" y="848"/>
                        </a:lnTo>
                        <a:lnTo>
                          <a:pt x="974" y="846"/>
                        </a:lnTo>
                        <a:lnTo>
                          <a:pt x="974" y="840"/>
                        </a:lnTo>
                        <a:lnTo>
                          <a:pt x="972" y="832"/>
                        </a:lnTo>
                        <a:lnTo>
                          <a:pt x="966" y="822"/>
                        </a:lnTo>
                        <a:lnTo>
                          <a:pt x="958" y="812"/>
                        </a:lnTo>
                        <a:lnTo>
                          <a:pt x="948" y="802"/>
                        </a:lnTo>
                        <a:lnTo>
                          <a:pt x="948" y="802"/>
                        </a:lnTo>
                        <a:lnTo>
                          <a:pt x="936" y="792"/>
                        </a:lnTo>
                        <a:lnTo>
                          <a:pt x="920" y="780"/>
                        </a:lnTo>
                        <a:lnTo>
                          <a:pt x="888" y="758"/>
                        </a:lnTo>
                        <a:lnTo>
                          <a:pt x="872" y="748"/>
                        </a:lnTo>
                        <a:lnTo>
                          <a:pt x="862" y="738"/>
                        </a:lnTo>
                        <a:lnTo>
                          <a:pt x="854" y="732"/>
                        </a:lnTo>
                        <a:lnTo>
                          <a:pt x="854" y="728"/>
                        </a:lnTo>
                        <a:lnTo>
                          <a:pt x="854" y="724"/>
                        </a:lnTo>
                        <a:lnTo>
                          <a:pt x="854" y="724"/>
                        </a:lnTo>
                        <a:lnTo>
                          <a:pt x="854" y="724"/>
                        </a:lnTo>
                        <a:lnTo>
                          <a:pt x="858" y="722"/>
                        </a:lnTo>
                        <a:lnTo>
                          <a:pt x="864" y="724"/>
                        </a:lnTo>
                        <a:lnTo>
                          <a:pt x="880" y="736"/>
                        </a:lnTo>
                        <a:lnTo>
                          <a:pt x="894" y="748"/>
                        </a:lnTo>
                        <a:lnTo>
                          <a:pt x="900" y="748"/>
                        </a:lnTo>
                        <a:lnTo>
                          <a:pt x="902" y="748"/>
                        </a:lnTo>
                        <a:lnTo>
                          <a:pt x="902" y="746"/>
                        </a:lnTo>
                        <a:lnTo>
                          <a:pt x="902" y="746"/>
                        </a:lnTo>
                        <a:lnTo>
                          <a:pt x="902" y="742"/>
                        </a:lnTo>
                        <a:lnTo>
                          <a:pt x="904" y="742"/>
                        </a:lnTo>
                        <a:lnTo>
                          <a:pt x="908" y="744"/>
                        </a:lnTo>
                        <a:lnTo>
                          <a:pt x="924" y="754"/>
                        </a:lnTo>
                        <a:lnTo>
                          <a:pt x="932" y="762"/>
                        </a:lnTo>
                        <a:lnTo>
                          <a:pt x="944" y="770"/>
                        </a:lnTo>
                        <a:lnTo>
                          <a:pt x="956" y="776"/>
                        </a:lnTo>
                        <a:lnTo>
                          <a:pt x="968" y="778"/>
                        </a:lnTo>
                        <a:lnTo>
                          <a:pt x="968" y="778"/>
                        </a:lnTo>
                        <a:lnTo>
                          <a:pt x="980" y="782"/>
                        </a:lnTo>
                        <a:lnTo>
                          <a:pt x="990" y="788"/>
                        </a:lnTo>
                        <a:lnTo>
                          <a:pt x="998" y="798"/>
                        </a:lnTo>
                        <a:lnTo>
                          <a:pt x="1004" y="806"/>
                        </a:lnTo>
                        <a:lnTo>
                          <a:pt x="1010" y="812"/>
                        </a:lnTo>
                        <a:lnTo>
                          <a:pt x="1012" y="814"/>
                        </a:lnTo>
                        <a:lnTo>
                          <a:pt x="1014" y="812"/>
                        </a:lnTo>
                        <a:lnTo>
                          <a:pt x="1012" y="802"/>
                        </a:lnTo>
                        <a:lnTo>
                          <a:pt x="1012" y="802"/>
                        </a:lnTo>
                        <a:lnTo>
                          <a:pt x="1012" y="792"/>
                        </a:lnTo>
                        <a:lnTo>
                          <a:pt x="1012" y="788"/>
                        </a:lnTo>
                        <a:lnTo>
                          <a:pt x="1014" y="788"/>
                        </a:lnTo>
                        <a:lnTo>
                          <a:pt x="1016" y="788"/>
                        </a:lnTo>
                        <a:lnTo>
                          <a:pt x="1018" y="788"/>
                        </a:lnTo>
                        <a:lnTo>
                          <a:pt x="1020" y="786"/>
                        </a:lnTo>
                        <a:lnTo>
                          <a:pt x="1020" y="780"/>
                        </a:lnTo>
                        <a:lnTo>
                          <a:pt x="1018" y="766"/>
                        </a:lnTo>
                        <a:lnTo>
                          <a:pt x="1018" y="766"/>
                        </a:lnTo>
                        <a:lnTo>
                          <a:pt x="1016" y="750"/>
                        </a:lnTo>
                        <a:lnTo>
                          <a:pt x="1018" y="752"/>
                        </a:lnTo>
                        <a:lnTo>
                          <a:pt x="1020" y="754"/>
                        </a:lnTo>
                        <a:lnTo>
                          <a:pt x="1022" y="758"/>
                        </a:lnTo>
                        <a:lnTo>
                          <a:pt x="1026" y="760"/>
                        </a:lnTo>
                        <a:lnTo>
                          <a:pt x="1028" y="756"/>
                        </a:lnTo>
                        <a:lnTo>
                          <a:pt x="1032" y="746"/>
                        </a:lnTo>
                        <a:lnTo>
                          <a:pt x="1032" y="746"/>
                        </a:lnTo>
                        <a:lnTo>
                          <a:pt x="1032" y="734"/>
                        </a:lnTo>
                        <a:lnTo>
                          <a:pt x="1030" y="728"/>
                        </a:lnTo>
                        <a:lnTo>
                          <a:pt x="1026" y="724"/>
                        </a:lnTo>
                        <a:lnTo>
                          <a:pt x="1022" y="724"/>
                        </a:lnTo>
                        <a:lnTo>
                          <a:pt x="1018" y="722"/>
                        </a:lnTo>
                        <a:lnTo>
                          <a:pt x="1014" y="722"/>
                        </a:lnTo>
                        <a:lnTo>
                          <a:pt x="1014" y="720"/>
                        </a:lnTo>
                        <a:lnTo>
                          <a:pt x="1018" y="714"/>
                        </a:lnTo>
                        <a:lnTo>
                          <a:pt x="1018" y="714"/>
                        </a:lnTo>
                        <a:lnTo>
                          <a:pt x="1022" y="708"/>
                        </a:lnTo>
                        <a:lnTo>
                          <a:pt x="1020" y="704"/>
                        </a:lnTo>
                        <a:lnTo>
                          <a:pt x="1016" y="702"/>
                        </a:lnTo>
                        <a:lnTo>
                          <a:pt x="1012" y="700"/>
                        </a:lnTo>
                        <a:lnTo>
                          <a:pt x="1006" y="700"/>
                        </a:lnTo>
                        <a:lnTo>
                          <a:pt x="1000" y="698"/>
                        </a:lnTo>
                        <a:lnTo>
                          <a:pt x="1000" y="694"/>
                        </a:lnTo>
                        <a:lnTo>
                          <a:pt x="1002" y="688"/>
                        </a:lnTo>
                        <a:lnTo>
                          <a:pt x="1002" y="688"/>
                        </a:lnTo>
                        <a:lnTo>
                          <a:pt x="1006" y="682"/>
                        </a:lnTo>
                        <a:lnTo>
                          <a:pt x="1010" y="676"/>
                        </a:lnTo>
                        <a:lnTo>
                          <a:pt x="1008" y="672"/>
                        </a:lnTo>
                        <a:lnTo>
                          <a:pt x="1006" y="668"/>
                        </a:lnTo>
                        <a:lnTo>
                          <a:pt x="1000" y="664"/>
                        </a:lnTo>
                        <a:lnTo>
                          <a:pt x="992" y="660"/>
                        </a:lnTo>
                        <a:lnTo>
                          <a:pt x="966" y="648"/>
                        </a:lnTo>
                        <a:lnTo>
                          <a:pt x="966" y="648"/>
                        </a:lnTo>
                        <a:lnTo>
                          <a:pt x="952" y="642"/>
                        </a:lnTo>
                        <a:lnTo>
                          <a:pt x="942" y="632"/>
                        </a:lnTo>
                        <a:lnTo>
                          <a:pt x="936" y="622"/>
                        </a:lnTo>
                        <a:lnTo>
                          <a:pt x="930" y="612"/>
                        </a:lnTo>
                        <a:lnTo>
                          <a:pt x="928" y="602"/>
                        </a:lnTo>
                        <a:lnTo>
                          <a:pt x="924" y="596"/>
                        </a:lnTo>
                        <a:lnTo>
                          <a:pt x="918" y="592"/>
                        </a:lnTo>
                        <a:lnTo>
                          <a:pt x="912" y="592"/>
                        </a:lnTo>
                        <a:lnTo>
                          <a:pt x="912" y="592"/>
                        </a:lnTo>
                        <a:lnTo>
                          <a:pt x="904" y="594"/>
                        </a:lnTo>
                        <a:lnTo>
                          <a:pt x="896" y="594"/>
                        </a:lnTo>
                        <a:lnTo>
                          <a:pt x="892" y="592"/>
                        </a:lnTo>
                        <a:lnTo>
                          <a:pt x="890" y="590"/>
                        </a:lnTo>
                        <a:lnTo>
                          <a:pt x="890" y="586"/>
                        </a:lnTo>
                        <a:lnTo>
                          <a:pt x="894" y="584"/>
                        </a:lnTo>
                        <a:lnTo>
                          <a:pt x="900" y="580"/>
                        </a:lnTo>
                        <a:lnTo>
                          <a:pt x="908" y="578"/>
                        </a:lnTo>
                        <a:lnTo>
                          <a:pt x="908" y="578"/>
                        </a:lnTo>
                        <a:lnTo>
                          <a:pt x="912" y="576"/>
                        </a:lnTo>
                        <a:lnTo>
                          <a:pt x="916" y="576"/>
                        </a:lnTo>
                        <a:lnTo>
                          <a:pt x="916" y="572"/>
                        </a:lnTo>
                        <a:lnTo>
                          <a:pt x="916" y="570"/>
                        </a:lnTo>
                        <a:lnTo>
                          <a:pt x="914" y="564"/>
                        </a:lnTo>
                        <a:lnTo>
                          <a:pt x="910" y="556"/>
                        </a:lnTo>
                        <a:lnTo>
                          <a:pt x="902" y="546"/>
                        </a:lnTo>
                        <a:lnTo>
                          <a:pt x="902" y="544"/>
                        </a:lnTo>
                        <a:lnTo>
                          <a:pt x="904" y="544"/>
                        </a:lnTo>
                        <a:lnTo>
                          <a:pt x="910" y="546"/>
                        </a:lnTo>
                        <a:lnTo>
                          <a:pt x="910" y="546"/>
                        </a:lnTo>
                        <a:lnTo>
                          <a:pt x="918" y="548"/>
                        </a:lnTo>
                        <a:lnTo>
                          <a:pt x="924" y="546"/>
                        </a:lnTo>
                        <a:lnTo>
                          <a:pt x="928" y="542"/>
                        </a:lnTo>
                        <a:lnTo>
                          <a:pt x="930" y="538"/>
                        </a:lnTo>
                        <a:lnTo>
                          <a:pt x="932" y="536"/>
                        </a:lnTo>
                        <a:lnTo>
                          <a:pt x="934" y="534"/>
                        </a:lnTo>
                        <a:lnTo>
                          <a:pt x="938" y="536"/>
                        </a:lnTo>
                        <a:lnTo>
                          <a:pt x="942" y="544"/>
                        </a:lnTo>
                        <a:lnTo>
                          <a:pt x="942" y="544"/>
                        </a:lnTo>
                        <a:lnTo>
                          <a:pt x="950" y="552"/>
                        </a:lnTo>
                        <a:lnTo>
                          <a:pt x="954" y="556"/>
                        </a:lnTo>
                        <a:lnTo>
                          <a:pt x="958" y="558"/>
                        </a:lnTo>
                        <a:lnTo>
                          <a:pt x="962" y="558"/>
                        </a:lnTo>
                        <a:lnTo>
                          <a:pt x="968" y="560"/>
                        </a:lnTo>
                        <a:lnTo>
                          <a:pt x="972" y="562"/>
                        </a:lnTo>
                        <a:lnTo>
                          <a:pt x="974" y="568"/>
                        </a:lnTo>
                        <a:lnTo>
                          <a:pt x="974" y="568"/>
                        </a:lnTo>
                        <a:lnTo>
                          <a:pt x="976" y="574"/>
                        </a:lnTo>
                        <a:lnTo>
                          <a:pt x="980" y="576"/>
                        </a:lnTo>
                        <a:lnTo>
                          <a:pt x="986" y="580"/>
                        </a:lnTo>
                        <a:lnTo>
                          <a:pt x="990" y="580"/>
                        </a:lnTo>
                        <a:lnTo>
                          <a:pt x="992" y="582"/>
                        </a:lnTo>
                        <a:lnTo>
                          <a:pt x="994" y="586"/>
                        </a:lnTo>
                        <a:lnTo>
                          <a:pt x="994" y="592"/>
                        </a:lnTo>
                        <a:lnTo>
                          <a:pt x="994" y="592"/>
                        </a:lnTo>
                        <a:lnTo>
                          <a:pt x="994" y="596"/>
                        </a:lnTo>
                        <a:lnTo>
                          <a:pt x="996" y="600"/>
                        </a:lnTo>
                        <a:lnTo>
                          <a:pt x="1008" y="614"/>
                        </a:lnTo>
                        <a:lnTo>
                          <a:pt x="1022" y="626"/>
                        </a:lnTo>
                        <a:lnTo>
                          <a:pt x="1040" y="638"/>
                        </a:lnTo>
                        <a:lnTo>
                          <a:pt x="1056" y="646"/>
                        </a:lnTo>
                        <a:lnTo>
                          <a:pt x="1064" y="648"/>
                        </a:lnTo>
                        <a:lnTo>
                          <a:pt x="1070" y="648"/>
                        </a:lnTo>
                        <a:lnTo>
                          <a:pt x="1074" y="646"/>
                        </a:lnTo>
                        <a:lnTo>
                          <a:pt x="1078" y="642"/>
                        </a:lnTo>
                        <a:lnTo>
                          <a:pt x="1080" y="636"/>
                        </a:lnTo>
                        <a:lnTo>
                          <a:pt x="1078" y="628"/>
                        </a:lnTo>
                        <a:lnTo>
                          <a:pt x="1078" y="628"/>
                        </a:lnTo>
                        <a:lnTo>
                          <a:pt x="1078" y="618"/>
                        </a:lnTo>
                        <a:lnTo>
                          <a:pt x="1078" y="612"/>
                        </a:lnTo>
                        <a:lnTo>
                          <a:pt x="1080" y="606"/>
                        </a:lnTo>
                        <a:lnTo>
                          <a:pt x="1082" y="602"/>
                        </a:lnTo>
                        <a:lnTo>
                          <a:pt x="1086" y="600"/>
                        </a:lnTo>
                        <a:lnTo>
                          <a:pt x="1092" y="598"/>
                        </a:lnTo>
                        <a:lnTo>
                          <a:pt x="1102" y="596"/>
                        </a:lnTo>
                        <a:lnTo>
                          <a:pt x="1118" y="598"/>
                        </a:lnTo>
                        <a:lnTo>
                          <a:pt x="1122" y="596"/>
                        </a:lnTo>
                        <a:lnTo>
                          <a:pt x="1122" y="596"/>
                        </a:lnTo>
                        <a:lnTo>
                          <a:pt x="1122" y="592"/>
                        </a:lnTo>
                        <a:lnTo>
                          <a:pt x="1122" y="588"/>
                        </a:lnTo>
                        <a:lnTo>
                          <a:pt x="1122" y="588"/>
                        </a:lnTo>
                        <a:lnTo>
                          <a:pt x="1118" y="582"/>
                        </a:lnTo>
                        <a:lnTo>
                          <a:pt x="1118" y="576"/>
                        </a:lnTo>
                        <a:lnTo>
                          <a:pt x="1120" y="574"/>
                        </a:lnTo>
                        <a:lnTo>
                          <a:pt x="1122" y="574"/>
                        </a:lnTo>
                        <a:lnTo>
                          <a:pt x="1128" y="570"/>
                        </a:lnTo>
                        <a:lnTo>
                          <a:pt x="1128" y="568"/>
                        </a:lnTo>
                        <a:lnTo>
                          <a:pt x="1126" y="564"/>
                        </a:lnTo>
                        <a:lnTo>
                          <a:pt x="1126" y="564"/>
                        </a:lnTo>
                        <a:lnTo>
                          <a:pt x="1126" y="560"/>
                        </a:lnTo>
                        <a:lnTo>
                          <a:pt x="1126" y="558"/>
                        </a:lnTo>
                        <a:lnTo>
                          <a:pt x="1130" y="554"/>
                        </a:lnTo>
                        <a:lnTo>
                          <a:pt x="1144" y="548"/>
                        </a:lnTo>
                        <a:lnTo>
                          <a:pt x="1150" y="544"/>
                        </a:lnTo>
                        <a:lnTo>
                          <a:pt x="1154" y="536"/>
                        </a:lnTo>
                        <a:lnTo>
                          <a:pt x="1156" y="532"/>
                        </a:lnTo>
                        <a:lnTo>
                          <a:pt x="1154" y="528"/>
                        </a:lnTo>
                        <a:lnTo>
                          <a:pt x="1148" y="514"/>
                        </a:lnTo>
                        <a:lnTo>
                          <a:pt x="1148" y="51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6" name="Freeform 6089"/>
                  <p:cNvSpPr>
                    <a:spLocks/>
                  </p:cNvSpPr>
                  <p:nvPr/>
                </p:nvSpPr>
                <p:spPr bwMode="auto">
                  <a:xfrm>
                    <a:off x="2731770" y="1751013"/>
                    <a:ext cx="20320" cy="15240"/>
                  </a:xfrm>
                  <a:custGeom>
                    <a:avLst/>
                    <a:gdLst/>
                    <a:ahLst/>
                    <a:cxnLst>
                      <a:cxn ang="0">
                        <a:pos x="6" y="0"/>
                      </a:cxn>
                      <a:cxn ang="0">
                        <a:pos x="6" y="0"/>
                      </a:cxn>
                      <a:cxn ang="0">
                        <a:pos x="2" y="4"/>
                      </a:cxn>
                      <a:cxn ang="0">
                        <a:pos x="0" y="8"/>
                      </a:cxn>
                      <a:cxn ang="0">
                        <a:pos x="2" y="12"/>
                      </a:cxn>
                      <a:cxn ang="0">
                        <a:pos x="8" y="18"/>
                      </a:cxn>
                      <a:cxn ang="0">
                        <a:pos x="14" y="22"/>
                      </a:cxn>
                      <a:cxn ang="0">
                        <a:pos x="20" y="24"/>
                      </a:cxn>
                      <a:cxn ang="0">
                        <a:pos x="26" y="24"/>
                      </a:cxn>
                      <a:cxn ang="0">
                        <a:pos x="30" y="22"/>
                      </a:cxn>
                      <a:cxn ang="0">
                        <a:pos x="30" y="22"/>
                      </a:cxn>
                      <a:cxn ang="0">
                        <a:pos x="32" y="16"/>
                      </a:cxn>
                      <a:cxn ang="0">
                        <a:pos x="32" y="12"/>
                      </a:cxn>
                      <a:cxn ang="0">
                        <a:pos x="32" y="8"/>
                      </a:cxn>
                      <a:cxn ang="0">
                        <a:pos x="28" y="4"/>
                      </a:cxn>
                      <a:cxn ang="0">
                        <a:pos x="24" y="2"/>
                      </a:cxn>
                      <a:cxn ang="0">
                        <a:pos x="20" y="0"/>
                      </a:cxn>
                      <a:cxn ang="0">
                        <a:pos x="14" y="0"/>
                      </a:cxn>
                      <a:cxn ang="0">
                        <a:pos x="6" y="0"/>
                      </a:cxn>
                      <a:cxn ang="0">
                        <a:pos x="6" y="0"/>
                      </a:cxn>
                    </a:cxnLst>
                    <a:rect l="0" t="0" r="r" b="b"/>
                    <a:pathLst>
                      <a:path w="32" h="24">
                        <a:moveTo>
                          <a:pt x="6" y="0"/>
                        </a:moveTo>
                        <a:lnTo>
                          <a:pt x="6" y="0"/>
                        </a:lnTo>
                        <a:lnTo>
                          <a:pt x="2" y="4"/>
                        </a:lnTo>
                        <a:lnTo>
                          <a:pt x="0" y="8"/>
                        </a:lnTo>
                        <a:lnTo>
                          <a:pt x="2" y="12"/>
                        </a:lnTo>
                        <a:lnTo>
                          <a:pt x="8" y="18"/>
                        </a:lnTo>
                        <a:lnTo>
                          <a:pt x="14" y="22"/>
                        </a:lnTo>
                        <a:lnTo>
                          <a:pt x="20" y="24"/>
                        </a:lnTo>
                        <a:lnTo>
                          <a:pt x="26" y="24"/>
                        </a:lnTo>
                        <a:lnTo>
                          <a:pt x="30" y="22"/>
                        </a:lnTo>
                        <a:lnTo>
                          <a:pt x="30" y="22"/>
                        </a:lnTo>
                        <a:lnTo>
                          <a:pt x="32" y="16"/>
                        </a:lnTo>
                        <a:lnTo>
                          <a:pt x="32" y="12"/>
                        </a:lnTo>
                        <a:lnTo>
                          <a:pt x="32" y="8"/>
                        </a:lnTo>
                        <a:lnTo>
                          <a:pt x="28" y="4"/>
                        </a:lnTo>
                        <a:lnTo>
                          <a:pt x="24" y="2"/>
                        </a:lnTo>
                        <a:lnTo>
                          <a:pt x="20" y="0"/>
                        </a:lnTo>
                        <a:lnTo>
                          <a:pt x="14" y="0"/>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7" name="Freeform 6091"/>
                  <p:cNvSpPr>
                    <a:spLocks/>
                  </p:cNvSpPr>
                  <p:nvPr/>
                </p:nvSpPr>
                <p:spPr bwMode="auto">
                  <a:xfrm>
                    <a:off x="2656840" y="1799273"/>
                    <a:ext cx="13970" cy="15240"/>
                  </a:xfrm>
                  <a:custGeom>
                    <a:avLst/>
                    <a:gdLst/>
                    <a:ahLst/>
                    <a:cxnLst>
                      <a:cxn ang="0">
                        <a:pos x="4" y="24"/>
                      </a:cxn>
                      <a:cxn ang="0">
                        <a:pos x="4" y="24"/>
                      </a:cxn>
                      <a:cxn ang="0">
                        <a:pos x="12" y="22"/>
                      </a:cxn>
                      <a:cxn ang="0">
                        <a:pos x="20" y="16"/>
                      </a:cxn>
                      <a:cxn ang="0">
                        <a:pos x="22" y="12"/>
                      </a:cxn>
                      <a:cxn ang="0">
                        <a:pos x="22" y="10"/>
                      </a:cxn>
                      <a:cxn ang="0">
                        <a:pos x="22" y="6"/>
                      </a:cxn>
                      <a:cxn ang="0">
                        <a:pos x="18" y="2"/>
                      </a:cxn>
                      <a:cxn ang="0">
                        <a:pos x="18" y="2"/>
                      </a:cxn>
                      <a:cxn ang="0">
                        <a:pos x="14" y="0"/>
                      </a:cxn>
                      <a:cxn ang="0">
                        <a:pos x="10" y="2"/>
                      </a:cxn>
                      <a:cxn ang="0">
                        <a:pos x="6" y="4"/>
                      </a:cxn>
                      <a:cxn ang="0">
                        <a:pos x="2" y="10"/>
                      </a:cxn>
                      <a:cxn ang="0">
                        <a:pos x="0" y="14"/>
                      </a:cxn>
                      <a:cxn ang="0">
                        <a:pos x="0" y="18"/>
                      </a:cxn>
                      <a:cxn ang="0">
                        <a:pos x="2" y="22"/>
                      </a:cxn>
                      <a:cxn ang="0">
                        <a:pos x="4" y="24"/>
                      </a:cxn>
                      <a:cxn ang="0">
                        <a:pos x="4" y="24"/>
                      </a:cxn>
                    </a:cxnLst>
                    <a:rect l="0" t="0" r="r" b="b"/>
                    <a:pathLst>
                      <a:path w="22" h="24">
                        <a:moveTo>
                          <a:pt x="4" y="24"/>
                        </a:moveTo>
                        <a:lnTo>
                          <a:pt x="4" y="24"/>
                        </a:lnTo>
                        <a:lnTo>
                          <a:pt x="12" y="22"/>
                        </a:lnTo>
                        <a:lnTo>
                          <a:pt x="20" y="16"/>
                        </a:lnTo>
                        <a:lnTo>
                          <a:pt x="22" y="12"/>
                        </a:lnTo>
                        <a:lnTo>
                          <a:pt x="22" y="10"/>
                        </a:lnTo>
                        <a:lnTo>
                          <a:pt x="22" y="6"/>
                        </a:lnTo>
                        <a:lnTo>
                          <a:pt x="18" y="2"/>
                        </a:lnTo>
                        <a:lnTo>
                          <a:pt x="18" y="2"/>
                        </a:lnTo>
                        <a:lnTo>
                          <a:pt x="14" y="0"/>
                        </a:lnTo>
                        <a:lnTo>
                          <a:pt x="10" y="2"/>
                        </a:lnTo>
                        <a:lnTo>
                          <a:pt x="6" y="4"/>
                        </a:lnTo>
                        <a:lnTo>
                          <a:pt x="2" y="10"/>
                        </a:lnTo>
                        <a:lnTo>
                          <a:pt x="0" y="14"/>
                        </a:lnTo>
                        <a:lnTo>
                          <a:pt x="0" y="18"/>
                        </a:lnTo>
                        <a:lnTo>
                          <a:pt x="2" y="22"/>
                        </a:lnTo>
                        <a:lnTo>
                          <a:pt x="4" y="24"/>
                        </a:lnTo>
                        <a:lnTo>
                          <a:pt x="4" y="2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8" name="Freeform 6092"/>
                  <p:cNvSpPr>
                    <a:spLocks/>
                  </p:cNvSpPr>
                  <p:nvPr/>
                </p:nvSpPr>
                <p:spPr bwMode="auto">
                  <a:xfrm>
                    <a:off x="2352040" y="1724343"/>
                    <a:ext cx="22860" cy="34290"/>
                  </a:xfrm>
                  <a:custGeom>
                    <a:avLst/>
                    <a:gdLst/>
                    <a:ahLst/>
                    <a:cxnLst>
                      <a:cxn ang="0">
                        <a:pos x="20" y="54"/>
                      </a:cxn>
                      <a:cxn ang="0">
                        <a:pos x="20" y="54"/>
                      </a:cxn>
                      <a:cxn ang="0">
                        <a:pos x="26" y="50"/>
                      </a:cxn>
                      <a:cxn ang="0">
                        <a:pos x="30" y="42"/>
                      </a:cxn>
                      <a:cxn ang="0">
                        <a:pos x="34" y="32"/>
                      </a:cxn>
                      <a:cxn ang="0">
                        <a:pos x="36" y="22"/>
                      </a:cxn>
                      <a:cxn ang="0">
                        <a:pos x="36" y="12"/>
                      </a:cxn>
                      <a:cxn ang="0">
                        <a:pos x="34" y="4"/>
                      </a:cxn>
                      <a:cxn ang="0">
                        <a:pos x="32" y="2"/>
                      </a:cxn>
                      <a:cxn ang="0">
                        <a:pos x="28" y="0"/>
                      </a:cxn>
                      <a:cxn ang="0">
                        <a:pos x="24" y="0"/>
                      </a:cxn>
                      <a:cxn ang="0">
                        <a:pos x="18" y="0"/>
                      </a:cxn>
                      <a:cxn ang="0">
                        <a:pos x="18" y="0"/>
                      </a:cxn>
                      <a:cxn ang="0">
                        <a:pos x="14" y="2"/>
                      </a:cxn>
                      <a:cxn ang="0">
                        <a:pos x="8" y="6"/>
                      </a:cxn>
                      <a:cxn ang="0">
                        <a:pos x="4" y="12"/>
                      </a:cxn>
                      <a:cxn ang="0">
                        <a:pos x="0" y="22"/>
                      </a:cxn>
                      <a:cxn ang="0">
                        <a:pos x="2" y="32"/>
                      </a:cxn>
                      <a:cxn ang="0">
                        <a:pos x="4" y="40"/>
                      </a:cxn>
                      <a:cxn ang="0">
                        <a:pos x="8" y="48"/>
                      </a:cxn>
                      <a:cxn ang="0">
                        <a:pos x="14" y="52"/>
                      </a:cxn>
                      <a:cxn ang="0">
                        <a:pos x="20" y="54"/>
                      </a:cxn>
                      <a:cxn ang="0">
                        <a:pos x="20" y="54"/>
                      </a:cxn>
                    </a:cxnLst>
                    <a:rect l="0" t="0" r="r" b="b"/>
                    <a:pathLst>
                      <a:path w="36" h="54">
                        <a:moveTo>
                          <a:pt x="20" y="54"/>
                        </a:moveTo>
                        <a:lnTo>
                          <a:pt x="20" y="54"/>
                        </a:lnTo>
                        <a:lnTo>
                          <a:pt x="26" y="50"/>
                        </a:lnTo>
                        <a:lnTo>
                          <a:pt x="30" y="42"/>
                        </a:lnTo>
                        <a:lnTo>
                          <a:pt x="34" y="32"/>
                        </a:lnTo>
                        <a:lnTo>
                          <a:pt x="36" y="22"/>
                        </a:lnTo>
                        <a:lnTo>
                          <a:pt x="36" y="12"/>
                        </a:lnTo>
                        <a:lnTo>
                          <a:pt x="34" y="4"/>
                        </a:lnTo>
                        <a:lnTo>
                          <a:pt x="32" y="2"/>
                        </a:lnTo>
                        <a:lnTo>
                          <a:pt x="28" y="0"/>
                        </a:lnTo>
                        <a:lnTo>
                          <a:pt x="24" y="0"/>
                        </a:lnTo>
                        <a:lnTo>
                          <a:pt x="18" y="0"/>
                        </a:lnTo>
                        <a:lnTo>
                          <a:pt x="18" y="0"/>
                        </a:lnTo>
                        <a:lnTo>
                          <a:pt x="14" y="2"/>
                        </a:lnTo>
                        <a:lnTo>
                          <a:pt x="8" y="6"/>
                        </a:lnTo>
                        <a:lnTo>
                          <a:pt x="4" y="12"/>
                        </a:lnTo>
                        <a:lnTo>
                          <a:pt x="0" y="22"/>
                        </a:lnTo>
                        <a:lnTo>
                          <a:pt x="2" y="32"/>
                        </a:lnTo>
                        <a:lnTo>
                          <a:pt x="4" y="40"/>
                        </a:lnTo>
                        <a:lnTo>
                          <a:pt x="8" y="48"/>
                        </a:lnTo>
                        <a:lnTo>
                          <a:pt x="14" y="52"/>
                        </a:lnTo>
                        <a:lnTo>
                          <a:pt x="20" y="54"/>
                        </a:lnTo>
                        <a:lnTo>
                          <a:pt x="20" y="5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9" name="Freeform 6094"/>
                  <p:cNvSpPr>
                    <a:spLocks/>
                  </p:cNvSpPr>
                  <p:nvPr/>
                </p:nvSpPr>
                <p:spPr bwMode="auto">
                  <a:xfrm>
                    <a:off x="2428240" y="1463993"/>
                    <a:ext cx="59690" cy="48260"/>
                  </a:xfrm>
                  <a:custGeom>
                    <a:avLst/>
                    <a:gdLst/>
                    <a:ahLst/>
                    <a:cxnLst>
                      <a:cxn ang="0">
                        <a:pos x="8" y="26"/>
                      </a:cxn>
                      <a:cxn ang="0">
                        <a:pos x="8" y="26"/>
                      </a:cxn>
                      <a:cxn ang="0">
                        <a:pos x="4" y="36"/>
                      </a:cxn>
                      <a:cxn ang="0">
                        <a:pos x="0" y="46"/>
                      </a:cxn>
                      <a:cxn ang="0">
                        <a:pos x="0" y="56"/>
                      </a:cxn>
                      <a:cxn ang="0">
                        <a:pos x="2" y="64"/>
                      </a:cxn>
                      <a:cxn ang="0">
                        <a:pos x="8" y="70"/>
                      </a:cxn>
                      <a:cxn ang="0">
                        <a:pos x="18" y="74"/>
                      </a:cxn>
                      <a:cxn ang="0">
                        <a:pos x="34" y="76"/>
                      </a:cxn>
                      <a:cxn ang="0">
                        <a:pos x="54" y="76"/>
                      </a:cxn>
                      <a:cxn ang="0">
                        <a:pos x="54" y="76"/>
                      </a:cxn>
                      <a:cxn ang="0">
                        <a:pos x="72" y="74"/>
                      </a:cxn>
                      <a:cxn ang="0">
                        <a:pos x="84" y="70"/>
                      </a:cxn>
                      <a:cxn ang="0">
                        <a:pos x="90" y="64"/>
                      </a:cxn>
                      <a:cxn ang="0">
                        <a:pos x="94" y="58"/>
                      </a:cxn>
                      <a:cxn ang="0">
                        <a:pos x="92" y="50"/>
                      </a:cxn>
                      <a:cxn ang="0">
                        <a:pos x="92" y="40"/>
                      </a:cxn>
                      <a:cxn ang="0">
                        <a:pos x="90" y="32"/>
                      </a:cxn>
                      <a:cxn ang="0">
                        <a:pos x="92" y="22"/>
                      </a:cxn>
                      <a:cxn ang="0">
                        <a:pos x="92" y="22"/>
                      </a:cxn>
                      <a:cxn ang="0">
                        <a:pos x="92" y="18"/>
                      </a:cxn>
                      <a:cxn ang="0">
                        <a:pos x="90" y="14"/>
                      </a:cxn>
                      <a:cxn ang="0">
                        <a:pos x="88" y="10"/>
                      </a:cxn>
                      <a:cxn ang="0">
                        <a:pos x="84" y="6"/>
                      </a:cxn>
                      <a:cxn ang="0">
                        <a:pos x="74" y="2"/>
                      </a:cxn>
                      <a:cxn ang="0">
                        <a:pos x="60" y="0"/>
                      </a:cxn>
                      <a:cxn ang="0">
                        <a:pos x="46" y="2"/>
                      </a:cxn>
                      <a:cxn ang="0">
                        <a:pos x="32" y="6"/>
                      </a:cxn>
                      <a:cxn ang="0">
                        <a:pos x="18" y="14"/>
                      </a:cxn>
                      <a:cxn ang="0">
                        <a:pos x="14" y="20"/>
                      </a:cxn>
                      <a:cxn ang="0">
                        <a:pos x="8" y="26"/>
                      </a:cxn>
                      <a:cxn ang="0">
                        <a:pos x="8" y="26"/>
                      </a:cxn>
                    </a:cxnLst>
                    <a:rect l="0" t="0" r="r" b="b"/>
                    <a:pathLst>
                      <a:path w="94" h="76">
                        <a:moveTo>
                          <a:pt x="8" y="26"/>
                        </a:moveTo>
                        <a:lnTo>
                          <a:pt x="8" y="26"/>
                        </a:lnTo>
                        <a:lnTo>
                          <a:pt x="4" y="36"/>
                        </a:lnTo>
                        <a:lnTo>
                          <a:pt x="0" y="46"/>
                        </a:lnTo>
                        <a:lnTo>
                          <a:pt x="0" y="56"/>
                        </a:lnTo>
                        <a:lnTo>
                          <a:pt x="2" y="64"/>
                        </a:lnTo>
                        <a:lnTo>
                          <a:pt x="8" y="70"/>
                        </a:lnTo>
                        <a:lnTo>
                          <a:pt x="18" y="74"/>
                        </a:lnTo>
                        <a:lnTo>
                          <a:pt x="34" y="76"/>
                        </a:lnTo>
                        <a:lnTo>
                          <a:pt x="54" y="76"/>
                        </a:lnTo>
                        <a:lnTo>
                          <a:pt x="54" y="76"/>
                        </a:lnTo>
                        <a:lnTo>
                          <a:pt x="72" y="74"/>
                        </a:lnTo>
                        <a:lnTo>
                          <a:pt x="84" y="70"/>
                        </a:lnTo>
                        <a:lnTo>
                          <a:pt x="90" y="64"/>
                        </a:lnTo>
                        <a:lnTo>
                          <a:pt x="94" y="58"/>
                        </a:lnTo>
                        <a:lnTo>
                          <a:pt x="92" y="50"/>
                        </a:lnTo>
                        <a:lnTo>
                          <a:pt x="92" y="40"/>
                        </a:lnTo>
                        <a:lnTo>
                          <a:pt x="90" y="32"/>
                        </a:lnTo>
                        <a:lnTo>
                          <a:pt x="92" y="22"/>
                        </a:lnTo>
                        <a:lnTo>
                          <a:pt x="92" y="22"/>
                        </a:lnTo>
                        <a:lnTo>
                          <a:pt x="92" y="18"/>
                        </a:lnTo>
                        <a:lnTo>
                          <a:pt x="90" y="14"/>
                        </a:lnTo>
                        <a:lnTo>
                          <a:pt x="88" y="10"/>
                        </a:lnTo>
                        <a:lnTo>
                          <a:pt x="84" y="6"/>
                        </a:lnTo>
                        <a:lnTo>
                          <a:pt x="74" y="2"/>
                        </a:lnTo>
                        <a:lnTo>
                          <a:pt x="60" y="0"/>
                        </a:lnTo>
                        <a:lnTo>
                          <a:pt x="46" y="2"/>
                        </a:lnTo>
                        <a:lnTo>
                          <a:pt x="32" y="6"/>
                        </a:lnTo>
                        <a:lnTo>
                          <a:pt x="18" y="14"/>
                        </a:lnTo>
                        <a:lnTo>
                          <a:pt x="14" y="20"/>
                        </a:lnTo>
                        <a:lnTo>
                          <a:pt x="8" y="26"/>
                        </a:lnTo>
                        <a:lnTo>
                          <a:pt x="8" y="2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0" name="Freeform 6098"/>
                  <p:cNvSpPr>
                    <a:spLocks/>
                  </p:cNvSpPr>
                  <p:nvPr/>
                </p:nvSpPr>
                <p:spPr bwMode="auto">
                  <a:xfrm>
                    <a:off x="1668780" y="1211263"/>
                    <a:ext cx="63500" cy="43180"/>
                  </a:xfrm>
                  <a:custGeom>
                    <a:avLst/>
                    <a:gdLst/>
                    <a:ahLst/>
                    <a:cxnLst>
                      <a:cxn ang="0">
                        <a:pos x="46" y="2"/>
                      </a:cxn>
                      <a:cxn ang="0">
                        <a:pos x="46" y="2"/>
                      </a:cxn>
                      <a:cxn ang="0">
                        <a:pos x="32" y="4"/>
                      </a:cxn>
                      <a:cxn ang="0">
                        <a:pos x="20" y="6"/>
                      </a:cxn>
                      <a:cxn ang="0">
                        <a:pos x="10" y="10"/>
                      </a:cxn>
                      <a:cxn ang="0">
                        <a:pos x="4" y="12"/>
                      </a:cxn>
                      <a:cxn ang="0">
                        <a:pos x="0" y="16"/>
                      </a:cxn>
                      <a:cxn ang="0">
                        <a:pos x="0" y="20"/>
                      </a:cxn>
                      <a:cxn ang="0">
                        <a:pos x="2" y="22"/>
                      </a:cxn>
                      <a:cxn ang="0">
                        <a:pos x="8" y="24"/>
                      </a:cxn>
                      <a:cxn ang="0">
                        <a:pos x="8" y="24"/>
                      </a:cxn>
                      <a:cxn ang="0">
                        <a:pos x="20" y="28"/>
                      </a:cxn>
                      <a:cxn ang="0">
                        <a:pos x="28" y="32"/>
                      </a:cxn>
                      <a:cxn ang="0">
                        <a:pos x="32" y="36"/>
                      </a:cxn>
                      <a:cxn ang="0">
                        <a:pos x="34" y="40"/>
                      </a:cxn>
                      <a:cxn ang="0">
                        <a:pos x="34" y="40"/>
                      </a:cxn>
                      <a:cxn ang="0">
                        <a:pos x="38" y="46"/>
                      </a:cxn>
                      <a:cxn ang="0">
                        <a:pos x="44" y="50"/>
                      </a:cxn>
                      <a:cxn ang="0">
                        <a:pos x="54" y="56"/>
                      </a:cxn>
                      <a:cxn ang="0">
                        <a:pos x="64" y="66"/>
                      </a:cxn>
                      <a:cxn ang="0">
                        <a:pos x="64" y="66"/>
                      </a:cxn>
                      <a:cxn ang="0">
                        <a:pos x="68" y="68"/>
                      </a:cxn>
                      <a:cxn ang="0">
                        <a:pos x="70" y="68"/>
                      </a:cxn>
                      <a:cxn ang="0">
                        <a:pos x="70" y="66"/>
                      </a:cxn>
                      <a:cxn ang="0">
                        <a:pos x="70" y="66"/>
                      </a:cxn>
                      <a:cxn ang="0">
                        <a:pos x="70" y="62"/>
                      </a:cxn>
                      <a:cxn ang="0">
                        <a:pos x="74" y="60"/>
                      </a:cxn>
                      <a:cxn ang="0">
                        <a:pos x="80" y="56"/>
                      </a:cxn>
                      <a:cxn ang="0">
                        <a:pos x="86" y="48"/>
                      </a:cxn>
                      <a:cxn ang="0">
                        <a:pos x="86" y="48"/>
                      </a:cxn>
                      <a:cxn ang="0">
                        <a:pos x="100" y="26"/>
                      </a:cxn>
                      <a:cxn ang="0">
                        <a:pos x="100" y="20"/>
                      </a:cxn>
                      <a:cxn ang="0">
                        <a:pos x="100" y="16"/>
                      </a:cxn>
                      <a:cxn ang="0">
                        <a:pos x="98" y="14"/>
                      </a:cxn>
                      <a:cxn ang="0">
                        <a:pos x="94" y="10"/>
                      </a:cxn>
                      <a:cxn ang="0">
                        <a:pos x="94" y="10"/>
                      </a:cxn>
                      <a:cxn ang="0">
                        <a:pos x="86" y="6"/>
                      </a:cxn>
                      <a:cxn ang="0">
                        <a:pos x="80" y="2"/>
                      </a:cxn>
                      <a:cxn ang="0">
                        <a:pos x="70" y="0"/>
                      </a:cxn>
                      <a:cxn ang="0">
                        <a:pos x="46" y="2"/>
                      </a:cxn>
                      <a:cxn ang="0">
                        <a:pos x="46" y="2"/>
                      </a:cxn>
                    </a:cxnLst>
                    <a:rect l="0" t="0" r="r" b="b"/>
                    <a:pathLst>
                      <a:path w="100" h="68">
                        <a:moveTo>
                          <a:pt x="46" y="2"/>
                        </a:moveTo>
                        <a:lnTo>
                          <a:pt x="46" y="2"/>
                        </a:lnTo>
                        <a:lnTo>
                          <a:pt x="32" y="4"/>
                        </a:lnTo>
                        <a:lnTo>
                          <a:pt x="20" y="6"/>
                        </a:lnTo>
                        <a:lnTo>
                          <a:pt x="10" y="10"/>
                        </a:lnTo>
                        <a:lnTo>
                          <a:pt x="4" y="12"/>
                        </a:lnTo>
                        <a:lnTo>
                          <a:pt x="0" y="16"/>
                        </a:lnTo>
                        <a:lnTo>
                          <a:pt x="0" y="20"/>
                        </a:lnTo>
                        <a:lnTo>
                          <a:pt x="2" y="22"/>
                        </a:lnTo>
                        <a:lnTo>
                          <a:pt x="8" y="24"/>
                        </a:lnTo>
                        <a:lnTo>
                          <a:pt x="8" y="24"/>
                        </a:lnTo>
                        <a:lnTo>
                          <a:pt x="20" y="28"/>
                        </a:lnTo>
                        <a:lnTo>
                          <a:pt x="28" y="32"/>
                        </a:lnTo>
                        <a:lnTo>
                          <a:pt x="32" y="36"/>
                        </a:lnTo>
                        <a:lnTo>
                          <a:pt x="34" y="40"/>
                        </a:lnTo>
                        <a:lnTo>
                          <a:pt x="34" y="40"/>
                        </a:lnTo>
                        <a:lnTo>
                          <a:pt x="38" y="46"/>
                        </a:lnTo>
                        <a:lnTo>
                          <a:pt x="44" y="50"/>
                        </a:lnTo>
                        <a:lnTo>
                          <a:pt x="54" y="56"/>
                        </a:lnTo>
                        <a:lnTo>
                          <a:pt x="64" y="66"/>
                        </a:lnTo>
                        <a:lnTo>
                          <a:pt x="64" y="66"/>
                        </a:lnTo>
                        <a:lnTo>
                          <a:pt x="68" y="68"/>
                        </a:lnTo>
                        <a:lnTo>
                          <a:pt x="70" y="68"/>
                        </a:lnTo>
                        <a:lnTo>
                          <a:pt x="70" y="66"/>
                        </a:lnTo>
                        <a:lnTo>
                          <a:pt x="70" y="66"/>
                        </a:lnTo>
                        <a:lnTo>
                          <a:pt x="70" y="62"/>
                        </a:lnTo>
                        <a:lnTo>
                          <a:pt x="74" y="60"/>
                        </a:lnTo>
                        <a:lnTo>
                          <a:pt x="80" y="56"/>
                        </a:lnTo>
                        <a:lnTo>
                          <a:pt x="86" y="48"/>
                        </a:lnTo>
                        <a:lnTo>
                          <a:pt x="86" y="48"/>
                        </a:lnTo>
                        <a:lnTo>
                          <a:pt x="100" y="26"/>
                        </a:lnTo>
                        <a:lnTo>
                          <a:pt x="100" y="20"/>
                        </a:lnTo>
                        <a:lnTo>
                          <a:pt x="100" y="16"/>
                        </a:lnTo>
                        <a:lnTo>
                          <a:pt x="98" y="14"/>
                        </a:lnTo>
                        <a:lnTo>
                          <a:pt x="94" y="10"/>
                        </a:lnTo>
                        <a:lnTo>
                          <a:pt x="94" y="10"/>
                        </a:lnTo>
                        <a:lnTo>
                          <a:pt x="86" y="6"/>
                        </a:lnTo>
                        <a:lnTo>
                          <a:pt x="80" y="2"/>
                        </a:lnTo>
                        <a:lnTo>
                          <a:pt x="70" y="0"/>
                        </a:lnTo>
                        <a:lnTo>
                          <a:pt x="46" y="2"/>
                        </a:lnTo>
                        <a:lnTo>
                          <a:pt x="4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1" name="Freeform 6099"/>
                  <p:cNvSpPr>
                    <a:spLocks/>
                  </p:cNvSpPr>
                  <p:nvPr/>
                </p:nvSpPr>
                <p:spPr bwMode="auto">
                  <a:xfrm>
                    <a:off x="1733550" y="1088073"/>
                    <a:ext cx="48260" cy="10160"/>
                  </a:xfrm>
                  <a:custGeom>
                    <a:avLst/>
                    <a:gdLst/>
                    <a:ahLst/>
                    <a:cxnLst>
                      <a:cxn ang="0">
                        <a:pos x="76" y="2"/>
                      </a:cxn>
                      <a:cxn ang="0">
                        <a:pos x="76" y="2"/>
                      </a:cxn>
                      <a:cxn ang="0">
                        <a:pos x="68" y="0"/>
                      </a:cxn>
                      <a:cxn ang="0">
                        <a:pos x="56" y="0"/>
                      </a:cxn>
                      <a:cxn ang="0">
                        <a:pos x="30" y="2"/>
                      </a:cxn>
                      <a:cxn ang="0">
                        <a:pos x="16" y="6"/>
                      </a:cxn>
                      <a:cxn ang="0">
                        <a:pos x="6" y="8"/>
                      </a:cxn>
                      <a:cxn ang="0">
                        <a:pos x="0" y="12"/>
                      </a:cxn>
                      <a:cxn ang="0">
                        <a:pos x="0" y="14"/>
                      </a:cxn>
                      <a:cxn ang="0">
                        <a:pos x="2" y="16"/>
                      </a:cxn>
                      <a:cxn ang="0">
                        <a:pos x="2" y="16"/>
                      </a:cxn>
                      <a:cxn ang="0">
                        <a:pos x="8" y="16"/>
                      </a:cxn>
                      <a:cxn ang="0">
                        <a:pos x="20" y="16"/>
                      </a:cxn>
                      <a:cxn ang="0">
                        <a:pos x="48" y="14"/>
                      </a:cxn>
                      <a:cxn ang="0">
                        <a:pos x="70" y="8"/>
                      </a:cxn>
                      <a:cxn ang="0">
                        <a:pos x="76" y="4"/>
                      </a:cxn>
                      <a:cxn ang="0">
                        <a:pos x="76" y="2"/>
                      </a:cxn>
                      <a:cxn ang="0">
                        <a:pos x="76" y="2"/>
                      </a:cxn>
                      <a:cxn ang="0">
                        <a:pos x="76" y="2"/>
                      </a:cxn>
                    </a:cxnLst>
                    <a:rect l="0" t="0" r="r" b="b"/>
                    <a:pathLst>
                      <a:path w="76" h="16">
                        <a:moveTo>
                          <a:pt x="76" y="2"/>
                        </a:moveTo>
                        <a:lnTo>
                          <a:pt x="76" y="2"/>
                        </a:lnTo>
                        <a:lnTo>
                          <a:pt x="68" y="0"/>
                        </a:lnTo>
                        <a:lnTo>
                          <a:pt x="56" y="0"/>
                        </a:lnTo>
                        <a:lnTo>
                          <a:pt x="30" y="2"/>
                        </a:lnTo>
                        <a:lnTo>
                          <a:pt x="16" y="6"/>
                        </a:lnTo>
                        <a:lnTo>
                          <a:pt x="6" y="8"/>
                        </a:lnTo>
                        <a:lnTo>
                          <a:pt x="0" y="12"/>
                        </a:lnTo>
                        <a:lnTo>
                          <a:pt x="0" y="14"/>
                        </a:lnTo>
                        <a:lnTo>
                          <a:pt x="2" y="16"/>
                        </a:lnTo>
                        <a:lnTo>
                          <a:pt x="2" y="16"/>
                        </a:lnTo>
                        <a:lnTo>
                          <a:pt x="8" y="16"/>
                        </a:lnTo>
                        <a:lnTo>
                          <a:pt x="20" y="16"/>
                        </a:lnTo>
                        <a:lnTo>
                          <a:pt x="48" y="14"/>
                        </a:lnTo>
                        <a:lnTo>
                          <a:pt x="70" y="8"/>
                        </a:lnTo>
                        <a:lnTo>
                          <a:pt x="76" y="4"/>
                        </a:lnTo>
                        <a:lnTo>
                          <a:pt x="76" y="2"/>
                        </a:lnTo>
                        <a:lnTo>
                          <a:pt x="76" y="2"/>
                        </a:lnTo>
                        <a:lnTo>
                          <a:pt x="7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2" name="Freeform 6100"/>
                  <p:cNvSpPr>
                    <a:spLocks/>
                  </p:cNvSpPr>
                  <p:nvPr/>
                </p:nvSpPr>
                <p:spPr bwMode="auto">
                  <a:xfrm>
                    <a:off x="1723390" y="1129983"/>
                    <a:ext cx="30480" cy="20320"/>
                  </a:xfrm>
                  <a:custGeom>
                    <a:avLst/>
                    <a:gdLst/>
                    <a:ahLst/>
                    <a:cxnLst>
                      <a:cxn ang="0">
                        <a:pos x="0" y="20"/>
                      </a:cxn>
                      <a:cxn ang="0">
                        <a:pos x="0" y="20"/>
                      </a:cxn>
                      <a:cxn ang="0">
                        <a:pos x="0" y="22"/>
                      </a:cxn>
                      <a:cxn ang="0">
                        <a:pos x="2" y="26"/>
                      </a:cxn>
                      <a:cxn ang="0">
                        <a:pos x="8" y="30"/>
                      </a:cxn>
                      <a:cxn ang="0">
                        <a:pos x="16" y="32"/>
                      </a:cxn>
                      <a:cxn ang="0">
                        <a:pos x="26" y="32"/>
                      </a:cxn>
                      <a:cxn ang="0">
                        <a:pos x="34" y="30"/>
                      </a:cxn>
                      <a:cxn ang="0">
                        <a:pos x="42" y="28"/>
                      </a:cxn>
                      <a:cxn ang="0">
                        <a:pos x="46" y="22"/>
                      </a:cxn>
                      <a:cxn ang="0">
                        <a:pos x="48" y="20"/>
                      </a:cxn>
                      <a:cxn ang="0">
                        <a:pos x="48" y="18"/>
                      </a:cxn>
                      <a:cxn ang="0">
                        <a:pos x="48" y="18"/>
                      </a:cxn>
                      <a:cxn ang="0">
                        <a:pos x="44" y="12"/>
                      </a:cxn>
                      <a:cxn ang="0">
                        <a:pos x="38" y="6"/>
                      </a:cxn>
                      <a:cxn ang="0">
                        <a:pos x="30" y="2"/>
                      </a:cxn>
                      <a:cxn ang="0">
                        <a:pos x="22" y="0"/>
                      </a:cxn>
                      <a:cxn ang="0">
                        <a:pos x="14" y="0"/>
                      </a:cxn>
                      <a:cxn ang="0">
                        <a:pos x="6" y="2"/>
                      </a:cxn>
                      <a:cxn ang="0">
                        <a:pos x="2" y="8"/>
                      </a:cxn>
                      <a:cxn ang="0">
                        <a:pos x="0" y="20"/>
                      </a:cxn>
                      <a:cxn ang="0">
                        <a:pos x="0" y="20"/>
                      </a:cxn>
                    </a:cxnLst>
                    <a:rect l="0" t="0" r="r" b="b"/>
                    <a:pathLst>
                      <a:path w="48" h="32">
                        <a:moveTo>
                          <a:pt x="0" y="20"/>
                        </a:moveTo>
                        <a:lnTo>
                          <a:pt x="0" y="20"/>
                        </a:lnTo>
                        <a:lnTo>
                          <a:pt x="0" y="22"/>
                        </a:lnTo>
                        <a:lnTo>
                          <a:pt x="2" y="26"/>
                        </a:lnTo>
                        <a:lnTo>
                          <a:pt x="8" y="30"/>
                        </a:lnTo>
                        <a:lnTo>
                          <a:pt x="16" y="32"/>
                        </a:lnTo>
                        <a:lnTo>
                          <a:pt x="26" y="32"/>
                        </a:lnTo>
                        <a:lnTo>
                          <a:pt x="34" y="30"/>
                        </a:lnTo>
                        <a:lnTo>
                          <a:pt x="42" y="28"/>
                        </a:lnTo>
                        <a:lnTo>
                          <a:pt x="46" y="22"/>
                        </a:lnTo>
                        <a:lnTo>
                          <a:pt x="48" y="20"/>
                        </a:lnTo>
                        <a:lnTo>
                          <a:pt x="48" y="18"/>
                        </a:lnTo>
                        <a:lnTo>
                          <a:pt x="48" y="18"/>
                        </a:lnTo>
                        <a:lnTo>
                          <a:pt x="44" y="12"/>
                        </a:lnTo>
                        <a:lnTo>
                          <a:pt x="38" y="6"/>
                        </a:lnTo>
                        <a:lnTo>
                          <a:pt x="30" y="2"/>
                        </a:lnTo>
                        <a:lnTo>
                          <a:pt x="22" y="0"/>
                        </a:lnTo>
                        <a:lnTo>
                          <a:pt x="14" y="0"/>
                        </a:lnTo>
                        <a:lnTo>
                          <a:pt x="6" y="2"/>
                        </a:lnTo>
                        <a:lnTo>
                          <a:pt x="2" y="8"/>
                        </a:lnTo>
                        <a:lnTo>
                          <a:pt x="0" y="20"/>
                        </a:lnTo>
                        <a:lnTo>
                          <a:pt x="0" y="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3" name="Freeform 6101"/>
                  <p:cNvSpPr>
                    <a:spLocks/>
                  </p:cNvSpPr>
                  <p:nvPr/>
                </p:nvSpPr>
                <p:spPr bwMode="auto">
                  <a:xfrm>
                    <a:off x="1728470" y="1065213"/>
                    <a:ext cx="44450" cy="21590"/>
                  </a:xfrm>
                  <a:custGeom>
                    <a:avLst/>
                    <a:gdLst/>
                    <a:ahLst/>
                    <a:cxnLst>
                      <a:cxn ang="0">
                        <a:pos x="62" y="18"/>
                      </a:cxn>
                      <a:cxn ang="0">
                        <a:pos x="62" y="18"/>
                      </a:cxn>
                      <a:cxn ang="0">
                        <a:pos x="52" y="16"/>
                      </a:cxn>
                      <a:cxn ang="0">
                        <a:pos x="44" y="14"/>
                      </a:cxn>
                      <a:cxn ang="0">
                        <a:pos x="34" y="6"/>
                      </a:cxn>
                      <a:cxn ang="0">
                        <a:pos x="30" y="2"/>
                      </a:cxn>
                      <a:cxn ang="0">
                        <a:pos x="24" y="0"/>
                      </a:cxn>
                      <a:cxn ang="0">
                        <a:pos x="18" y="2"/>
                      </a:cxn>
                      <a:cxn ang="0">
                        <a:pos x="8" y="6"/>
                      </a:cxn>
                      <a:cxn ang="0">
                        <a:pos x="8" y="6"/>
                      </a:cxn>
                      <a:cxn ang="0">
                        <a:pos x="2" y="8"/>
                      </a:cxn>
                      <a:cxn ang="0">
                        <a:pos x="0" y="12"/>
                      </a:cxn>
                      <a:cxn ang="0">
                        <a:pos x="2" y="18"/>
                      </a:cxn>
                      <a:cxn ang="0">
                        <a:pos x="8" y="28"/>
                      </a:cxn>
                      <a:cxn ang="0">
                        <a:pos x="8" y="28"/>
                      </a:cxn>
                      <a:cxn ang="0">
                        <a:pos x="12" y="30"/>
                      </a:cxn>
                      <a:cxn ang="0">
                        <a:pos x="16" y="32"/>
                      </a:cxn>
                      <a:cxn ang="0">
                        <a:pos x="26" y="34"/>
                      </a:cxn>
                      <a:cxn ang="0">
                        <a:pos x="40" y="32"/>
                      </a:cxn>
                      <a:cxn ang="0">
                        <a:pos x="52" y="30"/>
                      </a:cxn>
                      <a:cxn ang="0">
                        <a:pos x="62" y="28"/>
                      </a:cxn>
                      <a:cxn ang="0">
                        <a:pos x="68" y="24"/>
                      </a:cxn>
                      <a:cxn ang="0">
                        <a:pos x="70" y="22"/>
                      </a:cxn>
                      <a:cxn ang="0">
                        <a:pos x="70" y="20"/>
                      </a:cxn>
                      <a:cxn ang="0">
                        <a:pos x="62" y="18"/>
                      </a:cxn>
                      <a:cxn ang="0">
                        <a:pos x="62" y="18"/>
                      </a:cxn>
                    </a:cxnLst>
                    <a:rect l="0" t="0" r="r" b="b"/>
                    <a:pathLst>
                      <a:path w="70" h="34">
                        <a:moveTo>
                          <a:pt x="62" y="18"/>
                        </a:moveTo>
                        <a:lnTo>
                          <a:pt x="62" y="18"/>
                        </a:lnTo>
                        <a:lnTo>
                          <a:pt x="52" y="16"/>
                        </a:lnTo>
                        <a:lnTo>
                          <a:pt x="44" y="14"/>
                        </a:lnTo>
                        <a:lnTo>
                          <a:pt x="34" y="6"/>
                        </a:lnTo>
                        <a:lnTo>
                          <a:pt x="30" y="2"/>
                        </a:lnTo>
                        <a:lnTo>
                          <a:pt x="24" y="0"/>
                        </a:lnTo>
                        <a:lnTo>
                          <a:pt x="18" y="2"/>
                        </a:lnTo>
                        <a:lnTo>
                          <a:pt x="8" y="6"/>
                        </a:lnTo>
                        <a:lnTo>
                          <a:pt x="8" y="6"/>
                        </a:lnTo>
                        <a:lnTo>
                          <a:pt x="2" y="8"/>
                        </a:lnTo>
                        <a:lnTo>
                          <a:pt x="0" y="12"/>
                        </a:lnTo>
                        <a:lnTo>
                          <a:pt x="2" y="18"/>
                        </a:lnTo>
                        <a:lnTo>
                          <a:pt x="8" y="28"/>
                        </a:lnTo>
                        <a:lnTo>
                          <a:pt x="8" y="28"/>
                        </a:lnTo>
                        <a:lnTo>
                          <a:pt x="12" y="30"/>
                        </a:lnTo>
                        <a:lnTo>
                          <a:pt x="16" y="32"/>
                        </a:lnTo>
                        <a:lnTo>
                          <a:pt x="26" y="34"/>
                        </a:lnTo>
                        <a:lnTo>
                          <a:pt x="40" y="32"/>
                        </a:lnTo>
                        <a:lnTo>
                          <a:pt x="52" y="30"/>
                        </a:lnTo>
                        <a:lnTo>
                          <a:pt x="62" y="28"/>
                        </a:lnTo>
                        <a:lnTo>
                          <a:pt x="68" y="24"/>
                        </a:lnTo>
                        <a:lnTo>
                          <a:pt x="70" y="22"/>
                        </a:lnTo>
                        <a:lnTo>
                          <a:pt x="70" y="20"/>
                        </a:lnTo>
                        <a:lnTo>
                          <a:pt x="62" y="18"/>
                        </a:lnTo>
                        <a:lnTo>
                          <a:pt x="62" y="1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4" name="Freeform 6102"/>
                  <p:cNvSpPr>
                    <a:spLocks/>
                  </p:cNvSpPr>
                  <p:nvPr/>
                </p:nvSpPr>
                <p:spPr bwMode="auto">
                  <a:xfrm>
                    <a:off x="1922780" y="1048703"/>
                    <a:ext cx="449580" cy="129540"/>
                  </a:xfrm>
                  <a:custGeom>
                    <a:avLst/>
                    <a:gdLst/>
                    <a:ahLst/>
                    <a:cxnLst>
                      <a:cxn ang="0">
                        <a:pos x="342" y="198"/>
                      </a:cxn>
                      <a:cxn ang="0">
                        <a:pos x="406" y="202"/>
                      </a:cxn>
                      <a:cxn ang="0">
                        <a:pos x="530" y="198"/>
                      </a:cxn>
                      <a:cxn ang="0">
                        <a:pos x="560" y="176"/>
                      </a:cxn>
                      <a:cxn ang="0">
                        <a:pos x="566" y="188"/>
                      </a:cxn>
                      <a:cxn ang="0">
                        <a:pos x="624" y="200"/>
                      </a:cxn>
                      <a:cxn ang="0">
                        <a:pos x="680" y="190"/>
                      </a:cxn>
                      <a:cxn ang="0">
                        <a:pos x="688" y="174"/>
                      </a:cxn>
                      <a:cxn ang="0">
                        <a:pos x="708" y="168"/>
                      </a:cxn>
                      <a:cxn ang="0">
                        <a:pos x="694" y="158"/>
                      </a:cxn>
                      <a:cxn ang="0">
                        <a:pos x="700" y="144"/>
                      </a:cxn>
                      <a:cxn ang="0">
                        <a:pos x="700" y="126"/>
                      </a:cxn>
                      <a:cxn ang="0">
                        <a:pos x="672" y="110"/>
                      </a:cxn>
                      <a:cxn ang="0">
                        <a:pos x="642" y="104"/>
                      </a:cxn>
                      <a:cxn ang="0">
                        <a:pos x="600" y="96"/>
                      </a:cxn>
                      <a:cxn ang="0">
                        <a:pos x="480" y="110"/>
                      </a:cxn>
                      <a:cxn ang="0">
                        <a:pos x="442" y="126"/>
                      </a:cxn>
                      <a:cxn ang="0">
                        <a:pos x="416" y="122"/>
                      </a:cxn>
                      <a:cxn ang="0">
                        <a:pos x="374" y="120"/>
                      </a:cxn>
                      <a:cxn ang="0">
                        <a:pos x="346" y="114"/>
                      </a:cxn>
                      <a:cxn ang="0">
                        <a:pos x="330" y="110"/>
                      </a:cxn>
                      <a:cxn ang="0">
                        <a:pos x="324" y="124"/>
                      </a:cxn>
                      <a:cxn ang="0">
                        <a:pos x="310" y="116"/>
                      </a:cxn>
                      <a:cxn ang="0">
                        <a:pos x="310" y="102"/>
                      </a:cxn>
                      <a:cxn ang="0">
                        <a:pos x="294" y="84"/>
                      </a:cxn>
                      <a:cxn ang="0">
                        <a:pos x="268" y="84"/>
                      </a:cxn>
                      <a:cxn ang="0">
                        <a:pos x="262" y="76"/>
                      </a:cxn>
                      <a:cxn ang="0">
                        <a:pos x="308" y="74"/>
                      </a:cxn>
                      <a:cxn ang="0">
                        <a:pos x="316" y="66"/>
                      </a:cxn>
                      <a:cxn ang="0">
                        <a:pos x="278" y="52"/>
                      </a:cxn>
                      <a:cxn ang="0">
                        <a:pos x="240" y="34"/>
                      </a:cxn>
                      <a:cxn ang="0">
                        <a:pos x="182" y="36"/>
                      </a:cxn>
                      <a:cxn ang="0">
                        <a:pos x="154" y="30"/>
                      </a:cxn>
                      <a:cxn ang="0">
                        <a:pos x="124" y="10"/>
                      </a:cxn>
                      <a:cxn ang="0">
                        <a:pos x="78" y="6"/>
                      </a:cxn>
                      <a:cxn ang="0">
                        <a:pos x="10" y="0"/>
                      </a:cxn>
                      <a:cxn ang="0">
                        <a:pos x="2" y="12"/>
                      </a:cxn>
                      <a:cxn ang="0">
                        <a:pos x="18" y="32"/>
                      </a:cxn>
                      <a:cxn ang="0">
                        <a:pos x="58" y="52"/>
                      </a:cxn>
                      <a:cxn ang="0">
                        <a:pos x="66" y="66"/>
                      </a:cxn>
                      <a:cxn ang="0">
                        <a:pos x="112" y="66"/>
                      </a:cxn>
                      <a:cxn ang="0">
                        <a:pos x="160" y="60"/>
                      </a:cxn>
                      <a:cxn ang="0">
                        <a:pos x="186" y="84"/>
                      </a:cxn>
                      <a:cxn ang="0">
                        <a:pos x="202" y="98"/>
                      </a:cxn>
                      <a:cxn ang="0">
                        <a:pos x="194" y="120"/>
                      </a:cxn>
                      <a:cxn ang="0">
                        <a:pos x="186" y="142"/>
                      </a:cxn>
                      <a:cxn ang="0">
                        <a:pos x="198" y="154"/>
                      </a:cxn>
                      <a:cxn ang="0">
                        <a:pos x="206" y="182"/>
                      </a:cxn>
                      <a:cxn ang="0">
                        <a:pos x="232" y="190"/>
                      </a:cxn>
                      <a:cxn ang="0">
                        <a:pos x="250" y="186"/>
                      </a:cxn>
                      <a:cxn ang="0">
                        <a:pos x="282" y="198"/>
                      </a:cxn>
                      <a:cxn ang="0">
                        <a:pos x="326" y="188"/>
                      </a:cxn>
                      <a:cxn ang="0">
                        <a:pos x="342" y="188"/>
                      </a:cxn>
                    </a:cxnLst>
                    <a:rect l="0" t="0" r="r" b="b"/>
                    <a:pathLst>
                      <a:path w="708" h="204">
                        <a:moveTo>
                          <a:pt x="342" y="188"/>
                        </a:moveTo>
                        <a:lnTo>
                          <a:pt x="342" y="188"/>
                        </a:lnTo>
                        <a:lnTo>
                          <a:pt x="342" y="196"/>
                        </a:lnTo>
                        <a:lnTo>
                          <a:pt x="342" y="198"/>
                        </a:lnTo>
                        <a:lnTo>
                          <a:pt x="344" y="200"/>
                        </a:lnTo>
                        <a:lnTo>
                          <a:pt x="352" y="202"/>
                        </a:lnTo>
                        <a:lnTo>
                          <a:pt x="364" y="204"/>
                        </a:lnTo>
                        <a:lnTo>
                          <a:pt x="406" y="202"/>
                        </a:lnTo>
                        <a:lnTo>
                          <a:pt x="472" y="202"/>
                        </a:lnTo>
                        <a:lnTo>
                          <a:pt x="472" y="202"/>
                        </a:lnTo>
                        <a:lnTo>
                          <a:pt x="506" y="202"/>
                        </a:lnTo>
                        <a:lnTo>
                          <a:pt x="530" y="198"/>
                        </a:lnTo>
                        <a:lnTo>
                          <a:pt x="546" y="192"/>
                        </a:lnTo>
                        <a:lnTo>
                          <a:pt x="554" y="186"/>
                        </a:lnTo>
                        <a:lnTo>
                          <a:pt x="558" y="180"/>
                        </a:lnTo>
                        <a:lnTo>
                          <a:pt x="560" y="176"/>
                        </a:lnTo>
                        <a:lnTo>
                          <a:pt x="562" y="178"/>
                        </a:lnTo>
                        <a:lnTo>
                          <a:pt x="562" y="184"/>
                        </a:lnTo>
                        <a:lnTo>
                          <a:pt x="562" y="184"/>
                        </a:lnTo>
                        <a:lnTo>
                          <a:pt x="566" y="188"/>
                        </a:lnTo>
                        <a:lnTo>
                          <a:pt x="570" y="190"/>
                        </a:lnTo>
                        <a:lnTo>
                          <a:pt x="584" y="196"/>
                        </a:lnTo>
                        <a:lnTo>
                          <a:pt x="604" y="200"/>
                        </a:lnTo>
                        <a:lnTo>
                          <a:pt x="624" y="200"/>
                        </a:lnTo>
                        <a:lnTo>
                          <a:pt x="646" y="200"/>
                        </a:lnTo>
                        <a:lnTo>
                          <a:pt x="664" y="198"/>
                        </a:lnTo>
                        <a:lnTo>
                          <a:pt x="676" y="192"/>
                        </a:lnTo>
                        <a:lnTo>
                          <a:pt x="680" y="190"/>
                        </a:lnTo>
                        <a:lnTo>
                          <a:pt x="682" y="186"/>
                        </a:lnTo>
                        <a:lnTo>
                          <a:pt x="682" y="186"/>
                        </a:lnTo>
                        <a:lnTo>
                          <a:pt x="684" y="178"/>
                        </a:lnTo>
                        <a:lnTo>
                          <a:pt x="688" y="174"/>
                        </a:lnTo>
                        <a:lnTo>
                          <a:pt x="694" y="172"/>
                        </a:lnTo>
                        <a:lnTo>
                          <a:pt x="700" y="170"/>
                        </a:lnTo>
                        <a:lnTo>
                          <a:pt x="706" y="168"/>
                        </a:lnTo>
                        <a:lnTo>
                          <a:pt x="708" y="168"/>
                        </a:lnTo>
                        <a:lnTo>
                          <a:pt x="708" y="166"/>
                        </a:lnTo>
                        <a:lnTo>
                          <a:pt x="700" y="162"/>
                        </a:lnTo>
                        <a:lnTo>
                          <a:pt x="700" y="162"/>
                        </a:lnTo>
                        <a:lnTo>
                          <a:pt x="694" y="158"/>
                        </a:lnTo>
                        <a:lnTo>
                          <a:pt x="690" y="154"/>
                        </a:lnTo>
                        <a:lnTo>
                          <a:pt x="692" y="152"/>
                        </a:lnTo>
                        <a:lnTo>
                          <a:pt x="696" y="148"/>
                        </a:lnTo>
                        <a:lnTo>
                          <a:pt x="700" y="144"/>
                        </a:lnTo>
                        <a:lnTo>
                          <a:pt x="702" y="140"/>
                        </a:lnTo>
                        <a:lnTo>
                          <a:pt x="704" y="134"/>
                        </a:lnTo>
                        <a:lnTo>
                          <a:pt x="700" y="126"/>
                        </a:lnTo>
                        <a:lnTo>
                          <a:pt x="700" y="126"/>
                        </a:lnTo>
                        <a:lnTo>
                          <a:pt x="694" y="118"/>
                        </a:lnTo>
                        <a:lnTo>
                          <a:pt x="688" y="114"/>
                        </a:lnTo>
                        <a:lnTo>
                          <a:pt x="680" y="112"/>
                        </a:lnTo>
                        <a:lnTo>
                          <a:pt x="672" y="110"/>
                        </a:lnTo>
                        <a:lnTo>
                          <a:pt x="654" y="110"/>
                        </a:lnTo>
                        <a:lnTo>
                          <a:pt x="648" y="108"/>
                        </a:lnTo>
                        <a:lnTo>
                          <a:pt x="642" y="104"/>
                        </a:lnTo>
                        <a:lnTo>
                          <a:pt x="642" y="104"/>
                        </a:lnTo>
                        <a:lnTo>
                          <a:pt x="636" y="98"/>
                        </a:lnTo>
                        <a:lnTo>
                          <a:pt x="626" y="96"/>
                        </a:lnTo>
                        <a:lnTo>
                          <a:pt x="614" y="94"/>
                        </a:lnTo>
                        <a:lnTo>
                          <a:pt x="600" y="96"/>
                        </a:lnTo>
                        <a:lnTo>
                          <a:pt x="560" y="98"/>
                        </a:lnTo>
                        <a:lnTo>
                          <a:pt x="506" y="106"/>
                        </a:lnTo>
                        <a:lnTo>
                          <a:pt x="506" y="106"/>
                        </a:lnTo>
                        <a:lnTo>
                          <a:pt x="480" y="110"/>
                        </a:lnTo>
                        <a:lnTo>
                          <a:pt x="464" y="114"/>
                        </a:lnTo>
                        <a:lnTo>
                          <a:pt x="454" y="120"/>
                        </a:lnTo>
                        <a:lnTo>
                          <a:pt x="446" y="124"/>
                        </a:lnTo>
                        <a:lnTo>
                          <a:pt x="442" y="126"/>
                        </a:lnTo>
                        <a:lnTo>
                          <a:pt x="438" y="128"/>
                        </a:lnTo>
                        <a:lnTo>
                          <a:pt x="430" y="126"/>
                        </a:lnTo>
                        <a:lnTo>
                          <a:pt x="416" y="122"/>
                        </a:lnTo>
                        <a:lnTo>
                          <a:pt x="416" y="122"/>
                        </a:lnTo>
                        <a:lnTo>
                          <a:pt x="402" y="118"/>
                        </a:lnTo>
                        <a:lnTo>
                          <a:pt x="390" y="118"/>
                        </a:lnTo>
                        <a:lnTo>
                          <a:pt x="382" y="118"/>
                        </a:lnTo>
                        <a:lnTo>
                          <a:pt x="374" y="120"/>
                        </a:lnTo>
                        <a:lnTo>
                          <a:pt x="368" y="122"/>
                        </a:lnTo>
                        <a:lnTo>
                          <a:pt x="362" y="122"/>
                        </a:lnTo>
                        <a:lnTo>
                          <a:pt x="354" y="120"/>
                        </a:lnTo>
                        <a:lnTo>
                          <a:pt x="346" y="114"/>
                        </a:lnTo>
                        <a:lnTo>
                          <a:pt x="346" y="114"/>
                        </a:lnTo>
                        <a:lnTo>
                          <a:pt x="338" y="110"/>
                        </a:lnTo>
                        <a:lnTo>
                          <a:pt x="332" y="108"/>
                        </a:lnTo>
                        <a:lnTo>
                          <a:pt x="330" y="110"/>
                        </a:lnTo>
                        <a:lnTo>
                          <a:pt x="328" y="114"/>
                        </a:lnTo>
                        <a:lnTo>
                          <a:pt x="328" y="118"/>
                        </a:lnTo>
                        <a:lnTo>
                          <a:pt x="326" y="122"/>
                        </a:lnTo>
                        <a:lnTo>
                          <a:pt x="324" y="124"/>
                        </a:lnTo>
                        <a:lnTo>
                          <a:pt x="318" y="122"/>
                        </a:lnTo>
                        <a:lnTo>
                          <a:pt x="318" y="122"/>
                        </a:lnTo>
                        <a:lnTo>
                          <a:pt x="312" y="118"/>
                        </a:lnTo>
                        <a:lnTo>
                          <a:pt x="310" y="116"/>
                        </a:lnTo>
                        <a:lnTo>
                          <a:pt x="310" y="112"/>
                        </a:lnTo>
                        <a:lnTo>
                          <a:pt x="310" y="110"/>
                        </a:lnTo>
                        <a:lnTo>
                          <a:pt x="312" y="106"/>
                        </a:lnTo>
                        <a:lnTo>
                          <a:pt x="310" y="102"/>
                        </a:lnTo>
                        <a:lnTo>
                          <a:pt x="308" y="96"/>
                        </a:lnTo>
                        <a:lnTo>
                          <a:pt x="300" y="90"/>
                        </a:lnTo>
                        <a:lnTo>
                          <a:pt x="300" y="90"/>
                        </a:lnTo>
                        <a:lnTo>
                          <a:pt x="294" y="84"/>
                        </a:lnTo>
                        <a:lnTo>
                          <a:pt x="286" y="82"/>
                        </a:lnTo>
                        <a:lnTo>
                          <a:pt x="280" y="82"/>
                        </a:lnTo>
                        <a:lnTo>
                          <a:pt x="276" y="82"/>
                        </a:lnTo>
                        <a:lnTo>
                          <a:pt x="268" y="84"/>
                        </a:lnTo>
                        <a:lnTo>
                          <a:pt x="266" y="82"/>
                        </a:lnTo>
                        <a:lnTo>
                          <a:pt x="264" y="78"/>
                        </a:lnTo>
                        <a:lnTo>
                          <a:pt x="264" y="78"/>
                        </a:lnTo>
                        <a:lnTo>
                          <a:pt x="262" y="76"/>
                        </a:lnTo>
                        <a:lnTo>
                          <a:pt x="264" y="74"/>
                        </a:lnTo>
                        <a:lnTo>
                          <a:pt x="270" y="72"/>
                        </a:lnTo>
                        <a:lnTo>
                          <a:pt x="290" y="72"/>
                        </a:lnTo>
                        <a:lnTo>
                          <a:pt x="308" y="74"/>
                        </a:lnTo>
                        <a:lnTo>
                          <a:pt x="314" y="72"/>
                        </a:lnTo>
                        <a:lnTo>
                          <a:pt x="316" y="70"/>
                        </a:lnTo>
                        <a:lnTo>
                          <a:pt x="316" y="66"/>
                        </a:lnTo>
                        <a:lnTo>
                          <a:pt x="316" y="66"/>
                        </a:lnTo>
                        <a:lnTo>
                          <a:pt x="314" y="62"/>
                        </a:lnTo>
                        <a:lnTo>
                          <a:pt x="308" y="58"/>
                        </a:lnTo>
                        <a:lnTo>
                          <a:pt x="296" y="56"/>
                        </a:lnTo>
                        <a:lnTo>
                          <a:pt x="278" y="52"/>
                        </a:lnTo>
                        <a:lnTo>
                          <a:pt x="268" y="48"/>
                        </a:lnTo>
                        <a:lnTo>
                          <a:pt x="258" y="44"/>
                        </a:lnTo>
                        <a:lnTo>
                          <a:pt x="258" y="44"/>
                        </a:lnTo>
                        <a:lnTo>
                          <a:pt x="240" y="34"/>
                        </a:lnTo>
                        <a:lnTo>
                          <a:pt x="232" y="32"/>
                        </a:lnTo>
                        <a:lnTo>
                          <a:pt x="224" y="30"/>
                        </a:lnTo>
                        <a:lnTo>
                          <a:pt x="204" y="32"/>
                        </a:lnTo>
                        <a:lnTo>
                          <a:pt x="182" y="36"/>
                        </a:lnTo>
                        <a:lnTo>
                          <a:pt x="182" y="36"/>
                        </a:lnTo>
                        <a:lnTo>
                          <a:pt x="170" y="36"/>
                        </a:lnTo>
                        <a:lnTo>
                          <a:pt x="162" y="34"/>
                        </a:lnTo>
                        <a:lnTo>
                          <a:pt x="154" y="30"/>
                        </a:lnTo>
                        <a:lnTo>
                          <a:pt x="148" y="24"/>
                        </a:lnTo>
                        <a:lnTo>
                          <a:pt x="136" y="14"/>
                        </a:lnTo>
                        <a:lnTo>
                          <a:pt x="130" y="10"/>
                        </a:lnTo>
                        <a:lnTo>
                          <a:pt x="124" y="10"/>
                        </a:lnTo>
                        <a:lnTo>
                          <a:pt x="124" y="10"/>
                        </a:lnTo>
                        <a:lnTo>
                          <a:pt x="114" y="10"/>
                        </a:lnTo>
                        <a:lnTo>
                          <a:pt x="104" y="10"/>
                        </a:lnTo>
                        <a:lnTo>
                          <a:pt x="78" y="6"/>
                        </a:lnTo>
                        <a:lnTo>
                          <a:pt x="48" y="2"/>
                        </a:lnTo>
                        <a:lnTo>
                          <a:pt x="14" y="0"/>
                        </a:lnTo>
                        <a:lnTo>
                          <a:pt x="14" y="0"/>
                        </a:lnTo>
                        <a:lnTo>
                          <a:pt x="10" y="0"/>
                        </a:lnTo>
                        <a:lnTo>
                          <a:pt x="4" y="2"/>
                        </a:lnTo>
                        <a:lnTo>
                          <a:pt x="2" y="4"/>
                        </a:lnTo>
                        <a:lnTo>
                          <a:pt x="0" y="8"/>
                        </a:lnTo>
                        <a:lnTo>
                          <a:pt x="2" y="12"/>
                        </a:lnTo>
                        <a:lnTo>
                          <a:pt x="4" y="18"/>
                        </a:lnTo>
                        <a:lnTo>
                          <a:pt x="10" y="24"/>
                        </a:lnTo>
                        <a:lnTo>
                          <a:pt x="18" y="32"/>
                        </a:lnTo>
                        <a:lnTo>
                          <a:pt x="18" y="32"/>
                        </a:lnTo>
                        <a:lnTo>
                          <a:pt x="26" y="38"/>
                        </a:lnTo>
                        <a:lnTo>
                          <a:pt x="36" y="42"/>
                        </a:lnTo>
                        <a:lnTo>
                          <a:pt x="50" y="48"/>
                        </a:lnTo>
                        <a:lnTo>
                          <a:pt x="58" y="52"/>
                        </a:lnTo>
                        <a:lnTo>
                          <a:pt x="62" y="56"/>
                        </a:lnTo>
                        <a:lnTo>
                          <a:pt x="62" y="60"/>
                        </a:lnTo>
                        <a:lnTo>
                          <a:pt x="62" y="60"/>
                        </a:lnTo>
                        <a:lnTo>
                          <a:pt x="66" y="66"/>
                        </a:lnTo>
                        <a:lnTo>
                          <a:pt x="70" y="68"/>
                        </a:lnTo>
                        <a:lnTo>
                          <a:pt x="78" y="70"/>
                        </a:lnTo>
                        <a:lnTo>
                          <a:pt x="88" y="70"/>
                        </a:lnTo>
                        <a:lnTo>
                          <a:pt x="112" y="66"/>
                        </a:lnTo>
                        <a:lnTo>
                          <a:pt x="138" y="60"/>
                        </a:lnTo>
                        <a:lnTo>
                          <a:pt x="138" y="60"/>
                        </a:lnTo>
                        <a:lnTo>
                          <a:pt x="150" y="60"/>
                        </a:lnTo>
                        <a:lnTo>
                          <a:pt x="160" y="60"/>
                        </a:lnTo>
                        <a:lnTo>
                          <a:pt x="166" y="62"/>
                        </a:lnTo>
                        <a:lnTo>
                          <a:pt x="170" y="66"/>
                        </a:lnTo>
                        <a:lnTo>
                          <a:pt x="180" y="78"/>
                        </a:lnTo>
                        <a:lnTo>
                          <a:pt x="186" y="84"/>
                        </a:lnTo>
                        <a:lnTo>
                          <a:pt x="194" y="90"/>
                        </a:lnTo>
                        <a:lnTo>
                          <a:pt x="194" y="90"/>
                        </a:lnTo>
                        <a:lnTo>
                          <a:pt x="198" y="94"/>
                        </a:lnTo>
                        <a:lnTo>
                          <a:pt x="202" y="98"/>
                        </a:lnTo>
                        <a:lnTo>
                          <a:pt x="202" y="102"/>
                        </a:lnTo>
                        <a:lnTo>
                          <a:pt x="202" y="106"/>
                        </a:lnTo>
                        <a:lnTo>
                          <a:pt x="200" y="114"/>
                        </a:lnTo>
                        <a:lnTo>
                          <a:pt x="194" y="120"/>
                        </a:lnTo>
                        <a:lnTo>
                          <a:pt x="190" y="128"/>
                        </a:lnTo>
                        <a:lnTo>
                          <a:pt x="186" y="134"/>
                        </a:lnTo>
                        <a:lnTo>
                          <a:pt x="184" y="140"/>
                        </a:lnTo>
                        <a:lnTo>
                          <a:pt x="186" y="142"/>
                        </a:lnTo>
                        <a:lnTo>
                          <a:pt x="190" y="144"/>
                        </a:lnTo>
                        <a:lnTo>
                          <a:pt x="190" y="144"/>
                        </a:lnTo>
                        <a:lnTo>
                          <a:pt x="196" y="150"/>
                        </a:lnTo>
                        <a:lnTo>
                          <a:pt x="198" y="154"/>
                        </a:lnTo>
                        <a:lnTo>
                          <a:pt x="200" y="164"/>
                        </a:lnTo>
                        <a:lnTo>
                          <a:pt x="200" y="170"/>
                        </a:lnTo>
                        <a:lnTo>
                          <a:pt x="202" y="176"/>
                        </a:lnTo>
                        <a:lnTo>
                          <a:pt x="206" y="182"/>
                        </a:lnTo>
                        <a:lnTo>
                          <a:pt x="216" y="186"/>
                        </a:lnTo>
                        <a:lnTo>
                          <a:pt x="216" y="186"/>
                        </a:lnTo>
                        <a:lnTo>
                          <a:pt x="224" y="190"/>
                        </a:lnTo>
                        <a:lnTo>
                          <a:pt x="232" y="190"/>
                        </a:lnTo>
                        <a:lnTo>
                          <a:pt x="236" y="190"/>
                        </a:lnTo>
                        <a:lnTo>
                          <a:pt x="240" y="188"/>
                        </a:lnTo>
                        <a:lnTo>
                          <a:pt x="244" y="186"/>
                        </a:lnTo>
                        <a:lnTo>
                          <a:pt x="250" y="186"/>
                        </a:lnTo>
                        <a:lnTo>
                          <a:pt x="260" y="188"/>
                        </a:lnTo>
                        <a:lnTo>
                          <a:pt x="274" y="194"/>
                        </a:lnTo>
                        <a:lnTo>
                          <a:pt x="274" y="194"/>
                        </a:lnTo>
                        <a:lnTo>
                          <a:pt x="282" y="198"/>
                        </a:lnTo>
                        <a:lnTo>
                          <a:pt x="290" y="198"/>
                        </a:lnTo>
                        <a:lnTo>
                          <a:pt x="304" y="198"/>
                        </a:lnTo>
                        <a:lnTo>
                          <a:pt x="316" y="194"/>
                        </a:lnTo>
                        <a:lnTo>
                          <a:pt x="326" y="188"/>
                        </a:lnTo>
                        <a:lnTo>
                          <a:pt x="340" y="180"/>
                        </a:lnTo>
                        <a:lnTo>
                          <a:pt x="342" y="180"/>
                        </a:lnTo>
                        <a:lnTo>
                          <a:pt x="342" y="180"/>
                        </a:lnTo>
                        <a:lnTo>
                          <a:pt x="342" y="188"/>
                        </a:lnTo>
                        <a:lnTo>
                          <a:pt x="342" y="18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5" name="Freeform 6103"/>
                  <p:cNvSpPr>
                    <a:spLocks/>
                  </p:cNvSpPr>
                  <p:nvPr/>
                </p:nvSpPr>
                <p:spPr bwMode="auto">
                  <a:xfrm>
                    <a:off x="1936750" y="1119823"/>
                    <a:ext cx="81280" cy="49530"/>
                  </a:xfrm>
                  <a:custGeom>
                    <a:avLst/>
                    <a:gdLst/>
                    <a:ahLst/>
                    <a:cxnLst>
                      <a:cxn ang="0">
                        <a:pos x="94" y="78"/>
                      </a:cxn>
                      <a:cxn ang="0">
                        <a:pos x="94" y="78"/>
                      </a:cxn>
                      <a:cxn ang="0">
                        <a:pos x="110" y="76"/>
                      </a:cxn>
                      <a:cxn ang="0">
                        <a:pos x="120" y="72"/>
                      </a:cxn>
                      <a:cxn ang="0">
                        <a:pos x="126" y="66"/>
                      </a:cxn>
                      <a:cxn ang="0">
                        <a:pos x="128" y="58"/>
                      </a:cxn>
                      <a:cxn ang="0">
                        <a:pos x="126" y="48"/>
                      </a:cxn>
                      <a:cxn ang="0">
                        <a:pos x="120" y="38"/>
                      </a:cxn>
                      <a:cxn ang="0">
                        <a:pos x="114" y="28"/>
                      </a:cxn>
                      <a:cxn ang="0">
                        <a:pos x="104" y="16"/>
                      </a:cxn>
                      <a:cxn ang="0">
                        <a:pos x="104" y="16"/>
                      </a:cxn>
                      <a:cxn ang="0">
                        <a:pos x="92" y="8"/>
                      </a:cxn>
                      <a:cxn ang="0">
                        <a:pos x="80" y="2"/>
                      </a:cxn>
                      <a:cxn ang="0">
                        <a:pos x="68" y="0"/>
                      </a:cxn>
                      <a:cxn ang="0">
                        <a:pos x="58" y="0"/>
                      </a:cxn>
                      <a:cxn ang="0">
                        <a:pos x="46" y="2"/>
                      </a:cxn>
                      <a:cxn ang="0">
                        <a:pos x="34" y="8"/>
                      </a:cxn>
                      <a:cxn ang="0">
                        <a:pos x="24" y="14"/>
                      </a:cxn>
                      <a:cxn ang="0">
                        <a:pos x="16" y="24"/>
                      </a:cxn>
                      <a:cxn ang="0">
                        <a:pos x="16" y="24"/>
                      </a:cxn>
                      <a:cxn ang="0">
                        <a:pos x="6" y="36"/>
                      </a:cxn>
                      <a:cxn ang="0">
                        <a:pos x="2" y="42"/>
                      </a:cxn>
                      <a:cxn ang="0">
                        <a:pos x="0" y="48"/>
                      </a:cxn>
                      <a:cxn ang="0">
                        <a:pos x="0" y="52"/>
                      </a:cxn>
                      <a:cxn ang="0">
                        <a:pos x="4" y="56"/>
                      </a:cxn>
                      <a:cxn ang="0">
                        <a:pos x="10" y="58"/>
                      </a:cxn>
                      <a:cxn ang="0">
                        <a:pos x="22" y="60"/>
                      </a:cxn>
                      <a:cxn ang="0">
                        <a:pos x="22" y="60"/>
                      </a:cxn>
                      <a:cxn ang="0">
                        <a:pos x="32" y="62"/>
                      </a:cxn>
                      <a:cxn ang="0">
                        <a:pos x="40" y="64"/>
                      </a:cxn>
                      <a:cxn ang="0">
                        <a:pos x="54" y="70"/>
                      </a:cxn>
                      <a:cxn ang="0">
                        <a:pos x="68" y="76"/>
                      </a:cxn>
                      <a:cxn ang="0">
                        <a:pos x="80" y="76"/>
                      </a:cxn>
                      <a:cxn ang="0">
                        <a:pos x="94" y="78"/>
                      </a:cxn>
                      <a:cxn ang="0">
                        <a:pos x="94" y="78"/>
                      </a:cxn>
                    </a:cxnLst>
                    <a:rect l="0" t="0" r="r" b="b"/>
                    <a:pathLst>
                      <a:path w="128" h="78">
                        <a:moveTo>
                          <a:pt x="94" y="78"/>
                        </a:moveTo>
                        <a:lnTo>
                          <a:pt x="94" y="78"/>
                        </a:lnTo>
                        <a:lnTo>
                          <a:pt x="110" y="76"/>
                        </a:lnTo>
                        <a:lnTo>
                          <a:pt x="120" y="72"/>
                        </a:lnTo>
                        <a:lnTo>
                          <a:pt x="126" y="66"/>
                        </a:lnTo>
                        <a:lnTo>
                          <a:pt x="128" y="58"/>
                        </a:lnTo>
                        <a:lnTo>
                          <a:pt x="126" y="48"/>
                        </a:lnTo>
                        <a:lnTo>
                          <a:pt x="120" y="38"/>
                        </a:lnTo>
                        <a:lnTo>
                          <a:pt x="114" y="28"/>
                        </a:lnTo>
                        <a:lnTo>
                          <a:pt x="104" y="16"/>
                        </a:lnTo>
                        <a:lnTo>
                          <a:pt x="104" y="16"/>
                        </a:lnTo>
                        <a:lnTo>
                          <a:pt x="92" y="8"/>
                        </a:lnTo>
                        <a:lnTo>
                          <a:pt x="80" y="2"/>
                        </a:lnTo>
                        <a:lnTo>
                          <a:pt x="68" y="0"/>
                        </a:lnTo>
                        <a:lnTo>
                          <a:pt x="58" y="0"/>
                        </a:lnTo>
                        <a:lnTo>
                          <a:pt x="46" y="2"/>
                        </a:lnTo>
                        <a:lnTo>
                          <a:pt x="34" y="8"/>
                        </a:lnTo>
                        <a:lnTo>
                          <a:pt x="24" y="14"/>
                        </a:lnTo>
                        <a:lnTo>
                          <a:pt x="16" y="24"/>
                        </a:lnTo>
                        <a:lnTo>
                          <a:pt x="16" y="24"/>
                        </a:lnTo>
                        <a:lnTo>
                          <a:pt x="6" y="36"/>
                        </a:lnTo>
                        <a:lnTo>
                          <a:pt x="2" y="42"/>
                        </a:lnTo>
                        <a:lnTo>
                          <a:pt x="0" y="48"/>
                        </a:lnTo>
                        <a:lnTo>
                          <a:pt x="0" y="52"/>
                        </a:lnTo>
                        <a:lnTo>
                          <a:pt x="4" y="56"/>
                        </a:lnTo>
                        <a:lnTo>
                          <a:pt x="10" y="58"/>
                        </a:lnTo>
                        <a:lnTo>
                          <a:pt x="22" y="60"/>
                        </a:lnTo>
                        <a:lnTo>
                          <a:pt x="22" y="60"/>
                        </a:lnTo>
                        <a:lnTo>
                          <a:pt x="32" y="62"/>
                        </a:lnTo>
                        <a:lnTo>
                          <a:pt x="40" y="64"/>
                        </a:lnTo>
                        <a:lnTo>
                          <a:pt x="54" y="70"/>
                        </a:lnTo>
                        <a:lnTo>
                          <a:pt x="68" y="76"/>
                        </a:lnTo>
                        <a:lnTo>
                          <a:pt x="80" y="76"/>
                        </a:lnTo>
                        <a:lnTo>
                          <a:pt x="94" y="78"/>
                        </a:lnTo>
                        <a:lnTo>
                          <a:pt x="94" y="7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6" name="Freeform 6104"/>
                  <p:cNvSpPr>
                    <a:spLocks/>
                  </p:cNvSpPr>
                  <p:nvPr/>
                </p:nvSpPr>
                <p:spPr bwMode="auto">
                  <a:xfrm>
                    <a:off x="1940560" y="1010603"/>
                    <a:ext cx="80010" cy="19050"/>
                  </a:xfrm>
                  <a:custGeom>
                    <a:avLst/>
                    <a:gdLst/>
                    <a:ahLst/>
                    <a:cxnLst>
                      <a:cxn ang="0">
                        <a:pos x="92" y="28"/>
                      </a:cxn>
                      <a:cxn ang="0">
                        <a:pos x="92" y="28"/>
                      </a:cxn>
                      <a:cxn ang="0">
                        <a:pos x="108" y="28"/>
                      </a:cxn>
                      <a:cxn ang="0">
                        <a:pos x="120" y="26"/>
                      </a:cxn>
                      <a:cxn ang="0">
                        <a:pos x="124" y="22"/>
                      </a:cxn>
                      <a:cxn ang="0">
                        <a:pos x="126" y="20"/>
                      </a:cxn>
                      <a:cxn ang="0">
                        <a:pos x="126" y="16"/>
                      </a:cxn>
                      <a:cxn ang="0">
                        <a:pos x="122" y="12"/>
                      </a:cxn>
                      <a:cxn ang="0">
                        <a:pos x="112" y="8"/>
                      </a:cxn>
                      <a:cxn ang="0">
                        <a:pos x="100" y="4"/>
                      </a:cxn>
                      <a:cxn ang="0">
                        <a:pos x="82" y="2"/>
                      </a:cxn>
                      <a:cxn ang="0">
                        <a:pos x="82" y="2"/>
                      </a:cxn>
                      <a:cxn ang="0">
                        <a:pos x="48" y="0"/>
                      </a:cxn>
                      <a:cxn ang="0">
                        <a:pos x="22" y="4"/>
                      </a:cxn>
                      <a:cxn ang="0">
                        <a:pos x="14" y="6"/>
                      </a:cxn>
                      <a:cxn ang="0">
                        <a:pos x="6" y="8"/>
                      </a:cxn>
                      <a:cxn ang="0">
                        <a:pos x="2" y="12"/>
                      </a:cxn>
                      <a:cxn ang="0">
                        <a:pos x="0" y="18"/>
                      </a:cxn>
                      <a:cxn ang="0">
                        <a:pos x="0" y="18"/>
                      </a:cxn>
                      <a:cxn ang="0">
                        <a:pos x="2" y="24"/>
                      </a:cxn>
                      <a:cxn ang="0">
                        <a:pos x="6" y="26"/>
                      </a:cxn>
                      <a:cxn ang="0">
                        <a:pos x="16" y="28"/>
                      </a:cxn>
                      <a:cxn ang="0">
                        <a:pos x="26" y="30"/>
                      </a:cxn>
                      <a:cxn ang="0">
                        <a:pos x="56" y="28"/>
                      </a:cxn>
                      <a:cxn ang="0">
                        <a:pos x="92" y="28"/>
                      </a:cxn>
                      <a:cxn ang="0">
                        <a:pos x="92" y="28"/>
                      </a:cxn>
                    </a:cxnLst>
                    <a:rect l="0" t="0" r="r" b="b"/>
                    <a:pathLst>
                      <a:path w="126" h="30">
                        <a:moveTo>
                          <a:pt x="92" y="28"/>
                        </a:moveTo>
                        <a:lnTo>
                          <a:pt x="92" y="28"/>
                        </a:lnTo>
                        <a:lnTo>
                          <a:pt x="108" y="28"/>
                        </a:lnTo>
                        <a:lnTo>
                          <a:pt x="120" y="26"/>
                        </a:lnTo>
                        <a:lnTo>
                          <a:pt x="124" y="22"/>
                        </a:lnTo>
                        <a:lnTo>
                          <a:pt x="126" y="20"/>
                        </a:lnTo>
                        <a:lnTo>
                          <a:pt x="126" y="16"/>
                        </a:lnTo>
                        <a:lnTo>
                          <a:pt x="122" y="12"/>
                        </a:lnTo>
                        <a:lnTo>
                          <a:pt x="112" y="8"/>
                        </a:lnTo>
                        <a:lnTo>
                          <a:pt x="100" y="4"/>
                        </a:lnTo>
                        <a:lnTo>
                          <a:pt x="82" y="2"/>
                        </a:lnTo>
                        <a:lnTo>
                          <a:pt x="82" y="2"/>
                        </a:lnTo>
                        <a:lnTo>
                          <a:pt x="48" y="0"/>
                        </a:lnTo>
                        <a:lnTo>
                          <a:pt x="22" y="4"/>
                        </a:lnTo>
                        <a:lnTo>
                          <a:pt x="14" y="6"/>
                        </a:lnTo>
                        <a:lnTo>
                          <a:pt x="6" y="8"/>
                        </a:lnTo>
                        <a:lnTo>
                          <a:pt x="2" y="12"/>
                        </a:lnTo>
                        <a:lnTo>
                          <a:pt x="0" y="18"/>
                        </a:lnTo>
                        <a:lnTo>
                          <a:pt x="0" y="18"/>
                        </a:lnTo>
                        <a:lnTo>
                          <a:pt x="2" y="24"/>
                        </a:lnTo>
                        <a:lnTo>
                          <a:pt x="6" y="26"/>
                        </a:lnTo>
                        <a:lnTo>
                          <a:pt x="16" y="28"/>
                        </a:lnTo>
                        <a:lnTo>
                          <a:pt x="26" y="30"/>
                        </a:lnTo>
                        <a:lnTo>
                          <a:pt x="56" y="28"/>
                        </a:lnTo>
                        <a:lnTo>
                          <a:pt x="92" y="28"/>
                        </a:lnTo>
                        <a:lnTo>
                          <a:pt x="92" y="2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7" name="Freeform 6105"/>
                  <p:cNvSpPr>
                    <a:spLocks/>
                  </p:cNvSpPr>
                  <p:nvPr/>
                </p:nvSpPr>
                <p:spPr bwMode="auto">
                  <a:xfrm>
                    <a:off x="2194560" y="944563"/>
                    <a:ext cx="34290" cy="12700"/>
                  </a:xfrm>
                  <a:custGeom>
                    <a:avLst/>
                    <a:gdLst/>
                    <a:ahLst/>
                    <a:cxnLst>
                      <a:cxn ang="0">
                        <a:pos x="54" y="4"/>
                      </a:cxn>
                      <a:cxn ang="0">
                        <a:pos x="54" y="4"/>
                      </a:cxn>
                      <a:cxn ang="0">
                        <a:pos x="54" y="2"/>
                      </a:cxn>
                      <a:cxn ang="0">
                        <a:pos x="50" y="0"/>
                      </a:cxn>
                      <a:cxn ang="0">
                        <a:pos x="36" y="0"/>
                      </a:cxn>
                      <a:cxn ang="0">
                        <a:pos x="18" y="6"/>
                      </a:cxn>
                      <a:cxn ang="0">
                        <a:pos x="8" y="10"/>
                      </a:cxn>
                      <a:cxn ang="0">
                        <a:pos x="2" y="14"/>
                      </a:cxn>
                      <a:cxn ang="0">
                        <a:pos x="2" y="14"/>
                      </a:cxn>
                      <a:cxn ang="0">
                        <a:pos x="0" y="18"/>
                      </a:cxn>
                      <a:cxn ang="0">
                        <a:pos x="4" y="20"/>
                      </a:cxn>
                      <a:cxn ang="0">
                        <a:pos x="20" y="18"/>
                      </a:cxn>
                      <a:cxn ang="0">
                        <a:pos x="42" y="12"/>
                      </a:cxn>
                      <a:cxn ang="0">
                        <a:pos x="50" y="8"/>
                      </a:cxn>
                      <a:cxn ang="0">
                        <a:pos x="54" y="4"/>
                      </a:cxn>
                      <a:cxn ang="0">
                        <a:pos x="54" y="4"/>
                      </a:cxn>
                    </a:cxnLst>
                    <a:rect l="0" t="0" r="r" b="b"/>
                    <a:pathLst>
                      <a:path w="54" h="20">
                        <a:moveTo>
                          <a:pt x="54" y="4"/>
                        </a:moveTo>
                        <a:lnTo>
                          <a:pt x="54" y="4"/>
                        </a:lnTo>
                        <a:lnTo>
                          <a:pt x="54" y="2"/>
                        </a:lnTo>
                        <a:lnTo>
                          <a:pt x="50" y="0"/>
                        </a:lnTo>
                        <a:lnTo>
                          <a:pt x="36" y="0"/>
                        </a:lnTo>
                        <a:lnTo>
                          <a:pt x="18" y="6"/>
                        </a:lnTo>
                        <a:lnTo>
                          <a:pt x="8" y="10"/>
                        </a:lnTo>
                        <a:lnTo>
                          <a:pt x="2" y="14"/>
                        </a:lnTo>
                        <a:lnTo>
                          <a:pt x="2" y="14"/>
                        </a:lnTo>
                        <a:lnTo>
                          <a:pt x="0" y="18"/>
                        </a:lnTo>
                        <a:lnTo>
                          <a:pt x="4" y="20"/>
                        </a:lnTo>
                        <a:lnTo>
                          <a:pt x="20" y="18"/>
                        </a:lnTo>
                        <a:lnTo>
                          <a:pt x="42" y="12"/>
                        </a:lnTo>
                        <a:lnTo>
                          <a:pt x="50" y="8"/>
                        </a:lnTo>
                        <a:lnTo>
                          <a:pt x="54" y="4"/>
                        </a:lnTo>
                        <a:lnTo>
                          <a:pt x="54"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8" name="Freeform 6106"/>
                  <p:cNvSpPr>
                    <a:spLocks/>
                  </p:cNvSpPr>
                  <p:nvPr/>
                </p:nvSpPr>
                <p:spPr bwMode="auto">
                  <a:xfrm>
                    <a:off x="2057400" y="727393"/>
                    <a:ext cx="784860" cy="367030"/>
                  </a:xfrm>
                  <a:custGeom>
                    <a:avLst/>
                    <a:gdLst/>
                    <a:ahLst/>
                    <a:cxnLst>
                      <a:cxn ang="0">
                        <a:pos x="68" y="162"/>
                      </a:cxn>
                      <a:cxn ang="0">
                        <a:pos x="122" y="204"/>
                      </a:cxn>
                      <a:cxn ang="0">
                        <a:pos x="246" y="182"/>
                      </a:cxn>
                      <a:cxn ang="0">
                        <a:pos x="202" y="210"/>
                      </a:cxn>
                      <a:cxn ang="0">
                        <a:pos x="334" y="210"/>
                      </a:cxn>
                      <a:cxn ang="0">
                        <a:pos x="494" y="186"/>
                      </a:cxn>
                      <a:cxn ang="0">
                        <a:pos x="540" y="190"/>
                      </a:cxn>
                      <a:cxn ang="0">
                        <a:pos x="450" y="222"/>
                      </a:cxn>
                      <a:cxn ang="0">
                        <a:pos x="402" y="274"/>
                      </a:cxn>
                      <a:cxn ang="0">
                        <a:pos x="402" y="298"/>
                      </a:cxn>
                      <a:cxn ang="0">
                        <a:pos x="246" y="240"/>
                      </a:cxn>
                      <a:cxn ang="0">
                        <a:pos x="226" y="284"/>
                      </a:cxn>
                      <a:cxn ang="0">
                        <a:pos x="296" y="336"/>
                      </a:cxn>
                      <a:cxn ang="0">
                        <a:pos x="336" y="356"/>
                      </a:cxn>
                      <a:cxn ang="0">
                        <a:pos x="298" y="364"/>
                      </a:cxn>
                      <a:cxn ang="0">
                        <a:pos x="168" y="410"/>
                      </a:cxn>
                      <a:cxn ang="0">
                        <a:pos x="226" y="422"/>
                      </a:cxn>
                      <a:cxn ang="0">
                        <a:pos x="256" y="440"/>
                      </a:cxn>
                      <a:cxn ang="0">
                        <a:pos x="330" y="460"/>
                      </a:cxn>
                      <a:cxn ang="0">
                        <a:pos x="342" y="464"/>
                      </a:cxn>
                      <a:cxn ang="0">
                        <a:pos x="238" y="460"/>
                      </a:cxn>
                      <a:cxn ang="0">
                        <a:pos x="140" y="450"/>
                      </a:cxn>
                      <a:cxn ang="0">
                        <a:pos x="160" y="502"/>
                      </a:cxn>
                      <a:cxn ang="0">
                        <a:pos x="92" y="546"/>
                      </a:cxn>
                      <a:cxn ang="0">
                        <a:pos x="146" y="562"/>
                      </a:cxn>
                      <a:cxn ang="0">
                        <a:pos x="244" y="562"/>
                      </a:cxn>
                      <a:cxn ang="0">
                        <a:pos x="322" y="552"/>
                      </a:cxn>
                      <a:cxn ang="0">
                        <a:pos x="438" y="548"/>
                      </a:cxn>
                      <a:cxn ang="0">
                        <a:pos x="462" y="578"/>
                      </a:cxn>
                      <a:cxn ang="0">
                        <a:pos x="560" y="538"/>
                      </a:cxn>
                      <a:cxn ang="0">
                        <a:pos x="518" y="514"/>
                      </a:cxn>
                      <a:cxn ang="0">
                        <a:pos x="550" y="472"/>
                      </a:cxn>
                      <a:cxn ang="0">
                        <a:pos x="550" y="432"/>
                      </a:cxn>
                      <a:cxn ang="0">
                        <a:pos x="668" y="402"/>
                      </a:cxn>
                      <a:cxn ang="0">
                        <a:pos x="684" y="372"/>
                      </a:cxn>
                      <a:cxn ang="0">
                        <a:pos x="686" y="348"/>
                      </a:cxn>
                      <a:cxn ang="0">
                        <a:pos x="658" y="326"/>
                      </a:cxn>
                      <a:cxn ang="0">
                        <a:pos x="588" y="318"/>
                      </a:cxn>
                      <a:cxn ang="0">
                        <a:pos x="752" y="284"/>
                      </a:cxn>
                      <a:cxn ang="0">
                        <a:pos x="832" y="278"/>
                      </a:cxn>
                      <a:cxn ang="0">
                        <a:pos x="1076" y="154"/>
                      </a:cxn>
                      <a:cxn ang="0">
                        <a:pos x="1000" y="142"/>
                      </a:cxn>
                      <a:cxn ang="0">
                        <a:pos x="1232" y="76"/>
                      </a:cxn>
                      <a:cxn ang="0">
                        <a:pos x="1168" y="54"/>
                      </a:cxn>
                      <a:cxn ang="0">
                        <a:pos x="1094" y="20"/>
                      </a:cxn>
                      <a:cxn ang="0">
                        <a:pos x="962" y="40"/>
                      </a:cxn>
                      <a:cxn ang="0">
                        <a:pos x="1006" y="20"/>
                      </a:cxn>
                      <a:cxn ang="0">
                        <a:pos x="858" y="2"/>
                      </a:cxn>
                      <a:cxn ang="0">
                        <a:pos x="690" y="10"/>
                      </a:cxn>
                      <a:cxn ang="0">
                        <a:pos x="500" y="14"/>
                      </a:cxn>
                      <a:cxn ang="0">
                        <a:pos x="412" y="24"/>
                      </a:cxn>
                      <a:cxn ang="0">
                        <a:pos x="392" y="42"/>
                      </a:cxn>
                      <a:cxn ang="0">
                        <a:pos x="340" y="70"/>
                      </a:cxn>
                      <a:cxn ang="0">
                        <a:pos x="264" y="52"/>
                      </a:cxn>
                      <a:cxn ang="0">
                        <a:pos x="224" y="76"/>
                      </a:cxn>
                      <a:cxn ang="0">
                        <a:pos x="248" y="98"/>
                      </a:cxn>
                      <a:cxn ang="0">
                        <a:pos x="130" y="92"/>
                      </a:cxn>
                      <a:cxn ang="0">
                        <a:pos x="50" y="104"/>
                      </a:cxn>
                      <a:cxn ang="0">
                        <a:pos x="12" y="144"/>
                      </a:cxn>
                    </a:cxnLst>
                    <a:rect l="0" t="0" r="r" b="b"/>
                    <a:pathLst>
                      <a:path w="1236" h="578">
                        <a:moveTo>
                          <a:pt x="44" y="148"/>
                        </a:moveTo>
                        <a:lnTo>
                          <a:pt x="44" y="148"/>
                        </a:lnTo>
                        <a:lnTo>
                          <a:pt x="50" y="150"/>
                        </a:lnTo>
                        <a:lnTo>
                          <a:pt x="58" y="152"/>
                        </a:lnTo>
                        <a:lnTo>
                          <a:pt x="74" y="150"/>
                        </a:lnTo>
                        <a:lnTo>
                          <a:pt x="80" y="150"/>
                        </a:lnTo>
                        <a:lnTo>
                          <a:pt x="80" y="152"/>
                        </a:lnTo>
                        <a:lnTo>
                          <a:pt x="74" y="156"/>
                        </a:lnTo>
                        <a:lnTo>
                          <a:pt x="74" y="156"/>
                        </a:lnTo>
                        <a:lnTo>
                          <a:pt x="68" y="162"/>
                        </a:lnTo>
                        <a:lnTo>
                          <a:pt x="62" y="168"/>
                        </a:lnTo>
                        <a:lnTo>
                          <a:pt x="62" y="172"/>
                        </a:lnTo>
                        <a:lnTo>
                          <a:pt x="62" y="178"/>
                        </a:lnTo>
                        <a:lnTo>
                          <a:pt x="66" y="182"/>
                        </a:lnTo>
                        <a:lnTo>
                          <a:pt x="72" y="186"/>
                        </a:lnTo>
                        <a:lnTo>
                          <a:pt x="82" y="190"/>
                        </a:lnTo>
                        <a:lnTo>
                          <a:pt x="94" y="194"/>
                        </a:lnTo>
                        <a:lnTo>
                          <a:pt x="94" y="194"/>
                        </a:lnTo>
                        <a:lnTo>
                          <a:pt x="108" y="200"/>
                        </a:lnTo>
                        <a:lnTo>
                          <a:pt x="122" y="204"/>
                        </a:lnTo>
                        <a:lnTo>
                          <a:pt x="144" y="212"/>
                        </a:lnTo>
                        <a:lnTo>
                          <a:pt x="156" y="216"/>
                        </a:lnTo>
                        <a:lnTo>
                          <a:pt x="166" y="214"/>
                        </a:lnTo>
                        <a:lnTo>
                          <a:pt x="178" y="212"/>
                        </a:lnTo>
                        <a:lnTo>
                          <a:pt x="192" y="204"/>
                        </a:lnTo>
                        <a:lnTo>
                          <a:pt x="192" y="204"/>
                        </a:lnTo>
                        <a:lnTo>
                          <a:pt x="206" y="194"/>
                        </a:lnTo>
                        <a:lnTo>
                          <a:pt x="222" y="188"/>
                        </a:lnTo>
                        <a:lnTo>
                          <a:pt x="234" y="184"/>
                        </a:lnTo>
                        <a:lnTo>
                          <a:pt x="246" y="182"/>
                        </a:lnTo>
                        <a:lnTo>
                          <a:pt x="254" y="182"/>
                        </a:lnTo>
                        <a:lnTo>
                          <a:pt x="258" y="182"/>
                        </a:lnTo>
                        <a:lnTo>
                          <a:pt x="256" y="184"/>
                        </a:lnTo>
                        <a:lnTo>
                          <a:pt x="250" y="186"/>
                        </a:lnTo>
                        <a:lnTo>
                          <a:pt x="250" y="186"/>
                        </a:lnTo>
                        <a:lnTo>
                          <a:pt x="224" y="194"/>
                        </a:lnTo>
                        <a:lnTo>
                          <a:pt x="212" y="200"/>
                        </a:lnTo>
                        <a:lnTo>
                          <a:pt x="204" y="206"/>
                        </a:lnTo>
                        <a:lnTo>
                          <a:pt x="202" y="208"/>
                        </a:lnTo>
                        <a:lnTo>
                          <a:pt x="202" y="210"/>
                        </a:lnTo>
                        <a:lnTo>
                          <a:pt x="204" y="214"/>
                        </a:lnTo>
                        <a:lnTo>
                          <a:pt x="208" y="216"/>
                        </a:lnTo>
                        <a:lnTo>
                          <a:pt x="224" y="220"/>
                        </a:lnTo>
                        <a:lnTo>
                          <a:pt x="254" y="224"/>
                        </a:lnTo>
                        <a:lnTo>
                          <a:pt x="254" y="224"/>
                        </a:lnTo>
                        <a:lnTo>
                          <a:pt x="284" y="224"/>
                        </a:lnTo>
                        <a:lnTo>
                          <a:pt x="304" y="224"/>
                        </a:lnTo>
                        <a:lnTo>
                          <a:pt x="318" y="220"/>
                        </a:lnTo>
                        <a:lnTo>
                          <a:pt x="326" y="216"/>
                        </a:lnTo>
                        <a:lnTo>
                          <a:pt x="334" y="210"/>
                        </a:lnTo>
                        <a:lnTo>
                          <a:pt x="338" y="210"/>
                        </a:lnTo>
                        <a:lnTo>
                          <a:pt x="346" y="214"/>
                        </a:lnTo>
                        <a:lnTo>
                          <a:pt x="346" y="214"/>
                        </a:lnTo>
                        <a:lnTo>
                          <a:pt x="358" y="218"/>
                        </a:lnTo>
                        <a:lnTo>
                          <a:pt x="374" y="218"/>
                        </a:lnTo>
                        <a:lnTo>
                          <a:pt x="394" y="216"/>
                        </a:lnTo>
                        <a:lnTo>
                          <a:pt x="418" y="212"/>
                        </a:lnTo>
                        <a:lnTo>
                          <a:pt x="442" y="206"/>
                        </a:lnTo>
                        <a:lnTo>
                          <a:pt x="468" y="196"/>
                        </a:lnTo>
                        <a:lnTo>
                          <a:pt x="494" y="186"/>
                        </a:lnTo>
                        <a:lnTo>
                          <a:pt x="520" y="174"/>
                        </a:lnTo>
                        <a:lnTo>
                          <a:pt x="520" y="174"/>
                        </a:lnTo>
                        <a:lnTo>
                          <a:pt x="546" y="160"/>
                        </a:lnTo>
                        <a:lnTo>
                          <a:pt x="544" y="162"/>
                        </a:lnTo>
                        <a:lnTo>
                          <a:pt x="540" y="168"/>
                        </a:lnTo>
                        <a:lnTo>
                          <a:pt x="536" y="176"/>
                        </a:lnTo>
                        <a:lnTo>
                          <a:pt x="534" y="180"/>
                        </a:lnTo>
                        <a:lnTo>
                          <a:pt x="534" y="184"/>
                        </a:lnTo>
                        <a:lnTo>
                          <a:pt x="536" y="186"/>
                        </a:lnTo>
                        <a:lnTo>
                          <a:pt x="540" y="190"/>
                        </a:lnTo>
                        <a:lnTo>
                          <a:pt x="548" y="192"/>
                        </a:lnTo>
                        <a:lnTo>
                          <a:pt x="558" y="192"/>
                        </a:lnTo>
                        <a:lnTo>
                          <a:pt x="558" y="192"/>
                        </a:lnTo>
                        <a:lnTo>
                          <a:pt x="576" y="194"/>
                        </a:lnTo>
                        <a:lnTo>
                          <a:pt x="584" y="196"/>
                        </a:lnTo>
                        <a:lnTo>
                          <a:pt x="584" y="196"/>
                        </a:lnTo>
                        <a:lnTo>
                          <a:pt x="580" y="198"/>
                        </a:lnTo>
                        <a:lnTo>
                          <a:pt x="570" y="200"/>
                        </a:lnTo>
                        <a:lnTo>
                          <a:pt x="524" y="208"/>
                        </a:lnTo>
                        <a:lnTo>
                          <a:pt x="450" y="222"/>
                        </a:lnTo>
                        <a:lnTo>
                          <a:pt x="450" y="222"/>
                        </a:lnTo>
                        <a:lnTo>
                          <a:pt x="388" y="236"/>
                        </a:lnTo>
                        <a:lnTo>
                          <a:pt x="370" y="238"/>
                        </a:lnTo>
                        <a:lnTo>
                          <a:pt x="360" y="242"/>
                        </a:lnTo>
                        <a:lnTo>
                          <a:pt x="358" y="242"/>
                        </a:lnTo>
                        <a:lnTo>
                          <a:pt x="358" y="244"/>
                        </a:lnTo>
                        <a:lnTo>
                          <a:pt x="362" y="248"/>
                        </a:lnTo>
                        <a:lnTo>
                          <a:pt x="386" y="264"/>
                        </a:lnTo>
                        <a:lnTo>
                          <a:pt x="386" y="264"/>
                        </a:lnTo>
                        <a:lnTo>
                          <a:pt x="402" y="274"/>
                        </a:lnTo>
                        <a:lnTo>
                          <a:pt x="418" y="282"/>
                        </a:lnTo>
                        <a:lnTo>
                          <a:pt x="442" y="292"/>
                        </a:lnTo>
                        <a:lnTo>
                          <a:pt x="450" y="296"/>
                        </a:lnTo>
                        <a:lnTo>
                          <a:pt x="452" y="298"/>
                        </a:lnTo>
                        <a:lnTo>
                          <a:pt x="448" y="302"/>
                        </a:lnTo>
                        <a:lnTo>
                          <a:pt x="436" y="304"/>
                        </a:lnTo>
                        <a:lnTo>
                          <a:pt x="436" y="304"/>
                        </a:lnTo>
                        <a:lnTo>
                          <a:pt x="422" y="304"/>
                        </a:lnTo>
                        <a:lnTo>
                          <a:pt x="410" y="302"/>
                        </a:lnTo>
                        <a:lnTo>
                          <a:pt x="402" y="298"/>
                        </a:lnTo>
                        <a:lnTo>
                          <a:pt x="394" y="292"/>
                        </a:lnTo>
                        <a:lnTo>
                          <a:pt x="378" y="276"/>
                        </a:lnTo>
                        <a:lnTo>
                          <a:pt x="368" y="268"/>
                        </a:lnTo>
                        <a:lnTo>
                          <a:pt x="356" y="260"/>
                        </a:lnTo>
                        <a:lnTo>
                          <a:pt x="356" y="260"/>
                        </a:lnTo>
                        <a:lnTo>
                          <a:pt x="338" y="254"/>
                        </a:lnTo>
                        <a:lnTo>
                          <a:pt x="316" y="248"/>
                        </a:lnTo>
                        <a:lnTo>
                          <a:pt x="292" y="244"/>
                        </a:lnTo>
                        <a:lnTo>
                          <a:pt x="268" y="242"/>
                        </a:lnTo>
                        <a:lnTo>
                          <a:pt x="246" y="240"/>
                        </a:lnTo>
                        <a:lnTo>
                          <a:pt x="228" y="242"/>
                        </a:lnTo>
                        <a:lnTo>
                          <a:pt x="220" y="244"/>
                        </a:lnTo>
                        <a:lnTo>
                          <a:pt x="216" y="246"/>
                        </a:lnTo>
                        <a:lnTo>
                          <a:pt x="212" y="250"/>
                        </a:lnTo>
                        <a:lnTo>
                          <a:pt x="210" y="254"/>
                        </a:lnTo>
                        <a:lnTo>
                          <a:pt x="210" y="254"/>
                        </a:lnTo>
                        <a:lnTo>
                          <a:pt x="210" y="270"/>
                        </a:lnTo>
                        <a:lnTo>
                          <a:pt x="212" y="274"/>
                        </a:lnTo>
                        <a:lnTo>
                          <a:pt x="214" y="278"/>
                        </a:lnTo>
                        <a:lnTo>
                          <a:pt x="226" y="284"/>
                        </a:lnTo>
                        <a:lnTo>
                          <a:pt x="250" y="292"/>
                        </a:lnTo>
                        <a:lnTo>
                          <a:pt x="250" y="292"/>
                        </a:lnTo>
                        <a:lnTo>
                          <a:pt x="262" y="298"/>
                        </a:lnTo>
                        <a:lnTo>
                          <a:pt x="276" y="304"/>
                        </a:lnTo>
                        <a:lnTo>
                          <a:pt x="294" y="318"/>
                        </a:lnTo>
                        <a:lnTo>
                          <a:pt x="300" y="326"/>
                        </a:lnTo>
                        <a:lnTo>
                          <a:pt x="302" y="330"/>
                        </a:lnTo>
                        <a:lnTo>
                          <a:pt x="302" y="334"/>
                        </a:lnTo>
                        <a:lnTo>
                          <a:pt x="296" y="336"/>
                        </a:lnTo>
                        <a:lnTo>
                          <a:pt x="296" y="336"/>
                        </a:lnTo>
                        <a:lnTo>
                          <a:pt x="290" y="338"/>
                        </a:lnTo>
                        <a:lnTo>
                          <a:pt x="286" y="340"/>
                        </a:lnTo>
                        <a:lnTo>
                          <a:pt x="284" y="344"/>
                        </a:lnTo>
                        <a:lnTo>
                          <a:pt x="286" y="346"/>
                        </a:lnTo>
                        <a:lnTo>
                          <a:pt x="290" y="348"/>
                        </a:lnTo>
                        <a:lnTo>
                          <a:pt x="296" y="352"/>
                        </a:lnTo>
                        <a:lnTo>
                          <a:pt x="308" y="354"/>
                        </a:lnTo>
                        <a:lnTo>
                          <a:pt x="320" y="356"/>
                        </a:lnTo>
                        <a:lnTo>
                          <a:pt x="320" y="356"/>
                        </a:lnTo>
                        <a:lnTo>
                          <a:pt x="336" y="356"/>
                        </a:lnTo>
                        <a:lnTo>
                          <a:pt x="348" y="360"/>
                        </a:lnTo>
                        <a:lnTo>
                          <a:pt x="356" y="362"/>
                        </a:lnTo>
                        <a:lnTo>
                          <a:pt x="362" y="366"/>
                        </a:lnTo>
                        <a:lnTo>
                          <a:pt x="364" y="368"/>
                        </a:lnTo>
                        <a:lnTo>
                          <a:pt x="360" y="368"/>
                        </a:lnTo>
                        <a:lnTo>
                          <a:pt x="352" y="368"/>
                        </a:lnTo>
                        <a:lnTo>
                          <a:pt x="340" y="368"/>
                        </a:lnTo>
                        <a:lnTo>
                          <a:pt x="340" y="368"/>
                        </a:lnTo>
                        <a:lnTo>
                          <a:pt x="320" y="366"/>
                        </a:lnTo>
                        <a:lnTo>
                          <a:pt x="298" y="364"/>
                        </a:lnTo>
                        <a:lnTo>
                          <a:pt x="250" y="366"/>
                        </a:lnTo>
                        <a:lnTo>
                          <a:pt x="228" y="368"/>
                        </a:lnTo>
                        <a:lnTo>
                          <a:pt x="208" y="372"/>
                        </a:lnTo>
                        <a:lnTo>
                          <a:pt x="192" y="376"/>
                        </a:lnTo>
                        <a:lnTo>
                          <a:pt x="182" y="382"/>
                        </a:lnTo>
                        <a:lnTo>
                          <a:pt x="182" y="382"/>
                        </a:lnTo>
                        <a:lnTo>
                          <a:pt x="176" y="388"/>
                        </a:lnTo>
                        <a:lnTo>
                          <a:pt x="172" y="394"/>
                        </a:lnTo>
                        <a:lnTo>
                          <a:pt x="170" y="402"/>
                        </a:lnTo>
                        <a:lnTo>
                          <a:pt x="168" y="410"/>
                        </a:lnTo>
                        <a:lnTo>
                          <a:pt x="170" y="416"/>
                        </a:lnTo>
                        <a:lnTo>
                          <a:pt x="176" y="420"/>
                        </a:lnTo>
                        <a:lnTo>
                          <a:pt x="184" y="422"/>
                        </a:lnTo>
                        <a:lnTo>
                          <a:pt x="196" y="420"/>
                        </a:lnTo>
                        <a:lnTo>
                          <a:pt x="196" y="420"/>
                        </a:lnTo>
                        <a:lnTo>
                          <a:pt x="208" y="418"/>
                        </a:lnTo>
                        <a:lnTo>
                          <a:pt x="216" y="418"/>
                        </a:lnTo>
                        <a:lnTo>
                          <a:pt x="220" y="418"/>
                        </a:lnTo>
                        <a:lnTo>
                          <a:pt x="224" y="420"/>
                        </a:lnTo>
                        <a:lnTo>
                          <a:pt x="226" y="422"/>
                        </a:lnTo>
                        <a:lnTo>
                          <a:pt x="230" y="424"/>
                        </a:lnTo>
                        <a:lnTo>
                          <a:pt x="236" y="424"/>
                        </a:lnTo>
                        <a:lnTo>
                          <a:pt x="246" y="424"/>
                        </a:lnTo>
                        <a:lnTo>
                          <a:pt x="246" y="424"/>
                        </a:lnTo>
                        <a:lnTo>
                          <a:pt x="256" y="422"/>
                        </a:lnTo>
                        <a:lnTo>
                          <a:pt x="260" y="422"/>
                        </a:lnTo>
                        <a:lnTo>
                          <a:pt x="260" y="424"/>
                        </a:lnTo>
                        <a:lnTo>
                          <a:pt x="260" y="428"/>
                        </a:lnTo>
                        <a:lnTo>
                          <a:pt x="258" y="434"/>
                        </a:lnTo>
                        <a:lnTo>
                          <a:pt x="256" y="440"/>
                        </a:lnTo>
                        <a:lnTo>
                          <a:pt x="258" y="450"/>
                        </a:lnTo>
                        <a:lnTo>
                          <a:pt x="266" y="460"/>
                        </a:lnTo>
                        <a:lnTo>
                          <a:pt x="266" y="460"/>
                        </a:lnTo>
                        <a:lnTo>
                          <a:pt x="270" y="464"/>
                        </a:lnTo>
                        <a:lnTo>
                          <a:pt x="276" y="468"/>
                        </a:lnTo>
                        <a:lnTo>
                          <a:pt x="282" y="470"/>
                        </a:lnTo>
                        <a:lnTo>
                          <a:pt x="288" y="472"/>
                        </a:lnTo>
                        <a:lnTo>
                          <a:pt x="302" y="470"/>
                        </a:lnTo>
                        <a:lnTo>
                          <a:pt x="316" y="466"/>
                        </a:lnTo>
                        <a:lnTo>
                          <a:pt x="330" y="460"/>
                        </a:lnTo>
                        <a:lnTo>
                          <a:pt x="342" y="450"/>
                        </a:lnTo>
                        <a:lnTo>
                          <a:pt x="354" y="442"/>
                        </a:lnTo>
                        <a:lnTo>
                          <a:pt x="366" y="432"/>
                        </a:lnTo>
                        <a:lnTo>
                          <a:pt x="366" y="432"/>
                        </a:lnTo>
                        <a:lnTo>
                          <a:pt x="372" y="426"/>
                        </a:lnTo>
                        <a:lnTo>
                          <a:pt x="372" y="428"/>
                        </a:lnTo>
                        <a:lnTo>
                          <a:pt x="372" y="430"/>
                        </a:lnTo>
                        <a:lnTo>
                          <a:pt x="366" y="440"/>
                        </a:lnTo>
                        <a:lnTo>
                          <a:pt x="356" y="452"/>
                        </a:lnTo>
                        <a:lnTo>
                          <a:pt x="342" y="464"/>
                        </a:lnTo>
                        <a:lnTo>
                          <a:pt x="326" y="476"/>
                        </a:lnTo>
                        <a:lnTo>
                          <a:pt x="316" y="482"/>
                        </a:lnTo>
                        <a:lnTo>
                          <a:pt x="306" y="484"/>
                        </a:lnTo>
                        <a:lnTo>
                          <a:pt x="296" y="486"/>
                        </a:lnTo>
                        <a:lnTo>
                          <a:pt x="286" y="486"/>
                        </a:lnTo>
                        <a:lnTo>
                          <a:pt x="286" y="486"/>
                        </a:lnTo>
                        <a:lnTo>
                          <a:pt x="270" y="482"/>
                        </a:lnTo>
                        <a:lnTo>
                          <a:pt x="256" y="476"/>
                        </a:lnTo>
                        <a:lnTo>
                          <a:pt x="246" y="468"/>
                        </a:lnTo>
                        <a:lnTo>
                          <a:pt x="238" y="460"/>
                        </a:lnTo>
                        <a:lnTo>
                          <a:pt x="228" y="452"/>
                        </a:lnTo>
                        <a:lnTo>
                          <a:pt x="218" y="446"/>
                        </a:lnTo>
                        <a:lnTo>
                          <a:pt x="206" y="440"/>
                        </a:lnTo>
                        <a:lnTo>
                          <a:pt x="190" y="438"/>
                        </a:lnTo>
                        <a:lnTo>
                          <a:pt x="190" y="438"/>
                        </a:lnTo>
                        <a:lnTo>
                          <a:pt x="160" y="440"/>
                        </a:lnTo>
                        <a:lnTo>
                          <a:pt x="150" y="440"/>
                        </a:lnTo>
                        <a:lnTo>
                          <a:pt x="144" y="444"/>
                        </a:lnTo>
                        <a:lnTo>
                          <a:pt x="140" y="446"/>
                        </a:lnTo>
                        <a:lnTo>
                          <a:pt x="140" y="450"/>
                        </a:lnTo>
                        <a:lnTo>
                          <a:pt x="144" y="456"/>
                        </a:lnTo>
                        <a:lnTo>
                          <a:pt x="150" y="462"/>
                        </a:lnTo>
                        <a:lnTo>
                          <a:pt x="150" y="462"/>
                        </a:lnTo>
                        <a:lnTo>
                          <a:pt x="166" y="476"/>
                        </a:lnTo>
                        <a:lnTo>
                          <a:pt x="182" y="490"/>
                        </a:lnTo>
                        <a:lnTo>
                          <a:pt x="184" y="494"/>
                        </a:lnTo>
                        <a:lnTo>
                          <a:pt x="184" y="496"/>
                        </a:lnTo>
                        <a:lnTo>
                          <a:pt x="182" y="498"/>
                        </a:lnTo>
                        <a:lnTo>
                          <a:pt x="174" y="500"/>
                        </a:lnTo>
                        <a:lnTo>
                          <a:pt x="160" y="502"/>
                        </a:lnTo>
                        <a:lnTo>
                          <a:pt x="160" y="502"/>
                        </a:lnTo>
                        <a:lnTo>
                          <a:pt x="142" y="502"/>
                        </a:lnTo>
                        <a:lnTo>
                          <a:pt x="124" y="506"/>
                        </a:lnTo>
                        <a:lnTo>
                          <a:pt x="110" y="512"/>
                        </a:lnTo>
                        <a:lnTo>
                          <a:pt x="98" y="518"/>
                        </a:lnTo>
                        <a:lnTo>
                          <a:pt x="90" y="526"/>
                        </a:lnTo>
                        <a:lnTo>
                          <a:pt x="88" y="534"/>
                        </a:lnTo>
                        <a:lnTo>
                          <a:pt x="88" y="538"/>
                        </a:lnTo>
                        <a:lnTo>
                          <a:pt x="88" y="542"/>
                        </a:lnTo>
                        <a:lnTo>
                          <a:pt x="92" y="546"/>
                        </a:lnTo>
                        <a:lnTo>
                          <a:pt x="96" y="550"/>
                        </a:lnTo>
                        <a:lnTo>
                          <a:pt x="96" y="550"/>
                        </a:lnTo>
                        <a:lnTo>
                          <a:pt x="100" y="552"/>
                        </a:lnTo>
                        <a:lnTo>
                          <a:pt x="104" y="552"/>
                        </a:lnTo>
                        <a:lnTo>
                          <a:pt x="114" y="552"/>
                        </a:lnTo>
                        <a:lnTo>
                          <a:pt x="124" y="552"/>
                        </a:lnTo>
                        <a:lnTo>
                          <a:pt x="130" y="554"/>
                        </a:lnTo>
                        <a:lnTo>
                          <a:pt x="138" y="558"/>
                        </a:lnTo>
                        <a:lnTo>
                          <a:pt x="138" y="558"/>
                        </a:lnTo>
                        <a:lnTo>
                          <a:pt x="146" y="562"/>
                        </a:lnTo>
                        <a:lnTo>
                          <a:pt x="154" y="566"/>
                        </a:lnTo>
                        <a:lnTo>
                          <a:pt x="162" y="566"/>
                        </a:lnTo>
                        <a:lnTo>
                          <a:pt x="170" y="564"/>
                        </a:lnTo>
                        <a:lnTo>
                          <a:pt x="186" y="560"/>
                        </a:lnTo>
                        <a:lnTo>
                          <a:pt x="200" y="552"/>
                        </a:lnTo>
                        <a:lnTo>
                          <a:pt x="200" y="552"/>
                        </a:lnTo>
                        <a:lnTo>
                          <a:pt x="206" y="552"/>
                        </a:lnTo>
                        <a:lnTo>
                          <a:pt x="212" y="552"/>
                        </a:lnTo>
                        <a:lnTo>
                          <a:pt x="226" y="556"/>
                        </a:lnTo>
                        <a:lnTo>
                          <a:pt x="244" y="562"/>
                        </a:lnTo>
                        <a:lnTo>
                          <a:pt x="256" y="566"/>
                        </a:lnTo>
                        <a:lnTo>
                          <a:pt x="272" y="566"/>
                        </a:lnTo>
                        <a:lnTo>
                          <a:pt x="272" y="566"/>
                        </a:lnTo>
                        <a:lnTo>
                          <a:pt x="286" y="566"/>
                        </a:lnTo>
                        <a:lnTo>
                          <a:pt x="294" y="564"/>
                        </a:lnTo>
                        <a:lnTo>
                          <a:pt x="298" y="560"/>
                        </a:lnTo>
                        <a:lnTo>
                          <a:pt x="302" y="556"/>
                        </a:lnTo>
                        <a:lnTo>
                          <a:pt x="306" y="554"/>
                        </a:lnTo>
                        <a:lnTo>
                          <a:pt x="312" y="552"/>
                        </a:lnTo>
                        <a:lnTo>
                          <a:pt x="322" y="552"/>
                        </a:lnTo>
                        <a:lnTo>
                          <a:pt x="336" y="558"/>
                        </a:lnTo>
                        <a:lnTo>
                          <a:pt x="336" y="558"/>
                        </a:lnTo>
                        <a:lnTo>
                          <a:pt x="346" y="560"/>
                        </a:lnTo>
                        <a:lnTo>
                          <a:pt x="356" y="560"/>
                        </a:lnTo>
                        <a:lnTo>
                          <a:pt x="376" y="560"/>
                        </a:lnTo>
                        <a:lnTo>
                          <a:pt x="394" y="556"/>
                        </a:lnTo>
                        <a:lnTo>
                          <a:pt x="412" y="552"/>
                        </a:lnTo>
                        <a:lnTo>
                          <a:pt x="426" y="548"/>
                        </a:lnTo>
                        <a:lnTo>
                          <a:pt x="436" y="548"/>
                        </a:lnTo>
                        <a:lnTo>
                          <a:pt x="438" y="548"/>
                        </a:lnTo>
                        <a:lnTo>
                          <a:pt x="440" y="550"/>
                        </a:lnTo>
                        <a:lnTo>
                          <a:pt x="442" y="554"/>
                        </a:lnTo>
                        <a:lnTo>
                          <a:pt x="440" y="560"/>
                        </a:lnTo>
                        <a:lnTo>
                          <a:pt x="440" y="560"/>
                        </a:lnTo>
                        <a:lnTo>
                          <a:pt x="438" y="564"/>
                        </a:lnTo>
                        <a:lnTo>
                          <a:pt x="438" y="570"/>
                        </a:lnTo>
                        <a:lnTo>
                          <a:pt x="440" y="572"/>
                        </a:lnTo>
                        <a:lnTo>
                          <a:pt x="442" y="576"/>
                        </a:lnTo>
                        <a:lnTo>
                          <a:pt x="450" y="578"/>
                        </a:lnTo>
                        <a:lnTo>
                          <a:pt x="462" y="578"/>
                        </a:lnTo>
                        <a:lnTo>
                          <a:pt x="474" y="574"/>
                        </a:lnTo>
                        <a:lnTo>
                          <a:pt x="486" y="570"/>
                        </a:lnTo>
                        <a:lnTo>
                          <a:pt x="510" y="558"/>
                        </a:lnTo>
                        <a:lnTo>
                          <a:pt x="510" y="558"/>
                        </a:lnTo>
                        <a:lnTo>
                          <a:pt x="518" y="552"/>
                        </a:lnTo>
                        <a:lnTo>
                          <a:pt x="528" y="552"/>
                        </a:lnTo>
                        <a:lnTo>
                          <a:pt x="544" y="550"/>
                        </a:lnTo>
                        <a:lnTo>
                          <a:pt x="550" y="550"/>
                        </a:lnTo>
                        <a:lnTo>
                          <a:pt x="556" y="546"/>
                        </a:lnTo>
                        <a:lnTo>
                          <a:pt x="560" y="538"/>
                        </a:lnTo>
                        <a:lnTo>
                          <a:pt x="562" y="526"/>
                        </a:lnTo>
                        <a:lnTo>
                          <a:pt x="562" y="526"/>
                        </a:lnTo>
                        <a:lnTo>
                          <a:pt x="562" y="520"/>
                        </a:lnTo>
                        <a:lnTo>
                          <a:pt x="560" y="518"/>
                        </a:lnTo>
                        <a:lnTo>
                          <a:pt x="558" y="514"/>
                        </a:lnTo>
                        <a:lnTo>
                          <a:pt x="556" y="514"/>
                        </a:lnTo>
                        <a:lnTo>
                          <a:pt x="546" y="512"/>
                        </a:lnTo>
                        <a:lnTo>
                          <a:pt x="536" y="512"/>
                        </a:lnTo>
                        <a:lnTo>
                          <a:pt x="526" y="514"/>
                        </a:lnTo>
                        <a:lnTo>
                          <a:pt x="518" y="514"/>
                        </a:lnTo>
                        <a:lnTo>
                          <a:pt x="512" y="512"/>
                        </a:lnTo>
                        <a:lnTo>
                          <a:pt x="510" y="510"/>
                        </a:lnTo>
                        <a:lnTo>
                          <a:pt x="508" y="506"/>
                        </a:lnTo>
                        <a:lnTo>
                          <a:pt x="508" y="506"/>
                        </a:lnTo>
                        <a:lnTo>
                          <a:pt x="510" y="500"/>
                        </a:lnTo>
                        <a:lnTo>
                          <a:pt x="512" y="494"/>
                        </a:lnTo>
                        <a:lnTo>
                          <a:pt x="514" y="490"/>
                        </a:lnTo>
                        <a:lnTo>
                          <a:pt x="520" y="488"/>
                        </a:lnTo>
                        <a:lnTo>
                          <a:pt x="532" y="482"/>
                        </a:lnTo>
                        <a:lnTo>
                          <a:pt x="550" y="472"/>
                        </a:lnTo>
                        <a:lnTo>
                          <a:pt x="550" y="472"/>
                        </a:lnTo>
                        <a:lnTo>
                          <a:pt x="554" y="468"/>
                        </a:lnTo>
                        <a:lnTo>
                          <a:pt x="556" y="464"/>
                        </a:lnTo>
                        <a:lnTo>
                          <a:pt x="556" y="460"/>
                        </a:lnTo>
                        <a:lnTo>
                          <a:pt x="556" y="456"/>
                        </a:lnTo>
                        <a:lnTo>
                          <a:pt x="552" y="448"/>
                        </a:lnTo>
                        <a:lnTo>
                          <a:pt x="548" y="442"/>
                        </a:lnTo>
                        <a:lnTo>
                          <a:pt x="546" y="436"/>
                        </a:lnTo>
                        <a:lnTo>
                          <a:pt x="548" y="434"/>
                        </a:lnTo>
                        <a:lnTo>
                          <a:pt x="550" y="432"/>
                        </a:lnTo>
                        <a:lnTo>
                          <a:pt x="560" y="430"/>
                        </a:lnTo>
                        <a:lnTo>
                          <a:pt x="582" y="434"/>
                        </a:lnTo>
                        <a:lnTo>
                          <a:pt x="582" y="434"/>
                        </a:lnTo>
                        <a:lnTo>
                          <a:pt x="602" y="436"/>
                        </a:lnTo>
                        <a:lnTo>
                          <a:pt x="620" y="434"/>
                        </a:lnTo>
                        <a:lnTo>
                          <a:pt x="636" y="430"/>
                        </a:lnTo>
                        <a:lnTo>
                          <a:pt x="650" y="424"/>
                        </a:lnTo>
                        <a:lnTo>
                          <a:pt x="660" y="418"/>
                        </a:lnTo>
                        <a:lnTo>
                          <a:pt x="666" y="410"/>
                        </a:lnTo>
                        <a:lnTo>
                          <a:pt x="668" y="402"/>
                        </a:lnTo>
                        <a:lnTo>
                          <a:pt x="668" y="400"/>
                        </a:lnTo>
                        <a:lnTo>
                          <a:pt x="666" y="396"/>
                        </a:lnTo>
                        <a:lnTo>
                          <a:pt x="666" y="396"/>
                        </a:lnTo>
                        <a:lnTo>
                          <a:pt x="664" y="394"/>
                        </a:lnTo>
                        <a:lnTo>
                          <a:pt x="664" y="392"/>
                        </a:lnTo>
                        <a:lnTo>
                          <a:pt x="666" y="388"/>
                        </a:lnTo>
                        <a:lnTo>
                          <a:pt x="680" y="382"/>
                        </a:lnTo>
                        <a:lnTo>
                          <a:pt x="684" y="378"/>
                        </a:lnTo>
                        <a:lnTo>
                          <a:pt x="684" y="376"/>
                        </a:lnTo>
                        <a:lnTo>
                          <a:pt x="684" y="372"/>
                        </a:lnTo>
                        <a:lnTo>
                          <a:pt x="678" y="366"/>
                        </a:lnTo>
                        <a:lnTo>
                          <a:pt x="662" y="356"/>
                        </a:lnTo>
                        <a:lnTo>
                          <a:pt x="662" y="356"/>
                        </a:lnTo>
                        <a:lnTo>
                          <a:pt x="648" y="350"/>
                        </a:lnTo>
                        <a:lnTo>
                          <a:pt x="644" y="348"/>
                        </a:lnTo>
                        <a:lnTo>
                          <a:pt x="644" y="346"/>
                        </a:lnTo>
                        <a:lnTo>
                          <a:pt x="650" y="346"/>
                        </a:lnTo>
                        <a:lnTo>
                          <a:pt x="662" y="348"/>
                        </a:lnTo>
                        <a:lnTo>
                          <a:pt x="674" y="348"/>
                        </a:lnTo>
                        <a:lnTo>
                          <a:pt x="686" y="348"/>
                        </a:lnTo>
                        <a:lnTo>
                          <a:pt x="690" y="348"/>
                        </a:lnTo>
                        <a:lnTo>
                          <a:pt x="694" y="346"/>
                        </a:lnTo>
                        <a:lnTo>
                          <a:pt x="696" y="344"/>
                        </a:lnTo>
                        <a:lnTo>
                          <a:pt x="694" y="340"/>
                        </a:lnTo>
                        <a:lnTo>
                          <a:pt x="694" y="340"/>
                        </a:lnTo>
                        <a:lnTo>
                          <a:pt x="690" y="332"/>
                        </a:lnTo>
                        <a:lnTo>
                          <a:pt x="684" y="328"/>
                        </a:lnTo>
                        <a:lnTo>
                          <a:pt x="680" y="324"/>
                        </a:lnTo>
                        <a:lnTo>
                          <a:pt x="674" y="324"/>
                        </a:lnTo>
                        <a:lnTo>
                          <a:pt x="658" y="326"/>
                        </a:lnTo>
                        <a:lnTo>
                          <a:pt x="638" y="328"/>
                        </a:lnTo>
                        <a:lnTo>
                          <a:pt x="638" y="328"/>
                        </a:lnTo>
                        <a:lnTo>
                          <a:pt x="614" y="328"/>
                        </a:lnTo>
                        <a:lnTo>
                          <a:pt x="592" y="328"/>
                        </a:lnTo>
                        <a:lnTo>
                          <a:pt x="584" y="328"/>
                        </a:lnTo>
                        <a:lnTo>
                          <a:pt x="578" y="326"/>
                        </a:lnTo>
                        <a:lnTo>
                          <a:pt x="576" y="324"/>
                        </a:lnTo>
                        <a:lnTo>
                          <a:pt x="580" y="320"/>
                        </a:lnTo>
                        <a:lnTo>
                          <a:pt x="580" y="320"/>
                        </a:lnTo>
                        <a:lnTo>
                          <a:pt x="588" y="318"/>
                        </a:lnTo>
                        <a:lnTo>
                          <a:pt x="602" y="314"/>
                        </a:lnTo>
                        <a:lnTo>
                          <a:pt x="644" y="312"/>
                        </a:lnTo>
                        <a:lnTo>
                          <a:pt x="692" y="310"/>
                        </a:lnTo>
                        <a:lnTo>
                          <a:pt x="730" y="306"/>
                        </a:lnTo>
                        <a:lnTo>
                          <a:pt x="730" y="306"/>
                        </a:lnTo>
                        <a:lnTo>
                          <a:pt x="742" y="304"/>
                        </a:lnTo>
                        <a:lnTo>
                          <a:pt x="750" y="300"/>
                        </a:lnTo>
                        <a:lnTo>
                          <a:pt x="752" y="296"/>
                        </a:lnTo>
                        <a:lnTo>
                          <a:pt x="752" y="290"/>
                        </a:lnTo>
                        <a:lnTo>
                          <a:pt x="752" y="284"/>
                        </a:lnTo>
                        <a:lnTo>
                          <a:pt x="754" y="284"/>
                        </a:lnTo>
                        <a:lnTo>
                          <a:pt x="762" y="286"/>
                        </a:lnTo>
                        <a:lnTo>
                          <a:pt x="762" y="286"/>
                        </a:lnTo>
                        <a:lnTo>
                          <a:pt x="770" y="290"/>
                        </a:lnTo>
                        <a:lnTo>
                          <a:pt x="780" y="292"/>
                        </a:lnTo>
                        <a:lnTo>
                          <a:pt x="790" y="294"/>
                        </a:lnTo>
                        <a:lnTo>
                          <a:pt x="800" y="292"/>
                        </a:lnTo>
                        <a:lnTo>
                          <a:pt x="812" y="290"/>
                        </a:lnTo>
                        <a:lnTo>
                          <a:pt x="822" y="286"/>
                        </a:lnTo>
                        <a:lnTo>
                          <a:pt x="832" y="278"/>
                        </a:lnTo>
                        <a:lnTo>
                          <a:pt x="842" y="270"/>
                        </a:lnTo>
                        <a:lnTo>
                          <a:pt x="842" y="270"/>
                        </a:lnTo>
                        <a:lnTo>
                          <a:pt x="852" y="260"/>
                        </a:lnTo>
                        <a:lnTo>
                          <a:pt x="866" y="248"/>
                        </a:lnTo>
                        <a:lnTo>
                          <a:pt x="882" y="238"/>
                        </a:lnTo>
                        <a:lnTo>
                          <a:pt x="902" y="228"/>
                        </a:lnTo>
                        <a:lnTo>
                          <a:pt x="954" y="204"/>
                        </a:lnTo>
                        <a:lnTo>
                          <a:pt x="1020" y="178"/>
                        </a:lnTo>
                        <a:lnTo>
                          <a:pt x="1020" y="178"/>
                        </a:lnTo>
                        <a:lnTo>
                          <a:pt x="1076" y="154"/>
                        </a:lnTo>
                        <a:lnTo>
                          <a:pt x="1092" y="146"/>
                        </a:lnTo>
                        <a:lnTo>
                          <a:pt x="1098" y="142"/>
                        </a:lnTo>
                        <a:lnTo>
                          <a:pt x="1098" y="140"/>
                        </a:lnTo>
                        <a:lnTo>
                          <a:pt x="1094" y="140"/>
                        </a:lnTo>
                        <a:lnTo>
                          <a:pt x="1084" y="140"/>
                        </a:lnTo>
                        <a:lnTo>
                          <a:pt x="1038" y="142"/>
                        </a:lnTo>
                        <a:lnTo>
                          <a:pt x="1038" y="142"/>
                        </a:lnTo>
                        <a:lnTo>
                          <a:pt x="1014" y="144"/>
                        </a:lnTo>
                        <a:lnTo>
                          <a:pt x="1002" y="144"/>
                        </a:lnTo>
                        <a:lnTo>
                          <a:pt x="1000" y="142"/>
                        </a:lnTo>
                        <a:lnTo>
                          <a:pt x="1000" y="142"/>
                        </a:lnTo>
                        <a:lnTo>
                          <a:pt x="1006" y="138"/>
                        </a:lnTo>
                        <a:lnTo>
                          <a:pt x="1034" y="130"/>
                        </a:lnTo>
                        <a:lnTo>
                          <a:pt x="1072" y="122"/>
                        </a:lnTo>
                        <a:lnTo>
                          <a:pt x="1072" y="122"/>
                        </a:lnTo>
                        <a:lnTo>
                          <a:pt x="1118" y="112"/>
                        </a:lnTo>
                        <a:lnTo>
                          <a:pt x="1172" y="100"/>
                        </a:lnTo>
                        <a:lnTo>
                          <a:pt x="1198" y="92"/>
                        </a:lnTo>
                        <a:lnTo>
                          <a:pt x="1218" y="84"/>
                        </a:lnTo>
                        <a:lnTo>
                          <a:pt x="1232" y="76"/>
                        </a:lnTo>
                        <a:lnTo>
                          <a:pt x="1236" y="72"/>
                        </a:lnTo>
                        <a:lnTo>
                          <a:pt x="1236" y="68"/>
                        </a:lnTo>
                        <a:lnTo>
                          <a:pt x="1236" y="68"/>
                        </a:lnTo>
                        <a:lnTo>
                          <a:pt x="1236" y="64"/>
                        </a:lnTo>
                        <a:lnTo>
                          <a:pt x="1234" y="62"/>
                        </a:lnTo>
                        <a:lnTo>
                          <a:pt x="1224" y="58"/>
                        </a:lnTo>
                        <a:lnTo>
                          <a:pt x="1210" y="58"/>
                        </a:lnTo>
                        <a:lnTo>
                          <a:pt x="1196" y="56"/>
                        </a:lnTo>
                        <a:lnTo>
                          <a:pt x="1182" y="56"/>
                        </a:lnTo>
                        <a:lnTo>
                          <a:pt x="1168" y="54"/>
                        </a:lnTo>
                        <a:lnTo>
                          <a:pt x="1160" y="50"/>
                        </a:lnTo>
                        <a:lnTo>
                          <a:pt x="1158" y="48"/>
                        </a:lnTo>
                        <a:lnTo>
                          <a:pt x="1156" y="44"/>
                        </a:lnTo>
                        <a:lnTo>
                          <a:pt x="1156" y="44"/>
                        </a:lnTo>
                        <a:lnTo>
                          <a:pt x="1156" y="40"/>
                        </a:lnTo>
                        <a:lnTo>
                          <a:pt x="1154" y="36"/>
                        </a:lnTo>
                        <a:lnTo>
                          <a:pt x="1146" y="30"/>
                        </a:lnTo>
                        <a:lnTo>
                          <a:pt x="1136" y="26"/>
                        </a:lnTo>
                        <a:lnTo>
                          <a:pt x="1122" y="24"/>
                        </a:lnTo>
                        <a:lnTo>
                          <a:pt x="1094" y="20"/>
                        </a:lnTo>
                        <a:lnTo>
                          <a:pt x="1078" y="20"/>
                        </a:lnTo>
                        <a:lnTo>
                          <a:pt x="1078" y="20"/>
                        </a:lnTo>
                        <a:lnTo>
                          <a:pt x="1062" y="22"/>
                        </a:lnTo>
                        <a:lnTo>
                          <a:pt x="1050" y="22"/>
                        </a:lnTo>
                        <a:lnTo>
                          <a:pt x="1038" y="22"/>
                        </a:lnTo>
                        <a:lnTo>
                          <a:pt x="1018" y="30"/>
                        </a:lnTo>
                        <a:lnTo>
                          <a:pt x="1018" y="30"/>
                        </a:lnTo>
                        <a:lnTo>
                          <a:pt x="1004" y="34"/>
                        </a:lnTo>
                        <a:lnTo>
                          <a:pt x="990" y="38"/>
                        </a:lnTo>
                        <a:lnTo>
                          <a:pt x="962" y="40"/>
                        </a:lnTo>
                        <a:lnTo>
                          <a:pt x="948" y="40"/>
                        </a:lnTo>
                        <a:lnTo>
                          <a:pt x="948" y="40"/>
                        </a:lnTo>
                        <a:lnTo>
                          <a:pt x="948" y="38"/>
                        </a:lnTo>
                        <a:lnTo>
                          <a:pt x="958" y="36"/>
                        </a:lnTo>
                        <a:lnTo>
                          <a:pt x="958" y="36"/>
                        </a:lnTo>
                        <a:lnTo>
                          <a:pt x="986" y="30"/>
                        </a:lnTo>
                        <a:lnTo>
                          <a:pt x="1004" y="24"/>
                        </a:lnTo>
                        <a:lnTo>
                          <a:pt x="1008" y="22"/>
                        </a:lnTo>
                        <a:lnTo>
                          <a:pt x="1008" y="20"/>
                        </a:lnTo>
                        <a:lnTo>
                          <a:pt x="1006" y="20"/>
                        </a:lnTo>
                        <a:lnTo>
                          <a:pt x="998" y="18"/>
                        </a:lnTo>
                        <a:lnTo>
                          <a:pt x="980" y="16"/>
                        </a:lnTo>
                        <a:lnTo>
                          <a:pt x="980" y="16"/>
                        </a:lnTo>
                        <a:lnTo>
                          <a:pt x="958" y="16"/>
                        </a:lnTo>
                        <a:lnTo>
                          <a:pt x="942" y="14"/>
                        </a:lnTo>
                        <a:lnTo>
                          <a:pt x="912" y="6"/>
                        </a:lnTo>
                        <a:lnTo>
                          <a:pt x="900" y="2"/>
                        </a:lnTo>
                        <a:lnTo>
                          <a:pt x="888" y="0"/>
                        </a:lnTo>
                        <a:lnTo>
                          <a:pt x="874" y="0"/>
                        </a:lnTo>
                        <a:lnTo>
                          <a:pt x="858" y="2"/>
                        </a:lnTo>
                        <a:lnTo>
                          <a:pt x="858" y="2"/>
                        </a:lnTo>
                        <a:lnTo>
                          <a:pt x="830" y="4"/>
                        </a:lnTo>
                        <a:lnTo>
                          <a:pt x="808" y="4"/>
                        </a:lnTo>
                        <a:lnTo>
                          <a:pt x="788" y="4"/>
                        </a:lnTo>
                        <a:lnTo>
                          <a:pt x="776" y="6"/>
                        </a:lnTo>
                        <a:lnTo>
                          <a:pt x="762" y="10"/>
                        </a:lnTo>
                        <a:lnTo>
                          <a:pt x="762" y="10"/>
                        </a:lnTo>
                        <a:lnTo>
                          <a:pt x="746" y="14"/>
                        </a:lnTo>
                        <a:lnTo>
                          <a:pt x="728" y="14"/>
                        </a:lnTo>
                        <a:lnTo>
                          <a:pt x="690" y="10"/>
                        </a:lnTo>
                        <a:lnTo>
                          <a:pt x="666" y="10"/>
                        </a:lnTo>
                        <a:lnTo>
                          <a:pt x="640" y="10"/>
                        </a:lnTo>
                        <a:lnTo>
                          <a:pt x="608" y="12"/>
                        </a:lnTo>
                        <a:lnTo>
                          <a:pt x="574" y="20"/>
                        </a:lnTo>
                        <a:lnTo>
                          <a:pt x="574" y="20"/>
                        </a:lnTo>
                        <a:lnTo>
                          <a:pt x="556" y="22"/>
                        </a:lnTo>
                        <a:lnTo>
                          <a:pt x="540" y="22"/>
                        </a:lnTo>
                        <a:lnTo>
                          <a:pt x="526" y="20"/>
                        </a:lnTo>
                        <a:lnTo>
                          <a:pt x="514" y="16"/>
                        </a:lnTo>
                        <a:lnTo>
                          <a:pt x="500" y="14"/>
                        </a:lnTo>
                        <a:lnTo>
                          <a:pt x="490" y="12"/>
                        </a:lnTo>
                        <a:lnTo>
                          <a:pt x="478" y="14"/>
                        </a:lnTo>
                        <a:lnTo>
                          <a:pt x="466" y="18"/>
                        </a:lnTo>
                        <a:lnTo>
                          <a:pt x="466" y="18"/>
                        </a:lnTo>
                        <a:lnTo>
                          <a:pt x="454" y="22"/>
                        </a:lnTo>
                        <a:lnTo>
                          <a:pt x="442" y="24"/>
                        </a:lnTo>
                        <a:lnTo>
                          <a:pt x="432" y="24"/>
                        </a:lnTo>
                        <a:lnTo>
                          <a:pt x="422" y="24"/>
                        </a:lnTo>
                        <a:lnTo>
                          <a:pt x="416" y="22"/>
                        </a:lnTo>
                        <a:lnTo>
                          <a:pt x="412" y="24"/>
                        </a:lnTo>
                        <a:lnTo>
                          <a:pt x="416" y="28"/>
                        </a:lnTo>
                        <a:lnTo>
                          <a:pt x="424" y="36"/>
                        </a:lnTo>
                        <a:lnTo>
                          <a:pt x="424" y="36"/>
                        </a:lnTo>
                        <a:lnTo>
                          <a:pt x="430" y="44"/>
                        </a:lnTo>
                        <a:lnTo>
                          <a:pt x="430" y="46"/>
                        </a:lnTo>
                        <a:lnTo>
                          <a:pt x="430" y="48"/>
                        </a:lnTo>
                        <a:lnTo>
                          <a:pt x="424" y="48"/>
                        </a:lnTo>
                        <a:lnTo>
                          <a:pt x="414" y="46"/>
                        </a:lnTo>
                        <a:lnTo>
                          <a:pt x="404" y="44"/>
                        </a:lnTo>
                        <a:lnTo>
                          <a:pt x="392" y="42"/>
                        </a:lnTo>
                        <a:lnTo>
                          <a:pt x="384" y="44"/>
                        </a:lnTo>
                        <a:lnTo>
                          <a:pt x="380" y="46"/>
                        </a:lnTo>
                        <a:lnTo>
                          <a:pt x="378" y="50"/>
                        </a:lnTo>
                        <a:lnTo>
                          <a:pt x="378" y="50"/>
                        </a:lnTo>
                        <a:lnTo>
                          <a:pt x="376" y="58"/>
                        </a:lnTo>
                        <a:lnTo>
                          <a:pt x="372" y="62"/>
                        </a:lnTo>
                        <a:lnTo>
                          <a:pt x="366" y="66"/>
                        </a:lnTo>
                        <a:lnTo>
                          <a:pt x="360" y="68"/>
                        </a:lnTo>
                        <a:lnTo>
                          <a:pt x="352" y="70"/>
                        </a:lnTo>
                        <a:lnTo>
                          <a:pt x="340" y="70"/>
                        </a:lnTo>
                        <a:lnTo>
                          <a:pt x="312" y="68"/>
                        </a:lnTo>
                        <a:lnTo>
                          <a:pt x="312" y="68"/>
                        </a:lnTo>
                        <a:lnTo>
                          <a:pt x="300" y="66"/>
                        </a:lnTo>
                        <a:lnTo>
                          <a:pt x="292" y="64"/>
                        </a:lnTo>
                        <a:lnTo>
                          <a:pt x="290" y="60"/>
                        </a:lnTo>
                        <a:lnTo>
                          <a:pt x="290" y="58"/>
                        </a:lnTo>
                        <a:lnTo>
                          <a:pt x="290" y="56"/>
                        </a:lnTo>
                        <a:lnTo>
                          <a:pt x="288" y="54"/>
                        </a:lnTo>
                        <a:lnTo>
                          <a:pt x="280" y="52"/>
                        </a:lnTo>
                        <a:lnTo>
                          <a:pt x="264" y="52"/>
                        </a:lnTo>
                        <a:lnTo>
                          <a:pt x="264" y="52"/>
                        </a:lnTo>
                        <a:lnTo>
                          <a:pt x="250" y="52"/>
                        </a:lnTo>
                        <a:lnTo>
                          <a:pt x="244" y="52"/>
                        </a:lnTo>
                        <a:lnTo>
                          <a:pt x="244" y="56"/>
                        </a:lnTo>
                        <a:lnTo>
                          <a:pt x="246" y="60"/>
                        </a:lnTo>
                        <a:lnTo>
                          <a:pt x="248" y="64"/>
                        </a:lnTo>
                        <a:lnTo>
                          <a:pt x="248" y="66"/>
                        </a:lnTo>
                        <a:lnTo>
                          <a:pt x="248" y="68"/>
                        </a:lnTo>
                        <a:lnTo>
                          <a:pt x="240" y="72"/>
                        </a:lnTo>
                        <a:lnTo>
                          <a:pt x="224" y="76"/>
                        </a:lnTo>
                        <a:lnTo>
                          <a:pt x="224" y="76"/>
                        </a:lnTo>
                        <a:lnTo>
                          <a:pt x="208" y="78"/>
                        </a:lnTo>
                        <a:lnTo>
                          <a:pt x="206" y="78"/>
                        </a:lnTo>
                        <a:lnTo>
                          <a:pt x="206" y="80"/>
                        </a:lnTo>
                        <a:lnTo>
                          <a:pt x="212" y="82"/>
                        </a:lnTo>
                        <a:lnTo>
                          <a:pt x="224" y="86"/>
                        </a:lnTo>
                        <a:lnTo>
                          <a:pt x="248" y="92"/>
                        </a:lnTo>
                        <a:lnTo>
                          <a:pt x="254" y="94"/>
                        </a:lnTo>
                        <a:lnTo>
                          <a:pt x="252" y="96"/>
                        </a:lnTo>
                        <a:lnTo>
                          <a:pt x="248" y="98"/>
                        </a:lnTo>
                        <a:lnTo>
                          <a:pt x="248" y="98"/>
                        </a:lnTo>
                        <a:lnTo>
                          <a:pt x="238" y="98"/>
                        </a:lnTo>
                        <a:lnTo>
                          <a:pt x="228" y="98"/>
                        </a:lnTo>
                        <a:lnTo>
                          <a:pt x="206" y="92"/>
                        </a:lnTo>
                        <a:lnTo>
                          <a:pt x="194" y="90"/>
                        </a:lnTo>
                        <a:lnTo>
                          <a:pt x="180" y="88"/>
                        </a:lnTo>
                        <a:lnTo>
                          <a:pt x="166" y="86"/>
                        </a:lnTo>
                        <a:lnTo>
                          <a:pt x="146" y="88"/>
                        </a:lnTo>
                        <a:lnTo>
                          <a:pt x="146" y="88"/>
                        </a:lnTo>
                        <a:lnTo>
                          <a:pt x="130" y="92"/>
                        </a:lnTo>
                        <a:lnTo>
                          <a:pt x="120" y="94"/>
                        </a:lnTo>
                        <a:lnTo>
                          <a:pt x="112" y="98"/>
                        </a:lnTo>
                        <a:lnTo>
                          <a:pt x="108" y="102"/>
                        </a:lnTo>
                        <a:lnTo>
                          <a:pt x="104" y="106"/>
                        </a:lnTo>
                        <a:lnTo>
                          <a:pt x="100" y="106"/>
                        </a:lnTo>
                        <a:lnTo>
                          <a:pt x="92" y="108"/>
                        </a:lnTo>
                        <a:lnTo>
                          <a:pt x="80" y="106"/>
                        </a:lnTo>
                        <a:lnTo>
                          <a:pt x="80" y="106"/>
                        </a:lnTo>
                        <a:lnTo>
                          <a:pt x="66" y="104"/>
                        </a:lnTo>
                        <a:lnTo>
                          <a:pt x="50" y="104"/>
                        </a:lnTo>
                        <a:lnTo>
                          <a:pt x="36" y="108"/>
                        </a:lnTo>
                        <a:lnTo>
                          <a:pt x="22" y="112"/>
                        </a:lnTo>
                        <a:lnTo>
                          <a:pt x="12" y="118"/>
                        </a:lnTo>
                        <a:lnTo>
                          <a:pt x="4" y="124"/>
                        </a:lnTo>
                        <a:lnTo>
                          <a:pt x="0" y="130"/>
                        </a:lnTo>
                        <a:lnTo>
                          <a:pt x="2" y="134"/>
                        </a:lnTo>
                        <a:lnTo>
                          <a:pt x="4" y="138"/>
                        </a:lnTo>
                        <a:lnTo>
                          <a:pt x="4" y="138"/>
                        </a:lnTo>
                        <a:lnTo>
                          <a:pt x="8" y="142"/>
                        </a:lnTo>
                        <a:lnTo>
                          <a:pt x="12" y="144"/>
                        </a:lnTo>
                        <a:lnTo>
                          <a:pt x="16" y="144"/>
                        </a:lnTo>
                        <a:lnTo>
                          <a:pt x="22" y="144"/>
                        </a:lnTo>
                        <a:lnTo>
                          <a:pt x="32" y="144"/>
                        </a:lnTo>
                        <a:lnTo>
                          <a:pt x="36" y="144"/>
                        </a:lnTo>
                        <a:lnTo>
                          <a:pt x="44" y="148"/>
                        </a:lnTo>
                        <a:lnTo>
                          <a:pt x="44" y="14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9" name="Freeform 6107"/>
                  <p:cNvSpPr>
                    <a:spLocks/>
                  </p:cNvSpPr>
                  <p:nvPr/>
                </p:nvSpPr>
                <p:spPr bwMode="auto">
                  <a:xfrm>
                    <a:off x="2335530" y="1211263"/>
                    <a:ext cx="121920" cy="48260"/>
                  </a:xfrm>
                  <a:custGeom>
                    <a:avLst/>
                    <a:gdLst/>
                    <a:ahLst/>
                    <a:cxnLst>
                      <a:cxn ang="0">
                        <a:pos x="2" y="16"/>
                      </a:cxn>
                      <a:cxn ang="0">
                        <a:pos x="2" y="16"/>
                      </a:cxn>
                      <a:cxn ang="0">
                        <a:pos x="0" y="24"/>
                      </a:cxn>
                      <a:cxn ang="0">
                        <a:pos x="2" y="30"/>
                      </a:cxn>
                      <a:cxn ang="0">
                        <a:pos x="6" y="34"/>
                      </a:cxn>
                      <a:cxn ang="0">
                        <a:pos x="18" y="38"/>
                      </a:cxn>
                      <a:cxn ang="0">
                        <a:pos x="18" y="38"/>
                      </a:cxn>
                      <a:cxn ang="0">
                        <a:pos x="22" y="42"/>
                      </a:cxn>
                      <a:cxn ang="0">
                        <a:pos x="26" y="46"/>
                      </a:cxn>
                      <a:cxn ang="0">
                        <a:pos x="26" y="52"/>
                      </a:cxn>
                      <a:cxn ang="0">
                        <a:pos x="28" y="56"/>
                      </a:cxn>
                      <a:cxn ang="0">
                        <a:pos x="30" y="62"/>
                      </a:cxn>
                      <a:cxn ang="0">
                        <a:pos x="36" y="66"/>
                      </a:cxn>
                      <a:cxn ang="0">
                        <a:pos x="46" y="72"/>
                      </a:cxn>
                      <a:cxn ang="0">
                        <a:pos x="46" y="72"/>
                      </a:cxn>
                      <a:cxn ang="0">
                        <a:pos x="56" y="76"/>
                      </a:cxn>
                      <a:cxn ang="0">
                        <a:pos x="66" y="76"/>
                      </a:cxn>
                      <a:cxn ang="0">
                        <a:pos x="72" y="76"/>
                      </a:cxn>
                      <a:cxn ang="0">
                        <a:pos x="80" y="74"/>
                      </a:cxn>
                      <a:cxn ang="0">
                        <a:pos x="94" y="68"/>
                      </a:cxn>
                      <a:cxn ang="0">
                        <a:pos x="104" y="66"/>
                      </a:cxn>
                      <a:cxn ang="0">
                        <a:pos x="118" y="68"/>
                      </a:cxn>
                      <a:cxn ang="0">
                        <a:pos x="118" y="68"/>
                      </a:cxn>
                      <a:cxn ang="0">
                        <a:pos x="148" y="70"/>
                      </a:cxn>
                      <a:cxn ang="0">
                        <a:pos x="176" y="72"/>
                      </a:cxn>
                      <a:cxn ang="0">
                        <a:pos x="184" y="70"/>
                      </a:cxn>
                      <a:cxn ang="0">
                        <a:pos x="192" y="68"/>
                      </a:cxn>
                      <a:cxn ang="0">
                        <a:pos x="192" y="66"/>
                      </a:cxn>
                      <a:cxn ang="0">
                        <a:pos x="192" y="62"/>
                      </a:cxn>
                      <a:cxn ang="0">
                        <a:pos x="188" y="58"/>
                      </a:cxn>
                      <a:cxn ang="0">
                        <a:pos x="188" y="58"/>
                      </a:cxn>
                      <a:cxn ang="0">
                        <a:pos x="174" y="42"/>
                      </a:cxn>
                      <a:cxn ang="0">
                        <a:pos x="166" y="34"/>
                      </a:cxn>
                      <a:cxn ang="0">
                        <a:pos x="156" y="26"/>
                      </a:cxn>
                      <a:cxn ang="0">
                        <a:pos x="144" y="18"/>
                      </a:cxn>
                      <a:cxn ang="0">
                        <a:pos x="130" y="12"/>
                      </a:cxn>
                      <a:cxn ang="0">
                        <a:pos x="114" y="10"/>
                      </a:cxn>
                      <a:cxn ang="0">
                        <a:pos x="96" y="10"/>
                      </a:cxn>
                      <a:cxn ang="0">
                        <a:pos x="96" y="10"/>
                      </a:cxn>
                      <a:cxn ang="0">
                        <a:pos x="76" y="8"/>
                      </a:cxn>
                      <a:cxn ang="0">
                        <a:pos x="58" y="6"/>
                      </a:cxn>
                      <a:cxn ang="0">
                        <a:pos x="30" y="2"/>
                      </a:cxn>
                      <a:cxn ang="0">
                        <a:pos x="18" y="0"/>
                      </a:cxn>
                      <a:cxn ang="0">
                        <a:pos x="10" y="2"/>
                      </a:cxn>
                      <a:cxn ang="0">
                        <a:pos x="8" y="4"/>
                      </a:cxn>
                      <a:cxn ang="0">
                        <a:pos x="4" y="6"/>
                      </a:cxn>
                      <a:cxn ang="0">
                        <a:pos x="2" y="16"/>
                      </a:cxn>
                      <a:cxn ang="0">
                        <a:pos x="2" y="16"/>
                      </a:cxn>
                    </a:cxnLst>
                    <a:rect l="0" t="0" r="r" b="b"/>
                    <a:pathLst>
                      <a:path w="192" h="76">
                        <a:moveTo>
                          <a:pt x="2" y="16"/>
                        </a:moveTo>
                        <a:lnTo>
                          <a:pt x="2" y="16"/>
                        </a:lnTo>
                        <a:lnTo>
                          <a:pt x="0" y="24"/>
                        </a:lnTo>
                        <a:lnTo>
                          <a:pt x="2" y="30"/>
                        </a:lnTo>
                        <a:lnTo>
                          <a:pt x="6" y="34"/>
                        </a:lnTo>
                        <a:lnTo>
                          <a:pt x="18" y="38"/>
                        </a:lnTo>
                        <a:lnTo>
                          <a:pt x="18" y="38"/>
                        </a:lnTo>
                        <a:lnTo>
                          <a:pt x="22" y="42"/>
                        </a:lnTo>
                        <a:lnTo>
                          <a:pt x="26" y="46"/>
                        </a:lnTo>
                        <a:lnTo>
                          <a:pt x="26" y="52"/>
                        </a:lnTo>
                        <a:lnTo>
                          <a:pt x="28" y="56"/>
                        </a:lnTo>
                        <a:lnTo>
                          <a:pt x="30" y="62"/>
                        </a:lnTo>
                        <a:lnTo>
                          <a:pt x="36" y="66"/>
                        </a:lnTo>
                        <a:lnTo>
                          <a:pt x="46" y="72"/>
                        </a:lnTo>
                        <a:lnTo>
                          <a:pt x="46" y="72"/>
                        </a:lnTo>
                        <a:lnTo>
                          <a:pt x="56" y="76"/>
                        </a:lnTo>
                        <a:lnTo>
                          <a:pt x="66" y="76"/>
                        </a:lnTo>
                        <a:lnTo>
                          <a:pt x="72" y="76"/>
                        </a:lnTo>
                        <a:lnTo>
                          <a:pt x="80" y="74"/>
                        </a:lnTo>
                        <a:lnTo>
                          <a:pt x="94" y="68"/>
                        </a:lnTo>
                        <a:lnTo>
                          <a:pt x="104" y="66"/>
                        </a:lnTo>
                        <a:lnTo>
                          <a:pt x="118" y="68"/>
                        </a:lnTo>
                        <a:lnTo>
                          <a:pt x="118" y="68"/>
                        </a:lnTo>
                        <a:lnTo>
                          <a:pt x="148" y="70"/>
                        </a:lnTo>
                        <a:lnTo>
                          <a:pt x="176" y="72"/>
                        </a:lnTo>
                        <a:lnTo>
                          <a:pt x="184" y="70"/>
                        </a:lnTo>
                        <a:lnTo>
                          <a:pt x="192" y="68"/>
                        </a:lnTo>
                        <a:lnTo>
                          <a:pt x="192" y="66"/>
                        </a:lnTo>
                        <a:lnTo>
                          <a:pt x="192" y="62"/>
                        </a:lnTo>
                        <a:lnTo>
                          <a:pt x="188" y="58"/>
                        </a:lnTo>
                        <a:lnTo>
                          <a:pt x="188" y="58"/>
                        </a:lnTo>
                        <a:lnTo>
                          <a:pt x="174" y="42"/>
                        </a:lnTo>
                        <a:lnTo>
                          <a:pt x="166" y="34"/>
                        </a:lnTo>
                        <a:lnTo>
                          <a:pt x="156" y="26"/>
                        </a:lnTo>
                        <a:lnTo>
                          <a:pt x="144" y="18"/>
                        </a:lnTo>
                        <a:lnTo>
                          <a:pt x="130" y="12"/>
                        </a:lnTo>
                        <a:lnTo>
                          <a:pt x="114" y="10"/>
                        </a:lnTo>
                        <a:lnTo>
                          <a:pt x="96" y="10"/>
                        </a:lnTo>
                        <a:lnTo>
                          <a:pt x="96" y="10"/>
                        </a:lnTo>
                        <a:lnTo>
                          <a:pt x="76" y="8"/>
                        </a:lnTo>
                        <a:lnTo>
                          <a:pt x="58" y="6"/>
                        </a:lnTo>
                        <a:lnTo>
                          <a:pt x="30" y="2"/>
                        </a:lnTo>
                        <a:lnTo>
                          <a:pt x="18" y="0"/>
                        </a:lnTo>
                        <a:lnTo>
                          <a:pt x="10" y="2"/>
                        </a:lnTo>
                        <a:lnTo>
                          <a:pt x="8" y="4"/>
                        </a:lnTo>
                        <a:lnTo>
                          <a:pt x="4" y="6"/>
                        </a:lnTo>
                        <a:lnTo>
                          <a:pt x="2" y="16"/>
                        </a:lnTo>
                        <a:lnTo>
                          <a:pt x="2" y="1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0" name="Freeform 6108"/>
                  <p:cNvSpPr>
                    <a:spLocks/>
                  </p:cNvSpPr>
                  <p:nvPr/>
                </p:nvSpPr>
                <p:spPr bwMode="auto">
                  <a:xfrm>
                    <a:off x="1762760" y="1103313"/>
                    <a:ext cx="29210" cy="11430"/>
                  </a:xfrm>
                  <a:custGeom>
                    <a:avLst/>
                    <a:gdLst/>
                    <a:ahLst/>
                    <a:cxnLst>
                      <a:cxn ang="0">
                        <a:pos x="2" y="18"/>
                      </a:cxn>
                      <a:cxn ang="0">
                        <a:pos x="2" y="18"/>
                      </a:cxn>
                      <a:cxn ang="0">
                        <a:pos x="8" y="18"/>
                      </a:cxn>
                      <a:cxn ang="0">
                        <a:pos x="14" y="18"/>
                      </a:cxn>
                      <a:cxn ang="0">
                        <a:pos x="30" y="12"/>
                      </a:cxn>
                      <a:cxn ang="0">
                        <a:pos x="42" y="4"/>
                      </a:cxn>
                      <a:cxn ang="0">
                        <a:pos x="46" y="2"/>
                      </a:cxn>
                      <a:cxn ang="0">
                        <a:pos x="44" y="0"/>
                      </a:cxn>
                      <a:cxn ang="0">
                        <a:pos x="44" y="0"/>
                      </a:cxn>
                      <a:cxn ang="0">
                        <a:pos x="32" y="2"/>
                      </a:cxn>
                      <a:cxn ang="0">
                        <a:pos x="16" y="6"/>
                      </a:cxn>
                      <a:cxn ang="0">
                        <a:pos x="2" y="14"/>
                      </a:cxn>
                      <a:cxn ang="0">
                        <a:pos x="0" y="16"/>
                      </a:cxn>
                      <a:cxn ang="0">
                        <a:pos x="2" y="18"/>
                      </a:cxn>
                      <a:cxn ang="0">
                        <a:pos x="2" y="18"/>
                      </a:cxn>
                    </a:cxnLst>
                    <a:rect l="0" t="0" r="r" b="b"/>
                    <a:pathLst>
                      <a:path w="46" h="18">
                        <a:moveTo>
                          <a:pt x="2" y="18"/>
                        </a:moveTo>
                        <a:lnTo>
                          <a:pt x="2" y="18"/>
                        </a:lnTo>
                        <a:lnTo>
                          <a:pt x="8" y="18"/>
                        </a:lnTo>
                        <a:lnTo>
                          <a:pt x="14" y="18"/>
                        </a:lnTo>
                        <a:lnTo>
                          <a:pt x="30" y="12"/>
                        </a:lnTo>
                        <a:lnTo>
                          <a:pt x="42" y="4"/>
                        </a:lnTo>
                        <a:lnTo>
                          <a:pt x="46" y="2"/>
                        </a:lnTo>
                        <a:lnTo>
                          <a:pt x="44" y="0"/>
                        </a:lnTo>
                        <a:lnTo>
                          <a:pt x="44" y="0"/>
                        </a:lnTo>
                        <a:lnTo>
                          <a:pt x="32" y="2"/>
                        </a:lnTo>
                        <a:lnTo>
                          <a:pt x="16" y="6"/>
                        </a:lnTo>
                        <a:lnTo>
                          <a:pt x="2" y="14"/>
                        </a:lnTo>
                        <a:lnTo>
                          <a:pt x="0" y="16"/>
                        </a:lnTo>
                        <a:lnTo>
                          <a:pt x="2" y="18"/>
                        </a:lnTo>
                        <a:lnTo>
                          <a:pt x="2" y="1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1" name="Freeform 6109"/>
                  <p:cNvSpPr>
                    <a:spLocks/>
                  </p:cNvSpPr>
                  <p:nvPr/>
                </p:nvSpPr>
                <p:spPr bwMode="auto">
                  <a:xfrm>
                    <a:off x="1954530" y="1190943"/>
                    <a:ext cx="138430" cy="102870"/>
                  </a:xfrm>
                  <a:custGeom>
                    <a:avLst/>
                    <a:gdLst/>
                    <a:ahLst/>
                    <a:cxnLst>
                      <a:cxn ang="0">
                        <a:pos x="166" y="92"/>
                      </a:cxn>
                      <a:cxn ang="0">
                        <a:pos x="186" y="66"/>
                      </a:cxn>
                      <a:cxn ang="0">
                        <a:pos x="216" y="36"/>
                      </a:cxn>
                      <a:cxn ang="0">
                        <a:pos x="218" y="28"/>
                      </a:cxn>
                      <a:cxn ang="0">
                        <a:pos x="216" y="22"/>
                      </a:cxn>
                      <a:cxn ang="0">
                        <a:pos x="204" y="16"/>
                      </a:cxn>
                      <a:cxn ang="0">
                        <a:pos x="190" y="12"/>
                      </a:cxn>
                      <a:cxn ang="0">
                        <a:pos x="172" y="12"/>
                      </a:cxn>
                      <a:cxn ang="0">
                        <a:pos x="156" y="16"/>
                      </a:cxn>
                      <a:cxn ang="0">
                        <a:pos x="140" y="12"/>
                      </a:cxn>
                      <a:cxn ang="0">
                        <a:pos x="122" y="4"/>
                      </a:cxn>
                      <a:cxn ang="0">
                        <a:pos x="106" y="0"/>
                      </a:cxn>
                      <a:cxn ang="0">
                        <a:pos x="84" y="0"/>
                      </a:cxn>
                      <a:cxn ang="0">
                        <a:pos x="48" y="6"/>
                      </a:cxn>
                      <a:cxn ang="0">
                        <a:pos x="20" y="16"/>
                      </a:cxn>
                      <a:cxn ang="0">
                        <a:pos x="16" y="24"/>
                      </a:cxn>
                      <a:cxn ang="0">
                        <a:pos x="22" y="30"/>
                      </a:cxn>
                      <a:cxn ang="0">
                        <a:pos x="18" y="32"/>
                      </a:cxn>
                      <a:cxn ang="0">
                        <a:pos x="6" y="32"/>
                      </a:cxn>
                      <a:cxn ang="0">
                        <a:pos x="0" y="48"/>
                      </a:cxn>
                      <a:cxn ang="0">
                        <a:pos x="0" y="74"/>
                      </a:cxn>
                      <a:cxn ang="0">
                        <a:pos x="2" y="98"/>
                      </a:cxn>
                      <a:cxn ang="0">
                        <a:pos x="10" y="114"/>
                      </a:cxn>
                      <a:cxn ang="0">
                        <a:pos x="20" y="134"/>
                      </a:cxn>
                      <a:cxn ang="0">
                        <a:pos x="20" y="142"/>
                      </a:cxn>
                      <a:cxn ang="0">
                        <a:pos x="22" y="154"/>
                      </a:cxn>
                      <a:cxn ang="0">
                        <a:pos x="30" y="156"/>
                      </a:cxn>
                      <a:cxn ang="0">
                        <a:pos x="54" y="156"/>
                      </a:cxn>
                      <a:cxn ang="0">
                        <a:pos x="62" y="160"/>
                      </a:cxn>
                      <a:cxn ang="0">
                        <a:pos x="70" y="160"/>
                      </a:cxn>
                      <a:cxn ang="0">
                        <a:pos x="76" y="146"/>
                      </a:cxn>
                      <a:cxn ang="0">
                        <a:pos x="82" y="138"/>
                      </a:cxn>
                      <a:cxn ang="0">
                        <a:pos x="90" y="132"/>
                      </a:cxn>
                      <a:cxn ang="0">
                        <a:pos x="90" y="122"/>
                      </a:cxn>
                      <a:cxn ang="0">
                        <a:pos x="86" y="114"/>
                      </a:cxn>
                      <a:cxn ang="0">
                        <a:pos x="84" y="106"/>
                      </a:cxn>
                      <a:cxn ang="0">
                        <a:pos x="88" y="104"/>
                      </a:cxn>
                      <a:cxn ang="0">
                        <a:pos x="112" y="106"/>
                      </a:cxn>
                      <a:cxn ang="0">
                        <a:pos x="142" y="106"/>
                      </a:cxn>
                      <a:cxn ang="0">
                        <a:pos x="156" y="102"/>
                      </a:cxn>
                      <a:cxn ang="0">
                        <a:pos x="166" y="92"/>
                      </a:cxn>
                    </a:cxnLst>
                    <a:rect l="0" t="0" r="r" b="b"/>
                    <a:pathLst>
                      <a:path w="218" h="162">
                        <a:moveTo>
                          <a:pt x="166" y="92"/>
                        </a:moveTo>
                        <a:lnTo>
                          <a:pt x="166" y="92"/>
                        </a:lnTo>
                        <a:lnTo>
                          <a:pt x="176" y="80"/>
                        </a:lnTo>
                        <a:lnTo>
                          <a:pt x="186" y="66"/>
                        </a:lnTo>
                        <a:lnTo>
                          <a:pt x="208" y="46"/>
                        </a:lnTo>
                        <a:lnTo>
                          <a:pt x="216" y="36"/>
                        </a:lnTo>
                        <a:lnTo>
                          <a:pt x="218" y="32"/>
                        </a:lnTo>
                        <a:lnTo>
                          <a:pt x="218" y="28"/>
                        </a:lnTo>
                        <a:lnTo>
                          <a:pt x="218" y="24"/>
                        </a:lnTo>
                        <a:lnTo>
                          <a:pt x="216" y="22"/>
                        </a:lnTo>
                        <a:lnTo>
                          <a:pt x="210" y="18"/>
                        </a:lnTo>
                        <a:lnTo>
                          <a:pt x="204" y="16"/>
                        </a:lnTo>
                        <a:lnTo>
                          <a:pt x="204" y="16"/>
                        </a:lnTo>
                        <a:lnTo>
                          <a:pt x="190" y="12"/>
                        </a:lnTo>
                        <a:lnTo>
                          <a:pt x="180" y="12"/>
                        </a:lnTo>
                        <a:lnTo>
                          <a:pt x="172" y="12"/>
                        </a:lnTo>
                        <a:lnTo>
                          <a:pt x="166" y="14"/>
                        </a:lnTo>
                        <a:lnTo>
                          <a:pt x="156" y="16"/>
                        </a:lnTo>
                        <a:lnTo>
                          <a:pt x="148" y="16"/>
                        </a:lnTo>
                        <a:lnTo>
                          <a:pt x="140" y="12"/>
                        </a:lnTo>
                        <a:lnTo>
                          <a:pt x="140" y="12"/>
                        </a:lnTo>
                        <a:lnTo>
                          <a:pt x="122" y="4"/>
                        </a:lnTo>
                        <a:lnTo>
                          <a:pt x="114" y="2"/>
                        </a:lnTo>
                        <a:lnTo>
                          <a:pt x="106" y="0"/>
                        </a:lnTo>
                        <a:lnTo>
                          <a:pt x="96" y="0"/>
                        </a:lnTo>
                        <a:lnTo>
                          <a:pt x="84" y="0"/>
                        </a:lnTo>
                        <a:lnTo>
                          <a:pt x="48" y="6"/>
                        </a:lnTo>
                        <a:lnTo>
                          <a:pt x="48" y="6"/>
                        </a:lnTo>
                        <a:lnTo>
                          <a:pt x="30" y="10"/>
                        </a:lnTo>
                        <a:lnTo>
                          <a:pt x="20" y="16"/>
                        </a:lnTo>
                        <a:lnTo>
                          <a:pt x="16" y="20"/>
                        </a:lnTo>
                        <a:lnTo>
                          <a:pt x="16" y="24"/>
                        </a:lnTo>
                        <a:lnTo>
                          <a:pt x="22" y="30"/>
                        </a:lnTo>
                        <a:lnTo>
                          <a:pt x="22" y="30"/>
                        </a:lnTo>
                        <a:lnTo>
                          <a:pt x="18" y="32"/>
                        </a:lnTo>
                        <a:lnTo>
                          <a:pt x="18" y="32"/>
                        </a:lnTo>
                        <a:lnTo>
                          <a:pt x="8" y="30"/>
                        </a:lnTo>
                        <a:lnTo>
                          <a:pt x="6" y="32"/>
                        </a:lnTo>
                        <a:lnTo>
                          <a:pt x="4" y="36"/>
                        </a:lnTo>
                        <a:lnTo>
                          <a:pt x="0" y="48"/>
                        </a:lnTo>
                        <a:lnTo>
                          <a:pt x="0" y="74"/>
                        </a:lnTo>
                        <a:lnTo>
                          <a:pt x="0" y="74"/>
                        </a:lnTo>
                        <a:lnTo>
                          <a:pt x="0" y="88"/>
                        </a:lnTo>
                        <a:lnTo>
                          <a:pt x="2" y="98"/>
                        </a:lnTo>
                        <a:lnTo>
                          <a:pt x="6" y="108"/>
                        </a:lnTo>
                        <a:lnTo>
                          <a:pt x="10" y="114"/>
                        </a:lnTo>
                        <a:lnTo>
                          <a:pt x="18" y="126"/>
                        </a:lnTo>
                        <a:lnTo>
                          <a:pt x="20" y="134"/>
                        </a:lnTo>
                        <a:lnTo>
                          <a:pt x="20" y="142"/>
                        </a:lnTo>
                        <a:lnTo>
                          <a:pt x="20" y="142"/>
                        </a:lnTo>
                        <a:lnTo>
                          <a:pt x="20" y="150"/>
                        </a:lnTo>
                        <a:lnTo>
                          <a:pt x="22" y="154"/>
                        </a:lnTo>
                        <a:lnTo>
                          <a:pt x="26" y="156"/>
                        </a:lnTo>
                        <a:lnTo>
                          <a:pt x="30" y="156"/>
                        </a:lnTo>
                        <a:lnTo>
                          <a:pt x="46" y="156"/>
                        </a:lnTo>
                        <a:lnTo>
                          <a:pt x="54" y="156"/>
                        </a:lnTo>
                        <a:lnTo>
                          <a:pt x="62" y="160"/>
                        </a:lnTo>
                        <a:lnTo>
                          <a:pt x="62" y="160"/>
                        </a:lnTo>
                        <a:lnTo>
                          <a:pt x="68" y="162"/>
                        </a:lnTo>
                        <a:lnTo>
                          <a:pt x="70" y="160"/>
                        </a:lnTo>
                        <a:lnTo>
                          <a:pt x="76" y="146"/>
                        </a:lnTo>
                        <a:lnTo>
                          <a:pt x="76" y="146"/>
                        </a:lnTo>
                        <a:lnTo>
                          <a:pt x="78" y="140"/>
                        </a:lnTo>
                        <a:lnTo>
                          <a:pt x="82" y="138"/>
                        </a:lnTo>
                        <a:lnTo>
                          <a:pt x="88" y="134"/>
                        </a:lnTo>
                        <a:lnTo>
                          <a:pt x="90" y="132"/>
                        </a:lnTo>
                        <a:lnTo>
                          <a:pt x="90" y="128"/>
                        </a:lnTo>
                        <a:lnTo>
                          <a:pt x="90" y="122"/>
                        </a:lnTo>
                        <a:lnTo>
                          <a:pt x="86" y="114"/>
                        </a:lnTo>
                        <a:lnTo>
                          <a:pt x="86" y="114"/>
                        </a:lnTo>
                        <a:lnTo>
                          <a:pt x="84" y="110"/>
                        </a:lnTo>
                        <a:lnTo>
                          <a:pt x="84" y="106"/>
                        </a:lnTo>
                        <a:lnTo>
                          <a:pt x="86" y="104"/>
                        </a:lnTo>
                        <a:lnTo>
                          <a:pt x="88" y="104"/>
                        </a:lnTo>
                        <a:lnTo>
                          <a:pt x="98" y="104"/>
                        </a:lnTo>
                        <a:lnTo>
                          <a:pt x="112" y="106"/>
                        </a:lnTo>
                        <a:lnTo>
                          <a:pt x="128" y="108"/>
                        </a:lnTo>
                        <a:lnTo>
                          <a:pt x="142" y="106"/>
                        </a:lnTo>
                        <a:lnTo>
                          <a:pt x="150" y="106"/>
                        </a:lnTo>
                        <a:lnTo>
                          <a:pt x="156" y="102"/>
                        </a:lnTo>
                        <a:lnTo>
                          <a:pt x="162" y="98"/>
                        </a:lnTo>
                        <a:lnTo>
                          <a:pt x="166" y="92"/>
                        </a:lnTo>
                        <a:lnTo>
                          <a:pt x="166" y="9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2" name="Freeform 6110"/>
                  <p:cNvSpPr>
                    <a:spLocks/>
                  </p:cNvSpPr>
                  <p:nvPr/>
                </p:nvSpPr>
                <p:spPr bwMode="auto">
                  <a:xfrm>
                    <a:off x="2172970" y="1573213"/>
                    <a:ext cx="176530" cy="121920"/>
                  </a:xfrm>
                  <a:custGeom>
                    <a:avLst/>
                    <a:gdLst/>
                    <a:ahLst/>
                    <a:cxnLst>
                      <a:cxn ang="0">
                        <a:pos x="272" y="132"/>
                      </a:cxn>
                      <a:cxn ang="0">
                        <a:pos x="258" y="122"/>
                      </a:cxn>
                      <a:cxn ang="0">
                        <a:pos x="250" y="126"/>
                      </a:cxn>
                      <a:cxn ang="0">
                        <a:pos x="236" y="124"/>
                      </a:cxn>
                      <a:cxn ang="0">
                        <a:pos x="228" y="120"/>
                      </a:cxn>
                      <a:cxn ang="0">
                        <a:pos x="220" y="102"/>
                      </a:cxn>
                      <a:cxn ang="0">
                        <a:pos x="212" y="88"/>
                      </a:cxn>
                      <a:cxn ang="0">
                        <a:pos x="192" y="78"/>
                      </a:cxn>
                      <a:cxn ang="0">
                        <a:pos x="178" y="72"/>
                      </a:cxn>
                      <a:cxn ang="0">
                        <a:pos x="140" y="46"/>
                      </a:cxn>
                      <a:cxn ang="0">
                        <a:pos x="122" y="34"/>
                      </a:cxn>
                      <a:cxn ang="0">
                        <a:pos x="110" y="34"/>
                      </a:cxn>
                      <a:cxn ang="0">
                        <a:pos x="106" y="36"/>
                      </a:cxn>
                      <a:cxn ang="0">
                        <a:pos x="100" y="40"/>
                      </a:cxn>
                      <a:cxn ang="0">
                        <a:pos x="96" y="38"/>
                      </a:cxn>
                      <a:cxn ang="0">
                        <a:pos x="86" y="24"/>
                      </a:cxn>
                      <a:cxn ang="0">
                        <a:pos x="76" y="8"/>
                      </a:cxn>
                      <a:cxn ang="0">
                        <a:pos x="66" y="0"/>
                      </a:cxn>
                      <a:cxn ang="0">
                        <a:pos x="62" y="2"/>
                      </a:cxn>
                      <a:cxn ang="0">
                        <a:pos x="54" y="6"/>
                      </a:cxn>
                      <a:cxn ang="0">
                        <a:pos x="42" y="26"/>
                      </a:cxn>
                      <a:cxn ang="0">
                        <a:pos x="36" y="58"/>
                      </a:cxn>
                      <a:cxn ang="0">
                        <a:pos x="34" y="90"/>
                      </a:cxn>
                      <a:cxn ang="0">
                        <a:pos x="38" y="106"/>
                      </a:cxn>
                      <a:cxn ang="0">
                        <a:pos x="38" y="116"/>
                      </a:cxn>
                      <a:cxn ang="0">
                        <a:pos x="34" y="124"/>
                      </a:cxn>
                      <a:cxn ang="0">
                        <a:pos x="18" y="134"/>
                      </a:cxn>
                      <a:cxn ang="0">
                        <a:pos x="4" y="142"/>
                      </a:cxn>
                      <a:cxn ang="0">
                        <a:pos x="0" y="150"/>
                      </a:cxn>
                      <a:cxn ang="0">
                        <a:pos x="4" y="158"/>
                      </a:cxn>
                      <a:cxn ang="0">
                        <a:pos x="4" y="160"/>
                      </a:cxn>
                      <a:cxn ang="0">
                        <a:pos x="16" y="162"/>
                      </a:cxn>
                      <a:cxn ang="0">
                        <a:pos x="50" y="156"/>
                      </a:cxn>
                      <a:cxn ang="0">
                        <a:pos x="64" y="156"/>
                      </a:cxn>
                      <a:cxn ang="0">
                        <a:pos x="66" y="162"/>
                      </a:cxn>
                      <a:cxn ang="0">
                        <a:pos x="66" y="166"/>
                      </a:cxn>
                      <a:cxn ang="0">
                        <a:pos x="70" y="182"/>
                      </a:cxn>
                      <a:cxn ang="0">
                        <a:pos x="82" y="190"/>
                      </a:cxn>
                      <a:cxn ang="0">
                        <a:pos x="96" y="190"/>
                      </a:cxn>
                      <a:cxn ang="0">
                        <a:pos x="110" y="176"/>
                      </a:cxn>
                      <a:cxn ang="0">
                        <a:pos x="114" y="166"/>
                      </a:cxn>
                      <a:cxn ang="0">
                        <a:pos x="124" y="160"/>
                      </a:cxn>
                      <a:cxn ang="0">
                        <a:pos x="134" y="158"/>
                      </a:cxn>
                      <a:cxn ang="0">
                        <a:pos x="142" y="150"/>
                      </a:cxn>
                      <a:cxn ang="0">
                        <a:pos x="144" y="142"/>
                      </a:cxn>
                      <a:cxn ang="0">
                        <a:pos x="154" y="128"/>
                      </a:cxn>
                      <a:cxn ang="0">
                        <a:pos x="170" y="124"/>
                      </a:cxn>
                      <a:cxn ang="0">
                        <a:pos x="184" y="130"/>
                      </a:cxn>
                      <a:cxn ang="0">
                        <a:pos x="192" y="142"/>
                      </a:cxn>
                      <a:cxn ang="0">
                        <a:pos x="194" y="148"/>
                      </a:cxn>
                      <a:cxn ang="0">
                        <a:pos x="198" y="154"/>
                      </a:cxn>
                      <a:cxn ang="0">
                        <a:pos x="214" y="156"/>
                      </a:cxn>
                      <a:cxn ang="0">
                        <a:pos x="232" y="160"/>
                      </a:cxn>
                      <a:cxn ang="0">
                        <a:pos x="254" y="162"/>
                      </a:cxn>
                      <a:cxn ang="0">
                        <a:pos x="272" y="158"/>
                      </a:cxn>
                      <a:cxn ang="0">
                        <a:pos x="278" y="148"/>
                      </a:cxn>
                      <a:cxn ang="0">
                        <a:pos x="272" y="132"/>
                      </a:cxn>
                    </a:cxnLst>
                    <a:rect l="0" t="0" r="r" b="b"/>
                    <a:pathLst>
                      <a:path w="278" h="192">
                        <a:moveTo>
                          <a:pt x="272" y="132"/>
                        </a:moveTo>
                        <a:lnTo>
                          <a:pt x="272" y="132"/>
                        </a:lnTo>
                        <a:lnTo>
                          <a:pt x="262" y="122"/>
                        </a:lnTo>
                        <a:lnTo>
                          <a:pt x="258" y="122"/>
                        </a:lnTo>
                        <a:lnTo>
                          <a:pt x="256" y="122"/>
                        </a:lnTo>
                        <a:lnTo>
                          <a:pt x="250" y="126"/>
                        </a:lnTo>
                        <a:lnTo>
                          <a:pt x="244" y="126"/>
                        </a:lnTo>
                        <a:lnTo>
                          <a:pt x="236" y="124"/>
                        </a:lnTo>
                        <a:lnTo>
                          <a:pt x="236" y="124"/>
                        </a:lnTo>
                        <a:lnTo>
                          <a:pt x="228" y="120"/>
                        </a:lnTo>
                        <a:lnTo>
                          <a:pt x="224" y="114"/>
                        </a:lnTo>
                        <a:lnTo>
                          <a:pt x="220" y="102"/>
                        </a:lnTo>
                        <a:lnTo>
                          <a:pt x="218" y="96"/>
                        </a:lnTo>
                        <a:lnTo>
                          <a:pt x="212" y="88"/>
                        </a:lnTo>
                        <a:lnTo>
                          <a:pt x="204" y="82"/>
                        </a:lnTo>
                        <a:lnTo>
                          <a:pt x="192" y="78"/>
                        </a:lnTo>
                        <a:lnTo>
                          <a:pt x="192" y="78"/>
                        </a:lnTo>
                        <a:lnTo>
                          <a:pt x="178" y="72"/>
                        </a:lnTo>
                        <a:lnTo>
                          <a:pt x="164" y="64"/>
                        </a:lnTo>
                        <a:lnTo>
                          <a:pt x="140" y="46"/>
                        </a:lnTo>
                        <a:lnTo>
                          <a:pt x="130" y="38"/>
                        </a:lnTo>
                        <a:lnTo>
                          <a:pt x="122" y="34"/>
                        </a:lnTo>
                        <a:lnTo>
                          <a:pt x="114" y="32"/>
                        </a:lnTo>
                        <a:lnTo>
                          <a:pt x="110" y="34"/>
                        </a:lnTo>
                        <a:lnTo>
                          <a:pt x="106" y="36"/>
                        </a:lnTo>
                        <a:lnTo>
                          <a:pt x="106" y="36"/>
                        </a:lnTo>
                        <a:lnTo>
                          <a:pt x="104" y="38"/>
                        </a:lnTo>
                        <a:lnTo>
                          <a:pt x="100" y="40"/>
                        </a:lnTo>
                        <a:lnTo>
                          <a:pt x="98" y="40"/>
                        </a:lnTo>
                        <a:lnTo>
                          <a:pt x="96" y="38"/>
                        </a:lnTo>
                        <a:lnTo>
                          <a:pt x="90" y="32"/>
                        </a:lnTo>
                        <a:lnTo>
                          <a:pt x="86" y="24"/>
                        </a:lnTo>
                        <a:lnTo>
                          <a:pt x="82" y="14"/>
                        </a:lnTo>
                        <a:lnTo>
                          <a:pt x="76" y="8"/>
                        </a:lnTo>
                        <a:lnTo>
                          <a:pt x="70" y="2"/>
                        </a:lnTo>
                        <a:lnTo>
                          <a:pt x="66" y="0"/>
                        </a:lnTo>
                        <a:lnTo>
                          <a:pt x="62" y="2"/>
                        </a:lnTo>
                        <a:lnTo>
                          <a:pt x="62" y="2"/>
                        </a:lnTo>
                        <a:lnTo>
                          <a:pt x="58" y="2"/>
                        </a:lnTo>
                        <a:lnTo>
                          <a:pt x="54" y="6"/>
                        </a:lnTo>
                        <a:lnTo>
                          <a:pt x="48" y="14"/>
                        </a:lnTo>
                        <a:lnTo>
                          <a:pt x="42" y="26"/>
                        </a:lnTo>
                        <a:lnTo>
                          <a:pt x="38" y="42"/>
                        </a:lnTo>
                        <a:lnTo>
                          <a:pt x="36" y="58"/>
                        </a:lnTo>
                        <a:lnTo>
                          <a:pt x="34" y="74"/>
                        </a:lnTo>
                        <a:lnTo>
                          <a:pt x="34" y="90"/>
                        </a:lnTo>
                        <a:lnTo>
                          <a:pt x="38" y="106"/>
                        </a:lnTo>
                        <a:lnTo>
                          <a:pt x="38" y="106"/>
                        </a:lnTo>
                        <a:lnTo>
                          <a:pt x="38" y="112"/>
                        </a:lnTo>
                        <a:lnTo>
                          <a:pt x="38" y="116"/>
                        </a:lnTo>
                        <a:lnTo>
                          <a:pt x="36" y="122"/>
                        </a:lnTo>
                        <a:lnTo>
                          <a:pt x="34" y="124"/>
                        </a:lnTo>
                        <a:lnTo>
                          <a:pt x="26" y="130"/>
                        </a:lnTo>
                        <a:lnTo>
                          <a:pt x="18" y="134"/>
                        </a:lnTo>
                        <a:lnTo>
                          <a:pt x="10" y="138"/>
                        </a:lnTo>
                        <a:lnTo>
                          <a:pt x="4" y="142"/>
                        </a:lnTo>
                        <a:lnTo>
                          <a:pt x="2" y="146"/>
                        </a:lnTo>
                        <a:lnTo>
                          <a:pt x="0" y="150"/>
                        </a:lnTo>
                        <a:lnTo>
                          <a:pt x="2" y="154"/>
                        </a:lnTo>
                        <a:lnTo>
                          <a:pt x="4" y="158"/>
                        </a:lnTo>
                        <a:lnTo>
                          <a:pt x="4" y="158"/>
                        </a:lnTo>
                        <a:lnTo>
                          <a:pt x="4" y="160"/>
                        </a:lnTo>
                        <a:lnTo>
                          <a:pt x="8" y="162"/>
                        </a:lnTo>
                        <a:lnTo>
                          <a:pt x="16" y="162"/>
                        </a:lnTo>
                        <a:lnTo>
                          <a:pt x="38" y="158"/>
                        </a:lnTo>
                        <a:lnTo>
                          <a:pt x="50" y="156"/>
                        </a:lnTo>
                        <a:lnTo>
                          <a:pt x="60" y="156"/>
                        </a:lnTo>
                        <a:lnTo>
                          <a:pt x="64" y="156"/>
                        </a:lnTo>
                        <a:lnTo>
                          <a:pt x="66" y="158"/>
                        </a:lnTo>
                        <a:lnTo>
                          <a:pt x="66" y="162"/>
                        </a:lnTo>
                        <a:lnTo>
                          <a:pt x="66" y="166"/>
                        </a:lnTo>
                        <a:lnTo>
                          <a:pt x="66" y="166"/>
                        </a:lnTo>
                        <a:lnTo>
                          <a:pt x="66" y="174"/>
                        </a:lnTo>
                        <a:lnTo>
                          <a:pt x="70" y="182"/>
                        </a:lnTo>
                        <a:lnTo>
                          <a:pt x="74" y="188"/>
                        </a:lnTo>
                        <a:lnTo>
                          <a:pt x="82" y="190"/>
                        </a:lnTo>
                        <a:lnTo>
                          <a:pt x="88" y="192"/>
                        </a:lnTo>
                        <a:lnTo>
                          <a:pt x="96" y="190"/>
                        </a:lnTo>
                        <a:lnTo>
                          <a:pt x="104" y="184"/>
                        </a:lnTo>
                        <a:lnTo>
                          <a:pt x="110" y="176"/>
                        </a:lnTo>
                        <a:lnTo>
                          <a:pt x="110" y="176"/>
                        </a:lnTo>
                        <a:lnTo>
                          <a:pt x="114" y="166"/>
                        </a:lnTo>
                        <a:lnTo>
                          <a:pt x="120" y="162"/>
                        </a:lnTo>
                        <a:lnTo>
                          <a:pt x="124" y="160"/>
                        </a:lnTo>
                        <a:lnTo>
                          <a:pt x="130" y="158"/>
                        </a:lnTo>
                        <a:lnTo>
                          <a:pt x="134" y="158"/>
                        </a:lnTo>
                        <a:lnTo>
                          <a:pt x="138" y="156"/>
                        </a:lnTo>
                        <a:lnTo>
                          <a:pt x="142" y="150"/>
                        </a:lnTo>
                        <a:lnTo>
                          <a:pt x="144" y="142"/>
                        </a:lnTo>
                        <a:lnTo>
                          <a:pt x="144" y="142"/>
                        </a:lnTo>
                        <a:lnTo>
                          <a:pt x="148" y="134"/>
                        </a:lnTo>
                        <a:lnTo>
                          <a:pt x="154" y="128"/>
                        </a:lnTo>
                        <a:lnTo>
                          <a:pt x="162" y="124"/>
                        </a:lnTo>
                        <a:lnTo>
                          <a:pt x="170" y="124"/>
                        </a:lnTo>
                        <a:lnTo>
                          <a:pt x="178" y="126"/>
                        </a:lnTo>
                        <a:lnTo>
                          <a:pt x="184" y="130"/>
                        </a:lnTo>
                        <a:lnTo>
                          <a:pt x="190" y="136"/>
                        </a:lnTo>
                        <a:lnTo>
                          <a:pt x="192" y="142"/>
                        </a:lnTo>
                        <a:lnTo>
                          <a:pt x="192" y="142"/>
                        </a:lnTo>
                        <a:lnTo>
                          <a:pt x="194" y="148"/>
                        </a:lnTo>
                        <a:lnTo>
                          <a:pt x="196" y="152"/>
                        </a:lnTo>
                        <a:lnTo>
                          <a:pt x="198" y="154"/>
                        </a:lnTo>
                        <a:lnTo>
                          <a:pt x="202" y="156"/>
                        </a:lnTo>
                        <a:lnTo>
                          <a:pt x="214" y="156"/>
                        </a:lnTo>
                        <a:lnTo>
                          <a:pt x="232" y="160"/>
                        </a:lnTo>
                        <a:lnTo>
                          <a:pt x="232" y="160"/>
                        </a:lnTo>
                        <a:lnTo>
                          <a:pt x="244" y="162"/>
                        </a:lnTo>
                        <a:lnTo>
                          <a:pt x="254" y="162"/>
                        </a:lnTo>
                        <a:lnTo>
                          <a:pt x="264" y="160"/>
                        </a:lnTo>
                        <a:lnTo>
                          <a:pt x="272" y="158"/>
                        </a:lnTo>
                        <a:lnTo>
                          <a:pt x="276" y="154"/>
                        </a:lnTo>
                        <a:lnTo>
                          <a:pt x="278" y="148"/>
                        </a:lnTo>
                        <a:lnTo>
                          <a:pt x="278" y="140"/>
                        </a:lnTo>
                        <a:lnTo>
                          <a:pt x="272" y="132"/>
                        </a:lnTo>
                        <a:lnTo>
                          <a:pt x="272" y="13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3" name="Freeform 6111"/>
                  <p:cNvSpPr>
                    <a:spLocks/>
                  </p:cNvSpPr>
                  <p:nvPr/>
                </p:nvSpPr>
                <p:spPr bwMode="auto">
                  <a:xfrm>
                    <a:off x="2178050" y="1465263"/>
                    <a:ext cx="15240" cy="24130"/>
                  </a:xfrm>
                  <a:custGeom>
                    <a:avLst/>
                    <a:gdLst/>
                    <a:ahLst/>
                    <a:cxnLst>
                      <a:cxn ang="0">
                        <a:pos x="4" y="28"/>
                      </a:cxn>
                      <a:cxn ang="0">
                        <a:pos x="4" y="28"/>
                      </a:cxn>
                      <a:cxn ang="0">
                        <a:pos x="12" y="36"/>
                      </a:cxn>
                      <a:cxn ang="0">
                        <a:pos x="16" y="38"/>
                      </a:cxn>
                      <a:cxn ang="0">
                        <a:pos x="18" y="38"/>
                      </a:cxn>
                      <a:cxn ang="0">
                        <a:pos x="22" y="36"/>
                      </a:cxn>
                      <a:cxn ang="0">
                        <a:pos x="24" y="30"/>
                      </a:cxn>
                      <a:cxn ang="0">
                        <a:pos x="24" y="12"/>
                      </a:cxn>
                      <a:cxn ang="0">
                        <a:pos x="20" y="0"/>
                      </a:cxn>
                      <a:cxn ang="0">
                        <a:pos x="20" y="0"/>
                      </a:cxn>
                      <a:cxn ang="0">
                        <a:pos x="18" y="0"/>
                      </a:cxn>
                      <a:cxn ang="0">
                        <a:pos x="14" y="0"/>
                      </a:cxn>
                      <a:cxn ang="0">
                        <a:pos x="10" y="2"/>
                      </a:cxn>
                      <a:cxn ang="0">
                        <a:pos x="6" y="6"/>
                      </a:cxn>
                      <a:cxn ang="0">
                        <a:pos x="2" y="10"/>
                      </a:cxn>
                      <a:cxn ang="0">
                        <a:pos x="0" y="16"/>
                      </a:cxn>
                      <a:cxn ang="0">
                        <a:pos x="0" y="22"/>
                      </a:cxn>
                      <a:cxn ang="0">
                        <a:pos x="4" y="28"/>
                      </a:cxn>
                      <a:cxn ang="0">
                        <a:pos x="4" y="28"/>
                      </a:cxn>
                    </a:cxnLst>
                    <a:rect l="0" t="0" r="r" b="b"/>
                    <a:pathLst>
                      <a:path w="24" h="38">
                        <a:moveTo>
                          <a:pt x="4" y="28"/>
                        </a:moveTo>
                        <a:lnTo>
                          <a:pt x="4" y="28"/>
                        </a:lnTo>
                        <a:lnTo>
                          <a:pt x="12" y="36"/>
                        </a:lnTo>
                        <a:lnTo>
                          <a:pt x="16" y="38"/>
                        </a:lnTo>
                        <a:lnTo>
                          <a:pt x="18" y="38"/>
                        </a:lnTo>
                        <a:lnTo>
                          <a:pt x="22" y="36"/>
                        </a:lnTo>
                        <a:lnTo>
                          <a:pt x="24" y="30"/>
                        </a:lnTo>
                        <a:lnTo>
                          <a:pt x="24" y="12"/>
                        </a:lnTo>
                        <a:lnTo>
                          <a:pt x="20" y="0"/>
                        </a:lnTo>
                        <a:lnTo>
                          <a:pt x="20" y="0"/>
                        </a:lnTo>
                        <a:lnTo>
                          <a:pt x="18" y="0"/>
                        </a:lnTo>
                        <a:lnTo>
                          <a:pt x="14" y="0"/>
                        </a:lnTo>
                        <a:lnTo>
                          <a:pt x="10" y="2"/>
                        </a:lnTo>
                        <a:lnTo>
                          <a:pt x="6" y="6"/>
                        </a:lnTo>
                        <a:lnTo>
                          <a:pt x="2" y="10"/>
                        </a:lnTo>
                        <a:lnTo>
                          <a:pt x="0" y="16"/>
                        </a:lnTo>
                        <a:lnTo>
                          <a:pt x="0" y="22"/>
                        </a:lnTo>
                        <a:lnTo>
                          <a:pt x="4" y="28"/>
                        </a:lnTo>
                        <a:lnTo>
                          <a:pt x="4" y="2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4" name="Freeform 6112"/>
                  <p:cNvSpPr>
                    <a:spLocks/>
                  </p:cNvSpPr>
                  <p:nvPr/>
                </p:nvSpPr>
                <p:spPr bwMode="auto">
                  <a:xfrm>
                    <a:off x="2258060" y="1697673"/>
                    <a:ext cx="52070" cy="36830"/>
                  </a:xfrm>
                  <a:custGeom>
                    <a:avLst/>
                    <a:gdLst/>
                    <a:ahLst/>
                    <a:cxnLst>
                      <a:cxn ang="0">
                        <a:pos x="78" y="4"/>
                      </a:cxn>
                      <a:cxn ang="0">
                        <a:pos x="78" y="4"/>
                      </a:cxn>
                      <a:cxn ang="0">
                        <a:pos x="72" y="2"/>
                      </a:cxn>
                      <a:cxn ang="0">
                        <a:pos x="68" y="0"/>
                      </a:cxn>
                      <a:cxn ang="0">
                        <a:pos x="54" y="2"/>
                      </a:cxn>
                      <a:cxn ang="0">
                        <a:pos x="38" y="6"/>
                      </a:cxn>
                      <a:cxn ang="0">
                        <a:pos x="24" y="14"/>
                      </a:cxn>
                      <a:cxn ang="0">
                        <a:pos x="12" y="22"/>
                      </a:cxn>
                      <a:cxn ang="0">
                        <a:pos x="4" y="32"/>
                      </a:cxn>
                      <a:cxn ang="0">
                        <a:pos x="0" y="38"/>
                      </a:cxn>
                      <a:cxn ang="0">
                        <a:pos x="0" y="42"/>
                      </a:cxn>
                      <a:cxn ang="0">
                        <a:pos x="2" y="48"/>
                      </a:cxn>
                      <a:cxn ang="0">
                        <a:pos x="6" y="52"/>
                      </a:cxn>
                      <a:cxn ang="0">
                        <a:pos x="6" y="52"/>
                      </a:cxn>
                      <a:cxn ang="0">
                        <a:pos x="10" y="56"/>
                      </a:cxn>
                      <a:cxn ang="0">
                        <a:pos x="16" y="58"/>
                      </a:cxn>
                      <a:cxn ang="0">
                        <a:pos x="22" y="58"/>
                      </a:cxn>
                      <a:cxn ang="0">
                        <a:pos x="28" y="56"/>
                      </a:cxn>
                      <a:cxn ang="0">
                        <a:pos x="42" y="50"/>
                      </a:cxn>
                      <a:cxn ang="0">
                        <a:pos x="58" y="42"/>
                      </a:cxn>
                      <a:cxn ang="0">
                        <a:pos x="70" y="32"/>
                      </a:cxn>
                      <a:cxn ang="0">
                        <a:pos x="78" y="20"/>
                      </a:cxn>
                      <a:cxn ang="0">
                        <a:pos x="80" y="16"/>
                      </a:cxn>
                      <a:cxn ang="0">
                        <a:pos x="82" y="10"/>
                      </a:cxn>
                      <a:cxn ang="0">
                        <a:pos x="80" y="6"/>
                      </a:cxn>
                      <a:cxn ang="0">
                        <a:pos x="78" y="4"/>
                      </a:cxn>
                      <a:cxn ang="0">
                        <a:pos x="78" y="4"/>
                      </a:cxn>
                    </a:cxnLst>
                    <a:rect l="0" t="0" r="r" b="b"/>
                    <a:pathLst>
                      <a:path w="82" h="58">
                        <a:moveTo>
                          <a:pt x="78" y="4"/>
                        </a:moveTo>
                        <a:lnTo>
                          <a:pt x="78" y="4"/>
                        </a:lnTo>
                        <a:lnTo>
                          <a:pt x="72" y="2"/>
                        </a:lnTo>
                        <a:lnTo>
                          <a:pt x="68" y="0"/>
                        </a:lnTo>
                        <a:lnTo>
                          <a:pt x="54" y="2"/>
                        </a:lnTo>
                        <a:lnTo>
                          <a:pt x="38" y="6"/>
                        </a:lnTo>
                        <a:lnTo>
                          <a:pt x="24" y="14"/>
                        </a:lnTo>
                        <a:lnTo>
                          <a:pt x="12" y="22"/>
                        </a:lnTo>
                        <a:lnTo>
                          <a:pt x="4" y="32"/>
                        </a:lnTo>
                        <a:lnTo>
                          <a:pt x="0" y="38"/>
                        </a:lnTo>
                        <a:lnTo>
                          <a:pt x="0" y="42"/>
                        </a:lnTo>
                        <a:lnTo>
                          <a:pt x="2" y="48"/>
                        </a:lnTo>
                        <a:lnTo>
                          <a:pt x="6" y="52"/>
                        </a:lnTo>
                        <a:lnTo>
                          <a:pt x="6" y="52"/>
                        </a:lnTo>
                        <a:lnTo>
                          <a:pt x="10" y="56"/>
                        </a:lnTo>
                        <a:lnTo>
                          <a:pt x="16" y="58"/>
                        </a:lnTo>
                        <a:lnTo>
                          <a:pt x="22" y="58"/>
                        </a:lnTo>
                        <a:lnTo>
                          <a:pt x="28" y="56"/>
                        </a:lnTo>
                        <a:lnTo>
                          <a:pt x="42" y="50"/>
                        </a:lnTo>
                        <a:lnTo>
                          <a:pt x="58" y="42"/>
                        </a:lnTo>
                        <a:lnTo>
                          <a:pt x="70" y="32"/>
                        </a:lnTo>
                        <a:lnTo>
                          <a:pt x="78" y="20"/>
                        </a:lnTo>
                        <a:lnTo>
                          <a:pt x="80" y="16"/>
                        </a:lnTo>
                        <a:lnTo>
                          <a:pt x="82" y="10"/>
                        </a:lnTo>
                        <a:lnTo>
                          <a:pt x="80" y="6"/>
                        </a:lnTo>
                        <a:lnTo>
                          <a:pt x="78" y="4"/>
                        </a:lnTo>
                        <a:lnTo>
                          <a:pt x="78"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5" name="Freeform 6113"/>
                  <p:cNvSpPr>
                    <a:spLocks/>
                  </p:cNvSpPr>
                  <p:nvPr/>
                </p:nvSpPr>
                <p:spPr bwMode="auto">
                  <a:xfrm>
                    <a:off x="1357630" y="1230313"/>
                    <a:ext cx="467360" cy="227330"/>
                  </a:xfrm>
                  <a:custGeom>
                    <a:avLst/>
                    <a:gdLst/>
                    <a:ahLst/>
                    <a:cxnLst>
                      <a:cxn ang="0">
                        <a:pos x="700" y="272"/>
                      </a:cxn>
                      <a:cxn ang="0">
                        <a:pos x="720" y="274"/>
                      </a:cxn>
                      <a:cxn ang="0">
                        <a:pos x="736" y="254"/>
                      </a:cxn>
                      <a:cxn ang="0">
                        <a:pos x="708" y="238"/>
                      </a:cxn>
                      <a:cxn ang="0">
                        <a:pos x="684" y="224"/>
                      </a:cxn>
                      <a:cxn ang="0">
                        <a:pos x="646" y="206"/>
                      </a:cxn>
                      <a:cxn ang="0">
                        <a:pos x="608" y="190"/>
                      </a:cxn>
                      <a:cxn ang="0">
                        <a:pos x="586" y="166"/>
                      </a:cxn>
                      <a:cxn ang="0">
                        <a:pos x="592" y="128"/>
                      </a:cxn>
                      <a:cxn ang="0">
                        <a:pos x="560" y="58"/>
                      </a:cxn>
                      <a:cxn ang="0">
                        <a:pos x="506" y="10"/>
                      </a:cxn>
                      <a:cxn ang="0">
                        <a:pos x="482" y="10"/>
                      </a:cxn>
                      <a:cxn ang="0">
                        <a:pos x="438" y="8"/>
                      </a:cxn>
                      <a:cxn ang="0">
                        <a:pos x="450" y="68"/>
                      </a:cxn>
                      <a:cxn ang="0">
                        <a:pos x="478" y="114"/>
                      </a:cxn>
                      <a:cxn ang="0">
                        <a:pos x="456" y="132"/>
                      </a:cxn>
                      <a:cxn ang="0">
                        <a:pos x="420" y="68"/>
                      </a:cxn>
                      <a:cxn ang="0">
                        <a:pos x="382" y="40"/>
                      </a:cxn>
                      <a:cxn ang="0">
                        <a:pos x="354" y="26"/>
                      </a:cxn>
                      <a:cxn ang="0">
                        <a:pos x="352" y="40"/>
                      </a:cxn>
                      <a:cxn ang="0">
                        <a:pos x="372" y="58"/>
                      </a:cxn>
                      <a:cxn ang="0">
                        <a:pos x="336" y="62"/>
                      </a:cxn>
                      <a:cxn ang="0">
                        <a:pos x="318" y="74"/>
                      </a:cxn>
                      <a:cxn ang="0">
                        <a:pos x="296" y="40"/>
                      </a:cxn>
                      <a:cxn ang="0">
                        <a:pos x="224" y="38"/>
                      </a:cxn>
                      <a:cxn ang="0">
                        <a:pos x="190" y="60"/>
                      </a:cxn>
                      <a:cxn ang="0">
                        <a:pos x="206" y="32"/>
                      </a:cxn>
                      <a:cxn ang="0">
                        <a:pos x="196" y="2"/>
                      </a:cxn>
                      <a:cxn ang="0">
                        <a:pos x="100" y="26"/>
                      </a:cxn>
                      <a:cxn ang="0">
                        <a:pos x="22" y="72"/>
                      </a:cxn>
                      <a:cxn ang="0">
                        <a:pos x="40" y="86"/>
                      </a:cxn>
                      <a:cxn ang="0">
                        <a:pos x="2" y="116"/>
                      </a:cxn>
                      <a:cxn ang="0">
                        <a:pos x="14" y="130"/>
                      </a:cxn>
                      <a:cxn ang="0">
                        <a:pos x="34" y="146"/>
                      </a:cxn>
                      <a:cxn ang="0">
                        <a:pos x="116" y="140"/>
                      </a:cxn>
                      <a:cxn ang="0">
                        <a:pos x="76" y="160"/>
                      </a:cxn>
                      <a:cxn ang="0">
                        <a:pos x="44" y="192"/>
                      </a:cxn>
                      <a:cxn ang="0">
                        <a:pos x="110" y="204"/>
                      </a:cxn>
                      <a:cxn ang="0">
                        <a:pos x="210" y="202"/>
                      </a:cxn>
                      <a:cxn ang="0">
                        <a:pos x="276" y="214"/>
                      </a:cxn>
                      <a:cxn ang="0">
                        <a:pos x="294" y="230"/>
                      </a:cxn>
                      <a:cxn ang="0">
                        <a:pos x="168" y="230"/>
                      </a:cxn>
                      <a:cxn ang="0">
                        <a:pos x="70" y="254"/>
                      </a:cxn>
                      <a:cxn ang="0">
                        <a:pos x="122" y="300"/>
                      </a:cxn>
                      <a:cxn ang="0">
                        <a:pos x="222" y="308"/>
                      </a:cxn>
                      <a:cxn ang="0">
                        <a:pos x="232" y="350"/>
                      </a:cxn>
                      <a:cxn ang="0">
                        <a:pos x="314" y="358"/>
                      </a:cxn>
                      <a:cxn ang="0">
                        <a:pos x="420" y="332"/>
                      </a:cxn>
                      <a:cxn ang="0">
                        <a:pos x="478" y="318"/>
                      </a:cxn>
                      <a:cxn ang="0">
                        <a:pos x="490" y="296"/>
                      </a:cxn>
                      <a:cxn ang="0">
                        <a:pos x="516" y="294"/>
                      </a:cxn>
                      <a:cxn ang="0">
                        <a:pos x="540" y="312"/>
                      </a:cxn>
                      <a:cxn ang="0">
                        <a:pos x="560" y="324"/>
                      </a:cxn>
                      <a:cxn ang="0">
                        <a:pos x="592" y="328"/>
                      </a:cxn>
                      <a:cxn ang="0">
                        <a:pos x="640" y="334"/>
                      </a:cxn>
                      <a:cxn ang="0">
                        <a:pos x="680" y="324"/>
                      </a:cxn>
                      <a:cxn ang="0">
                        <a:pos x="700" y="306"/>
                      </a:cxn>
                      <a:cxn ang="0">
                        <a:pos x="692" y="288"/>
                      </a:cxn>
                      <a:cxn ang="0">
                        <a:pos x="648" y="300"/>
                      </a:cxn>
                      <a:cxn ang="0">
                        <a:pos x="632" y="278"/>
                      </a:cxn>
                      <a:cxn ang="0">
                        <a:pos x="660" y="282"/>
                      </a:cxn>
                      <a:cxn ang="0">
                        <a:pos x="668" y="272"/>
                      </a:cxn>
                    </a:cxnLst>
                    <a:rect l="0" t="0" r="r" b="b"/>
                    <a:pathLst>
                      <a:path w="736" h="358">
                        <a:moveTo>
                          <a:pt x="674" y="264"/>
                        </a:moveTo>
                        <a:lnTo>
                          <a:pt x="674" y="264"/>
                        </a:lnTo>
                        <a:lnTo>
                          <a:pt x="682" y="262"/>
                        </a:lnTo>
                        <a:lnTo>
                          <a:pt x="686" y="262"/>
                        </a:lnTo>
                        <a:lnTo>
                          <a:pt x="690" y="264"/>
                        </a:lnTo>
                        <a:lnTo>
                          <a:pt x="694" y="268"/>
                        </a:lnTo>
                        <a:lnTo>
                          <a:pt x="700" y="272"/>
                        </a:lnTo>
                        <a:lnTo>
                          <a:pt x="702" y="274"/>
                        </a:lnTo>
                        <a:lnTo>
                          <a:pt x="704" y="272"/>
                        </a:lnTo>
                        <a:lnTo>
                          <a:pt x="704" y="272"/>
                        </a:lnTo>
                        <a:lnTo>
                          <a:pt x="710" y="268"/>
                        </a:lnTo>
                        <a:lnTo>
                          <a:pt x="714" y="268"/>
                        </a:lnTo>
                        <a:lnTo>
                          <a:pt x="718" y="272"/>
                        </a:lnTo>
                        <a:lnTo>
                          <a:pt x="720" y="274"/>
                        </a:lnTo>
                        <a:lnTo>
                          <a:pt x="726" y="274"/>
                        </a:lnTo>
                        <a:lnTo>
                          <a:pt x="726" y="274"/>
                        </a:lnTo>
                        <a:lnTo>
                          <a:pt x="730" y="274"/>
                        </a:lnTo>
                        <a:lnTo>
                          <a:pt x="734" y="272"/>
                        </a:lnTo>
                        <a:lnTo>
                          <a:pt x="736" y="268"/>
                        </a:lnTo>
                        <a:lnTo>
                          <a:pt x="736" y="264"/>
                        </a:lnTo>
                        <a:lnTo>
                          <a:pt x="736" y="254"/>
                        </a:lnTo>
                        <a:lnTo>
                          <a:pt x="734" y="244"/>
                        </a:lnTo>
                        <a:lnTo>
                          <a:pt x="734" y="244"/>
                        </a:lnTo>
                        <a:lnTo>
                          <a:pt x="732" y="240"/>
                        </a:lnTo>
                        <a:lnTo>
                          <a:pt x="728" y="238"/>
                        </a:lnTo>
                        <a:lnTo>
                          <a:pt x="720" y="238"/>
                        </a:lnTo>
                        <a:lnTo>
                          <a:pt x="712" y="238"/>
                        </a:lnTo>
                        <a:lnTo>
                          <a:pt x="708" y="238"/>
                        </a:lnTo>
                        <a:lnTo>
                          <a:pt x="708" y="234"/>
                        </a:lnTo>
                        <a:lnTo>
                          <a:pt x="708" y="234"/>
                        </a:lnTo>
                        <a:lnTo>
                          <a:pt x="706" y="230"/>
                        </a:lnTo>
                        <a:lnTo>
                          <a:pt x="704" y="230"/>
                        </a:lnTo>
                        <a:lnTo>
                          <a:pt x="698" y="228"/>
                        </a:lnTo>
                        <a:lnTo>
                          <a:pt x="692" y="228"/>
                        </a:lnTo>
                        <a:lnTo>
                          <a:pt x="684" y="224"/>
                        </a:lnTo>
                        <a:lnTo>
                          <a:pt x="674" y="218"/>
                        </a:lnTo>
                        <a:lnTo>
                          <a:pt x="660" y="210"/>
                        </a:lnTo>
                        <a:lnTo>
                          <a:pt x="660" y="210"/>
                        </a:lnTo>
                        <a:lnTo>
                          <a:pt x="652" y="204"/>
                        </a:lnTo>
                        <a:lnTo>
                          <a:pt x="648" y="200"/>
                        </a:lnTo>
                        <a:lnTo>
                          <a:pt x="644" y="202"/>
                        </a:lnTo>
                        <a:lnTo>
                          <a:pt x="646" y="206"/>
                        </a:lnTo>
                        <a:lnTo>
                          <a:pt x="646" y="206"/>
                        </a:lnTo>
                        <a:lnTo>
                          <a:pt x="646" y="208"/>
                        </a:lnTo>
                        <a:lnTo>
                          <a:pt x="642" y="210"/>
                        </a:lnTo>
                        <a:lnTo>
                          <a:pt x="632" y="208"/>
                        </a:lnTo>
                        <a:lnTo>
                          <a:pt x="618" y="200"/>
                        </a:lnTo>
                        <a:lnTo>
                          <a:pt x="612" y="196"/>
                        </a:lnTo>
                        <a:lnTo>
                          <a:pt x="608" y="190"/>
                        </a:lnTo>
                        <a:lnTo>
                          <a:pt x="608" y="190"/>
                        </a:lnTo>
                        <a:lnTo>
                          <a:pt x="602" y="184"/>
                        </a:lnTo>
                        <a:lnTo>
                          <a:pt x="598" y="180"/>
                        </a:lnTo>
                        <a:lnTo>
                          <a:pt x="590" y="174"/>
                        </a:lnTo>
                        <a:lnTo>
                          <a:pt x="586" y="172"/>
                        </a:lnTo>
                        <a:lnTo>
                          <a:pt x="584" y="168"/>
                        </a:lnTo>
                        <a:lnTo>
                          <a:pt x="586" y="166"/>
                        </a:lnTo>
                        <a:lnTo>
                          <a:pt x="588" y="162"/>
                        </a:lnTo>
                        <a:lnTo>
                          <a:pt x="588" y="162"/>
                        </a:lnTo>
                        <a:lnTo>
                          <a:pt x="594" y="152"/>
                        </a:lnTo>
                        <a:lnTo>
                          <a:pt x="596" y="146"/>
                        </a:lnTo>
                        <a:lnTo>
                          <a:pt x="596" y="140"/>
                        </a:lnTo>
                        <a:lnTo>
                          <a:pt x="594" y="134"/>
                        </a:lnTo>
                        <a:lnTo>
                          <a:pt x="592" y="128"/>
                        </a:lnTo>
                        <a:lnTo>
                          <a:pt x="588" y="124"/>
                        </a:lnTo>
                        <a:lnTo>
                          <a:pt x="582" y="118"/>
                        </a:lnTo>
                        <a:lnTo>
                          <a:pt x="582" y="118"/>
                        </a:lnTo>
                        <a:lnTo>
                          <a:pt x="576" y="112"/>
                        </a:lnTo>
                        <a:lnTo>
                          <a:pt x="572" y="102"/>
                        </a:lnTo>
                        <a:lnTo>
                          <a:pt x="566" y="82"/>
                        </a:lnTo>
                        <a:lnTo>
                          <a:pt x="560" y="58"/>
                        </a:lnTo>
                        <a:lnTo>
                          <a:pt x="554" y="48"/>
                        </a:lnTo>
                        <a:lnTo>
                          <a:pt x="548" y="38"/>
                        </a:lnTo>
                        <a:lnTo>
                          <a:pt x="548" y="38"/>
                        </a:lnTo>
                        <a:lnTo>
                          <a:pt x="540" y="28"/>
                        </a:lnTo>
                        <a:lnTo>
                          <a:pt x="532" y="24"/>
                        </a:lnTo>
                        <a:lnTo>
                          <a:pt x="522" y="20"/>
                        </a:lnTo>
                        <a:lnTo>
                          <a:pt x="506" y="10"/>
                        </a:lnTo>
                        <a:lnTo>
                          <a:pt x="506" y="10"/>
                        </a:lnTo>
                        <a:lnTo>
                          <a:pt x="498" y="6"/>
                        </a:lnTo>
                        <a:lnTo>
                          <a:pt x="492" y="4"/>
                        </a:lnTo>
                        <a:lnTo>
                          <a:pt x="490" y="4"/>
                        </a:lnTo>
                        <a:lnTo>
                          <a:pt x="488" y="6"/>
                        </a:lnTo>
                        <a:lnTo>
                          <a:pt x="486" y="8"/>
                        </a:lnTo>
                        <a:lnTo>
                          <a:pt x="482" y="10"/>
                        </a:lnTo>
                        <a:lnTo>
                          <a:pt x="476" y="10"/>
                        </a:lnTo>
                        <a:lnTo>
                          <a:pt x="464" y="6"/>
                        </a:lnTo>
                        <a:lnTo>
                          <a:pt x="464" y="6"/>
                        </a:lnTo>
                        <a:lnTo>
                          <a:pt x="450" y="2"/>
                        </a:lnTo>
                        <a:lnTo>
                          <a:pt x="446" y="2"/>
                        </a:lnTo>
                        <a:lnTo>
                          <a:pt x="440" y="4"/>
                        </a:lnTo>
                        <a:lnTo>
                          <a:pt x="438" y="8"/>
                        </a:lnTo>
                        <a:lnTo>
                          <a:pt x="436" y="12"/>
                        </a:lnTo>
                        <a:lnTo>
                          <a:pt x="436" y="20"/>
                        </a:lnTo>
                        <a:lnTo>
                          <a:pt x="440" y="28"/>
                        </a:lnTo>
                        <a:lnTo>
                          <a:pt x="440" y="28"/>
                        </a:lnTo>
                        <a:lnTo>
                          <a:pt x="444" y="38"/>
                        </a:lnTo>
                        <a:lnTo>
                          <a:pt x="446" y="48"/>
                        </a:lnTo>
                        <a:lnTo>
                          <a:pt x="450" y="68"/>
                        </a:lnTo>
                        <a:lnTo>
                          <a:pt x="454" y="78"/>
                        </a:lnTo>
                        <a:lnTo>
                          <a:pt x="458" y="88"/>
                        </a:lnTo>
                        <a:lnTo>
                          <a:pt x="464" y="98"/>
                        </a:lnTo>
                        <a:lnTo>
                          <a:pt x="472" y="106"/>
                        </a:lnTo>
                        <a:lnTo>
                          <a:pt x="472" y="106"/>
                        </a:lnTo>
                        <a:lnTo>
                          <a:pt x="476" y="110"/>
                        </a:lnTo>
                        <a:lnTo>
                          <a:pt x="478" y="114"/>
                        </a:lnTo>
                        <a:lnTo>
                          <a:pt x="478" y="116"/>
                        </a:lnTo>
                        <a:lnTo>
                          <a:pt x="474" y="118"/>
                        </a:lnTo>
                        <a:lnTo>
                          <a:pt x="468" y="122"/>
                        </a:lnTo>
                        <a:lnTo>
                          <a:pt x="462" y="128"/>
                        </a:lnTo>
                        <a:lnTo>
                          <a:pt x="462" y="128"/>
                        </a:lnTo>
                        <a:lnTo>
                          <a:pt x="458" y="130"/>
                        </a:lnTo>
                        <a:lnTo>
                          <a:pt x="456" y="132"/>
                        </a:lnTo>
                        <a:lnTo>
                          <a:pt x="452" y="130"/>
                        </a:lnTo>
                        <a:lnTo>
                          <a:pt x="446" y="122"/>
                        </a:lnTo>
                        <a:lnTo>
                          <a:pt x="434" y="104"/>
                        </a:lnTo>
                        <a:lnTo>
                          <a:pt x="434" y="104"/>
                        </a:lnTo>
                        <a:lnTo>
                          <a:pt x="430" y="94"/>
                        </a:lnTo>
                        <a:lnTo>
                          <a:pt x="426" y="84"/>
                        </a:lnTo>
                        <a:lnTo>
                          <a:pt x="420" y="68"/>
                        </a:lnTo>
                        <a:lnTo>
                          <a:pt x="418" y="62"/>
                        </a:lnTo>
                        <a:lnTo>
                          <a:pt x="412" y="56"/>
                        </a:lnTo>
                        <a:lnTo>
                          <a:pt x="406" y="50"/>
                        </a:lnTo>
                        <a:lnTo>
                          <a:pt x="396" y="46"/>
                        </a:lnTo>
                        <a:lnTo>
                          <a:pt x="396" y="46"/>
                        </a:lnTo>
                        <a:lnTo>
                          <a:pt x="384" y="42"/>
                        </a:lnTo>
                        <a:lnTo>
                          <a:pt x="382" y="40"/>
                        </a:lnTo>
                        <a:lnTo>
                          <a:pt x="384" y="38"/>
                        </a:lnTo>
                        <a:lnTo>
                          <a:pt x="384" y="36"/>
                        </a:lnTo>
                        <a:lnTo>
                          <a:pt x="384" y="34"/>
                        </a:lnTo>
                        <a:lnTo>
                          <a:pt x="380" y="32"/>
                        </a:lnTo>
                        <a:lnTo>
                          <a:pt x="372" y="30"/>
                        </a:lnTo>
                        <a:lnTo>
                          <a:pt x="372" y="30"/>
                        </a:lnTo>
                        <a:lnTo>
                          <a:pt x="354" y="26"/>
                        </a:lnTo>
                        <a:lnTo>
                          <a:pt x="340" y="26"/>
                        </a:lnTo>
                        <a:lnTo>
                          <a:pt x="338" y="28"/>
                        </a:lnTo>
                        <a:lnTo>
                          <a:pt x="338" y="30"/>
                        </a:lnTo>
                        <a:lnTo>
                          <a:pt x="340" y="32"/>
                        </a:lnTo>
                        <a:lnTo>
                          <a:pt x="346" y="36"/>
                        </a:lnTo>
                        <a:lnTo>
                          <a:pt x="346" y="36"/>
                        </a:lnTo>
                        <a:lnTo>
                          <a:pt x="352" y="40"/>
                        </a:lnTo>
                        <a:lnTo>
                          <a:pt x="356" y="44"/>
                        </a:lnTo>
                        <a:lnTo>
                          <a:pt x="358" y="46"/>
                        </a:lnTo>
                        <a:lnTo>
                          <a:pt x="356" y="48"/>
                        </a:lnTo>
                        <a:lnTo>
                          <a:pt x="356" y="52"/>
                        </a:lnTo>
                        <a:lnTo>
                          <a:pt x="362" y="54"/>
                        </a:lnTo>
                        <a:lnTo>
                          <a:pt x="362" y="54"/>
                        </a:lnTo>
                        <a:lnTo>
                          <a:pt x="372" y="58"/>
                        </a:lnTo>
                        <a:lnTo>
                          <a:pt x="376" y="62"/>
                        </a:lnTo>
                        <a:lnTo>
                          <a:pt x="376" y="64"/>
                        </a:lnTo>
                        <a:lnTo>
                          <a:pt x="372" y="64"/>
                        </a:lnTo>
                        <a:lnTo>
                          <a:pt x="354" y="60"/>
                        </a:lnTo>
                        <a:lnTo>
                          <a:pt x="354" y="60"/>
                        </a:lnTo>
                        <a:lnTo>
                          <a:pt x="344" y="60"/>
                        </a:lnTo>
                        <a:lnTo>
                          <a:pt x="336" y="62"/>
                        </a:lnTo>
                        <a:lnTo>
                          <a:pt x="332" y="66"/>
                        </a:lnTo>
                        <a:lnTo>
                          <a:pt x="330" y="70"/>
                        </a:lnTo>
                        <a:lnTo>
                          <a:pt x="328" y="76"/>
                        </a:lnTo>
                        <a:lnTo>
                          <a:pt x="326" y="78"/>
                        </a:lnTo>
                        <a:lnTo>
                          <a:pt x="322" y="78"/>
                        </a:lnTo>
                        <a:lnTo>
                          <a:pt x="318" y="74"/>
                        </a:lnTo>
                        <a:lnTo>
                          <a:pt x="318" y="74"/>
                        </a:lnTo>
                        <a:lnTo>
                          <a:pt x="314" y="68"/>
                        </a:lnTo>
                        <a:lnTo>
                          <a:pt x="314" y="64"/>
                        </a:lnTo>
                        <a:lnTo>
                          <a:pt x="318" y="56"/>
                        </a:lnTo>
                        <a:lnTo>
                          <a:pt x="318" y="52"/>
                        </a:lnTo>
                        <a:lnTo>
                          <a:pt x="316" y="48"/>
                        </a:lnTo>
                        <a:lnTo>
                          <a:pt x="310" y="44"/>
                        </a:lnTo>
                        <a:lnTo>
                          <a:pt x="296" y="40"/>
                        </a:lnTo>
                        <a:lnTo>
                          <a:pt x="296" y="40"/>
                        </a:lnTo>
                        <a:lnTo>
                          <a:pt x="268" y="34"/>
                        </a:lnTo>
                        <a:lnTo>
                          <a:pt x="250" y="30"/>
                        </a:lnTo>
                        <a:lnTo>
                          <a:pt x="238" y="32"/>
                        </a:lnTo>
                        <a:lnTo>
                          <a:pt x="230" y="36"/>
                        </a:lnTo>
                        <a:lnTo>
                          <a:pt x="230" y="36"/>
                        </a:lnTo>
                        <a:lnTo>
                          <a:pt x="224" y="38"/>
                        </a:lnTo>
                        <a:lnTo>
                          <a:pt x="224" y="42"/>
                        </a:lnTo>
                        <a:lnTo>
                          <a:pt x="226" y="46"/>
                        </a:lnTo>
                        <a:lnTo>
                          <a:pt x="224" y="48"/>
                        </a:lnTo>
                        <a:lnTo>
                          <a:pt x="220" y="50"/>
                        </a:lnTo>
                        <a:lnTo>
                          <a:pt x="198" y="58"/>
                        </a:lnTo>
                        <a:lnTo>
                          <a:pt x="198" y="58"/>
                        </a:lnTo>
                        <a:lnTo>
                          <a:pt x="190" y="60"/>
                        </a:lnTo>
                        <a:lnTo>
                          <a:pt x="186" y="60"/>
                        </a:lnTo>
                        <a:lnTo>
                          <a:pt x="192" y="54"/>
                        </a:lnTo>
                        <a:lnTo>
                          <a:pt x="204" y="44"/>
                        </a:lnTo>
                        <a:lnTo>
                          <a:pt x="206" y="40"/>
                        </a:lnTo>
                        <a:lnTo>
                          <a:pt x="206" y="36"/>
                        </a:lnTo>
                        <a:lnTo>
                          <a:pt x="206" y="36"/>
                        </a:lnTo>
                        <a:lnTo>
                          <a:pt x="206" y="32"/>
                        </a:lnTo>
                        <a:lnTo>
                          <a:pt x="206" y="28"/>
                        </a:lnTo>
                        <a:lnTo>
                          <a:pt x="208" y="20"/>
                        </a:lnTo>
                        <a:lnTo>
                          <a:pt x="208" y="16"/>
                        </a:lnTo>
                        <a:lnTo>
                          <a:pt x="208" y="12"/>
                        </a:lnTo>
                        <a:lnTo>
                          <a:pt x="204" y="8"/>
                        </a:lnTo>
                        <a:lnTo>
                          <a:pt x="196" y="2"/>
                        </a:lnTo>
                        <a:lnTo>
                          <a:pt x="196" y="2"/>
                        </a:lnTo>
                        <a:lnTo>
                          <a:pt x="186" y="0"/>
                        </a:lnTo>
                        <a:lnTo>
                          <a:pt x="176" y="0"/>
                        </a:lnTo>
                        <a:lnTo>
                          <a:pt x="162" y="4"/>
                        </a:lnTo>
                        <a:lnTo>
                          <a:pt x="150" y="8"/>
                        </a:lnTo>
                        <a:lnTo>
                          <a:pt x="122" y="18"/>
                        </a:lnTo>
                        <a:lnTo>
                          <a:pt x="100" y="26"/>
                        </a:lnTo>
                        <a:lnTo>
                          <a:pt x="100" y="26"/>
                        </a:lnTo>
                        <a:lnTo>
                          <a:pt x="82" y="32"/>
                        </a:lnTo>
                        <a:lnTo>
                          <a:pt x="66" y="40"/>
                        </a:lnTo>
                        <a:lnTo>
                          <a:pt x="32" y="60"/>
                        </a:lnTo>
                        <a:lnTo>
                          <a:pt x="32" y="60"/>
                        </a:lnTo>
                        <a:lnTo>
                          <a:pt x="24" y="66"/>
                        </a:lnTo>
                        <a:lnTo>
                          <a:pt x="22" y="70"/>
                        </a:lnTo>
                        <a:lnTo>
                          <a:pt x="22" y="72"/>
                        </a:lnTo>
                        <a:lnTo>
                          <a:pt x="26" y="74"/>
                        </a:lnTo>
                        <a:lnTo>
                          <a:pt x="36" y="78"/>
                        </a:lnTo>
                        <a:lnTo>
                          <a:pt x="40" y="80"/>
                        </a:lnTo>
                        <a:lnTo>
                          <a:pt x="42" y="82"/>
                        </a:lnTo>
                        <a:lnTo>
                          <a:pt x="42" y="82"/>
                        </a:lnTo>
                        <a:lnTo>
                          <a:pt x="42" y="86"/>
                        </a:lnTo>
                        <a:lnTo>
                          <a:pt x="40" y="86"/>
                        </a:lnTo>
                        <a:lnTo>
                          <a:pt x="32" y="90"/>
                        </a:lnTo>
                        <a:lnTo>
                          <a:pt x="20" y="94"/>
                        </a:lnTo>
                        <a:lnTo>
                          <a:pt x="16" y="98"/>
                        </a:lnTo>
                        <a:lnTo>
                          <a:pt x="10" y="104"/>
                        </a:lnTo>
                        <a:lnTo>
                          <a:pt x="10" y="104"/>
                        </a:lnTo>
                        <a:lnTo>
                          <a:pt x="4" y="110"/>
                        </a:lnTo>
                        <a:lnTo>
                          <a:pt x="2" y="116"/>
                        </a:lnTo>
                        <a:lnTo>
                          <a:pt x="0" y="122"/>
                        </a:lnTo>
                        <a:lnTo>
                          <a:pt x="0" y="126"/>
                        </a:lnTo>
                        <a:lnTo>
                          <a:pt x="2" y="130"/>
                        </a:lnTo>
                        <a:lnTo>
                          <a:pt x="6" y="132"/>
                        </a:lnTo>
                        <a:lnTo>
                          <a:pt x="10" y="132"/>
                        </a:lnTo>
                        <a:lnTo>
                          <a:pt x="14" y="130"/>
                        </a:lnTo>
                        <a:lnTo>
                          <a:pt x="14" y="130"/>
                        </a:lnTo>
                        <a:lnTo>
                          <a:pt x="20" y="128"/>
                        </a:lnTo>
                        <a:lnTo>
                          <a:pt x="24" y="126"/>
                        </a:lnTo>
                        <a:lnTo>
                          <a:pt x="26" y="128"/>
                        </a:lnTo>
                        <a:lnTo>
                          <a:pt x="28" y="130"/>
                        </a:lnTo>
                        <a:lnTo>
                          <a:pt x="30" y="138"/>
                        </a:lnTo>
                        <a:lnTo>
                          <a:pt x="34" y="146"/>
                        </a:lnTo>
                        <a:lnTo>
                          <a:pt x="34" y="146"/>
                        </a:lnTo>
                        <a:lnTo>
                          <a:pt x="38" y="150"/>
                        </a:lnTo>
                        <a:lnTo>
                          <a:pt x="44" y="150"/>
                        </a:lnTo>
                        <a:lnTo>
                          <a:pt x="64" y="150"/>
                        </a:lnTo>
                        <a:lnTo>
                          <a:pt x="88" y="144"/>
                        </a:lnTo>
                        <a:lnTo>
                          <a:pt x="104" y="140"/>
                        </a:lnTo>
                        <a:lnTo>
                          <a:pt x="104" y="140"/>
                        </a:lnTo>
                        <a:lnTo>
                          <a:pt x="116" y="140"/>
                        </a:lnTo>
                        <a:lnTo>
                          <a:pt x="120" y="142"/>
                        </a:lnTo>
                        <a:lnTo>
                          <a:pt x="122" y="144"/>
                        </a:lnTo>
                        <a:lnTo>
                          <a:pt x="120" y="146"/>
                        </a:lnTo>
                        <a:lnTo>
                          <a:pt x="114" y="150"/>
                        </a:lnTo>
                        <a:lnTo>
                          <a:pt x="98" y="156"/>
                        </a:lnTo>
                        <a:lnTo>
                          <a:pt x="76" y="160"/>
                        </a:lnTo>
                        <a:lnTo>
                          <a:pt x="76" y="160"/>
                        </a:lnTo>
                        <a:lnTo>
                          <a:pt x="46" y="168"/>
                        </a:lnTo>
                        <a:lnTo>
                          <a:pt x="38" y="170"/>
                        </a:lnTo>
                        <a:lnTo>
                          <a:pt x="34" y="174"/>
                        </a:lnTo>
                        <a:lnTo>
                          <a:pt x="32" y="178"/>
                        </a:lnTo>
                        <a:lnTo>
                          <a:pt x="34" y="182"/>
                        </a:lnTo>
                        <a:lnTo>
                          <a:pt x="38" y="188"/>
                        </a:lnTo>
                        <a:lnTo>
                          <a:pt x="44" y="192"/>
                        </a:lnTo>
                        <a:lnTo>
                          <a:pt x="44" y="192"/>
                        </a:lnTo>
                        <a:lnTo>
                          <a:pt x="56" y="202"/>
                        </a:lnTo>
                        <a:lnTo>
                          <a:pt x="66" y="206"/>
                        </a:lnTo>
                        <a:lnTo>
                          <a:pt x="76" y="206"/>
                        </a:lnTo>
                        <a:lnTo>
                          <a:pt x="94" y="204"/>
                        </a:lnTo>
                        <a:lnTo>
                          <a:pt x="94" y="204"/>
                        </a:lnTo>
                        <a:lnTo>
                          <a:pt x="110" y="204"/>
                        </a:lnTo>
                        <a:lnTo>
                          <a:pt x="120" y="206"/>
                        </a:lnTo>
                        <a:lnTo>
                          <a:pt x="132" y="208"/>
                        </a:lnTo>
                        <a:lnTo>
                          <a:pt x="152" y="208"/>
                        </a:lnTo>
                        <a:lnTo>
                          <a:pt x="152" y="208"/>
                        </a:lnTo>
                        <a:lnTo>
                          <a:pt x="176" y="206"/>
                        </a:lnTo>
                        <a:lnTo>
                          <a:pt x="194" y="202"/>
                        </a:lnTo>
                        <a:lnTo>
                          <a:pt x="210" y="202"/>
                        </a:lnTo>
                        <a:lnTo>
                          <a:pt x="220" y="202"/>
                        </a:lnTo>
                        <a:lnTo>
                          <a:pt x="232" y="204"/>
                        </a:lnTo>
                        <a:lnTo>
                          <a:pt x="232" y="204"/>
                        </a:lnTo>
                        <a:lnTo>
                          <a:pt x="250" y="208"/>
                        </a:lnTo>
                        <a:lnTo>
                          <a:pt x="262" y="210"/>
                        </a:lnTo>
                        <a:lnTo>
                          <a:pt x="268" y="210"/>
                        </a:lnTo>
                        <a:lnTo>
                          <a:pt x="276" y="214"/>
                        </a:lnTo>
                        <a:lnTo>
                          <a:pt x="276" y="214"/>
                        </a:lnTo>
                        <a:lnTo>
                          <a:pt x="290" y="220"/>
                        </a:lnTo>
                        <a:lnTo>
                          <a:pt x="302" y="226"/>
                        </a:lnTo>
                        <a:lnTo>
                          <a:pt x="306" y="228"/>
                        </a:lnTo>
                        <a:lnTo>
                          <a:pt x="306" y="230"/>
                        </a:lnTo>
                        <a:lnTo>
                          <a:pt x="294" y="230"/>
                        </a:lnTo>
                        <a:lnTo>
                          <a:pt x="294" y="230"/>
                        </a:lnTo>
                        <a:lnTo>
                          <a:pt x="280" y="230"/>
                        </a:lnTo>
                        <a:lnTo>
                          <a:pt x="276" y="232"/>
                        </a:lnTo>
                        <a:lnTo>
                          <a:pt x="268" y="232"/>
                        </a:lnTo>
                        <a:lnTo>
                          <a:pt x="246" y="230"/>
                        </a:lnTo>
                        <a:lnTo>
                          <a:pt x="246" y="230"/>
                        </a:lnTo>
                        <a:lnTo>
                          <a:pt x="210" y="228"/>
                        </a:lnTo>
                        <a:lnTo>
                          <a:pt x="168" y="230"/>
                        </a:lnTo>
                        <a:lnTo>
                          <a:pt x="126" y="234"/>
                        </a:lnTo>
                        <a:lnTo>
                          <a:pt x="90" y="240"/>
                        </a:lnTo>
                        <a:lnTo>
                          <a:pt x="90" y="240"/>
                        </a:lnTo>
                        <a:lnTo>
                          <a:pt x="76" y="244"/>
                        </a:lnTo>
                        <a:lnTo>
                          <a:pt x="70" y="250"/>
                        </a:lnTo>
                        <a:lnTo>
                          <a:pt x="70" y="252"/>
                        </a:lnTo>
                        <a:lnTo>
                          <a:pt x="70" y="254"/>
                        </a:lnTo>
                        <a:lnTo>
                          <a:pt x="72" y="262"/>
                        </a:lnTo>
                        <a:lnTo>
                          <a:pt x="78" y="268"/>
                        </a:lnTo>
                        <a:lnTo>
                          <a:pt x="86" y="274"/>
                        </a:lnTo>
                        <a:lnTo>
                          <a:pt x="100" y="290"/>
                        </a:lnTo>
                        <a:lnTo>
                          <a:pt x="100" y="290"/>
                        </a:lnTo>
                        <a:lnTo>
                          <a:pt x="110" y="296"/>
                        </a:lnTo>
                        <a:lnTo>
                          <a:pt x="122" y="300"/>
                        </a:lnTo>
                        <a:lnTo>
                          <a:pt x="138" y="302"/>
                        </a:lnTo>
                        <a:lnTo>
                          <a:pt x="156" y="304"/>
                        </a:lnTo>
                        <a:lnTo>
                          <a:pt x="190" y="304"/>
                        </a:lnTo>
                        <a:lnTo>
                          <a:pt x="214" y="304"/>
                        </a:lnTo>
                        <a:lnTo>
                          <a:pt x="214" y="304"/>
                        </a:lnTo>
                        <a:lnTo>
                          <a:pt x="220" y="306"/>
                        </a:lnTo>
                        <a:lnTo>
                          <a:pt x="222" y="308"/>
                        </a:lnTo>
                        <a:lnTo>
                          <a:pt x="224" y="314"/>
                        </a:lnTo>
                        <a:lnTo>
                          <a:pt x="224" y="320"/>
                        </a:lnTo>
                        <a:lnTo>
                          <a:pt x="222" y="332"/>
                        </a:lnTo>
                        <a:lnTo>
                          <a:pt x="222" y="338"/>
                        </a:lnTo>
                        <a:lnTo>
                          <a:pt x="224" y="342"/>
                        </a:lnTo>
                        <a:lnTo>
                          <a:pt x="224" y="342"/>
                        </a:lnTo>
                        <a:lnTo>
                          <a:pt x="232" y="350"/>
                        </a:lnTo>
                        <a:lnTo>
                          <a:pt x="238" y="356"/>
                        </a:lnTo>
                        <a:lnTo>
                          <a:pt x="246" y="358"/>
                        </a:lnTo>
                        <a:lnTo>
                          <a:pt x="260" y="358"/>
                        </a:lnTo>
                        <a:lnTo>
                          <a:pt x="260" y="358"/>
                        </a:lnTo>
                        <a:lnTo>
                          <a:pt x="282" y="358"/>
                        </a:lnTo>
                        <a:lnTo>
                          <a:pt x="300" y="358"/>
                        </a:lnTo>
                        <a:lnTo>
                          <a:pt x="314" y="358"/>
                        </a:lnTo>
                        <a:lnTo>
                          <a:pt x="324" y="356"/>
                        </a:lnTo>
                        <a:lnTo>
                          <a:pt x="324" y="356"/>
                        </a:lnTo>
                        <a:lnTo>
                          <a:pt x="342" y="352"/>
                        </a:lnTo>
                        <a:lnTo>
                          <a:pt x="370" y="348"/>
                        </a:lnTo>
                        <a:lnTo>
                          <a:pt x="398" y="342"/>
                        </a:lnTo>
                        <a:lnTo>
                          <a:pt x="412" y="338"/>
                        </a:lnTo>
                        <a:lnTo>
                          <a:pt x="420" y="332"/>
                        </a:lnTo>
                        <a:lnTo>
                          <a:pt x="420" y="332"/>
                        </a:lnTo>
                        <a:lnTo>
                          <a:pt x="428" y="328"/>
                        </a:lnTo>
                        <a:lnTo>
                          <a:pt x="436" y="326"/>
                        </a:lnTo>
                        <a:lnTo>
                          <a:pt x="450" y="326"/>
                        </a:lnTo>
                        <a:lnTo>
                          <a:pt x="462" y="324"/>
                        </a:lnTo>
                        <a:lnTo>
                          <a:pt x="470" y="322"/>
                        </a:lnTo>
                        <a:lnTo>
                          <a:pt x="478" y="318"/>
                        </a:lnTo>
                        <a:lnTo>
                          <a:pt x="478" y="318"/>
                        </a:lnTo>
                        <a:lnTo>
                          <a:pt x="486" y="312"/>
                        </a:lnTo>
                        <a:lnTo>
                          <a:pt x="488" y="308"/>
                        </a:lnTo>
                        <a:lnTo>
                          <a:pt x="490" y="304"/>
                        </a:lnTo>
                        <a:lnTo>
                          <a:pt x="490" y="302"/>
                        </a:lnTo>
                        <a:lnTo>
                          <a:pt x="490" y="300"/>
                        </a:lnTo>
                        <a:lnTo>
                          <a:pt x="490" y="296"/>
                        </a:lnTo>
                        <a:lnTo>
                          <a:pt x="494" y="294"/>
                        </a:lnTo>
                        <a:lnTo>
                          <a:pt x="500" y="290"/>
                        </a:lnTo>
                        <a:lnTo>
                          <a:pt x="500" y="290"/>
                        </a:lnTo>
                        <a:lnTo>
                          <a:pt x="506" y="288"/>
                        </a:lnTo>
                        <a:lnTo>
                          <a:pt x="512" y="290"/>
                        </a:lnTo>
                        <a:lnTo>
                          <a:pt x="514" y="292"/>
                        </a:lnTo>
                        <a:lnTo>
                          <a:pt x="516" y="294"/>
                        </a:lnTo>
                        <a:lnTo>
                          <a:pt x="514" y="304"/>
                        </a:lnTo>
                        <a:lnTo>
                          <a:pt x="514" y="304"/>
                        </a:lnTo>
                        <a:lnTo>
                          <a:pt x="514" y="312"/>
                        </a:lnTo>
                        <a:lnTo>
                          <a:pt x="514" y="312"/>
                        </a:lnTo>
                        <a:lnTo>
                          <a:pt x="518" y="312"/>
                        </a:lnTo>
                        <a:lnTo>
                          <a:pt x="530" y="310"/>
                        </a:lnTo>
                        <a:lnTo>
                          <a:pt x="540" y="312"/>
                        </a:lnTo>
                        <a:lnTo>
                          <a:pt x="554" y="314"/>
                        </a:lnTo>
                        <a:lnTo>
                          <a:pt x="554" y="314"/>
                        </a:lnTo>
                        <a:lnTo>
                          <a:pt x="564" y="318"/>
                        </a:lnTo>
                        <a:lnTo>
                          <a:pt x="568" y="320"/>
                        </a:lnTo>
                        <a:lnTo>
                          <a:pt x="568" y="322"/>
                        </a:lnTo>
                        <a:lnTo>
                          <a:pt x="566" y="322"/>
                        </a:lnTo>
                        <a:lnTo>
                          <a:pt x="560" y="324"/>
                        </a:lnTo>
                        <a:lnTo>
                          <a:pt x="562" y="326"/>
                        </a:lnTo>
                        <a:lnTo>
                          <a:pt x="568" y="330"/>
                        </a:lnTo>
                        <a:lnTo>
                          <a:pt x="568" y="330"/>
                        </a:lnTo>
                        <a:lnTo>
                          <a:pt x="576" y="332"/>
                        </a:lnTo>
                        <a:lnTo>
                          <a:pt x="582" y="332"/>
                        </a:lnTo>
                        <a:lnTo>
                          <a:pt x="588" y="330"/>
                        </a:lnTo>
                        <a:lnTo>
                          <a:pt x="592" y="328"/>
                        </a:lnTo>
                        <a:lnTo>
                          <a:pt x="596" y="328"/>
                        </a:lnTo>
                        <a:lnTo>
                          <a:pt x="602" y="328"/>
                        </a:lnTo>
                        <a:lnTo>
                          <a:pt x="612" y="332"/>
                        </a:lnTo>
                        <a:lnTo>
                          <a:pt x="612" y="332"/>
                        </a:lnTo>
                        <a:lnTo>
                          <a:pt x="628" y="336"/>
                        </a:lnTo>
                        <a:lnTo>
                          <a:pt x="636" y="336"/>
                        </a:lnTo>
                        <a:lnTo>
                          <a:pt x="640" y="334"/>
                        </a:lnTo>
                        <a:lnTo>
                          <a:pt x="648" y="336"/>
                        </a:lnTo>
                        <a:lnTo>
                          <a:pt x="648" y="336"/>
                        </a:lnTo>
                        <a:lnTo>
                          <a:pt x="654" y="336"/>
                        </a:lnTo>
                        <a:lnTo>
                          <a:pt x="658" y="336"/>
                        </a:lnTo>
                        <a:lnTo>
                          <a:pt x="668" y="332"/>
                        </a:lnTo>
                        <a:lnTo>
                          <a:pt x="676" y="326"/>
                        </a:lnTo>
                        <a:lnTo>
                          <a:pt x="680" y="324"/>
                        </a:lnTo>
                        <a:lnTo>
                          <a:pt x="686" y="324"/>
                        </a:lnTo>
                        <a:lnTo>
                          <a:pt x="686" y="324"/>
                        </a:lnTo>
                        <a:lnTo>
                          <a:pt x="694" y="322"/>
                        </a:lnTo>
                        <a:lnTo>
                          <a:pt x="700" y="316"/>
                        </a:lnTo>
                        <a:lnTo>
                          <a:pt x="702" y="314"/>
                        </a:lnTo>
                        <a:lnTo>
                          <a:pt x="702" y="310"/>
                        </a:lnTo>
                        <a:lnTo>
                          <a:pt x="700" y="306"/>
                        </a:lnTo>
                        <a:lnTo>
                          <a:pt x="696" y="304"/>
                        </a:lnTo>
                        <a:lnTo>
                          <a:pt x="696" y="304"/>
                        </a:lnTo>
                        <a:lnTo>
                          <a:pt x="692" y="300"/>
                        </a:lnTo>
                        <a:lnTo>
                          <a:pt x="690" y="298"/>
                        </a:lnTo>
                        <a:lnTo>
                          <a:pt x="692" y="294"/>
                        </a:lnTo>
                        <a:lnTo>
                          <a:pt x="694" y="290"/>
                        </a:lnTo>
                        <a:lnTo>
                          <a:pt x="692" y="288"/>
                        </a:lnTo>
                        <a:lnTo>
                          <a:pt x="688" y="286"/>
                        </a:lnTo>
                        <a:lnTo>
                          <a:pt x="688" y="286"/>
                        </a:lnTo>
                        <a:lnTo>
                          <a:pt x="682" y="286"/>
                        </a:lnTo>
                        <a:lnTo>
                          <a:pt x="674" y="288"/>
                        </a:lnTo>
                        <a:lnTo>
                          <a:pt x="660" y="296"/>
                        </a:lnTo>
                        <a:lnTo>
                          <a:pt x="648" y="300"/>
                        </a:lnTo>
                        <a:lnTo>
                          <a:pt x="648" y="300"/>
                        </a:lnTo>
                        <a:lnTo>
                          <a:pt x="650" y="296"/>
                        </a:lnTo>
                        <a:lnTo>
                          <a:pt x="650" y="296"/>
                        </a:lnTo>
                        <a:lnTo>
                          <a:pt x="652" y="290"/>
                        </a:lnTo>
                        <a:lnTo>
                          <a:pt x="650" y="286"/>
                        </a:lnTo>
                        <a:lnTo>
                          <a:pt x="646" y="284"/>
                        </a:lnTo>
                        <a:lnTo>
                          <a:pt x="642" y="280"/>
                        </a:lnTo>
                        <a:lnTo>
                          <a:pt x="632" y="278"/>
                        </a:lnTo>
                        <a:lnTo>
                          <a:pt x="630" y="276"/>
                        </a:lnTo>
                        <a:lnTo>
                          <a:pt x="632" y="274"/>
                        </a:lnTo>
                        <a:lnTo>
                          <a:pt x="632" y="274"/>
                        </a:lnTo>
                        <a:lnTo>
                          <a:pt x="634" y="272"/>
                        </a:lnTo>
                        <a:lnTo>
                          <a:pt x="638" y="272"/>
                        </a:lnTo>
                        <a:lnTo>
                          <a:pt x="650" y="278"/>
                        </a:lnTo>
                        <a:lnTo>
                          <a:pt x="660" y="282"/>
                        </a:lnTo>
                        <a:lnTo>
                          <a:pt x="666" y="282"/>
                        </a:lnTo>
                        <a:lnTo>
                          <a:pt x="670" y="280"/>
                        </a:lnTo>
                        <a:lnTo>
                          <a:pt x="670" y="280"/>
                        </a:lnTo>
                        <a:lnTo>
                          <a:pt x="672" y="278"/>
                        </a:lnTo>
                        <a:lnTo>
                          <a:pt x="672" y="276"/>
                        </a:lnTo>
                        <a:lnTo>
                          <a:pt x="670" y="272"/>
                        </a:lnTo>
                        <a:lnTo>
                          <a:pt x="668" y="272"/>
                        </a:lnTo>
                        <a:lnTo>
                          <a:pt x="668" y="270"/>
                        </a:lnTo>
                        <a:lnTo>
                          <a:pt x="670" y="266"/>
                        </a:lnTo>
                        <a:lnTo>
                          <a:pt x="674" y="264"/>
                        </a:lnTo>
                        <a:lnTo>
                          <a:pt x="674" y="26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6" name="Freeform 6115"/>
                  <p:cNvSpPr>
                    <a:spLocks/>
                  </p:cNvSpPr>
                  <p:nvPr/>
                </p:nvSpPr>
                <p:spPr bwMode="auto">
                  <a:xfrm>
                    <a:off x="1776730" y="1203643"/>
                    <a:ext cx="165100" cy="125730"/>
                  </a:xfrm>
                  <a:custGeom>
                    <a:avLst/>
                    <a:gdLst/>
                    <a:ahLst/>
                    <a:cxnLst>
                      <a:cxn ang="0">
                        <a:pos x="256" y="98"/>
                      </a:cxn>
                      <a:cxn ang="0">
                        <a:pos x="250" y="90"/>
                      </a:cxn>
                      <a:cxn ang="0">
                        <a:pos x="242" y="92"/>
                      </a:cxn>
                      <a:cxn ang="0">
                        <a:pos x="234" y="94"/>
                      </a:cxn>
                      <a:cxn ang="0">
                        <a:pos x="222" y="84"/>
                      </a:cxn>
                      <a:cxn ang="0">
                        <a:pos x="216" y="74"/>
                      </a:cxn>
                      <a:cxn ang="0">
                        <a:pos x="192" y="60"/>
                      </a:cxn>
                      <a:cxn ang="0">
                        <a:pos x="188" y="56"/>
                      </a:cxn>
                      <a:cxn ang="0">
                        <a:pos x="196" y="52"/>
                      </a:cxn>
                      <a:cxn ang="0">
                        <a:pos x="208" y="48"/>
                      </a:cxn>
                      <a:cxn ang="0">
                        <a:pos x="226" y="42"/>
                      </a:cxn>
                      <a:cxn ang="0">
                        <a:pos x="222" y="38"/>
                      </a:cxn>
                      <a:cxn ang="0">
                        <a:pos x="216" y="32"/>
                      </a:cxn>
                      <a:cxn ang="0">
                        <a:pos x="222" y="24"/>
                      </a:cxn>
                      <a:cxn ang="0">
                        <a:pos x="230" y="20"/>
                      </a:cxn>
                      <a:cxn ang="0">
                        <a:pos x="230" y="10"/>
                      </a:cxn>
                      <a:cxn ang="0">
                        <a:pos x="218" y="4"/>
                      </a:cxn>
                      <a:cxn ang="0">
                        <a:pos x="194" y="4"/>
                      </a:cxn>
                      <a:cxn ang="0">
                        <a:pos x="180" y="8"/>
                      </a:cxn>
                      <a:cxn ang="0">
                        <a:pos x="152" y="12"/>
                      </a:cxn>
                      <a:cxn ang="0">
                        <a:pos x="130" y="6"/>
                      </a:cxn>
                      <a:cxn ang="0">
                        <a:pos x="110" y="0"/>
                      </a:cxn>
                      <a:cxn ang="0">
                        <a:pos x="86" y="4"/>
                      </a:cxn>
                      <a:cxn ang="0">
                        <a:pos x="64" y="14"/>
                      </a:cxn>
                      <a:cxn ang="0">
                        <a:pos x="50" y="24"/>
                      </a:cxn>
                      <a:cxn ang="0">
                        <a:pos x="48" y="34"/>
                      </a:cxn>
                      <a:cxn ang="0">
                        <a:pos x="62" y="44"/>
                      </a:cxn>
                      <a:cxn ang="0">
                        <a:pos x="70" y="48"/>
                      </a:cxn>
                      <a:cxn ang="0">
                        <a:pos x="88" y="58"/>
                      </a:cxn>
                      <a:cxn ang="0">
                        <a:pos x="96" y="68"/>
                      </a:cxn>
                      <a:cxn ang="0">
                        <a:pos x="92" y="78"/>
                      </a:cxn>
                      <a:cxn ang="0">
                        <a:pos x="78" y="88"/>
                      </a:cxn>
                      <a:cxn ang="0">
                        <a:pos x="74" y="88"/>
                      </a:cxn>
                      <a:cxn ang="0">
                        <a:pos x="58" y="86"/>
                      </a:cxn>
                      <a:cxn ang="0">
                        <a:pos x="38" y="74"/>
                      </a:cxn>
                      <a:cxn ang="0">
                        <a:pos x="20" y="64"/>
                      </a:cxn>
                      <a:cxn ang="0">
                        <a:pos x="10" y="64"/>
                      </a:cxn>
                      <a:cxn ang="0">
                        <a:pos x="2" y="72"/>
                      </a:cxn>
                      <a:cxn ang="0">
                        <a:pos x="0" y="78"/>
                      </a:cxn>
                      <a:cxn ang="0">
                        <a:pos x="6" y="94"/>
                      </a:cxn>
                      <a:cxn ang="0">
                        <a:pos x="26" y="110"/>
                      </a:cxn>
                      <a:cxn ang="0">
                        <a:pos x="56" y="124"/>
                      </a:cxn>
                      <a:cxn ang="0">
                        <a:pos x="74" y="132"/>
                      </a:cxn>
                      <a:cxn ang="0">
                        <a:pos x="104" y="148"/>
                      </a:cxn>
                      <a:cxn ang="0">
                        <a:pos x="124" y="168"/>
                      </a:cxn>
                      <a:cxn ang="0">
                        <a:pos x="150" y="194"/>
                      </a:cxn>
                      <a:cxn ang="0">
                        <a:pos x="162" y="198"/>
                      </a:cxn>
                      <a:cxn ang="0">
                        <a:pos x="176" y="194"/>
                      </a:cxn>
                      <a:cxn ang="0">
                        <a:pos x="180" y="184"/>
                      </a:cxn>
                      <a:cxn ang="0">
                        <a:pos x="182" y="174"/>
                      </a:cxn>
                      <a:cxn ang="0">
                        <a:pos x="192" y="170"/>
                      </a:cxn>
                      <a:cxn ang="0">
                        <a:pos x="200" y="172"/>
                      </a:cxn>
                      <a:cxn ang="0">
                        <a:pos x="220" y="170"/>
                      </a:cxn>
                      <a:cxn ang="0">
                        <a:pos x="238" y="162"/>
                      </a:cxn>
                      <a:cxn ang="0">
                        <a:pos x="250" y="148"/>
                      </a:cxn>
                      <a:cxn ang="0">
                        <a:pos x="252" y="138"/>
                      </a:cxn>
                      <a:cxn ang="0">
                        <a:pos x="252" y="124"/>
                      </a:cxn>
                      <a:cxn ang="0">
                        <a:pos x="258" y="114"/>
                      </a:cxn>
                      <a:cxn ang="0">
                        <a:pos x="258" y="106"/>
                      </a:cxn>
                      <a:cxn ang="0">
                        <a:pos x="256" y="98"/>
                      </a:cxn>
                    </a:cxnLst>
                    <a:rect l="0" t="0" r="r" b="b"/>
                    <a:pathLst>
                      <a:path w="260" h="198">
                        <a:moveTo>
                          <a:pt x="256" y="98"/>
                        </a:moveTo>
                        <a:lnTo>
                          <a:pt x="256" y="98"/>
                        </a:lnTo>
                        <a:lnTo>
                          <a:pt x="254" y="92"/>
                        </a:lnTo>
                        <a:lnTo>
                          <a:pt x="250" y="90"/>
                        </a:lnTo>
                        <a:lnTo>
                          <a:pt x="246" y="90"/>
                        </a:lnTo>
                        <a:lnTo>
                          <a:pt x="242" y="92"/>
                        </a:lnTo>
                        <a:lnTo>
                          <a:pt x="238" y="94"/>
                        </a:lnTo>
                        <a:lnTo>
                          <a:pt x="234" y="94"/>
                        </a:lnTo>
                        <a:lnTo>
                          <a:pt x="228" y="90"/>
                        </a:lnTo>
                        <a:lnTo>
                          <a:pt x="222" y="84"/>
                        </a:lnTo>
                        <a:lnTo>
                          <a:pt x="222" y="84"/>
                        </a:lnTo>
                        <a:lnTo>
                          <a:pt x="216" y="74"/>
                        </a:lnTo>
                        <a:lnTo>
                          <a:pt x="208" y="68"/>
                        </a:lnTo>
                        <a:lnTo>
                          <a:pt x="192" y="60"/>
                        </a:lnTo>
                        <a:lnTo>
                          <a:pt x="190" y="58"/>
                        </a:lnTo>
                        <a:lnTo>
                          <a:pt x="188" y="56"/>
                        </a:lnTo>
                        <a:lnTo>
                          <a:pt x="190" y="54"/>
                        </a:lnTo>
                        <a:lnTo>
                          <a:pt x="196" y="52"/>
                        </a:lnTo>
                        <a:lnTo>
                          <a:pt x="208" y="48"/>
                        </a:lnTo>
                        <a:lnTo>
                          <a:pt x="208" y="48"/>
                        </a:lnTo>
                        <a:lnTo>
                          <a:pt x="220" y="46"/>
                        </a:lnTo>
                        <a:lnTo>
                          <a:pt x="226" y="42"/>
                        </a:lnTo>
                        <a:lnTo>
                          <a:pt x="226" y="40"/>
                        </a:lnTo>
                        <a:lnTo>
                          <a:pt x="222" y="38"/>
                        </a:lnTo>
                        <a:lnTo>
                          <a:pt x="218" y="34"/>
                        </a:lnTo>
                        <a:lnTo>
                          <a:pt x="216" y="32"/>
                        </a:lnTo>
                        <a:lnTo>
                          <a:pt x="216" y="28"/>
                        </a:lnTo>
                        <a:lnTo>
                          <a:pt x="222" y="24"/>
                        </a:lnTo>
                        <a:lnTo>
                          <a:pt x="222" y="24"/>
                        </a:lnTo>
                        <a:lnTo>
                          <a:pt x="230" y="20"/>
                        </a:lnTo>
                        <a:lnTo>
                          <a:pt x="232" y="16"/>
                        </a:lnTo>
                        <a:lnTo>
                          <a:pt x="230" y="10"/>
                        </a:lnTo>
                        <a:lnTo>
                          <a:pt x="226" y="6"/>
                        </a:lnTo>
                        <a:lnTo>
                          <a:pt x="218" y="4"/>
                        </a:lnTo>
                        <a:lnTo>
                          <a:pt x="208" y="4"/>
                        </a:lnTo>
                        <a:lnTo>
                          <a:pt x="194" y="4"/>
                        </a:lnTo>
                        <a:lnTo>
                          <a:pt x="180" y="8"/>
                        </a:lnTo>
                        <a:lnTo>
                          <a:pt x="180" y="8"/>
                        </a:lnTo>
                        <a:lnTo>
                          <a:pt x="164" y="12"/>
                        </a:lnTo>
                        <a:lnTo>
                          <a:pt x="152" y="12"/>
                        </a:lnTo>
                        <a:lnTo>
                          <a:pt x="140" y="10"/>
                        </a:lnTo>
                        <a:lnTo>
                          <a:pt x="130" y="6"/>
                        </a:lnTo>
                        <a:lnTo>
                          <a:pt x="120" y="4"/>
                        </a:lnTo>
                        <a:lnTo>
                          <a:pt x="110" y="0"/>
                        </a:lnTo>
                        <a:lnTo>
                          <a:pt x="98" y="0"/>
                        </a:lnTo>
                        <a:lnTo>
                          <a:pt x="86" y="4"/>
                        </a:lnTo>
                        <a:lnTo>
                          <a:pt x="86" y="4"/>
                        </a:lnTo>
                        <a:lnTo>
                          <a:pt x="64" y="14"/>
                        </a:lnTo>
                        <a:lnTo>
                          <a:pt x="56" y="20"/>
                        </a:lnTo>
                        <a:lnTo>
                          <a:pt x="50" y="24"/>
                        </a:lnTo>
                        <a:lnTo>
                          <a:pt x="46" y="28"/>
                        </a:lnTo>
                        <a:lnTo>
                          <a:pt x="48" y="34"/>
                        </a:lnTo>
                        <a:lnTo>
                          <a:pt x="52" y="38"/>
                        </a:lnTo>
                        <a:lnTo>
                          <a:pt x="62" y="44"/>
                        </a:lnTo>
                        <a:lnTo>
                          <a:pt x="70" y="48"/>
                        </a:lnTo>
                        <a:lnTo>
                          <a:pt x="70" y="48"/>
                        </a:lnTo>
                        <a:lnTo>
                          <a:pt x="82" y="52"/>
                        </a:lnTo>
                        <a:lnTo>
                          <a:pt x="88" y="58"/>
                        </a:lnTo>
                        <a:lnTo>
                          <a:pt x="94" y="62"/>
                        </a:lnTo>
                        <a:lnTo>
                          <a:pt x="96" y="68"/>
                        </a:lnTo>
                        <a:lnTo>
                          <a:pt x="94" y="74"/>
                        </a:lnTo>
                        <a:lnTo>
                          <a:pt x="92" y="78"/>
                        </a:lnTo>
                        <a:lnTo>
                          <a:pt x="86" y="84"/>
                        </a:lnTo>
                        <a:lnTo>
                          <a:pt x="78" y="88"/>
                        </a:lnTo>
                        <a:lnTo>
                          <a:pt x="78" y="88"/>
                        </a:lnTo>
                        <a:lnTo>
                          <a:pt x="74" y="88"/>
                        </a:lnTo>
                        <a:lnTo>
                          <a:pt x="68" y="90"/>
                        </a:lnTo>
                        <a:lnTo>
                          <a:pt x="58" y="86"/>
                        </a:lnTo>
                        <a:lnTo>
                          <a:pt x="48" y="80"/>
                        </a:lnTo>
                        <a:lnTo>
                          <a:pt x="38" y="74"/>
                        </a:lnTo>
                        <a:lnTo>
                          <a:pt x="28" y="68"/>
                        </a:lnTo>
                        <a:lnTo>
                          <a:pt x="20" y="64"/>
                        </a:lnTo>
                        <a:lnTo>
                          <a:pt x="16" y="64"/>
                        </a:lnTo>
                        <a:lnTo>
                          <a:pt x="10" y="64"/>
                        </a:lnTo>
                        <a:lnTo>
                          <a:pt x="6" y="66"/>
                        </a:lnTo>
                        <a:lnTo>
                          <a:pt x="2" y="72"/>
                        </a:lnTo>
                        <a:lnTo>
                          <a:pt x="2" y="72"/>
                        </a:lnTo>
                        <a:lnTo>
                          <a:pt x="0" y="78"/>
                        </a:lnTo>
                        <a:lnTo>
                          <a:pt x="0" y="86"/>
                        </a:lnTo>
                        <a:lnTo>
                          <a:pt x="6" y="94"/>
                        </a:lnTo>
                        <a:lnTo>
                          <a:pt x="14" y="102"/>
                        </a:lnTo>
                        <a:lnTo>
                          <a:pt x="26" y="110"/>
                        </a:lnTo>
                        <a:lnTo>
                          <a:pt x="40" y="118"/>
                        </a:lnTo>
                        <a:lnTo>
                          <a:pt x="56" y="124"/>
                        </a:lnTo>
                        <a:lnTo>
                          <a:pt x="74" y="132"/>
                        </a:lnTo>
                        <a:lnTo>
                          <a:pt x="74" y="132"/>
                        </a:lnTo>
                        <a:lnTo>
                          <a:pt x="90" y="138"/>
                        </a:lnTo>
                        <a:lnTo>
                          <a:pt x="104" y="148"/>
                        </a:lnTo>
                        <a:lnTo>
                          <a:pt x="116" y="158"/>
                        </a:lnTo>
                        <a:lnTo>
                          <a:pt x="124" y="168"/>
                        </a:lnTo>
                        <a:lnTo>
                          <a:pt x="142" y="188"/>
                        </a:lnTo>
                        <a:lnTo>
                          <a:pt x="150" y="194"/>
                        </a:lnTo>
                        <a:lnTo>
                          <a:pt x="162" y="198"/>
                        </a:lnTo>
                        <a:lnTo>
                          <a:pt x="162" y="198"/>
                        </a:lnTo>
                        <a:lnTo>
                          <a:pt x="170" y="198"/>
                        </a:lnTo>
                        <a:lnTo>
                          <a:pt x="176" y="194"/>
                        </a:lnTo>
                        <a:lnTo>
                          <a:pt x="178" y="190"/>
                        </a:lnTo>
                        <a:lnTo>
                          <a:pt x="180" y="184"/>
                        </a:lnTo>
                        <a:lnTo>
                          <a:pt x="182" y="178"/>
                        </a:lnTo>
                        <a:lnTo>
                          <a:pt x="182" y="174"/>
                        </a:lnTo>
                        <a:lnTo>
                          <a:pt x="186" y="170"/>
                        </a:lnTo>
                        <a:lnTo>
                          <a:pt x="192" y="170"/>
                        </a:lnTo>
                        <a:lnTo>
                          <a:pt x="192" y="170"/>
                        </a:lnTo>
                        <a:lnTo>
                          <a:pt x="200" y="172"/>
                        </a:lnTo>
                        <a:lnTo>
                          <a:pt x="210" y="172"/>
                        </a:lnTo>
                        <a:lnTo>
                          <a:pt x="220" y="170"/>
                        </a:lnTo>
                        <a:lnTo>
                          <a:pt x="230" y="166"/>
                        </a:lnTo>
                        <a:lnTo>
                          <a:pt x="238" y="162"/>
                        </a:lnTo>
                        <a:lnTo>
                          <a:pt x="246" y="156"/>
                        </a:lnTo>
                        <a:lnTo>
                          <a:pt x="250" y="148"/>
                        </a:lnTo>
                        <a:lnTo>
                          <a:pt x="252" y="138"/>
                        </a:lnTo>
                        <a:lnTo>
                          <a:pt x="252" y="138"/>
                        </a:lnTo>
                        <a:lnTo>
                          <a:pt x="252" y="130"/>
                        </a:lnTo>
                        <a:lnTo>
                          <a:pt x="252" y="124"/>
                        </a:lnTo>
                        <a:lnTo>
                          <a:pt x="256" y="118"/>
                        </a:lnTo>
                        <a:lnTo>
                          <a:pt x="258" y="114"/>
                        </a:lnTo>
                        <a:lnTo>
                          <a:pt x="260" y="112"/>
                        </a:lnTo>
                        <a:lnTo>
                          <a:pt x="258" y="106"/>
                        </a:lnTo>
                        <a:lnTo>
                          <a:pt x="256" y="98"/>
                        </a:lnTo>
                        <a:lnTo>
                          <a:pt x="256" y="9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7" name="Freeform 6116"/>
                  <p:cNvSpPr>
                    <a:spLocks/>
                  </p:cNvSpPr>
                  <p:nvPr/>
                </p:nvSpPr>
                <p:spPr bwMode="auto">
                  <a:xfrm>
                    <a:off x="1750060" y="1098233"/>
                    <a:ext cx="34290" cy="8890"/>
                  </a:xfrm>
                  <a:custGeom>
                    <a:avLst/>
                    <a:gdLst/>
                    <a:ahLst/>
                    <a:cxnLst>
                      <a:cxn ang="0">
                        <a:pos x="2" y="14"/>
                      </a:cxn>
                      <a:cxn ang="0">
                        <a:pos x="2" y="14"/>
                      </a:cxn>
                      <a:cxn ang="0">
                        <a:pos x="8" y="14"/>
                      </a:cxn>
                      <a:cxn ang="0">
                        <a:pos x="16" y="14"/>
                      </a:cxn>
                      <a:cxn ang="0">
                        <a:pos x="36" y="10"/>
                      </a:cxn>
                      <a:cxn ang="0">
                        <a:pos x="50" y="4"/>
                      </a:cxn>
                      <a:cxn ang="0">
                        <a:pos x="54" y="2"/>
                      </a:cxn>
                      <a:cxn ang="0">
                        <a:pos x="54" y="2"/>
                      </a:cxn>
                      <a:cxn ang="0">
                        <a:pos x="54" y="0"/>
                      </a:cxn>
                      <a:cxn ang="0">
                        <a:pos x="54" y="0"/>
                      </a:cxn>
                      <a:cxn ang="0">
                        <a:pos x="48" y="0"/>
                      </a:cxn>
                      <a:cxn ang="0">
                        <a:pos x="38" y="0"/>
                      </a:cxn>
                      <a:cxn ang="0">
                        <a:pos x="18" y="4"/>
                      </a:cxn>
                      <a:cxn ang="0">
                        <a:pos x="2" y="10"/>
                      </a:cxn>
                      <a:cxn ang="0">
                        <a:pos x="0" y="12"/>
                      </a:cxn>
                      <a:cxn ang="0">
                        <a:pos x="2" y="14"/>
                      </a:cxn>
                      <a:cxn ang="0">
                        <a:pos x="2" y="14"/>
                      </a:cxn>
                    </a:cxnLst>
                    <a:rect l="0" t="0" r="r" b="b"/>
                    <a:pathLst>
                      <a:path w="54" h="14">
                        <a:moveTo>
                          <a:pt x="2" y="14"/>
                        </a:moveTo>
                        <a:lnTo>
                          <a:pt x="2" y="14"/>
                        </a:lnTo>
                        <a:lnTo>
                          <a:pt x="8" y="14"/>
                        </a:lnTo>
                        <a:lnTo>
                          <a:pt x="16" y="14"/>
                        </a:lnTo>
                        <a:lnTo>
                          <a:pt x="36" y="10"/>
                        </a:lnTo>
                        <a:lnTo>
                          <a:pt x="50" y="4"/>
                        </a:lnTo>
                        <a:lnTo>
                          <a:pt x="54" y="2"/>
                        </a:lnTo>
                        <a:lnTo>
                          <a:pt x="54" y="2"/>
                        </a:lnTo>
                        <a:lnTo>
                          <a:pt x="54" y="0"/>
                        </a:lnTo>
                        <a:lnTo>
                          <a:pt x="54" y="0"/>
                        </a:lnTo>
                        <a:lnTo>
                          <a:pt x="48" y="0"/>
                        </a:lnTo>
                        <a:lnTo>
                          <a:pt x="38" y="0"/>
                        </a:lnTo>
                        <a:lnTo>
                          <a:pt x="18" y="4"/>
                        </a:lnTo>
                        <a:lnTo>
                          <a:pt x="2" y="10"/>
                        </a:lnTo>
                        <a:lnTo>
                          <a:pt x="0" y="12"/>
                        </a:lnTo>
                        <a:lnTo>
                          <a:pt x="2" y="14"/>
                        </a:lnTo>
                        <a:lnTo>
                          <a:pt x="2" y="1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8" name="Freeform 6117"/>
                  <p:cNvSpPr>
                    <a:spLocks/>
                  </p:cNvSpPr>
                  <p:nvPr/>
                </p:nvSpPr>
                <p:spPr bwMode="auto">
                  <a:xfrm>
                    <a:off x="1854200" y="1394143"/>
                    <a:ext cx="114300" cy="66040"/>
                  </a:xfrm>
                  <a:custGeom>
                    <a:avLst/>
                    <a:gdLst/>
                    <a:ahLst/>
                    <a:cxnLst>
                      <a:cxn ang="0">
                        <a:pos x="42" y="32"/>
                      </a:cxn>
                      <a:cxn ang="0">
                        <a:pos x="42" y="32"/>
                      </a:cxn>
                      <a:cxn ang="0">
                        <a:pos x="32" y="42"/>
                      </a:cxn>
                      <a:cxn ang="0">
                        <a:pos x="24" y="50"/>
                      </a:cxn>
                      <a:cxn ang="0">
                        <a:pos x="14" y="52"/>
                      </a:cxn>
                      <a:cxn ang="0">
                        <a:pos x="8" y="54"/>
                      </a:cxn>
                      <a:cxn ang="0">
                        <a:pos x="2" y="56"/>
                      </a:cxn>
                      <a:cxn ang="0">
                        <a:pos x="0" y="58"/>
                      </a:cxn>
                      <a:cxn ang="0">
                        <a:pos x="2" y="62"/>
                      </a:cxn>
                      <a:cxn ang="0">
                        <a:pos x="10" y="68"/>
                      </a:cxn>
                      <a:cxn ang="0">
                        <a:pos x="10" y="68"/>
                      </a:cxn>
                      <a:cxn ang="0">
                        <a:pos x="20" y="74"/>
                      </a:cxn>
                      <a:cxn ang="0">
                        <a:pos x="34" y="78"/>
                      </a:cxn>
                      <a:cxn ang="0">
                        <a:pos x="72" y="86"/>
                      </a:cxn>
                      <a:cxn ang="0">
                        <a:pos x="72" y="86"/>
                      </a:cxn>
                      <a:cxn ang="0">
                        <a:pos x="84" y="88"/>
                      </a:cxn>
                      <a:cxn ang="0">
                        <a:pos x="94" y="92"/>
                      </a:cxn>
                      <a:cxn ang="0">
                        <a:pos x="112" y="100"/>
                      </a:cxn>
                      <a:cxn ang="0">
                        <a:pos x="120" y="102"/>
                      </a:cxn>
                      <a:cxn ang="0">
                        <a:pos x="128" y="104"/>
                      </a:cxn>
                      <a:cxn ang="0">
                        <a:pos x="136" y="102"/>
                      </a:cxn>
                      <a:cxn ang="0">
                        <a:pos x="142" y="96"/>
                      </a:cxn>
                      <a:cxn ang="0">
                        <a:pos x="142" y="96"/>
                      </a:cxn>
                      <a:cxn ang="0">
                        <a:pos x="150" y="90"/>
                      </a:cxn>
                      <a:cxn ang="0">
                        <a:pos x="156" y="88"/>
                      </a:cxn>
                      <a:cxn ang="0">
                        <a:pos x="164" y="86"/>
                      </a:cxn>
                      <a:cxn ang="0">
                        <a:pos x="170" y="86"/>
                      </a:cxn>
                      <a:cxn ang="0">
                        <a:pos x="174" y="84"/>
                      </a:cxn>
                      <a:cxn ang="0">
                        <a:pos x="178" y="78"/>
                      </a:cxn>
                      <a:cxn ang="0">
                        <a:pos x="178" y="78"/>
                      </a:cxn>
                      <a:cxn ang="0">
                        <a:pos x="180" y="74"/>
                      </a:cxn>
                      <a:cxn ang="0">
                        <a:pos x="180" y="72"/>
                      </a:cxn>
                      <a:cxn ang="0">
                        <a:pos x="174" y="72"/>
                      </a:cxn>
                      <a:cxn ang="0">
                        <a:pos x="170" y="72"/>
                      </a:cxn>
                      <a:cxn ang="0">
                        <a:pos x="164" y="70"/>
                      </a:cxn>
                      <a:cxn ang="0">
                        <a:pos x="158" y="66"/>
                      </a:cxn>
                      <a:cxn ang="0">
                        <a:pos x="152" y="58"/>
                      </a:cxn>
                      <a:cxn ang="0">
                        <a:pos x="152" y="58"/>
                      </a:cxn>
                      <a:cxn ang="0">
                        <a:pos x="148" y="50"/>
                      </a:cxn>
                      <a:cxn ang="0">
                        <a:pos x="144" y="44"/>
                      </a:cxn>
                      <a:cxn ang="0">
                        <a:pos x="140" y="42"/>
                      </a:cxn>
                      <a:cxn ang="0">
                        <a:pos x="136" y="42"/>
                      </a:cxn>
                      <a:cxn ang="0">
                        <a:pos x="124" y="36"/>
                      </a:cxn>
                      <a:cxn ang="0">
                        <a:pos x="116" y="30"/>
                      </a:cxn>
                      <a:cxn ang="0">
                        <a:pos x="106" y="20"/>
                      </a:cxn>
                      <a:cxn ang="0">
                        <a:pos x="106" y="20"/>
                      </a:cxn>
                      <a:cxn ang="0">
                        <a:pos x="94" y="10"/>
                      </a:cxn>
                      <a:cxn ang="0">
                        <a:pos x="86" y="2"/>
                      </a:cxn>
                      <a:cxn ang="0">
                        <a:pos x="78" y="0"/>
                      </a:cxn>
                      <a:cxn ang="0">
                        <a:pos x="70" y="0"/>
                      </a:cxn>
                      <a:cxn ang="0">
                        <a:pos x="64" y="4"/>
                      </a:cxn>
                      <a:cxn ang="0">
                        <a:pos x="56" y="10"/>
                      </a:cxn>
                      <a:cxn ang="0">
                        <a:pos x="42" y="32"/>
                      </a:cxn>
                      <a:cxn ang="0">
                        <a:pos x="42" y="32"/>
                      </a:cxn>
                    </a:cxnLst>
                    <a:rect l="0" t="0" r="r" b="b"/>
                    <a:pathLst>
                      <a:path w="180" h="104">
                        <a:moveTo>
                          <a:pt x="42" y="32"/>
                        </a:moveTo>
                        <a:lnTo>
                          <a:pt x="42" y="32"/>
                        </a:lnTo>
                        <a:lnTo>
                          <a:pt x="32" y="42"/>
                        </a:lnTo>
                        <a:lnTo>
                          <a:pt x="24" y="50"/>
                        </a:lnTo>
                        <a:lnTo>
                          <a:pt x="14" y="52"/>
                        </a:lnTo>
                        <a:lnTo>
                          <a:pt x="8" y="54"/>
                        </a:lnTo>
                        <a:lnTo>
                          <a:pt x="2" y="56"/>
                        </a:lnTo>
                        <a:lnTo>
                          <a:pt x="0" y="58"/>
                        </a:lnTo>
                        <a:lnTo>
                          <a:pt x="2" y="62"/>
                        </a:lnTo>
                        <a:lnTo>
                          <a:pt x="10" y="68"/>
                        </a:lnTo>
                        <a:lnTo>
                          <a:pt x="10" y="68"/>
                        </a:lnTo>
                        <a:lnTo>
                          <a:pt x="20" y="74"/>
                        </a:lnTo>
                        <a:lnTo>
                          <a:pt x="34" y="78"/>
                        </a:lnTo>
                        <a:lnTo>
                          <a:pt x="72" y="86"/>
                        </a:lnTo>
                        <a:lnTo>
                          <a:pt x="72" y="86"/>
                        </a:lnTo>
                        <a:lnTo>
                          <a:pt x="84" y="88"/>
                        </a:lnTo>
                        <a:lnTo>
                          <a:pt x="94" y="92"/>
                        </a:lnTo>
                        <a:lnTo>
                          <a:pt x="112" y="100"/>
                        </a:lnTo>
                        <a:lnTo>
                          <a:pt x="120" y="102"/>
                        </a:lnTo>
                        <a:lnTo>
                          <a:pt x="128" y="104"/>
                        </a:lnTo>
                        <a:lnTo>
                          <a:pt x="136" y="102"/>
                        </a:lnTo>
                        <a:lnTo>
                          <a:pt x="142" y="96"/>
                        </a:lnTo>
                        <a:lnTo>
                          <a:pt x="142" y="96"/>
                        </a:lnTo>
                        <a:lnTo>
                          <a:pt x="150" y="90"/>
                        </a:lnTo>
                        <a:lnTo>
                          <a:pt x="156" y="88"/>
                        </a:lnTo>
                        <a:lnTo>
                          <a:pt x="164" y="86"/>
                        </a:lnTo>
                        <a:lnTo>
                          <a:pt x="170" y="86"/>
                        </a:lnTo>
                        <a:lnTo>
                          <a:pt x="174" y="84"/>
                        </a:lnTo>
                        <a:lnTo>
                          <a:pt x="178" y="78"/>
                        </a:lnTo>
                        <a:lnTo>
                          <a:pt x="178" y="78"/>
                        </a:lnTo>
                        <a:lnTo>
                          <a:pt x="180" y="74"/>
                        </a:lnTo>
                        <a:lnTo>
                          <a:pt x="180" y="72"/>
                        </a:lnTo>
                        <a:lnTo>
                          <a:pt x="174" y="72"/>
                        </a:lnTo>
                        <a:lnTo>
                          <a:pt x="170" y="72"/>
                        </a:lnTo>
                        <a:lnTo>
                          <a:pt x="164" y="70"/>
                        </a:lnTo>
                        <a:lnTo>
                          <a:pt x="158" y="66"/>
                        </a:lnTo>
                        <a:lnTo>
                          <a:pt x="152" y="58"/>
                        </a:lnTo>
                        <a:lnTo>
                          <a:pt x="152" y="58"/>
                        </a:lnTo>
                        <a:lnTo>
                          <a:pt x="148" y="50"/>
                        </a:lnTo>
                        <a:lnTo>
                          <a:pt x="144" y="44"/>
                        </a:lnTo>
                        <a:lnTo>
                          <a:pt x="140" y="42"/>
                        </a:lnTo>
                        <a:lnTo>
                          <a:pt x="136" y="42"/>
                        </a:lnTo>
                        <a:lnTo>
                          <a:pt x="124" y="36"/>
                        </a:lnTo>
                        <a:lnTo>
                          <a:pt x="116" y="30"/>
                        </a:lnTo>
                        <a:lnTo>
                          <a:pt x="106" y="20"/>
                        </a:lnTo>
                        <a:lnTo>
                          <a:pt x="106" y="20"/>
                        </a:lnTo>
                        <a:lnTo>
                          <a:pt x="94" y="10"/>
                        </a:lnTo>
                        <a:lnTo>
                          <a:pt x="86" y="2"/>
                        </a:lnTo>
                        <a:lnTo>
                          <a:pt x="78" y="0"/>
                        </a:lnTo>
                        <a:lnTo>
                          <a:pt x="70" y="0"/>
                        </a:lnTo>
                        <a:lnTo>
                          <a:pt x="64" y="4"/>
                        </a:lnTo>
                        <a:lnTo>
                          <a:pt x="56" y="10"/>
                        </a:lnTo>
                        <a:lnTo>
                          <a:pt x="42" y="32"/>
                        </a:lnTo>
                        <a:lnTo>
                          <a:pt x="42" y="3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9" name="Freeform 6118"/>
                  <p:cNvSpPr>
                    <a:spLocks/>
                  </p:cNvSpPr>
                  <p:nvPr/>
                </p:nvSpPr>
                <p:spPr bwMode="auto">
                  <a:xfrm>
                    <a:off x="2542540" y="699453"/>
                    <a:ext cx="1550670" cy="1127760"/>
                  </a:xfrm>
                  <a:custGeom>
                    <a:avLst/>
                    <a:gdLst/>
                    <a:ahLst/>
                    <a:cxnLst>
                      <a:cxn ang="0">
                        <a:pos x="220" y="296"/>
                      </a:cxn>
                      <a:cxn ang="0">
                        <a:pos x="150" y="400"/>
                      </a:cxn>
                      <a:cxn ang="0">
                        <a:pos x="96" y="502"/>
                      </a:cxn>
                      <a:cxn ang="0">
                        <a:pos x="62" y="558"/>
                      </a:cxn>
                      <a:cxn ang="0">
                        <a:pos x="228" y="618"/>
                      </a:cxn>
                      <a:cxn ang="0">
                        <a:pos x="350" y="620"/>
                      </a:cxn>
                      <a:cxn ang="0">
                        <a:pos x="584" y="666"/>
                      </a:cxn>
                      <a:cxn ang="0">
                        <a:pos x="674" y="786"/>
                      </a:cxn>
                      <a:cxn ang="0">
                        <a:pos x="706" y="902"/>
                      </a:cxn>
                      <a:cxn ang="0">
                        <a:pos x="744" y="990"/>
                      </a:cxn>
                      <a:cxn ang="0">
                        <a:pos x="836" y="1010"/>
                      </a:cxn>
                      <a:cxn ang="0">
                        <a:pos x="750" y="1050"/>
                      </a:cxn>
                      <a:cxn ang="0">
                        <a:pos x="890" y="1110"/>
                      </a:cxn>
                      <a:cxn ang="0">
                        <a:pos x="788" y="1212"/>
                      </a:cxn>
                      <a:cxn ang="0">
                        <a:pos x="782" y="1328"/>
                      </a:cxn>
                      <a:cxn ang="0">
                        <a:pos x="834" y="1452"/>
                      </a:cxn>
                      <a:cxn ang="0">
                        <a:pos x="922" y="1474"/>
                      </a:cxn>
                      <a:cxn ang="0">
                        <a:pos x="860" y="1502"/>
                      </a:cxn>
                      <a:cxn ang="0">
                        <a:pos x="908" y="1598"/>
                      </a:cxn>
                      <a:cxn ang="0">
                        <a:pos x="966" y="1678"/>
                      </a:cxn>
                      <a:cxn ang="0">
                        <a:pos x="1032" y="1712"/>
                      </a:cxn>
                      <a:cxn ang="0">
                        <a:pos x="1090" y="1738"/>
                      </a:cxn>
                      <a:cxn ang="0">
                        <a:pos x="1196" y="1768"/>
                      </a:cxn>
                      <a:cxn ang="0">
                        <a:pos x="1232" y="1622"/>
                      </a:cxn>
                      <a:cxn ang="0">
                        <a:pos x="1262" y="1566"/>
                      </a:cxn>
                      <a:cxn ang="0">
                        <a:pos x="1262" y="1486"/>
                      </a:cxn>
                      <a:cxn ang="0">
                        <a:pos x="1332" y="1420"/>
                      </a:cxn>
                      <a:cxn ang="0">
                        <a:pos x="1402" y="1376"/>
                      </a:cxn>
                      <a:cxn ang="0">
                        <a:pos x="1412" y="1372"/>
                      </a:cxn>
                      <a:cxn ang="0">
                        <a:pos x="1468" y="1372"/>
                      </a:cxn>
                      <a:cxn ang="0">
                        <a:pos x="1628" y="1238"/>
                      </a:cxn>
                      <a:cxn ang="0">
                        <a:pos x="1748" y="1208"/>
                      </a:cxn>
                      <a:cxn ang="0">
                        <a:pos x="2012" y="1102"/>
                      </a:cxn>
                      <a:cxn ang="0">
                        <a:pos x="1846" y="1076"/>
                      </a:cxn>
                      <a:cxn ang="0">
                        <a:pos x="1800" y="1058"/>
                      </a:cxn>
                      <a:cxn ang="0">
                        <a:pos x="1842" y="970"/>
                      </a:cxn>
                      <a:cxn ang="0">
                        <a:pos x="2060" y="1056"/>
                      </a:cxn>
                      <a:cxn ang="0">
                        <a:pos x="2054" y="956"/>
                      </a:cxn>
                      <a:cxn ang="0">
                        <a:pos x="1916" y="858"/>
                      </a:cxn>
                      <a:cxn ang="0">
                        <a:pos x="2100" y="830"/>
                      </a:cxn>
                      <a:cxn ang="0">
                        <a:pos x="2142" y="768"/>
                      </a:cxn>
                      <a:cxn ang="0">
                        <a:pos x="2154" y="698"/>
                      </a:cxn>
                      <a:cxn ang="0">
                        <a:pos x="2066" y="608"/>
                      </a:cxn>
                      <a:cxn ang="0">
                        <a:pos x="2144" y="562"/>
                      </a:cxn>
                      <a:cxn ang="0">
                        <a:pos x="2144" y="504"/>
                      </a:cxn>
                      <a:cxn ang="0">
                        <a:pos x="2096" y="408"/>
                      </a:cxn>
                      <a:cxn ang="0">
                        <a:pos x="2228" y="310"/>
                      </a:cxn>
                      <a:cxn ang="0">
                        <a:pos x="2278" y="276"/>
                      </a:cxn>
                      <a:cxn ang="0">
                        <a:pos x="2298" y="244"/>
                      </a:cxn>
                      <a:cxn ang="0">
                        <a:pos x="2322" y="150"/>
                      </a:cxn>
                      <a:cxn ang="0">
                        <a:pos x="2050" y="210"/>
                      </a:cxn>
                      <a:cxn ang="0">
                        <a:pos x="1962" y="152"/>
                      </a:cxn>
                      <a:cxn ang="0">
                        <a:pos x="1616" y="174"/>
                      </a:cxn>
                      <a:cxn ang="0">
                        <a:pos x="2034" y="78"/>
                      </a:cxn>
                      <a:cxn ang="0">
                        <a:pos x="1724" y="52"/>
                      </a:cxn>
                      <a:cxn ang="0">
                        <a:pos x="1618" y="2"/>
                      </a:cxn>
                      <a:cxn ang="0">
                        <a:pos x="1402" y="44"/>
                      </a:cxn>
                      <a:cxn ang="0">
                        <a:pos x="1048" y="56"/>
                      </a:cxn>
                      <a:cxn ang="0">
                        <a:pos x="1110" y="74"/>
                      </a:cxn>
                      <a:cxn ang="0">
                        <a:pos x="1108" y="158"/>
                      </a:cxn>
                      <a:cxn ang="0">
                        <a:pos x="900" y="148"/>
                      </a:cxn>
                      <a:cxn ang="0">
                        <a:pos x="756" y="114"/>
                      </a:cxn>
                    </a:cxnLst>
                    <a:rect l="0" t="0" r="r" b="b"/>
                    <a:pathLst>
                      <a:path w="2442" h="1776">
                        <a:moveTo>
                          <a:pt x="470" y="176"/>
                        </a:moveTo>
                        <a:lnTo>
                          <a:pt x="470" y="176"/>
                        </a:lnTo>
                        <a:lnTo>
                          <a:pt x="476" y="186"/>
                        </a:lnTo>
                        <a:lnTo>
                          <a:pt x="478" y="194"/>
                        </a:lnTo>
                        <a:lnTo>
                          <a:pt x="480" y="202"/>
                        </a:lnTo>
                        <a:lnTo>
                          <a:pt x="478" y="210"/>
                        </a:lnTo>
                        <a:lnTo>
                          <a:pt x="474" y="216"/>
                        </a:lnTo>
                        <a:lnTo>
                          <a:pt x="466" y="218"/>
                        </a:lnTo>
                        <a:lnTo>
                          <a:pt x="458" y="220"/>
                        </a:lnTo>
                        <a:lnTo>
                          <a:pt x="446" y="218"/>
                        </a:lnTo>
                        <a:lnTo>
                          <a:pt x="446" y="218"/>
                        </a:lnTo>
                        <a:lnTo>
                          <a:pt x="426" y="212"/>
                        </a:lnTo>
                        <a:lnTo>
                          <a:pt x="406" y="210"/>
                        </a:lnTo>
                        <a:lnTo>
                          <a:pt x="386" y="210"/>
                        </a:lnTo>
                        <a:lnTo>
                          <a:pt x="368" y="212"/>
                        </a:lnTo>
                        <a:lnTo>
                          <a:pt x="350" y="216"/>
                        </a:lnTo>
                        <a:lnTo>
                          <a:pt x="334" y="222"/>
                        </a:lnTo>
                        <a:lnTo>
                          <a:pt x="318" y="230"/>
                        </a:lnTo>
                        <a:lnTo>
                          <a:pt x="304" y="238"/>
                        </a:lnTo>
                        <a:lnTo>
                          <a:pt x="304" y="238"/>
                        </a:lnTo>
                        <a:lnTo>
                          <a:pt x="272" y="256"/>
                        </a:lnTo>
                        <a:lnTo>
                          <a:pt x="244" y="270"/>
                        </a:lnTo>
                        <a:lnTo>
                          <a:pt x="232" y="276"/>
                        </a:lnTo>
                        <a:lnTo>
                          <a:pt x="222" y="284"/>
                        </a:lnTo>
                        <a:lnTo>
                          <a:pt x="218" y="290"/>
                        </a:lnTo>
                        <a:lnTo>
                          <a:pt x="218" y="292"/>
                        </a:lnTo>
                        <a:lnTo>
                          <a:pt x="220" y="296"/>
                        </a:lnTo>
                        <a:lnTo>
                          <a:pt x="220" y="296"/>
                        </a:lnTo>
                        <a:lnTo>
                          <a:pt x="226" y="300"/>
                        </a:lnTo>
                        <a:lnTo>
                          <a:pt x="234" y="304"/>
                        </a:lnTo>
                        <a:lnTo>
                          <a:pt x="244" y="308"/>
                        </a:lnTo>
                        <a:lnTo>
                          <a:pt x="256" y="308"/>
                        </a:lnTo>
                        <a:lnTo>
                          <a:pt x="280" y="308"/>
                        </a:lnTo>
                        <a:lnTo>
                          <a:pt x="302" y="306"/>
                        </a:lnTo>
                        <a:lnTo>
                          <a:pt x="302" y="306"/>
                        </a:lnTo>
                        <a:lnTo>
                          <a:pt x="310" y="306"/>
                        </a:lnTo>
                        <a:lnTo>
                          <a:pt x="316" y="310"/>
                        </a:lnTo>
                        <a:lnTo>
                          <a:pt x="318" y="318"/>
                        </a:lnTo>
                        <a:lnTo>
                          <a:pt x="320" y="326"/>
                        </a:lnTo>
                        <a:lnTo>
                          <a:pt x="318" y="338"/>
                        </a:lnTo>
                        <a:lnTo>
                          <a:pt x="314" y="348"/>
                        </a:lnTo>
                        <a:lnTo>
                          <a:pt x="308" y="360"/>
                        </a:lnTo>
                        <a:lnTo>
                          <a:pt x="300" y="370"/>
                        </a:lnTo>
                        <a:lnTo>
                          <a:pt x="300" y="370"/>
                        </a:lnTo>
                        <a:lnTo>
                          <a:pt x="290" y="380"/>
                        </a:lnTo>
                        <a:lnTo>
                          <a:pt x="280" y="384"/>
                        </a:lnTo>
                        <a:lnTo>
                          <a:pt x="268" y="386"/>
                        </a:lnTo>
                        <a:lnTo>
                          <a:pt x="254" y="386"/>
                        </a:lnTo>
                        <a:lnTo>
                          <a:pt x="224" y="382"/>
                        </a:lnTo>
                        <a:lnTo>
                          <a:pt x="206" y="382"/>
                        </a:lnTo>
                        <a:lnTo>
                          <a:pt x="188" y="384"/>
                        </a:lnTo>
                        <a:lnTo>
                          <a:pt x="188" y="384"/>
                        </a:lnTo>
                        <a:lnTo>
                          <a:pt x="172" y="388"/>
                        </a:lnTo>
                        <a:lnTo>
                          <a:pt x="162" y="392"/>
                        </a:lnTo>
                        <a:lnTo>
                          <a:pt x="154" y="396"/>
                        </a:lnTo>
                        <a:lnTo>
                          <a:pt x="150" y="400"/>
                        </a:lnTo>
                        <a:lnTo>
                          <a:pt x="142" y="404"/>
                        </a:lnTo>
                        <a:lnTo>
                          <a:pt x="130" y="408"/>
                        </a:lnTo>
                        <a:lnTo>
                          <a:pt x="112" y="412"/>
                        </a:lnTo>
                        <a:lnTo>
                          <a:pt x="84" y="418"/>
                        </a:lnTo>
                        <a:lnTo>
                          <a:pt x="84" y="418"/>
                        </a:lnTo>
                        <a:lnTo>
                          <a:pt x="54" y="422"/>
                        </a:lnTo>
                        <a:lnTo>
                          <a:pt x="32" y="428"/>
                        </a:lnTo>
                        <a:lnTo>
                          <a:pt x="16" y="434"/>
                        </a:lnTo>
                        <a:lnTo>
                          <a:pt x="4" y="440"/>
                        </a:lnTo>
                        <a:lnTo>
                          <a:pt x="0" y="448"/>
                        </a:lnTo>
                        <a:lnTo>
                          <a:pt x="0" y="456"/>
                        </a:lnTo>
                        <a:lnTo>
                          <a:pt x="4" y="464"/>
                        </a:lnTo>
                        <a:lnTo>
                          <a:pt x="12" y="472"/>
                        </a:lnTo>
                        <a:lnTo>
                          <a:pt x="12" y="472"/>
                        </a:lnTo>
                        <a:lnTo>
                          <a:pt x="20" y="478"/>
                        </a:lnTo>
                        <a:lnTo>
                          <a:pt x="28" y="482"/>
                        </a:lnTo>
                        <a:lnTo>
                          <a:pt x="38" y="484"/>
                        </a:lnTo>
                        <a:lnTo>
                          <a:pt x="48" y="484"/>
                        </a:lnTo>
                        <a:lnTo>
                          <a:pt x="52" y="486"/>
                        </a:lnTo>
                        <a:lnTo>
                          <a:pt x="56" y="490"/>
                        </a:lnTo>
                        <a:lnTo>
                          <a:pt x="56" y="490"/>
                        </a:lnTo>
                        <a:lnTo>
                          <a:pt x="62" y="494"/>
                        </a:lnTo>
                        <a:lnTo>
                          <a:pt x="68" y="496"/>
                        </a:lnTo>
                        <a:lnTo>
                          <a:pt x="78" y="496"/>
                        </a:lnTo>
                        <a:lnTo>
                          <a:pt x="88" y="496"/>
                        </a:lnTo>
                        <a:lnTo>
                          <a:pt x="92" y="498"/>
                        </a:lnTo>
                        <a:lnTo>
                          <a:pt x="96" y="502"/>
                        </a:lnTo>
                        <a:lnTo>
                          <a:pt x="96" y="502"/>
                        </a:lnTo>
                        <a:lnTo>
                          <a:pt x="102" y="506"/>
                        </a:lnTo>
                        <a:lnTo>
                          <a:pt x="108" y="510"/>
                        </a:lnTo>
                        <a:lnTo>
                          <a:pt x="116" y="514"/>
                        </a:lnTo>
                        <a:lnTo>
                          <a:pt x="124" y="514"/>
                        </a:lnTo>
                        <a:lnTo>
                          <a:pt x="144" y="516"/>
                        </a:lnTo>
                        <a:lnTo>
                          <a:pt x="174" y="516"/>
                        </a:lnTo>
                        <a:lnTo>
                          <a:pt x="174" y="516"/>
                        </a:lnTo>
                        <a:lnTo>
                          <a:pt x="192" y="516"/>
                        </a:lnTo>
                        <a:lnTo>
                          <a:pt x="208" y="514"/>
                        </a:lnTo>
                        <a:lnTo>
                          <a:pt x="238" y="508"/>
                        </a:lnTo>
                        <a:lnTo>
                          <a:pt x="250" y="506"/>
                        </a:lnTo>
                        <a:lnTo>
                          <a:pt x="260" y="506"/>
                        </a:lnTo>
                        <a:lnTo>
                          <a:pt x="268" y="506"/>
                        </a:lnTo>
                        <a:lnTo>
                          <a:pt x="272" y="512"/>
                        </a:lnTo>
                        <a:lnTo>
                          <a:pt x="272" y="512"/>
                        </a:lnTo>
                        <a:lnTo>
                          <a:pt x="272" y="516"/>
                        </a:lnTo>
                        <a:lnTo>
                          <a:pt x="268" y="520"/>
                        </a:lnTo>
                        <a:lnTo>
                          <a:pt x="260" y="524"/>
                        </a:lnTo>
                        <a:lnTo>
                          <a:pt x="248" y="524"/>
                        </a:lnTo>
                        <a:lnTo>
                          <a:pt x="174" y="528"/>
                        </a:lnTo>
                        <a:lnTo>
                          <a:pt x="174" y="528"/>
                        </a:lnTo>
                        <a:lnTo>
                          <a:pt x="128" y="534"/>
                        </a:lnTo>
                        <a:lnTo>
                          <a:pt x="106" y="538"/>
                        </a:lnTo>
                        <a:lnTo>
                          <a:pt x="86" y="542"/>
                        </a:lnTo>
                        <a:lnTo>
                          <a:pt x="72" y="546"/>
                        </a:lnTo>
                        <a:lnTo>
                          <a:pt x="62" y="552"/>
                        </a:lnTo>
                        <a:lnTo>
                          <a:pt x="60" y="554"/>
                        </a:lnTo>
                        <a:lnTo>
                          <a:pt x="62" y="558"/>
                        </a:lnTo>
                        <a:lnTo>
                          <a:pt x="64" y="562"/>
                        </a:lnTo>
                        <a:lnTo>
                          <a:pt x="68" y="564"/>
                        </a:lnTo>
                        <a:lnTo>
                          <a:pt x="68" y="564"/>
                        </a:lnTo>
                        <a:lnTo>
                          <a:pt x="84" y="570"/>
                        </a:lnTo>
                        <a:lnTo>
                          <a:pt x="102" y="574"/>
                        </a:lnTo>
                        <a:lnTo>
                          <a:pt x="140" y="580"/>
                        </a:lnTo>
                        <a:lnTo>
                          <a:pt x="154" y="584"/>
                        </a:lnTo>
                        <a:lnTo>
                          <a:pt x="162" y="586"/>
                        </a:lnTo>
                        <a:lnTo>
                          <a:pt x="162" y="588"/>
                        </a:lnTo>
                        <a:lnTo>
                          <a:pt x="160" y="590"/>
                        </a:lnTo>
                        <a:lnTo>
                          <a:pt x="148" y="594"/>
                        </a:lnTo>
                        <a:lnTo>
                          <a:pt x="148" y="594"/>
                        </a:lnTo>
                        <a:lnTo>
                          <a:pt x="136" y="598"/>
                        </a:lnTo>
                        <a:lnTo>
                          <a:pt x="132" y="602"/>
                        </a:lnTo>
                        <a:lnTo>
                          <a:pt x="132" y="604"/>
                        </a:lnTo>
                        <a:lnTo>
                          <a:pt x="132" y="606"/>
                        </a:lnTo>
                        <a:lnTo>
                          <a:pt x="136" y="608"/>
                        </a:lnTo>
                        <a:lnTo>
                          <a:pt x="146" y="614"/>
                        </a:lnTo>
                        <a:lnTo>
                          <a:pt x="182" y="624"/>
                        </a:lnTo>
                        <a:lnTo>
                          <a:pt x="224" y="636"/>
                        </a:lnTo>
                        <a:lnTo>
                          <a:pt x="224" y="636"/>
                        </a:lnTo>
                        <a:lnTo>
                          <a:pt x="242" y="642"/>
                        </a:lnTo>
                        <a:lnTo>
                          <a:pt x="248" y="642"/>
                        </a:lnTo>
                        <a:lnTo>
                          <a:pt x="248" y="642"/>
                        </a:lnTo>
                        <a:lnTo>
                          <a:pt x="248" y="640"/>
                        </a:lnTo>
                        <a:lnTo>
                          <a:pt x="242" y="634"/>
                        </a:lnTo>
                        <a:lnTo>
                          <a:pt x="230" y="622"/>
                        </a:lnTo>
                        <a:lnTo>
                          <a:pt x="228" y="618"/>
                        </a:lnTo>
                        <a:lnTo>
                          <a:pt x="228" y="616"/>
                        </a:lnTo>
                        <a:lnTo>
                          <a:pt x="232" y="614"/>
                        </a:lnTo>
                        <a:lnTo>
                          <a:pt x="232" y="614"/>
                        </a:lnTo>
                        <a:lnTo>
                          <a:pt x="238" y="612"/>
                        </a:lnTo>
                        <a:lnTo>
                          <a:pt x="242" y="614"/>
                        </a:lnTo>
                        <a:lnTo>
                          <a:pt x="246" y="620"/>
                        </a:lnTo>
                        <a:lnTo>
                          <a:pt x="250" y="622"/>
                        </a:lnTo>
                        <a:lnTo>
                          <a:pt x="254" y="622"/>
                        </a:lnTo>
                        <a:lnTo>
                          <a:pt x="262" y="622"/>
                        </a:lnTo>
                        <a:lnTo>
                          <a:pt x="272" y="618"/>
                        </a:lnTo>
                        <a:lnTo>
                          <a:pt x="272" y="618"/>
                        </a:lnTo>
                        <a:lnTo>
                          <a:pt x="282" y="614"/>
                        </a:lnTo>
                        <a:lnTo>
                          <a:pt x="286" y="614"/>
                        </a:lnTo>
                        <a:lnTo>
                          <a:pt x="286" y="616"/>
                        </a:lnTo>
                        <a:lnTo>
                          <a:pt x="286" y="618"/>
                        </a:lnTo>
                        <a:lnTo>
                          <a:pt x="284" y="622"/>
                        </a:lnTo>
                        <a:lnTo>
                          <a:pt x="286" y="626"/>
                        </a:lnTo>
                        <a:lnTo>
                          <a:pt x="290" y="630"/>
                        </a:lnTo>
                        <a:lnTo>
                          <a:pt x="300" y="630"/>
                        </a:lnTo>
                        <a:lnTo>
                          <a:pt x="300" y="630"/>
                        </a:lnTo>
                        <a:lnTo>
                          <a:pt x="312" y="630"/>
                        </a:lnTo>
                        <a:lnTo>
                          <a:pt x="320" y="626"/>
                        </a:lnTo>
                        <a:lnTo>
                          <a:pt x="326" y="622"/>
                        </a:lnTo>
                        <a:lnTo>
                          <a:pt x="330" y="618"/>
                        </a:lnTo>
                        <a:lnTo>
                          <a:pt x="334" y="616"/>
                        </a:lnTo>
                        <a:lnTo>
                          <a:pt x="338" y="614"/>
                        </a:lnTo>
                        <a:lnTo>
                          <a:pt x="344" y="614"/>
                        </a:lnTo>
                        <a:lnTo>
                          <a:pt x="350" y="620"/>
                        </a:lnTo>
                        <a:lnTo>
                          <a:pt x="350" y="620"/>
                        </a:lnTo>
                        <a:lnTo>
                          <a:pt x="358" y="624"/>
                        </a:lnTo>
                        <a:lnTo>
                          <a:pt x="364" y="624"/>
                        </a:lnTo>
                        <a:lnTo>
                          <a:pt x="368" y="622"/>
                        </a:lnTo>
                        <a:lnTo>
                          <a:pt x="370" y="618"/>
                        </a:lnTo>
                        <a:lnTo>
                          <a:pt x="374" y="614"/>
                        </a:lnTo>
                        <a:lnTo>
                          <a:pt x="380" y="610"/>
                        </a:lnTo>
                        <a:lnTo>
                          <a:pt x="386" y="610"/>
                        </a:lnTo>
                        <a:lnTo>
                          <a:pt x="396" y="612"/>
                        </a:lnTo>
                        <a:lnTo>
                          <a:pt x="396" y="612"/>
                        </a:lnTo>
                        <a:lnTo>
                          <a:pt x="408" y="616"/>
                        </a:lnTo>
                        <a:lnTo>
                          <a:pt x="420" y="618"/>
                        </a:lnTo>
                        <a:lnTo>
                          <a:pt x="446" y="618"/>
                        </a:lnTo>
                        <a:lnTo>
                          <a:pt x="468" y="620"/>
                        </a:lnTo>
                        <a:lnTo>
                          <a:pt x="476" y="622"/>
                        </a:lnTo>
                        <a:lnTo>
                          <a:pt x="484" y="628"/>
                        </a:lnTo>
                        <a:lnTo>
                          <a:pt x="484" y="628"/>
                        </a:lnTo>
                        <a:lnTo>
                          <a:pt x="488" y="632"/>
                        </a:lnTo>
                        <a:lnTo>
                          <a:pt x="492" y="634"/>
                        </a:lnTo>
                        <a:lnTo>
                          <a:pt x="500" y="634"/>
                        </a:lnTo>
                        <a:lnTo>
                          <a:pt x="506" y="634"/>
                        </a:lnTo>
                        <a:lnTo>
                          <a:pt x="512" y="634"/>
                        </a:lnTo>
                        <a:lnTo>
                          <a:pt x="522" y="638"/>
                        </a:lnTo>
                        <a:lnTo>
                          <a:pt x="534" y="642"/>
                        </a:lnTo>
                        <a:lnTo>
                          <a:pt x="534" y="642"/>
                        </a:lnTo>
                        <a:lnTo>
                          <a:pt x="560" y="654"/>
                        </a:lnTo>
                        <a:lnTo>
                          <a:pt x="578" y="664"/>
                        </a:lnTo>
                        <a:lnTo>
                          <a:pt x="584" y="666"/>
                        </a:lnTo>
                        <a:lnTo>
                          <a:pt x="584" y="670"/>
                        </a:lnTo>
                        <a:lnTo>
                          <a:pt x="584" y="674"/>
                        </a:lnTo>
                        <a:lnTo>
                          <a:pt x="578" y="680"/>
                        </a:lnTo>
                        <a:lnTo>
                          <a:pt x="578" y="680"/>
                        </a:lnTo>
                        <a:lnTo>
                          <a:pt x="576" y="684"/>
                        </a:lnTo>
                        <a:lnTo>
                          <a:pt x="576" y="688"/>
                        </a:lnTo>
                        <a:lnTo>
                          <a:pt x="578" y="692"/>
                        </a:lnTo>
                        <a:lnTo>
                          <a:pt x="582" y="696"/>
                        </a:lnTo>
                        <a:lnTo>
                          <a:pt x="596" y="704"/>
                        </a:lnTo>
                        <a:lnTo>
                          <a:pt x="612" y="714"/>
                        </a:lnTo>
                        <a:lnTo>
                          <a:pt x="642" y="734"/>
                        </a:lnTo>
                        <a:lnTo>
                          <a:pt x="652" y="742"/>
                        </a:lnTo>
                        <a:lnTo>
                          <a:pt x="654" y="746"/>
                        </a:lnTo>
                        <a:lnTo>
                          <a:pt x="654" y="750"/>
                        </a:lnTo>
                        <a:lnTo>
                          <a:pt x="654" y="750"/>
                        </a:lnTo>
                        <a:lnTo>
                          <a:pt x="650" y="756"/>
                        </a:lnTo>
                        <a:lnTo>
                          <a:pt x="644" y="764"/>
                        </a:lnTo>
                        <a:lnTo>
                          <a:pt x="632" y="776"/>
                        </a:lnTo>
                        <a:lnTo>
                          <a:pt x="628" y="780"/>
                        </a:lnTo>
                        <a:lnTo>
                          <a:pt x="628" y="782"/>
                        </a:lnTo>
                        <a:lnTo>
                          <a:pt x="632" y="784"/>
                        </a:lnTo>
                        <a:lnTo>
                          <a:pt x="642" y="780"/>
                        </a:lnTo>
                        <a:lnTo>
                          <a:pt x="642" y="780"/>
                        </a:lnTo>
                        <a:lnTo>
                          <a:pt x="660" y="776"/>
                        </a:lnTo>
                        <a:lnTo>
                          <a:pt x="666" y="776"/>
                        </a:lnTo>
                        <a:lnTo>
                          <a:pt x="668" y="776"/>
                        </a:lnTo>
                        <a:lnTo>
                          <a:pt x="670" y="782"/>
                        </a:lnTo>
                        <a:lnTo>
                          <a:pt x="674" y="786"/>
                        </a:lnTo>
                        <a:lnTo>
                          <a:pt x="678" y="790"/>
                        </a:lnTo>
                        <a:lnTo>
                          <a:pt x="678" y="790"/>
                        </a:lnTo>
                        <a:lnTo>
                          <a:pt x="684" y="794"/>
                        </a:lnTo>
                        <a:lnTo>
                          <a:pt x="686" y="798"/>
                        </a:lnTo>
                        <a:lnTo>
                          <a:pt x="684" y="802"/>
                        </a:lnTo>
                        <a:lnTo>
                          <a:pt x="682" y="806"/>
                        </a:lnTo>
                        <a:lnTo>
                          <a:pt x="680" y="810"/>
                        </a:lnTo>
                        <a:lnTo>
                          <a:pt x="680" y="814"/>
                        </a:lnTo>
                        <a:lnTo>
                          <a:pt x="686" y="818"/>
                        </a:lnTo>
                        <a:lnTo>
                          <a:pt x="696" y="824"/>
                        </a:lnTo>
                        <a:lnTo>
                          <a:pt x="696" y="824"/>
                        </a:lnTo>
                        <a:lnTo>
                          <a:pt x="704" y="828"/>
                        </a:lnTo>
                        <a:lnTo>
                          <a:pt x="708" y="834"/>
                        </a:lnTo>
                        <a:lnTo>
                          <a:pt x="706" y="838"/>
                        </a:lnTo>
                        <a:lnTo>
                          <a:pt x="702" y="844"/>
                        </a:lnTo>
                        <a:lnTo>
                          <a:pt x="700" y="850"/>
                        </a:lnTo>
                        <a:lnTo>
                          <a:pt x="698" y="854"/>
                        </a:lnTo>
                        <a:lnTo>
                          <a:pt x="702" y="858"/>
                        </a:lnTo>
                        <a:lnTo>
                          <a:pt x="710" y="862"/>
                        </a:lnTo>
                        <a:lnTo>
                          <a:pt x="710" y="862"/>
                        </a:lnTo>
                        <a:lnTo>
                          <a:pt x="720" y="864"/>
                        </a:lnTo>
                        <a:lnTo>
                          <a:pt x="726" y="870"/>
                        </a:lnTo>
                        <a:lnTo>
                          <a:pt x="730" y="876"/>
                        </a:lnTo>
                        <a:lnTo>
                          <a:pt x="730" y="882"/>
                        </a:lnTo>
                        <a:lnTo>
                          <a:pt x="728" y="888"/>
                        </a:lnTo>
                        <a:lnTo>
                          <a:pt x="722" y="894"/>
                        </a:lnTo>
                        <a:lnTo>
                          <a:pt x="716" y="898"/>
                        </a:lnTo>
                        <a:lnTo>
                          <a:pt x="706" y="902"/>
                        </a:lnTo>
                        <a:lnTo>
                          <a:pt x="706" y="902"/>
                        </a:lnTo>
                        <a:lnTo>
                          <a:pt x="698" y="904"/>
                        </a:lnTo>
                        <a:lnTo>
                          <a:pt x="694" y="906"/>
                        </a:lnTo>
                        <a:lnTo>
                          <a:pt x="690" y="910"/>
                        </a:lnTo>
                        <a:lnTo>
                          <a:pt x="690" y="916"/>
                        </a:lnTo>
                        <a:lnTo>
                          <a:pt x="690" y="922"/>
                        </a:lnTo>
                        <a:lnTo>
                          <a:pt x="694" y="928"/>
                        </a:lnTo>
                        <a:lnTo>
                          <a:pt x="704" y="942"/>
                        </a:lnTo>
                        <a:lnTo>
                          <a:pt x="704" y="942"/>
                        </a:lnTo>
                        <a:lnTo>
                          <a:pt x="708" y="948"/>
                        </a:lnTo>
                        <a:lnTo>
                          <a:pt x="708" y="952"/>
                        </a:lnTo>
                        <a:lnTo>
                          <a:pt x="704" y="956"/>
                        </a:lnTo>
                        <a:lnTo>
                          <a:pt x="698" y="956"/>
                        </a:lnTo>
                        <a:lnTo>
                          <a:pt x="686" y="960"/>
                        </a:lnTo>
                        <a:lnTo>
                          <a:pt x="682" y="960"/>
                        </a:lnTo>
                        <a:lnTo>
                          <a:pt x="684" y="964"/>
                        </a:lnTo>
                        <a:lnTo>
                          <a:pt x="684" y="964"/>
                        </a:lnTo>
                        <a:lnTo>
                          <a:pt x="690" y="972"/>
                        </a:lnTo>
                        <a:lnTo>
                          <a:pt x="696" y="980"/>
                        </a:lnTo>
                        <a:lnTo>
                          <a:pt x="698" y="984"/>
                        </a:lnTo>
                        <a:lnTo>
                          <a:pt x="702" y="986"/>
                        </a:lnTo>
                        <a:lnTo>
                          <a:pt x="706" y="986"/>
                        </a:lnTo>
                        <a:lnTo>
                          <a:pt x="710" y="984"/>
                        </a:lnTo>
                        <a:lnTo>
                          <a:pt x="710" y="984"/>
                        </a:lnTo>
                        <a:lnTo>
                          <a:pt x="716" y="984"/>
                        </a:lnTo>
                        <a:lnTo>
                          <a:pt x="722" y="984"/>
                        </a:lnTo>
                        <a:lnTo>
                          <a:pt x="738" y="988"/>
                        </a:lnTo>
                        <a:lnTo>
                          <a:pt x="744" y="990"/>
                        </a:lnTo>
                        <a:lnTo>
                          <a:pt x="752" y="988"/>
                        </a:lnTo>
                        <a:lnTo>
                          <a:pt x="758" y="984"/>
                        </a:lnTo>
                        <a:lnTo>
                          <a:pt x="764" y="974"/>
                        </a:lnTo>
                        <a:lnTo>
                          <a:pt x="764" y="974"/>
                        </a:lnTo>
                        <a:lnTo>
                          <a:pt x="768" y="970"/>
                        </a:lnTo>
                        <a:lnTo>
                          <a:pt x="770" y="966"/>
                        </a:lnTo>
                        <a:lnTo>
                          <a:pt x="780" y="960"/>
                        </a:lnTo>
                        <a:lnTo>
                          <a:pt x="790" y="960"/>
                        </a:lnTo>
                        <a:lnTo>
                          <a:pt x="800" y="960"/>
                        </a:lnTo>
                        <a:lnTo>
                          <a:pt x="808" y="962"/>
                        </a:lnTo>
                        <a:lnTo>
                          <a:pt x="816" y="966"/>
                        </a:lnTo>
                        <a:lnTo>
                          <a:pt x="818" y="970"/>
                        </a:lnTo>
                        <a:lnTo>
                          <a:pt x="818" y="972"/>
                        </a:lnTo>
                        <a:lnTo>
                          <a:pt x="818" y="972"/>
                        </a:lnTo>
                        <a:lnTo>
                          <a:pt x="818" y="972"/>
                        </a:lnTo>
                        <a:lnTo>
                          <a:pt x="812" y="978"/>
                        </a:lnTo>
                        <a:lnTo>
                          <a:pt x="810" y="980"/>
                        </a:lnTo>
                        <a:lnTo>
                          <a:pt x="812" y="982"/>
                        </a:lnTo>
                        <a:lnTo>
                          <a:pt x="818" y="982"/>
                        </a:lnTo>
                        <a:lnTo>
                          <a:pt x="822" y="984"/>
                        </a:lnTo>
                        <a:lnTo>
                          <a:pt x="828" y="986"/>
                        </a:lnTo>
                        <a:lnTo>
                          <a:pt x="828" y="990"/>
                        </a:lnTo>
                        <a:lnTo>
                          <a:pt x="826" y="994"/>
                        </a:lnTo>
                        <a:lnTo>
                          <a:pt x="826" y="994"/>
                        </a:lnTo>
                        <a:lnTo>
                          <a:pt x="824" y="998"/>
                        </a:lnTo>
                        <a:lnTo>
                          <a:pt x="824" y="1000"/>
                        </a:lnTo>
                        <a:lnTo>
                          <a:pt x="828" y="1006"/>
                        </a:lnTo>
                        <a:lnTo>
                          <a:pt x="836" y="1010"/>
                        </a:lnTo>
                        <a:lnTo>
                          <a:pt x="846" y="1014"/>
                        </a:lnTo>
                        <a:lnTo>
                          <a:pt x="866" y="1020"/>
                        </a:lnTo>
                        <a:lnTo>
                          <a:pt x="872" y="1022"/>
                        </a:lnTo>
                        <a:lnTo>
                          <a:pt x="874" y="1024"/>
                        </a:lnTo>
                        <a:lnTo>
                          <a:pt x="874" y="1024"/>
                        </a:lnTo>
                        <a:lnTo>
                          <a:pt x="874" y="1024"/>
                        </a:lnTo>
                        <a:lnTo>
                          <a:pt x="868" y="1034"/>
                        </a:lnTo>
                        <a:lnTo>
                          <a:pt x="866" y="1040"/>
                        </a:lnTo>
                        <a:lnTo>
                          <a:pt x="868" y="1044"/>
                        </a:lnTo>
                        <a:lnTo>
                          <a:pt x="874" y="1050"/>
                        </a:lnTo>
                        <a:lnTo>
                          <a:pt x="874" y="1050"/>
                        </a:lnTo>
                        <a:lnTo>
                          <a:pt x="874" y="1052"/>
                        </a:lnTo>
                        <a:lnTo>
                          <a:pt x="872" y="1054"/>
                        </a:lnTo>
                        <a:lnTo>
                          <a:pt x="862" y="1052"/>
                        </a:lnTo>
                        <a:lnTo>
                          <a:pt x="848" y="1048"/>
                        </a:lnTo>
                        <a:lnTo>
                          <a:pt x="832" y="1040"/>
                        </a:lnTo>
                        <a:lnTo>
                          <a:pt x="832" y="1040"/>
                        </a:lnTo>
                        <a:lnTo>
                          <a:pt x="822" y="1036"/>
                        </a:lnTo>
                        <a:lnTo>
                          <a:pt x="810" y="1032"/>
                        </a:lnTo>
                        <a:lnTo>
                          <a:pt x="784" y="1028"/>
                        </a:lnTo>
                        <a:lnTo>
                          <a:pt x="758" y="1028"/>
                        </a:lnTo>
                        <a:lnTo>
                          <a:pt x="748" y="1030"/>
                        </a:lnTo>
                        <a:lnTo>
                          <a:pt x="742" y="1032"/>
                        </a:lnTo>
                        <a:lnTo>
                          <a:pt x="742" y="1032"/>
                        </a:lnTo>
                        <a:lnTo>
                          <a:pt x="738" y="1036"/>
                        </a:lnTo>
                        <a:lnTo>
                          <a:pt x="740" y="1042"/>
                        </a:lnTo>
                        <a:lnTo>
                          <a:pt x="744" y="1046"/>
                        </a:lnTo>
                        <a:lnTo>
                          <a:pt x="750" y="1050"/>
                        </a:lnTo>
                        <a:lnTo>
                          <a:pt x="764" y="1056"/>
                        </a:lnTo>
                        <a:lnTo>
                          <a:pt x="782" y="1060"/>
                        </a:lnTo>
                        <a:lnTo>
                          <a:pt x="782" y="1060"/>
                        </a:lnTo>
                        <a:lnTo>
                          <a:pt x="796" y="1060"/>
                        </a:lnTo>
                        <a:lnTo>
                          <a:pt x="804" y="1064"/>
                        </a:lnTo>
                        <a:lnTo>
                          <a:pt x="810" y="1068"/>
                        </a:lnTo>
                        <a:lnTo>
                          <a:pt x="816" y="1072"/>
                        </a:lnTo>
                        <a:lnTo>
                          <a:pt x="820" y="1078"/>
                        </a:lnTo>
                        <a:lnTo>
                          <a:pt x="824" y="1082"/>
                        </a:lnTo>
                        <a:lnTo>
                          <a:pt x="832" y="1086"/>
                        </a:lnTo>
                        <a:lnTo>
                          <a:pt x="844" y="1088"/>
                        </a:lnTo>
                        <a:lnTo>
                          <a:pt x="844" y="1088"/>
                        </a:lnTo>
                        <a:lnTo>
                          <a:pt x="856" y="1090"/>
                        </a:lnTo>
                        <a:lnTo>
                          <a:pt x="864" y="1092"/>
                        </a:lnTo>
                        <a:lnTo>
                          <a:pt x="868" y="1096"/>
                        </a:lnTo>
                        <a:lnTo>
                          <a:pt x="870" y="1098"/>
                        </a:lnTo>
                        <a:lnTo>
                          <a:pt x="866" y="1108"/>
                        </a:lnTo>
                        <a:lnTo>
                          <a:pt x="866" y="1112"/>
                        </a:lnTo>
                        <a:lnTo>
                          <a:pt x="868" y="1118"/>
                        </a:lnTo>
                        <a:lnTo>
                          <a:pt x="868" y="1118"/>
                        </a:lnTo>
                        <a:lnTo>
                          <a:pt x="872" y="1122"/>
                        </a:lnTo>
                        <a:lnTo>
                          <a:pt x="876" y="1120"/>
                        </a:lnTo>
                        <a:lnTo>
                          <a:pt x="880" y="1118"/>
                        </a:lnTo>
                        <a:lnTo>
                          <a:pt x="882" y="1114"/>
                        </a:lnTo>
                        <a:lnTo>
                          <a:pt x="888" y="1106"/>
                        </a:lnTo>
                        <a:lnTo>
                          <a:pt x="888" y="1106"/>
                        </a:lnTo>
                        <a:lnTo>
                          <a:pt x="890" y="1110"/>
                        </a:lnTo>
                        <a:lnTo>
                          <a:pt x="890" y="1110"/>
                        </a:lnTo>
                        <a:lnTo>
                          <a:pt x="888" y="1116"/>
                        </a:lnTo>
                        <a:lnTo>
                          <a:pt x="888" y="1122"/>
                        </a:lnTo>
                        <a:lnTo>
                          <a:pt x="882" y="1134"/>
                        </a:lnTo>
                        <a:lnTo>
                          <a:pt x="876" y="1148"/>
                        </a:lnTo>
                        <a:lnTo>
                          <a:pt x="872" y="1164"/>
                        </a:lnTo>
                        <a:lnTo>
                          <a:pt x="872" y="1164"/>
                        </a:lnTo>
                        <a:lnTo>
                          <a:pt x="870" y="1170"/>
                        </a:lnTo>
                        <a:lnTo>
                          <a:pt x="872" y="1176"/>
                        </a:lnTo>
                        <a:lnTo>
                          <a:pt x="876" y="1182"/>
                        </a:lnTo>
                        <a:lnTo>
                          <a:pt x="876" y="1184"/>
                        </a:lnTo>
                        <a:lnTo>
                          <a:pt x="876" y="1186"/>
                        </a:lnTo>
                        <a:lnTo>
                          <a:pt x="866" y="1192"/>
                        </a:lnTo>
                        <a:lnTo>
                          <a:pt x="866" y="1192"/>
                        </a:lnTo>
                        <a:lnTo>
                          <a:pt x="858" y="1194"/>
                        </a:lnTo>
                        <a:lnTo>
                          <a:pt x="850" y="1196"/>
                        </a:lnTo>
                        <a:lnTo>
                          <a:pt x="838" y="1192"/>
                        </a:lnTo>
                        <a:lnTo>
                          <a:pt x="828" y="1190"/>
                        </a:lnTo>
                        <a:lnTo>
                          <a:pt x="822" y="1190"/>
                        </a:lnTo>
                        <a:lnTo>
                          <a:pt x="818" y="1194"/>
                        </a:lnTo>
                        <a:lnTo>
                          <a:pt x="818" y="1194"/>
                        </a:lnTo>
                        <a:lnTo>
                          <a:pt x="812" y="1196"/>
                        </a:lnTo>
                        <a:lnTo>
                          <a:pt x="806" y="1198"/>
                        </a:lnTo>
                        <a:lnTo>
                          <a:pt x="796" y="1202"/>
                        </a:lnTo>
                        <a:lnTo>
                          <a:pt x="788" y="1204"/>
                        </a:lnTo>
                        <a:lnTo>
                          <a:pt x="786" y="1206"/>
                        </a:lnTo>
                        <a:lnTo>
                          <a:pt x="788" y="1210"/>
                        </a:lnTo>
                        <a:lnTo>
                          <a:pt x="788" y="1210"/>
                        </a:lnTo>
                        <a:lnTo>
                          <a:pt x="788" y="1212"/>
                        </a:lnTo>
                        <a:lnTo>
                          <a:pt x="788" y="1214"/>
                        </a:lnTo>
                        <a:lnTo>
                          <a:pt x="784" y="1214"/>
                        </a:lnTo>
                        <a:lnTo>
                          <a:pt x="784" y="1216"/>
                        </a:lnTo>
                        <a:lnTo>
                          <a:pt x="784" y="1216"/>
                        </a:lnTo>
                        <a:lnTo>
                          <a:pt x="790" y="1222"/>
                        </a:lnTo>
                        <a:lnTo>
                          <a:pt x="790" y="1222"/>
                        </a:lnTo>
                        <a:lnTo>
                          <a:pt x="794" y="1226"/>
                        </a:lnTo>
                        <a:lnTo>
                          <a:pt x="794" y="1228"/>
                        </a:lnTo>
                        <a:lnTo>
                          <a:pt x="792" y="1232"/>
                        </a:lnTo>
                        <a:lnTo>
                          <a:pt x="788" y="1234"/>
                        </a:lnTo>
                        <a:lnTo>
                          <a:pt x="778" y="1240"/>
                        </a:lnTo>
                        <a:lnTo>
                          <a:pt x="774" y="1242"/>
                        </a:lnTo>
                        <a:lnTo>
                          <a:pt x="774" y="1246"/>
                        </a:lnTo>
                        <a:lnTo>
                          <a:pt x="774" y="1246"/>
                        </a:lnTo>
                        <a:lnTo>
                          <a:pt x="774" y="1252"/>
                        </a:lnTo>
                        <a:lnTo>
                          <a:pt x="772" y="1260"/>
                        </a:lnTo>
                        <a:lnTo>
                          <a:pt x="762" y="1284"/>
                        </a:lnTo>
                        <a:lnTo>
                          <a:pt x="762" y="1284"/>
                        </a:lnTo>
                        <a:lnTo>
                          <a:pt x="762" y="1292"/>
                        </a:lnTo>
                        <a:lnTo>
                          <a:pt x="762" y="1296"/>
                        </a:lnTo>
                        <a:lnTo>
                          <a:pt x="766" y="1300"/>
                        </a:lnTo>
                        <a:lnTo>
                          <a:pt x="772" y="1302"/>
                        </a:lnTo>
                        <a:lnTo>
                          <a:pt x="788" y="1306"/>
                        </a:lnTo>
                        <a:lnTo>
                          <a:pt x="810" y="1306"/>
                        </a:lnTo>
                        <a:lnTo>
                          <a:pt x="810" y="1306"/>
                        </a:lnTo>
                        <a:lnTo>
                          <a:pt x="800" y="1312"/>
                        </a:lnTo>
                        <a:lnTo>
                          <a:pt x="790" y="1320"/>
                        </a:lnTo>
                        <a:lnTo>
                          <a:pt x="782" y="1328"/>
                        </a:lnTo>
                        <a:lnTo>
                          <a:pt x="776" y="1338"/>
                        </a:lnTo>
                        <a:lnTo>
                          <a:pt x="772" y="1346"/>
                        </a:lnTo>
                        <a:lnTo>
                          <a:pt x="772" y="1354"/>
                        </a:lnTo>
                        <a:lnTo>
                          <a:pt x="774" y="1362"/>
                        </a:lnTo>
                        <a:lnTo>
                          <a:pt x="780" y="1368"/>
                        </a:lnTo>
                        <a:lnTo>
                          <a:pt x="780" y="1368"/>
                        </a:lnTo>
                        <a:lnTo>
                          <a:pt x="786" y="1374"/>
                        </a:lnTo>
                        <a:lnTo>
                          <a:pt x="790" y="1378"/>
                        </a:lnTo>
                        <a:lnTo>
                          <a:pt x="792" y="1384"/>
                        </a:lnTo>
                        <a:lnTo>
                          <a:pt x="792" y="1390"/>
                        </a:lnTo>
                        <a:lnTo>
                          <a:pt x="792" y="1392"/>
                        </a:lnTo>
                        <a:lnTo>
                          <a:pt x="796" y="1392"/>
                        </a:lnTo>
                        <a:lnTo>
                          <a:pt x="796" y="1392"/>
                        </a:lnTo>
                        <a:lnTo>
                          <a:pt x="806" y="1394"/>
                        </a:lnTo>
                        <a:lnTo>
                          <a:pt x="812" y="1400"/>
                        </a:lnTo>
                        <a:lnTo>
                          <a:pt x="818" y="1406"/>
                        </a:lnTo>
                        <a:lnTo>
                          <a:pt x="818" y="1410"/>
                        </a:lnTo>
                        <a:lnTo>
                          <a:pt x="818" y="1414"/>
                        </a:lnTo>
                        <a:lnTo>
                          <a:pt x="818" y="1414"/>
                        </a:lnTo>
                        <a:lnTo>
                          <a:pt x="818" y="1420"/>
                        </a:lnTo>
                        <a:lnTo>
                          <a:pt x="818" y="1422"/>
                        </a:lnTo>
                        <a:lnTo>
                          <a:pt x="824" y="1426"/>
                        </a:lnTo>
                        <a:lnTo>
                          <a:pt x="828" y="1430"/>
                        </a:lnTo>
                        <a:lnTo>
                          <a:pt x="830" y="1434"/>
                        </a:lnTo>
                        <a:lnTo>
                          <a:pt x="830" y="1440"/>
                        </a:lnTo>
                        <a:lnTo>
                          <a:pt x="830" y="1440"/>
                        </a:lnTo>
                        <a:lnTo>
                          <a:pt x="830" y="1450"/>
                        </a:lnTo>
                        <a:lnTo>
                          <a:pt x="834" y="1452"/>
                        </a:lnTo>
                        <a:lnTo>
                          <a:pt x="836" y="1454"/>
                        </a:lnTo>
                        <a:lnTo>
                          <a:pt x="836" y="1462"/>
                        </a:lnTo>
                        <a:lnTo>
                          <a:pt x="836" y="1462"/>
                        </a:lnTo>
                        <a:lnTo>
                          <a:pt x="836" y="1476"/>
                        </a:lnTo>
                        <a:lnTo>
                          <a:pt x="836" y="1482"/>
                        </a:lnTo>
                        <a:lnTo>
                          <a:pt x="840" y="1488"/>
                        </a:lnTo>
                        <a:lnTo>
                          <a:pt x="842" y="1490"/>
                        </a:lnTo>
                        <a:lnTo>
                          <a:pt x="848" y="1488"/>
                        </a:lnTo>
                        <a:lnTo>
                          <a:pt x="852" y="1482"/>
                        </a:lnTo>
                        <a:lnTo>
                          <a:pt x="860" y="1470"/>
                        </a:lnTo>
                        <a:lnTo>
                          <a:pt x="860" y="1470"/>
                        </a:lnTo>
                        <a:lnTo>
                          <a:pt x="870" y="1454"/>
                        </a:lnTo>
                        <a:lnTo>
                          <a:pt x="872" y="1454"/>
                        </a:lnTo>
                        <a:lnTo>
                          <a:pt x="874" y="1456"/>
                        </a:lnTo>
                        <a:lnTo>
                          <a:pt x="876" y="1462"/>
                        </a:lnTo>
                        <a:lnTo>
                          <a:pt x="878" y="1462"/>
                        </a:lnTo>
                        <a:lnTo>
                          <a:pt x="882" y="1460"/>
                        </a:lnTo>
                        <a:lnTo>
                          <a:pt x="882" y="1460"/>
                        </a:lnTo>
                        <a:lnTo>
                          <a:pt x="888" y="1456"/>
                        </a:lnTo>
                        <a:lnTo>
                          <a:pt x="894" y="1454"/>
                        </a:lnTo>
                        <a:lnTo>
                          <a:pt x="900" y="1452"/>
                        </a:lnTo>
                        <a:lnTo>
                          <a:pt x="906" y="1454"/>
                        </a:lnTo>
                        <a:lnTo>
                          <a:pt x="912" y="1456"/>
                        </a:lnTo>
                        <a:lnTo>
                          <a:pt x="916" y="1458"/>
                        </a:lnTo>
                        <a:lnTo>
                          <a:pt x="918" y="1464"/>
                        </a:lnTo>
                        <a:lnTo>
                          <a:pt x="920" y="1470"/>
                        </a:lnTo>
                        <a:lnTo>
                          <a:pt x="920" y="1470"/>
                        </a:lnTo>
                        <a:lnTo>
                          <a:pt x="922" y="1474"/>
                        </a:lnTo>
                        <a:lnTo>
                          <a:pt x="920" y="1474"/>
                        </a:lnTo>
                        <a:lnTo>
                          <a:pt x="912" y="1470"/>
                        </a:lnTo>
                        <a:lnTo>
                          <a:pt x="902" y="1464"/>
                        </a:lnTo>
                        <a:lnTo>
                          <a:pt x="896" y="1462"/>
                        </a:lnTo>
                        <a:lnTo>
                          <a:pt x="890" y="1464"/>
                        </a:lnTo>
                        <a:lnTo>
                          <a:pt x="890" y="1464"/>
                        </a:lnTo>
                        <a:lnTo>
                          <a:pt x="888" y="1466"/>
                        </a:lnTo>
                        <a:lnTo>
                          <a:pt x="888" y="1468"/>
                        </a:lnTo>
                        <a:lnTo>
                          <a:pt x="894" y="1474"/>
                        </a:lnTo>
                        <a:lnTo>
                          <a:pt x="898" y="1474"/>
                        </a:lnTo>
                        <a:lnTo>
                          <a:pt x="898" y="1476"/>
                        </a:lnTo>
                        <a:lnTo>
                          <a:pt x="896" y="1478"/>
                        </a:lnTo>
                        <a:lnTo>
                          <a:pt x="890" y="1478"/>
                        </a:lnTo>
                        <a:lnTo>
                          <a:pt x="890" y="1478"/>
                        </a:lnTo>
                        <a:lnTo>
                          <a:pt x="884" y="1480"/>
                        </a:lnTo>
                        <a:lnTo>
                          <a:pt x="880" y="1480"/>
                        </a:lnTo>
                        <a:lnTo>
                          <a:pt x="880" y="1484"/>
                        </a:lnTo>
                        <a:lnTo>
                          <a:pt x="880" y="1486"/>
                        </a:lnTo>
                        <a:lnTo>
                          <a:pt x="880" y="1488"/>
                        </a:lnTo>
                        <a:lnTo>
                          <a:pt x="880" y="1490"/>
                        </a:lnTo>
                        <a:lnTo>
                          <a:pt x="876" y="1492"/>
                        </a:lnTo>
                        <a:lnTo>
                          <a:pt x="868" y="1492"/>
                        </a:lnTo>
                        <a:lnTo>
                          <a:pt x="868" y="1492"/>
                        </a:lnTo>
                        <a:lnTo>
                          <a:pt x="856" y="1494"/>
                        </a:lnTo>
                        <a:lnTo>
                          <a:pt x="856" y="1496"/>
                        </a:lnTo>
                        <a:lnTo>
                          <a:pt x="856" y="1496"/>
                        </a:lnTo>
                        <a:lnTo>
                          <a:pt x="860" y="1500"/>
                        </a:lnTo>
                        <a:lnTo>
                          <a:pt x="860" y="1502"/>
                        </a:lnTo>
                        <a:lnTo>
                          <a:pt x="858" y="1504"/>
                        </a:lnTo>
                        <a:lnTo>
                          <a:pt x="858" y="1504"/>
                        </a:lnTo>
                        <a:lnTo>
                          <a:pt x="854" y="1506"/>
                        </a:lnTo>
                        <a:lnTo>
                          <a:pt x="854" y="1506"/>
                        </a:lnTo>
                        <a:lnTo>
                          <a:pt x="856" y="1510"/>
                        </a:lnTo>
                        <a:lnTo>
                          <a:pt x="860" y="1514"/>
                        </a:lnTo>
                        <a:lnTo>
                          <a:pt x="862" y="1516"/>
                        </a:lnTo>
                        <a:lnTo>
                          <a:pt x="860" y="1518"/>
                        </a:lnTo>
                        <a:lnTo>
                          <a:pt x="860" y="1518"/>
                        </a:lnTo>
                        <a:lnTo>
                          <a:pt x="860" y="1522"/>
                        </a:lnTo>
                        <a:lnTo>
                          <a:pt x="860" y="1526"/>
                        </a:lnTo>
                        <a:lnTo>
                          <a:pt x="862" y="1534"/>
                        </a:lnTo>
                        <a:lnTo>
                          <a:pt x="874" y="1554"/>
                        </a:lnTo>
                        <a:lnTo>
                          <a:pt x="874" y="1554"/>
                        </a:lnTo>
                        <a:lnTo>
                          <a:pt x="878" y="1558"/>
                        </a:lnTo>
                        <a:lnTo>
                          <a:pt x="882" y="1560"/>
                        </a:lnTo>
                        <a:lnTo>
                          <a:pt x="890" y="1562"/>
                        </a:lnTo>
                        <a:lnTo>
                          <a:pt x="898" y="1562"/>
                        </a:lnTo>
                        <a:lnTo>
                          <a:pt x="898" y="1564"/>
                        </a:lnTo>
                        <a:lnTo>
                          <a:pt x="898" y="1568"/>
                        </a:lnTo>
                        <a:lnTo>
                          <a:pt x="898" y="1568"/>
                        </a:lnTo>
                        <a:lnTo>
                          <a:pt x="896" y="1572"/>
                        </a:lnTo>
                        <a:lnTo>
                          <a:pt x="898" y="1576"/>
                        </a:lnTo>
                        <a:lnTo>
                          <a:pt x="902" y="1582"/>
                        </a:lnTo>
                        <a:lnTo>
                          <a:pt x="906" y="1590"/>
                        </a:lnTo>
                        <a:lnTo>
                          <a:pt x="908" y="1594"/>
                        </a:lnTo>
                        <a:lnTo>
                          <a:pt x="908" y="1598"/>
                        </a:lnTo>
                        <a:lnTo>
                          <a:pt x="908" y="1598"/>
                        </a:lnTo>
                        <a:lnTo>
                          <a:pt x="908" y="1606"/>
                        </a:lnTo>
                        <a:lnTo>
                          <a:pt x="910" y="1610"/>
                        </a:lnTo>
                        <a:lnTo>
                          <a:pt x="914" y="1614"/>
                        </a:lnTo>
                        <a:lnTo>
                          <a:pt x="926" y="1618"/>
                        </a:lnTo>
                        <a:lnTo>
                          <a:pt x="926" y="1618"/>
                        </a:lnTo>
                        <a:lnTo>
                          <a:pt x="932" y="1622"/>
                        </a:lnTo>
                        <a:lnTo>
                          <a:pt x="934" y="1626"/>
                        </a:lnTo>
                        <a:lnTo>
                          <a:pt x="936" y="1630"/>
                        </a:lnTo>
                        <a:lnTo>
                          <a:pt x="934" y="1634"/>
                        </a:lnTo>
                        <a:lnTo>
                          <a:pt x="934" y="1640"/>
                        </a:lnTo>
                        <a:lnTo>
                          <a:pt x="934" y="1640"/>
                        </a:lnTo>
                        <a:lnTo>
                          <a:pt x="938" y="1640"/>
                        </a:lnTo>
                        <a:lnTo>
                          <a:pt x="938" y="1640"/>
                        </a:lnTo>
                        <a:lnTo>
                          <a:pt x="942" y="1640"/>
                        </a:lnTo>
                        <a:lnTo>
                          <a:pt x="944" y="1640"/>
                        </a:lnTo>
                        <a:lnTo>
                          <a:pt x="946" y="1648"/>
                        </a:lnTo>
                        <a:lnTo>
                          <a:pt x="946" y="1654"/>
                        </a:lnTo>
                        <a:lnTo>
                          <a:pt x="948" y="1656"/>
                        </a:lnTo>
                        <a:lnTo>
                          <a:pt x="950" y="1656"/>
                        </a:lnTo>
                        <a:lnTo>
                          <a:pt x="950" y="1656"/>
                        </a:lnTo>
                        <a:lnTo>
                          <a:pt x="956" y="1656"/>
                        </a:lnTo>
                        <a:lnTo>
                          <a:pt x="958" y="1656"/>
                        </a:lnTo>
                        <a:lnTo>
                          <a:pt x="958" y="1662"/>
                        </a:lnTo>
                        <a:lnTo>
                          <a:pt x="954" y="1672"/>
                        </a:lnTo>
                        <a:lnTo>
                          <a:pt x="954" y="1672"/>
                        </a:lnTo>
                        <a:lnTo>
                          <a:pt x="952" y="1676"/>
                        </a:lnTo>
                        <a:lnTo>
                          <a:pt x="956" y="1678"/>
                        </a:lnTo>
                        <a:lnTo>
                          <a:pt x="966" y="1678"/>
                        </a:lnTo>
                        <a:lnTo>
                          <a:pt x="978" y="1678"/>
                        </a:lnTo>
                        <a:lnTo>
                          <a:pt x="980" y="1680"/>
                        </a:lnTo>
                        <a:lnTo>
                          <a:pt x="980" y="1684"/>
                        </a:lnTo>
                        <a:lnTo>
                          <a:pt x="980" y="1684"/>
                        </a:lnTo>
                        <a:lnTo>
                          <a:pt x="978" y="1690"/>
                        </a:lnTo>
                        <a:lnTo>
                          <a:pt x="978" y="1692"/>
                        </a:lnTo>
                        <a:lnTo>
                          <a:pt x="980" y="1694"/>
                        </a:lnTo>
                        <a:lnTo>
                          <a:pt x="982" y="1694"/>
                        </a:lnTo>
                        <a:lnTo>
                          <a:pt x="990" y="1694"/>
                        </a:lnTo>
                        <a:lnTo>
                          <a:pt x="994" y="1696"/>
                        </a:lnTo>
                        <a:lnTo>
                          <a:pt x="996" y="1698"/>
                        </a:lnTo>
                        <a:lnTo>
                          <a:pt x="996" y="1698"/>
                        </a:lnTo>
                        <a:lnTo>
                          <a:pt x="998" y="1700"/>
                        </a:lnTo>
                        <a:lnTo>
                          <a:pt x="996" y="1702"/>
                        </a:lnTo>
                        <a:lnTo>
                          <a:pt x="994" y="1704"/>
                        </a:lnTo>
                        <a:lnTo>
                          <a:pt x="990" y="1706"/>
                        </a:lnTo>
                        <a:lnTo>
                          <a:pt x="990" y="1708"/>
                        </a:lnTo>
                        <a:lnTo>
                          <a:pt x="990" y="1712"/>
                        </a:lnTo>
                        <a:lnTo>
                          <a:pt x="990" y="1712"/>
                        </a:lnTo>
                        <a:lnTo>
                          <a:pt x="992" y="1722"/>
                        </a:lnTo>
                        <a:lnTo>
                          <a:pt x="996" y="1724"/>
                        </a:lnTo>
                        <a:lnTo>
                          <a:pt x="1000" y="1726"/>
                        </a:lnTo>
                        <a:lnTo>
                          <a:pt x="1004" y="1726"/>
                        </a:lnTo>
                        <a:lnTo>
                          <a:pt x="1010" y="1726"/>
                        </a:lnTo>
                        <a:lnTo>
                          <a:pt x="1016" y="1722"/>
                        </a:lnTo>
                        <a:lnTo>
                          <a:pt x="1024" y="1718"/>
                        </a:lnTo>
                        <a:lnTo>
                          <a:pt x="1024" y="1718"/>
                        </a:lnTo>
                        <a:lnTo>
                          <a:pt x="1032" y="1712"/>
                        </a:lnTo>
                        <a:lnTo>
                          <a:pt x="1038" y="1712"/>
                        </a:lnTo>
                        <a:lnTo>
                          <a:pt x="1040" y="1712"/>
                        </a:lnTo>
                        <a:lnTo>
                          <a:pt x="1044" y="1714"/>
                        </a:lnTo>
                        <a:lnTo>
                          <a:pt x="1048" y="1716"/>
                        </a:lnTo>
                        <a:lnTo>
                          <a:pt x="1050" y="1716"/>
                        </a:lnTo>
                        <a:lnTo>
                          <a:pt x="1054" y="1714"/>
                        </a:lnTo>
                        <a:lnTo>
                          <a:pt x="1054" y="1714"/>
                        </a:lnTo>
                        <a:lnTo>
                          <a:pt x="1064" y="1708"/>
                        </a:lnTo>
                        <a:lnTo>
                          <a:pt x="1072" y="1704"/>
                        </a:lnTo>
                        <a:lnTo>
                          <a:pt x="1080" y="1700"/>
                        </a:lnTo>
                        <a:lnTo>
                          <a:pt x="1080" y="1696"/>
                        </a:lnTo>
                        <a:lnTo>
                          <a:pt x="1080" y="1692"/>
                        </a:lnTo>
                        <a:lnTo>
                          <a:pt x="1080" y="1692"/>
                        </a:lnTo>
                        <a:lnTo>
                          <a:pt x="1080" y="1688"/>
                        </a:lnTo>
                        <a:lnTo>
                          <a:pt x="1082" y="1686"/>
                        </a:lnTo>
                        <a:lnTo>
                          <a:pt x="1084" y="1688"/>
                        </a:lnTo>
                        <a:lnTo>
                          <a:pt x="1086" y="1690"/>
                        </a:lnTo>
                        <a:lnTo>
                          <a:pt x="1088" y="1694"/>
                        </a:lnTo>
                        <a:lnTo>
                          <a:pt x="1090" y="1698"/>
                        </a:lnTo>
                        <a:lnTo>
                          <a:pt x="1090" y="1704"/>
                        </a:lnTo>
                        <a:lnTo>
                          <a:pt x="1086" y="1710"/>
                        </a:lnTo>
                        <a:lnTo>
                          <a:pt x="1086" y="1710"/>
                        </a:lnTo>
                        <a:lnTo>
                          <a:pt x="1078" y="1718"/>
                        </a:lnTo>
                        <a:lnTo>
                          <a:pt x="1076" y="1726"/>
                        </a:lnTo>
                        <a:lnTo>
                          <a:pt x="1076" y="1728"/>
                        </a:lnTo>
                        <a:lnTo>
                          <a:pt x="1078" y="1732"/>
                        </a:lnTo>
                        <a:lnTo>
                          <a:pt x="1090" y="1738"/>
                        </a:lnTo>
                        <a:lnTo>
                          <a:pt x="1090" y="1738"/>
                        </a:lnTo>
                        <a:lnTo>
                          <a:pt x="1098" y="1740"/>
                        </a:lnTo>
                        <a:lnTo>
                          <a:pt x="1106" y="1740"/>
                        </a:lnTo>
                        <a:lnTo>
                          <a:pt x="1120" y="1738"/>
                        </a:lnTo>
                        <a:lnTo>
                          <a:pt x="1124" y="1738"/>
                        </a:lnTo>
                        <a:lnTo>
                          <a:pt x="1126" y="1740"/>
                        </a:lnTo>
                        <a:lnTo>
                          <a:pt x="1126" y="1744"/>
                        </a:lnTo>
                        <a:lnTo>
                          <a:pt x="1120" y="1752"/>
                        </a:lnTo>
                        <a:lnTo>
                          <a:pt x="1120" y="1752"/>
                        </a:lnTo>
                        <a:lnTo>
                          <a:pt x="1116" y="1758"/>
                        </a:lnTo>
                        <a:lnTo>
                          <a:pt x="1116" y="1762"/>
                        </a:lnTo>
                        <a:lnTo>
                          <a:pt x="1118" y="1766"/>
                        </a:lnTo>
                        <a:lnTo>
                          <a:pt x="1122" y="1768"/>
                        </a:lnTo>
                        <a:lnTo>
                          <a:pt x="1126" y="1770"/>
                        </a:lnTo>
                        <a:lnTo>
                          <a:pt x="1132" y="1770"/>
                        </a:lnTo>
                        <a:lnTo>
                          <a:pt x="1136" y="1768"/>
                        </a:lnTo>
                        <a:lnTo>
                          <a:pt x="1140" y="1766"/>
                        </a:lnTo>
                        <a:lnTo>
                          <a:pt x="1140" y="1766"/>
                        </a:lnTo>
                        <a:lnTo>
                          <a:pt x="1150" y="1760"/>
                        </a:lnTo>
                        <a:lnTo>
                          <a:pt x="1154" y="1758"/>
                        </a:lnTo>
                        <a:lnTo>
                          <a:pt x="1156" y="1758"/>
                        </a:lnTo>
                        <a:lnTo>
                          <a:pt x="1162" y="1762"/>
                        </a:lnTo>
                        <a:lnTo>
                          <a:pt x="1170" y="1770"/>
                        </a:lnTo>
                        <a:lnTo>
                          <a:pt x="1170" y="1770"/>
                        </a:lnTo>
                        <a:lnTo>
                          <a:pt x="1182" y="1776"/>
                        </a:lnTo>
                        <a:lnTo>
                          <a:pt x="1186" y="1776"/>
                        </a:lnTo>
                        <a:lnTo>
                          <a:pt x="1190" y="1776"/>
                        </a:lnTo>
                        <a:lnTo>
                          <a:pt x="1194" y="1774"/>
                        </a:lnTo>
                        <a:lnTo>
                          <a:pt x="1196" y="1768"/>
                        </a:lnTo>
                        <a:lnTo>
                          <a:pt x="1198" y="1764"/>
                        </a:lnTo>
                        <a:lnTo>
                          <a:pt x="1200" y="1756"/>
                        </a:lnTo>
                        <a:lnTo>
                          <a:pt x="1200" y="1756"/>
                        </a:lnTo>
                        <a:lnTo>
                          <a:pt x="1200" y="1750"/>
                        </a:lnTo>
                        <a:lnTo>
                          <a:pt x="1198" y="1746"/>
                        </a:lnTo>
                        <a:lnTo>
                          <a:pt x="1194" y="1746"/>
                        </a:lnTo>
                        <a:lnTo>
                          <a:pt x="1192" y="1746"/>
                        </a:lnTo>
                        <a:lnTo>
                          <a:pt x="1186" y="1746"/>
                        </a:lnTo>
                        <a:lnTo>
                          <a:pt x="1186" y="1746"/>
                        </a:lnTo>
                        <a:lnTo>
                          <a:pt x="1186" y="1744"/>
                        </a:lnTo>
                        <a:lnTo>
                          <a:pt x="1186" y="1744"/>
                        </a:lnTo>
                        <a:lnTo>
                          <a:pt x="1190" y="1740"/>
                        </a:lnTo>
                        <a:lnTo>
                          <a:pt x="1194" y="1738"/>
                        </a:lnTo>
                        <a:lnTo>
                          <a:pt x="1204" y="1734"/>
                        </a:lnTo>
                        <a:lnTo>
                          <a:pt x="1208" y="1732"/>
                        </a:lnTo>
                        <a:lnTo>
                          <a:pt x="1210" y="1728"/>
                        </a:lnTo>
                        <a:lnTo>
                          <a:pt x="1212" y="1724"/>
                        </a:lnTo>
                        <a:lnTo>
                          <a:pt x="1212" y="1718"/>
                        </a:lnTo>
                        <a:lnTo>
                          <a:pt x="1212" y="1718"/>
                        </a:lnTo>
                        <a:lnTo>
                          <a:pt x="1210" y="1712"/>
                        </a:lnTo>
                        <a:lnTo>
                          <a:pt x="1214" y="1702"/>
                        </a:lnTo>
                        <a:lnTo>
                          <a:pt x="1224" y="1676"/>
                        </a:lnTo>
                        <a:lnTo>
                          <a:pt x="1234" y="1652"/>
                        </a:lnTo>
                        <a:lnTo>
                          <a:pt x="1236" y="1640"/>
                        </a:lnTo>
                        <a:lnTo>
                          <a:pt x="1236" y="1630"/>
                        </a:lnTo>
                        <a:lnTo>
                          <a:pt x="1236" y="1630"/>
                        </a:lnTo>
                        <a:lnTo>
                          <a:pt x="1234" y="1624"/>
                        </a:lnTo>
                        <a:lnTo>
                          <a:pt x="1232" y="1622"/>
                        </a:lnTo>
                        <a:lnTo>
                          <a:pt x="1230" y="1622"/>
                        </a:lnTo>
                        <a:lnTo>
                          <a:pt x="1228" y="1622"/>
                        </a:lnTo>
                        <a:lnTo>
                          <a:pt x="1226" y="1622"/>
                        </a:lnTo>
                        <a:lnTo>
                          <a:pt x="1222" y="1622"/>
                        </a:lnTo>
                        <a:lnTo>
                          <a:pt x="1220" y="1620"/>
                        </a:lnTo>
                        <a:lnTo>
                          <a:pt x="1214" y="1616"/>
                        </a:lnTo>
                        <a:lnTo>
                          <a:pt x="1214" y="1616"/>
                        </a:lnTo>
                        <a:lnTo>
                          <a:pt x="1212" y="1610"/>
                        </a:lnTo>
                        <a:lnTo>
                          <a:pt x="1212" y="1610"/>
                        </a:lnTo>
                        <a:lnTo>
                          <a:pt x="1222" y="1612"/>
                        </a:lnTo>
                        <a:lnTo>
                          <a:pt x="1232" y="1614"/>
                        </a:lnTo>
                        <a:lnTo>
                          <a:pt x="1236" y="1614"/>
                        </a:lnTo>
                        <a:lnTo>
                          <a:pt x="1236" y="1610"/>
                        </a:lnTo>
                        <a:lnTo>
                          <a:pt x="1236" y="1610"/>
                        </a:lnTo>
                        <a:lnTo>
                          <a:pt x="1234" y="1604"/>
                        </a:lnTo>
                        <a:lnTo>
                          <a:pt x="1232" y="1602"/>
                        </a:lnTo>
                        <a:lnTo>
                          <a:pt x="1226" y="1600"/>
                        </a:lnTo>
                        <a:lnTo>
                          <a:pt x="1220" y="1598"/>
                        </a:lnTo>
                        <a:lnTo>
                          <a:pt x="1220" y="1596"/>
                        </a:lnTo>
                        <a:lnTo>
                          <a:pt x="1222" y="1592"/>
                        </a:lnTo>
                        <a:lnTo>
                          <a:pt x="1222" y="1592"/>
                        </a:lnTo>
                        <a:lnTo>
                          <a:pt x="1226" y="1590"/>
                        </a:lnTo>
                        <a:lnTo>
                          <a:pt x="1230" y="1588"/>
                        </a:lnTo>
                        <a:lnTo>
                          <a:pt x="1244" y="1584"/>
                        </a:lnTo>
                        <a:lnTo>
                          <a:pt x="1250" y="1582"/>
                        </a:lnTo>
                        <a:lnTo>
                          <a:pt x="1256" y="1580"/>
                        </a:lnTo>
                        <a:lnTo>
                          <a:pt x="1260" y="1574"/>
                        </a:lnTo>
                        <a:lnTo>
                          <a:pt x="1262" y="1566"/>
                        </a:lnTo>
                        <a:lnTo>
                          <a:pt x="1262" y="1566"/>
                        </a:lnTo>
                        <a:lnTo>
                          <a:pt x="1264" y="1560"/>
                        </a:lnTo>
                        <a:lnTo>
                          <a:pt x="1266" y="1558"/>
                        </a:lnTo>
                        <a:lnTo>
                          <a:pt x="1268" y="1558"/>
                        </a:lnTo>
                        <a:lnTo>
                          <a:pt x="1272" y="1560"/>
                        </a:lnTo>
                        <a:lnTo>
                          <a:pt x="1278" y="1562"/>
                        </a:lnTo>
                        <a:lnTo>
                          <a:pt x="1280" y="1560"/>
                        </a:lnTo>
                        <a:lnTo>
                          <a:pt x="1280" y="1556"/>
                        </a:lnTo>
                        <a:lnTo>
                          <a:pt x="1280" y="1556"/>
                        </a:lnTo>
                        <a:lnTo>
                          <a:pt x="1282" y="1550"/>
                        </a:lnTo>
                        <a:lnTo>
                          <a:pt x="1284" y="1546"/>
                        </a:lnTo>
                        <a:lnTo>
                          <a:pt x="1294" y="1538"/>
                        </a:lnTo>
                        <a:lnTo>
                          <a:pt x="1300" y="1530"/>
                        </a:lnTo>
                        <a:lnTo>
                          <a:pt x="1302" y="1526"/>
                        </a:lnTo>
                        <a:lnTo>
                          <a:pt x="1302" y="1520"/>
                        </a:lnTo>
                        <a:lnTo>
                          <a:pt x="1302" y="1520"/>
                        </a:lnTo>
                        <a:lnTo>
                          <a:pt x="1300" y="1510"/>
                        </a:lnTo>
                        <a:lnTo>
                          <a:pt x="1300" y="1502"/>
                        </a:lnTo>
                        <a:lnTo>
                          <a:pt x="1300" y="1500"/>
                        </a:lnTo>
                        <a:lnTo>
                          <a:pt x="1298" y="1500"/>
                        </a:lnTo>
                        <a:lnTo>
                          <a:pt x="1286" y="1498"/>
                        </a:lnTo>
                        <a:lnTo>
                          <a:pt x="1286" y="1498"/>
                        </a:lnTo>
                        <a:lnTo>
                          <a:pt x="1278" y="1498"/>
                        </a:lnTo>
                        <a:lnTo>
                          <a:pt x="1270" y="1496"/>
                        </a:lnTo>
                        <a:lnTo>
                          <a:pt x="1266" y="1492"/>
                        </a:lnTo>
                        <a:lnTo>
                          <a:pt x="1262" y="1490"/>
                        </a:lnTo>
                        <a:lnTo>
                          <a:pt x="1260" y="1486"/>
                        </a:lnTo>
                        <a:lnTo>
                          <a:pt x="1262" y="1486"/>
                        </a:lnTo>
                        <a:lnTo>
                          <a:pt x="1264" y="1484"/>
                        </a:lnTo>
                        <a:lnTo>
                          <a:pt x="1270" y="1486"/>
                        </a:lnTo>
                        <a:lnTo>
                          <a:pt x="1270" y="1486"/>
                        </a:lnTo>
                        <a:lnTo>
                          <a:pt x="1276" y="1486"/>
                        </a:lnTo>
                        <a:lnTo>
                          <a:pt x="1280" y="1486"/>
                        </a:lnTo>
                        <a:lnTo>
                          <a:pt x="1288" y="1484"/>
                        </a:lnTo>
                        <a:lnTo>
                          <a:pt x="1294" y="1482"/>
                        </a:lnTo>
                        <a:lnTo>
                          <a:pt x="1300" y="1482"/>
                        </a:lnTo>
                        <a:lnTo>
                          <a:pt x="1300" y="1482"/>
                        </a:lnTo>
                        <a:lnTo>
                          <a:pt x="1308" y="1482"/>
                        </a:lnTo>
                        <a:lnTo>
                          <a:pt x="1308" y="1482"/>
                        </a:lnTo>
                        <a:lnTo>
                          <a:pt x="1308" y="1478"/>
                        </a:lnTo>
                        <a:lnTo>
                          <a:pt x="1302" y="1470"/>
                        </a:lnTo>
                        <a:lnTo>
                          <a:pt x="1290" y="1454"/>
                        </a:lnTo>
                        <a:lnTo>
                          <a:pt x="1290" y="1454"/>
                        </a:lnTo>
                        <a:lnTo>
                          <a:pt x="1282" y="1448"/>
                        </a:lnTo>
                        <a:lnTo>
                          <a:pt x="1280" y="1442"/>
                        </a:lnTo>
                        <a:lnTo>
                          <a:pt x="1280" y="1438"/>
                        </a:lnTo>
                        <a:lnTo>
                          <a:pt x="1284" y="1434"/>
                        </a:lnTo>
                        <a:lnTo>
                          <a:pt x="1288" y="1434"/>
                        </a:lnTo>
                        <a:lnTo>
                          <a:pt x="1296" y="1434"/>
                        </a:lnTo>
                        <a:lnTo>
                          <a:pt x="1310" y="1438"/>
                        </a:lnTo>
                        <a:lnTo>
                          <a:pt x="1310" y="1438"/>
                        </a:lnTo>
                        <a:lnTo>
                          <a:pt x="1316" y="1438"/>
                        </a:lnTo>
                        <a:lnTo>
                          <a:pt x="1320" y="1436"/>
                        </a:lnTo>
                        <a:lnTo>
                          <a:pt x="1324" y="1434"/>
                        </a:lnTo>
                        <a:lnTo>
                          <a:pt x="1326" y="1430"/>
                        </a:lnTo>
                        <a:lnTo>
                          <a:pt x="1332" y="1420"/>
                        </a:lnTo>
                        <a:lnTo>
                          <a:pt x="1334" y="1418"/>
                        </a:lnTo>
                        <a:lnTo>
                          <a:pt x="1338" y="1418"/>
                        </a:lnTo>
                        <a:lnTo>
                          <a:pt x="1338" y="1418"/>
                        </a:lnTo>
                        <a:lnTo>
                          <a:pt x="1344" y="1420"/>
                        </a:lnTo>
                        <a:lnTo>
                          <a:pt x="1346" y="1418"/>
                        </a:lnTo>
                        <a:lnTo>
                          <a:pt x="1344" y="1414"/>
                        </a:lnTo>
                        <a:lnTo>
                          <a:pt x="1334" y="1408"/>
                        </a:lnTo>
                        <a:lnTo>
                          <a:pt x="1334" y="1408"/>
                        </a:lnTo>
                        <a:lnTo>
                          <a:pt x="1326" y="1404"/>
                        </a:lnTo>
                        <a:lnTo>
                          <a:pt x="1324" y="1404"/>
                        </a:lnTo>
                        <a:lnTo>
                          <a:pt x="1326" y="1402"/>
                        </a:lnTo>
                        <a:lnTo>
                          <a:pt x="1330" y="1402"/>
                        </a:lnTo>
                        <a:lnTo>
                          <a:pt x="1338" y="1400"/>
                        </a:lnTo>
                        <a:lnTo>
                          <a:pt x="1338" y="1400"/>
                        </a:lnTo>
                        <a:lnTo>
                          <a:pt x="1344" y="1398"/>
                        </a:lnTo>
                        <a:lnTo>
                          <a:pt x="1352" y="1398"/>
                        </a:lnTo>
                        <a:lnTo>
                          <a:pt x="1360" y="1400"/>
                        </a:lnTo>
                        <a:lnTo>
                          <a:pt x="1370" y="1398"/>
                        </a:lnTo>
                        <a:lnTo>
                          <a:pt x="1370" y="1398"/>
                        </a:lnTo>
                        <a:lnTo>
                          <a:pt x="1380" y="1396"/>
                        </a:lnTo>
                        <a:lnTo>
                          <a:pt x="1388" y="1396"/>
                        </a:lnTo>
                        <a:lnTo>
                          <a:pt x="1394" y="1396"/>
                        </a:lnTo>
                        <a:lnTo>
                          <a:pt x="1398" y="1390"/>
                        </a:lnTo>
                        <a:lnTo>
                          <a:pt x="1398" y="1390"/>
                        </a:lnTo>
                        <a:lnTo>
                          <a:pt x="1400" y="1386"/>
                        </a:lnTo>
                        <a:lnTo>
                          <a:pt x="1398" y="1384"/>
                        </a:lnTo>
                        <a:lnTo>
                          <a:pt x="1396" y="1380"/>
                        </a:lnTo>
                        <a:lnTo>
                          <a:pt x="1402" y="1376"/>
                        </a:lnTo>
                        <a:lnTo>
                          <a:pt x="1402" y="1376"/>
                        </a:lnTo>
                        <a:lnTo>
                          <a:pt x="1404" y="1372"/>
                        </a:lnTo>
                        <a:lnTo>
                          <a:pt x="1404" y="1368"/>
                        </a:lnTo>
                        <a:lnTo>
                          <a:pt x="1404" y="1364"/>
                        </a:lnTo>
                        <a:lnTo>
                          <a:pt x="1410" y="1360"/>
                        </a:lnTo>
                        <a:lnTo>
                          <a:pt x="1410" y="1360"/>
                        </a:lnTo>
                        <a:lnTo>
                          <a:pt x="1414" y="1356"/>
                        </a:lnTo>
                        <a:lnTo>
                          <a:pt x="1416" y="1354"/>
                        </a:lnTo>
                        <a:lnTo>
                          <a:pt x="1414" y="1352"/>
                        </a:lnTo>
                        <a:lnTo>
                          <a:pt x="1412" y="1350"/>
                        </a:lnTo>
                        <a:lnTo>
                          <a:pt x="1406" y="1346"/>
                        </a:lnTo>
                        <a:lnTo>
                          <a:pt x="1406" y="1344"/>
                        </a:lnTo>
                        <a:lnTo>
                          <a:pt x="1406" y="1344"/>
                        </a:lnTo>
                        <a:lnTo>
                          <a:pt x="1406" y="1344"/>
                        </a:lnTo>
                        <a:lnTo>
                          <a:pt x="1410" y="1342"/>
                        </a:lnTo>
                        <a:lnTo>
                          <a:pt x="1414" y="1344"/>
                        </a:lnTo>
                        <a:lnTo>
                          <a:pt x="1420" y="1344"/>
                        </a:lnTo>
                        <a:lnTo>
                          <a:pt x="1430" y="1344"/>
                        </a:lnTo>
                        <a:lnTo>
                          <a:pt x="1430" y="1344"/>
                        </a:lnTo>
                        <a:lnTo>
                          <a:pt x="1436" y="1344"/>
                        </a:lnTo>
                        <a:lnTo>
                          <a:pt x="1434" y="1348"/>
                        </a:lnTo>
                        <a:lnTo>
                          <a:pt x="1428" y="1352"/>
                        </a:lnTo>
                        <a:lnTo>
                          <a:pt x="1424" y="1358"/>
                        </a:lnTo>
                        <a:lnTo>
                          <a:pt x="1424" y="1358"/>
                        </a:lnTo>
                        <a:lnTo>
                          <a:pt x="1422" y="1362"/>
                        </a:lnTo>
                        <a:lnTo>
                          <a:pt x="1418" y="1364"/>
                        </a:lnTo>
                        <a:lnTo>
                          <a:pt x="1414" y="1368"/>
                        </a:lnTo>
                        <a:lnTo>
                          <a:pt x="1412" y="1372"/>
                        </a:lnTo>
                        <a:lnTo>
                          <a:pt x="1412" y="1372"/>
                        </a:lnTo>
                        <a:lnTo>
                          <a:pt x="1410" y="1378"/>
                        </a:lnTo>
                        <a:lnTo>
                          <a:pt x="1408" y="1386"/>
                        </a:lnTo>
                        <a:lnTo>
                          <a:pt x="1406" y="1392"/>
                        </a:lnTo>
                        <a:lnTo>
                          <a:pt x="1406" y="1394"/>
                        </a:lnTo>
                        <a:lnTo>
                          <a:pt x="1408" y="1396"/>
                        </a:lnTo>
                        <a:lnTo>
                          <a:pt x="1408" y="1396"/>
                        </a:lnTo>
                        <a:lnTo>
                          <a:pt x="1414" y="1398"/>
                        </a:lnTo>
                        <a:lnTo>
                          <a:pt x="1420" y="1398"/>
                        </a:lnTo>
                        <a:lnTo>
                          <a:pt x="1426" y="1396"/>
                        </a:lnTo>
                        <a:lnTo>
                          <a:pt x="1432" y="1390"/>
                        </a:lnTo>
                        <a:lnTo>
                          <a:pt x="1432" y="1390"/>
                        </a:lnTo>
                        <a:lnTo>
                          <a:pt x="1440" y="1380"/>
                        </a:lnTo>
                        <a:lnTo>
                          <a:pt x="1444" y="1380"/>
                        </a:lnTo>
                        <a:lnTo>
                          <a:pt x="1448" y="1384"/>
                        </a:lnTo>
                        <a:lnTo>
                          <a:pt x="1448" y="1384"/>
                        </a:lnTo>
                        <a:lnTo>
                          <a:pt x="1452" y="1386"/>
                        </a:lnTo>
                        <a:lnTo>
                          <a:pt x="1454" y="1384"/>
                        </a:lnTo>
                        <a:lnTo>
                          <a:pt x="1454" y="1382"/>
                        </a:lnTo>
                        <a:lnTo>
                          <a:pt x="1452" y="1378"/>
                        </a:lnTo>
                        <a:lnTo>
                          <a:pt x="1452" y="1378"/>
                        </a:lnTo>
                        <a:lnTo>
                          <a:pt x="1452" y="1376"/>
                        </a:lnTo>
                        <a:lnTo>
                          <a:pt x="1452" y="1374"/>
                        </a:lnTo>
                        <a:lnTo>
                          <a:pt x="1456" y="1372"/>
                        </a:lnTo>
                        <a:lnTo>
                          <a:pt x="1462" y="1370"/>
                        </a:lnTo>
                        <a:lnTo>
                          <a:pt x="1466" y="1370"/>
                        </a:lnTo>
                        <a:lnTo>
                          <a:pt x="1468" y="1372"/>
                        </a:lnTo>
                        <a:lnTo>
                          <a:pt x="1468" y="1372"/>
                        </a:lnTo>
                        <a:lnTo>
                          <a:pt x="1472" y="1372"/>
                        </a:lnTo>
                        <a:lnTo>
                          <a:pt x="1476" y="1372"/>
                        </a:lnTo>
                        <a:lnTo>
                          <a:pt x="1484" y="1370"/>
                        </a:lnTo>
                        <a:lnTo>
                          <a:pt x="1498" y="1362"/>
                        </a:lnTo>
                        <a:lnTo>
                          <a:pt x="1498" y="1362"/>
                        </a:lnTo>
                        <a:lnTo>
                          <a:pt x="1502" y="1360"/>
                        </a:lnTo>
                        <a:lnTo>
                          <a:pt x="1502" y="1354"/>
                        </a:lnTo>
                        <a:lnTo>
                          <a:pt x="1502" y="1350"/>
                        </a:lnTo>
                        <a:lnTo>
                          <a:pt x="1502" y="1350"/>
                        </a:lnTo>
                        <a:lnTo>
                          <a:pt x="1504" y="1350"/>
                        </a:lnTo>
                        <a:lnTo>
                          <a:pt x="1504" y="1350"/>
                        </a:lnTo>
                        <a:lnTo>
                          <a:pt x="1508" y="1350"/>
                        </a:lnTo>
                        <a:lnTo>
                          <a:pt x="1510" y="1352"/>
                        </a:lnTo>
                        <a:lnTo>
                          <a:pt x="1510" y="1354"/>
                        </a:lnTo>
                        <a:lnTo>
                          <a:pt x="1512" y="1354"/>
                        </a:lnTo>
                        <a:lnTo>
                          <a:pt x="1512" y="1354"/>
                        </a:lnTo>
                        <a:lnTo>
                          <a:pt x="1520" y="1350"/>
                        </a:lnTo>
                        <a:lnTo>
                          <a:pt x="1532" y="1344"/>
                        </a:lnTo>
                        <a:lnTo>
                          <a:pt x="1558" y="1324"/>
                        </a:lnTo>
                        <a:lnTo>
                          <a:pt x="1570" y="1314"/>
                        </a:lnTo>
                        <a:lnTo>
                          <a:pt x="1580" y="1302"/>
                        </a:lnTo>
                        <a:lnTo>
                          <a:pt x="1588" y="1290"/>
                        </a:lnTo>
                        <a:lnTo>
                          <a:pt x="1592" y="1280"/>
                        </a:lnTo>
                        <a:lnTo>
                          <a:pt x="1592" y="1280"/>
                        </a:lnTo>
                        <a:lnTo>
                          <a:pt x="1600" y="1264"/>
                        </a:lnTo>
                        <a:lnTo>
                          <a:pt x="1610" y="1250"/>
                        </a:lnTo>
                        <a:lnTo>
                          <a:pt x="1622" y="1242"/>
                        </a:lnTo>
                        <a:lnTo>
                          <a:pt x="1628" y="1238"/>
                        </a:lnTo>
                        <a:lnTo>
                          <a:pt x="1634" y="1238"/>
                        </a:lnTo>
                        <a:lnTo>
                          <a:pt x="1634" y="1238"/>
                        </a:lnTo>
                        <a:lnTo>
                          <a:pt x="1642" y="1236"/>
                        </a:lnTo>
                        <a:lnTo>
                          <a:pt x="1646" y="1234"/>
                        </a:lnTo>
                        <a:lnTo>
                          <a:pt x="1648" y="1232"/>
                        </a:lnTo>
                        <a:lnTo>
                          <a:pt x="1648" y="1228"/>
                        </a:lnTo>
                        <a:lnTo>
                          <a:pt x="1646" y="1222"/>
                        </a:lnTo>
                        <a:lnTo>
                          <a:pt x="1640" y="1214"/>
                        </a:lnTo>
                        <a:lnTo>
                          <a:pt x="1632" y="1204"/>
                        </a:lnTo>
                        <a:lnTo>
                          <a:pt x="1632" y="1204"/>
                        </a:lnTo>
                        <a:lnTo>
                          <a:pt x="1626" y="1198"/>
                        </a:lnTo>
                        <a:lnTo>
                          <a:pt x="1624" y="1194"/>
                        </a:lnTo>
                        <a:lnTo>
                          <a:pt x="1636" y="1200"/>
                        </a:lnTo>
                        <a:lnTo>
                          <a:pt x="1670" y="1222"/>
                        </a:lnTo>
                        <a:lnTo>
                          <a:pt x="1670" y="1222"/>
                        </a:lnTo>
                        <a:lnTo>
                          <a:pt x="1684" y="1226"/>
                        </a:lnTo>
                        <a:lnTo>
                          <a:pt x="1694" y="1228"/>
                        </a:lnTo>
                        <a:lnTo>
                          <a:pt x="1702" y="1228"/>
                        </a:lnTo>
                        <a:lnTo>
                          <a:pt x="1710" y="1226"/>
                        </a:lnTo>
                        <a:lnTo>
                          <a:pt x="1718" y="1224"/>
                        </a:lnTo>
                        <a:lnTo>
                          <a:pt x="1724" y="1218"/>
                        </a:lnTo>
                        <a:lnTo>
                          <a:pt x="1730" y="1212"/>
                        </a:lnTo>
                        <a:lnTo>
                          <a:pt x="1730" y="1212"/>
                        </a:lnTo>
                        <a:lnTo>
                          <a:pt x="1732" y="1206"/>
                        </a:lnTo>
                        <a:lnTo>
                          <a:pt x="1734" y="1204"/>
                        </a:lnTo>
                        <a:lnTo>
                          <a:pt x="1738" y="1204"/>
                        </a:lnTo>
                        <a:lnTo>
                          <a:pt x="1742" y="1206"/>
                        </a:lnTo>
                        <a:lnTo>
                          <a:pt x="1748" y="1208"/>
                        </a:lnTo>
                        <a:lnTo>
                          <a:pt x="1756" y="1208"/>
                        </a:lnTo>
                        <a:lnTo>
                          <a:pt x="1766" y="1208"/>
                        </a:lnTo>
                        <a:lnTo>
                          <a:pt x="1782" y="1202"/>
                        </a:lnTo>
                        <a:lnTo>
                          <a:pt x="1782" y="1202"/>
                        </a:lnTo>
                        <a:lnTo>
                          <a:pt x="1800" y="1196"/>
                        </a:lnTo>
                        <a:lnTo>
                          <a:pt x="1818" y="1190"/>
                        </a:lnTo>
                        <a:lnTo>
                          <a:pt x="1856" y="1184"/>
                        </a:lnTo>
                        <a:lnTo>
                          <a:pt x="1886" y="1178"/>
                        </a:lnTo>
                        <a:lnTo>
                          <a:pt x="1898" y="1172"/>
                        </a:lnTo>
                        <a:lnTo>
                          <a:pt x="1906" y="1166"/>
                        </a:lnTo>
                        <a:lnTo>
                          <a:pt x="1906" y="1166"/>
                        </a:lnTo>
                        <a:lnTo>
                          <a:pt x="1920" y="1154"/>
                        </a:lnTo>
                        <a:lnTo>
                          <a:pt x="1934" y="1142"/>
                        </a:lnTo>
                        <a:lnTo>
                          <a:pt x="1950" y="1132"/>
                        </a:lnTo>
                        <a:lnTo>
                          <a:pt x="1960" y="1128"/>
                        </a:lnTo>
                        <a:lnTo>
                          <a:pt x="1970" y="1128"/>
                        </a:lnTo>
                        <a:lnTo>
                          <a:pt x="1970" y="1128"/>
                        </a:lnTo>
                        <a:lnTo>
                          <a:pt x="1978" y="1126"/>
                        </a:lnTo>
                        <a:lnTo>
                          <a:pt x="1982" y="1122"/>
                        </a:lnTo>
                        <a:lnTo>
                          <a:pt x="1982" y="1120"/>
                        </a:lnTo>
                        <a:lnTo>
                          <a:pt x="1982" y="1116"/>
                        </a:lnTo>
                        <a:lnTo>
                          <a:pt x="1982" y="1112"/>
                        </a:lnTo>
                        <a:lnTo>
                          <a:pt x="1982" y="1108"/>
                        </a:lnTo>
                        <a:lnTo>
                          <a:pt x="1986" y="1106"/>
                        </a:lnTo>
                        <a:lnTo>
                          <a:pt x="1994" y="1106"/>
                        </a:lnTo>
                        <a:lnTo>
                          <a:pt x="1994" y="1106"/>
                        </a:lnTo>
                        <a:lnTo>
                          <a:pt x="2008" y="1104"/>
                        </a:lnTo>
                        <a:lnTo>
                          <a:pt x="2012" y="1102"/>
                        </a:lnTo>
                        <a:lnTo>
                          <a:pt x="2012" y="1102"/>
                        </a:lnTo>
                        <a:lnTo>
                          <a:pt x="2016" y="1096"/>
                        </a:lnTo>
                        <a:lnTo>
                          <a:pt x="2022" y="1092"/>
                        </a:lnTo>
                        <a:lnTo>
                          <a:pt x="2030" y="1088"/>
                        </a:lnTo>
                        <a:lnTo>
                          <a:pt x="2030" y="1088"/>
                        </a:lnTo>
                        <a:lnTo>
                          <a:pt x="2046" y="1080"/>
                        </a:lnTo>
                        <a:lnTo>
                          <a:pt x="2046" y="1078"/>
                        </a:lnTo>
                        <a:lnTo>
                          <a:pt x="2044" y="1076"/>
                        </a:lnTo>
                        <a:lnTo>
                          <a:pt x="2028" y="1076"/>
                        </a:lnTo>
                        <a:lnTo>
                          <a:pt x="2000" y="1080"/>
                        </a:lnTo>
                        <a:lnTo>
                          <a:pt x="2000" y="1080"/>
                        </a:lnTo>
                        <a:lnTo>
                          <a:pt x="1984" y="1080"/>
                        </a:lnTo>
                        <a:lnTo>
                          <a:pt x="1970" y="1076"/>
                        </a:lnTo>
                        <a:lnTo>
                          <a:pt x="1956" y="1070"/>
                        </a:lnTo>
                        <a:lnTo>
                          <a:pt x="1944" y="1064"/>
                        </a:lnTo>
                        <a:lnTo>
                          <a:pt x="1932" y="1058"/>
                        </a:lnTo>
                        <a:lnTo>
                          <a:pt x="1920" y="1056"/>
                        </a:lnTo>
                        <a:lnTo>
                          <a:pt x="1914" y="1056"/>
                        </a:lnTo>
                        <a:lnTo>
                          <a:pt x="1906" y="1058"/>
                        </a:lnTo>
                        <a:lnTo>
                          <a:pt x="1900" y="1060"/>
                        </a:lnTo>
                        <a:lnTo>
                          <a:pt x="1892" y="1064"/>
                        </a:lnTo>
                        <a:lnTo>
                          <a:pt x="1892" y="1064"/>
                        </a:lnTo>
                        <a:lnTo>
                          <a:pt x="1884" y="1068"/>
                        </a:lnTo>
                        <a:lnTo>
                          <a:pt x="1878" y="1070"/>
                        </a:lnTo>
                        <a:lnTo>
                          <a:pt x="1866" y="1070"/>
                        </a:lnTo>
                        <a:lnTo>
                          <a:pt x="1860" y="1070"/>
                        </a:lnTo>
                        <a:lnTo>
                          <a:pt x="1854" y="1072"/>
                        </a:lnTo>
                        <a:lnTo>
                          <a:pt x="1846" y="1076"/>
                        </a:lnTo>
                        <a:lnTo>
                          <a:pt x="1838" y="1082"/>
                        </a:lnTo>
                        <a:lnTo>
                          <a:pt x="1838" y="1082"/>
                        </a:lnTo>
                        <a:lnTo>
                          <a:pt x="1834" y="1086"/>
                        </a:lnTo>
                        <a:lnTo>
                          <a:pt x="1828" y="1090"/>
                        </a:lnTo>
                        <a:lnTo>
                          <a:pt x="1824" y="1090"/>
                        </a:lnTo>
                        <a:lnTo>
                          <a:pt x="1820" y="1090"/>
                        </a:lnTo>
                        <a:lnTo>
                          <a:pt x="1818" y="1088"/>
                        </a:lnTo>
                        <a:lnTo>
                          <a:pt x="1820" y="1084"/>
                        </a:lnTo>
                        <a:lnTo>
                          <a:pt x="1824" y="1078"/>
                        </a:lnTo>
                        <a:lnTo>
                          <a:pt x="1832" y="1070"/>
                        </a:lnTo>
                        <a:lnTo>
                          <a:pt x="1832" y="1070"/>
                        </a:lnTo>
                        <a:lnTo>
                          <a:pt x="1840" y="1064"/>
                        </a:lnTo>
                        <a:lnTo>
                          <a:pt x="1848" y="1062"/>
                        </a:lnTo>
                        <a:lnTo>
                          <a:pt x="1852" y="1062"/>
                        </a:lnTo>
                        <a:lnTo>
                          <a:pt x="1856" y="1062"/>
                        </a:lnTo>
                        <a:lnTo>
                          <a:pt x="1864" y="1064"/>
                        </a:lnTo>
                        <a:lnTo>
                          <a:pt x="1866" y="1064"/>
                        </a:lnTo>
                        <a:lnTo>
                          <a:pt x="1870" y="1062"/>
                        </a:lnTo>
                        <a:lnTo>
                          <a:pt x="1870" y="1062"/>
                        </a:lnTo>
                        <a:lnTo>
                          <a:pt x="1876" y="1058"/>
                        </a:lnTo>
                        <a:lnTo>
                          <a:pt x="1878" y="1056"/>
                        </a:lnTo>
                        <a:lnTo>
                          <a:pt x="1878" y="1054"/>
                        </a:lnTo>
                        <a:lnTo>
                          <a:pt x="1874" y="1052"/>
                        </a:lnTo>
                        <a:lnTo>
                          <a:pt x="1868" y="1052"/>
                        </a:lnTo>
                        <a:lnTo>
                          <a:pt x="1844" y="1054"/>
                        </a:lnTo>
                        <a:lnTo>
                          <a:pt x="1844" y="1054"/>
                        </a:lnTo>
                        <a:lnTo>
                          <a:pt x="1816" y="1058"/>
                        </a:lnTo>
                        <a:lnTo>
                          <a:pt x="1800" y="1058"/>
                        </a:lnTo>
                        <a:lnTo>
                          <a:pt x="1798" y="1056"/>
                        </a:lnTo>
                        <a:lnTo>
                          <a:pt x="1796" y="1052"/>
                        </a:lnTo>
                        <a:lnTo>
                          <a:pt x="1798" y="1046"/>
                        </a:lnTo>
                        <a:lnTo>
                          <a:pt x="1804" y="1038"/>
                        </a:lnTo>
                        <a:lnTo>
                          <a:pt x="1804" y="1038"/>
                        </a:lnTo>
                        <a:lnTo>
                          <a:pt x="1814" y="1022"/>
                        </a:lnTo>
                        <a:lnTo>
                          <a:pt x="1818" y="1014"/>
                        </a:lnTo>
                        <a:lnTo>
                          <a:pt x="1820" y="1012"/>
                        </a:lnTo>
                        <a:lnTo>
                          <a:pt x="1822" y="1010"/>
                        </a:lnTo>
                        <a:lnTo>
                          <a:pt x="1828" y="1016"/>
                        </a:lnTo>
                        <a:lnTo>
                          <a:pt x="1828" y="1016"/>
                        </a:lnTo>
                        <a:lnTo>
                          <a:pt x="1836" y="1022"/>
                        </a:lnTo>
                        <a:lnTo>
                          <a:pt x="1840" y="1022"/>
                        </a:lnTo>
                        <a:lnTo>
                          <a:pt x="1844" y="1022"/>
                        </a:lnTo>
                        <a:lnTo>
                          <a:pt x="1882" y="1010"/>
                        </a:lnTo>
                        <a:lnTo>
                          <a:pt x="1882" y="1010"/>
                        </a:lnTo>
                        <a:lnTo>
                          <a:pt x="1896" y="1006"/>
                        </a:lnTo>
                        <a:lnTo>
                          <a:pt x="1904" y="1000"/>
                        </a:lnTo>
                        <a:lnTo>
                          <a:pt x="1908" y="996"/>
                        </a:lnTo>
                        <a:lnTo>
                          <a:pt x="1910" y="992"/>
                        </a:lnTo>
                        <a:lnTo>
                          <a:pt x="1906" y="986"/>
                        </a:lnTo>
                        <a:lnTo>
                          <a:pt x="1898" y="984"/>
                        </a:lnTo>
                        <a:lnTo>
                          <a:pt x="1888" y="980"/>
                        </a:lnTo>
                        <a:lnTo>
                          <a:pt x="1874" y="978"/>
                        </a:lnTo>
                        <a:lnTo>
                          <a:pt x="1874" y="978"/>
                        </a:lnTo>
                        <a:lnTo>
                          <a:pt x="1850" y="974"/>
                        </a:lnTo>
                        <a:lnTo>
                          <a:pt x="1844" y="972"/>
                        </a:lnTo>
                        <a:lnTo>
                          <a:pt x="1842" y="970"/>
                        </a:lnTo>
                        <a:lnTo>
                          <a:pt x="1844" y="968"/>
                        </a:lnTo>
                        <a:lnTo>
                          <a:pt x="1850" y="966"/>
                        </a:lnTo>
                        <a:lnTo>
                          <a:pt x="1870" y="966"/>
                        </a:lnTo>
                        <a:lnTo>
                          <a:pt x="1870" y="966"/>
                        </a:lnTo>
                        <a:lnTo>
                          <a:pt x="1892" y="970"/>
                        </a:lnTo>
                        <a:lnTo>
                          <a:pt x="1906" y="976"/>
                        </a:lnTo>
                        <a:lnTo>
                          <a:pt x="1918" y="980"/>
                        </a:lnTo>
                        <a:lnTo>
                          <a:pt x="1932" y="986"/>
                        </a:lnTo>
                        <a:lnTo>
                          <a:pt x="1932" y="986"/>
                        </a:lnTo>
                        <a:lnTo>
                          <a:pt x="1946" y="992"/>
                        </a:lnTo>
                        <a:lnTo>
                          <a:pt x="1954" y="998"/>
                        </a:lnTo>
                        <a:lnTo>
                          <a:pt x="1958" y="1008"/>
                        </a:lnTo>
                        <a:lnTo>
                          <a:pt x="1960" y="1022"/>
                        </a:lnTo>
                        <a:lnTo>
                          <a:pt x="1960" y="1022"/>
                        </a:lnTo>
                        <a:lnTo>
                          <a:pt x="1964" y="1030"/>
                        </a:lnTo>
                        <a:lnTo>
                          <a:pt x="1970" y="1038"/>
                        </a:lnTo>
                        <a:lnTo>
                          <a:pt x="1978" y="1044"/>
                        </a:lnTo>
                        <a:lnTo>
                          <a:pt x="1988" y="1050"/>
                        </a:lnTo>
                        <a:lnTo>
                          <a:pt x="1998" y="1052"/>
                        </a:lnTo>
                        <a:lnTo>
                          <a:pt x="2008" y="1054"/>
                        </a:lnTo>
                        <a:lnTo>
                          <a:pt x="2016" y="1054"/>
                        </a:lnTo>
                        <a:lnTo>
                          <a:pt x="2022" y="1052"/>
                        </a:lnTo>
                        <a:lnTo>
                          <a:pt x="2022" y="1052"/>
                        </a:lnTo>
                        <a:lnTo>
                          <a:pt x="2030" y="1048"/>
                        </a:lnTo>
                        <a:lnTo>
                          <a:pt x="2036" y="1050"/>
                        </a:lnTo>
                        <a:lnTo>
                          <a:pt x="2046" y="1052"/>
                        </a:lnTo>
                        <a:lnTo>
                          <a:pt x="2060" y="1056"/>
                        </a:lnTo>
                        <a:lnTo>
                          <a:pt x="2060" y="1056"/>
                        </a:lnTo>
                        <a:lnTo>
                          <a:pt x="2068" y="1054"/>
                        </a:lnTo>
                        <a:lnTo>
                          <a:pt x="2070" y="1050"/>
                        </a:lnTo>
                        <a:lnTo>
                          <a:pt x="2072" y="1042"/>
                        </a:lnTo>
                        <a:lnTo>
                          <a:pt x="2070" y="1032"/>
                        </a:lnTo>
                        <a:lnTo>
                          <a:pt x="2066" y="1008"/>
                        </a:lnTo>
                        <a:lnTo>
                          <a:pt x="2064" y="996"/>
                        </a:lnTo>
                        <a:lnTo>
                          <a:pt x="2064" y="984"/>
                        </a:lnTo>
                        <a:lnTo>
                          <a:pt x="2064" y="984"/>
                        </a:lnTo>
                        <a:lnTo>
                          <a:pt x="2062" y="976"/>
                        </a:lnTo>
                        <a:lnTo>
                          <a:pt x="2062" y="974"/>
                        </a:lnTo>
                        <a:lnTo>
                          <a:pt x="2060" y="974"/>
                        </a:lnTo>
                        <a:lnTo>
                          <a:pt x="2056" y="976"/>
                        </a:lnTo>
                        <a:lnTo>
                          <a:pt x="2050" y="980"/>
                        </a:lnTo>
                        <a:lnTo>
                          <a:pt x="2044" y="986"/>
                        </a:lnTo>
                        <a:lnTo>
                          <a:pt x="2038" y="990"/>
                        </a:lnTo>
                        <a:lnTo>
                          <a:pt x="2032" y="990"/>
                        </a:lnTo>
                        <a:lnTo>
                          <a:pt x="2030" y="988"/>
                        </a:lnTo>
                        <a:lnTo>
                          <a:pt x="2030" y="986"/>
                        </a:lnTo>
                        <a:lnTo>
                          <a:pt x="2030" y="986"/>
                        </a:lnTo>
                        <a:lnTo>
                          <a:pt x="2028" y="976"/>
                        </a:lnTo>
                        <a:lnTo>
                          <a:pt x="2028" y="974"/>
                        </a:lnTo>
                        <a:lnTo>
                          <a:pt x="2032" y="974"/>
                        </a:lnTo>
                        <a:lnTo>
                          <a:pt x="2038" y="972"/>
                        </a:lnTo>
                        <a:lnTo>
                          <a:pt x="2044" y="968"/>
                        </a:lnTo>
                        <a:lnTo>
                          <a:pt x="2050" y="962"/>
                        </a:lnTo>
                        <a:lnTo>
                          <a:pt x="2050" y="962"/>
                        </a:lnTo>
                        <a:lnTo>
                          <a:pt x="2054" y="956"/>
                        </a:lnTo>
                        <a:lnTo>
                          <a:pt x="2054" y="956"/>
                        </a:lnTo>
                        <a:lnTo>
                          <a:pt x="2054" y="954"/>
                        </a:lnTo>
                        <a:lnTo>
                          <a:pt x="2044" y="958"/>
                        </a:lnTo>
                        <a:lnTo>
                          <a:pt x="2032" y="962"/>
                        </a:lnTo>
                        <a:lnTo>
                          <a:pt x="2030" y="960"/>
                        </a:lnTo>
                        <a:lnTo>
                          <a:pt x="2030" y="956"/>
                        </a:lnTo>
                        <a:lnTo>
                          <a:pt x="2030" y="956"/>
                        </a:lnTo>
                        <a:lnTo>
                          <a:pt x="2032" y="950"/>
                        </a:lnTo>
                        <a:lnTo>
                          <a:pt x="2030" y="944"/>
                        </a:lnTo>
                        <a:lnTo>
                          <a:pt x="2026" y="940"/>
                        </a:lnTo>
                        <a:lnTo>
                          <a:pt x="2020" y="938"/>
                        </a:lnTo>
                        <a:lnTo>
                          <a:pt x="2002" y="932"/>
                        </a:lnTo>
                        <a:lnTo>
                          <a:pt x="1980" y="926"/>
                        </a:lnTo>
                        <a:lnTo>
                          <a:pt x="1980" y="926"/>
                        </a:lnTo>
                        <a:lnTo>
                          <a:pt x="1960" y="918"/>
                        </a:lnTo>
                        <a:lnTo>
                          <a:pt x="1948" y="912"/>
                        </a:lnTo>
                        <a:lnTo>
                          <a:pt x="1944" y="908"/>
                        </a:lnTo>
                        <a:lnTo>
                          <a:pt x="1944" y="904"/>
                        </a:lnTo>
                        <a:lnTo>
                          <a:pt x="1944" y="900"/>
                        </a:lnTo>
                        <a:lnTo>
                          <a:pt x="1944" y="896"/>
                        </a:lnTo>
                        <a:lnTo>
                          <a:pt x="1942" y="892"/>
                        </a:lnTo>
                        <a:lnTo>
                          <a:pt x="1934" y="886"/>
                        </a:lnTo>
                        <a:lnTo>
                          <a:pt x="1934" y="886"/>
                        </a:lnTo>
                        <a:lnTo>
                          <a:pt x="1924" y="880"/>
                        </a:lnTo>
                        <a:lnTo>
                          <a:pt x="1922" y="874"/>
                        </a:lnTo>
                        <a:lnTo>
                          <a:pt x="1922" y="870"/>
                        </a:lnTo>
                        <a:lnTo>
                          <a:pt x="1924" y="866"/>
                        </a:lnTo>
                        <a:lnTo>
                          <a:pt x="1922" y="862"/>
                        </a:lnTo>
                        <a:lnTo>
                          <a:pt x="1916" y="858"/>
                        </a:lnTo>
                        <a:lnTo>
                          <a:pt x="1902" y="852"/>
                        </a:lnTo>
                        <a:lnTo>
                          <a:pt x="1878" y="846"/>
                        </a:lnTo>
                        <a:lnTo>
                          <a:pt x="1878" y="846"/>
                        </a:lnTo>
                        <a:lnTo>
                          <a:pt x="1888" y="846"/>
                        </a:lnTo>
                        <a:lnTo>
                          <a:pt x="1896" y="844"/>
                        </a:lnTo>
                        <a:lnTo>
                          <a:pt x="1904" y="842"/>
                        </a:lnTo>
                        <a:lnTo>
                          <a:pt x="1910" y="838"/>
                        </a:lnTo>
                        <a:lnTo>
                          <a:pt x="1926" y="828"/>
                        </a:lnTo>
                        <a:lnTo>
                          <a:pt x="1948" y="818"/>
                        </a:lnTo>
                        <a:lnTo>
                          <a:pt x="1948" y="818"/>
                        </a:lnTo>
                        <a:lnTo>
                          <a:pt x="1954" y="816"/>
                        </a:lnTo>
                        <a:lnTo>
                          <a:pt x="1960" y="816"/>
                        </a:lnTo>
                        <a:lnTo>
                          <a:pt x="1974" y="818"/>
                        </a:lnTo>
                        <a:lnTo>
                          <a:pt x="1988" y="824"/>
                        </a:lnTo>
                        <a:lnTo>
                          <a:pt x="2002" y="832"/>
                        </a:lnTo>
                        <a:lnTo>
                          <a:pt x="2016" y="838"/>
                        </a:lnTo>
                        <a:lnTo>
                          <a:pt x="2030" y="842"/>
                        </a:lnTo>
                        <a:lnTo>
                          <a:pt x="2038" y="844"/>
                        </a:lnTo>
                        <a:lnTo>
                          <a:pt x="2044" y="842"/>
                        </a:lnTo>
                        <a:lnTo>
                          <a:pt x="2052" y="840"/>
                        </a:lnTo>
                        <a:lnTo>
                          <a:pt x="2058" y="836"/>
                        </a:lnTo>
                        <a:lnTo>
                          <a:pt x="2058" y="836"/>
                        </a:lnTo>
                        <a:lnTo>
                          <a:pt x="2070" y="830"/>
                        </a:lnTo>
                        <a:lnTo>
                          <a:pt x="2078" y="826"/>
                        </a:lnTo>
                        <a:lnTo>
                          <a:pt x="2086" y="826"/>
                        </a:lnTo>
                        <a:lnTo>
                          <a:pt x="2092" y="828"/>
                        </a:lnTo>
                        <a:lnTo>
                          <a:pt x="2096" y="830"/>
                        </a:lnTo>
                        <a:lnTo>
                          <a:pt x="2100" y="830"/>
                        </a:lnTo>
                        <a:lnTo>
                          <a:pt x="2106" y="826"/>
                        </a:lnTo>
                        <a:lnTo>
                          <a:pt x="2112" y="818"/>
                        </a:lnTo>
                        <a:lnTo>
                          <a:pt x="2112" y="818"/>
                        </a:lnTo>
                        <a:lnTo>
                          <a:pt x="2118" y="810"/>
                        </a:lnTo>
                        <a:lnTo>
                          <a:pt x="2118" y="806"/>
                        </a:lnTo>
                        <a:lnTo>
                          <a:pt x="2116" y="802"/>
                        </a:lnTo>
                        <a:lnTo>
                          <a:pt x="2112" y="796"/>
                        </a:lnTo>
                        <a:lnTo>
                          <a:pt x="2104" y="792"/>
                        </a:lnTo>
                        <a:lnTo>
                          <a:pt x="2092" y="790"/>
                        </a:lnTo>
                        <a:lnTo>
                          <a:pt x="2080" y="788"/>
                        </a:lnTo>
                        <a:lnTo>
                          <a:pt x="2054" y="786"/>
                        </a:lnTo>
                        <a:lnTo>
                          <a:pt x="2054" y="786"/>
                        </a:lnTo>
                        <a:lnTo>
                          <a:pt x="2044" y="786"/>
                        </a:lnTo>
                        <a:lnTo>
                          <a:pt x="2040" y="784"/>
                        </a:lnTo>
                        <a:lnTo>
                          <a:pt x="2040" y="780"/>
                        </a:lnTo>
                        <a:lnTo>
                          <a:pt x="2040" y="776"/>
                        </a:lnTo>
                        <a:lnTo>
                          <a:pt x="2046" y="768"/>
                        </a:lnTo>
                        <a:lnTo>
                          <a:pt x="2054" y="762"/>
                        </a:lnTo>
                        <a:lnTo>
                          <a:pt x="2066" y="758"/>
                        </a:lnTo>
                        <a:lnTo>
                          <a:pt x="2078" y="754"/>
                        </a:lnTo>
                        <a:lnTo>
                          <a:pt x="2092" y="752"/>
                        </a:lnTo>
                        <a:lnTo>
                          <a:pt x="2092" y="752"/>
                        </a:lnTo>
                        <a:lnTo>
                          <a:pt x="2104" y="754"/>
                        </a:lnTo>
                        <a:lnTo>
                          <a:pt x="2112" y="758"/>
                        </a:lnTo>
                        <a:lnTo>
                          <a:pt x="2122" y="766"/>
                        </a:lnTo>
                        <a:lnTo>
                          <a:pt x="2128" y="768"/>
                        </a:lnTo>
                        <a:lnTo>
                          <a:pt x="2132" y="770"/>
                        </a:lnTo>
                        <a:lnTo>
                          <a:pt x="2142" y="768"/>
                        </a:lnTo>
                        <a:lnTo>
                          <a:pt x="2152" y="766"/>
                        </a:lnTo>
                        <a:lnTo>
                          <a:pt x="2152" y="766"/>
                        </a:lnTo>
                        <a:lnTo>
                          <a:pt x="2162" y="762"/>
                        </a:lnTo>
                        <a:lnTo>
                          <a:pt x="2164" y="758"/>
                        </a:lnTo>
                        <a:lnTo>
                          <a:pt x="2166" y="754"/>
                        </a:lnTo>
                        <a:lnTo>
                          <a:pt x="2162" y="750"/>
                        </a:lnTo>
                        <a:lnTo>
                          <a:pt x="2154" y="746"/>
                        </a:lnTo>
                        <a:lnTo>
                          <a:pt x="2146" y="742"/>
                        </a:lnTo>
                        <a:lnTo>
                          <a:pt x="2134" y="740"/>
                        </a:lnTo>
                        <a:lnTo>
                          <a:pt x="2120" y="738"/>
                        </a:lnTo>
                        <a:lnTo>
                          <a:pt x="2120" y="738"/>
                        </a:lnTo>
                        <a:lnTo>
                          <a:pt x="2112" y="738"/>
                        </a:lnTo>
                        <a:lnTo>
                          <a:pt x="2108" y="736"/>
                        </a:lnTo>
                        <a:lnTo>
                          <a:pt x="2104" y="732"/>
                        </a:lnTo>
                        <a:lnTo>
                          <a:pt x="2102" y="728"/>
                        </a:lnTo>
                        <a:lnTo>
                          <a:pt x="2100" y="718"/>
                        </a:lnTo>
                        <a:lnTo>
                          <a:pt x="2102" y="708"/>
                        </a:lnTo>
                        <a:lnTo>
                          <a:pt x="2108" y="700"/>
                        </a:lnTo>
                        <a:lnTo>
                          <a:pt x="2114" y="694"/>
                        </a:lnTo>
                        <a:lnTo>
                          <a:pt x="2118" y="692"/>
                        </a:lnTo>
                        <a:lnTo>
                          <a:pt x="2122" y="692"/>
                        </a:lnTo>
                        <a:lnTo>
                          <a:pt x="2124" y="692"/>
                        </a:lnTo>
                        <a:lnTo>
                          <a:pt x="2126" y="696"/>
                        </a:lnTo>
                        <a:lnTo>
                          <a:pt x="2126" y="696"/>
                        </a:lnTo>
                        <a:lnTo>
                          <a:pt x="2132" y="700"/>
                        </a:lnTo>
                        <a:lnTo>
                          <a:pt x="2140" y="702"/>
                        </a:lnTo>
                        <a:lnTo>
                          <a:pt x="2148" y="702"/>
                        </a:lnTo>
                        <a:lnTo>
                          <a:pt x="2154" y="698"/>
                        </a:lnTo>
                        <a:lnTo>
                          <a:pt x="2158" y="692"/>
                        </a:lnTo>
                        <a:lnTo>
                          <a:pt x="2162" y="686"/>
                        </a:lnTo>
                        <a:lnTo>
                          <a:pt x="2160" y="678"/>
                        </a:lnTo>
                        <a:lnTo>
                          <a:pt x="2156" y="670"/>
                        </a:lnTo>
                        <a:lnTo>
                          <a:pt x="2156" y="670"/>
                        </a:lnTo>
                        <a:lnTo>
                          <a:pt x="2150" y="662"/>
                        </a:lnTo>
                        <a:lnTo>
                          <a:pt x="2150" y="658"/>
                        </a:lnTo>
                        <a:lnTo>
                          <a:pt x="2154" y="656"/>
                        </a:lnTo>
                        <a:lnTo>
                          <a:pt x="2156" y="656"/>
                        </a:lnTo>
                        <a:lnTo>
                          <a:pt x="2160" y="656"/>
                        </a:lnTo>
                        <a:lnTo>
                          <a:pt x="2160" y="654"/>
                        </a:lnTo>
                        <a:lnTo>
                          <a:pt x="2144" y="646"/>
                        </a:lnTo>
                        <a:lnTo>
                          <a:pt x="2144" y="646"/>
                        </a:lnTo>
                        <a:lnTo>
                          <a:pt x="2132" y="640"/>
                        </a:lnTo>
                        <a:lnTo>
                          <a:pt x="2128" y="636"/>
                        </a:lnTo>
                        <a:lnTo>
                          <a:pt x="2128" y="634"/>
                        </a:lnTo>
                        <a:lnTo>
                          <a:pt x="2130" y="632"/>
                        </a:lnTo>
                        <a:lnTo>
                          <a:pt x="2140" y="628"/>
                        </a:lnTo>
                        <a:lnTo>
                          <a:pt x="2142" y="624"/>
                        </a:lnTo>
                        <a:lnTo>
                          <a:pt x="2142" y="620"/>
                        </a:lnTo>
                        <a:lnTo>
                          <a:pt x="2142" y="620"/>
                        </a:lnTo>
                        <a:lnTo>
                          <a:pt x="2140" y="616"/>
                        </a:lnTo>
                        <a:lnTo>
                          <a:pt x="2136" y="614"/>
                        </a:lnTo>
                        <a:lnTo>
                          <a:pt x="2126" y="612"/>
                        </a:lnTo>
                        <a:lnTo>
                          <a:pt x="2098" y="612"/>
                        </a:lnTo>
                        <a:lnTo>
                          <a:pt x="2084" y="612"/>
                        </a:lnTo>
                        <a:lnTo>
                          <a:pt x="2074" y="612"/>
                        </a:lnTo>
                        <a:lnTo>
                          <a:pt x="2066" y="608"/>
                        </a:lnTo>
                        <a:lnTo>
                          <a:pt x="2064" y="606"/>
                        </a:lnTo>
                        <a:lnTo>
                          <a:pt x="2062" y="602"/>
                        </a:lnTo>
                        <a:lnTo>
                          <a:pt x="2062" y="602"/>
                        </a:lnTo>
                        <a:lnTo>
                          <a:pt x="2062" y="598"/>
                        </a:lnTo>
                        <a:lnTo>
                          <a:pt x="2060" y="594"/>
                        </a:lnTo>
                        <a:lnTo>
                          <a:pt x="2056" y="590"/>
                        </a:lnTo>
                        <a:lnTo>
                          <a:pt x="2048" y="586"/>
                        </a:lnTo>
                        <a:lnTo>
                          <a:pt x="2040" y="582"/>
                        </a:lnTo>
                        <a:lnTo>
                          <a:pt x="2032" y="580"/>
                        </a:lnTo>
                        <a:lnTo>
                          <a:pt x="2028" y="578"/>
                        </a:lnTo>
                        <a:lnTo>
                          <a:pt x="2026" y="576"/>
                        </a:lnTo>
                        <a:lnTo>
                          <a:pt x="2028" y="574"/>
                        </a:lnTo>
                        <a:lnTo>
                          <a:pt x="2032" y="568"/>
                        </a:lnTo>
                        <a:lnTo>
                          <a:pt x="2032" y="568"/>
                        </a:lnTo>
                        <a:lnTo>
                          <a:pt x="2040" y="566"/>
                        </a:lnTo>
                        <a:lnTo>
                          <a:pt x="2046" y="566"/>
                        </a:lnTo>
                        <a:lnTo>
                          <a:pt x="2050" y="570"/>
                        </a:lnTo>
                        <a:lnTo>
                          <a:pt x="2054" y="574"/>
                        </a:lnTo>
                        <a:lnTo>
                          <a:pt x="2058" y="578"/>
                        </a:lnTo>
                        <a:lnTo>
                          <a:pt x="2064" y="580"/>
                        </a:lnTo>
                        <a:lnTo>
                          <a:pt x="2072" y="580"/>
                        </a:lnTo>
                        <a:lnTo>
                          <a:pt x="2082" y="574"/>
                        </a:lnTo>
                        <a:lnTo>
                          <a:pt x="2082" y="574"/>
                        </a:lnTo>
                        <a:lnTo>
                          <a:pt x="2094" y="566"/>
                        </a:lnTo>
                        <a:lnTo>
                          <a:pt x="2106" y="562"/>
                        </a:lnTo>
                        <a:lnTo>
                          <a:pt x="2120" y="560"/>
                        </a:lnTo>
                        <a:lnTo>
                          <a:pt x="2132" y="560"/>
                        </a:lnTo>
                        <a:lnTo>
                          <a:pt x="2144" y="562"/>
                        </a:lnTo>
                        <a:lnTo>
                          <a:pt x="2156" y="564"/>
                        </a:lnTo>
                        <a:lnTo>
                          <a:pt x="2178" y="574"/>
                        </a:lnTo>
                        <a:lnTo>
                          <a:pt x="2178" y="574"/>
                        </a:lnTo>
                        <a:lnTo>
                          <a:pt x="2188" y="576"/>
                        </a:lnTo>
                        <a:lnTo>
                          <a:pt x="2196" y="574"/>
                        </a:lnTo>
                        <a:lnTo>
                          <a:pt x="2202" y="570"/>
                        </a:lnTo>
                        <a:lnTo>
                          <a:pt x="2206" y="564"/>
                        </a:lnTo>
                        <a:lnTo>
                          <a:pt x="2208" y="556"/>
                        </a:lnTo>
                        <a:lnTo>
                          <a:pt x="2206" y="546"/>
                        </a:lnTo>
                        <a:lnTo>
                          <a:pt x="2202" y="536"/>
                        </a:lnTo>
                        <a:lnTo>
                          <a:pt x="2194" y="528"/>
                        </a:lnTo>
                        <a:lnTo>
                          <a:pt x="2194" y="528"/>
                        </a:lnTo>
                        <a:lnTo>
                          <a:pt x="2186" y="522"/>
                        </a:lnTo>
                        <a:lnTo>
                          <a:pt x="2180" y="522"/>
                        </a:lnTo>
                        <a:lnTo>
                          <a:pt x="2176" y="524"/>
                        </a:lnTo>
                        <a:lnTo>
                          <a:pt x="2172" y="528"/>
                        </a:lnTo>
                        <a:lnTo>
                          <a:pt x="2166" y="532"/>
                        </a:lnTo>
                        <a:lnTo>
                          <a:pt x="2158" y="534"/>
                        </a:lnTo>
                        <a:lnTo>
                          <a:pt x="2148" y="532"/>
                        </a:lnTo>
                        <a:lnTo>
                          <a:pt x="2132" y="524"/>
                        </a:lnTo>
                        <a:lnTo>
                          <a:pt x="2132" y="524"/>
                        </a:lnTo>
                        <a:lnTo>
                          <a:pt x="2106" y="506"/>
                        </a:lnTo>
                        <a:lnTo>
                          <a:pt x="2102" y="502"/>
                        </a:lnTo>
                        <a:lnTo>
                          <a:pt x="2102" y="500"/>
                        </a:lnTo>
                        <a:lnTo>
                          <a:pt x="2102" y="498"/>
                        </a:lnTo>
                        <a:lnTo>
                          <a:pt x="2106" y="498"/>
                        </a:lnTo>
                        <a:lnTo>
                          <a:pt x="2116" y="498"/>
                        </a:lnTo>
                        <a:lnTo>
                          <a:pt x="2144" y="504"/>
                        </a:lnTo>
                        <a:lnTo>
                          <a:pt x="2144" y="504"/>
                        </a:lnTo>
                        <a:lnTo>
                          <a:pt x="2170" y="508"/>
                        </a:lnTo>
                        <a:lnTo>
                          <a:pt x="2174" y="508"/>
                        </a:lnTo>
                        <a:lnTo>
                          <a:pt x="2174" y="506"/>
                        </a:lnTo>
                        <a:lnTo>
                          <a:pt x="2168" y="502"/>
                        </a:lnTo>
                        <a:lnTo>
                          <a:pt x="2156" y="496"/>
                        </a:lnTo>
                        <a:lnTo>
                          <a:pt x="2120" y="480"/>
                        </a:lnTo>
                        <a:lnTo>
                          <a:pt x="2120" y="480"/>
                        </a:lnTo>
                        <a:lnTo>
                          <a:pt x="2100" y="474"/>
                        </a:lnTo>
                        <a:lnTo>
                          <a:pt x="2086" y="474"/>
                        </a:lnTo>
                        <a:lnTo>
                          <a:pt x="2078" y="476"/>
                        </a:lnTo>
                        <a:lnTo>
                          <a:pt x="2074" y="482"/>
                        </a:lnTo>
                        <a:lnTo>
                          <a:pt x="2070" y="494"/>
                        </a:lnTo>
                        <a:lnTo>
                          <a:pt x="2066" y="500"/>
                        </a:lnTo>
                        <a:lnTo>
                          <a:pt x="2060" y="504"/>
                        </a:lnTo>
                        <a:lnTo>
                          <a:pt x="2060" y="504"/>
                        </a:lnTo>
                        <a:lnTo>
                          <a:pt x="2056" y="504"/>
                        </a:lnTo>
                        <a:lnTo>
                          <a:pt x="2054" y="502"/>
                        </a:lnTo>
                        <a:lnTo>
                          <a:pt x="2052" y="500"/>
                        </a:lnTo>
                        <a:lnTo>
                          <a:pt x="2052" y="498"/>
                        </a:lnTo>
                        <a:lnTo>
                          <a:pt x="2054" y="490"/>
                        </a:lnTo>
                        <a:lnTo>
                          <a:pt x="2060" y="478"/>
                        </a:lnTo>
                        <a:lnTo>
                          <a:pt x="2072" y="454"/>
                        </a:lnTo>
                        <a:lnTo>
                          <a:pt x="2080" y="440"/>
                        </a:lnTo>
                        <a:lnTo>
                          <a:pt x="2086" y="426"/>
                        </a:lnTo>
                        <a:lnTo>
                          <a:pt x="2086" y="426"/>
                        </a:lnTo>
                        <a:lnTo>
                          <a:pt x="2090" y="414"/>
                        </a:lnTo>
                        <a:lnTo>
                          <a:pt x="2096" y="408"/>
                        </a:lnTo>
                        <a:lnTo>
                          <a:pt x="2104" y="404"/>
                        </a:lnTo>
                        <a:lnTo>
                          <a:pt x="2110" y="404"/>
                        </a:lnTo>
                        <a:lnTo>
                          <a:pt x="2124" y="404"/>
                        </a:lnTo>
                        <a:lnTo>
                          <a:pt x="2130" y="404"/>
                        </a:lnTo>
                        <a:lnTo>
                          <a:pt x="2134" y="402"/>
                        </a:lnTo>
                        <a:lnTo>
                          <a:pt x="2134" y="402"/>
                        </a:lnTo>
                        <a:lnTo>
                          <a:pt x="2146" y="392"/>
                        </a:lnTo>
                        <a:lnTo>
                          <a:pt x="2160" y="382"/>
                        </a:lnTo>
                        <a:lnTo>
                          <a:pt x="2166" y="376"/>
                        </a:lnTo>
                        <a:lnTo>
                          <a:pt x="2168" y="372"/>
                        </a:lnTo>
                        <a:lnTo>
                          <a:pt x="2168" y="370"/>
                        </a:lnTo>
                        <a:lnTo>
                          <a:pt x="2166" y="368"/>
                        </a:lnTo>
                        <a:lnTo>
                          <a:pt x="2160" y="366"/>
                        </a:lnTo>
                        <a:lnTo>
                          <a:pt x="2160" y="366"/>
                        </a:lnTo>
                        <a:lnTo>
                          <a:pt x="2152" y="362"/>
                        </a:lnTo>
                        <a:lnTo>
                          <a:pt x="2146" y="358"/>
                        </a:lnTo>
                        <a:lnTo>
                          <a:pt x="2144" y="354"/>
                        </a:lnTo>
                        <a:lnTo>
                          <a:pt x="2144" y="348"/>
                        </a:lnTo>
                        <a:lnTo>
                          <a:pt x="2146" y="344"/>
                        </a:lnTo>
                        <a:lnTo>
                          <a:pt x="2150" y="338"/>
                        </a:lnTo>
                        <a:lnTo>
                          <a:pt x="2158" y="336"/>
                        </a:lnTo>
                        <a:lnTo>
                          <a:pt x="2168" y="334"/>
                        </a:lnTo>
                        <a:lnTo>
                          <a:pt x="2168" y="334"/>
                        </a:lnTo>
                        <a:lnTo>
                          <a:pt x="2190" y="334"/>
                        </a:lnTo>
                        <a:lnTo>
                          <a:pt x="2204" y="330"/>
                        </a:lnTo>
                        <a:lnTo>
                          <a:pt x="2216" y="322"/>
                        </a:lnTo>
                        <a:lnTo>
                          <a:pt x="2228" y="310"/>
                        </a:lnTo>
                        <a:lnTo>
                          <a:pt x="2228" y="310"/>
                        </a:lnTo>
                        <a:lnTo>
                          <a:pt x="2230" y="306"/>
                        </a:lnTo>
                        <a:lnTo>
                          <a:pt x="2230" y="304"/>
                        </a:lnTo>
                        <a:lnTo>
                          <a:pt x="2228" y="302"/>
                        </a:lnTo>
                        <a:lnTo>
                          <a:pt x="2226" y="300"/>
                        </a:lnTo>
                        <a:lnTo>
                          <a:pt x="2214" y="300"/>
                        </a:lnTo>
                        <a:lnTo>
                          <a:pt x="2200" y="300"/>
                        </a:lnTo>
                        <a:lnTo>
                          <a:pt x="2162" y="308"/>
                        </a:lnTo>
                        <a:lnTo>
                          <a:pt x="2142" y="312"/>
                        </a:lnTo>
                        <a:lnTo>
                          <a:pt x="2124" y="318"/>
                        </a:lnTo>
                        <a:lnTo>
                          <a:pt x="2124" y="318"/>
                        </a:lnTo>
                        <a:lnTo>
                          <a:pt x="2112" y="322"/>
                        </a:lnTo>
                        <a:lnTo>
                          <a:pt x="2108" y="320"/>
                        </a:lnTo>
                        <a:lnTo>
                          <a:pt x="2106" y="320"/>
                        </a:lnTo>
                        <a:lnTo>
                          <a:pt x="2106" y="316"/>
                        </a:lnTo>
                        <a:lnTo>
                          <a:pt x="2108" y="314"/>
                        </a:lnTo>
                        <a:lnTo>
                          <a:pt x="2114" y="306"/>
                        </a:lnTo>
                        <a:lnTo>
                          <a:pt x="2124" y="298"/>
                        </a:lnTo>
                        <a:lnTo>
                          <a:pt x="2138" y="292"/>
                        </a:lnTo>
                        <a:lnTo>
                          <a:pt x="2152" y="288"/>
                        </a:lnTo>
                        <a:lnTo>
                          <a:pt x="2160" y="288"/>
                        </a:lnTo>
                        <a:lnTo>
                          <a:pt x="2168" y="288"/>
                        </a:lnTo>
                        <a:lnTo>
                          <a:pt x="2168" y="288"/>
                        </a:lnTo>
                        <a:lnTo>
                          <a:pt x="2182" y="292"/>
                        </a:lnTo>
                        <a:lnTo>
                          <a:pt x="2198" y="292"/>
                        </a:lnTo>
                        <a:lnTo>
                          <a:pt x="2214" y="292"/>
                        </a:lnTo>
                        <a:lnTo>
                          <a:pt x="2228" y="290"/>
                        </a:lnTo>
                        <a:lnTo>
                          <a:pt x="2256" y="284"/>
                        </a:lnTo>
                        <a:lnTo>
                          <a:pt x="2278" y="276"/>
                        </a:lnTo>
                        <a:lnTo>
                          <a:pt x="2278" y="276"/>
                        </a:lnTo>
                        <a:lnTo>
                          <a:pt x="2284" y="270"/>
                        </a:lnTo>
                        <a:lnTo>
                          <a:pt x="2286" y="268"/>
                        </a:lnTo>
                        <a:lnTo>
                          <a:pt x="2284" y="268"/>
                        </a:lnTo>
                        <a:lnTo>
                          <a:pt x="2280" y="264"/>
                        </a:lnTo>
                        <a:lnTo>
                          <a:pt x="2270" y="262"/>
                        </a:lnTo>
                        <a:lnTo>
                          <a:pt x="2244" y="260"/>
                        </a:lnTo>
                        <a:lnTo>
                          <a:pt x="2232" y="260"/>
                        </a:lnTo>
                        <a:lnTo>
                          <a:pt x="2220" y="262"/>
                        </a:lnTo>
                        <a:lnTo>
                          <a:pt x="2220" y="262"/>
                        </a:lnTo>
                        <a:lnTo>
                          <a:pt x="2206" y="264"/>
                        </a:lnTo>
                        <a:lnTo>
                          <a:pt x="2188" y="264"/>
                        </a:lnTo>
                        <a:lnTo>
                          <a:pt x="2154" y="262"/>
                        </a:lnTo>
                        <a:lnTo>
                          <a:pt x="2134" y="258"/>
                        </a:lnTo>
                        <a:lnTo>
                          <a:pt x="2150" y="258"/>
                        </a:lnTo>
                        <a:lnTo>
                          <a:pt x="2150" y="258"/>
                        </a:lnTo>
                        <a:lnTo>
                          <a:pt x="2168" y="260"/>
                        </a:lnTo>
                        <a:lnTo>
                          <a:pt x="2182" y="258"/>
                        </a:lnTo>
                        <a:lnTo>
                          <a:pt x="2192" y="256"/>
                        </a:lnTo>
                        <a:lnTo>
                          <a:pt x="2200" y="252"/>
                        </a:lnTo>
                        <a:lnTo>
                          <a:pt x="2214" y="248"/>
                        </a:lnTo>
                        <a:lnTo>
                          <a:pt x="2222" y="246"/>
                        </a:lnTo>
                        <a:lnTo>
                          <a:pt x="2232" y="248"/>
                        </a:lnTo>
                        <a:lnTo>
                          <a:pt x="2232" y="248"/>
                        </a:lnTo>
                        <a:lnTo>
                          <a:pt x="2244" y="250"/>
                        </a:lnTo>
                        <a:lnTo>
                          <a:pt x="2254" y="250"/>
                        </a:lnTo>
                        <a:lnTo>
                          <a:pt x="2274" y="248"/>
                        </a:lnTo>
                        <a:lnTo>
                          <a:pt x="2298" y="244"/>
                        </a:lnTo>
                        <a:lnTo>
                          <a:pt x="2330" y="242"/>
                        </a:lnTo>
                        <a:lnTo>
                          <a:pt x="2330" y="242"/>
                        </a:lnTo>
                        <a:lnTo>
                          <a:pt x="2342" y="240"/>
                        </a:lnTo>
                        <a:lnTo>
                          <a:pt x="2344" y="238"/>
                        </a:lnTo>
                        <a:lnTo>
                          <a:pt x="2344" y="238"/>
                        </a:lnTo>
                        <a:lnTo>
                          <a:pt x="2342" y="232"/>
                        </a:lnTo>
                        <a:lnTo>
                          <a:pt x="2336" y="228"/>
                        </a:lnTo>
                        <a:lnTo>
                          <a:pt x="2330" y="224"/>
                        </a:lnTo>
                        <a:lnTo>
                          <a:pt x="2328" y="220"/>
                        </a:lnTo>
                        <a:lnTo>
                          <a:pt x="2330" y="220"/>
                        </a:lnTo>
                        <a:lnTo>
                          <a:pt x="2334" y="218"/>
                        </a:lnTo>
                        <a:lnTo>
                          <a:pt x="2348" y="218"/>
                        </a:lnTo>
                        <a:lnTo>
                          <a:pt x="2348" y="218"/>
                        </a:lnTo>
                        <a:lnTo>
                          <a:pt x="2360" y="216"/>
                        </a:lnTo>
                        <a:lnTo>
                          <a:pt x="2372" y="214"/>
                        </a:lnTo>
                        <a:lnTo>
                          <a:pt x="2382" y="212"/>
                        </a:lnTo>
                        <a:lnTo>
                          <a:pt x="2392" y="206"/>
                        </a:lnTo>
                        <a:lnTo>
                          <a:pt x="2412" y="196"/>
                        </a:lnTo>
                        <a:lnTo>
                          <a:pt x="2436" y="182"/>
                        </a:lnTo>
                        <a:lnTo>
                          <a:pt x="2436" y="182"/>
                        </a:lnTo>
                        <a:lnTo>
                          <a:pt x="2440" y="180"/>
                        </a:lnTo>
                        <a:lnTo>
                          <a:pt x="2442" y="176"/>
                        </a:lnTo>
                        <a:lnTo>
                          <a:pt x="2438" y="174"/>
                        </a:lnTo>
                        <a:lnTo>
                          <a:pt x="2434" y="170"/>
                        </a:lnTo>
                        <a:lnTo>
                          <a:pt x="2414" y="164"/>
                        </a:lnTo>
                        <a:lnTo>
                          <a:pt x="2388" y="158"/>
                        </a:lnTo>
                        <a:lnTo>
                          <a:pt x="2356" y="154"/>
                        </a:lnTo>
                        <a:lnTo>
                          <a:pt x="2322" y="150"/>
                        </a:lnTo>
                        <a:lnTo>
                          <a:pt x="2292" y="148"/>
                        </a:lnTo>
                        <a:lnTo>
                          <a:pt x="2264" y="150"/>
                        </a:lnTo>
                        <a:lnTo>
                          <a:pt x="2264" y="150"/>
                        </a:lnTo>
                        <a:lnTo>
                          <a:pt x="2244" y="152"/>
                        </a:lnTo>
                        <a:lnTo>
                          <a:pt x="2230" y="158"/>
                        </a:lnTo>
                        <a:lnTo>
                          <a:pt x="2220" y="164"/>
                        </a:lnTo>
                        <a:lnTo>
                          <a:pt x="2214" y="172"/>
                        </a:lnTo>
                        <a:lnTo>
                          <a:pt x="2210" y="180"/>
                        </a:lnTo>
                        <a:lnTo>
                          <a:pt x="2204" y="184"/>
                        </a:lnTo>
                        <a:lnTo>
                          <a:pt x="2198" y="186"/>
                        </a:lnTo>
                        <a:lnTo>
                          <a:pt x="2188" y="186"/>
                        </a:lnTo>
                        <a:lnTo>
                          <a:pt x="2188" y="186"/>
                        </a:lnTo>
                        <a:lnTo>
                          <a:pt x="2176" y="184"/>
                        </a:lnTo>
                        <a:lnTo>
                          <a:pt x="2162" y="182"/>
                        </a:lnTo>
                        <a:lnTo>
                          <a:pt x="2140" y="184"/>
                        </a:lnTo>
                        <a:lnTo>
                          <a:pt x="2126" y="184"/>
                        </a:lnTo>
                        <a:lnTo>
                          <a:pt x="2126" y="182"/>
                        </a:lnTo>
                        <a:lnTo>
                          <a:pt x="2126" y="182"/>
                        </a:lnTo>
                        <a:lnTo>
                          <a:pt x="2130" y="178"/>
                        </a:lnTo>
                        <a:lnTo>
                          <a:pt x="2130" y="178"/>
                        </a:lnTo>
                        <a:lnTo>
                          <a:pt x="2134" y="172"/>
                        </a:lnTo>
                        <a:lnTo>
                          <a:pt x="2134" y="170"/>
                        </a:lnTo>
                        <a:lnTo>
                          <a:pt x="2128" y="170"/>
                        </a:lnTo>
                        <a:lnTo>
                          <a:pt x="2120" y="172"/>
                        </a:lnTo>
                        <a:lnTo>
                          <a:pt x="2108" y="176"/>
                        </a:lnTo>
                        <a:lnTo>
                          <a:pt x="2092" y="184"/>
                        </a:lnTo>
                        <a:lnTo>
                          <a:pt x="2074" y="196"/>
                        </a:lnTo>
                        <a:lnTo>
                          <a:pt x="2050" y="210"/>
                        </a:lnTo>
                        <a:lnTo>
                          <a:pt x="2050" y="210"/>
                        </a:lnTo>
                        <a:lnTo>
                          <a:pt x="2028" y="224"/>
                        </a:lnTo>
                        <a:lnTo>
                          <a:pt x="2010" y="234"/>
                        </a:lnTo>
                        <a:lnTo>
                          <a:pt x="1996" y="242"/>
                        </a:lnTo>
                        <a:lnTo>
                          <a:pt x="1986" y="244"/>
                        </a:lnTo>
                        <a:lnTo>
                          <a:pt x="1984" y="244"/>
                        </a:lnTo>
                        <a:lnTo>
                          <a:pt x="1982" y="244"/>
                        </a:lnTo>
                        <a:lnTo>
                          <a:pt x="1984" y="238"/>
                        </a:lnTo>
                        <a:lnTo>
                          <a:pt x="1992" y="228"/>
                        </a:lnTo>
                        <a:lnTo>
                          <a:pt x="2008" y="216"/>
                        </a:lnTo>
                        <a:lnTo>
                          <a:pt x="2008" y="216"/>
                        </a:lnTo>
                        <a:lnTo>
                          <a:pt x="2026" y="200"/>
                        </a:lnTo>
                        <a:lnTo>
                          <a:pt x="2040" y="186"/>
                        </a:lnTo>
                        <a:lnTo>
                          <a:pt x="2050" y="172"/>
                        </a:lnTo>
                        <a:lnTo>
                          <a:pt x="2052" y="166"/>
                        </a:lnTo>
                        <a:lnTo>
                          <a:pt x="2052" y="160"/>
                        </a:lnTo>
                        <a:lnTo>
                          <a:pt x="2052" y="156"/>
                        </a:lnTo>
                        <a:lnTo>
                          <a:pt x="2050" y="150"/>
                        </a:lnTo>
                        <a:lnTo>
                          <a:pt x="2048" y="146"/>
                        </a:lnTo>
                        <a:lnTo>
                          <a:pt x="2042" y="144"/>
                        </a:lnTo>
                        <a:lnTo>
                          <a:pt x="2036" y="140"/>
                        </a:lnTo>
                        <a:lnTo>
                          <a:pt x="2028" y="138"/>
                        </a:lnTo>
                        <a:lnTo>
                          <a:pt x="2004" y="138"/>
                        </a:lnTo>
                        <a:lnTo>
                          <a:pt x="2004" y="138"/>
                        </a:lnTo>
                        <a:lnTo>
                          <a:pt x="1984" y="138"/>
                        </a:lnTo>
                        <a:lnTo>
                          <a:pt x="1972" y="142"/>
                        </a:lnTo>
                        <a:lnTo>
                          <a:pt x="1964" y="146"/>
                        </a:lnTo>
                        <a:lnTo>
                          <a:pt x="1962" y="152"/>
                        </a:lnTo>
                        <a:lnTo>
                          <a:pt x="1960" y="156"/>
                        </a:lnTo>
                        <a:lnTo>
                          <a:pt x="1958" y="162"/>
                        </a:lnTo>
                        <a:lnTo>
                          <a:pt x="1952" y="168"/>
                        </a:lnTo>
                        <a:lnTo>
                          <a:pt x="1940" y="172"/>
                        </a:lnTo>
                        <a:lnTo>
                          <a:pt x="1940" y="172"/>
                        </a:lnTo>
                        <a:lnTo>
                          <a:pt x="1910" y="178"/>
                        </a:lnTo>
                        <a:lnTo>
                          <a:pt x="1886" y="182"/>
                        </a:lnTo>
                        <a:lnTo>
                          <a:pt x="1878" y="182"/>
                        </a:lnTo>
                        <a:lnTo>
                          <a:pt x="1876" y="180"/>
                        </a:lnTo>
                        <a:lnTo>
                          <a:pt x="1880" y="176"/>
                        </a:lnTo>
                        <a:lnTo>
                          <a:pt x="1890" y="172"/>
                        </a:lnTo>
                        <a:lnTo>
                          <a:pt x="1890" y="172"/>
                        </a:lnTo>
                        <a:lnTo>
                          <a:pt x="1916" y="160"/>
                        </a:lnTo>
                        <a:lnTo>
                          <a:pt x="1922" y="154"/>
                        </a:lnTo>
                        <a:lnTo>
                          <a:pt x="1924" y="152"/>
                        </a:lnTo>
                        <a:lnTo>
                          <a:pt x="1924" y="150"/>
                        </a:lnTo>
                        <a:lnTo>
                          <a:pt x="1924" y="148"/>
                        </a:lnTo>
                        <a:lnTo>
                          <a:pt x="1920" y="148"/>
                        </a:lnTo>
                        <a:lnTo>
                          <a:pt x="1906" y="144"/>
                        </a:lnTo>
                        <a:lnTo>
                          <a:pt x="1884" y="142"/>
                        </a:lnTo>
                        <a:lnTo>
                          <a:pt x="1852" y="140"/>
                        </a:lnTo>
                        <a:lnTo>
                          <a:pt x="1852" y="140"/>
                        </a:lnTo>
                        <a:lnTo>
                          <a:pt x="1812" y="142"/>
                        </a:lnTo>
                        <a:lnTo>
                          <a:pt x="1770" y="146"/>
                        </a:lnTo>
                        <a:lnTo>
                          <a:pt x="1730" y="152"/>
                        </a:lnTo>
                        <a:lnTo>
                          <a:pt x="1694" y="160"/>
                        </a:lnTo>
                        <a:lnTo>
                          <a:pt x="1636" y="172"/>
                        </a:lnTo>
                        <a:lnTo>
                          <a:pt x="1616" y="174"/>
                        </a:lnTo>
                        <a:lnTo>
                          <a:pt x="1610" y="174"/>
                        </a:lnTo>
                        <a:lnTo>
                          <a:pt x="1608" y="174"/>
                        </a:lnTo>
                        <a:lnTo>
                          <a:pt x="1608" y="174"/>
                        </a:lnTo>
                        <a:lnTo>
                          <a:pt x="1604" y="170"/>
                        </a:lnTo>
                        <a:lnTo>
                          <a:pt x="1602" y="168"/>
                        </a:lnTo>
                        <a:lnTo>
                          <a:pt x="1604" y="164"/>
                        </a:lnTo>
                        <a:lnTo>
                          <a:pt x="1606" y="162"/>
                        </a:lnTo>
                        <a:lnTo>
                          <a:pt x="1618" y="156"/>
                        </a:lnTo>
                        <a:lnTo>
                          <a:pt x="1636" y="152"/>
                        </a:lnTo>
                        <a:lnTo>
                          <a:pt x="1686" y="142"/>
                        </a:lnTo>
                        <a:lnTo>
                          <a:pt x="1744" y="134"/>
                        </a:lnTo>
                        <a:lnTo>
                          <a:pt x="1744" y="134"/>
                        </a:lnTo>
                        <a:lnTo>
                          <a:pt x="1772" y="130"/>
                        </a:lnTo>
                        <a:lnTo>
                          <a:pt x="1802" y="130"/>
                        </a:lnTo>
                        <a:lnTo>
                          <a:pt x="1864" y="130"/>
                        </a:lnTo>
                        <a:lnTo>
                          <a:pt x="1926" y="130"/>
                        </a:lnTo>
                        <a:lnTo>
                          <a:pt x="1956" y="128"/>
                        </a:lnTo>
                        <a:lnTo>
                          <a:pt x="1984" y="124"/>
                        </a:lnTo>
                        <a:lnTo>
                          <a:pt x="1984" y="124"/>
                        </a:lnTo>
                        <a:lnTo>
                          <a:pt x="2020" y="114"/>
                        </a:lnTo>
                        <a:lnTo>
                          <a:pt x="2054" y="104"/>
                        </a:lnTo>
                        <a:lnTo>
                          <a:pt x="2066" y="98"/>
                        </a:lnTo>
                        <a:lnTo>
                          <a:pt x="2072" y="92"/>
                        </a:lnTo>
                        <a:lnTo>
                          <a:pt x="2072" y="90"/>
                        </a:lnTo>
                        <a:lnTo>
                          <a:pt x="2070" y="88"/>
                        </a:lnTo>
                        <a:lnTo>
                          <a:pt x="2062" y="84"/>
                        </a:lnTo>
                        <a:lnTo>
                          <a:pt x="2062" y="84"/>
                        </a:lnTo>
                        <a:lnTo>
                          <a:pt x="2034" y="78"/>
                        </a:lnTo>
                        <a:lnTo>
                          <a:pt x="2004" y="72"/>
                        </a:lnTo>
                        <a:lnTo>
                          <a:pt x="1988" y="70"/>
                        </a:lnTo>
                        <a:lnTo>
                          <a:pt x="1970" y="68"/>
                        </a:lnTo>
                        <a:lnTo>
                          <a:pt x="1952" y="70"/>
                        </a:lnTo>
                        <a:lnTo>
                          <a:pt x="1932" y="72"/>
                        </a:lnTo>
                        <a:lnTo>
                          <a:pt x="1932" y="72"/>
                        </a:lnTo>
                        <a:lnTo>
                          <a:pt x="1914" y="76"/>
                        </a:lnTo>
                        <a:lnTo>
                          <a:pt x="1916" y="74"/>
                        </a:lnTo>
                        <a:lnTo>
                          <a:pt x="1922" y="70"/>
                        </a:lnTo>
                        <a:lnTo>
                          <a:pt x="1930" y="64"/>
                        </a:lnTo>
                        <a:lnTo>
                          <a:pt x="1936" y="58"/>
                        </a:lnTo>
                        <a:lnTo>
                          <a:pt x="1938" y="56"/>
                        </a:lnTo>
                        <a:lnTo>
                          <a:pt x="1938" y="52"/>
                        </a:lnTo>
                        <a:lnTo>
                          <a:pt x="1936" y="50"/>
                        </a:lnTo>
                        <a:lnTo>
                          <a:pt x="1932" y="46"/>
                        </a:lnTo>
                        <a:lnTo>
                          <a:pt x="1932" y="46"/>
                        </a:lnTo>
                        <a:lnTo>
                          <a:pt x="1922" y="42"/>
                        </a:lnTo>
                        <a:lnTo>
                          <a:pt x="1912" y="42"/>
                        </a:lnTo>
                        <a:lnTo>
                          <a:pt x="1898" y="42"/>
                        </a:lnTo>
                        <a:lnTo>
                          <a:pt x="1884" y="46"/>
                        </a:lnTo>
                        <a:lnTo>
                          <a:pt x="1866" y="48"/>
                        </a:lnTo>
                        <a:lnTo>
                          <a:pt x="1846" y="50"/>
                        </a:lnTo>
                        <a:lnTo>
                          <a:pt x="1822" y="52"/>
                        </a:lnTo>
                        <a:lnTo>
                          <a:pt x="1794" y="50"/>
                        </a:lnTo>
                        <a:lnTo>
                          <a:pt x="1794" y="50"/>
                        </a:lnTo>
                        <a:lnTo>
                          <a:pt x="1766" y="48"/>
                        </a:lnTo>
                        <a:lnTo>
                          <a:pt x="1744" y="48"/>
                        </a:lnTo>
                        <a:lnTo>
                          <a:pt x="1724" y="52"/>
                        </a:lnTo>
                        <a:lnTo>
                          <a:pt x="1708" y="54"/>
                        </a:lnTo>
                        <a:lnTo>
                          <a:pt x="1678" y="60"/>
                        </a:lnTo>
                        <a:lnTo>
                          <a:pt x="1660" y="60"/>
                        </a:lnTo>
                        <a:lnTo>
                          <a:pt x="1638" y="60"/>
                        </a:lnTo>
                        <a:lnTo>
                          <a:pt x="1638" y="60"/>
                        </a:lnTo>
                        <a:lnTo>
                          <a:pt x="1622" y="58"/>
                        </a:lnTo>
                        <a:lnTo>
                          <a:pt x="1616" y="56"/>
                        </a:lnTo>
                        <a:lnTo>
                          <a:pt x="1618" y="54"/>
                        </a:lnTo>
                        <a:lnTo>
                          <a:pt x="1628" y="52"/>
                        </a:lnTo>
                        <a:lnTo>
                          <a:pt x="1692" y="46"/>
                        </a:lnTo>
                        <a:lnTo>
                          <a:pt x="1692" y="46"/>
                        </a:lnTo>
                        <a:lnTo>
                          <a:pt x="1734" y="44"/>
                        </a:lnTo>
                        <a:lnTo>
                          <a:pt x="1794" y="42"/>
                        </a:lnTo>
                        <a:lnTo>
                          <a:pt x="1852" y="38"/>
                        </a:lnTo>
                        <a:lnTo>
                          <a:pt x="1894" y="34"/>
                        </a:lnTo>
                        <a:lnTo>
                          <a:pt x="1894" y="34"/>
                        </a:lnTo>
                        <a:lnTo>
                          <a:pt x="1900" y="32"/>
                        </a:lnTo>
                        <a:lnTo>
                          <a:pt x="1902" y="32"/>
                        </a:lnTo>
                        <a:lnTo>
                          <a:pt x="1902" y="30"/>
                        </a:lnTo>
                        <a:lnTo>
                          <a:pt x="1898" y="28"/>
                        </a:lnTo>
                        <a:lnTo>
                          <a:pt x="1882" y="24"/>
                        </a:lnTo>
                        <a:lnTo>
                          <a:pt x="1858" y="20"/>
                        </a:lnTo>
                        <a:lnTo>
                          <a:pt x="1798" y="12"/>
                        </a:lnTo>
                        <a:lnTo>
                          <a:pt x="1732" y="6"/>
                        </a:lnTo>
                        <a:lnTo>
                          <a:pt x="1732" y="6"/>
                        </a:lnTo>
                        <a:lnTo>
                          <a:pt x="1686" y="2"/>
                        </a:lnTo>
                        <a:lnTo>
                          <a:pt x="1648" y="0"/>
                        </a:lnTo>
                        <a:lnTo>
                          <a:pt x="1618" y="2"/>
                        </a:lnTo>
                        <a:lnTo>
                          <a:pt x="1594" y="2"/>
                        </a:lnTo>
                        <a:lnTo>
                          <a:pt x="1552" y="6"/>
                        </a:lnTo>
                        <a:lnTo>
                          <a:pt x="1528" y="8"/>
                        </a:lnTo>
                        <a:lnTo>
                          <a:pt x="1504" y="6"/>
                        </a:lnTo>
                        <a:lnTo>
                          <a:pt x="1504" y="6"/>
                        </a:lnTo>
                        <a:lnTo>
                          <a:pt x="1480" y="6"/>
                        </a:lnTo>
                        <a:lnTo>
                          <a:pt x="1466" y="8"/>
                        </a:lnTo>
                        <a:lnTo>
                          <a:pt x="1460" y="10"/>
                        </a:lnTo>
                        <a:lnTo>
                          <a:pt x="1458" y="14"/>
                        </a:lnTo>
                        <a:lnTo>
                          <a:pt x="1458" y="16"/>
                        </a:lnTo>
                        <a:lnTo>
                          <a:pt x="1458" y="18"/>
                        </a:lnTo>
                        <a:lnTo>
                          <a:pt x="1452" y="18"/>
                        </a:lnTo>
                        <a:lnTo>
                          <a:pt x="1442" y="16"/>
                        </a:lnTo>
                        <a:lnTo>
                          <a:pt x="1442" y="16"/>
                        </a:lnTo>
                        <a:lnTo>
                          <a:pt x="1420" y="12"/>
                        </a:lnTo>
                        <a:lnTo>
                          <a:pt x="1410" y="14"/>
                        </a:lnTo>
                        <a:lnTo>
                          <a:pt x="1400" y="16"/>
                        </a:lnTo>
                        <a:lnTo>
                          <a:pt x="1384" y="18"/>
                        </a:lnTo>
                        <a:lnTo>
                          <a:pt x="1384" y="18"/>
                        </a:lnTo>
                        <a:lnTo>
                          <a:pt x="1374" y="18"/>
                        </a:lnTo>
                        <a:lnTo>
                          <a:pt x="1368" y="20"/>
                        </a:lnTo>
                        <a:lnTo>
                          <a:pt x="1366" y="24"/>
                        </a:lnTo>
                        <a:lnTo>
                          <a:pt x="1366" y="28"/>
                        </a:lnTo>
                        <a:lnTo>
                          <a:pt x="1370" y="32"/>
                        </a:lnTo>
                        <a:lnTo>
                          <a:pt x="1378" y="36"/>
                        </a:lnTo>
                        <a:lnTo>
                          <a:pt x="1388" y="40"/>
                        </a:lnTo>
                        <a:lnTo>
                          <a:pt x="1402" y="44"/>
                        </a:lnTo>
                        <a:lnTo>
                          <a:pt x="1402" y="44"/>
                        </a:lnTo>
                        <a:lnTo>
                          <a:pt x="1412" y="46"/>
                        </a:lnTo>
                        <a:lnTo>
                          <a:pt x="1416" y="46"/>
                        </a:lnTo>
                        <a:lnTo>
                          <a:pt x="1412" y="48"/>
                        </a:lnTo>
                        <a:lnTo>
                          <a:pt x="1406" y="50"/>
                        </a:lnTo>
                        <a:lnTo>
                          <a:pt x="1386" y="52"/>
                        </a:lnTo>
                        <a:lnTo>
                          <a:pt x="1378" y="54"/>
                        </a:lnTo>
                        <a:lnTo>
                          <a:pt x="1372" y="56"/>
                        </a:lnTo>
                        <a:lnTo>
                          <a:pt x="1372" y="56"/>
                        </a:lnTo>
                        <a:lnTo>
                          <a:pt x="1356" y="62"/>
                        </a:lnTo>
                        <a:lnTo>
                          <a:pt x="1332" y="64"/>
                        </a:lnTo>
                        <a:lnTo>
                          <a:pt x="1318" y="66"/>
                        </a:lnTo>
                        <a:lnTo>
                          <a:pt x="1304" y="64"/>
                        </a:lnTo>
                        <a:lnTo>
                          <a:pt x="1290" y="62"/>
                        </a:lnTo>
                        <a:lnTo>
                          <a:pt x="1278" y="56"/>
                        </a:lnTo>
                        <a:lnTo>
                          <a:pt x="1278" y="56"/>
                        </a:lnTo>
                        <a:lnTo>
                          <a:pt x="1254" y="46"/>
                        </a:lnTo>
                        <a:lnTo>
                          <a:pt x="1242" y="42"/>
                        </a:lnTo>
                        <a:lnTo>
                          <a:pt x="1228" y="38"/>
                        </a:lnTo>
                        <a:lnTo>
                          <a:pt x="1212" y="36"/>
                        </a:lnTo>
                        <a:lnTo>
                          <a:pt x="1194" y="34"/>
                        </a:lnTo>
                        <a:lnTo>
                          <a:pt x="1176" y="36"/>
                        </a:lnTo>
                        <a:lnTo>
                          <a:pt x="1154" y="38"/>
                        </a:lnTo>
                        <a:lnTo>
                          <a:pt x="1154" y="38"/>
                        </a:lnTo>
                        <a:lnTo>
                          <a:pt x="1114" y="44"/>
                        </a:lnTo>
                        <a:lnTo>
                          <a:pt x="1078" y="48"/>
                        </a:lnTo>
                        <a:lnTo>
                          <a:pt x="1064" y="50"/>
                        </a:lnTo>
                        <a:lnTo>
                          <a:pt x="1054" y="54"/>
                        </a:lnTo>
                        <a:lnTo>
                          <a:pt x="1048" y="56"/>
                        </a:lnTo>
                        <a:lnTo>
                          <a:pt x="1048" y="58"/>
                        </a:lnTo>
                        <a:lnTo>
                          <a:pt x="1048" y="60"/>
                        </a:lnTo>
                        <a:lnTo>
                          <a:pt x="1048" y="60"/>
                        </a:lnTo>
                        <a:lnTo>
                          <a:pt x="1054" y="64"/>
                        </a:lnTo>
                        <a:lnTo>
                          <a:pt x="1062" y="66"/>
                        </a:lnTo>
                        <a:lnTo>
                          <a:pt x="1092" y="68"/>
                        </a:lnTo>
                        <a:lnTo>
                          <a:pt x="1128" y="66"/>
                        </a:lnTo>
                        <a:lnTo>
                          <a:pt x="1170" y="66"/>
                        </a:lnTo>
                        <a:lnTo>
                          <a:pt x="1170" y="66"/>
                        </a:lnTo>
                        <a:lnTo>
                          <a:pt x="1208" y="68"/>
                        </a:lnTo>
                        <a:lnTo>
                          <a:pt x="1246" y="72"/>
                        </a:lnTo>
                        <a:lnTo>
                          <a:pt x="1280" y="76"/>
                        </a:lnTo>
                        <a:lnTo>
                          <a:pt x="1314" y="82"/>
                        </a:lnTo>
                        <a:lnTo>
                          <a:pt x="1314" y="82"/>
                        </a:lnTo>
                        <a:lnTo>
                          <a:pt x="1326" y="86"/>
                        </a:lnTo>
                        <a:lnTo>
                          <a:pt x="1332" y="88"/>
                        </a:lnTo>
                        <a:lnTo>
                          <a:pt x="1332" y="90"/>
                        </a:lnTo>
                        <a:lnTo>
                          <a:pt x="1332" y="90"/>
                        </a:lnTo>
                        <a:lnTo>
                          <a:pt x="1326" y="92"/>
                        </a:lnTo>
                        <a:lnTo>
                          <a:pt x="1308" y="92"/>
                        </a:lnTo>
                        <a:lnTo>
                          <a:pt x="1294" y="90"/>
                        </a:lnTo>
                        <a:lnTo>
                          <a:pt x="1282" y="88"/>
                        </a:lnTo>
                        <a:lnTo>
                          <a:pt x="1282" y="88"/>
                        </a:lnTo>
                        <a:lnTo>
                          <a:pt x="1268" y="84"/>
                        </a:lnTo>
                        <a:lnTo>
                          <a:pt x="1252" y="82"/>
                        </a:lnTo>
                        <a:lnTo>
                          <a:pt x="1214" y="78"/>
                        </a:lnTo>
                        <a:lnTo>
                          <a:pt x="1110" y="74"/>
                        </a:lnTo>
                        <a:lnTo>
                          <a:pt x="1110" y="74"/>
                        </a:lnTo>
                        <a:lnTo>
                          <a:pt x="1092" y="76"/>
                        </a:lnTo>
                        <a:lnTo>
                          <a:pt x="1090" y="76"/>
                        </a:lnTo>
                        <a:lnTo>
                          <a:pt x="1092" y="78"/>
                        </a:lnTo>
                        <a:lnTo>
                          <a:pt x="1106" y="84"/>
                        </a:lnTo>
                        <a:lnTo>
                          <a:pt x="1126" y="92"/>
                        </a:lnTo>
                        <a:lnTo>
                          <a:pt x="1148" y="100"/>
                        </a:lnTo>
                        <a:lnTo>
                          <a:pt x="1164" y="108"/>
                        </a:lnTo>
                        <a:lnTo>
                          <a:pt x="1168" y="110"/>
                        </a:lnTo>
                        <a:lnTo>
                          <a:pt x="1168" y="114"/>
                        </a:lnTo>
                        <a:lnTo>
                          <a:pt x="1164" y="116"/>
                        </a:lnTo>
                        <a:lnTo>
                          <a:pt x="1154" y="116"/>
                        </a:lnTo>
                        <a:lnTo>
                          <a:pt x="1154" y="116"/>
                        </a:lnTo>
                        <a:lnTo>
                          <a:pt x="1146" y="118"/>
                        </a:lnTo>
                        <a:lnTo>
                          <a:pt x="1142" y="120"/>
                        </a:lnTo>
                        <a:lnTo>
                          <a:pt x="1138" y="122"/>
                        </a:lnTo>
                        <a:lnTo>
                          <a:pt x="1138" y="126"/>
                        </a:lnTo>
                        <a:lnTo>
                          <a:pt x="1136" y="132"/>
                        </a:lnTo>
                        <a:lnTo>
                          <a:pt x="1138" y="140"/>
                        </a:lnTo>
                        <a:lnTo>
                          <a:pt x="1142" y="148"/>
                        </a:lnTo>
                        <a:lnTo>
                          <a:pt x="1142" y="156"/>
                        </a:lnTo>
                        <a:lnTo>
                          <a:pt x="1142" y="158"/>
                        </a:lnTo>
                        <a:lnTo>
                          <a:pt x="1140" y="160"/>
                        </a:lnTo>
                        <a:lnTo>
                          <a:pt x="1136" y="162"/>
                        </a:lnTo>
                        <a:lnTo>
                          <a:pt x="1132" y="164"/>
                        </a:lnTo>
                        <a:lnTo>
                          <a:pt x="1132" y="164"/>
                        </a:lnTo>
                        <a:lnTo>
                          <a:pt x="1122" y="164"/>
                        </a:lnTo>
                        <a:lnTo>
                          <a:pt x="1114" y="162"/>
                        </a:lnTo>
                        <a:lnTo>
                          <a:pt x="1108" y="158"/>
                        </a:lnTo>
                        <a:lnTo>
                          <a:pt x="1102" y="152"/>
                        </a:lnTo>
                        <a:lnTo>
                          <a:pt x="1094" y="146"/>
                        </a:lnTo>
                        <a:lnTo>
                          <a:pt x="1084" y="142"/>
                        </a:lnTo>
                        <a:lnTo>
                          <a:pt x="1070" y="136"/>
                        </a:lnTo>
                        <a:lnTo>
                          <a:pt x="1052" y="132"/>
                        </a:lnTo>
                        <a:lnTo>
                          <a:pt x="1052" y="132"/>
                        </a:lnTo>
                        <a:lnTo>
                          <a:pt x="1034" y="128"/>
                        </a:lnTo>
                        <a:lnTo>
                          <a:pt x="1016" y="124"/>
                        </a:lnTo>
                        <a:lnTo>
                          <a:pt x="986" y="114"/>
                        </a:lnTo>
                        <a:lnTo>
                          <a:pt x="954" y="104"/>
                        </a:lnTo>
                        <a:lnTo>
                          <a:pt x="936" y="100"/>
                        </a:lnTo>
                        <a:lnTo>
                          <a:pt x="916" y="98"/>
                        </a:lnTo>
                        <a:lnTo>
                          <a:pt x="916" y="98"/>
                        </a:lnTo>
                        <a:lnTo>
                          <a:pt x="896" y="98"/>
                        </a:lnTo>
                        <a:lnTo>
                          <a:pt x="884" y="100"/>
                        </a:lnTo>
                        <a:lnTo>
                          <a:pt x="876" y="102"/>
                        </a:lnTo>
                        <a:lnTo>
                          <a:pt x="874" y="104"/>
                        </a:lnTo>
                        <a:lnTo>
                          <a:pt x="874" y="106"/>
                        </a:lnTo>
                        <a:lnTo>
                          <a:pt x="876" y="112"/>
                        </a:lnTo>
                        <a:lnTo>
                          <a:pt x="884" y="118"/>
                        </a:lnTo>
                        <a:lnTo>
                          <a:pt x="914" y="138"/>
                        </a:lnTo>
                        <a:lnTo>
                          <a:pt x="914" y="138"/>
                        </a:lnTo>
                        <a:lnTo>
                          <a:pt x="926" y="146"/>
                        </a:lnTo>
                        <a:lnTo>
                          <a:pt x="928" y="148"/>
                        </a:lnTo>
                        <a:lnTo>
                          <a:pt x="928" y="150"/>
                        </a:lnTo>
                        <a:lnTo>
                          <a:pt x="922" y="150"/>
                        </a:lnTo>
                        <a:lnTo>
                          <a:pt x="912" y="148"/>
                        </a:lnTo>
                        <a:lnTo>
                          <a:pt x="900" y="148"/>
                        </a:lnTo>
                        <a:lnTo>
                          <a:pt x="888" y="148"/>
                        </a:lnTo>
                        <a:lnTo>
                          <a:pt x="884" y="148"/>
                        </a:lnTo>
                        <a:lnTo>
                          <a:pt x="882" y="150"/>
                        </a:lnTo>
                        <a:lnTo>
                          <a:pt x="882" y="154"/>
                        </a:lnTo>
                        <a:lnTo>
                          <a:pt x="884" y="158"/>
                        </a:lnTo>
                        <a:lnTo>
                          <a:pt x="884" y="158"/>
                        </a:lnTo>
                        <a:lnTo>
                          <a:pt x="886" y="160"/>
                        </a:lnTo>
                        <a:lnTo>
                          <a:pt x="886" y="162"/>
                        </a:lnTo>
                        <a:lnTo>
                          <a:pt x="878" y="160"/>
                        </a:lnTo>
                        <a:lnTo>
                          <a:pt x="866" y="156"/>
                        </a:lnTo>
                        <a:lnTo>
                          <a:pt x="850" y="150"/>
                        </a:lnTo>
                        <a:lnTo>
                          <a:pt x="834" y="148"/>
                        </a:lnTo>
                        <a:lnTo>
                          <a:pt x="824" y="148"/>
                        </a:lnTo>
                        <a:lnTo>
                          <a:pt x="814" y="148"/>
                        </a:lnTo>
                        <a:lnTo>
                          <a:pt x="806" y="152"/>
                        </a:lnTo>
                        <a:lnTo>
                          <a:pt x="796" y="156"/>
                        </a:lnTo>
                        <a:lnTo>
                          <a:pt x="788" y="164"/>
                        </a:lnTo>
                        <a:lnTo>
                          <a:pt x="782" y="172"/>
                        </a:lnTo>
                        <a:lnTo>
                          <a:pt x="782" y="172"/>
                        </a:lnTo>
                        <a:lnTo>
                          <a:pt x="770" y="190"/>
                        </a:lnTo>
                        <a:lnTo>
                          <a:pt x="772" y="180"/>
                        </a:lnTo>
                        <a:lnTo>
                          <a:pt x="776" y="168"/>
                        </a:lnTo>
                        <a:lnTo>
                          <a:pt x="776" y="154"/>
                        </a:lnTo>
                        <a:lnTo>
                          <a:pt x="774" y="138"/>
                        </a:lnTo>
                        <a:lnTo>
                          <a:pt x="772" y="132"/>
                        </a:lnTo>
                        <a:lnTo>
                          <a:pt x="766" y="124"/>
                        </a:lnTo>
                        <a:lnTo>
                          <a:pt x="766" y="124"/>
                        </a:lnTo>
                        <a:lnTo>
                          <a:pt x="756" y="114"/>
                        </a:lnTo>
                        <a:lnTo>
                          <a:pt x="746" y="108"/>
                        </a:lnTo>
                        <a:lnTo>
                          <a:pt x="732" y="108"/>
                        </a:lnTo>
                        <a:lnTo>
                          <a:pt x="716" y="110"/>
                        </a:lnTo>
                        <a:lnTo>
                          <a:pt x="672" y="120"/>
                        </a:lnTo>
                        <a:lnTo>
                          <a:pt x="640" y="126"/>
                        </a:lnTo>
                        <a:lnTo>
                          <a:pt x="598" y="130"/>
                        </a:lnTo>
                        <a:lnTo>
                          <a:pt x="598" y="130"/>
                        </a:lnTo>
                        <a:lnTo>
                          <a:pt x="558" y="136"/>
                        </a:lnTo>
                        <a:lnTo>
                          <a:pt x="526" y="140"/>
                        </a:lnTo>
                        <a:lnTo>
                          <a:pt x="502" y="146"/>
                        </a:lnTo>
                        <a:lnTo>
                          <a:pt x="484" y="152"/>
                        </a:lnTo>
                        <a:lnTo>
                          <a:pt x="472" y="156"/>
                        </a:lnTo>
                        <a:lnTo>
                          <a:pt x="466" y="164"/>
                        </a:lnTo>
                        <a:lnTo>
                          <a:pt x="466" y="166"/>
                        </a:lnTo>
                        <a:lnTo>
                          <a:pt x="466" y="170"/>
                        </a:lnTo>
                        <a:lnTo>
                          <a:pt x="470" y="176"/>
                        </a:lnTo>
                        <a:lnTo>
                          <a:pt x="470" y="17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grpSp>
            <p:sp>
              <p:nvSpPr>
                <p:cNvPr id="164" name="Freeform 6119"/>
                <p:cNvSpPr>
                  <a:spLocks/>
                </p:cNvSpPr>
                <p:nvPr/>
              </p:nvSpPr>
              <p:spPr bwMode="auto">
                <a:xfrm>
                  <a:off x="2402840" y="3076893"/>
                  <a:ext cx="17780" cy="27940"/>
                </a:xfrm>
                <a:custGeom>
                  <a:avLst/>
                  <a:gdLst/>
                  <a:ahLst/>
                  <a:cxnLst>
                    <a:cxn ang="0">
                      <a:pos x="22" y="36"/>
                    </a:cxn>
                    <a:cxn ang="0">
                      <a:pos x="22" y="36"/>
                    </a:cxn>
                    <a:cxn ang="0">
                      <a:pos x="26" y="32"/>
                    </a:cxn>
                    <a:cxn ang="0">
                      <a:pos x="28" y="28"/>
                    </a:cxn>
                    <a:cxn ang="0">
                      <a:pos x="26" y="22"/>
                    </a:cxn>
                    <a:cxn ang="0">
                      <a:pos x="20" y="16"/>
                    </a:cxn>
                    <a:cxn ang="0">
                      <a:pos x="20" y="16"/>
                    </a:cxn>
                    <a:cxn ang="0">
                      <a:pos x="16" y="10"/>
                    </a:cxn>
                    <a:cxn ang="0">
                      <a:pos x="14" y="4"/>
                    </a:cxn>
                    <a:cxn ang="0">
                      <a:pos x="14" y="0"/>
                    </a:cxn>
                    <a:cxn ang="0">
                      <a:pos x="10" y="0"/>
                    </a:cxn>
                    <a:cxn ang="0">
                      <a:pos x="10" y="0"/>
                    </a:cxn>
                    <a:cxn ang="0">
                      <a:pos x="6" y="0"/>
                    </a:cxn>
                    <a:cxn ang="0">
                      <a:pos x="6" y="4"/>
                    </a:cxn>
                    <a:cxn ang="0">
                      <a:pos x="6" y="12"/>
                    </a:cxn>
                    <a:cxn ang="0">
                      <a:pos x="2" y="20"/>
                    </a:cxn>
                    <a:cxn ang="0">
                      <a:pos x="2" y="20"/>
                    </a:cxn>
                    <a:cxn ang="0">
                      <a:pos x="0" y="28"/>
                    </a:cxn>
                    <a:cxn ang="0">
                      <a:pos x="2" y="32"/>
                    </a:cxn>
                    <a:cxn ang="0">
                      <a:pos x="6" y="36"/>
                    </a:cxn>
                    <a:cxn ang="0">
                      <a:pos x="12" y="42"/>
                    </a:cxn>
                    <a:cxn ang="0">
                      <a:pos x="12" y="42"/>
                    </a:cxn>
                    <a:cxn ang="0">
                      <a:pos x="16" y="44"/>
                    </a:cxn>
                    <a:cxn ang="0">
                      <a:pos x="18" y="42"/>
                    </a:cxn>
                    <a:cxn ang="0">
                      <a:pos x="22" y="36"/>
                    </a:cxn>
                    <a:cxn ang="0">
                      <a:pos x="22" y="36"/>
                    </a:cxn>
                  </a:cxnLst>
                  <a:rect l="0" t="0" r="r" b="b"/>
                  <a:pathLst>
                    <a:path w="28" h="44">
                      <a:moveTo>
                        <a:pt x="22" y="36"/>
                      </a:moveTo>
                      <a:lnTo>
                        <a:pt x="22" y="36"/>
                      </a:lnTo>
                      <a:lnTo>
                        <a:pt x="26" y="32"/>
                      </a:lnTo>
                      <a:lnTo>
                        <a:pt x="28" y="28"/>
                      </a:lnTo>
                      <a:lnTo>
                        <a:pt x="26" y="22"/>
                      </a:lnTo>
                      <a:lnTo>
                        <a:pt x="20" y="16"/>
                      </a:lnTo>
                      <a:lnTo>
                        <a:pt x="20" y="16"/>
                      </a:lnTo>
                      <a:lnTo>
                        <a:pt x="16" y="10"/>
                      </a:lnTo>
                      <a:lnTo>
                        <a:pt x="14" y="4"/>
                      </a:lnTo>
                      <a:lnTo>
                        <a:pt x="14" y="0"/>
                      </a:lnTo>
                      <a:lnTo>
                        <a:pt x="10" y="0"/>
                      </a:lnTo>
                      <a:lnTo>
                        <a:pt x="10" y="0"/>
                      </a:lnTo>
                      <a:lnTo>
                        <a:pt x="6" y="0"/>
                      </a:lnTo>
                      <a:lnTo>
                        <a:pt x="6" y="4"/>
                      </a:lnTo>
                      <a:lnTo>
                        <a:pt x="6" y="12"/>
                      </a:lnTo>
                      <a:lnTo>
                        <a:pt x="2" y="20"/>
                      </a:lnTo>
                      <a:lnTo>
                        <a:pt x="2" y="20"/>
                      </a:lnTo>
                      <a:lnTo>
                        <a:pt x="0" y="28"/>
                      </a:lnTo>
                      <a:lnTo>
                        <a:pt x="2" y="32"/>
                      </a:lnTo>
                      <a:lnTo>
                        <a:pt x="6" y="36"/>
                      </a:lnTo>
                      <a:lnTo>
                        <a:pt x="12" y="42"/>
                      </a:lnTo>
                      <a:lnTo>
                        <a:pt x="12" y="42"/>
                      </a:lnTo>
                      <a:lnTo>
                        <a:pt x="16" y="44"/>
                      </a:lnTo>
                      <a:lnTo>
                        <a:pt x="18" y="42"/>
                      </a:lnTo>
                      <a:lnTo>
                        <a:pt x="22" y="36"/>
                      </a:lnTo>
                      <a:lnTo>
                        <a:pt x="22" y="3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5" name="Freeform 6120"/>
                <p:cNvSpPr>
                  <a:spLocks/>
                </p:cNvSpPr>
                <p:nvPr/>
              </p:nvSpPr>
              <p:spPr bwMode="auto">
                <a:xfrm>
                  <a:off x="2655570" y="3485833"/>
                  <a:ext cx="5080" cy="10160"/>
                </a:xfrm>
                <a:custGeom>
                  <a:avLst/>
                  <a:gdLst/>
                  <a:ahLst/>
                  <a:cxnLst>
                    <a:cxn ang="0">
                      <a:pos x="2" y="6"/>
                    </a:cxn>
                    <a:cxn ang="0">
                      <a:pos x="2" y="6"/>
                    </a:cxn>
                    <a:cxn ang="0">
                      <a:pos x="4" y="10"/>
                    </a:cxn>
                    <a:cxn ang="0">
                      <a:pos x="6" y="16"/>
                    </a:cxn>
                    <a:cxn ang="0">
                      <a:pos x="6" y="16"/>
                    </a:cxn>
                    <a:cxn ang="0">
                      <a:pos x="6" y="16"/>
                    </a:cxn>
                    <a:cxn ang="0">
                      <a:pos x="8" y="16"/>
                    </a:cxn>
                    <a:cxn ang="0">
                      <a:pos x="8" y="12"/>
                    </a:cxn>
                    <a:cxn ang="0">
                      <a:pos x="8" y="6"/>
                    </a:cxn>
                    <a:cxn ang="0">
                      <a:pos x="8" y="4"/>
                    </a:cxn>
                    <a:cxn ang="0">
                      <a:pos x="6" y="2"/>
                    </a:cxn>
                    <a:cxn ang="0">
                      <a:pos x="6" y="2"/>
                    </a:cxn>
                    <a:cxn ang="0">
                      <a:pos x="2" y="0"/>
                    </a:cxn>
                    <a:cxn ang="0">
                      <a:pos x="0" y="2"/>
                    </a:cxn>
                    <a:cxn ang="0">
                      <a:pos x="0" y="4"/>
                    </a:cxn>
                    <a:cxn ang="0">
                      <a:pos x="2" y="6"/>
                    </a:cxn>
                    <a:cxn ang="0">
                      <a:pos x="2" y="6"/>
                    </a:cxn>
                  </a:cxnLst>
                  <a:rect l="0" t="0" r="r" b="b"/>
                  <a:pathLst>
                    <a:path w="8" h="16">
                      <a:moveTo>
                        <a:pt x="2" y="6"/>
                      </a:moveTo>
                      <a:lnTo>
                        <a:pt x="2" y="6"/>
                      </a:lnTo>
                      <a:lnTo>
                        <a:pt x="4" y="10"/>
                      </a:lnTo>
                      <a:lnTo>
                        <a:pt x="6" y="16"/>
                      </a:lnTo>
                      <a:lnTo>
                        <a:pt x="6" y="16"/>
                      </a:lnTo>
                      <a:lnTo>
                        <a:pt x="6" y="16"/>
                      </a:lnTo>
                      <a:lnTo>
                        <a:pt x="8" y="16"/>
                      </a:lnTo>
                      <a:lnTo>
                        <a:pt x="8" y="12"/>
                      </a:lnTo>
                      <a:lnTo>
                        <a:pt x="8" y="6"/>
                      </a:lnTo>
                      <a:lnTo>
                        <a:pt x="8" y="4"/>
                      </a:lnTo>
                      <a:lnTo>
                        <a:pt x="6" y="2"/>
                      </a:lnTo>
                      <a:lnTo>
                        <a:pt x="6" y="2"/>
                      </a:lnTo>
                      <a:lnTo>
                        <a:pt x="2" y="0"/>
                      </a:lnTo>
                      <a:lnTo>
                        <a:pt x="0" y="2"/>
                      </a:lnTo>
                      <a:lnTo>
                        <a:pt x="0" y="4"/>
                      </a:lnTo>
                      <a:lnTo>
                        <a:pt x="2" y="6"/>
                      </a:lnTo>
                      <a:lnTo>
                        <a:pt x="2"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6" name="Freeform 6121"/>
                <p:cNvSpPr>
                  <a:spLocks/>
                </p:cNvSpPr>
                <p:nvPr/>
              </p:nvSpPr>
              <p:spPr bwMode="auto">
                <a:xfrm>
                  <a:off x="2503170" y="3153093"/>
                  <a:ext cx="13970" cy="20320"/>
                </a:xfrm>
                <a:custGeom>
                  <a:avLst/>
                  <a:gdLst/>
                  <a:ahLst/>
                  <a:cxnLst>
                    <a:cxn ang="0">
                      <a:pos x="6" y="0"/>
                    </a:cxn>
                    <a:cxn ang="0">
                      <a:pos x="6" y="0"/>
                    </a:cxn>
                    <a:cxn ang="0">
                      <a:pos x="2" y="0"/>
                    </a:cxn>
                    <a:cxn ang="0">
                      <a:pos x="0" y="0"/>
                    </a:cxn>
                    <a:cxn ang="0">
                      <a:pos x="2" y="4"/>
                    </a:cxn>
                    <a:cxn ang="0">
                      <a:pos x="6" y="8"/>
                    </a:cxn>
                    <a:cxn ang="0">
                      <a:pos x="8" y="10"/>
                    </a:cxn>
                    <a:cxn ang="0">
                      <a:pos x="10" y="10"/>
                    </a:cxn>
                    <a:cxn ang="0">
                      <a:pos x="10" y="10"/>
                    </a:cxn>
                    <a:cxn ang="0">
                      <a:pos x="14" y="10"/>
                    </a:cxn>
                    <a:cxn ang="0">
                      <a:pos x="16" y="12"/>
                    </a:cxn>
                    <a:cxn ang="0">
                      <a:pos x="16" y="16"/>
                    </a:cxn>
                    <a:cxn ang="0">
                      <a:pos x="12" y="22"/>
                    </a:cxn>
                    <a:cxn ang="0">
                      <a:pos x="12" y="22"/>
                    </a:cxn>
                    <a:cxn ang="0">
                      <a:pos x="8" y="28"/>
                    </a:cxn>
                    <a:cxn ang="0">
                      <a:pos x="6" y="32"/>
                    </a:cxn>
                    <a:cxn ang="0">
                      <a:pos x="6" y="32"/>
                    </a:cxn>
                    <a:cxn ang="0">
                      <a:pos x="6" y="32"/>
                    </a:cxn>
                    <a:cxn ang="0">
                      <a:pos x="12" y="28"/>
                    </a:cxn>
                    <a:cxn ang="0">
                      <a:pos x="12" y="28"/>
                    </a:cxn>
                    <a:cxn ang="0">
                      <a:pos x="18" y="22"/>
                    </a:cxn>
                    <a:cxn ang="0">
                      <a:pos x="20" y="18"/>
                    </a:cxn>
                    <a:cxn ang="0">
                      <a:pos x="22" y="12"/>
                    </a:cxn>
                    <a:cxn ang="0">
                      <a:pos x="20" y="6"/>
                    </a:cxn>
                    <a:cxn ang="0">
                      <a:pos x="20" y="6"/>
                    </a:cxn>
                    <a:cxn ang="0">
                      <a:pos x="20" y="2"/>
                    </a:cxn>
                    <a:cxn ang="0">
                      <a:pos x="18" y="2"/>
                    </a:cxn>
                    <a:cxn ang="0">
                      <a:pos x="12" y="2"/>
                    </a:cxn>
                    <a:cxn ang="0">
                      <a:pos x="6" y="0"/>
                    </a:cxn>
                    <a:cxn ang="0">
                      <a:pos x="6" y="0"/>
                    </a:cxn>
                  </a:cxnLst>
                  <a:rect l="0" t="0" r="r" b="b"/>
                  <a:pathLst>
                    <a:path w="22" h="32">
                      <a:moveTo>
                        <a:pt x="6" y="0"/>
                      </a:moveTo>
                      <a:lnTo>
                        <a:pt x="6" y="0"/>
                      </a:lnTo>
                      <a:lnTo>
                        <a:pt x="2" y="0"/>
                      </a:lnTo>
                      <a:lnTo>
                        <a:pt x="0" y="0"/>
                      </a:lnTo>
                      <a:lnTo>
                        <a:pt x="2" y="4"/>
                      </a:lnTo>
                      <a:lnTo>
                        <a:pt x="6" y="8"/>
                      </a:lnTo>
                      <a:lnTo>
                        <a:pt x="8" y="10"/>
                      </a:lnTo>
                      <a:lnTo>
                        <a:pt x="10" y="10"/>
                      </a:lnTo>
                      <a:lnTo>
                        <a:pt x="10" y="10"/>
                      </a:lnTo>
                      <a:lnTo>
                        <a:pt x="14" y="10"/>
                      </a:lnTo>
                      <a:lnTo>
                        <a:pt x="16" y="12"/>
                      </a:lnTo>
                      <a:lnTo>
                        <a:pt x="16" y="16"/>
                      </a:lnTo>
                      <a:lnTo>
                        <a:pt x="12" y="22"/>
                      </a:lnTo>
                      <a:lnTo>
                        <a:pt x="12" y="22"/>
                      </a:lnTo>
                      <a:lnTo>
                        <a:pt x="8" y="28"/>
                      </a:lnTo>
                      <a:lnTo>
                        <a:pt x="6" y="32"/>
                      </a:lnTo>
                      <a:lnTo>
                        <a:pt x="6" y="32"/>
                      </a:lnTo>
                      <a:lnTo>
                        <a:pt x="6" y="32"/>
                      </a:lnTo>
                      <a:lnTo>
                        <a:pt x="12" y="28"/>
                      </a:lnTo>
                      <a:lnTo>
                        <a:pt x="12" y="28"/>
                      </a:lnTo>
                      <a:lnTo>
                        <a:pt x="18" y="22"/>
                      </a:lnTo>
                      <a:lnTo>
                        <a:pt x="20" y="18"/>
                      </a:lnTo>
                      <a:lnTo>
                        <a:pt x="22" y="12"/>
                      </a:lnTo>
                      <a:lnTo>
                        <a:pt x="20" y="6"/>
                      </a:lnTo>
                      <a:lnTo>
                        <a:pt x="20" y="6"/>
                      </a:lnTo>
                      <a:lnTo>
                        <a:pt x="20" y="2"/>
                      </a:lnTo>
                      <a:lnTo>
                        <a:pt x="18" y="2"/>
                      </a:lnTo>
                      <a:lnTo>
                        <a:pt x="12" y="2"/>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7" name="Freeform 6122"/>
                <p:cNvSpPr>
                  <a:spLocks/>
                </p:cNvSpPr>
                <p:nvPr/>
              </p:nvSpPr>
              <p:spPr bwMode="auto">
                <a:xfrm>
                  <a:off x="2520950" y="3201353"/>
                  <a:ext cx="17780" cy="12700"/>
                </a:xfrm>
                <a:custGeom>
                  <a:avLst/>
                  <a:gdLst/>
                  <a:ahLst/>
                  <a:cxnLst>
                    <a:cxn ang="0">
                      <a:pos x="24" y="4"/>
                    </a:cxn>
                    <a:cxn ang="0">
                      <a:pos x="24" y="4"/>
                    </a:cxn>
                    <a:cxn ang="0">
                      <a:pos x="22" y="6"/>
                    </a:cxn>
                    <a:cxn ang="0">
                      <a:pos x="20" y="8"/>
                    </a:cxn>
                    <a:cxn ang="0">
                      <a:pos x="16" y="6"/>
                    </a:cxn>
                    <a:cxn ang="0">
                      <a:pos x="10" y="6"/>
                    </a:cxn>
                    <a:cxn ang="0">
                      <a:pos x="6" y="8"/>
                    </a:cxn>
                    <a:cxn ang="0">
                      <a:pos x="2" y="14"/>
                    </a:cxn>
                    <a:cxn ang="0">
                      <a:pos x="2" y="14"/>
                    </a:cxn>
                    <a:cxn ang="0">
                      <a:pos x="0" y="16"/>
                    </a:cxn>
                    <a:cxn ang="0">
                      <a:pos x="0" y="20"/>
                    </a:cxn>
                    <a:cxn ang="0">
                      <a:pos x="4" y="20"/>
                    </a:cxn>
                    <a:cxn ang="0">
                      <a:pos x="14" y="20"/>
                    </a:cxn>
                    <a:cxn ang="0">
                      <a:pos x="14" y="20"/>
                    </a:cxn>
                    <a:cxn ang="0">
                      <a:pos x="20" y="16"/>
                    </a:cxn>
                    <a:cxn ang="0">
                      <a:pos x="24" y="14"/>
                    </a:cxn>
                    <a:cxn ang="0">
                      <a:pos x="26" y="10"/>
                    </a:cxn>
                    <a:cxn ang="0">
                      <a:pos x="28" y="6"/>
                    </a:cxn>
                    <a:cxn ang="0">
                      <a:pos x="26" y="0"/>
                    </a:cxn>
                    <a:cxn ang="0">
                      <a:pos x="26" y="0"/>
                    </a:cxn>
                    <a:cxn ang="0">
                      <a:pos x="24" y="4"/>
                    </a:cxn>
                    <a:cxn ang="0">
                      <a:pos x="24" y="4"/>
                    </a:cxn>
                  </a:cxnLst>
                  <a:rect l="0" t="0" r="r" b="b"/>
                  <a:pathLst>
                    <a:path w="28" h="20">
                      <a:moveTo>
                        <a:pt x="24" y="4"/>
                      </a:moveTo>
                      <a:lnTo>
                        <a:pt x="24" y="4"/>
                      </a:lnTo>
                      <a:lnTo>
                        <a:pt x="22" y="6"/>
                      </a:lnTo>
                      <a:lnTo>
                        <a:pt x="20" y="8"/>
                      </a:lnTo>
                      <a:lnTo>
                        <a:pt x="16" y="6"/>
                      </a:lnTo>
                      <a:lnTo>
                        <a:pt x="10" y="6"/>
                      </a:lnTo>
                      <a:lnTo>
                        <a:pt x="6" y="8"/>
                      </a:lnTo>
                      <a:lnTo>
                        <a:pt x="2" y="14"/>
                      </a:lnTo>
                      <a:lnTo>
                        <a:pt x="2" y="14"/>
                      </a:lnTo>
                      <a:lnTo>
                        <a:pt x="0" y="16"/>
                      </a:lnTo>
                      <a:lnTo>
                        <a:pt x="0" y="20"/>
                      </a:lnTo>
                      <a:lnTo>
                        <a:pt x="4" y="20"/>
                      </a:lnTo>
                      <a:lnTo>
                        <a:pt x="14" y="20"/>
                      </a:lnTo>
                      <a:lnTo>
                        <a:pt x="14" y="20"/>
                      </a:lnTo>
                      <a:lnTo>
                        <a:pt x="20" y="16"/>
                      </a:lnTo>
                      <a:lnTo>
                        <a:pt x="24" y="14"/>
                      </a:lnTo>
                      <a:lnTo>
                        <a:pt x="26" y="10"/>
                      </a:lnTo>
                      <a:lnTo>
                        <a:pt x="28" y="6"/>
                      </a:lnTo>
                      <a:lnTo>
                        <a:pt x="26" y="0"/>
                      </a:lnTo>
                      <a:lnTo>
                        <a:pt x="26" y="0"/>
                      </a:lnTo>
                      <a:lnTo>
                        <a:pt x="24" y="4"/>
                      </a:lnTo>
                      <a:lnTo>
                        <a:pt x="24"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8" name="Freeform 6123"/>
                <p:cNvSpPr>
                  <a:spLocks/>
                </p:cNvSpPr>
                <p:nvPr/>
              </p:nvSpPr>
              <p:spPr bwMode="auto">
                <a:xfrm>
                  <a:off x="2531110" y="3276283"/>
                  <a:ext cx="12700" cy="7620"/>
                </a:xfrm>
                <a:custGeom>
                  <a:avLst/>
                  <a:gdLst/>
                  <a:ahLst/>
                  <a:cxnLst>
                    <a:cxn ang="0">
                      <a:pos x="20" y="10"/>
                    </a:cxn>
                    <a:cxn ang="0">
                      <a:pos x="20" y="10"/>
                    </a:cxn>
                    <a:cxn ang="0">
                      <a:pos x="18" y="8"/>
                    </a:cxn>
                    <a:cxn ang="0">
                      <a:pos x="16" y="4"/>
                    </a:cxn>
                    <a:cxn ang="0">
                      <a:pos x="10" y="0"/>
                    </a:cxn>
                    <a:cxn ang="0">
                      <a:pos x="2" y="0"/>
                    </a:cxn>
                    <a:cxn ang="0">
                      <a:pos x="0" y="0"/>
                    </a:cxn>
                    <a:cxn ang="0">
                      <a:pos x="0" y="2"/>
                    </a:cxn>
                    <a:cxn ang="0">
                      <a:pos x="0" y="2"/>
                    </a:cxn>
                    <a:cxn ang="0">
                      <a:pos x="2" y="6"/>
                    </a:cxn>
                    <a:cxn ang="0">
                      <a:pos x="8" y="10"/>
                    </a:cxn>
                    <a:cxn ang="0">
                      <a:pos x="16" y="12"/>
                    </a:cxn>
                    <a:cxn ang="0">
                      <a:pos x="18" y="12"/>
                    </a:cxn>
                    <a:cxn ang="0">
                      <a:pos x="20" y="10"/>
                    </a:cxn>
                    <a:cxn ang="0">
                      <a:pos x="20" y="10"/>
                    </a:cxn>
                  </a:cxnLst>
                  <a:rect l="0" t="0" r="r" b="b"/>
                  <a:pathLst>
                    <a:path w="20" h="12">
                      <a:moveTo>
                        <a:pt x="20" y="10"/>
                      </a:moveTo>
                      <a:lnTo>
                        <a:pt x="20" y="10"/>
                      </a:lnTo>
                      <a:lnTo>
                        <a:pt x="18" y="8"/>
                      </a:lnTo>
                      <a:lnTo>
                        <a:pt x="16" y="4"/>
                      </a:lnTo>
                      <a:lnTo>
                        <a:pt x="10" y="0"/>
                      </a:lnTo>
                      <a:lnTo>
                        <a:pt x="2" y="0"/>
                      </a:lnTo>
                      <a:lnTo>
                        <a:pt x="0" y="0"/>
                      </a:lnTo>
                      <a:lnTo>
                        <a:pt x="0" y="2"/>
                      </a:lnTo>
                      <a:lnTo>
                        <a:pt x="0" y="2"/>
                      </a:lnTo>
                      <a:lnTo>
                        <a:pt x="2" y="6"/>
                      </a:lnTo>
                      <a:lnTo>
                        <a:pt x="8" y="10"/>
                      </a:lnTo>
                      <a:lnTo>
                        <a:pt x="16" y="12"/>
                      </a:lnTo>
                      <a:lnTo>
                        <a:pt x="18" y="12"/>
                      </a:lnTo>
                      <a:lnTo>
                        <a:pt x="20" y="10"/>
                      </a:lnTo>
                      <a:lnTo>
                        <a:pt x="20" y="1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9" name="Freeform 6124"/>
                <p:cNvSpPr>
                  <a:spLocks/>
                </p:cNvSpPr>
                <p:nvPr/>
              </p:nvSpPr>
              <p:spPr bwMode="auto">
                <a:xfrm>
                  <a:off x="2413000" y="3019743"/>
                  <a:ext cx="22860" cy="34290"/>
                </a:xfrm>
                <a:custGeom>
                  <a:avLst/>
                  <a:gdLst/>
                  <a:ahLst/>
                  <a:cxnLst>
                    <a:cxn ang="0">
                      <a:pos x="34" y="36"/>
                    </a:cxn>
                    <a:cxn ang="0">
                      <a:pos x="34" y="36"/>
                    </a:cxn>
                    <a:cxn ang="0">
                      <a:pos x="36" y="32"/>
                    </a:cxn>
                    <a:cxn ang="0">
                      <a:pos x="36" y="26"/>
                    </a:cxn>
                    <a:cxn ang="0">
                      <a:pos x="34" y="22"/>
                    </a:cxn>
                    <a:cxn ang="0">
                      <a:pos x="30" y="18"/>
                    </a:cxn>
                    <a:cxn ang="0">
                      <a:pos x="30" y="18"/>
                    </a:cxn>
                    <a:cxn ang="0">
                      <a:pos x="26" y="14"/>
                    </a:cxn>
                    <a:cxn ang="0">
                      <a:pos x="22" y="8"/>
                    </a:cxn>
                    <a:cxn ang="0">
                      <a:pos x="16" y="2"/>
                    </a:cxn>
                    <a:cxn ang="0">
                      <a:pos x="8" y="0"/>
                    </a:cxn>
                    <a:cxn ang="0">
                      <a:pos x="8" y="0"/>
                    </a:cxn>
                    <a:cxn ang="0">
                      <a:pos x="2" y="0"/>
                    </a:cxn>
                    <a:cxn ang="0">
                      <a:pos x="0" y="0"/>
                    </a:cxn>
                    <a:cxn ang="0">
                      <a:pos x="2" y="2"/>
                    </a:cxn>
                    <a:cxn ang="0">
                      <a:pos x="12" y="4"/>
                    </a:cxn>
                    <a:cxn ang="0">
                      <a:pos x="12" y="4"/>
                    </a:cxn>
                    <a:cxn ang="0">
                      <a:pos x="16" y="6"/>
                    </a:cxn>
                    <a:cxn ang="0">
                      <a:pos x="18" y="10"/>
                    </a:cxn>
                    <a:cxn ang="0">
                      <a:pos x="20" y="14"/>
                    </a:cxn>
                    <a:cxn ang="0">
                      <a:pos x="26" y="18"/>
                    </a:cxn>
                    <a:cxn ang="0">
                      <a:pos x="26" y="18"/>
                    </a:cxn>
                    <a:cxn ang="0">
                      <a:pos x="30" y="22"/>
                    </a:cxn>
                    <a:cxn ang="0">
                      <a:pos x="30" y="24"/>
                    </a:cxn>
                    <a:cxn ang="0">
                      <a:pos x="28" y="30"/>
                    </a:cxn>
                    <a:cxn ang="0">
                      <a:pos x="26" y="36"/>
                    </a:cxn>
                    <a:cxn ang="0">
                      <a:pos x="26" y="36"/>
                    </a:cxn>
                    <a:cxn ang="0">
                      <a:pos x="26" y="40"/>
                    </a:cxn>
                    <a:cxn ang="0">
                      <a:pos x="24" y="44"/>
                    </a:cxn>
                    <a:cxn ang="0">
                      <a:pos x="20" y="46"/>
                    </a:cxn>
                    <a:cxn ang="0">
                      <a:pos x="20" y="46"/>
                    </a:cxn>
                    <a:cxn ang="0">
                      <a:pos x="20" y="48"/>
                    </a:cxn>
                    <a:cxn ang="0">
                      <a:pos x="26" y="54"/>
                    </a:cxn>
                    <a:cxn ang="0">
                      <a:pos x="26" y="54"/>
                    </a:cxn>
                    <a:cxn ang="0">
                      <a:pos x="28" y="54"/>
                    </a:cxn>
                    <a:cxn ang="0">
                      <a:pos x="28" y="54"/>
                    </a:cxn>
                    <a:cxn ang="0">
                      <a:pos x="30" y="48"/>
                    </a:cxn>
                    <a:cxn ang="0">
                      <a:pos x="30" y="40"/>
                    </a:cxn>
                    <a:cxn ang="0">
                      <a:pos x="34" y="36"/>
                    </a:cxn>
                    <a:cxn ang="0">
                      <a:pos x="34" y="36"/>
                    </a:cxn>
                  </a:cxnLst>
                  <a:rect l="0" t="0" r="r" b="b"/>
                  <a:pathLst>
                    <a:path w="36" h="54">
                      <a:moveTo>
                        <a:pt x="34" y="36"/>
                      </a:moveTo>
                      <a:lnTo>
                        <a:pt x="34" y="36"/>
                      </a:lnTo>
                      <a:lnTo>
                        <a:pt x="36" y="32"/>
                      </a:lnTo>
                      <a:lnTo>
                        <a:pt x="36" y="26"/>
                      </a:lnTo>
                      <a:lnTo>
                        <a:pt x="34" y="22"/>
                      </a:lnTo>
                      <a:lnTo>
                        <a:pt x="30" y="18"/>
                      </a:lnTo>
                      <a:lnTo>
                        <a:pt x="30" y="18"/>
                      </a:lnTo>
                      <a:lnTo>
                        <a:pt x="26" y="14"/>
                      </a:lnTo>
                      <a:lnTo>
                        <a:pt x="22" y="8"/>
                      </a:lnTo>
                      <a:lnTo>
                        <a:pt x="16" y="2"/>
                      </a:lnTo>
                      <a:lnTo>
                        <a:pt x="8" y="0"/>
                      </a:lnTo>
                      <a:lnTo>
                        <a:pt x="8" y="0"/>
                      </a:lnTo>
                      <a:lnTo>
                        <a:pt x="2" y="0"/>
                      </a:lnTo>
                      <a:lnTo>
                        <a:pt x="0" y="0"/>
                      </a:lnTo>
                      <a:lnTo>
                        <a:pt x="2" y="2"/>
                      </a:lnTo>
                      <a:lnTo>
                        <a:pt x="12" y="4"/>
                      </a:lnTo>
                      <a:lnTo>
                        <a:pt x="12" y="4"/>
                      </a:lnTo>
                      <a:lnTo>
                        <a:pt x="16" y="6"/>
                      </a:lnTo>
                      <a:lnTo>
                        <a:pt x="18" y="10"/>
                      </a:lnTo>
                      <a:lnTo>
                        <a:pt x="20" y="14"/>
                      </a:lnTo>
                      <a:lnTo>
                        <a:pt x="26" y="18"/>
                      </a:lnTo>
                      <a:lnTo>
                        <a:pt x="26" y="18"/>
                      </a:lnTo>
                      <a:lnTo>
                        <a:pt x="30" y="22"/>
                      </a:lnTo>
                      <a:lnTo>
                        <a:pt x="30" y="24"/>
                      </a:lnTo>
                      <a:lnTo>
                        <a:pt x="28" y="30"/>
                      </a:lnTo>
                      <a:lnTo>
                        <a:pt x="26" y="36"/>
                      </a:lnTo>
                      <a:lnTo>
                        <a:pt x="26" y="36"/>
                      </a:lnTo>
                      <a:lnTo>
                        <a:pt x="26" y="40"/>
                      </a:lnTo>
                      <a:lnTo>
                        <a:pt x="24" y="44"/>
                      </a:lnTo>
                      <a:lnTo>
                        <a:pt x="20" y="46"/>
                      </a:lnTo>
                      <a:lnTo>
                        <a:pt x="20" y="46"/>
                      </a:lnTo>
                      <a:lnTo>
                        <a:pt x="20" y="48"/>
                      </a:lnTo>
                      <a:lnTo>
                        <a:pt x="26" y="54"/>
                      </a:lnTo>
                      <a:lnTo>
                        <a:pt x="26" y="54"/>
                      </a:lnTo>
                      <a:lnTo>
                        <a:pt x="28" y="54"/>
                      </a:lnTo>
                      <a:lnTo>
                        <a:pt x="28" y="54"/>
                      </a:lnTo>
                      <a:lnTo>
                        <a:pt x="30" y="48"/>
                      </a:lnTo>
                      <a:lnTo>
                        <a:pt x="30" y="40"/>
                      </a:lnTo>
                      <a:lnTo>
                        <a:pt x="34" y="36"/>
                      </a:lnTo>
                      <a:lnTo>
                        <a:pt x="34" y="3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0" name="Freeform 6125"/>
                <p:cNvSpPr>
                  <a:spLocks/>
                </p:cNvSpPr>
                <p:nvPr/>
              </p:nvSpPr>
              <p:spPr bwMode="auto">
                <a:xfrm>
                  <a:off x="2393950" y="3161983"/>
                  <a:ext cx="7620" cy="2540"/>
                </a:xfrm>
                <a:custGeom>
                  <a:avLst/>
                  <a:gdLst/>
                  <a:ahLst/>
                  <a:cxnLst>
                    <a:cxn ang="0">
                      <a:pos x="4" y="4"/>
                    </a:cxn>
                    <a:cxn ang="0">
                      <a:pos x="4" y="4"/>
                    </a:cxn>
                    <a:cxn ang="0">
                      <a:pos x="8" y="4"/>
                    </a:cxn>
                    <a:cxn ang="0">
                      <a:pos x="12" y="4"/>
                    </a:cxn>
                    <a:cxn ang="0">
                      <a:pos x="12" y="2"/>
                    </a:cxn>
                    <a:cxn ang="0">
                      <a:pos x="12" y="0"/>
                    </a:cxn>
                    <a:cxn ang="0">
                      <a:pos x="12" y="0"/>
                    </a:cxn>
                    <a:cxn ang="0">
                      <a:pos x="2" y="0"/>
                    </a:cxn>
                    <a:cxn ang="0">
                      <a:pos x="0" y="0"/>
                    </a:cxn>
                    <a:cxn ang="0">
                      <a:pos x="4" y="4"/>
                    </a:cxn>
                    <a:cxn ang="0">
                      <a:pos x="4" y="4"/>
                    </a:cxn>
                  </a:cxnLst>
                  <a:rect l="0" t="0" r="r" b="b"/>
                  <a:pathLst>
                    <a:path w="12" h="4">
                      <a:moveTo>
                        <a:pt x="4" y="4"/>
                      </a:moveTo>
                      <a:lnTo>
                        <a:pt x="4" y="4"/>
                      </a:lnTo>
                      <a:lnTo>
                        <a:pt x="8" y="4"/>
                      </a:lnTo>
                      <a:lnTo>
                        <a:pt x="12" y="4"/>
                      </a:lnTo>
                      <a:lnTo>
                        <a:pt x="12" y="2"/>
                      </a:lnTo>
                      <a:lnTo>
                        <a:pt x="12" y="0"/>
                      </a:lnTo>
                      <a:lnTo>
                        <a:pt x="12" y="0"/>
                      </a:lnTo>
                      <a:lnTo>
                        <a:pt x="2" y="0"/>
                      </a:lnTo>
                      <a:lnTo>
                        <a:pt x="0" y="0"/>
                      </a:lnTo>
                      <a:lnTo>
                        <a:pt x="4" y="4"/>
                      </a:lnTo>
                      <a:lnTo>
                        <a:pt x="4"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1" name="Freeform 6126"/>
                <p:cNvSpPr>
                  <a:spLocks/>
                </p:cNvSpPr>
                <p:nvPr/>
              </p:nvSpPr>
              <p:spPr bwMode="auto">
                <a:xfrm>
                  <a:off x="2414270" y="3106103"/>
                  <a:ext cx="11430" cy="16510"/>
                </a:xfrm>
                <a:custGeom>
                  <a:avLst/>
                  <a:gdLst/>
                  <a:ahLst/>
                  <a:cxnLst>
                    <a:cxn ang="0">
                      <a:pos x="12" y="26"/>
                    </a:cxn>
                    <a:cxn ang="0">
                      <a:pos x="12" y="26"/>
                    </a:cxn>
                    <a:cxn ang="0">
                      <a:pos x="16" y="24"/>
                    </a:cxn>
                    <a:cxn ang="0">
                      <a:pos x="18" y="22"/>
                    </a:cxn>
                    <a:cxn ang="0">
                      <a:pos x="18" y="16"/>
                    </a:cxn>
                    <a:cxn ang="0">
                      <a:pos x="14" y="6"/>
                    </a:cxn>
                    <a:cxn ang="0">
                      <a:pos x="14" y="6"/>
                    </a:cxn>
                    <a:cxn ang="0">
                      <a:pos x="12" y="0"/>
                    </a:cxn>
                    <a:cxn ang="0">
                      <a:pos x="12" y="0"/>
                    </a:cxn>
                    <a:cxn ang="0">
                      <a:pos x="12" y="0"/>
                    </a:cxn>
                    <a:cxn ang="0">
                      <a:pos x="10" y="4"/>
                    </a:cxn>
                    <a:cxn ang="0">
                      <a:pos x="8" y="4"/>
                    </a:cxn>
                    <a:cxn ang="0">
                      <a:pos x="6" y="2"/>
                    </a:cxn>
                    <a:cxn ang="0">
                      <a:pos x="6" y="2"/>
                    </a:cxn>
                    <a:cxn ang="0">
                      <a:pos x="4" y="0"/>
                    </a:cxn>
                    <a:cxn ang="0">
                      <a:pos x="2" y="0"/>
                    </a:cxn>
                    <a:cxn ang="0">
                      <a:pos x="0" y="6"/>
                    </a:cxn>
                    <a:cxn ang="0">
                      <a:pos x="0" y="12"/>
                    </a:cxn>
                    <a:cxn ang="0">
                      <a:pos x="4" y="20"/>
                    </a:cxn>
                    <a:cxn ang="0">
                      <a:pos x="4" y="20"/>
                    </a:cxn>
                    <a:cxn ang="0">
                      <a:pos x="8" y="24"/>
                    </a:cxn>
                    <a:cxn ang="0">
                      <a:pos x="8" y="26"/>
                    </a:cxn>
                    <a:cxn ang="0">
                      <a:pos x="12" y="26"/>
                    </a:cxn>
                    <a:cxn ang="0">
                      <a:pos x="12" y="26"/>
                    </a:cxn>
                  </a:cxnLst>
                  <a:rect l="0" t="0" r="r" b="b"/>
                  <a:pathLst>
                    <a:path w="18" h="26">
                      <a:moveTo>
                        <a:pt x="12" y="26"/>
                      </a:moveTo>
                      <a:lnTo>
                        <a:pt x="12" y="26"/>
                      </a:lnTo>
                      <a:lnTo>
                        <a:pt x="16" y="24"/>
                      </a:lnTo>
                      <a:lnTo>
                        <a:pt x="18" y="22"/>
                      </a:lnTo>
                      <a:lnTo>
                        <a:pt x="18" y="16"/>
                      </a:lnTo>
                      <a:lnTo>
                        <a:pt x="14" y="6"/>
                      </a:lnTo>
                      <a:lnTo>
                        <a:pt x="14" y="6"/>
                      </a:lnTo>
                      <a:lnTo>
                        <a:pt x="12" y="0"/>
                      </a:lnTo>
                      <a:lnTo>
                        <a:pt x="12" y="0"/>
                      </a:lnTo>
                      <a:lnTo>
                        <a:pt x="12" y="0"/>
                      </a:lnTo>
                      <a:lnTo>
                        <a:pt x="10" y="4"/>
                      </a:lnTo>
                      <a:lnTo>
                        <a:pt x="8" y="4"/>
                      </a:lnTo>
                      <a:lnTo>
                        <a:pt x="6" y="2"/>
                      </a:lnTo>
                      <a:lnTo>
                        <a:pt x="6" y="2"/>
                      </a:lnTo>
                      <a:lnTo>
                        <a:pt x="4" y="0"/>
                      </a:lnTo>
                      <a:lnTo>
                        <a:pt x="2" y="0"/>
                      </a:lnTo>
                      <a:lnTo>
                        <a:pt x="0" y="6"/>
                      </a:lnTo>
                      <a:lnTo>
                        <a:pt x="0" y="12"/>
                      </a:lnTo>
                      <a:lnTo>
                        <a:pt x="4" y="20"/>
                      </a:lnTo>
                      <a:lnTo>
                        <a:pt x="4" y="20"/>
                      </a:lnTo>
                      <a:lnTo>
                        <a:pt x="8" y="24"/>
                      </a:lnTo>
                      <a:lnTo>
                        <a:pt x="8" y="26"/>
                      </a:lnTo>
                      <a:lnTo>
                        <a:pt x="12" y="26"/>
                      </a:lnTo>
                      <a:lnTo>
                        <a:pt x="12" y="2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2" name="Freeform 6127"/>
                <p:cNvSpPr>
                  <a:spLocks/>
                </p:cNvSpPr>
                <p:nvPr/>
              </p:nvSpPr>
              <p:spPr bwMode="auto">
                <a:xfrm>
                  <a:off x="2404110" y="3165793"/>
                  <a:ext cx="8890" cy="6350"/>
                </a:xfrm>
                <a:custGeom>
                  <a:avLst/>
                  <a:gdLst/>
                  <a:ahLst/>
                  <a:cxnLst>
                    <a:cxn ang="0">
                      <a:pos x="0" y="0"/>
                    </a:cxn>
                    <a:cxn ang="0">
                      <a:pos x="0" y="0"/>
                    </a:cxn>
                    <a:cxn ang="0">
                      <a:pos x="0" y="4"/>
                    </a:cxn>
                    <a:cxn ang="0">
                      <a:pos x="0" y="6"/>
                    </a:cxn>
                    <a:cxn ang="0">
                      <a:pos x="10" y="8"/>
                    </a:cxn>
                    <a:cxn ang="0">
                      <a:pos x="10" y="8"/>
                    </a:cxn>
                    <a:cxn ang="0">
                      <a:pos x="14" y="10"/>
                    </a:cxn>
                    <a:cxn ang="0">
                      <a:pos x="14" y="8"/>
                    </a:cxn>
                    <a:cxn ang="0">
                      <a:pos x="10" y="4"/>
                    </a:cxn>
                    <a:cxn ang="0">
                      <a:pos x="6" y="0"/>
                    </a:cxn>
                    <a:cxn ang="0">
                      <a:pos x="2" y="0"/>
                    </a:cxn>
                    <a:cxn ang="0">
                      <a:pos x="0" y="0"/>
                    </a:cxn>
                    <a:cxn ang="0">
                      <a:pos x="0" y="0"/>
                    </a:cxn>
                  </a:cxnLst>
                  <a:rect l="0" t="0" r="r" b="b"/>
                  <a:pathLst>
                    <a:path w="14" h="10">
                      <a:moveTo>
                        <a:pt x="0" y="0"/>
                      </a:moveTo>
                      <a:lnTo>
                        <a:pt x="0" y="0"/>
                      </a:lnTo>
                      <a:lnTo>
                        <a:pt x="0" y="4"/>
                      </a:lnTo>
                      <a:lnTo>
                        <a:pt x="0" y="6"/>
                      </a:lnTo>
                      <a:lnTo>
                        <a:pt x="10" y="8"/>
                      </a:lnTo>
                      <a:lnTo>
                        <a:pt x="10" y="8"/>
                      </a:lnTo>
                      <a:lnTo>
                        <a:pt x="14" y="10"/>
                      </a:lnTo>
                      <a:lnTo>
                        <a:pt x="14" y="8"/>
                      </a:lnTo>
                      <a:lnTo>
                        <a:pt x="10" y="4"/>
                      </a:lnTo>
                      <a:lnTo>
                        <a:pt x="6" y="0"/>
                      </a:lnTo>
                      <a:lnTo>
                        <a:pt x="2" y="0"/>
                      </a:lnTo>
                      <a:lnTo>
                        <a:pt x="0" y="0"/>
                      </a:lnTo>
                      <a:lnTo>
                        <a:pt x="0"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3" name="Freeform 6128"/>
                <p:cNvSpPr>
                  <a:spLocks/>
                </p:cNvSpPr>
                <p:nvPr/>
              </p:nvSpPr>
              <p:spPr bwMode="auto">
                <a:xfrm>
                  <a:off x="2461260" y="3125153"/>
                  <a:ext cx="7620" cy="7620"/>
                </a:xfrm>
                <a:custGeom>
                  <a:avLst/>
                  <a:gdLst/>
                  <a:ahLst/>
                  <a:cxnLst>
                    <a:cxn ang="0">
                      <a:pos x="0" y="2"/>
                    </a:cxn>
                    <a:cxn ang="0">
                      <a:pos x="0" y="2"/>
                    </a:cxn>
                    <a:cxn ang="0">
                      <a:pos x="0" y="4"/>
                    </a:cxn>
                    <a:cxn ang="0">
                      <a:pos x="0" y="6"/>
                    </a:cxn>
                    <a:cxn ang="0">
                      <a:pos x="6" y="10"/>
                    </a:cxn>
                    <a:cxn ang="0">
                      <a:pos x="6" y="10"/>
                    </a:cxn>
                    <a:cxn ang="0">
                      <a:pos x="10" y="12"/>
                    </a:cxn>
                    <a:cxn ang="0">
                      <a:pos x="12" y="12"/>
                    </a:cxn>
                    <a:cxn ang="0">
                      <a:pos x="12" y="12"/>
                    </a:cxn>
                    <a:cxn ang="0">
                      <a:pos x="10" y="8"/>
                    </a:cxn>
                    <a:cxn ang="0">
                      <a:pos x="10" y="8"/>
                    </a:cxn>
                    <a:cxn ang="0">
                      <a:pos x="4" y="0"/>
                    </a:cxn>
                    <a:cxn ang="0">
                      <a:pos x="0" y="0"/>
                    </a:cxn>
                    <a:cxn ang="0">
                      <a:pos x="0" y="2"/>
                    </a:cxn>
                    <a:cxn ang="0">
                      <a:pos x="0" y="2"/>
                    </a:cxn>
                  </a:cxnLst>
                  <a:rect l="0" t="0" r="r" b="b"/>
                  <a:pathLst>
                    <a:path w="12" h="12">
                      <a:moveTo>
                        <a:pt x="0" y="2"/>
                      </a:moveTo>
                      <a:lnTo>
                        <a:pt x="0" y="2"/>
                      </a:lnTo>
                      <a:lnTo>
                        <a:pt x="0" y="4"/>
                      </a:lnTo>
                      <a:lnTo>
                        <a:pt x="0" y="6"/>
                      </a:lnTo>
                      <a:lnTo>
                        <a:pt x="6" y="10"/>
                      </a:lnTo>
                      <a:lnTo>
                        <a:pt x="6" y="10"/>
                      </a:lnTo>
                      <a:lnTo>
                        <a:pt x="10" y="12"/>
                      </a:lnTo>
                      <a:lnTo>
                        <a:pt x="12" y="12"/>
                      </a:lnTo>
                      <a:lnTo>
                        <a:pt x="12" y="12"/>
                      </a:lnTo>
                      <a:lnTo>
                        <a:pt x="10" y="8"/>
                      </a:lnTo>
                      <a:lnTo>
                        <a:pt x="10" y="8"/>
                      </a:lnTo>
                      <a:lnTo>
                        <a:pt x="4" y="0"/>
                      </a:lnTo>
                      <a:lnTo>
                        <a:pt x="0" y="0"/>
                      </a:lnTo>
                      <a:lnTo>
                        <a:pt x="0" y="2"/>
                      </a:lnTo>
                      <a:lnTo>
                        <a:pt x="0"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4" name="Freeform 6129"/>
                <p:cNvSpPr>
                  <a:spLocks/>
                </p:cNvSpPr>
                <p:nvPr/>
              </p:nvSpPr>
              <p:spPr bwMode="auto">
                <a:xfrm>
                  <a:off x="2512060" y="2538413"/>
                  <a:ext cx="54610" cy="21590"/>
                </a:xfrm>
                <a:custGeom>
                  <a:avLst/>
                  <a:gdLst/>
                  <a:ahLst/>
                  <a:cxnLst>
                    <a:cxn ang="0">
                      <a:pos x="70" y="4"/>
                    </a:cxn>
                    <a:cxn ang="0">
                      <a:pos x="70" y="4"/>
                    </a:cxn>
                    <a:cxn ang="0">
                      <a:pos x="74" y="0"/>
                    </a:cxn>
                    <a:cxn ang="0">
                      <a:pos x="74" y="0"/>
                    </a:cxn>
                    <a:cxn ang="0">
                      <a:pos x="72" y="0"/>
                    </a:cxn>
                    <a:cxn ang="0">
                      <a:pos x="68" y="0"/>
                    </a:cxn>
                    <a:cxn ang="0">
                      <a:pos x="62" y="6"/>
                    </a:cxn>
                    <a:cxn ang="0">
                      <a:pos x="62" y="6"/>
                    </a:cxn>
                    <a:cxn ang="0">
                      <a:pos x="54" y="10"/>
                    </a:cxn>
                    <a:cxn ang="0">
                      <a:pos x="46" y="10"/>
                    </a:cxn>
                    <a:cxn ang="0">
                      <a:pos x="40" y="10"/>
                    </a:cxn>
                    <a:cxn ang="0">
                      <a:pos x="34" y="12"/>
                    </a:cxn>
                    <a:cxn ang="0">
                      <a:pos x="34" y="12"/>
                    </a:cxn>
                    <a:cxn ang="0">
                      <a:pos x="32" y="14"/>
                    </a:cxn>
                    <a:cxn ang="0">
                      <a:pos x="30" y="12"/>
                    </a:cxn>
                    <a:cxn ang="0">
                      <a:pos x="26" y="12"/>
                    </a:cxn>
                    <a:cxn ang="0">
                      <a:pos x="20" y="14"/>
                    </a:cxn>
                    <a:cxn ang="0">
                      <a:pos x="20" y="14"/>
                    </a:cxn>
                    <a:cxn ang="0">
                      <a:pos x="16" y="14"/>
                    </a:cxn>
                    <a:cxn ang="0">
                      <a:pos x="14" y="16"/>
                    </a:cxn>
                    <a:cxn ang="0">
                      <a:pos x="12" y="18"/>
                    </a:cxn>
                    <a:cxn ang="0">
                      <a:pos x="8" y="20"/>
                    </a:cxn>
                    <a:cxn ang="0">
                      <a:pos x="8" y="20"/>
                    </a:cxn>
                    <a:cxn ang="0">
                      <a:pos x="2" y="26"/>
                    </a:cxn>
                    <a:cxn ang="0">
                      <a:pos x="0" y="28"/>
                    </a:cxn>
                    <a:cxn ang="0">
                      <a:pos x="2" y="30"/>
                    </a:cxn>
                    <a:cxn ang="0">
                      <a:pos x="6" y="30"/>
                    </a:cxn>
                    <a:cxn ang="0">
                      <a:pos x="6" y="30"/>
                    </a:cxn>
                    <a:cxn ang="0">
                      <a:pos x="8" y="30"/>
                    </a:cxn>
                    <a:cxn ang="0">
                      <a:pos x="6" y="34"/>
                    </a:cxn>
                    <a:cxn ang="0">
                      <a:pos x="6" y="34"/>
                    </a:cxn>
                    <a:cxn ang="0">
                      <a:pos x="6" y="34"/>
                    </a:cxn>
                    <a:cxn ang="0">
                      <a:pos x="6" y="34"/>
                    </a:cxn>
                    <a:cxn ang="0">
                      <a:pos x="12" y="34"/>
                    </a:cxn>
                    <a:cxn ang="0">
                      <a:pos x="16" y="32"/>
                    </a:cxn>
                    <a:cxn ang="0">
                      <a:pos x="18" y="32"/>
                    </a:cxn>
                    <a:cxn ang="0">
                      <a:pos x="18" y="32"/>
                    </a:cxn>
                    <a:cxn ang="0">
                      <a:pos x="18" y="30"/>
                    </a:cxn>
                    <a:cxn ang="0">
                      <a:pos x="22" y="28"/>
                    </a:cxn>
                    <a:cxn ang="0">
                      <a:pos x="28" y="26"/>
                    </a:cxn>
                    <a:cxn ang="0">
                      <a:pos x="34" y="26"/>
                    </a:cxn>
                    <a:cxn ang="0">
                      <a:pos x="34" y="26"/>
                    </a:cxn>
                    <a:cxn ang="0">
                      <a:pos x="42" y="24"/>
                    </a:cxn>
                    <a:cxn ang="0">
                      <a:pos x="52" y="22"/>
                    </a:cxn>
                    <a:cxn ang="0">
                      <a:pos x="52" y="22"/>
                    </a:cxn>
                    <a:cxn ang="0">
                      <a:pos x="68" y="16"/>
                    </a:cxn>
                    <a:cxn ang="0">
                      <a:pos x="82" y="10"/>
                    </a:cxn>
                    <a:cxn ang="0">
                      <a:pos x="82" y="10"/>
                    </a:cxn>
                    <a:cxn ang="0">
                      <a:pos x="86" y="6"/>
                    </a:cxn>
                    <a:cxn ang="0">
                      <a:pos x="86" y="6"/>
                    </a:cxn>
                    <a:cxn ang="0">
                      <a:pos x="84" y="4"/>
                    </a:cxn>
                    <a:cxn ang="0">
                      <a:pos x="82" y="6"/>
                    </a:cxn>
                    <a:cxn ang="0">
                      <a:pos x="82" y="6"/>
                    </a:cxn>
                    <a:cxn ang="0">
                      <a:pos x="78" y="8"/>
                    </a:cxn>
                    <a:cxn ang="0">
                      <a:pos x="74" y="8"/>
                    </a:cxn>
                    <a:cxn ang="0">
                      <a:pos x="70" y="8"/>
                    </a:cxn>
                    <a:cxn ang="0">
                      <a:pos x="66" y="10"/>
                    </a:cxn>
                    <a:cxn ang="0">
                      <a:pos x="66" y="10"/>
                    </a:cxn>
                    <a:cxn ang="0">
                      <a:pos x="62" y="14"/>
                    </a:cxn>
                    <a:cxn ang="0">
                      <a:pos x="60" y="12"/>
                    </a:cxn>
                    <a:cxn ang="0">
                      <a:pos x="64" y="10"/>
                    </a:cxn>
                    <a:cxn ang="0">
                      <a:pos x="70" y="4"/>
                    </a:cxn>
                    <a:cxn ang="0">
                      <a:pos x="70" y="4"/>
                    </a:cxn>
                  </a:cxnLst>
                  <a:rect l="0" t="0" r="r" b="b"/>
                  <a:pathLst>
                    <a:path w="86" h="34">
                      <a:moveTo>
                        <a:pt x="70" y="4"/>
                      </a:moveTo>
                      <a:lnTo>
                        <a:pt x="70" y="4"/>
                      </a:lnTo>
                      <a:lnTo>
                        <a:pt x="74" y="0"/>
                      </a:lnTo>
                      <a:lnTo>
                        <a:pt x="74" y="0"/>
                      </a:lnTo>
                      <a:lnTo>
                        <a:pt x="72" y="0"/>
                      </a:lnTo>
                      <a:lnTo>
                        <a:pt x="68" y="0"/>
                      </a:lnTo>
                      <a:lnTo>
                        <a:pt x="62" y="6"/>
                      </a:lnTo>
                      <a:lnTo>
                        <a:pt x="62" y="6"/>
                      </a:lnTo>
                      <a:lnTo>
                        <a:pt x="54" y="10"/>
                      </a:lnTo>
                      <a:lnTo>
                        <a:pt x="46" y="10"/>
                      </a:lnTo>
                      <a:lnTo>
                        <a:pt x="40" y="10"/>
                      </a:lnTo>
                      <a:lnTo>
                        <a:pt x="34" y="12"/>
                      </a:lnTo>
                      <a:lnTo>
                        <a:pt x="34" y="12"/>
                      </a:lnTo>
                      <a:lnTo>
                        <a:pt x="32" y="14"/>
                      </a:lnTo>
                      <a:lnTo>
                        <a:pt x="30" y="12"/>
                      </a:lnTo>
                      <a:lnTo>
                        <a:pt x="26" y="12"/>
                      </a:lnTo>
                      <a:lnTo>
                        <a:pt x="20" y="14"/>
                      </a:lnTo>
                      <a:lnTo>
                        <a:pt x="20" y="14"/>
                      </a:lnTo>
                      <a:lnTo>
                        <a:pt x="16" y="14"/>
                      </a:lnTo>
                      <a:lnTo>
                        <a:pt x="14" y="16"/>
                      </a:lnTo>
                      <a:lnTo>
                        <a:pt x="12" y="18"/>
                      </a:lnTo>
                      <a:lnTo>
                        <a:pt x="8" y="20"/>
                      </a:lnTo>
                      <a:lnTo>
                        <a:pt x="8" y="20"/>
                      </a:lnTo>
                      <a:lnTo>
                        <a:pt x="2" y="26"/>
                      </a:lnTo>
                      <a:lnTo>
                        <a:pt x="0" y="28"/>
                      </a:lnTo>
                      <a:lnTo>
                        <a:pt x="2" y="30"/>
                      </a:lnTo>
                      <a:lnTo>
                        <a:pt x="6" y="30"/>
                      </a:lnTo>
                      <a:lnTo>
                        <a:pt x="6" y="30"/>
                      </a:lnTo>
                      <a:lnTo>
                        <a:pt x="8" y="30"/>
                      </a:lnTo>
                      <a:lnTo>
                        <a:pt x="6" y="34"/>
                      </a:lnTo>
                      <a:lnTo>
                        <a:pt x="6" y="34"/>
                      </a:lnTo>
                      <a:lnTo>
                        <a:pt x="6" y="34"/>
                      </a:lnTo>
                      <a:lnTo>
                        <a:pt x="6" y="34"/>
                      </a:lnTo>
                      <a:lnTo>
                        <a:pt x="12" y="34"/>
                      </a:lnTo>
                      <a:lnTo>
                        <a:pt x="16" y="32"/>
                      </a:lnTo>
                      <a:lnTo>
                        <a:pt x="18" y="32"/>
                      </a:lnTo>
                      <a:lnTo>
                        <a:pt x="18" y="32"/>
                      </a:lnTo>
                      <a:lnTo>
                        <a:pt x="18" y="30"/>
                      </a:lnTo>
                      <a:lnTo>
                        <a:pt x="22" y="28"/>
                      </a:lnTo>
                      <a:lnTo>
                        <a:pt x="28" y="26"/>
                      </a:lnTo>
                      <a:lnTo>
                        <a:pt x="34" y="26"/>
                      </a:lnTo>
                      <a:lnTo>
                        <a:pt x="34" y="26"/>
                      </a:lnTo>
                      <a:lnTo>
                        <a:pt x="42" y="24"/>
                      </a:lnTo>
                      <a:lnTo>
                        <a:pt x="52" y="22"/>
                      </a:lnTo>
                      <a:lnTo>
                        <a:pt x="52" y="22"/>
                      </a:lnTo>
                      <a:lnTo>
                        <a:pt x="68" y="16"/>
                      </a:lnTo>
                      <a:lnTo>
                        <a:pt x="82" y="10"/>
                      </a:lnTo>
                      <a:lnTo>
                        <a:pt x="82" y="10"/>
                      </a:lnTo>
                      <a:lnTo>
                        <a:pt x="86" y="6"/>
                      </a:lnTo>
                      <a:lnTo>
                        <a:pt x="86" y="6"/>
                      </a:lnTo>
                      <a:lnTo>
                        <a:pt x="84" y="4"/>
                      </a:lnTo>
                      <a:lnTo>
                        <a:pt x="82" y="6"/>
                      </a:lnTo>
                      <a:lnTo>
                        <a:pt x="82" y="6"/>
                      </a:lnTo>
                      <a:lnTo>
                        <a:pt x="78" y="8"/>
                      </a:lnTo>
                      <a:lnTo>
                        <a:pt x="74" y="8"/>
                      </a:lnTo>
                      <a:lnTo>
                        <a:pt x="70" y="8"/>
                      </a:lnTo>
                      <a:lnTo>
                        <a:pt x="66" y="10"/>
                      </a:lnTo>
                      <a:lnTo>
                        <a:pt x="66" y="10"/>
                      </a:lnTo>
                      <a:lnTo>
                        <a:pt x="62" y="14"/>
                      </a:lnTo>
                      <a:lnTo>
                        <a:pt x="60" y="12"/>
                      </a:lnTo>
                      <a:lnTo>
                        <a:pt x="64" y="10"/>
                      </a:lnTo>
                      <a:lnTo>
                        <a:pt x="70" y="4"/>
                      </a:lnTo>
                      <a:lnTo>
                        <a:pt x="7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5" name="Freeform 6130"/>
                <p:cNvSpPr>
                  <a:spLocks/>
                </p:cNvSpPr>
                <p:nvPr/>
              </p:nvSpPr>
              <p:spPr bwMode="auto">
                <a:xfrm>
                  <a:off x="2477770" y="3126423"/>
                  <a:ext cx="13970" cy="25400"/>
                </a:xfrm>
                <a:custGeom>
                  <a:avLst/>
                  <a:gdLst/>
                  <a:ahLst/>
                  <a:cxnLst>
                    <a:cxn ang="0">
                      <a:pos x="14" y="30"/>
                    </a:cxn>
                    <a:cxn ang="0">
                      <a:pos x="14" y="30"/>
                    </a:cxn>
                    <a:cxn ang="0">
                      <a:pos x="20" y="38"/>
                    </a:cxn>
                    <a:cxn ang="0">
                      <a:pos x="20" y="38"/>
                    </a:cxn>
                    <a:cxn ang="0">
                      <a:pos x="22" y="40"/>
                    </a:cxn>
                    <a:cxn ang="0">
                      <a:pos x="20" y="34"/>
                    </a:cxn>
                    <a:cxn ang="0">
                      <a:pos x="20" y="34"/>
                    </a:cxn>
                    <a:cxn ang="0">
                      <a:pos x="16" y="26"/>
                    </a:cxn>
                    <a:cxn ang="0">
                      <a:pos x="14" y="24"/>
                    </a:cxn>
                    <a:cxn ang="0">
                      <a:pos x="14" y="20"/>
                    </a:cxn>
                    <a:cxn ang="0">
                      <a:pos x="14" y="20"/>
                    </a:cxn>
                    <a:cxn ang="0">
                      <a:pos x="10" y="10"/>
                    </a:cxn>
                    <a:cxn ang="0">
                      <a:pos x="6" y="4"/>
                    </a:cxn>
                    <a:cxn ang="0">
                      <a:pos x="2" y="0"/>
                    </a:cxn>
                    <a:cxn ang="0">
                      <a:pos x="2" y="0"/>
                    </a:cxn>
                    <a:cxn ang="0">
                      <a:pos x="0" y="0"/>
                    </a:cxn>
                    <a:cxn ang="0">
                      <a:pos x="2" y="4"/>
                    </a:cxn>
                    <a:cxn ang="0">
                      <a:pos x="8" y="18"/>
                    </a:cxn>
                    <a:cxn ang="0">
                      <a:pos x="8" y="18"/>
                    </a:cxn>
                    <a:cxn ang="0">
                      <a:pos x="10" y="22"/>
                    </a:cxn>
                    <a:cxn ang="0">
                      <a:pos x="8" y="24"/>
                    </a:cxn>
                    <a:cxn ang="0">
                      <a:pos x="8" y="24"/>
                    </a:cxn>
                    <a:cxn ang="0">
                      <a:pos x="14" y="30"/>
                    </a:cxn>
                    <a:cxn ang="0">
                      <a:pos x="14" y="30"/>
                    </a:cxn>
                  </a:cxnLst>
                  <a:rect l="0" t="0" r="r" b="b"/>
                  <a:pathLst>
                    <a:path w="22" h="40">
                      <a:moveTo>
                        <a:pt x="14" y="30"/>
                      </a:moveTo>
                      <a:lnTo>
                        <a:pt x="14" y="30"/>
                      </a:lnTo>
                      <a:lnTo>
                        <a:pt x="20" y="38"/>
                      </a:lnTo>
                      <a:lnTo>
                        <a:pt x="20" y="38"/>
                      </a:lnTo>
                      <a:lnTo>
                        <a:pt x="22" y="40"/>
                      </a:lnTo>
                      <a:lnTo>
                        <a:pt x="20" y="34"/>
                      </a:lnTo>
                      <a:lnTo>
                        <a:pt x="20" y="34"/>
                      </a:lnTo>
                      <a:lnTo>
                        <a:pt x="16" y="26"/>
                      </a:lnTo>
                      <a:lnTo>
                        <a:pt x="14" y="24"/>
                      </a:lnTo>
                      <a:lnTo>
                        <a:pt x="14" y="20"/>
                      </a:lnTo>
                      <a:lnTo>
                        <a:pt x="14" y="20"/>
                      </a:lnTo>
                      <a:lnTo>
                        <a:pt x="10" y="10"/>
                      </a:lnTo>
                      <a:lnTo>
                        <a:pt x="6" y="4"/>
                      </a:lnTo>
                      <a:lnTo>
                        <a:pt x="2" y="0"/>
                      </a:lnTo>
                      <a:lnTo>
                        <a:pt x="2" y="0"/>
                      </a:lnTo>
                      <a:lnTo>
                        <a:pt x="0" y="0"/>
                      </a:lnTo>
                      <a:lnTo>
                        <a:pt x="2" y="4"/>
                      </a:lnTo>
                      <a:lnTo>
                        <a:pt x="8" y="18"/>
                      </a:lnTo>
                      <a:lnTo>
                        <a:pt x="8" y="18"/>
                      </a:lnTo>
                      <a:lnTo>
                        <a:pt x="10" y="22"/>
                      </a:lnTo>
                      <a:lnTo>
                        <a:pt x="8" y="24"/>
                      </a:lnTo>
                      <a:lnTo>
                        <a:pt x="8" y="24"/>
                      </a:lnTo>
                      <a:lnTo>
                        <a:pt x="14" y="30"/>
                      </a:lnTo>
                      <a:lnTo>
                        <a:pt x="14" y="3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6" name="Freeform 6131"/>
                <p:cNvSpPr>
                  <a:spLocks/>
                </p:cNvSpPr>
                <p:nvPr/>
              </p:nvSpPr>
              <p:spPr bwMode="auto">
                <a:xfrm>
                  <a:off x="2534920" y="3165793"/>
                  <a:ext cx="10160" cy="5080"/>
                </a:xfrm>
                <a:custGeom>
                  <a:avLst/>
                  <a:gdLst/>
                  <a:ahLst/>
                  <a:cxnLst>
                    <a:cxn ang="0">
                      <a:pos x="16" y="6"/>
                    </a:cxn>
                    <a:cxn ang="0">
                      <a:pos x="16" y="6"/>
                    </a:cxn>
                    <a:cxn ang="0">
                      <a:pos x="14" y="2"/>
                    </a:cxn>
                    <a:cxn ang="0">
                      <a:pos x="8" y="0"/>
                    </a:cxn>
                    <a:cxn ang="0">
                      <a:pos x="4" y="0"/>
                    </a:cxn>
                    <a:cxn ang="0">
                      <a:pos x="0" y="0"/>
                    </a:cxn>
                    <a:cxn ang="0">
                      <a:pos x="0" y="0"/>
                    </a:cxn>
                    <a:cxn ang="0">
                      <a:pos x="0" y="4"/>
                    </a:cxn>
                    <a:cxn ang="0">
                      <a:pos x="2" y="4"/>
                    </a:cxn>
                    <a:cxn ang="0">
                      <a:pos x="4" y="6"/>
                    </a:cxn>
                    <a:cxn ang="0">
                      <a:pos x="4" y="6"/>
                    </a:cxn>
                    <a:cxn ang="0">
                      <a:pos x="10" y="6"/>
                    </a:cxn>
                    <a:cxn ang="0">
                      <a:pos x="14" y="8"/>
                    </a:cxn>
                    <a:cxn ang="0">
                      <a:pos x="14" y="8"/>
                    </a:cxn>
                    <a:cxn ang="0">
                      <a:pos x="16" y="6"/>
                    </a:cxn>
                    <a:cxn ang="0">
                      <a:pos x="16" y="6"/>
                    </a:cxn>
                  </a:cxnLst>
                  <a:rect l="0" t="0" r="r" b="b"/>
                  <a:pathLst>
                    <a:path w="16" h="8">
                      <a:moveTo>
                        <a:pt x="16" y="6"/>
                      </a:moveTo>
                      <a:lnTo>
                        <a:pt x="16" y="6"/>
                      </a:lnTo>
                      <a:lnTo>
                        <a:pt x="14" y="2"/>
                      </a:lnTo>
                      <a:lnTo>
                        <a:pt x="8" y="0"/>
                      </a:lnTo>
                      <a:lnTo>
                        <a:pt x="4" y="0"/>
                      </a:lnTo>
                      <a:lnTo>
                        <a:pt x="0" y="0"/>
                      </a:lnTo>
                      <a:lnTo>
                        <a:pt x="0" y="0"/>
                      </a:lnTo>
                      <a:lnTo>
                        <a:pt x="0" y="4"/>
                      </a:lnTo>
                      <a:lnTo>
                        <a:pt x="2" y="4"/>
                      </a:lnTo>
                      <a:lnTo>
                        <a:pt x="4" y="6"/>
                      </a:lnTo>
                      <a:lnTo>
                        <a:pt x="4" y="6"/>
                      </a:lnTo>
                      <a:lnTo>
                        <a:pt x="10" y="6"/>
                      </a:lnTo>
                      <a:lnTo>
                        <a:pt x="14" y="8"/>
                      </a:lnTo>
                      <a:lnTo>
                        <a:pt x="14" y="8"/>
                      </a:lnTo>
                      <a:lnTo>
                        <a:pt x="16" y="6"/>
                      </a:lnTo>
                      <a:lnTo>
                        <a:pt x="16"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7" name="Freeform 6132"/>
                <p:cNvSpPr>
                  <a:spLocks/>
                </p:cNvSpPr>
                <p:nvPr/>
              </p:nvSpPr>
              <p:spPr bwMode="auto">
                <a:xfrm>
                  <a:off x="2468880" y="3092133"/>
                  <a:ext cx="10160" cy="20320"/>
                </a:xfrm>
                <a:custGeom>
                  <a:avLst/>
                  <a:gdLst/>
                  <a:ahLst/>
                  <a:cxnLst>
                    <a:cxn ang="0">
                      <a:pos x="4" y="4"/>
                    </a:cxn>
                    <a:cxn ang="0">
                      <a:pos x="4" y="4"/>
                    </a:cxn>
                    <a:cxn ang="0">
                      <a:pos x="0" y="0"/>
                    </a:cxn>
                    <a:cxn ang="0">
                      <a:pos x="0" y="0"/>
                    </a:cxn>
                    <a:cxn ang="0">
                      <a:pos x="0" y="2"/>
                    </a:cxn>
                    <a:cxn ang="0">
                      <a:pos x="0" y="6"/>
                    </a:cxn>
                    <a:cxn ang="0">
                      <a:pos x="0" y="6"/>
                    </a:cxn>
                    <a:cxn ang="0">
                      <a:pos x="4" y="12"/>
                    </a:cxn>
                    <a:cxn ang="0">
                      <a:pos x="10" y="20"/>
                    </a:cxn>
                    <a:cxn ang="0">
                      <a:pos x="10" y="20"/>
                    </a:cxn>
                    <a:cxn ang="0">
                      <a:pos x="10" y="26"/>
                    </a:cxn>
                    <a:cxn ang="0">
                      <a:pos x="10" y="30"/>
                    </a:cxn>
                    <a:cxn ang="0">
                      <a:pos x="10" y="32"/>
                    </a:cxn>
                    <a:cxn ang="0">
                      <a:pos x="14" y="30"/>
                    </a:cxn>
                    <a:cxn ang="0">
                      <a:pos x="14" y="30"/>
                    </a:cxn>
                    <a:cxn ang="0">
                      <a:pos x="16" y="28"/>
                    </a:cxn>
                    <a:cxn ang="0">
                      <a:pos x="16" y="26"/>
                    </a:cxn>
                    <a:cxn ang="0">
                      <a:pos x="12" y="20"/>
                    </a:cxn>
                    <a:cxn ang="0">
                      <a:pos x="12" y="20"/>
                    </a:cxn>
                    <a:cxn ang="0">
                      <a:pos x="8" y="12"/>
                    </a:cxn>
                    <a:cxn ang="0">
                      <a:pos x="4" y="4"/>
                    </a:cxn>
                    <a:cxn ang="0">
                      <a:pos x="4" y="4"/>
                    </a:cxn>
                  </a:cxnLst>
                  <a:rect l="0" t="0" r="r" b="b"/>
                  <a:pathLst>
                    <a:path w="16" h="32">
                      <a:moveTo>
                        <a:pt x="4" y="4"/>
                      </a:moveTo>
                      <a:lnTo>
                        <a:pt x="4" y="4"/>
                      </a:lnTo>
                      <a:lnTo>
                        <a:pt x="0" y="0"/>
                      </a:lnTo>
                      <a:lnTo>
                        <a:pt x="0" y="0"/>
                      </a:lnTo>
                      <a:lnTo>
                        <a:pt x="0" y="2"/>
                      </a:lnTo>
                      <a:lnTo>
                        <a:pt x="0" y="6"/>
                      </a:lnTo>
                      <a:lnTo>
                        <a:pt x="0" y="6"/>
                      </a:lnTo>
                      <a:lnTo>
                        <a:pt x="4" y="12"/>
                      </a:lnTo>
                      <a:lnTo>
                        <a:pt x="10" y="20"/>
                      </a:lnTo>
                      <a:lnTo>
                        <a:pt x="10" y="20"/>
                      </a:lnTo>
                      <a:lnTo>
                        <a:pt x="10" y="26"/>
                      </a:lnTo>
                      <a:lnTo>
                        <a:pt x="10" y="30"/>
                      </a:lnTo>
                      <a:lnTo>
                        <a:pt x="10" y="32"/>
                      </a:lnTo>
                      <a:lnTo>
                        <a:pt x="14" y="30"/>
                      </a:lnTo>
                      <a:lnTo>
                        <a:pt x="14" y="30"/>
                      </a:lnTo>
                      <a:lnTo>
                        <a:pt x="16" y="28"/>
                      </a:lnTo>
                      <a:lnTo>
                        <a:pt x="16" y="26"/>
                      </a:lnTo>
                      <a:lnTo>
                        <a:pt x="12" y="20"/>
                      </a:lnTo>
                      <a:lnTo>
                        <a:pt x="12" y="20"/>
                      </a:lnTo>
                      <a:lnTo>
                        <a:pt x="8" y="12"/>
                      </a:lnTo>
                      <a:lnTo>
                        <a:pt x="4" y="4"/>
                      </a:lnTo>
                      <a:lnTo>
                        <a:pt x="4"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8" name="Freeform 6133"/>
                <p:cNvSpPr>
                  <a:spLocks/>
                </p:cNvSpPr>
                <p:nvPr/>
              </p:nvSpPr>
              <p:spPr bwMode="auto">
                <a:xfrm>
                  <a:off x="2442210" y="3064193"/>
                  <a:ext cx="16510" cy="34290"/>
                </a:xfrm>
                <a:custGeom>
                  <a:avLst/>
                  <a:gdLst/>
                  <a:ahLst/>
                  <a:cxnLst>
                    <a:cxn ang="0">
                      <a:pos x="22" y="16"/>
                    </a:cxn>
                    <a:cxn ang="0">
                      <a:pos x="22" y="16"/>
                    </a:cxn>
                    <a:cxn ang="0">
                      <a:pos x="8" y="4"/>
                    </a:cxn>
                    <a:cxn ang="0">
                      <a:pos x="2" y="0"/>
                    </a:cxn>
                    <a:cxn ang="0">
                      <a:pos x="0" y="0"/>
                    </a:cxn>
                    <a:cxn ang="0">
                      <a:pos x="0" y="2"/>
                    </a:cxn>
                    <a:cxn ang="0">
                      <a:pos x="0" y="2"/>
                    </a:cxn>
                    <a:cxn ang="0">
                      <a:pos x="2" y="6"/>
                    </a:cxn>
                    <a:cxn ang="0">
                      <a:pos x="8" y="10"/>
                    </a:cxn>
                    <a:cxn ang="0">
                      <a:pos x="14" y="16"/>
                    </a:cxn>
                    <a:cxn ang="0">
                      <a:pos x="22" y="22"/>
                    </a:cxn>
                    <a:cxn ang="0">
                      <a:pos x="22" y="22"/>
                    </a:cxn>
                    <a:cxn ang="0">
                      <a:pos x="22" y="26"/>
                    </a:cxn>
                    <a:cxn ang="0">
                      <a:pos x="22" y="28"/>
                    </a:cxn>
                    <a:cxn ang="0">
                      <a:pos x="20" y="34"/>
                    </a:cxn>
                    <a:cxn ang="0">
                      <a:pos x="16" y="38"/>
                    </a:cxn>
                    <a:cxn ang="0">
                      <a:pos x="16" y="40"/>
                    </a:cxn>
                    <a:cxn ang="0">
                      <a:pos x="18" y="42"/>
                    </a:cxn>
                    <a:cxn ang="0">
                      <a:pos x="18" y="42"/>
                    </a:cxn>
                    <a:cxn ang="0">
                      <a:pos x="22" y="50"/>
                    </a:cxn>
                    <a:cxn ang="0">
                      <a:pos x="24" y="54"/>
                    </a:cxn>
                    <a:cxn ang="0">
                      <a:pos x="24" y="52"/>
                    </a:cxn>
                    <a:cxn ang="0">
                      <a:pos x="24" y="52"/>
                    </a:cxn>
                    <a:cxn ang="0">
                      <a:pos x="24" y="42"/>
                    </a:cxn>
                    <a:cxn ang="0">
                      <a:pos x="24" y="42"/>
                    </a:cxn>
                    <a:cxn ang="0">
                      <a:pos x="26" y="34"/>
                    </a:cxn>
                    <a:cxn ang="0">
                      <a:pos x="26" y="28"/>
                    </a:cxn>
                    <a:cxn ang="0">
                      <a:pos x="26" y="22"/>
                    </a:cxn>
                    <a:cxn ang="0">
                      <a:pos x="22" y="16"/>
                    </a:cxn>
                    <a:cxn ang="0">
                      <a:pos x="22" y="16"/>
                    </a:cxn>
                  </a:cxnLst>
                  <a:rect l="0" t="0" r="r" b="b"/>
                  <a:pathLst>
                    <a:path w="26" h="54">
                      <a:moveTo>
                        <a:pt x="22" y="16"/>
                      </a:moveTo>
                      <a:lnTo>
                        <a:pt x="22" y="16"/>
                      </a:lnTo>
                      <a:lnTo>
                        <a:pt x="8" y="4"/>
                      </a:lnTo>
                      <a:lnTo>
                        <a:pt x="2" y="0"/>
                      </a:lnTo>
                      <a:lnTo>
                        <a:pt x="0" y="0"/>
                      </a:lnTo>
                      <a:lnTo>
                        <a:pt x="0" y="2"/>
                      </a:lnTo>
                      <a:lnTo>
                        <a:pt x="0" y="2"/>
                      </a:lnTo>
                      <a:lnTo>
                        <a:pt x="2" y="6"/>
                      </a:lnTo>
                      <a:lnTo>
                        <a:pt x="8" y="10"/>
                      </a:lnTo>
                      <a:lnTo>
                        <a:pt x="14" y="16"/>
                      </a:lnTo>
                      <a:lnTo>
                        <a:pt x="22" y="22"/>
                      </a:lnTo>
                      <a:lnTo>
                        <a:pt x="22" y="22"/>
                      </a:lnTo>
                      <a:lnTo>
                        <a:pt x="22" y="26"/>
                      </a:lnTo>
                      <a:lnTo>
                        <a:pt x="22" y="28"/>
                      </a:lnTo>
                      <a:lnTo>
                        <a:pt x="20" y="34"/>
                      </a:lnTo>
                      <a:lnTo>
                        <a:pt x="16" y="38"/>
                      </a:lnTo>
                      <a:lnTo>
                        <a:pt x="16" y="40"/>
                      </a:lnTo>
                      <a:lnTo>
                        <a:pt x="18" y="42"/>
                      </a:lnTo>
                      <a:lnTo>
                        <a:pt x="18" y="42"/>
                      </a:lnTo>
                      <a:lnTo>
                        <a:pt x="22" y="50"/>
                      </a:lnTo>
                      <a:lnTo>
                        <a:pt x="24" y="54"/>
                      </a:lnTo>
                      <a:lnTo>
                        <a:pt x="24" y="52"/>
                      </a:lnTo>
                      <a:lnTo>
                        <a:pt x="24" y="52"/>
                      </a:lnTo>
                      <a:lnTo>
                        <a:pt x="24" y="42"/>
                      </a:lnTo>
                      <a:lnTo>
                        <a:pt x="24" y="42"/>
                      </a:lnTo>
                      <a:lnTo>
                        <a:pt x="26" y="34"/>
                      </a:lnTo>
                      <a:lnTo>
                        <a:pt x="26" y="28"/>
                      </a:lnTo>
                      <a:lnTo>
                        <a:pt x="26" y="22"/>
                      </a:lnTo>
                      <a:lnTo>
                        <a:pt x="22" y="16"/>
                      </a:lnTo>
                      <a:lnTo>
                        <a:pt x="22" y="1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9" name="Freeform 6134"/>
                <p:cNvSpPr>
                  <a:spLocks/>
                </p:cNvSpPr>
                <p:nvPr/>
              </p:nvSpPr>
              <p:spPr bwMode="auto">
                <a:xfrm>
                  <a:off x="3581400" y="3548063"/>
                  <a:ext cx="3810" cy="5080"/>
                </a:xfrm>
                <a:custGeom>
                  <a:avLst/>
                  <a:gdLst/>
                  <a:ahLst/>
                  <a:cxnLst>
                    <a:cxn ang="0">
                      <a:pos x="2" y="8"/>
                    </a:cxn>
                    <a:cxn ang="0">
                      <a:pos x="2" y="8"/>
                    </a:cxn>
                    <a:cxn ang="0">
                      <a:pos x="4" y="8"/>
                    </a:cxn>
                    <a:cxn ang="0">
                      <a:pos x="6" y="4"/>
                    </a:cxn>
                    <a:cxn ang="0">
                      <a:pos x="6" y="2"/>
                    </a:cxn>
                    <a:cxn ang="0">
                      <a:pos x="6" y="0"/>
                    </a:cxn>
                    <a:cxn ang="0">
                      <a:pos x="6" y="0"/>
                    </a:cxn>
                    <a:cxn ang="0">
                      <a:pos x="4" y="2"/>
                    </a:cxn>
                    <a:cxn ang="0">
                      <a:pos x="2" y="4"/>
                    </a:cxn>
                    <a:cxn ang="0">
                      <a:pos x="0" y="6"/>
                    </a:cxn>
                    <a:cxn ang="0">
                      <a:pos x="2" y="8"/>
                    </a:cxn>
                    <a:cxn ang="0">
                      <a:pos x="2" y="8"/>
                    </a:cxn>
                  </a:cxnLst>
                  <a:rect l="0" t="0" r="r" b="b"/>
                  <a:pathLst>
                    <a:path w="6" h="8">
                      <a:moveTo>
                        <a:pt x="2" y="8"/>
                      </a:moveTo>
                      <a:lnTo>
                        <a:pt x="2" y="8"/>
                      </a:lnTo>
                      <a:lnTo>
                        <a:pt x="4" y="8"/>
                      </a:lnTo>
                      <a:lnTo>
                        <a:pt x="6" y="4"/>
                      </a:lnTo>
                      <a:lnTo>
                        <a:pt x="6" y="2"/>
                      </a:lnTo>
                      <a:lnTo>
                        <a:pt x="6" y="0"/>
                      </a:lnTo>
                      <a:lnTo>
                        <a:pt x="6" y="0"/>
                      </a:lnTo>
                      <a:lnTo>
                        <a:pt x="4" y="2"/>
                      </a:lnTo>
                      <a:lnTo>
                        <a:pt x="2" y="4"/>
                      </a:lnTo>
                      <a:lnTo>
                        <a:pt x="0" y="6"/>
                      </a:lnTo>
                      <a:lnTo>
                        <a:pt x="2" y="8"/>
                      </a:lnTo>
                      <a:lnTo>
                        <a:pt x="2"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0" name="Freeform 6135"/>
                <p:cNvSpPr>
                  <a:spLocks/>
                </p:cNvSpPr>
                <p:nvPr/>
              </p:nvSpPr>
              <p:spPr bwMode="auto">
                <a:xfrm>
                  <a:off x="3586480" y="3539173"/>
                  <a:ext cx="2540" cy="2540"/>
                </a:xfrm>
                <a:custGeom>
                  <a:avLst/>
                  <a:gdLst/>
                  <a:ahLst/>
                  <a:cxnLst>
                    <a:cxn ang="0">
                      <a:pos x="0" y="4"/>
                    </a:cxn>
                    <a:cxn ang="0">
                      <a:pos x="0" y="4"/>
                    </a:cxn>
                    <a:cxn ang="0">
                      <a:pos x="2" y="4"/>
                    </a:cxn>
                    <a:cxn ang="0">
                      <a:pos x="4" y="2"/>
                    </a:cxn>
                    <a:cxn ang="0">
                      <a:pos x="4" y="0"/>
                    </a:cxn>
                    <a:cxn ang="0">
                      <a:pos x="4" y="0"/>
                    </a:cxn>
                    <a:cxn ang="0">
                      <a:pos x="2" y="0"/>
                    </a:cxn>
                    <a:cxn ang="0">
                      <a:pos x="0" y="0"/>
                    </a:cxn>
                    <a:cxn ang="0">
                      <a:pos x="0" y="2"/>
                    </a:cxn>
                    <a:cxn ang="0">
                      <a:pos x="0" y="4"/>
                    </a:cxn>
                    <a:cxn ang="0">
                      <a:pos x="0" y="4"/>
                    </a:cxn>
                  </a:cxnLst>
                  <a:rect l="0" t="0" r="r" b="b"/>
                  <a:pathLst>
                    <a:path w="4" h="4">
                      <a:moveTo>
                        <a:pt x="0" y="4"/>
                      </a:moveTo>
                      <a:lnTo>
                        <a:pt x="0" y="4"/>
                      </a:lnTo>
                      <a:lnTo>
                        <a:pt x="2" y="4"/>
                      </a:lnTo>
                      <a:lnTo>
                        <a:pt x="4" y="2"/>
                      </a:lnTo>
                      <a:lnTo>
                        <a:pt x="4" y="0"/>
                      </a:lnTo>
                      <a:lnTo>
                        <a:pt x="4" y="0"/>
                      </a:lnTo>
                      <a:lnTo>
                        <a:pt x="2" y="0"/>
                      </a:lnTo>
                      <a:lnTo>
                        <a:pt x="0" y="0"/>
                      </a:lnTo>
                      <a:lnTo>
                        <a:pt x="0" y="2"/>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1" name="Freeform 6136"/>
                <p:cNvSpPr>
                  <a:spLocks/>
                </p:cNvSpPr>
                <p:nvPr/>
              </p:nvSpPr>
              <p:spPr bwMode="auto">
                <a:xfrm>
                  <a:off x="3575050" y="3539173"/>
                  <a:ext cx="3810" cy="5080"/>
                </a:xfrm>
                <a:custGeom>
                  <a:avLst/>
                  <a:gdLst/>
                  <a:ahLst/>
                  <a:cxnLst>
                    <a:cxn ang="0">
                      <a:pos x="6" y="2"/>
                    </a:cxn>
                    <a:cxn ang="0">
                      <a:pos x="6" y="2"/>
                    </a:cxn>
                    <a:cxn ang="0">
                      <a:pos x="4" y="0"/>
                    </a:cxn>
                    <a:cxn ang="0">
                      <a:pos x="0" y="2"/>
                    </a:cxn>
                    <a:cxn ang="0">
                      <a:pos x="0" y="6"/>
                    </a:cxn>
                    <a:cxn ang="0">
                      <a:pos x="0" y="8"/>
                    </a:cxn>
                    <a:cxn ang="0">
                      <a:pos x="0" y="8"/>
                    </a:cxn>
                    <a:cxn ang="0">
                      <a:pos x="4" y="6"/>
                    </a:cxn>
                    <a:cxn ang="0">
                      <a:pos x="6" y="4"/>
                    </a:cxn>
                    <a:cxn ang="0">
                      <a:pos x="6" y="2"/>
                    </a:cxn>
                    <a:cxn ang="0">
                      <a:pos x="6" y="2"/>
                    </a:cxn>
                  </a:cxnLst>
                  <a:rect l="0" t="0" r="r" b="b"/>
                  <a:pathLst>
                    <a:path w="6" h="8">
                      <a:moveTo>
                        <a:pt x="6" y="2"/>
                      </a:moveTo>
                      <a:lnTo>
                        <a:pt x="6" y="2"/>
                      </a:lnTo>
                      <a:lnTo>
                        <a:pt x="4" y="0"/>
                      </a:lnTo>
                      <a:lnTo>
                        <a:pt x="0" y="2"/>
                      </a:lnTo>
                      <a:lnTo>
                        <a:pt x="0" y="6"/>
                      </a:lnTo>
                      <a:lnTo>
                        <a:pt x="0" y="8"/>
                      </a:lnTo>
                      <a:lnTo>
                        <a:pt x="0" y="8"/>
                      </a:lnTo>
                      <a:lnTo>
                        <a:pt x="4" y="6"/>
                      </a:lnTo>
                      <a:lnTo>
                        <a:pt x="6" y="4"/>
                      </a:lnTo>
                      <a:lnTo>
                        <a:pt x="6" y="2"/>
                      </a:lnTo>
                      <a:lnTo>
                        <a:pt x="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2" name="Freeform 6138"/>
                <p:cNvSpPr>
                  <a:spLocks/>
                </p:cNvSpPr>
                <p:nvPr/>
              </p:nvSpPr>
              <p:spPr bwMode="auto">
                <a:xfrm>
                  <a:off x="3576320" y="3551873"/>
                  <a:ext cx="2540" cy="3810"/>
                </a:xfrm>
                <a:custGeom>
                  <a:avLst/>
                  <a:gdLst/>
                  <a:ahLst/>
                  <a:cxnLst>
                    <a:cxn ang="0">
                      <a:pos x="2" y="0"/>
                    </a:cxn>
                    <a:cxn ang="0">
                      <a:pos x="2" y="0"/>
                    </a:cxn>
                    <a:cxn ang="0">
                      <a:pos x="0" y="0"/>
                    </a:cxn>
                    <a:cxn ang="0">
                      <a:pos x="0" y="2"/>
                    </a:cxn>
                    <a:cxn ang="0">
                      <a:pos x="0" y="4"/>
                    </a:cxn>
                    <a:cxn ang="0">
                      <a:pos x="2" y="6"/>
                    </a:cxn>
                    <a:cxn ang="0">
                      <a:pos x="2" y="6"/>
                    </a:cxn>
                    <a:cxn ang="0">
                      <a:pos x="4" y="6"/>
                    </a:cxn>
                    <a:cxn ang="0">
                      <a:pos x="4" y="4"/>
                    </a:cxn>
                    <a:cxn ang="0">
                      <a:pos x="4" y="2"/>
                    </a:cxn>
                    <a:cxn ang="0">
                      <a:pos x="2" y="0"/>
                    </a:cxn>
                    <a:cxn ang="0">
                      <a:pos x="2" y="0"/>
                    </a:cxn>
                  </a:cxnLst>
                  <a:rect l="0" t="0" r="r" b="b"/>
                  <a:pathLst>
                    <a:path w="4" h="6">
                      <a:moveTo>
                        <a:pt x="2" y="0"/>
                      </a:moveTo>
                      <a:lnTo>
                        <a:pt x="2" y="0"/>
                      </a:lnTo>
                      <a:lnTo>
                        <a:pt x="0" y="0"/>
                      </a:lnTo>
                      <a:lnTo>
                        <a:pt x="0" y="2"/>
                      </a:lnTo>
                      <a:lnTo>
                        <a:pt x="0" y="4"/>
                      </a:lnTo>
                      <a:lnTo>
                        <a:pt x="2" y="6"/>
                      </a:lnTo>
                      <a:lnTo>
                        <a:pt x="2" y="6"/>
                      </a:lnTo>
                      <a:lnTo>
                        <a:pt x="4" y="6"/>
                      </a:lnTo>
                      <a:lnTo>
                        <a:pt x="4" y="4"/>
                      </a:lnTo>
                      <a:lnTo>
                        <a:pt x="4" y="2"/>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3" name="Freeform 6144"/>
                <p:cNvSpPr>
                  <a:spLocks/>
                </p:cNvSpPr>
                <p:nvPr/>
              </p:nvSpPr>
              <p:spPr bwMode="auto">
                <a:xfrm>
                  <a:off x="3572510" y="3530283"/>
                  <a:ext cx="5080" cy="3810"/>
                </a:xfrm>
                <a:custGeom>
                  <a:avLst/>
                  <a:gdLst/>
                  <a:ahLst/>
                  <a:cxnLst>
                    <a:cxn ang="0">
                      <a:pos x="8" y="2"/>
                    </a:cxn>
                    <a:cxn ang="0">
                      <a:pos x="8" y="2"/>
                    </a:cxn>
                    <a:cxn ang="0">
                      <a:pos x="8" y="0"/>
                    </a:cxn>
                    <a:cxn ang="0">
                      <a:pos x="6" y="0"/>
                    </a:cxn>
                    <a:cxn ang="0">
                      <a:pos x="4" y="0"/>
                    </a:cxn>
                    <a:cxn ang="0">
                      <a:pos x="0" y="2"/>
                    </a:cxn>
                    <a:cxn ang="0">
                      <a:pos x="0" y="4"/>
                    </a:cxn>
                    <a:cxn ang="0">
                      <a:pos x="0" y="6"/>
                    </a:cxn>
                    <a:cxn ang="0">
                      <a:pos x="0" y="6"/>
                    </a:cxn>
                    <a:cxn ang="0">
                      <a:pos x="4" y="6"/>
                    </a:cxn>
                    <a:cxn ang="0">
                      <a:pos x="8" y="2"/>
                    </a:cxn>
                    <a:cxn ang="0">
                      <a:pos x="8" y="2"/>
                    </a:cxn>
                  </a:cxnLst>
                  <a:rect l="0" t="0" r="r" b="b"/>
                  <a:pathLst>
                    <a:path w="8" h="6">
                      <a:moveTo>
                        <a:pt x="8" y="2"/>
                      </a:moveTo>
                      <a:lnTo>
                        <a:pt x="8" y="2"/>
                      </a:lnTo>
                      <a:lnTo>
                        <a:pt x="8" y="0"/>
                      </a:lnTo>
                      <a:lnTo>
                        <a:pt x="6" y="0"/>
                      </a:lnTo>
                      <a:lnTo>
                        <a:pt x="4" y="0"/>
                      </a:lnTo>
                      <a:lnTo>
                        <a:pt x="0" y="2"/>
                      </a:lnTo>
                      <a:lnTo>
                        <a:pt x="0" y="4"/>
                      </a:lnTo>
                      <a:lnTo>
                        <a:pt x="0" y="6"/>
                      </a:lnTo>
                      <a:lnTo>
                        <a:pt x="0" y="6"/>
                      </a:lnTo>
                      <a:lnTo>
                        <a:pt x="4" y="6"/>
                      </a:lnTo>
                      <a:lnTo>
                        <a:pt x="8" y="2"/>
                      </a:lnTo>
                      <a:lnTo>
                        <a:pt x="8"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4" name="Freeform 6149"/>
                <p:cNvSpPr>
                  <a:spLocks/>
                </p:cNvSpPr>
                <p:nvPr/>
              </p:nvSpPr>
              <p:spPr bwMode="auto">
                <a:xfrm>
                  <a:off x="3566160" y="3539173"/>
                  <a:ext cx="3810" cy="2540"/>
                </a:xfrm>
                <a:custGeom>
                  <a:avLst/>
                  <a:gdLst/>
                  <a:ahLst/>
                  <a:cxnLst>
                    <a:cxn ang="0">
                      <a:pos x="0" y="4"/>
                    </a:cxn>
                    <a:cxn ang="0">
                      <a:pos x="0" y="4"/>
                    </a:cxn>
                    <a:cxn ang="0">
                      <a:pos x="2" y="4"/>
                    </a:cxn>
                    <a:cxn ang="0">
                      <a:pos x="6" y="2"/>
                    </a:cxn>
                    <a:cxn ang="0">
                      <a:pos x="6" y="2"/>
                    </a:cxn>
                    <a:cxn ang="0">
                      <a:pos x="6" y="0"/>
                    </a:cxn>
                    <a:cxn ang="0">
                      <a:pos x="2" y="2"/>
                    </a:cxn>
                    <a:cxn ang="0">
                      <a:pos x="0" y="2"/>
                    </a:cxn>
                    <a:cxn ang="0">
                      <a:pos x="0" y="4"/>
                    </a:cxn>
                    <a:cxn ang="0">
                      <a:pos x="0" y="4"/>
                    </a:cxn>
                  </a:cxnLst>
                  <a:rect l="0" t="0" r="r" b="b"/>
                  <a:pathLst>
                    <a:path w="6" h="4">
                      <a:moveTo>
                        <a:pt x="0" y="4"/>
                      </a:moveTo>
                      <a:lnTo>
                        <a:pt x="0" y="4"/>
                      </a:lnTo>
                      <a:lnTo>
                        <a:pt x="2" y="4"/>
                      </a:lnTo>
                      <a:lnTo>
                        <a:pt x="6" y="2"/>
                      </a:lnTo>
                      <a:lnTo>
                        <a:pt x="6" y="2"/>
                      </a:lnTo>
                      <a:lnTo>
                        <a:pt x="6" y="0"/>
                      </a:lnTo>
                      <a:lnTo>
                        <a:pt x="2" y="2"/>
                      </a:lnTo>
                      <a:lnTo>
                        <a:pt x="0" y="2"/>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5" name="Freeform 6150"/>
                <p:cNvSpPr>
                  <a:spLocks/>
                </p:cNvSpPr>
                <p:nvPr/>
              </p:nvSpPr>
              <p:spPr bwMode="auto">
                <a:xfrm>
                  <a:off x="3568700" y="3548063"/>
                  <a:ext cx="3810" cy="2540"/>
                </a:xfrm>
                <a:custGeom>
                  <a:avLst/>
                  <a:gdLst/>
                  <a:ahLst/>
                  <a:cxnLst>
                    <a:cxn ang="0">
                      <a:pos x="4" y="0"/>
                    </a:cxn>
                    <a:cxn ang="0">
                      <a:pos x="4" y="0"/>
                    </a:cxn>
                    <a:cxn ang="0">
                      <a:pos x="2" y="2"/>
                    </a:cxn>
                    <a:cxn ang="0">
                      <a:pos x="0" y="2"/>
                    </a:cxn>
                    <a:cxn ang="0">
                      <a:pos x="2" y="4"/>
                    </a:cxn>
                    <a:cxn ang="0">
                      <a:pos x="4" y="4"/>
                    </a:cxn>
                    <a:cxn ang="0">
                      <a:pos x="4" y="4"/>
                    </a:cxn>
                    <a:cxn ang="0">
                      <a:pos x="6" y="2"/>
                    </a:cxn>
                    <a:cxn ang="0">
                      <a:pos x="6" y="2"/>
                    </a:cxn>
                    <a:cxn ang="0">
                      <a:pos x="4" y="0"/>
                    </a:cxn>
                    <a:cxn ang="0">
                      <a:pos x="4" y="0"/>
                    </a:cxn>
                  </a:cxnLst>
                  <a:rect l="0" t="0" r="r" b="b"/>
                  <a:pathLst>
                    <a:path w="6" h="4">
                      <a:moveTo>
                        <a:pt x="4" y="0"/>
                      </a:moveTo>
                      <a:lnTo>
                        <a:pt x="4" y="0"/>
                      </a:lnTo>
                      <a:lnTo>
                        <a:pt x="2" y="2"/>
                      </a:lnTo>
                      <a:lnTo>
                        <a:pt x="0" y="2"/>
                      </a:lnTo>
                      <a:lnTo>
                        <a:pt x="2" y="4"/>
                      </a:lnTo>
                      <a:lnTo>
                        <a:pt x="4" y="4"/>
                      </a:lnTo>
                      <a:lnTo>
                        <a:pt x="4" y="4"/>
                      </a:lnTo>
                      <a:lnTo>
                        <a:pt x="6" y="2"/>
                      </a:lnTo>
                      <a:lnTo>
                        <a:pt x="6" y="2"/>
                      </a:lnTo>
                      <a:lnTo>
                        <a:pt x="4" y="0"/>
                      </a:lnTo>
                      <a:lnTo>
                        <a:pt x="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grpSp>
          <p:sp>
            <p:nvSpPr>
              <p:cNvPr id="30" name="Freeform 5962"/>
              <p:cNvSpPr>
                <a:spLocks noEditPoints="1"/>
              </p:cNvSpPr>
              <p:nvPr/>
            </p:nvSpPr>
            <p:spPr bwMode="auto">
              <a:xfrm>
                <a:off x="2518104" y="3674489"/>
                <a:ext cx="1071895" cy="2040511"/>
              </a:xfrm>
              <a:custGeom>
                <a:avLst/>
                <a:gdLst/>
                <a:ahLst/>
                <a:cxnLst>
                  <a:cxn ang="0">
                    <a:pos x="266" y="3286"/>
                  </a:cxn>
                  <a:cxn ang="0">
                    <a:pos x="232" y="3100"/>
                  </a:cxn>
                  <a:cxn ang="0">
                    <a:pos x="290" y="3112"/>
                  </a:cxn>
                  <a:cxn ang="0">
                    <a:pos x="254" y="3122"/>
                  </a:cxn>
                  <a:cxn ang="0">
                    <a:pos x="244" y="3216"/>
                  </a:cxn>
                  <a:cxn ang="0">
                    <a:pos x="246" y="3146"/>
                  </a:cxn>
                  <a:cxn ang="0">
                    <a:pos x="232" y="3160"/>
                  </a:cxn>
                  <a:cxn ang="0">
                    <a:pos x="290" y="3286"/>
                  </a:cxn>
                  <a:cxn ang="0">
                    <a:pos x="242" y="3148"/>
                  </a:cxn>
                  <a:cxn ang="0">
                    <a:pos x="292" y="2914"/>
                  </a:cxn>
                  <a:cxn ang="0">
                    <a:pos x="304" y="2900"/>
                  </a:cxn>
                  <a:cxn ang="0">
                    <a:pos x="262" y="2968"/>
                  </a:cxn>
                  <a:cxn ang="0">
                    <a:pos x="550" y="3520"/>
                  </a:cxn>
                  <a:cxn ang="0">
                    <a:pos x="480" y="3536"/>
                  </a:cxn>
                  <a:cxn ang="0">
                    <a:pos x="448" y="3508"/>
                  </a:cxn>
                  <a:cxn ang="0">
                    <a:pos x="510" y="3502"/>
                  </a:cxn>
                  <a:cxn ang="0">
                    <a:pos x="438" y="3512"/>
                  </a:cxn>
                  <a:cxn ang="0">
                    <a:pos x="268" y="3370"/>
                  </a:cxn>
                  <a:cxn ang="0">
                    <a:pos x="284" y="3406"/>
                  </a:cxn>
                  <a:cxn ang="0">
                    <a:pos x="248" y="3292"/>
                  </a:cxn>
                  <a:cxn ang="0">
                    <a:pos x="390" y="3462"/>
                  </a:cxn>
                  <a:cxn ang="0">
                    <a:pos x="338" y="3418"/>
                  </a:cxn>
                  <a:cxn ang="0">
                    <a:pos x="354" y="3448"/>
                  </a:cxn>
                  <a:cxn ang="0">
                    <a:pos x="474" y="3462"/>
                  </a:cxn>
                  <a:cxn ang="0">
                    <a:pos x="374" y="3476"/>
                  </a:cxn>
                  <a:cxn ang="0">
                    <a:pos x="504" y="3502"/>
                  </a:cxn>
                  <a:cxn ang="0">
                    <a:pos x="290" y="2738"/>
                  </a:cxn>
                  <a:cxn ang="0">
                    <a:pos x="262" y="2838"/>
                  </a:cxn>
                  <a:cxn ang="0">
                    <a:pos x="296" y="2846"/>
                  </a:cxn>
                  <a:cxn ang="0">
                    <a:pos x="278" y="2958"/>
                  </a:cxn>
                  <a:cxn ang="0">
                    <a:pos x="1480" y="698"/>
                  </a:cxn>
                  <a:cxn ang="0">
                    <a:pos x="1210" y="636"/>
                  </a:cxn>
                  <a:cxn ang="0">
                    <a:pos x="1200" y="392"/>
                  </a:cxn>
                  <a:cxn ang="0">
                    <a:pos x="964" y="300"/>
                  </a:cxn>
                  <a:cxn ang="0">
                    <a:pos x="748" y="94"/>
                  </a:cxn>
                  <a:cxn ang="0">
                    <a:pos x="444" y="34"/>
                  </a:cxn>
                  <a:cxn ang="0">
                    <a:pos x="248" y="72"/>
                  </a:cxn>
                  <a:cxn ang="0">
                    <a:pos x="144" y="472"/>
                  </a:cxn>
                  <a:cxn ang="0">
                    <a:pos x="56" y="726"/>
                  </a:cxn>
                  <a:cxn ang="0">
                    <a:pos x="172" y="1210"/>
                  </a:cxn>
                  <a:cxn ang="0">
                    <a:pos x="434" y="1746"/>
                  </a:cxn>
                  <a:cxn ang="0">
                    <a:pos x="398" y="2236"/>
                  </a:cxn>
                  <a:cxn ang="0">
                    <a:pos x="310" y="2626"/>
                  </a:cxn>
                  <a:cxn ang="0">
                    <a:pos x="330" y="2830"/>
                  </a:cxn>
                  <a:cxn ang="0">
                    <a:pos x="270" y="2964"/>
                  </a:cxn>
                  <a:cxn ang="0">
                    <a:pos x="268" y="3066"/>
                  </a:cxn>
                  <a:cxn ang="0">
                    <a:pos x="278" y="3168"/>
                  </a:cxn>
                  <a:cxn ang="0">
                    <a:pos x="292" y="3234"/>
                  </a:cxn>
                  <a:cxn ang="0">
                    <a:pos x="310" y="3308"/>
                  </a:cxn>
                  <a:cxn ang="0">
                    <a:pos x="306" y="3328"/>
                  </a:cxn>
                  <a:cxn ang="0">
                    <a:pos x="368" y="3356"/>
                  </a:cxn>
                  <a:cxn ang="0">
                    <a:pos x="402" y="3372"/>
                  </a:cxn>
                  <a:cxn ang="0">
                    <a:pos x="496" y="3342"/>
                  </a:cxn>
                  <a:cxn ang="0">
                    <a:pos x="550" y="2976"/>
                  </a:cxn>
                  <a:cxn ang="0">
                    <a:pos x="714" y="2778"/>
                  </a:cxn>
                  <a:cxn ang="0">
                    <a:pos x="774" y="2576"/>
                  </a:cxn>
                  <a:cxn ang="0">
                    <a:pos x="992" y="2348"/>
                  </a:cxn>
                  <a:cxn ang="0">
                    <a:pos x="1364" y="1824"/>
                  </a:cxn>
                  <a:cxn ang="0">
                    <a:pos x="1702" y="1418"/>
                  </a:cxn>
                  <a:cxn ang="0">
                    <a:pos x="672" y="3500"/>
                  </a:cxn>
                  <a:cxn ang="0">
                    <a:pos x="290" y="3036"/>
                  </a:cxn>
                  <a:cxn ang="0">
                    <a:pos x="252" y="3140"/>
                  </a:cxn>
                  <a:cxn ang="0">
                    <a:pos x="276" y="3192"/>
                  </a:cxn>
                </a:cxnLst>
                <a:rect l="0" t="0" r="r" b="b"/>
                <a:pathLst>
                  <a:path w="1874" h="3562">
                    <a:moveTo>
                      <a:pt x="282" y="3320"/>
                    </a:moveTo>
                    <a:lnTo>
                      <a:pt x="282" y="3320"/>
                    </a:lnTo>
                    <a:lnTo>
                      <a:pt x="286" y="3322"/>
                    </a:lnTo>
                    <a:lnTo>
                      <a:pt x="286" y="3320"/>
                    </a:lnTo>
                    <a:lnTo>
                      <a:pt x="284" y="3316"/>
                    </a:lnTo>
                    <a:lnTo>
                      <a:pt x="282" y="3312"/>
                    </a:lnTo>
                    <a:lnTo>
                      <a:pt x="282" y="3312"/>
                    </a:lnTo>
                    <a:lnTo>
                      <a:pt x="278" y="3308"/>
                    </a:lnTo>
                    <a:lnTo>
                      <a:pt x="274" y="3308"/>
                    </a:lnTo>
                    <a:lnTo>
                      <a:pt x="274" y="3308"/>
                    </a:lnTo>
                    <a:lnTo>
                      <a:pt x="274" y="3310"/>
                    </a:lnTo>
                    <a:lnTo>
                      <a:pt x="274" y="3310"/>
                    </a:lnTo>
                    <a:lnTo>
                      <a:pt x="276" y="3314"/>
                    </a:lnTo>
                    <a:lnTo>
                      <a:pt x="276" y="3316"/>
                    </a:lnTo>
                    <a:lnTo>
                      <a:pt x="276" y="3316"/>
                    </a:lnTo>
                    <a:lnTo>
                      <a:pt x="282" y="3320"/>
                    </a:lnTo>
                    <a:lnTo>
                      <a:pt x="282" y="3320"/>
                    </a:lnTo>
                    <a:close/>
                    <a:moveTo>
                      <a:pt x="286" y="3348"/>
                    </a:moveTo>
                    <a:lnTo>
                      <a:pt x="286" y="3348"/>
                    </a:lnTo>
                    <a:lnTo>
                      <a:pt x="288" y="3348"/>
                    </a:lnTo>
                    <a:lnTo>
                      <a:pt x="290" y="3348"/>
                    </a:lnTo>
                    <a:lnTo>
                      <a:pt x="296" y="3344"/>
                    </a:lnTo>
                    <a:lnTo>
                      <a:pt x="296" y="3344"/>
                    </a:lnTo>
                    <a:lnTo>
                      <a:pt x="296" y="3344"/>
                    </a:lnTo>
                    <a:lnTo>
                      <a:pt x="294" y="3340"/>
                    </a:lnTo>
                    <a:lnTo>
                      <a:pt x="286" y="3334"/>
                    </a:lnTo>
                    <a:lnTo>
                      <a:pt x="286" y="3334"/>
                    </a:lnTo>
                    <a:lnTo>
                      <a:pt x="282" y="3330"/>
                    </a:lnTo>
                    <a:lnTo>
                      <a:pt x="278" y="3330"/>
                    </a:lnTo>
                    <a:lnTo>
                      <a:pt x="276" y="3332"/>
                    </a:lnTo>
                    <a:lnTo>
                      <a:pt x="278" y="3334"/>
                    </a:lnTo>
                    <a:lnTo>
                      <a:pt x="278" y="3334"/>
                    </a:lnTo>
                    <a:lnTo>
                      <a:pt x="278" y="3336"/>
                    </a:lnTo>
                    <a:lnTo>
                      <a:pt x="280" y="3336"/>
                    </a:lnTo>
                    <a:lnTo>
                      <a:pt x="282" y="3336"/>
                    </a:lnTo>
                    <a:lnTo>
                      <a:pt x="284" y="3336"/>
                    </a:lnTo>
                    <a:lnTo>
                      <a:pt x="284" y="3336"/>
                    </a:lnTo>
                    <a:lnTo>
                      <a:pt x="284" y="3338"/>
                    </a:lnTo>
                    <a:lnTo>
                      <a:pt x="284" y="3340"/>
                    </a:lnTo>
                    <a:lnTo>
                      <a:pt x="284" y="3342"/>
                    </a:lnTo>
                    <a:lnTo>
                      <a:pt x="286" y="3348"/>
                    </a:lnTo>
                    <a:lnTo>
                      <a:pt x="286" y="3348"/>
                    </a:lnTo>
                    <a:close/>
                    <a:moveTo>
                      <a:pt x="270" y="3286"/>
                    </a:moveTo>
                    <a:lnTo>
                      <a:pt x="270" y="3286"/>
                    </a:lnTo>
                    <a:lnTo>
                      <a:pt x="270" y="3280"/>
                    </a:lnTo>
                    <a:lnTo>
                      <a:pt x="268" y="3278"/>
                    </a:lnTo>
                    <a:lnTo>
                      <a:pt x="266" y="3278"/>
                    </a:lnTo>
                    <a:lnTo>
                      <a:pt x="266" y="3278"/>
                    </a:lnTo>
                    <a:lnTo>
                      <a:pt x="262" y="3278"/>
                    </a:lnTo>
                    <a:lnTo>
                      <a:pt x="260" y="3280"/>
                    </a:lnTo>
                    <a:lnTo>
                      <a:pt x="256" y="3286"/>
                    </a:lnTo>
                    <a:lnTo>
                      <a:pt x="256" y="3286"/>
                    </a:lnTo>
                    <a:lnTo>
                      <a:pt x="252" y="3292"/>
                    </a:lnTo>
                    <a:lnTo>
                      <a:pt x="254" y="3292"/>
                    </a:lnTo>
                    <a:lnTo>
                      <a:pt x="258" y="3292"/>
                    </a:lnTo>
                    <a:lnTo>
                      <a:pt x="258" y="3292"/>
                    </a:lnTo>
                    <a:lnTo>
                      <a:pt x="262" y="3290"/>
                    </a:lnTo>
                    <a:lnTo>
                      <a:pt x="262" y="3288"/>
                    </a:lnTo>
                    <a:lnTo>
                      <a:pt x="264" y="3286"/>
                    </a:lnTo>
                    <a:lnTo>
                      <a:pt x="266" y="3286"/>
                    </a:lnTo>
                    <a:lnTo>
                      <a:pt x="266" y="3286"/>
                    </a:lnTo>
                    <a:lnTo>
                      <a:pt x="266" y="3288"/>
                    </a:lnTo>
                    <a:lnTo>
                      <a:pt x="268" y="3290"/>
                    </a:lnTo>
                    <a:lnTo>
                      <a:pt x="270" y="3288"/>
                    </a:lnTo>
                    <a:lnTo>
                      <a:pt x="270" y="3286"/>
                    </a:lnTo>
                    <a:lnTo>
                      <a:pt x="270" y="3286"/>
                    </a:lnTo>
                    <a:close/>
                    <a:moveTo>
                      <a:pt x="262" y="3260"/>
                    </a:moveTo>
                    <a:lnTo>
                      <a:pt x="262" y="3260"/>
                    </a:lnTo>
                    <a:lnTo>
                      <a:pt x="256" y="3260"/>
                    </a:lnTo>
                    <a:lnTo>
                      <a:pt x="254" y="3260"/>
                    </a:lnTo>
                    <a:lnTo>
                      <a:pt x="254" y="3262"/>
                    </a:lnTo>
                    <a:lnTo>
                      <a:pt x="256" y="3264"/>
                    </a:lnTo>
                    <a:lnTo>
                      <a:pt x="256" y="3264"/>
                    </a:lnTo>
                    <a:lnTo>
                      <a:pt x="258" y="3266"/>
                    </a:lnTo>
                    <a:lnTo>
                      <a:pt x="258" y="3266"/>
                    </a:lnTo>
                    <a:lnTo>
                      <a:pt x="260" y="3270"/>
                    </a:lnTo>
                    <a:lnTo>
                      <a:pt x="264" y="3272"/>
                    </a:lnTo>
                    <a:lnTo>
                      <a:pt x="264" y="3272"/>
                    </a:lnTo>
                    <a:lnTo>
                      <a:pt x="266" y="3270"/>
                    </a:lnTo>
                    <a:lnTo>
                      <a:pt x="268" y="3268"/>
                    </a:lnTo>
                    <a:lnTo>
                      <a:pt x="270" y="3266"/>
                    </a:lnTo>
                    <a:lnTo>
                      <a:pt x="274" y="3266"/>
                    </a:lnTo>
                    <a:lnTo>
                      <a:pt x="274" y="3266"/>
                    </a:lnTo>
                    <a:lnTo>
                      <a:pt x="276" y="3266"/>
                    </a:lnTo>
                    <a:lnTo>
                      <a:pt x="276" y="3266"/>
                    </a:lnTo>
                    <a:lnTo>
                      <a:pt x="276" y="3258"/>
                    </a:lnTo>
                    <a:lnTo>
                      <a:pt x="276" y="3258"/>
                    </a:lnTo>
                    <a:lnTo>
                      <a:pt x="274" y="3254"/>
                    </a:lnTo>
                    <a:lnTo>
                      <a:pt x="270" y="3250"/>
                    </a:lnTo>
                    <a:lnTo>
                      <a:pt x="268" y="3250"/>
                    </a:lnTo>
                    <a:lnTo>
                      <a:pt x="266" y="3252"/>
                    </a:lnTo>
                    <a:lnTo>
                      <a:pt x="266" y="3252"/>
                    </a:lnTo>
                    <a:lnTo>
                      <a:pt x="268" y="3258"/>
                    </a:lnTo>
                    <a:lnTo>
                      <a:pt x="266" y="3260"/>
                    </a:lnTo>
                    <a:lnTo>
                      <a:pt x="262" y="3260"/>
                    </a:lnTo>
                    <a:lnTo>
                      <a:pt x="262" y="3260"/>
                    </a:lnTo>
                    <a:close/>
                    <a:moveTo>
                      <a:pt x="236" y="3110"/>
                    </a:moveTo>
                    <a:lnTo>
                      <a:pt x="236" y="3110"/>
                    </a:lnTo>
                    <a:lnTo>
                      <a:pt x="238" y="3110"/>
                    </a:lnTo>
                    <a:lnTo>
                      <a:pt x="240" y="3112"/>
                    </a:lnTo>
                    <a:lnTo>
                      <a:pt x="240" y="3118"/>
                    </a:lnTo>
                    <a:lnTo>
                      <a:pt x="240" y="3118"/>
                    </a:lnTo>
                    <a:lnTo>
                      <a:pt x="240" y="3126"/>
                    </a:lnTo>
                    <a:lnTo>
                      <a:pt x="242" y="3128"/>
                    </a:lnTo>
                    <a:lnTo>
                      <a:pt x="244" y="3128"/>
                    </a:lnTo>
                    <a:lnTo>
                      <a:pt x="244" y="3128"/>
                    </a:lnTo>
                    <a:lnTo>
                      <a:pt x="248" y="3124"/>
                    </a:lnTo>
                    <a:lnTo>
                      <a:pt x="250" y="3120"/>
                    </a:lnTo>
                    <a:lnTo>
                      <a:pt x="250" y="3120"/>
                    </a:lnTo>
                    <a:lnTo>
                      <a:pt x="244" y="3108"/>
                    </a:lnTo>
                    <a:lnTo>
                      <a:pt x="240" y="3102"/>
                    </a:lnTo>
                    <a:lnTo>
                      <a:pt x="240" y="3096"/>
                    </a:lnTo>
                    <a:lnTo>
                      <a:pt x="240" y="3096"/>
                    </a:lnTo>
                    <a:lnTo>
                      <a:pt x="238" y="3090"/>
                    </a:lnTo>
                    <a:lnTo>
                      <a:pt x="236" y="3088"/>
                    </a:lnTo>
                    <a:lnTo>
                      <a:pt x="232" y="3090"/>
                    </a:lnTo>
                    <a:lnTo>
                      <a:pt x="232" y="3090"/>
                    </a:lnTo>
                    <a:lnTo>
                      <a:pt x="230" y="3094"/>
                    </a:lnTo>
                    <a:lnTo>
                      <a:pt x="230" y="3098"/>
                    </a:lnTo>
                    <a:lnTo>
                      <a:pt x="232" y="3100"/>
                    </a:lnTo>
                    <a:lnTo>
                      <a:pt x="232" y="3104"/>
                    </a:lnTo>
                    <a:lnTo>
                      <a:pt x="232" y="3104"/>
                    </a:lnTo>
                    <a:lnTo>
                      <a:pt x="230" y="3108"/>
                    </a:lnTo>
                    <a:lnTo>
                      <a:pt x="230" y="3110"/>
                    </a:lnTo>
                    <a:lnTo>
                      <a:pt x="232" y="3110"/>
                    </a:lnTo>
                    <a:lnTo>
                      <a:pt x="236" y="3110"/>
                    </a:lnTo>
                    <a:lnTo>
                      <a:pt x="236" y="3110"/>
                    </a:lnTo>
                    <a:close/>
                    <a:moveTo>
                      <a:pt x="284" y="3278"/>
                    </a:moveTo>
                    <a:lnTo>
                      <a:pt x="284" y="3278"/>
                    </a:lnTo>
                    <a:lnTo>
                      <a:pt x="284" y="3276"/>
                    </a:lnTo>
                    <a:lnTo>
                      <a:pt x="284" y="3270"/>
                    </a:lnTo>
                    <a:lnTo>
                      <a:pt x="282" y="3264"/>
                    </a:lnTo>
                    <a:lnTo>
                      <a:pt x="280" y="3260"/>
                    </a:lnTo>
                    <a:lnTo>
                      <a:pt x="280" y="3260"/>
                    </a:lnTo>
                    <a:lnTo>
                      <a:pt x="278" y="3264"/>
                    </a:lnTo>
                    <a:lnTo>
                      <a:pt x="278" y="3270"/>
                    </a:lnTo>
                    <a:lnTo>
                      <a:pt x="280" y="3276"/>
                    </a:lnTo>
                    <a:lnTo>
                      <a:pt x="282" y="3278"/>
                    </a:lnTo>
                    <a:lnTo>
                      <a:pt x="284" y="3278"/>
                    </a:lnTo>
                    <a:lnTo>
                      <a:pt x="284" y="3278"/>
                    </a:lnTo>
                    <a:close/>
                    <a:moveTo>
                      <a:pt x="304" y="3362"/>
                    </a:moveTo>
                    <a:lnTo>
                      <a:pt x="304" y="3362"/>
                    </a:lnTo>
                    <a:lnTo>
                      <a:pt x="304" y="3358"/>
                    </a:lnTo>
                    <a:lnTo>
                      <a:pt x="304" y="3356"/>
                    </a:lnTo>
                    <a:lnTo>
                      <a:pt x="306" y="3354"/>
                    </a:lnTo>
                    <a:lnTo>
                      <a:pt x="304" y="3352"/>
                    </a:lnTo>
                    <a:lnTo>
                      <a:pt x="304" y="3352"/>
                    </a:lnTo>
                    <a:lnTo>
                      <a:pt x="302" y="3350"/>
                    </a:lnTo>
                    <a:lnTo>
                      <a:pt x="300" y="3350"/>
                    </a:lnTo>
                    <a:lnTo>
                      <a:pt x="294" y="3356"/>
                    </a:lnTo>
                    <a:lnTo>
                      <a:pt x="294" y="3356"/>
                    </a:lnTo>
                    <a:lnTo>
                      <a:pt x="292" y="3360"/>
                    </a:lnTo>
                    <a:lnTo>
                      <a:pt x="292" y="3362"/>
                    </a:lnTo>
                    <a:lnTo>
                      <a:pt x="296" y="3368"/>
                    </a:lnTo>
                    <a:lnTo>
                      <a:pt x="296" y="3368"/>
                    </a:lnTo>
                    <a:lnTo>
                      <a:pt x="298" y="3368"/>
                    </a:lnTo>
                    <a:lnTo>
                      <a:pt x="300" y="3368"/>
                    </a:lnTo>
                    <a:lnTo>
                      <a:pt x="302" y="3366"/>
                    </a:lnTo>
                    <a:lnTo>
                      <a:pt x="304" y="3362"/>
                    </a:lnTo>
                    <a:lnTo>
                      <a:pt x="304" y="3362"/>
                    </a:lnTo>
                    <a:close/>
                    <a:moveTo>
                      <a:pt x="262" y="3320"/>
                    </a:moveTo>
                    <a:lnTo>
                      <a:pt x="262" y="3320"/>
                    </a:lnTo>
                    <a:lnTo>
                      <a:pt x="260" y="3330"/>
                    </a:lnTo>
                    <a:lnTo>
                      <a:pt x="258" y="3332"/>
                    </a:lnTo>
                    <a:lnTo>
                      <a:pt x="260" y="3330"/>
                    </a:lnTo>
                    <a:lnTo>
                      <a:pt x="260" y="3330"/>
                    </a:lnTo>
                    <a:lnTo>
                      <a:pt x="264" y="3328"/>
                    </a:lnTo>
                    <a:lnTo>
                      <a:pt x="268" y="3320"/>
                    </a:lnTo>
                    <a:lnTo>
                      <a:pt x="268" y="3320"/>
                    </a:lnTo>
                    <a:lnTo>
                      <a:pt x="268" y="3316"/>
                    </a:lnTo>
                    <a:lnTo>
                      <a:pt x="266" y="3314"/>
                    </a:lnTo>
                    <a:lnTo>
                      <a:pt x="264" y="3314"/>
                    </a:lnTo>
                    <a:lnTo>
                      <a:pt x="262" y="3320"/>
                    </a:lnTo>
                    <a:lnTo>
                      <a:pt x="262" y="3320"/>
                    </a:lnTo>
                    <a:close/>
                    <a:moveTo>
                      <a:pt x="276" y="3112"/>
                    </a:moveTo>
                    <a:lnTo>
                      <a:pt x="276" y="3112"/>
                    </a:lnTo>
                    <a:lnTo>
                      <a:pt x="286" y="3114"/>
                    </a:lnTo>
                    <a:lnTo>
                      <a:pt x="288" y="3114"/>
                    </a:lnTo>
                    <a:lnTo>
                      <a:pt x="290" y="3112"/>
                    </a:lnTo>
                    <a:lnTo>
                      <a:pt x="290" y="3112"/>
                    </a:lnTo>
                    <a:lnTo>
                      <a:pt x="284" y="3110"/>
                    </a:lnTo>
                    <a:lnTo>
                      <a:pt x="276" y="3102"/>
                    </a:lnTo>
                    <a:lnTo>
                      <a:pt x="276" y="3102"/>
                    </a:lnTo>
                    <a:lnTo>
                      <a:pt x="270" y="3096"/>
                    </a:lnTo>
                    <a:lnTo>
                      <a:pt x="270" y="3098"/>
                    </a:lnTo>
                    <a:lnTo>
                      <a:pt x="270" y="3102"/>
                    </a:lnTo>
                    <a:lnTo>
                      <a:pt x="270" y="3102"/>
                    </a:lnTo>
                    <a:lnTo>
                      <a:pt x="272" y="3108"/>
                    </a:lnTo>
                    <a:lnTo>
                      <a:pt x="276" y="3112"/>
                    </a:lnTo>
                    <a:lnTo>
                      <a:pt x="276" y="3112"/>
                    </a:lnTo>
                    <a:close/>
                    <a:moveTo>
                      <a:pt x="274" y="3270"/>
                    </a:moveTo>
                    <a:lnTo>
                      <a:pt x="274" y="3270"/>
                    </a:lnTo>
                    <a:lnTo>
                      <a:pt x="272" y="3270"/>
                    </a:lnTo>
                    <a:lnTo>
                      <a:pt x="270" y="3272"/>
                    </a:lnTo>
                    <a:lnTo>
                      <a:pt x="270" y="3274"/>
                    </a:lnTo>
                    <a:lnTo>
                      <a:pt x="272" y="3276"/>
                    </a:lnTo>
                    <a:lnTo>
                      <a:pt x="272" y="3276"/>
                    </a:lnTo>
                    <a:lnTo>
                      <a:pt x="274" y="3278"/>
                    </a:lnTo>
                    <a:lnTo>
                      <a:pt x="276" y="3276"/>
                    </a:lnTo>
                    <a:lnTo>
                      <a:pt x="276" y="3272"/>
                    </a:lnTo>
                    <a:lnTo>
                      <a:pt x="274" y="3270"/>
                    </a:lnTo>
                    <a:lnTo>
                      <a:pt x="274" y="3270"/>
                    </a:lnTo>
                    <a:close/>
                    <a:moveTo>
                      <a:pt x="246" y="3090"/>
                    </a:moveTo>
                    <a:lnTo>
                      <a:pt x="246" y="3090"/>
                    </a:lnTo>
                    <a:lnTo>
                      <a:pt x="250" y="3090"/>
                    </a:lnTo>
                    <a:lnTo>
                      <a:pt x="252" y="3090"/>
                    </a:lnTo>
                    <a:lnTo>
                      <a:pt x="254" y="3092"/>
                    </a:lnTo>
                    <a:lnTo>
                      <a:pt x="258" y="3092"/>
                    </a:lnTo>
                    <a:lnTo>
                      <a:pt x="258" y="3092"/>
                    </a:lnTo>
                    <a:lnTo>
                      <a:pt x="260" y="3090"/>
                    </a:lnTo>
                    <a:lnTo>
                      <a:pt x="260" y="3084"/>
                    </a:lnTo>
                    <a:lnTo>
                      <a:pt x="260" y="3080"/>
                    </a:lnTo>
                    <a:lnTo>
                      <a:pt x="260" y="3076"/>
                    </a:lnTo>
                    <a:lnTo>
                      <a:pt x="260" y="3076"/>
                    </a:lnTo>
                    <a:lnTo>
                      <a:pt x="258" y="3078"/>
                    </a:lnTo>
                    <a:lnTo>
                      <a:pt x="256" y="3080"/>
                    </a:lnTo>
                    <a:lnTo>
                      <a:pt x="252" y="3084"/>
                    </a:lnTo>
                    <a:lnTo>
                      <a:pt x="248" y="3086"/>
                    </a:lnTo>
                    <a:lnTo>
                      <a:pt x="248" y="3086"/>
                    </a:lnTo>
                    <a:lnTo>
                      <a:pt x="244" y="3086"/>
                    </a:lnTo>
                    <a:lnTo>
                      <a:pt x="242" y="3088"/>
                    </a:lnTo>
                    <a:lnTo>
                      <a:pt x="242" y="3090"/>
                    </a:lnTo>
                    <a:lnTo>
                      <a:pt x="246" y="3090"/>
                    </a:lnTo>
                    <a:lnTo>
                      <a:pt x="246" y="3090"/>
                    </a:lnTo>
                    <a:close/>
                    <a:moveTo>
                      <a:pt x="248" y="3074"/>
                    </a:moveTo>
                    <a:lnTo>
                      <a:pt x="248" y="3074"/>
                    </a:lnTo>
                    <a:lnTo>
                      <a:pt x="246" y="3072"/>
                    </a:lnTo>
                    <a:lnTo>
                      <a:pt x="244" y="3072"/>
                    </a:lnTo>
                    <a:lnTo>
                      <a:pt x="242" y="3074"/>
                    </a:lnTo>
                    <a:lnTo>
                      <a:pt x="244" y="3078"/>
                    </a:lnTo>
                    <a:lnTo>
                      <a:pt x="244" y="3078"/>
                    </a:lnTo>
                    <a:lnTo>
                      <a:pt x="246" y="3080"/>
                    </a:lnTo>
                    <a:lnTo>
                      <a:pt x="248" y="3078"/>
                    </a:lnTo>
                    <a:lnTo>
                      <a:pt x="250" y="3076"/>
                    </a:lnTo>
                    <a:lnTo>
                      <a:pt x="248" y="3074"/>
                    </a:lnTo>
                    <a:lnTo>
                      <a:pt x="248" y="3074"/>
                    </a:lnTo>
                    <a:close/>
                    <a:moveTo>
                      <a:pt x="252" y="3118"/>
                    </a:moveTo>
                    <a:lnTo>
                      <a:pt x="252" y="3118"/>
                    </a:lnTo>
                    <a:lnTo>
                      <a:pt x="252" y="3120"/>
                    </a:lnTo>
                    <a:lnTo>
                      <a:pt x="254" y="3122"/>
                    </a:lnTo>
                    <a:lnTo>
                      <a:pt x="266" y="3128"/>
                    </a:lnTo>
                    <a:lnTo>
                      <a:pt x="266" y="3128"/>
                    </a:lnTo>
                    <a:lnTo>
                      <a:pt x="272" y="3128"/>
                    </a:lnTo>
                    <a:lnTo>
                      <a:pt x="274" y="3124"/>
                    </a:lnTo>
                    <a:lnTo>
                      <a:pt x="274" y="3124"/>
                    </a:lnTo>
                    <a:lnTo>
                      <a:pt x="274" y="3124"/>
                    </a:lnTo>
                    <a:lnTo>
                      <a:pt x="274" y="3124"/>
                    </a:lnTo>
                    <a:lnTo>
                      <a:pt x="272" y="3124"/>
                    </a:lnTo>
                    <a:lnTo>
                      <a:pt x="270" y="3122"/>
                    </a:lnTo>
                    <a:lnTo>
                      <a:pt x="270" y="3122"/>
                    </a:lnTo>
                    <a:lnTo>
                      <a:pt x="268" y="3118"/>
                    </a:lnTo>
                    <a:lnTo>
                      <a:pt x="270" y="3116"/>
                    </a:lnTo>
                    <a:lnTo>
                      <a:pt x="270" y="3114"/>
                    </a:lnTo>
                    <a:lnTo>
                      <a:pt x="270" y="3108"/>
                    </a:lnTo>
                    <a:lnTo>
                      <a:pt x="270" y="3108"/>
                    </a:lnTo>
                    <a:lnTo>
                      <a:pt x="266" y="3100"/>
                    </a:lnTo>
                    <a:lnTo>
                      <a:pt x="264" y="3098"/>
                    </a:lnTo>
                    <a:lnTo>
                      <a:pt x="262" y="3102"/>
                    </a:lnTo>
                    <a:lnTo>
                      <a:pt x="262" y="3102"/>
                    </a:lnTo>
                    <a:lnTo>
                      <a:pt x="262" y="3106"/>
                    </a:lnTo>
                    <a:lnTo>
                      <a:pt x="262" y="3108"/>
                    </a:lnTo>
                    <a:lnTo>
                      <a:pt x="262" y="3114"/>
                    </a:lnTo>
                    <a:lnTo>
                      <a:pt x="262" y="3114"/>
                    </a:lnTo>
                    <a:lnTo>
                      <a:pt x="262" y="3116"/>
                    </a:lnTo>
                    <a:lnTo>
                      <a:pt x="260" y="3114"/>
                    </a:lnTo>
                    <a:lnTo>
                      <a:pt x="258" y="3114"/>
                    </a:lnTo>
                    <a:lnTo>
                      <a:pt x="252" y="3118"/>
                    </a:lnTo>
                    <a:lnTo>
                      <a:pt x="252" y="3118"/>
                    </a:lnTo>
                    <a:close/>
                    <a:moveTo>
                      <a:pt x="246" y="3228"/>
                    </a:moveTo>
                    <a:lnTo>
                      <a:pt x="246" y="3228"/>
                    </a:lnTo>
                    <a:lnTo>
                      <a:pt x="248" y="3228"/>
                    </a:lnTo>
                    <a:lnTo>
                      <a:pt x="250" y="3228"/>
                    </a:lnTo>
                    <a:lnTo>
                      <a:pt x="252" y="3228"/>
                    </a:lnTo>
                    <a:lnTo>
                      <a:pt x="254" y="3228"/>
                    </a:lnTo>
                    <a:lnTo>
                      <a:pt x="254" y="3228"/>
                    </a:lnTo>
                    <a:lnTo>
                      <a:pt x="256" y="3224"/>
                    </a:lnTo>
                    <a:lnTo>
                      <a:pt x="256" y="3222"/>
                    </a:lnTo>
                    <a:lnTo>
                      <a:pt x="256" y="3222"/>
                    </a:lnTo>
                    <a:lnTo>
                      <a:pt x="258" y="3218"/>
                    </a:lnTo>
                    <a:lnTo>
                      <a:pt x="258" y="3218"/>
                    </a:lnTo>
                    <a:lnTo>
                      <a:pt x="262" y="3216"/>
                    </a:lnTo>
                    <a:lnTo>
                      <a:pt x="262" y="3214"/>
                    </a:lnTo>
                    <a:lnTo>
                      <a:pt x="260" y="3214"/>
                    </a:lnTo>
                    <a:lnTo>
                      <a:pt x="256" y="3216"/>
                    </a:lnTo>
                    <a:lnTo>
                      <a:pt x="256" y="3216"/>
                    </a:lnTo>
                    <a:lnTo>
                      <a:pt x="254" y="3216"/>
                    </a:lnTo>
                    <a:lnTo>
                      <a:pt x="254" y="3214"/>
                    </a:lnTo>
                    <a:lnTo>
                      <a:pt x="254" y="3212"/>
                    </a:lnTo>
                    <a:lnTo>
                      <a:pt x="252" y="3212"/>
                    </a:lnTo>
                    <a:lnTo>
                      <a:pt x="252" y="3212"/>
                    </a:lnTo>
                    <a:lnTo>
                      <a:pt x="248" y="3210"/>
                    </a:lnTo>
                    <a:lnTo>
                      <a:pt x="246" y="3210"/>
                    </a:lnTo>
                    <a:lnTo>
                      <a:pt x="242" y="3208"/>
                    </a:lnTo>
                    <a:lnTo>
                      <a:pt x="238" y="3208"/>
                    </a:lnTo>
                    <a:lnTo>
                      <a:pt x="238" y="3208"/>
                    </a:lnTo>
                    <a:lnTo>
                      <a:pt x="236" y="3208"/>
                    </a:lnTo>
                    <a:lnTo>
                      <a:pt x="236" y="3210"/>
                    </a:lnTo>
                    <a:lnTo>
                      <a:pt x="240" y="3212"/>
                    </a:lnTo>
                    <a:lnTo>
                      <a:pt x="244" y="3216"/>
                    </a:lnTo>
                    <a:lnTo>
                      <a:pt x="244" y="3216"/>
                    </a:lnTo>
                    <a:lnTo>
                      <a:pt x="244" y="3218"/>
                    </a:lnTo>
                    <a:lnTo>
                      <a:pt x="244" y="3218"/>
                    </a:lnTo>
                    <a:lnTo>
                      <a:pt x="242" y="3218"/>
                    </a:lnTo>
                    <a:lnTo>
                      <a:pt x="240" y="3218"/>
                    </a:lnTo>
                    <a:lnTo>
                      <a:pt x="236" y="3218"/>
                    </a:lnTo>
                    <a:lnTo>
                      <a:pt x="232" y="3222"/>
                    </a:lnTo>
                    <a:lnTo>
                      <a:pt x="232" y="3222"/>
                    </a:lnTo>
                    <a:lnTo>
                      <a:pt x="232" y="3224"/>
                    </a:lnTo>
                    <a:lnTo>
                      <a:pt x="234" y="3226"/>
                    </a:lnTo>
                    <a:lnTo>
                      <a:pt x="238" y="3226"/>
                    </a:lnTo>
                    <a:lnTo>
                      <a:pt x="242" y="3226"/>
                    </a:lnTo>
                    <a:lnTo>
                      <a:pt x="242" y="3226"/>
                    </a:lnTo>
                    <a:lnTo>
                      <a:pt x="242" y="3226"/>
                    </a:lnTo>
                    <a:lnTo>
                      <a:pt x="242" y="3226"/>
                    </a:lnTo>
                    <a:lnTo>
                      <a:pt x="240" y="3230"/>
                    </a:lnTo>
                    <a:lnTo>
                      <a:pt x="240" y="3232"/>
                    </a:lnTo>
                    <a:lnTo>
                      <a:pt x="242" y="3232"/>
                    </a:lnTo>
                    <a:lnTo>
                      <a:pt x="246" y="3228"/>
                    </a:lnTo>
                    <a:lnTo>
                      <a:pt x="246" y="3228"/>
                    </a:lnTo>
                    <a:close/>
                    <a:moveTo>
                      <a:pt x="256" y="3248"/>
                    </a:moveTo>
                    <a:lnTo>
                      <a:pt x="256" y="3248"/>
                    </a:lnTo>
                    <a:lnTo>
                      <a:pt x="254" y="3250"/>
                    </a:lnTo>
                    <a:lnTo>
                      <a:pt x="254" y="3252"/>
                    </a:lnTo>
                    <a:lnTo>
                      <a:pt x="258" y="3256"/>
                    </a:lnTo>
                    <a:lnTo>
                      <a:pt x="262" y="3258"/>
                    </a:lnTo>
                    <a:lnTo>
                      <a:pt x="262" y="3258"/>
                    </a:lnTo>
                    <a:lnTo>
                      <a:pt x="264" y="3258"/>
                    </a:lnTo>
                    <a:lnTo>
                      <a:pt x="264" y="3256"/>
                    </a:lnTo>
                    <a:lnTo>
                      <a:pt x="262" y="3252"/>
                    </a:lnTo>
                    <a:lnTo>
                      <a:pt x="260" y="3248"/>
                    </a:lnTo>
                    <a:lnTo>
                      <a:pt x="258" y="3248"/>
                    </a:lnTo>
                    <a:lnTo>
                      <a:pt x="256" y="3248"/>
                    </a:lnTo>
                    <a:lnTo>
                      <a:pt x="256" y="3248"/>
                    </a:lnTo>
                    <a:close/>
                    <a:moveTo>
                      <a:pt x="254" y="3160"/>
                    </a:moveTo>
                    <a:lnTo>
                      <a:pt x="254" y="3160"/>
                    </a:lnTo>
                    <a:lnTo>
                      <a:pt x="254" y="3160"/>
                    </a:lnTo>
                    <a:lnTo>
                      <a:pt x="256" y="3160"/>
                    </a:lnTo>
                    <a:lnTo>
                      <a:pt x="256" y="3154"/>
                    </a:lnTo>
                    <a:lnTo>
                      <a:pt x="256" y="3154"/>
                    </a:lnTo>
                    <a:lnTo>
                      <a:pt x="254" y="3150"/>
                    </a:lnTo>
                    <a:lnTo>
                      <a:pt x="250" y="3150"/>
                    </a:lnTo>
                    <a:lnTo>
                      <a:pt x="246" y="3152"/>
                    </a:lnTo>
                    <a:lnTo>
                      <a:pt x="242" y="3154"/>
                    </a:lnTo>
                    <a:lnTo>
                      <a:pt x="242" y="3154"/>
                    </a:lnTo>
                    <a:lnTo>
                      <a:pt x="242" y="3156"/>
                    </a:lnTo>
                    <a:lnTo>
                      <a:pt x="246" y="3156"/>
                    </a:lnTo>
                    <a:lnTo>
                      <a:pt x="248" y="3158"/>
                    </a:lnTo>
                    <a:lnTo>
                      <a:pt x="254" y="3160"/>
                    </a:lnTo>
                    <a:lnTo>
                      <a:pt x="254" y="3160"/>
                    </a:lnTo>
                    <a:close/>
                    <a:moveTo>
                      <a:pt x="248" y="3146"/>
                    </a:moveTo>
                    <a:lnTo>
                      <a:pt x="248" y="3146"/>
                    </a:lnTo>
                    <a:lnTo>
                      <a:pt x="250" y="3144"/>
                    </a:lnTo>
                    <a:lnTo>
                      <a:pt x="250" y="3142"/>
                    </a:lnTo>
                    <a:lnTo>
                      <a:pt x="244" y="3136"/>
                    </a:lnTo>
                    <a:lnTo>
                      <a:pt x="244" y="3136"/>
                    </a:lnTo>
                    <a:lnTo>
                      <a:pt x="242" y="3136"/>
                    </a:lnTo>
                    <a:lnTo>
                      <a:pt x="242" y="3136"/>
                    </a:lnTo>
                    <a:lnTo>
                      <a:pt x="244" y="3142"/>
                    </a:lnTo>
                    <a:lnTo>
                      <a:pt x="244" y="3142"/>
                    </a:lnTo>
                    <a:lnTo>
                      <a:pt x="246" y="3146"/>
                    </a:lnTo>
                    <a:lnTo>
                      <a:pt x="246" y="3146"/>
                    </a:lnTo>
                    <a:lnTo>
                      <a:pt x="248" y="3146"/>
                    </a:lnTo>
                    <a:lnTo>
                      <a:pt x="248" y="3146"/>
                    </a:lnTo>
                    <a:close/>
                    <a:moveTo>
                      <a:pt x="282" y="3246"/>
                    </a:moveTo>
                    <a:lnTo>
                      <a:pt x="282" y="3246"/>
                    </a:lnTo>
                    <a:lnTo>
                      <a:pt x="280" y="3242"/>
                    </a:lnTo>
                    <a:lnTo>
                      <a:pt x="278" y="3238"/>
                    </a:lnTo>
                    <a:lnTo>
                      <a:pt x="278" y="3236"/>
                    </a:lnTo>
                    <a:lnTo>
                      <a:pt x="276" y="3234"/>
                    </a:lnTo>
                    <a:lnTo>
                      <a:pt x="276" y="3234"/>
                    </a:lnTo>
                    <a:lnTo>
                      <a:pt x="272" y="3232"/>
                    </a:lnTo>
                    <a:lnTo>
                      <a:pt x="270" y="3232"/>
                    </a:lnTo>
                    <a:lnTo>
                      <a:pt x="270" y="3234"/>
                    </a:lnTo>
                    <a:lnTo>
                      <a:pt x="272" y="3238"/>
                    </a:lnTo>
                    <a:lnTo>
                      <a:pt x="272" y="3238"/>
                    </a:lnTo>
                    <a:lnTo>
                      <a:pt x="274" y="3240"/>
                    </a:lnTo>
                    <a:lnTo>
                      <a:pt x="272" y="3242"/>
                    </a:lnTo>
                    <a:lnTo>
                      <a:pt x="272" y="3244"/>
                    </a:lnTo>
                    <a:lnTo>
                      <a:pt x="276" y="3252"/>
                    </a:lnTo>
                    <a:lnTo>
                      <a:pt x="276" y="3252"/>
                    </a:lnTo>
                    <a:lnTo>
                      <a:pt x="280" y="3256"/>
                    </a:lnTo>
                    <a:lnTo>
                      <a:pt x="284" y="3256"/>
                    </a:lnTo>
                    <a:lnTo>
                      <a:pt x="284" y="3256"/>
                    </a:lnTo>
                    <a:lnTo>
                      <a:pt x="286" y="3254"/>
                    </a:lnTo>
                    <a:lnTo>
                      <a:pt x="286" y="3252"/>
                    </a:lnTo>
                    <a:lnTo>
                      <a:pt x="282" y="3246"/>
                    </a:lnTo>
                    <a:lnTo>
                      <a:pt x="282" y="3246"/>
                    </a:lnTo>
                    <a:close/>
                    <a:moveTo>
                      <a:pt x="234" y="3130"/>
                    </a:moveTo>
                    <a:lnTo>
                      <a:pt x="234" y="3130"/>
                    </a:lnTo>
                    <a:lnTo>
                      <a:pt x="228" y="3130"/>
                    </a:lnTo>
                    <a:lnTo>
                      <a:pt x="226" y="3132"/>
                    </a:lnTo>
                    <a:lnTo>
                      <a:pt x="226" y="3134"/>
                    </a:lnTo>
                    <a:lnTo>
                      <a:pt x="226" y="3134"/>
                    </a:lnTo>
                    <a:lnTo>
                      <a:pt x="228" y="3134"/>
                    </a:lnTo>
                    <a:lnTo>
                      <a:pt x="236" y="3132"/>
                    </a:lnTo>
                    <a:lnTo>
                      <a:pt x="236" y="3132"/>
                    </a:lnTo>
                    <a:lnTo>
                      <a:pt x="240" y="3132"/>
                    </a:lnTo>
                    <a:lnTo>
                      <a:pt x="240" y="3130"/>
                    </a:lnTo>
                    <a:lnTo>
                      <a:pt x="238" y="3128"/>
                    </a:lnTo>
                    <a:lnTo>
                      <a:pt x="234" y="3130"/>
                    </a:lnTo>
                    <a:lnTo>
                      <a:pt x="234" y="3130"/>
                    </a:lnTo>
                    <a:close/>
                    <a:moveTo>
                      <a:pt x="224" y="3120"/>
                    </a:moveTo>
                    <a:lnTo>
                      <a:pt x="224" y="3120"/>
                    </a:lnTo>
                    <a:lnTo>
                      <a:pt x="226" y="3124"/>
                    </a:lnTo>
                    <a:lnTo>
                      <a:pt x="228" y="3126"/>
                    </a:lnTo>
                    <a:lnTo>
                      <a:pt x="230" y="3128"/>
                    </a:lnTo>
                    <a:lnTo>
                      <a:pt x="236" y="3126"/>
                    </a:lnTo>
                    <a:lnTo>
                      <a:pt x="236" y="3126"/>
                    </a:lnTo>
                    <a:lnTo>
                      <a:pt x="238" y="3124"/>
                    </a:lnTo>
                    <a:lnTo>
                      <a:pt x="236" y="3120"/>
                    </a:lnTo>
                    <a:lnTo>
                      <a:pt x="236" y="3116"/>
                    </a:lnTo>
                    <a:lnTo>
                      <a:pt x="234" y="3114"/>
                    </a:lnTo>
                    <a:lnTo>
                      <a:pt x="234" y="3114"/>
                    </a:lnTo>
                    <a:lnTo>
                      <a:pt x="230" y="3116"/>
                    </a:lnTo>
                    <a:lnTo>
                      <a:pt x="228" y="3116"/>
                    </a:lnTo>
                    <a:lnTo>
                      <a:pt x="226" y="3116"/>
                    </a:lnTo>
                    <a:lnTo>
                      <a:pt x="224" y="3120"/>
                    </a:lnTo>
                    <a:lnTo>
                      <a:pt x="224" y="3120"/>
                    </a:lnTo>
                    <a:close/>
                    <a:moveTo>
                      <a:pt x="232" y="3160"/>
                    </a:moveTo>
                    <a:lnTo>
                      <a:pt x="232" y="3160"/>
                    </a:lnTo>
                    <a:lnTo>
                      <a:pt x="234" y="3158"/>
                    </a:lnTo>
                    <a:lnTo>
                      <a:pt x="236" y="3156"/>
                    </a:lnTo>
                    <a:lnTo>
                      <a:pt x="238" y="3154"/>
                    </a:lnTo>
                    <a:lnTo>
                      <a:pt x="238" y="3152"/>
                    </a:lnTo>
                    <a:lnTo>
                      <a:pt x="238" y="3152"/>
                    </a:lnTo>
                    <a:lnTo>
                      <a:pt x="236" y="3148"/>
                    </a:lnTo>
                    <a:lnTo>
                      <a:pt x="236" y="3150"/>
                    </a:lnTo>
                    <a:lnTo>
                      <a:pt x="234" y="3152"/>
                    </a:lnTo>
                    <a:lnTo>
                      <a:pt x="230" y="3154"/>
                    </a:lnTo>
                    <a:lnTo>
                      <a:pt x="230" y="3154"/>
                    </a:lnTo>
                    <a:lnTo>
                      <a:pt x="228" y="3156"/>
                    </a:lnTo>
                    <a:lnTo>
                      <a:pt x="226" y="3158"/>
                    </a:lnTo>
                    <a:lnTo>
                      <a:pt x="226" y="3160"/>
                    </a:lnTo>
                    <a:lnTo>
                      <a:pt x="228" y="3162"/>
                    </a:lnTo>
                    <a:lnTo>
                      <a:pt x="228" y="3162"/>
                    </a:lnTo>
                    <a:lnTo>
                      <a:pt x="232" y="3164"/>
                    </a:lnTo>
                    <a:lnTo>
                      <a:pt x="232" y="3160"/>
                    </a:lnTo>
                    <a:lnTo>
                      <a:pt x="232" y="3160"/>
                    </a:lnTo>
                    <a:close/>
                    <a:moveTo>
                      <a:pt x="290" y="3322"/>
                    </a:moveTo>
                    <a:lnTo>
                      <a:pt x="290" y="3322"/>
                    </a:lnTo>
                    <a:lnTo>
                      <a:pt x="290" y="3324"/>
                    </a:lnTo>
                    <a:lnTo>
                      <a:pt x="292" y="3326"/>
                    </a:lnTo>
                    <a:lnTo>
                      <a:pt x="300" y="3334"/>
                    </a:lnTo>
                    <a:lnTo>
                      <a:pt x="300" y="3334"/>
                    </a:lnTo>
                    <a:lnTo>
                      <a:pt x="304" y="3338"/>
                    </a:lnTo>
                    <a:lnTo>
                      <a:pt x="304" y="3338"/>
                    </a:lnTo>
                    <a:lnTo>
                      <a:pt x="302" y="3332"/>
                    </a:lnTo>
                    <a:lnTo>
                      <a:pt x="302" y="3332"/>
                    </a:lnTo>
                    <a:lnTo>
                      <a:pt x="296" y="3324"/>
                    </a:lnTo>
                    <a:lnTo>
                      <a:pt x="292" y="3322"/>
                    </a:lnTo>
                    <a:lnTo>
                      <a:pt x="292" y="3322"/>
                    </a:lnTo>
                    <a:lnTo>
                      <a:pt x="290" y="3322"/>
                    </a:lnTo>
                    <a:lnTo>
                      <a:pt x="290" y="3322"/>
                    </a:lnTo>
                    <a:close/>
                    <a:moveTo>
                      <a:pt x="246" y="3094"/>
                    </a:moveTo>
                    <a:lnTo>
                      <a:pt x="246" y="3094"/>
                    </a:lnTo>
                    <a:lnTo>
                      <a:pt x="244" y="3094"/>
                    </a:lnTo>
                    <a:lnTo>
                      <a:pt x="242" y="3094"/>
                    </a:lnTo>
                    <a:lnTo>
                      <a:pt x="242" y="3098"/>
                    </a:lnTo>
                    <a:lnTo>
                      <a:pt x="250" y="3112"/>
                    </a:lnTo>
                    <a:lnTo>
                      <a:pt x="250" y="3112"/>
                    </a:lnTo>
                    <a:lnTo>
                      <a:pt x="252" y="3114"/>
                    </a:lnTo>
                    <a:lnTo>
                      <a:pt x="254" y="3112"/>
                    </a:lnTo>
                    <a:lnTo>
                      <a:pt x="256" y="3110"/>
                    </a:lnTo>
                    <a:lnTo>
                      <a:pt x="256" y="3110"/>
                    </a:lnTo>
                    <a:lnTo>
                      <a:pt x="258" y="3110"/>
                    </a:lnTo>
                    <a:lnTo>
                      <a:pt x="258" y="3108"/>
                    </a:lnTo>
                    <a:lnTo>
                      <a:pt x="258" y="3102"/>
                    </a:lnTo>
                    <a:lnTo>
                      <a:pt x="258" y="3102"/>
                    </a:lnTo>
                    <a:lnTo>
                      <a:pt x="258" y="3098"/>
                    </a:lnTo>
                    <a:lnTo>
                      <a:pt x="256" y="3096"/>
                    </a:lnTo>
                    <a:lnTo>
                      <a:pt x="246" y="3094"/>
                    </a:lnTo>
                    <a:lnTo>
                      <a:pt x="246" y="3094"/>
                    </a:lnTo>
                    <a:close/>
                    <a:moveTo>
                      <a:pt x="294" y="3282"/>
                    </a:moveTo>
                    <a:lnTo>
                      <a:pt x="294" y="3282"/>
                    </a:lnTo>
                    <a:lnTo>
                      <a:pt x="294" y="3280"/>
                    </a:lnTo>
                    <a:lnTo>
                      <a:pt x="290" y="3278"/>
                    </a:lnTo>
                    <a:lnTo>
                      <a:pt x="288" y="3280"/>
                    </a:lnTo>
                    <a:lnTo>
                      <a:pt x="288" y="3284"/>
                    </a:lnTo>
                    <a:lnTo>
                      <a:pt x="288" y="3284"/>
                    </a:lnTo>
                    <a:lnTo>
                      <a:pt x="290" y="3286"/>
                    </a:lnTo>
                    <a:lnTo>
                      <a:pt x="292" y="3286"/>
                    </a:lnTo>
                    <a:lnTo>
                      <a:pt x="294" y="3284"/>
                    </a:lnTo>
                    <a:lnTo>
                      <a:pt x="294" y="3282"/>
                    </a:lnTo>
                    <a:lnTo>
                      <a:pt x="294" y="3282"/>
                    </a:lnTo>
                    <a:close/>
                    <a:moveTo>
                      <a:pt x="284" y="3284"/>
                    </a:moveTo>
                    <a:lnTo>
                      <a:pt x="284" y="3284"/>
                    </a:lnTo>
                    <a:lnTo>
                      <a:pt x="282" y="3284"/>
                    </a:lnTo>
                    <a:lnTo>
                      <a:pt x="282" y="3286"/>
                    </a:lnTo>
                    <a:lnTo>
                      <a:pt x="282" y="3288"/>
                    </a:lnTo>
                    <a:lnTo>
                      <a:pt x="286" y="3292"/>
                    </a:lnTo>
                    <a:lnTo>
                      <a:pt x="286" y="3292"/>
                    </a:lnTo>
                    <a:lnTo>
                      <a:pt x="286" y="3292"/>
                    </a:lnTo>
                    <a:lnTo>
                      <a:pt x="286" y="3288"/>
                    </a:lnTo>
                    <a:lnTo>
                      <a:pt x="286" y="3286"/>
                    </a:lnTo>
                    <a:lnTo>
                      <a:pt x="284" y="3284"/>
                    </a:lnTo>
                    <a:lnTo>
                      <a:pt x="284" y="3284"/>
                    </a:lnTo>
                    <a:close/>
                    <a:moveTo>
                      <a:pt x="294" y="3312"/>
                    </a:moveTo>
                    <a:lnTo>
                      <a:pt x="294" y="3312"/>
                    </a:lnTo>
                    <a:lnTo>
                      <a:pt x="294" y="3310"/>
                    </a:lnTo>
                    <a:lnTo>
                      <a:pt x="294" y="3306"/>
                    </a:lnTo>
                    <a:lnTo>
                      <a:pt x="290" y="3298"/>
                    </a:lnTo>
                    <a:lnTo>
                      <a:pt x="290" y="3298"/>
                    </a:lnTo>
                    <a:lnTo>
                      <a:pt x="288" y="3296"/>
                    </a:lnTo>
                    <a:lnTo>
                      <a:pt x="288" y="3298"/>
                    </a:lnTo>
                    <a:lnTo>
                      <a:pt x="288" y="3302"/>
                    </a:lnTo>
                    <a:lnTo>
                      <a:pt x="286" y="3306"/>
                    </a:lnTo>
                    <a:lnTo>
                      <a:pt x="286" y="3306"/>
                    </a:lnTo>
                    <a:lnTo>
                      <a:pt x="284" y="3308"/>
                    </a:lnTo>
                    <a:lnTo>
                      <a:pt x="286" y="3312"/>
                    </a:lnTo>
                    <a:lnTo>
                      <a:pt x="290" y="3314"/>
                    </a:lnTo>
                    <a:lnTo>
                      <a:pt x="294" y="3312"/>
                    </a:lnTo>
                    <a:lnTo>
                      <a:pt x="294" y="3312"/>
                    </a:lnTo>
                    <a:close/>
                    <a:moveTo>
                      <a:pt x="240" y="3200"/>
                    </a:moveTo>
                    <a:lnTo>
                      <a:pt x="240" y="3200"/>
                    </a:lnTo>
                    <a:lnTo>
                      <a:pt x="242" y="3200"/>
                    </a:lnTo>
                    <a:lnTo>
                      <a:pt x="242" y="3200"/>
                    </a:lnTo>
                    <a:lnTo>
                      <a:pt x="242" y="3192"/>
                    </a:lnTo>
                    <a:lnTo>
                      <a:pt x="242" y="3192"/>
                    </a:lnTo>
                    <a:lnTo>
                      <a:pt x="238" y="3184"/>
                    </a:lnTo>
                    <a:lnTo>
                      <a:pt x="236" y="3184"/>
                    </a:lnTo>
                    <a:lnTo>
                      <a:pt x="234" y="3184"/>
                    </a:lnTo>
                    <a:lnTo>
                      <a:pt x="234" y="3184"/>
                    </a:lnTo>
                    <a:lnTo>
                      <a:pt x="230" y="3184"/>
                    </a:lnTo>
                    <a:lnTo>
                      <a:pt x="230" y="3186"/>
                    </a:lnTo>
                    <a:lnTo>
                      <a:pt x="230" y="3196"/>
                    </a:lnTo>
                    <a:lnTo>
                      <a:pt x="230" y="3196"/>
                    </a:lnTo>
                    <a:lnTo>
                      <a:pt x="230" y="3196"/>
                    </a:lnTo>
                    <a:lnTo>
                      <a:pt x="230" y="3196"/>
                    </a:lnTo>
                    <a:lnTo>
                      <a:pt x="236" y="3194"/>
                    </a:lnTo>
                    <a:lnTo>
                      <a:pt x="236" y="3194"/>
                    </a:lnTo>
                    <a:lnTo>
                      <a:pt x="238" y="3192"/>
                    </a:lnTo>
                    <a:lnTo>
                      <a:pt x="238" y="3194"/>
                    </a:lnTo>
                    <a:lnTo>
                      <a:pt x="238" y="3198"/>
                    </a:lnTo>
                    <a:lnTo>
                      <a:pt x="240" y="3200"/>
                    </a:lnTo>
                    <a:lnTo>
                      <a:pt x="240" y="3200"/>
                    </a:lnTo>
                    <a:close/>
                    <a:moveTo>
                      <a:pt x="236" y="3146"/>
                    </a:moveTo>
                    <a:lnTo>
                      <a:pt x="236" y="3146"/>
                    </a:lnTo>
                    <a:lnTo>
                      <a:pt x="238" y="3146"/>
                    </a:lnTo>
                    <a:lnTo>
                      <a:pt x="240" y="3148"/>
                    </a:lnTo>
                    <a:lnTo>
                      <a:pt x="242" y="3148"/>
                    </a:lnTo>
                    <a:lnTo>
                      <a:pt x="242" y="3146"/>
                    </a:lnTo>
                    <a:lnTo>
                      <a:pt x="242" y="3146"/>
                    </a:lnTo>
                    <a:lnTo>
                      <a:pt x="240" y="3142"/>
                    </a:lnTo>
                    <a:lnTo>
                      <a:pt x="236" y="3138"/>
                    </a:lnTo>
                    <a:lnTo>
                      <a:pt x="236" y="3138"/>
                    </a:lnTo>
                    <a:lnTo>
                      <a:pt x="232" y="3138"/>
                    </a:lnTo>
                    <a:lnTo>
                      <a:pt x="228" y="3138"/>
                    </a:lnTo>
                    <a:lnTo>
                      <a:pt x="224" y="3140"/>
                    </a:lnTo>
                    <a:lnTo>
                      <a:pt x="224" y="3144"/>
                    </a:lnTo>
                    <a:lnTo>
                      <a:pt x="224" y="3144"/>
                    </a:lnTo>
                    <a:lnTo>
                      <a:pt x="226" y="3146"/>
                    </a:lnTo>
                    <a:lnTo>
                      <a:pt x="230" y="3146"/>
                    </a:lnTo>
                    <a:lnTo>
                      <a:pt x="236" y="3146"/>
                    </a:lnTo>
                    <a:lnTo>
                      <a:pt x="236" y="3146"/>
                    </a:lnTo>
                    <a:close/>
                    <a:moveTo>
                      <a:pt x="292" y="2928"/>
                    </a:moveTo>
                    <a:lnTo>
                      <a:pt x="292" y="2928"/>
                    </a:lnTo>
                    <a:lnTo>
                      <a:pt x="294" y="2930"/>
                    </a:lnTo>
                    <a:lnTo>
                      <a:pt x="296" y="2930"/>
                    </a:lnTo>
                    <a:lnTo>
                      <a:pt x="298" y="2930"/>
                    </a:lnTo>
                    <a:lnTo>
                      <a:pt x="302" y="2930"/>
                    </a:lnTo>
                    <a:lnTo>
                      <a:pt x="302" y="2930"/>
                    </a:lnTo>
                    <a:lnTo>
                      <a:pt x="304" y="2930"/>
                    </a:lnTo>
                    <a:lnTo>
                      <a:pt x="306" y="2928"/>
                    </a:lnTo>
                    <a:lnTo>
                      <a:pt x="302" y="2918"/>
                    </a:lnTo>
                    <a:lnTo>
                      <a:pt x="302" y="2918"/>
                    </a:lnTo>
                    <a:lnTo>
                      <a:pt x="300" y="2916"/>
                    </a:lnTo>
                    <a:lnTo>
                      <a:pt x="298" y="2916"/>
                    </a:lnTo>
                    <a:lnTo>
                      <a:pt x="294" y="2918"/>
                    </a:lnTo>
                    <a:lnTo>
                      <a:pt x="290" y="2918"/>
                    </a:lnTo>
                    <a:lnTo>
                      <a:pt x="290" y="2918"/>
                    </a:lnTo>
                    <a:lnTo>
                      <a:pt x="286" y="2918"/>
                    </a:lnTo>
                    <a:lnTo>
                      <a:pt x="284" y="2920"/>
                    </a:lnTo>
                    <a:lnTo>
                      <a:pt x="284" y="2922"/>
                    </a:lnTo>
                    <a:lnTo>
                      <a:pt x="288" y="2924"/>
                    </a:lnTo>
                    <a:lnTo>
                      <a:pt x="288" y="2924"/>
                    </a:lnTo>
                    <a:lnTo>
                      <a:pt x="290" y="2924"/>
                    </a:lnTo>
                    <a:lnTo>
                      <a:pt x="292" y="2928"/>
                    </a:lnTo>
                    <a:lnTo>
                      <a:pt x="292" y="2928"/>
                    </a:lnTo>
                    <a:close/>
                    <a:moveTo>
                      <a:pt x="294" y="2944"/>
                    </a:moveTo>
                    <a:lnTo>
                      <a:pt x="294" y="2944"/>
                    </a:lnTo>
                    <a:lnTo>
                      <a:pt x="296" y="2944"/>
                    </a:lnTo>
                    <a:lnTo>
                      <a:pt x="298" y="2942"/>
                    </a:lnTo>
                    <a:lnTo>
                      <a:pt x="300" y="2940"/>
                    </a:lnTo>
                    <a:lnTo>
                      <a:pt x="298" y="2940"/>
                    </a:lnTo>
                    <a:lnTo>
                      <a:pt x="298" y="2940"/>
                    </a:lnTo>
                    <a:lnTo>
                      <a:pt x="292" y="2940"/>
                    </a:lnTo>
                    <a:lnTo>
                      <a:pt x="290" y="2940"/>
                    </a:lnTo>
                    <a:lnTo>
                      <a:pt x="290" y="2942"/>
                    </a:lnTo>
                    <a:lnTo>
                      <a:pt x="290" y="2942"/>
                    </a:lnTo>
                    <a:lnTo>
                      <a:pt x="288" y="2944"/>
                    </a:lnTo>
                    <a:lnTo>
                      <a:pt x="290" y="2944"/>
                    </a:lnTo>
                    <a:lnTo>
                      <a:pt x="294" y="2944"/>
                    </a:lnTo>
                    <a:lnTo>
                      <a:pt x="294" y="2944"/>
                    </a:lnTo>
                    <a:close/>
                    <a:moveTo>
                      <a:pt x="278" y="2914"/>
                    </a:moveTo>
                    <a:lnTo>
                      <a:pt x="278" y="2914"/>
                    </a:lnTo>
                    <a:lnTo>
                      <a:pt x="278" y="2916"/>
                    </a:lnTo>
                    <a:lnTo>
                      <a:pt x="282" y="2916"/>
                    </a:lnTo>
                    <a:lnTo>
                      <a:pt x="286" y="2914"/>
                    </a:lnTo>
                    <a:lnTo>
                      <a:pt x="292" y="2914"/>
                    </a:lnTo>
                    <a:lnTo>
                      <a:pt x="292" y="2914"/>
                    </a:lnTo>
                    <a:lnTo>
                      <a:pt x="294" y="2914"/>
                    </a:lnTo>
                    <a:lnTo>
                      <a:pt x="294" y="2912"/>
                    </a:lnTo>
                    <a:lnTo>
                      <a:pt x="288" y="2908"/>
                    </a:lnTo>
                    <a:lnTo>
                      <a:pt x="288" y="2908"/>
                    </a:lnTo>
                    <a:lnTo>
                      <a:pt x="286" y="2908"/>
                    </a:lnTo>
                    <a:lnTo>
                      <a:pt x="282" y="2908"/>
                    </a:lnTo>
                    <a:lnTo>
                      <a:pt x="278" y="2914"/>
                    </a:lnTo>
                    <a:lnTo>
                      <a:pt x="278" y="2914"/>
                    </a:lnTo>
                    <a:close/>
                    <a:moveTo>
                      <a:pt x="276" y="2888"/>
                    </a:moveTo>
                    <a:lnTo>
                      <a:pt x="276" y="2888"/>
                    </a:lnTo>
                    <a:lnTo>
                      <a:pt x="280" y="2886"/>
                    </a:lnTo>
                    <a:lnTo>
                      <a:pt x="282" y="2884"/>
                    </a:lnTo>
                    <a:lnTo>
                      <a:pt x="282" y="2882"/>
                    </a:lnTo>
                    <a:lnTo>
                      <a:pt x="282" y="2882"/>
                    </a:lnTo>
                    <a:lnTo>
                      <a:pt x="282" y="2880"/>
                    </a:lnTo>
                    <a:lnTo>
                      <a:pt x="278" y="2880"/>
                    </a:lnTo>
                    <a:lnTo>
                      <a:pt x="272" y="2884"/>
                    </a:lnTo>
                    <a:lnTo>
                      <a:pt x="272" y="2884"/>
                    </a:lnTo>
                    <a:lnTo>
                      <a:pt x="270" y="2884"/>
                    </a:lnTo>
                    <a:lnTo>
                      <a:pt x="270" y="2886"/>
                    </a:lnTo>
                    <a:lnTo>
                      <a:pt x="272" y="2888"/>
                    </a:lnTo>
                    <a:lnTo>
                      <a:pt x="276" y="2888"/>
                    </a:lnTo>
                    <a:lnTo>
                      <a:pt x="276" y="2888"/>
                    </a:lnTo>
                    <a:close/>
                    <a:moveTo>
                      <a:pt x="282" y="2902"/>
                    </a:moveTo>
                    <a:lnTo>
                      <a:pt x="282" y="2902"/>
                    </a:lnTo>
                    <a:lnTo>
                      <a:pt x="284" y="2902"/>
                    </a:lnTo>
                    <a:lnTo>
                      <a:pt x="290" y="2900"/>
                    </a:lnTo>
                    <a:lnTo>
                      <a:pt x="290" y="2900"/>
                    </a:lnTo>
                    <a:lnTo>
                      <a:pt x="296" y="2898"/>
                    </a:lnTo>
                    <a:lnTo>
                      <a:pt x="296" y="2898"/>
                    </a:lnTo>
                    <a:lnTo>
                      <a:pt x="296" y="2896"/>
                    </a:lnTo>
                    <a:lnTo>
                      <a:pt x="296" y="2896"/>
                    </a:lnTo>
                    <a:lnTo>
                      <a:pt x="294" y="2894"/>
                    </a:lnTo>
                    <a:lnTo>
                      <a:pt x="292" y="2894"/>
                    </a:lnTo>
                    <a:lnTo>
                      <a:pt x="282" y="2894"/>
                    </a:lnTo>
                    <a:lnTo>
                      <a:pt x="282" y="2894"/>
                    </a:lnTo>
                    <a:lnTo>
                      <a:pt x="276" y="2894"/>
                    </a:lnTo>
                    <a:lnTo>
                      <a:pt x="276" y="2896"/>
                    </a:lnTo>
                    <a:lnTo>
                      <a:pt x="278" y="2900"/>
                    </a:lnTo>
                    <a:lnTo>
                      <a:pt x="282" y="2902"/>
                    </a:lnTo>
                    <a:lnTo>
                      <a:pt x="282" y="2902"/>
                    </a:lnTo>
                    <a:close/>
                    <a:moveTo>
                      <a:pt x="296" y="2950"/>
                    </a:moveTo>
                    <a:lnTo>
                      <a:pt x="296" y="2950"/>
                    </a:lnTo>
                    <a:lnTo>
                      <a:pt x="294" y="2948"/>
                    </a:lnTo>
                    <a:lnTo>
                      <a:pt x="290" y="2950"/>
                    </a:lnTo>
                    <a:lnTo>
                      <a:pt x="290" y="2952"/>
                    </a:lnTo>
                    <a:lnTo>
                      <a:pt x="290" y="2954"/>
                    </a:lnTo>
                    <a:lnTo>
                      <a:pt x="290" y="2954"/>
                    </a:lnTo>
                    <a:lnTo>
                      <a:pt x="292" y="2956"/>
                    </a:lnTo>
                    <a:lnTo>
                      <a:pt x="294" y="2954"/>
                    </a:lnTo>
                    <a:lnTo>
                      <a:pt x="296" y="2952"/>
                    </a:lnTo>
                    <a:lnTo>
                      <a:pt x="296" y="2950"/>
                    </a:lnTo>
                    <a:lnTo>
                      <a:pt x="296" y="2950"/>
                    </a:lnTo>
                    <a:close/>
                    <a:moveTo>
                      <a:pt x="302" y="2888"/>
                    </a:moveTo>
                    <a:lnTo>
                      <a:pt x="302" y="2888"/>
                    </a:lnTo>
                    <a:lnTo>
                      <a:pt x="300" y="2890"/>
                    </a:lnTo>
                    <a:lnTo>
                      <a:pt x="300" y="2892"/>
                    </a:lnTo>
                    <a:lnTo>
                      <a:pt x="302" y="2898"/>
                    </a:lnTo>
                    <a:lnTo>
                      <a:pt x="302" y="2898"/>
                    </a:lnTo>
                    <a:lnTo>
                      <a:pt x="304" y="2900"/>
                    </a:lnTo>
                    <a:lnTo>
                      <a:pt x="308" y="2898"/>
                    </a:lnTo>
                    <a:lnTo>
                      <a:pt x="308" y="2898"/>
                    </a:lnTo>
                    <a:lnTo>
                      <a:pt x="310" y="2896"/>
                    </a:lnTo>
                    <a:lnTo>
                      <a:pt x="308" y="2894"/>
                    </a:lnTo>
                    <a:lnTo>
                      <a:pt x="306" y="2890"/>
                    </a:lnTo>
                    <a:lnTo>
                      <a:pt x="302" y="2888"/>
                    </a:lnTo>
                    <a:lnTo>
                      <a:pt x="302" y="2888"/>
                    </a:lnTo>
                    <a:close/>
                    <a:moveTo>
                      <a:pt x="304" y="2856"/>
                    </a:moveTo>
                    <a:lnTo>
                      <a:pt x="304" y="2856"/>
                    </a:lnTo>
                    <a:lnTo>
                      <a:pt x="304" y="2858"/>
                    </a:lnTo>
                    <a:lnTo>
                      <a:pt x="304" y="2862"/>
                    </a:lnTo>
                    <a:lnTo>
                      <a:pt x="306" y="2864"/>
                    </a:lnTo>
                    <a:lnTo>
                      <a:pt x="308" y="2864"/>
                    </a:lnTo>
                    <a:lnTo>
                      <a:pt x="308" y="2864"/>
                    </a:lnTo>
                    <a:lnTo>
                      <a:pt x="310" y="2862"/>
                    </a:lnTo>
                    <a:lnTo>
                      <a:pt x="308" y="2860"/>
                    </a:lnTo>
                    <a:lnTo>
                      <a:pt x="306" y="2856"/>
                    </a:lnTo>
                    <a:lnTo>
                      <a:pt x="304" y="2856"/>
                    </a:lnTo>
                    <a:lnTo>
                      <a:pt x="304" y="2856"/>
                    </a:lnTo>
                    <a:close/>
                    <a:moveTo>
                      <a:pt x="300" y="2968"/>
                    </a:moveTo>
                    <a:lnTo>
                      <a:pt x="300" y="2968"/>
                    </a:lnTo>
                    <a:lnTo>
                      <a:pt x="304" y="2964"/>
                    </a:lnTo>
                    <a:lnTo>
                      <a:pt x="304" y="2964"/>
                    </a:lnTo>
                    <a:lnTo>
                      <a:pt x="304" y="2962"/>
                    </a:lnTo>
                    <a:lnTo>
                      <a:pt x="304" y="2962"/>
                    </a:lnTo>
                    <a:lnTo>
                      <a:pt x="304" y="2960"/>
                    </a:lnTo>
                    <a:lnTo>
                      <a:pt x="300" y="2962"/>
                    </a:lnTo>
                    <a:lnTo>
                      <a:pt x="298" y="2964"/>
                    </a:lnTo>
                    <a:lnTo>
                      <a:pt x="296" y="2968"/>
                    </a:lnTo>
                    <a:lnTo>
                      <a:pt x="296" y="2968"/>
                    </a:lnTo>
                    <a:lnTo>
                      <a:pt x="296" y="2970"/>
                    </a:lnTo>
                    <a:lnTo>
                      <a:pt x="296" y="2970"/>
                    </a:lnTo>
                    <a:lnTo>
                      <a:pt x="300" y="2968"/>
                    </a:lnTo>
                    <a:lnTo>
                      <a:pt x="300" y="2968"/>
                    </a:lnTo>
                    <a:close/>
                    <a:moveTo>
                      <a:pt x="290" y="2888"/>
                    </a:moveTo>
                    <a:lnTo>
                      <a:pt x="290" y="2888"/>
                    </a:lnTo>
                    <a:lnTo>
                      <a:pt x="294" y="2888"/>
                    </a:lnTo>
                    <a:lnTo>
                      <a:pt x="294" y="2886"/>
                    </a:lnTo>
                    <a:lnTo>
                      <a:pt x="294" y="2886"/>
                    </a:lnTo>
                    <a:lnTo>
                      <a:pt x="292" y="2884"/>
                    </a:lnTo>
                    <a:lnTo>
                      <a:pt x="290" y="2884"/>
                    </a:lnTo>
                    <a:lnTo>
                      <a:pt x="282" y="2888"/>
                    </a:lnTo>
                    <a:lnTo>
                      <a:pt x="282" y="2888"/>
                    </a:lnTo>
                    <a:lnTo>
                      <a:pt x="280" y="2888"/>
                    </a:lnTo>
                    <a:lnTo>
                      <a:pt x="282" y="2890"/>
                    </a:lnTo>
                    <a:lnTo>
                      <a:pt x="290" y="2888"/>
                    </a:lnTo>
                    <a:lnTo>
                      <a:pt x="290" y="2888"/>
                    </a:lnTo>
                    <a:close/>
                    <a:moveTo>
                      <a:pt x="250" y="2970"/>
                    </a:moveTo>
                    <a:lnTo>
                      <a:pt x="250" y="2970"/>
                    </a:lnTo>
                    <a:lnTo>
                      <a:pt x="250" y="2972"/>
                    </a:lnTo>
                    <a:lnTo>
                      <a:pt x="248" y="2974"/>
                    </a:lnTo>
                    <a:lnTo>
                      <a:pt x="248" y="2974"/>
                    </a:lnTo>
                    <a:lnTo>
                      <a:pt x="248" y="2978"/>
                    </a:lnTo>
                    <a:lnTo>
                      <a:pt x="248" y="2978"/>
                    </a:lnTo>
                    <a:lnTo>
                      <a:pt x="252" y="2980"/>
                    </a:lnTo>
                    <a:lnTo>
                      <a:pt x="254" y="2980"/>
                    </a:lnTo>
                    <a:lnTo>
                      <a:pt x="260" y="2974"/>
                    </a:lnTo>
                    <a:lnTo>
                      <a:pt x="260" y="2974"/>
                    </a:lnTo>
                    <a:lnTo>
                      <a:pt x="262" y="2972"/>
                    </a:lnTo>
                    <a:lnTo>
                      <a:pt x="262" y="2968"/>
                    </a:lnTo>
                    <a:lnTo>
                      <a:pt x="262" y="2964"/>
                    </a:lnTo>
                    <a:lnTo>
                      <a:pt x="260" y="2962"/>
                    </a:lnTo>
                    <a:lnTo>
                      <a:pt x="260" y="2962"/>
                    </a:lnTo>
                    <a:lnTo>
                      <a:pt x="256" y="2962"/>
                    </a:lnTo>
                    <a:lnTo>
                      <a:pt x="250" y="2966"/>
                    </a:lnTo>
                    <a:lnTo>
                      <a:pt x="250" y="2966"/>
                    </a:lnTo>
                    <a:lnTo>
                      <a:pt x="248" y="2966"/>
                    </a:lnTo>
                    <a:lnTo>
                      <a:pt x="250" y="2970"/>
                    </a:lnTo>
                    <a:lnTo>
                      <a:pt x="250" y="2970"/>
                    </a:lnTo>
                    <a:close/>
                    <a:moveTo>
                      <a:pt x="540" y="3562"/>
                    </a:moveTo>
                    <a:lnTo>
                      <a:pt x="540" y="3562"/>
                    </a:lnTo>
                    <a:lnTo>
                      <a:pt x="544" y="3562"/>
                    </a:lnTo>
                    <a:lnTo>
                      <a:pt x="548" y="3562"/>
                    </a:lnTo>
                    <a:lnTo>
                      <a:pt x="554" y="3560"/>
                    </a:lnTo>
                    <a:lnTo>
                      <a:pt x="554" y="3558"/>
                    </a:lnTo>
                    <a:lnTo>
                      <a:pt x="554" y="3558"/>
                    </a:lnTo>
                    <a:lnTo>
                      <a:pt x="552" y="3558"/>
                    </a:lnTo>
                    <a:lnTo>
                      <a:pt x="546" y="3558"/>
                    </a:lnTo>
                    <a:lnTo>
                      <a:pt x="542" y="3560"/>
                    </a:lnTo>
                    <a:lnTo>
                      <a:pt x="540" y="3562"/>
                    </a:lnTo>
                    <a:lnTo>
                      <a:pt x="540" y="3562"/>
                    </a:lnTo>
                    <a:close/>
                    <a:moveTo>
                      <a:pt x="560" y="3548"/>
                    </a:moveTo>
                    <a:lnTo>
                      <a:pt x="560" y="3548"/>
                    </a:lnTo>
                    <a:lnTo>
                      <a:pt x="558" y="3550"/>
                    </a:lnTo>
                    <a:lnTo>
                      <a:pt x="556" y="3548"/>
                    </a:lnTo>
                    <a:lnTo>
                      <a:pt x="556" y="3548"/>
                    </a:lnTo>
                    <a:lnTo>
                      <a:pt x="554" y="3550"/>
                    </a:lnTo>
                    <a:lnTo>
                      <a:pt x="554" y="3550"/>
                    </a:lnTo>
                    <a:lnTo>
                      <a:pt x="552" y="3552"/>
                    </a:lnTo>
                    <a:lnTo>
                      <a:pt x="554" y="3554"/>
                    </a:lnTo>
                    <a:lnTo>
                      <a:pt x="560" y="3556"/>
                    </a:lnTo>
                    <a:lnTo>
                      <a:pt x="560" y="3556"/>
                    </a:lnTo>
                    <a:lnTo>
                      <a:pt x="562" y="3556"/>
                    </a:lnTo>
                    <a:lnTo>
                      <a:pt x="564" y="3556"/>
                    </a:lnTo>
                    <a:lnTo>
                      <a:pt x="562" y="3548"/>
                    </a:lnTo>
                    <a:lnTo>
                      <a:pt x="562" y="3548"/>
                    </a:lnTo>
                    <a:lnTo>
                      <a:pt x="560" y="3544"/>
                    </a:lnTo>
                    <a:lnTo>
                      <a:pt x="560" y="3546"/>
                    </a:lnTo>
                    <a:lnTo>
                      <a:pt x="560" y="3548"/>
                    </a:lnTo>
                    <a:lnTo>
                      <a:pt x="560" y="3548"/>
                    </a:lnTo>
                    <a:close/>
                    <a:moveTo>
                      <a:pt x="556" y="3506"/>
                    </a:moveTo>
                    <a:lnTo>
                      <a:pt x="556" y="3506"/>
                    </a:lnTo>
                    <a:lnTo>
                      <a:pt x="530" y="3504"/>
                    </a:lnTo>
                    <a:lnTo>
                      <a:pt x="530" y="3504"/>
                    </a:lnTo>
                    <a:lnTo>
                      <a:pt x="522" y="3504"/>
                    </a:lnTo>
                    <a:lnTo>
                      <a:pt x="522" y="3506"/>
                    </a:lnTo>
                    <a:lnTo>
                      <a:pt x="526" y="3508"/>
                    </a:lnTo>
                    <a:lnTo>
                      <a:pt x="526" y="3508"/>
                    </a:lnTo>
                    <a:lnTo>
                      <a:pt x="528" y="3510"/>
                    </a:lnTo>
                    <a:lnTo>
                      <a:pt x="528" y="3512"/>
                    </a:lnTo>
                    <a:lnTo>
                      <a:pt x="528" y="3516"/>
                    </a:lnTo>
                    <a:lnTo>
                      <a:pt x="530" y="3522"/>
                    </a:lnTo>
                    <a:lnTo>
                      <a:pt x="530" y="3522"/>
                    </a:lnTo>
                    <a:lnTo>
                      <a:pt x="532" y="3524"/>
                    </a:lnTo>
                    <a:lnTo>
                      <a:pt x="536" y="3524"/>
                    </a:lnTo>
                    <a:lnTo>
                      <a:pt x="546" y="3524"/>
                    </a:lnTo>
                    <a:lnTo>
                      <a:pt x="546" y="3524"/>
                    </a:lnTo>
                    <a:lnTo>
                      <a:pt x="550" y="3524"/>
                    </a:lnTo>
                    <a:lnTo>
                      <a:pt x="550" y="3522"/>
                    </a:lnTo>
                    <a:lnTo>
                      <a:pt x="550" y="3520"/>
                    </a:lnTo>
                    <a:lnTo>
                      <a:pt x="554" y="3518"/>
                    </a:lnTo>
                    <a:lnTo>
                      <a:pt x="554" y="3518"/>
                    </a:lnTo>
                    <a:lnTo>
                      <a:pt x="556" y="3520"/>
                    </a:lnTo>
                    <a:lnTo>
                      <a:pt x="558" y="3524"/>
                    </a:lnTo>
                    <a:lnTo>
                      <a:pt x="558" y="3526"/>
                    </a:lnTo>
                    <a:lnTo>
                      <a:pt x="562" y="3528"/>
                    </a:lnTo>
                    <a:lnTo>
                      <a:pt x="562" y="3528"/>
                    </a:lnTo>
                    <a:lnTo>
                      <a:pt x="566" y="3526"/>
                    </a:lnTo>
                    <a:lnTo>
                      <a:pt x="568" y="3524"/>
                    </a:lnTo>
                    <a:lnTo>
                      <a:pt x="572" y="3514"/>
                    </a:lnTo>
                    <a:lnTo>
                      <a:pt x="572" y="3514"/>
                    </a:lnTo>
                    <a:lnTo>
                      <a:pt x="572" y="3512"/>
                    </a:lnTo>
                    <a:lnTo>
                      <a:pt x="572" y="3508"/>
                    </a:lnTo>
                    <a:lnTo>
                      <a:pt x="568" y="3506"/>
                    </a:lnTo>
                    <a:lnTo>
                      <a:pt x="562" y="3506"/>
                    </a:lnTo>
                    <a:lnTo>
                      <a:pt x="556" y="3506"/>
                    </a:lnTo>
                    <a:lnTo>
                      <a:pt x="556" y="3506"/>
                    </a:lnTo>
                    <a:close/>
                    <a:moveTo>
                      <a:pt x="522" y="3532"/>
                    </a:moveTo>
                    <a:lnTo>
                      <a:pt x="522" y="3532"/>
                    </a:lnTo>
                    <a:lnTo>
                      <a:pt x="516" y="3528"/>
                    </a:lnTo>
                    <a:lnTo>
                      <a:pt x="520" y="3528"/>
                    </a:lnTo>
                    <a:lnTo>
                      <a:pt x="524" y="3526"/>
                    </a:lnTo>
                    <a:lnTo>
                      <a:pt x="524" y="3526"/>
                    </a:lnTo>
                    <a:lnTo>
                      <a:pt x="524" y="3524"/>
                    </a:lnTo>
                    <a:lnTo>
                      <a:pt x="524" y="3524"/>
                    </a:lnTo>
                    <a:lnTo>
                      <a:pt x="518" y="3520"/>
                    </a:lnTo>
                    <a:lnTo>
                      <a:pt x="510" y="3520"/>
                    </a:lnTo>
                    <a:lnTo>
                      <a:pt x="510" y="3520"/>
                    </a:lnTo>
                    <a:lnTo>
                      <a:pt x="506" y="3520"/>
                    </a:lnTo>
                    <a:lnTo>
                      <a:pt x="506" y="3518"/>
                    </a:lnTo>
                    <a:lnTo>
                      <a:pt x="514" y="3516"/>
                    </a:lnTo>
                    <a:lnTo>
                      <a:pt x="514" y="3516"/>
                    </a:lnTo>
                    <a:lnTo>
                      <a:pt x="520" y="3514"/>
                    </a:lnTo>
                    <a:lnTo>
                      <a:pt x="520" y="3512"/>
                    </a:lnTo>
                    <a:lnTo>
                      <a:pt x="520" y="3510"/>
                    </a:lnTo>
                    <a:lnTo>
                      <a:pt x="518" y="3508"/>
                    </a:lnTo>
                    <a:lnTo>
                      <a:pt x="518" y="3508"/>
                    </a:lnTo>
                    <a:lnTo>
                      <a:pt x="512" y="3506"/>
                    </a:lnTo>
                    <a:lnTo>
                      <a:pt x="504" y="3506"/>
                    </a:lnTo>
                    <a:lnTo>
                      <a:pt x="498" y="3508"/>
                    </a:lnTo>
                    <a:lnTo>
                      <a:pt x="490" y="3508"/>
                    </a:lnTo>
                    <a:lnTo>
                      <a:pt x="490" y="3508"/>
                    </a:lnTo>
                    <a:lnTo>
                      <a:pt x="486" y="3508"/>
                    </a:lnTo>
                    <a:lnTo>
                      <a:pt x="478" y="3510"/>
                    </a:lnTo>
                    <a:lnTo>
                      <a:pt x="462" y="3514"/>
                    </a:lnTo>
                    <a:lnTo>
                      <a:pt x="462" y="3514"/>
                    </a:lnTo>
                    <a:lnTo>
                      <a:pt x="454" y="3516"/>
                    </a:lnTo>
                    <a:lnTo>
                      <a:pt x="454" y="3516"/>
                    </a:lnTo>
                    <a:lnTo>
                      <a:pt x="454" y="3518"/>
                    </a:lnTo>
                    <a:lnTo>
                      <a:pt x="464" y="3524"/>
                    </a:lnTo>
                    <a:lnTo>
                      <a:pt x="464" y="3524"/>
                    </a:lnTo>
                    <a:lnTo>
                      <a:pt x="466" y="3526"/>
                    </a:lnTo>
                    <a:lnTo>
                      <a:pt x="466" y="3526"/>
                    </a:lnTo>
                    <a:lnTo>
                      <a:pt x="462" y="3528"/>
                    </a:lnTo>
                    <a:lnTo>
                      <a:pt x="462" y="3528"/>
                    </a:lnTo>
                    <a:lnTo>
                      <a:pt x="462" y="3528"/>
                    </a:lnTo>
                    <a:lnTo>
                      <a:pt x="470" y="3532"/>
                    </a:lnTo>
                    <a:lnTo>
                      <a:pt x="470" y="3532"/>
                    </a:lnTo>
                    <a:lnTo>
                      <a:pt x="476" y="3534"/>
                    </a:lnTo>
                    <a:lnTo>
                      <a:pt x="480" y="3536"/>
                    </a:lnTo>
                    <a:lnTo>
                      <a:pt x="486" y="3540"/>
                    </a:lnTo>
                    <a:lnTo>
                      <a:pt x="486" y="3540"/>
                    </a:lnTo>
                    <a:lnTo>
                      <a:pt x="490" y="3540"/>
                    </a:lnTo>
                    <a:lnTo>
                      <a:pt x="490" y="3538"/>
                    </a:lnTo>
                    <a:lnTo>
                      <a:pt x="482" y="3530"/>
                    </a:lnTo>
                    <a:lnTo>
                      <a:pt x="482" y="3530"/>
                    </a:lnTo>
                    <a:lnTo>
                      <a:pt x="480" y="3526"/>
                    </a:lnTo>
                    <a:lnTo>
                      <a:pt x="482" y="3524"/>
                    </a:lnTo>
                    <a:lnTo>
                      <a:pt x="486" y="3524"/>
                    </a:lnTo>
                    <a:lnTo>
                      <a:pt x="490" y="3524"/>
                    </a:lnTo>
                    <a:lnTo>
                      <a:pt x="490" y="3524"/>
                    </a:lnTo>
                    <a:lnTo>
                      <a:pt x="494" y="3524"/>
                    </a:lnTo>
                    <a:lnTo>
                      <a:pt x="498" y="3524"/>
                    </a:lnTo>
                    <a:lnTo>
                      <a:pt x="500" y="3524"/>
                    </a:lnTo>
                    <a:lnTo>
                      <a:pt x="500" y="3524"/>
                    </a:lnTo>
                    <a:lnTo>
                      <a:pt x="500" y="3524"/>
                    </a:lnTo>
                    <a:lnTo>
                      <a:pt x="496" y="3532"/>
                    </a:lnTo>
                    <a:lnTo>
                      <a:pt x="496" y="3536"/>
                    </a:lnTo>
                    <a:lnTo>
                      <a:pt x="500" y="3540"/>
                    </a:lnTo>
                    <a:lnTo>
                      <a:pt x="500" y="3540"/>
                    </a:lnTo>
                    <a:lnTo>
                      <a:pt x="500" y="3540"/>
                    </a:lnTo>
                    <a:lnTo>
                      <a:pt x="502" y="3540"/>
                    </a:lnTo>
                    <a:lnTo>
                      <a:pt x="506" y="3538"/>
                    </a:lnTo>
                    <a:lnTo>
                      <a:pt x="510" y="3536"/>
                    </a:lnTo>
                    <a:lnTo>
                      <a:pt x="510" y="3536"/>
                    </a:lnTo>
                    <a:lnTo>
                      <a:pt x="512" y="3538"/>
                    </a:lnTo>
                    <a:lnTo>
                      <a:pt x="512" y="3538"/>
                    </a:lnTo>
                    <a:lnTo>
                      <a:pt x="514" y="3540"/>
                    </a:lnTo>
                    <a:lnTo>
                      <a:pt x="518" y="3540"/>
                    </a:lnTo>
                    <a:lnTo>
                      <a:pt x="522" y="3542"/>
                    </a:lnTo>
                    <a:lnTo>
                      <a:pt x="522" y="3544"/>
                    </a:lnTo>
                    <a:lnTo>
                      <a:pt x="522" y="3544"/>
                    </a:lnTo>
                    <a:lnTo>
                      <a:pt x="524" y="3548"/>
                    </a:lnTo>
                    <a:lnTo>
                      <a:pt x="524" y="3548"/>
                    </a:lnTo>
                    <a:lnTo>
                      <a:pt x="526" y="3548"/>
                    </a:lnTo>
                    <a:lnTo>
                      <a:pt x="528" y="3550"/>
                    </a:lnTo>
                    <a:lnTo>
                      <a:pt x="528" y="3550"/>
                    </a:lnTo>
                    <a:lnTo>
                      <a:pt x="532" y="3554"/>
                    </a:lnTo>
                    <a:lnTo>
                      <a:pt x="534" y="3552"/>
                    </a:lnTo>
                    <a:lnTo>
                      <a:pt x="534" y="3548"/>
                    </a:lnTo>
                    <a:lnTo>
                      <a:pt x="534" y="3544"/>
                    </a:lnTo>
                    <a:lnTo>
                      <a:pt x="534" y="3544"/>
                    </a:lnTo>
                    <a:lnTo>
                      <a:pt x="532" y="3542"/>
                    </a:lnTo>
                    <a:lnTo>
                      <a:pt x="532" y="3538"/>
                    </a:lnTo>
                    <a:lnTo>
                      <a:pt x="530" y="3536"/>
                    </a:lnTo>
                    <a:lnTo>
                      <a:pt x="522" y="3532"/>
                    </a:lnTo>
                    <a:lnTo>
                      <a:pt x="522" y="3532"/>
                    </a:lnTo>
                    <a:close/>
                    <a:moveTo>
                      <a:pt x="476" y="3508"/>
                    </a:moveTo>
                    <a:lnTo>
                      <a:pt x="476" y="3508"/>
                    </a:lnTo>
                    <a:lnTo>
                      <a:pt x="484" y="3506"/>
                    </a:lnTo>
                    <a:lnTo>
                      <a:pt x="484" y="3504"/>
                    </a:lnTo>
                    <a:lnTo>
                      <a:pt x="484" y="3504"/>
                    </a:lnTo>
                    <a:lnTo>
                      <a:pt x="472" y="3502"/>
                    </a:lnTo>
                    <a:lnTo>
                      <a:pt x="472" y="3502"/>
                    </a:lnTo>
                    <a:lnTo>
                      <a:pt x="464" y="3502"/>
                    </a:lnTo>
                    <a:lnTo>
                      <a:pt x="458" y="3502"/>
                    </a:lnTo>
                    <a:lnTo>
                      <a:pt x="450" y="3506"/>
                    </a:lnTo>
                    <a:lnTo>
                      <a:pt x="450" y="3506"/>
                    </a:lnTo>
                    <a:lnTo>
                      <a:pt x="448" y="3508"/>
                    </a:lnTo>
                    <a:lnTo>
                      <a:pt x="448" y="3508"/>
                    </a:lnTo>
                    <a:lnTo>
                      <a:pt x="456" y="3510"/>
                    </a:lnTo>
                    <a:lnTo>
                      <a:pt x="456" y="3510"/>
                    </a:lnTo>
                    <a:lnTo>
                      <a:pt x="462" y="3510"/>
                    </a:lnTo>
                    <a:lnTo>
                      <a:pt x="476" y="3508"/>
                    </a:lnTo>
                    <a:lnTo>
                      <a:pt x="476" y="3508"/>
                    </a:lnTo>
                    <a:close/>
                    <a:moveTo>
                      <a:pt x="572" y="3528"/>
                    </a:moveTo>
                    <a:lnTo>
                      <a:pt x="572" y="3528"/>
                    </a:lnTo>
                    <a:lnTo>
                      <a:pt x="574" y="3530"/>
                    </a:lnTo>
                    <a:lnTo>
                      <a:pt x="578" y="3530"/>
                    </a:lnTo>
                    <a:lnTo>
                      <a:pt x="580" y="3528"/>
                    </a:lnTo>
                    <a:lnTo>
                      <a:pt x="582" y="3524"/>
                    </a:lnTo>
                    <a:lnTo>
                      <a:pt x="582" y="3524"/>
                    </a:lnTo>
                    <a:lnTo>
                      <a:pt x="580" y="3522"/>
                    </a:lnTo>
                    <a:lnTo>
                      <a:pt x="578" y="3522"/>
                    </a:lnTo>
                    <a:lnTo>
                      <a:pt x="574" y="3524"/>
                    </a:lnTo>
                    <a:lnTo>
                      <a:pt x="572" y="3528"/>
                    </a:lnTo>
                    <a:lnTo>
                      <a:pt x="572" y="3528"/>
                    </a:lnTo>
                    <a:close/>
                    <a:moveTo>
                      <a:pt x="636" y="3486"/>
                    </a:moveTo>
                    <a:lnTo>
                      <a:pt x="636" y="3486"/>
                    </a:lnTo>
                    <a:lnTo>
                      <a:pt x="628" y="3488"/>
                    </a:lnTo>
                    <a:lnTo>
                      <a:pt x="622" y="3486"/>
                    </a:lnTo>
                    <a:lnTo>
                      <a:pt x="616" y="3484"/>
                    </a:lnTo>
                    <a:lnTo>
                      <a:pt x="610" y="3482"/>
                    </a:lnTo>
                    <a:lnTo>
                      <a:pt x="610" y="3482"/>
                    </a:lnTo>
                    <a:lnTo>
                      <a:pt x="602" y="3478"/>
                    </a:lnTo>
                    <a:lnTo>
                      <a:pt x="594" y="3470"/>
                    </a:lnTo>
                    <a:lnTo>
                      <a:pt x="584" y="3462"/>
                    </a:lnTo>
                    <a:lnTo>
                      <a:pt x="574" y="3456"/>
                    </a:lnTo>
                    <a:lnTo>
                      <a:pt x="574" y="3456"/>
                    </a:lnTo>
                    <a:lnTo>
                      <a:pt x="562" y="3448"/>
                    </a:lnTo>
                    <a:lnTo>
                      <a:pt x="548" y="3436"/>
                    </a:lnTo>
                    <a:lnTo>
                      <a:pt x="538" y="3424"/>
                    </a:lnTo>
                    <a:lnTo>
                      <a:pt x="532" y="3414"/>
                    </a:lnTo>
                    <a:lnTo>
                      <a:pt x="532" y="3414"/>
                    </a:lnTo>
                    <a:lnTo>
                      <a:pt x="530" y="3404"/>
                    </a:lnTo>
                    <a:lnTo>
                      <a:pt x="528" y="3404"/>
                    </a:lnTo>
                    <a:lnTo>
                      <a:pt x="522" y="3402"/>
                    </a:lnTo>
                    <a:lnTo>
                      <a:pt x="522" y="3402"/>
                    </a:lnTo>
                    <a:lnTo>
                      <a:pt x="516" y="3402"/>
                    </a:lnTo>
                    <a:lnTo>
                      <a:pt x="514" y="3400"/>
                    </a:lnTo>
                    <a:lnTo>
                      <a:pt x="512" y="3396"/>
                    </a:lnTo>
                    <a:lnTo>
                      <a:pt x="516" y="3390"/>
                    </a:lnTo>
                    <a:lnTo>
                      <a:pt x="516" y="3390"/>
                    </a:lnTo>
                    <a:lnTo>
                      <a:pt x="520" y="3386"/>
                    </a:lnTo>
                    <a:lnTo>
                      <a:pt x="522" y="3386"/>
                    </a:lnTo>
                    <a:lnTo>
                      <a:pt x="524" y="3390"/>
                    </a:lnTo>
                    <a:lnTo>
                      <a:pt x="524" y="3390"/>
                    </a:lnTo>
                    <a:lnTo>
                      <a:pt x="524" y="3392"/>
                    </a:lnTo>
                    <a:lnTo>
                      <a:pt x="526" y="3394"/>
                    </a:lnTo>
                    <a:lnTo>
                      <a:pt x="528" y="3392"/>
                    </a:lnTo>
                    <a:lnTo>
                      <a:pt x="528" y="3388"/>
                    </a:lnTo>
                    <a:lnTo>
                      <a:pt x="528" y="3388"/>
                    </a:lnTo>
                    <a:lnTo>
                      <a:pt x="524" y="3380"/>
                    </a:lnTo>
                    <a:lnTo>
                      <a:pt x="510" y="3364"/>
                    </a:lnTo>
                    <a:lnTo>
                      <a:pt x="510" y="3502"/>
                    </a:lnTo>
                    <a:lnTo>
                      <a:pt x="510" y="3502"/>
                    </a:lnTo>
                    <a:lnTo>
                      <a:pt x="510" y="3502"/>
                    </a:lnTo>
                    <a:lnTo>
                      <a:pt x="510" y="3502"/>
                    </a:lnTo>
                    <a:lnTo>
                      <a:pt x="510" y="3502"/>
                    </a:lnTo>
                    <a:lnTo>
                      <a:pt x="510" y="3502"/>
                    </a:lnTo>
                    <a:lnTo>
                      <a:pt x="518" y="3498"/>
                    </a:lnTo>
                    <a:lnTo>
                      <a:pt x="520" y="3496"/>
                    </a:lnTo>
                    <a:lnTo>
                      <a:pt x="522" y="3496"/>
                    </a:lnTo>
                    <a:lnTo>
                      <a:pt x="530" y="3498"/>
                    </a:lnTo>
                    <a:lnTo>
                      <a:pt x="530" y="3498"/>
                    </a:lnTo>
                    <a:lnTo>
                      <a:pt x="544" y="3500"/>
                    </a:lnTo>
                    <a:lnTo>
                      <a:pt x="560" y="3502"/>
                    </a:lnTo>
                    <a:lnTo>
                      <a:pt x="576" y="3504"/>
                    </a:lnTo>
                    <a:lnTo>
                      <a:pt x="584" y="3506"/>
                    </a:lnTo>
                    <a:lnTo>
                      <a:pt x="588" y="3508"/>
                    </a:lnTo>
                    <a:lnTo>
                      <a:pt x="588" y="3508"/>
                    </a:lnTo>
                    <a:lnTo>
                      <a:pt x="596" y="3512"/>
                    </a:lnTo>
                    <a:lnTo>
                      <a:pt x="598" y="3510"/>
                    </a:lnTo>
                    <a:lnTo>
                      <a:pt x="602" y="3508"/>
                    </a:lnTo>
                    <a:lnTo>
                      <a:pt x="606" y="3506"/>
                    </a:lnTo>
                    <a:lnTo>
                      <a:pt x="606" y="3506"/>
                    </a:lnTo>
                    <a:lnTo>
                      <a:pt x="614" y="3506"/>
                    </a:lnTo>
                    <a:lnTo>
                      <a:pt x="620" y="3502"/>
                    </a:lnTo>
                    <a:lnTo>
                      <a:pt x="624" y="3500"/>
                    </a:lnTo>
                    <a:lnTo>
                      <a:pt x="626" y="3502"/>
                    </a:lnTo>
                    <a:lnTo>
                      <a:pt x="626" y="3502"/>
                    </a:lnTo>
                    <a:lnTo>
                      <a:pt x="630" y="3506"/>
                    </a:lnTo>
                    <a:lnTo>
                      <a:pt x="632" y="3504"/>
                    </a:lnTo>
                    <a:lnTo>
                      <a:pt x="634" y="3502"/>
                    </a:lnTo>
                    <a:lnTo>
                      <a:pt x="638" y="3502"/>
                    </a:lnTo>
                    <a:lnTo>
                      <a:pt x="638" y="3502"/>
                    </a:lnTo>
                    <a:lnTo>
                      <a:pt x="640" y="3502"/>
                    </a:lnTo>
                    <a:lnTo>
                      <a:pt x="642" y="3502"/>
                    </a:lnTo>
                    <a:lnTo>
                      <a:pt x="646" y="3494"/>
                    </a:lnTo>
                    <a:lnTo>
                      <a:pt x="646" y="3494"/>
                    </a:lnTo>
                    <a:lnTo>
                      <a:pt x="648" y="3488"/>
                    </a:lnTo>
                    <a:lnTo>
                      <a:pt x="648" y="3486"/>
                    </a:lnTo>
                    <a:lnTo>
                      <a:pt x="642" y="3486"/>
                    </a:lnTo>
                    <a:lnTo>
                      <a:pt x="636" y="3486"/>
                    </a:lnTo>
                    <a:lnTo>
                      <a:pt x="636" y="3486"/>
                    </a:lnTo>
                    <a:close/>
                    <a:moveTo>
                      <a:pt x="436" y="3502"/>
                    </a:moveTo>
                    <a:lnTo>
                      <a:pt x="436" y="3502"/>
                    </a:lnTo>
                    <a:lnTo>
                      <a:pt x="428" y="3504"/>
                    </a:lnTo>
                    <a:lnTo>
                      <a:pt x="426" y="3506"/>
                    </a:lnTo>
                    <a:lnTo>
                      <a:pt x="420" y="3506"/>
                    </a:lnTo>
                    <a:lnTo>
                      <a:pt x="420" y="3506"/>
                    </a:lnTo>
                    <a:lnTo>
                      <a:pt x="414" y="3506"/>
                    </a:lnTo>
                    <a:lnTo>
                      <a:pt x="414" y="3508"/>
                    </a:lnTo>
                    <a:lnTo>
                      <a:pt x="414" y="3510"/>
                    </a:lnTo>
                    <a:lnTo>
                      <a:pt x="414" y="3510"/>
                    </a:lnTo>
                    <a:lnTo>
                      <a:pt x="416" y="3514"/>
                    </a:lnTo>
                    <a:lnTo>
                      <a:pt x="418" y="3514"/>
                    </a:lnTo>
                    <a:lnTo>
                      <a:pt x="428" y="3516"/>
                    </a:lnTo>
                    <a:lnTo>
                      <a:pt x="428" y="3516"/>
                    </a:lnTo>
                    <a:lnTo>
                      <a:pt x="430" y="3516"/>
                    </a:lnTo>
                    <a:lnTo>
                      <a:pt x="432" y="3518"/>
                    </a:lnTo>
                    <a:lnTo>
                      <a:pt x="432" y="3520"/>
                    </a:lnTo>
                    <a:lnTo>
                      <a:pt x="432" y="3522"/>
                    </a:lnTo>
                    <a:lnTo>
                      <a:pt x="436" y="3522"/>
                    </a:lnTo>
                    <a:lnTo>
                      <a:pt x="436" y="3522"/>
                    </a:lnTo>
                    <a:lnTo>
                      <a:pt x="442" y="3518"/>
                    </a:lnTo>
                    <a:lnTo>
                      <a:pt x="442" y="3516"/>
                    </a:lnTo>
                    <a:lnTo>
                      <a:pt x="442" y="3512"/>
                    </a:lnTo>
                    <a:lnTo>
                      <a:pt x="438" y="3512"/>
                    </a:lnTo>
                    <a:lnTo>
                      <a:pt x="438" y="3512"/>
                    </a:lnTo>
                    <a:lnTo>
                      <a:pt x="432" y="3510"/>
                    </a:lnTo>
                    <a:lnTo>
                      <a:pt x="434" y="3508"/>
                    </a:lnTo>
                    <a:lnTo>
                      <a:pt x="438" y="3508"/>
                    </a:lnTo>
                    <a:lnTo>
                      <a:pt x="438" y="3508"/>
                    </a:lnTo>
                    <a:lnTo>
                      <a:pt x="442" y="3506"/>
                    </a:lnTo>
                    <a:lnTo>
                      <a:pt x="444" y="3504"/>
                    </a:lnTo>
                    <a:lnTo>
                      <a:pt x="440" y="3504"/>
                    </a:lnTo>
                    <a:lnTo>
                      <a:pt x="436" y="3502"/>
                    </a:lnTo>
                    <a:lnTo>
                      <a:pt x="436" y="3502"/>
                    </a:lnTo>
                    <a:close/>
                    <a:moveTo>
                      <a:pt x="290" y="2874"/>
                    </a:moveTo>
                    <a:lnTo>
                      <a:pt x="290" y="2874"/>
                    </a:lnTo>
                    <a:lnTo>
                      <a:pt x="292" y="2876"/>
                    </a:lnTo>
                    <a:lnTo>
                      <a:pt x="294" y="2874"/>
                    </a:lnTo>
                    <a:lnTo>
                      <a:pt x="294" y="2872"/>
                    </a:lnTo>
                    <a:lnTo>
                      <a:pt x="294" y="2870"/>
                    </a:lnTo>
                    <a:lnTo>
                      <a:pt x="294" y="2870"/>
                    </a:lnTo>
                    <a:lnTo>
                      <a:pt x="290" y="2868"/>
                    </a:lnTo>
                    <a:lnTo>
                      <a:pt x="290" y="2874"/>
                    </a:lnTo>
                    <a:lnTo>
                      <a:pt x="290" y="2874"/>
                    </a:lnTo>
                    <a:close/>
                    <a:moveTo>
                      <a:pt x="592" y="3524"/>
                    </a:moveTo>
                    <a:lnTo>
                      <a:pt x="592" y="3524"/>
                    </a:lnTo>
                    <a:lnTo>
                      <a:pt x="596" y="3524"/>
                    </a:lnTo>
                    <a:lnTo>
                      <a:pt x="598" y="3524"/>
                    </a:lnTo>
                    <a:lnTo>
                      <a:pt x="598" y="3522"/>
                    </a:lnTo>
                    <a:lnTo>
                      <a:pt x="596" y="3518"/>
                    </a:lnTo>
                    <a:lnTo>
                      <a:pt x="596" y="3518"/>
                    </a:lnTo>
                    <a:lnTo>
                      <a:pt x="594" y="3518"/>
                    </a:lnTo>
                    <a:lnTo>
                      <a:pt x="590" y="3520"/>
                    </a:lnTo>
                    <a:lnTo>
                      <a:pt x="590" y="3522"/>
                    </a:lnTo>
                    <a:lnTo>
                      <a:pt x="592" y="3524"/>
                    </a:lnTo>
                    <a:lnTo>
                      <a:pt x="592" y="3524"/>
                    </a:lnTo>
                    <a:close/>
                    <a:moveTo>
                      <a:pt x="310" y="3406"/>
                    </a:moveTo>
                    <a:lnTo>
                      <a:pt x="310" y="3406"/>
                    </a:lnTo>
                    <a:lnTo>
                      <a:pt x="314" y="3406"/>
                    </a:lnTo>
                    <a:lnTo>
                      <a:pt x="314" y="3406"/>
                    </a:lnTo>
                    <a:lnTo>
                      <a:pt x="318" y="3406"/>
                    </a:lnTo>
                    <a:lnTo>
                      <a:pt x="322" y="3406"/>
                    </a:lnTo>
                    <a:lnTo>
                      <a:pt x="322" y="3406"/>
                    </a:lnTo>
                    <a:lnTo>
                      <a:pt x="326" y="3408"/>
                    </a:lnTo>
                    <a:lnTo>
                      <a:pt x="328" y="3408"/>
                    </a:lnTo>
                    <a:lnTo>
                      <a:pt x="324" y="3402"/>
                    </a:lnTo>
                    <a:lnTo>
                      <a:pt x="324" y="3402"/>
                    </a:lnTo>
                    <a:lnTo>
                      <a:pt x="318" y="3396"/>
                    </a:lnTo>
                    <a:lnTo>
                      <a:pt x="316" y="3394"/>
                    </a:lnTo>
                    <a:lnTo>
                      <a:pt x="314" y="3394"/>
                    </a:lnTo>
                    <a:lnTo>
                      <a:pt x="314" y="3394"/>
                    </a:lnTo>
                    <a:lnTo>
                      <a:pt x="312" y="3394"/>
                    </a:lnTo>
                    <a:lnTo>
                      <a:pt x="310" y="3392"/>
                    </a:lnTo>
                    <a:lnTo>
                      <a:pt x="308" y="3390"/>
                    </a:lnTo>
                    <a:lnTo>
                      <a:pt x="308" y="3390"/>
                    </a:lnTo>
                    <a:lnTo>
                      <a:pt x="308" y="3390"/>
                    </a:lnTo>
                    <a:lnTo>
                      <a:pt x="306" y="3392"/>
                    </a:lnTo>
                    <a:lnTo>
                      <a:pt x="304" y="3390"/>
                    </a:lnTo>
                    <a:lnTo>
                      <a:pt x="294" y="3384"/>
                    </a:lnTo>
                    <a:lnTo>
                      <a:pt x="294" y="3384"/>
                    </a:lnTo>
                    <a:lnTo>
                      <a:pt x="284" y="3382"/>
                    </a:lnTo>
                    <a:lnTo>
                      <a:pt x="280" y="3378"/>
                    </a:lnTo>
                    <a:lnTo>
                      <a:pt x="274" y="3374"/>
                    </a:lnTo>
                    <a:lnTo>
                      <a:pt x="274" y="3374"/>
                    </a:lnTo>
                    <a:lnTo>
                      <a:pt x="268" y="3370"/>
                    </a:lnTo>
                    <a:lnTo>
                      <a:pt x="264" y="3368"/>
                    </a:lnTo>
                    <a:lnTo>
                      <a:pt x="262" y="3370"/>
                    </a:lnTo>
                    <a:lnTo>
                      <a:pt x="266" y="3374"/>
                    </a:lnTo>
                    <a:lnTo>
                      <a:pt x="266" y="3374"/>
                    </a:lnTo>
                    <a:lnTo>
                      <a:pt x="270" y="3376"/>
                    </a:lnTo>
                    <a:lnTo>
                      <a:pt x="270" y="3380"/>
                    </a:lnTo>
                    <a:lnTo>
                      <a:pt x="268" y="3380"/>
                    </a:lnTo>
                    <a:lnTo>
                      <a:pt x="272" y="3382"/>
                    </a:lnTo>
                    <a:lnTo>
                      <a:pt x="272" y="3382"/>
                    </a:lnTo>
                    <a:lnTo>
                      <a:pt x="276" y="3384"/>
                    </a:lnTo>
                    <a:lnTo>
                      <a:pt x="278" y="3388"/>
                    </a:lnTo>
                    <a:lnTo>
                      <a:pt x="282" y="3390"/>
                    </a:lnTo>
                    <a:lnTo>
                      <a:pt x="288" y="3392"/>
                    </a:lnTo>
                    <a:lnTo>
                      <a:pt x="288" y="3392"/>
                    </a:lnTo>
                    <a:lnTo>
                      <a:pt x="294" y="3392"/>
                    </a:lnTo>
                    <a:lnTo>
                      <a:pt x="296" y="3394"/>
                    </a:lnTo>
                    <a:lnTo>
                      <a:pt x="300" y="3396"/>
                    </a:lnTo>
                    <a:lnTo>
                      <a:pt x="300" y="3396"/>
                    </a:lnTo>
                    <a:lnTo>
                      <a:pt x="302" y="3398"/>
                    </a:lnTo>
                    <a:lnTo>
                      <a:pt x="302" y="3398"/>
                    </a:lnTo>
                    <a:lnTo>
                      <a:pt x="304" y="3398"/>
                    </a:lnTo>
                    <a:lnTo>
                      <a:pt x="308" y="3398"/>
                    </a:lnTo>
                    <a:lnTo>
                      <a:pt x="308" y="3398"/>
                    </a:lnTo>
                    <a:lnTo>
                      <a:pt x="310" y="3400"/>
                    </a:lnTo>
                    <a:lnTo>
                      <a:pt x="310" y="3402"/>
                    </a:lnTo>
                    <a:lnTo>
                      <a:pt x="310" y="3404"/>
                    </a:lnTo>
                    <a:lnTo>
                      <a:pt x="310" y="3406"/>
                    </a:lnTo>
                    <a:lnTo>
                      <a:pt x="310" y="3406"/>
                    </a:lnTo>
                    <a:close/>
                    <a:moveTo>
                      <a:pt x="262" y="3306"/>
                    </a:moveTo>
                    <a:lnTo>
                      <a:pt x="262" y="3306"/>
                    </a:lnTo>
                    <a:lnTo>
                      <a:pt x="260" y="3302"/>
                    </a:lnTo>
                    <a:lnTo>
                      <a:pt x="258" y="3302"/>
                    </a:lnTo>
                    <a:lnTo>
                      <a:pt x="258" y="3304"/>
                    </a:lnTo>
                    <a:lnTo>
                      <a:pt x="258" y="3310"/>
                    </a:lnTo>
                    <a:lnTo>
                      <a:pt x="258" y="3310"/>
                    </a:lnTo>
                    <a:lnTo>
                      <a:pt x="258" y="3314"/>
                    </a:lnTo>
                    <a:lnTo>
                      <a:pt x="258" y="3314"/>
                    </a:lnTo>
                    <a:lnTo>
                      <a:pt x="254" y="3308"/>
                    </a:lnTo>
                    <a:lnTo>
                      <a:pt x="254" y="3308"/>
                    </a:lnTo>
                    <a:lnTo>
                      <a:pt x="254" y="3308"/>
                    </a:lnTo>
                    <a:lnTo>
                      <a:pt x="252" y="3308"/>
                    </a:lnTo>
                    <a:lnTo>
                      <a:pt x="250" y="3310"/>
                    </a:lnTo>
                    <a:lnTo>
                      <a:pt x="248" y="3314"/>
                    </a:lnTo>
                    <a:lnTo>
                      <a:pt x="250" y="3318"/>
                    </a:lnTo>
                    <a:lnTo>
                      <a:pt x="250" y="3318"/>
                    </a:lnTo>
                    <a:lnTo>
                      <a:pt x="252" y="3320"/>
                    </a:lnTo>
                    <a:lnTo>
                      <a:pt x="252" y="3322"/>
                    </a:lnTo>
                    <a:lnTo>
                      <a:pt x="250" y="3324"/>
                    </a:lnTo>
                    <a:lnTo>
                      <a:pt x="252" y="3328"/>
                    </a:lnTo>
                    <a:lnTo>
                      <a:pt x="252" y="3328"/>
                    </a:lnTo>
                    <a:lnTo>
                      <a:pt x="252" y="3332"/>
                    </a:lnTo>
                    <a:lnTo>
                      <a:pt x="254" y="3332"/>
                    </a:lnTo>
                    <a:lnTo>
                      <a:pt x="258" y="3324"/>
                    </a:lnTo>
                    <a:lnTo>
                      <a:pt x="258" y="3324"/>
                    </a:lnTo>
                    <a:lnTo>
                      <a:pt x="260" y="3314"/>
                    </a:lnTo>
                    <a:lnTo>
                      <a:pt x="262" y="3310"/>
                    </a:lnTo>
                    <a:lnTo>
                      <a:pt x="262" y="3306"/>
                    </a:lnTo>
                    <a:lnTo>
                      <a:pt x="262" y="3306"/>
                    </a:lnTo>
                    <a:close/>
                    <a:moveTo>
                      <a:pt x="284" y="3406"/>
                    </a:moveTo>
                    <a:lnTo>
                      <a:pt x="284" y="3406"/>
                    </a:lnTo>
                    <a:lnTo>
                      <a:pt x="286" y="3406"/>
                    </a:lnTo>
                    <a:lnTo>
                      <a:pt x="288" y="3404"/>
                    </a:lnTo>
                    <a:lnTo>
                      <a:pt x="290" y="3402"/>
                    </a:lnTo>
                    <a:lnTo>
                      <a:pt x="290" y="3400"/>
                    </a:lnTo>
                    <a:lnTo>
                      <a:pt x="290" y="3400"/>
                    </a:lnTo>
                    <a:lnTo>
                      <a:pt x="286" y="3398"/>
                    </a:lnTo>
                    <a:lnTo>
                      <a:pt x="284" y="3400"/>
                    </a:lnTo>
                    <a:lnTo>
                      <a:pt x="284" y="3404"/>
                    </a:lnTo>
                    <a:lnTo>
                      <a:pt x="284" y="3406"/>
                    </a:lnTo>
                    <a:lnTo>
                      <a:pt x="284" y="3406"/>
                    </a:lnTo>
                    <a:close/>
                    <a:moveTo>
                      <a:pt x="268" y="3336"/>
                    </a:moveTo>
                    <a:lnTo>
                      <a:pt x="268" y="3336"/>
                    </a:lnTo>
                    <a:lnTo>
                      <a:pt x="260" y="3336"/>
                    </a:lnTo>
                    <a:lnTo>
                      <a:pt x="258" y="3336"/>
                    </a:lnTo>
                    <a:lnTo>
                      <a:pt x="256" y="3338"/>
                    </a:lnTo>
                    <a:lnTo>
                      <a:pt x="256" y="3338"/>
                    </a:lnTo>
                    <a:lnTo>
                      <a:pt x="258" y="3340"/>
                    </a:lnTo>
                    <a:lnTo>
                      <a:pt x="262" y="3342"/>
                    </a:lnTo>
                    <a:lnTo>
                      <a:pt x="262" y="3342"/>
                    </a:lnTo>
                    <a:lnTo>
                      <a:pt x="264" y="3342"/>
                    </a:lnTo>
                    <a:lnTo>
                      <a:pt x="268" y="3340"/>
                    </a:lnTo>
                    <a:lnTo>
                      <a:pt x="268" y="3338"/>
                    </a:lnTo>
                    <a:lnTo>
                      <a:pt x="268" y="3336"/>
                    </a:lnTo>
                    <a:lnTo>
                      <a:pt x="268" y="3336"/>
                    </a:lnTo>
                    <a:close/>
                    <a:moveTo>
                      <a:pt x="412" y="3500"/>
                    </a:moveTo>
                    <a:lnTo>
                      <a:pt x="412" y="3500"/>
                    </a:lnTo>
                    <a:lnTo>
                      <a:pt x="406" y="3498"/>
                    </a:lnTo>
                    <a:lnTo>
                      <a:pt x="402" y="3496"/>
                    </a:lnTo>
                    <a:lnTo>
                      <a:pt x="398" y="3498"/>
                    </a:lnTo>
                    <a:lnTo>
                      <a:pt x="398" y="3498"/>
                    </a:lnTo>
                    <a:lnTo>
                      <a:pt x="396" y="3500"/>
                    </a:lnTo>
                    <a:lnTo>
                      <a:pt x="396" y="3502"/>
                    </a:lnTo>
                    <a:lnTo>
                      <a:pt x="398" y="3504"/>
                    </a:lnTo>
                    <a:lnTo>
                      <a:pt x="402" y="3502"/>
                    </a:lnTo>
                    <a:lnTo>
                      <a:pt x="402" y="3502"/>
                    </a:lnTo>
                    <a:lnTo>
                      <a:pt x="406" y="3500"/>
                    </a:lnTo>
                    <a:lnTo>
                      <a:pt x="408" y="3502"/>
                    </a:lnTo>
                    <a:lnTo>
                      <a:pt x="410" y="3502"/>
                    </a:lnTo>
                    <a:lnTo>
                      <a:pt x="414" y="3504"/>
                    </a:lnTo>
                    <a:lnTo>
                      <a:pt x="414" y="3504"/>
                    </a:lnTo>
                    <a:lnTo>
                      <a:pt x="414" y="3502"/>
                    </a:lnTo>
                    <a:lnTo>
                      <a:pt x="416" y="3500"/>
                    </a:lnTo>
                    <a:lnTo>
                      <a:pt x="414" y="3500"/>
                    </a:lnTo>
                    <a:lnTo>
                      <a:pt x="412" y="3500"/>
                    </a:lnTo>
                    <a:lnTo>
                      <a:pt x="412" y="3500"/>
                    </a:lnTo>
                    <a:close/>
                    <a:moveTo>
                      <a:pt x="248" y="3284"/>
                    </a:moveTo>
                    <a:lnTo>
                      <a:pt x="248" y="3284"/>
                    </a:lnTo>
                    <a:lnTo>
                      <a:pt x="244" y="3282"/>
                    </a:lnTo>
                    <a:lnTo>
                      <a:pt x="244" y="3284"/>
                    </a:lnTo>
                    <a:lnTo>
                      <a:pt x="244" y="3292"/>
                    </a:lnTo>
                    <a:lnTo>
                      <a:pt x="244" y="3292"/>
                    </a:lnTo>
                    <a:lnTo>
                      <a:pt x="240" y="3300"/>
                    </a:lnTo>
                    <a:lnTo>
                      <a:pt x="240" y="3302"/>
                    </a:lnTo>
                    <a:lnTo>
                      <a:pt x="244" y="3302"/>
                    </a:lnTo>
                    <a:lnTo>
                      <a:pt x="244" y="3302"/>
                    </a:lnTo>
                    <a:lnTo>
                      <a:pt x="246" y="3300"/>
                    </a:lnTo>
                    <a:lnTo>
                      <a:pt x="246" y="3298"/>
                    </a:lnTo>
                    <a:lnTo>
                      <a:pt x="248" y="3294"/>
                    </a:lnTo>
                    <a:lnTo>
                      <a:pt x="248" y="3292"/>
                    </a:lnTo>
                    <a:lnTo>
                      <a:pt x="248" y="3292"/>
                    </a:lnTo>
                    <a:lnTo>
                      <a:pt x="252" y="3288"/>
                    </a:lnTo>
                    <a:lnTo>
                      <a:pt x="248" y="3284"/>
                    </a:lnTo>
                    <a:lnTo>
                      <a:pt x="248" y="3284"/>
                    </a:lnTo>
                    <a:close/>
                    <a:moveTo>
                      <a:pt x="376" y="3462"/>
                    </a:moveTo>
                    <a:lnTo>
                      <a:pt x="376" y="3462"/>
                    </a:lnTo>
                    <a:lnTo>
                      <a:pt x="376" y="3466"/>
                    </a:lnTo>
                    <a:lnTo>
                      <a:pt x="378" y="3468"/>
                    </a:lnTo>
                    <a:lnTo>
                      <a:pt x="380" y="3468"/>
                    </a:lnTo>
                    <a:lnTo>
                      <a:pt x="380" y="3464"/>
                    </a:lnTo>
                    <a:lnTo>
                      <a:pt x="380" y="3464"/>
                    </a:lnTo>
                    <a:lnTo>
                      <a:pt x="380" y="3462"/>
                    </a:lnTo>
                    <a:lnTo>
                      <a:pt x="382" y="3462"/>
                    </a:lnTo>
                    <a:lnTo>
                      <a:pt x="382" y="3462"/>
                    </a:lnTo>
                    <a:lnTo>
                      <a:pt x="384" y="3460"/>
                    </a:lnTo>
                    <a:lnTo>
                      <a:pt x="384" y="3460"/>
                    </a:lnTo>
                    <a:lnTo>
                      <a:pt x="384" y="3456"/>
                    </a:lnTo>
                    <a:lnTo>
                      <a:pt x="386" y="3454"/>
                    </a:lnTo>
                    <a:lnTo>
                      <a:pt x="386" y="3454"/>
                    </a:lnTo>
                    <a:lnTo>
                      <a:pt x="386" y="3452"/>
                    </a:lnTo>
                    <a:lnTo>
                      <a:pt x="386" y="3452"/>
                    </a:lnTo>
                    <a:lnTo>
                      <a:pt x="386" y="3448"/>
                    </a:lnTo>
                    <a:lnTo>
                      <a:pt x="386" y="3444"/>
                    </a:lnTo>
                    <a:lnTo>
                      <a:pt x="386" y="3442"/>
                    </a:lnTo>
                    <a:lnTo>
                      <a:pt x="384" y="3440"/>
                    </a:lnTo>
                    <a:lnTo>
                      <a:pt x="384" y="3440"/>
                    </a:lnTo>
                    <a:lnTo>
                      <a:pt x="378" y="3438"/>
                    </a:lnTo>
                    <a:lnTo>
                      <a:pt x="376" y="3438"/>
                    </a:lnTo>
                    <a:lnTo>
                      <a:pt x="374" y="3442"/>
                    </a:lnTo>
                    <a:lnTo>
                      <a:pt x="374" y="3442"/>
                    </a:lnTo>
                    <a:lnTo>
                      <a:pt x="372" y="3444"/>
                    </a:lnTo>
                    <a:lnTo>
                      <a:pt x="370" y="3442"/>
                    </a:lnTo>
                    <a:lnTo>
                      <a:pt x="368" y="3442"/>
                    </a:lnTo>
                    <a:lnTo>
                      <a:pt x="364" y="3442"/>
                    </a:lnTo>
                    <a:lnTo>
                      <a:pt x="364" y="3442"/>
                    </a:lnTo>
                    <a:lnTo>
                      <a:pt x="362" y="3444"/>
                    </a:lnTo>
                    <a:lnTo>
                      <a:pt x="362" y="3446"/>
                    </a:lnTo>
                    <a:lnTo>
                      <a:pt x="368" y="3452"/>
                    </a:lnTo>
                    <a:lnTo>
                      <a:pt x="368" y="3452"/>
                    </a:lnTo>
                    <a:lnTo>
                      <a:pt x="374" y="3458"/>
                    </a:lnTo>
                    <a:lnTo>
                      <a:pt x="376" y="3460"/>
                    </a:lnTo>
                    <a:lnTo>
                      <a:pt x="376" y="3462"/>
                    </a:lnTo>
                    <a:lnTo>
                      <a:pt x="376" y="3462"/>
                    </a:lnTo>
                    <a:close/>
                    <a:moveTo>
                      <a:pt x="360" y="3454"/>
                    </a:moveTo>
                    <a:lnTo>
                      <a:pt x="360" y="3454"/>
                    </a:lnTo>
                    <a:lnTo>
                      <a:pt x="358" y="3458"/>
                    </a:lnTo>
                    <a:lnTo>
                      <a:pt x="354" y="3458"/>
                    </a:lnTo>
                    <a:lnTo>
                      <a:pt x="352" y="3460"/>
                    </a:lnTo>
                    <a:lnTo>
                      <a:pt x="354" y="3462"/>
                    </a:lnTo>
                    <a:lnTo>
                      <a:pt x="354" y="3462"/>
                    </a:lnTo>
                    <a:lnTo>
                      <a:pt x="356" y="3464"/>
                    </a:lnTo>
                    <a:lnTo>
                      <a:pt x="358" y="3464"/>
                    </a:lnTo>
                    <a:lnTo>
                      <a:pt x="364" y="3458"/>
                    </a:lnTo>
                    <a:lnTo>
                      <a:pt x="364" y="3458"/>
                    </a:lnTo>
                    <a:lnTo>
                      <a:pt x="364" y="3456"/>
                    </a:lnTo>
                    <a:lnTo>
                      <a:pt x="364" y="3454"/>
                    </a:lnTo>
                    <a:lnTo>
                      <a:pt x="362" y="3452"/>
                    </a:lnTo>
                    <a:lnTo>
                      <a:pt x="360" y="3454"/>
                    </a:lnTo>
                    <a:lnTo>
                      <a:pt x="360" y="3454"/>
                    </a:lnTo>
                    <a:close/>
                    <a:moveTo>
                      <a:pt x="390" y="3462"/>
                    </a:moveTo>
                    <a:lnTo>
                      <a:pt x="390" y="3462"/>
                    </a:lnTo>
                    <a:lnTo>
                      <a:pt x="394" y="3462"/>
                    </a:lnTo>
                    <a:lnTo>
                      <a:pt x="394" y="3460"/>
                    </a:lnTo>
                    <a:lnTo>
                      <a:pt x="396" y="3458"/>
                    </a:lnTo>
                    <a:lnTo>
                      <a:pt x="398" y="3460"/>
                    </a:lnTo>
                    <a:lnTo>
                      <a:pt x="398" y="3460"/>
                    </a:lnTo>
                    <a:lnTo>
                      <a:pt x="402" y="3462"/>
                    </a:lnTo>
                    <a:lnTo>
                      <a:pt x="402" y="3464"/>
                    </a:lnTo>
                    <a:lnTo>
                      <a:pt x="402" y="3466"/>
                    </a:lnTo>
                    <a:lnTo>
                      <a:pt x="406" y="3468"/>
                    </a:lnTo>
                    <a:lnTo>
                      <a:pt x="406" y="3468"/>
                    </a:lnTo>
                    <a:lnTo>
                      <a:pt x="410" y="3468"/>
                    </a:lnTo>
                    <a:lnTo>
                      <a:pt x="412" y="3466"/>
                    </a:lnTo>
                    <a:lnTo>
                      <a:pt x="412" y="3454"/>
                    </a:lnTo>
                    <a:lnTo>
                      <a:pt x="412" y="3454"/>
                    </a:lnTo>
                    <a:lnTo>
                      <a:pt x="410" y="3450"/>
                    </a:lnTo>
                    <a:lnTo>
                      <a:pt x="408" y="3450"/>
                    </a:lnTo>
                    <a:lnTo>
                      <a:pt x="406" y="3450"/>
                    </a:lnTo>
                    <a:lnTo>
                      <a:pt x="402" y="3448"/>
                    </a:lnTo>
                    <a:lnTo>
                      <a:pt x="402" y="3448"/>
                    </a:lnTo>
                    <a:lnTo>
                      <a:pt x="400" y="3444"/>
                    </a:lnTo>
                    <a:lnTo>
                      <a:pt x="394" y="3442"/>
                    </a:lnTo>
                    <a:lnTo>
                      <a:pt x="390" y="3444"/>
                    </a:lnTo>
                    <a:lnTo>
                      <a:pt x="388" y="3446"/>
                    </a:lnTo>
                    <a:lnTo>
                      <a:pt x="388" y="3448"/>
                    </a:lnTo>
                    <a:lnTo>
                      <a:pt x="388" y="3448"/>
                    </a:lnTo>
                    <a:lnTo>
                      <a:pt x="390" y="3454"/>
                    </a:lnTo>
                    <a:lnTo>
                      <a:pt x="388" y="3456"/>
                    </a:lnTo>
                    <a:lnTo>
                      <a:pt x="388" y="3460"/>
                    </a:lnTo>
                    <a:lnTo>
                      <a:pt x="390" y="3462"/>
                    </a:lnTo>
                    <a:lnTo>
                      <a:pt x="390" y="3462"/>
                    </a:lnTo>
                    <a:close/>
                    <a:moveTo>
                      <a:pt x="356" y="3450"/>
                    </a:moveTo>
                    <a:lnTo>
                      <a:pt x="356" y="3450"/>
                    </a:lnTo>
                    <a:lnTo>
                      <a:pt x="358" y="3450"/>
                    </a:lnTo>
                    <a:lnTo>
                      <a:pt x="360" y="3450"/>
                    </a:lnTo>
                    <a:lnTo>
                      <a:pt x="358" y="3444"/>
                    </a:lnTo>
                    <a:lnTo>
                      <a:pt x="358" y="3444"/>
                    </a:lnTo>
                    <a:lnTo>
                      <a:pt x="358" y="3442"/>
                    </a:lnTo>
                    <a:lnTo>
                      <a:pt x="358" y="3440"/>
                    </a:lnTo>
                    <a:lnTo>
                      <a:pt x="362" y="3438"/>
                    </a:lnTo>
                    <a:lnTo>
                      <a:pt x="366" y="3436"/>
                    </a:lnTo>
                    <a:lnTo>
                      <a:pt x="366" y="3434"/>
                    </a:lnTo>
                    <a:lnTo>
                      <a:pt x="366" y="3432"/>
                    </a:lnTo>
                    <a:lnTo>
                      <a:pt x="366" y="3432"/>
                    </a:lnTo>
                    <a:lnTo>
                      <a:pt x="362" y="3430"/>
                    </a:lnTo>
                    <a:lnTo>
                      <a:pt x="360" y="3430"/>
                    </a:lnTo>
                    <a:lnTo>
                      <a:pt x="358" y="3428"/>
                    </a:lnTo>
                    <a:lnTo>
                      <a:pt x="356" y="3426"/>
                    </a:lnTo>
                    <a:lnTo>
                      <a:pt x="356" y="3426"/>
                    </a:lnTo>
                    <a:lnTo>
                      <a:pt x="354" y="3422"/>
                    </a:lnTo>
                    <a:lnTo>
                      <a:pt x="352" y="3420"/>
                    </a:lnTo>
                    <a:lnTo>
                      <a:pt x="348" y="3418"/>
                    </a:lnTo>
                    <a:lnTo>
                      <a:pt x="346" y="3420"/>
                    </a:lnTo>
                    <a:lnTo>
                      <a:pt x="346" y="3420"/>
                    </a:lnTo>
                    <a:lnTo>
                      <a:pt x="344" y="3420"/>
                    </a:lnTo>
                    <a:lnTo>
                      <a:pt x="344" y="3418"/>
                    </a:lnTo>
                    <a:lnTo>
                      <a:pt x="342" y="3418"/>
                    </a:lnTo>
                    <a:lnTo>
                      <a:pt x="340" y="3420"/>
                    </a:lnTo>
                    <a:lnTo>
                      <a:pt x="340" y="3420"/>
                    </a:lnTo>
                    <a:lnTo>
                      <a:pt x="338" y="3422"/>
                    </a:lnTo>
                    <a:lnTo>
                      <a:pt x="338" y="3418"/>
                    </a:lnTo>
                    <a:lnTo>
                      <a:pt x="336" y="3414"/>
                    </a:lnTo>
                    <a:lnTo>
                      <a:pt x="332" y="3410"/>
                    </a:lnTo>
                    <a:lnTo>
                      <a:pt x="332" y="3410"/>
                    </a:lnTo>
                    <a:lnTo>
                      <a:pt x="328" y="3410"/>
                    </a:lnTo>
                    <a:lnTo>
                      <a:pt x="328" y="3412"/>
                    </a:lnTo>
                    <a:lnTo>
                      <a:pt x="328" y="3414"/>
                    </a:lnTo>
                    <a:lnTo>
                      <a:pt x="322" y="3414"/>
                    </a:lnTo>
                    <a:lnTo>
                      <a:pt x="322" y="3414"/>
                    </a:lnTo>
                    <a:lnTo>
                      <a:pt x="320" y="3414"/>
                    </a:lnTo>
                    <a:lnTo>
                      <a:pt x="318" y="3414"/>
                    </a:lnTo>
                    <a:lnTo>
                      <a:pt x="320" y="3418"/>
                    </a:lnTo>
                    <a:lnTo>
                      <a:pt x="322" y="3422"/>
                    </a:lnTo>
                    <a:lnTo>
                      <a:pt x="322" y="3422"/>
                    </a:lnTo>
                    <a:lnTo>
                      <a:pt x="320" y="3422"/>
                    </a:lnTo>
                    <a:lnTo>
                      <a:pt x="320" y="3422"/>
                    </a:lnTo>
                    <a:lnTo>
                      <a:pt x="314" y="3420"/>
                    </a:lnTo>
                    <a:lnTo>
                      <a:pt x="310" y="3422"/>
                    </a:lnTo>
                    <a:lnTo>
                      <a:pt x="308" y="3424"/>
                    </a:lnTo>
                    <a:lnTo>
                      <a:pt x="308" y="3424"/>
                    </a:lnTo>
                    <a:lnTo>
                      <a:pt x="308" y="3426"/>
                    </a:lnTo>
                    <a:lnTo>
                      <a:pt x="310" y="3428"/>
                    </a:lnTo>
                    <a:lnTo>
                      <a:pt x="310" y="3428"/>
                    </a:lnTo>
                    <a:lnTo>
                      <a:pt x="312" y="3430"/>
                    </a:lnTo>
                    <a:lnTo>
                      <a:pt x="312" y="3430"/>
                    </a:lnTo>
                    <a:lnTo>
                      <a:pt x="312" y="3432"/>
                    </a:lnTo>
                    <a:lnTo>
                      <a:pt x="312" y="3432"/>
                    </a:lnTo>
                    <a:lnTo>
                      <a:pt x="316" y="3432"/>
                    </a:lnTo>
                    <a:lnTo>
                      <a:pt x="320" y="3430"/>
                    </a:lnTo>
                    <a:lnTo>
                      <a:pt x="322" y="3432"/>
                    </a:lnTo>
                    <a:lnTo>
                      <a:pt x="322" y="3434"/>
                    </a:lnTo>
                    <a:lnTo>
                      <a:pt x="322" y="3434"/>
                    </a:lnTo>
                    <a:lnTo>
                      <a:pt x="322" y="3442"/>
                    </a:lnTo>
                    <a:lnTo>
                      <a:pt x="324" y="3444"/>
                    </a:lnTo>
                    <a:lnTo>
                      <a:pt x="328" y="3448"/>
                    </a:lnTo>
                    <a:lnTo>
                      <a:pt x="328" y="3448"/>
                    </a:lnTo>
                    <a:lnTo>
                      <a:pt x="330" y="3448"/>
                    </a:lnTo>
                    <a:lnTo>
                      <a:pt x="332" y="3448"/>
                    </a:lnTo>
                    <a:lnTo>
                      <a:pt x="332" y="3442"/>
                    </a:lnTo>
                    <a:lnTo>
                      <a:pt x="332" y="3438"/>
                    </a:lnTo>
                    <a:lnTo>
                      <a:pt x="332" y="3438"/>
                    </a:lnTo>
                    <a:lnTo>
                      <a:pt x="334" y="3438"/>
                    </a:lnTo>
                    <a:lnTo>
                      <a:pt x="334" y="3438"/>
                    </a:lnTo>
                    <a:lnTo>
                      <a:pt x="336" y="3440"/>
                    </a:lnTo>
                    <a:lnTo>
                      <a:pt x="340" y="3438"/>
                    </a:lnTo>
                    <a:lnTo>
                      <a:pt x="342" y="3438"/>
                    </a:lnTo>
                    <a:lnTo>
                      <a:pt x="342" y="3442"/>
                    </a:lnTo>
                    <a:lnTo>
                      <a:pt x="342" y="3442"/>
                    </a:lnTo>
                    <a:lnTo>
                      <a:pt x="340" y="3448"/>
                    </a:lnTo>
                    <a:lnTo>
                      <a:pt x="336" y="3450"/>
                    </a:lnTo>
                    <a:lnTo>
                      <a:pt x="334" y="3452"/>
                    </a:lnTo>
                    <a:lnTo>
                      <a:pt x="338" y="3454"/>
                    </a:lnTo>
                    <a:lnTo>
                      <a:pt x="338" y="3454"/>
                    </a:lnTo>
                    <a:lnTo>
                      <a:pt x="342" y="3454"/>
                    </a:lnTo>
                    <a:lnTo>
                      <a:pt x="346" y="3454"/>
                    </a:lnTo>
                    <a:lnTo>
                      <a:pt x="348" y="3452"/>
                    </a:lnTo>
                    <a:lnTo>
                      <a:pt x="350" y="3452"/>
                    </a:lnTo>
                    <a:lnTo>
                      <a:pt x="350" y="3452"/>
                    </a:lnTo>
                    <a:lnTo>
                      <a:pt x="352" y="3452"/>
                    </a:lnTo>
                    <a:lnTo>
                      <a:pt x="352" y="3450"/>
                    </a:lnTo>
                    <a:lnTo>
                      <a:pt x="354" y="3448"/>
                    </a:lnTo>
                    <a:lnTo>
                      <a:pt x="356" y="3450"/>
                    </a:lnTo>
                    <a:lnTo>
                      <a:pt x="356" y="3450"/>
                    </a:lnTo>
                    <a:close/>
                    <a:moveTo>
                      <a:pt x="490" y="3366"/>
                    </a:moveTo>
                    <a:lnTo>
                      <a:pt x="490" y="3366"/>
                    </a:lnTo>
                    <a:lnTo>
                      <a:pt x="488" y="3366"/>
                    </a:lnTo>
                    <a:lnTo>
                      <a:pt x="486" y="3364"/>
                    </a:lnTo>
                    <a:lnTo>
                      <a:pt x="482" y="3360"/>
                    </a:lnTo>
                    <a:lnTo>
                      <a:pt x="480" y="3354"/>
                    </a:lnTo>
                    <a:lnTo>
                      <a:pt x="478" y="3352"/>
                    </a:lnTo>
                    <a:lnTo>
                      <a:pt x="476" y="3352"/>
                    </a:lnTo>
                    <a:lnTo>
                      <a:pt x="476" y="3352"/>
                    </a:lnTo>
                    <a:lnTo>
                      <a:pt x="472" y="3356"/>
                    </a:lnTo>
                    <a:lnTo>
                      <a:pt x="468" y="3364"/>
                    </a:lnTo>
                    <a:lnTo>
                      <a:pt x="464" y="3370"/>
                    </a:lnTo>
                    <a:lnTo>
                      <a:pt x="460" y="3374"/>
                    </a:lnTo>
                    <a:lnTo>
                      <a:pt x="460" y="3374"/>
                    </a:lnTo>
                    <a:lnTo>
                      <a:pt x="454" y="3374"/>
                    </a:lnTo>
                    <a:lnTo>
                      <a:pt x="450" y="3372"/>
                    </a:lnTo>
                    <a:lnTo>
                      <a:pt x="446" y="3368"/>
                    </a:lnTo>
                    <a:lnTo>
                      <a:pt x="440" y="3370"/>
                    </a:lnTo>
                    <a:lnTo>
                      <a:pt x="440" y="3370"/>
                    </a:lnTo>
                    <a:lnTo>
                      <a:pt x="438" y="3370"/>
                    </a:lnTo>
                    <a:lnTo>
                      <a:pt x="440" y="3372"/>
                    </a:lnTo>
                    <a:lnTo>
                      <a:pt x="442" y="3374"/>
                    </a:lnTo>
                    <a:lnTo>
                      <a:pt x="444" y="3376"/>
                    </a:lnTo>
                    <a:lnTo>
                      <a:pt x="444" y="3376"/>
                    </a:lnTo>
                    <a:lnTo>
                      <a:pt x="444" y="3378"/>
                    </a:lnTo>
                    <a:lnTo>
                      <a:pt x="448" y="3380"/>
                    </a:lnTo>
                    <a:lnTo>
                      <a:pt x="450" y="3382"/>
                    </a:lnTo>
                    <a:lnTo>
                      <a:pt x="448" y="3384"/>
                    </a:lnTo>
                    <a:lnTo>
                      <a:pt x="448" y="3384"/>
                    </a:lnTo>
                    <a:lnTo>
                      <a:pt x="446" y="3388"/>
                    </a:lnTo>
                    <a:lnTo>
                      <a:pt x="444" y="3388"/>
                    </a:lnTo>
                    <a:lnTo>
                      <a:pt x="440" y="3384"/>
                    </a:lnTo>
                    <a:lnTo>
                      <a:pt x="440" y="3384"/>
                    </a:lnTo>
                    <a:lnTo>
                      <a:pt x="438" y="3382"/>
                    </a:lnTo>
                    <a:lnTo>
                      <a:pt x="438" y="3384"/>
                    </a:lnTo>
                    <a:lnTo>
                      <a:pt x="436" y="3388"/>
                    </a:lnTo>
                    <a:lnTo>
                      <a:pt x="436" y="3398"/>
                    </a:lnTo>
                    <a:lnTo>
                      <a:pt x="440" y="3410"/>
                    </a:lnTo>
                    <a:lnTo>
                      <a:pt x="440" y="3410"/>
                    </a:lnTo>
                    <a:lnTo>
                      <a:pt x="442" y="3412"/>
                    </a:lnTo>
                    <a:lnTo>
                      <a:pt x="448" y="3414"/>
                    </a:lnTo>
                    <a:lnTo>
                      <a:pt x="460" y="3410"/>
                    </a:lnTo>
                    <a:lnTo>
                      <a:pt x="474" y="3406"/>
                    </a:lnTo>
                    <a:lnTo>
                      <a:pt x="478" y="3406"/>
                    </a:lnTo>
                    <a:lnTo>
                      <a:pt x="480" y="3408"/>
                    </a:lnTo>
                    <a:lnTo>
                      <a:pt x="480" y="3408"/>
                    </a:lnTo>
                    <a:lnTo>
                      <a:pt x="482" y="3414"/>
                    </a:lnTo>
                    <a:lnTo>
                      <a:pt x="478" y="3418"/>
                    </a:lnTo>
                    <a:lnTo>
                      <a:pt x="472" y="3422"/>
                    </a:lnTo>
                    <a:lnTo>
                      <a:pt x="466" y="3424"/>
                    </a:lnTo>
                    <a:lnTo>
                      <a:pt x="452" y="3430"/>
                    </a:lnTo>
                    <a:lnTo>
                      <a:pt x="448" y="3434"/>
                    </a:lnTo>
                    <a:lnTo>
                      <a:pt x="448" y="3438"/>
                    </a:lnTo>
                    <a:lnTo>
                      <a:pt x="448" y="3438"/>
                    </a:lnTo>
                    <a:lnTo>
                      <a:pt x="452" y="3446"/>
                    </a:lnTo>
                    <a:lnTo>
                      <a:pt x="458" y="3452"/>
                    </a:lnTo>
                    <a:lnTo>
                      <a:pt x="464" y="3458"/>
                    </a:lnTo>
                    <a:lnTo>
                      <a:pt x="474" y="3462"/>
                    </a:lnTo>
                    <a:lnTo>
                      <a:pt x="488" y="3470"/>
                    </a:lnTo>
                    <a:lnTo>
                      <a:pt x="494" y="3472"/>
                    </a:lnTo>
                    <a:lnTo>
                      <a:pt x="496" y="3474"/>
                    </a:lnTo>
                    <a:lnTo>
                      <a:pt x="496" y="3474"/>
                    </a:lnTo>
                    <a:lnTo>
                      <a:pt x="482" y="3472"/>
                    </a:lnTo>
                    <a:lnTo>
                      <a:pt x="476" y="3468"/>
                    </a:lnTo>
                    <a:lnTo>
                      <a:pt x="474" y="3468"/>
                    </a:lnTo>
                    <a:lnTo>
                      <a:pt x="472" y="3468"/>
                    </a:lnTo>
                    <a:lnTo>
                      <a:pt x="472" y="3468"/>
                    </a:lnTo>
                    <a:lnTo>
                      <a:pt x="470" y="3470"/>
                    </a:lnTo>
                    <a:lnTo>
                      <a:pt x="468" y="3470"/>
                    </a:lnTo>
                    <a:lnTo>
                      <a:pt x="462" y="3466"/>
                    </a:lnTo>
                    <a:lnTo>
                      <a:pt x="456" y="3464"/>
                    </a:lnTo>
                    <a:lnTo>
                      <a:pt x="452" y="3464"/>
                    </a:lnTo>
                    <a:lnTo>
                      <a:pt x="450" y="3464"/>
                    </a:lnTo>
                    <a:lnTo>
                      <a:pt x="450" y="3464"/>
                    </a:lnTo>
                    <a:lnTo>
                      <a:pt x="448" y="3466"/>
                    </a:lnTo>
                    <a:lnTo>
                      <a:pt x="448" y="3468"/>
                    </a:lnTo>
                    <a:lnTo>
                      <a:pt x="448" y="3472"/>
                    </a:lnTo>
                    <a:lnTo>
                      <a:pt x="450" y="3472"/>
                    </a:lnTo>
                    <a:lnTo>
                      <a:pt x="448" y="3472"/>
                    </a:lnTo>
                    <a:lnTo>
                      <a:pt x="442" y="3468"/>
                    </a:lnTo>
                    <a:lnTo>
                      <a:pt x="442" y="3468"/>
                    </a:lnTo>
                    <a:lnTo>
                      <a:pt x="422" y="3454"/>
                    </a:lnTo>
                    <a:lnTo>
                      <a:pt x="416" y="3452"/>
                    </a:lnTo>
                    <a:lnTo>
                      <a:pt x="416" y="3454"/>
                    </a:lnTo>
                    <a:lnTo>
                      <a:pt x="418" y="3456"/>
                    </a:lnTo>
                    <a:lnTo>
                      <a:pt x="418" y="3456"/>
                    </a:lnTo>
                    <a:lnTo>
                      <a:pt x="422" y="3462"/>
                    </a:lnTo>
                    <a:lnTo>
                      <a:pt x="428" y="3464"/>
                    </a:lnTo>
                    <a:lnTo>
                      <a:pt x="430" y="3466"/>
                    </a:lnTo>
                    <a:lnTo>
                      <a:pt x="426" y="3466"/>
                    </a:lnTo>
                    <a:lnTo>
                      <a:pt x="426" y="3466"/>
                    </a:lnTo>
                    <a:lnTo>
                      <a:pt x="420" y="3466"/>
                    </a:lnTo>
                    <a:lnTo>
                      <a:pt x="418" y="3468"/>
                    </a:lnTo>
                    <a:lnTo>
                      <a:pt x="416" y="3472"/>
                    </a:lnTo>
                    <a:lnTo>
                      <a:pt x="414" y="3476"/>
                    </a:lnTo>
                    <a:lnTo>
                      <a:pt x="408" y="3474"/>
                    </a:lnTo>
                    <a:lnTo>
                      <a:pt x="408" y="3474"/>
                    </a:lnTo>
                    <a:lnTo>
                      <a:pt x="398" y="3470"/>
                    </a:lnTo>
                    <a:lnTo>
                      <a:pt x="398" y="3470"/>
                    </a:lnTo>
                    <a:lnTo>
                      <a:pt x="398" y="3472"/>
                    </a:lnTo>
                    <a:lnTo>
                      <a:pt x="398" y="3472"/>
                    </a:lnTo>
                    <a:lnTo>
                      <a:pt x="398" y="3472"/>
                    </a:lnTo>
                    <a:lnTo>
                      <a:pt x="396" y="3474"/>
                    </a:lnTo>
                    <a:lnTo>
                      <a:pt x="392" y="3472"/>
                    </a:lnTo>
                    <a:lnTo>
                      <a:pt x="380" y="3470"/>
                    </a:lnTo>
                    <a:lnTo>
                      <a:pt x="380" y="3470"/>
                    </a:lnTo>
                    <a:lnTo>
                      <a:pt x="380" y="3472"/>
                    </a:lnTo>
                    <a:lnTo>
                      <a:pt x="380" y="3472"/>
                    </a:lnTo>
                    <a:lnTo>
                      <a:pt x="382" y="3476"/>
                    </a:lnTo>
                    <a:lnTo>
                      <a:pt x="386" y="3478"/>
                    </a:lnTo>
                    <a:lnTo>
                      <a:pt x="386" y="3480"/>
                    </a:lnTo>
                    <a:lnTo>
                      <a:pt x="386" y="3480"/>
                    </a:lnTo>
                    <a:lnTo>
                      <a:pt x="386" y="3480"/>
                    </a:lnTo>
                    <a:lnTo>
                      <a:pt x="382" y="3480"/>
                    </a:lnTo>
                    <a:lnTo>
                      <a:pt x="376" y="3476"/>
                    </a:lnTo>
                    <a:lnTo>
                      <a:pt x="374" y="3474"/>
                    </a:lnTo>
                    <a:lnTo>
                      <a:pt x="372" y="3474"/>
                    </a:lnTo>
                    <a:lnTo>
                      <a:pt x="374" y="3476"/>
                    </a:lnTo>
                    <a:lnTo>
                      <a:pt x="374" y="3476"/>
                    </a:lnTo>
                    <a:lnTo>
                      <a:pt x="374" y="3482"/>
                    </a:lnTo>
                    <a:lnTo>
                      <a:pt x="374" y="3484"/>
                    </a:lnTo>
                    <a:lnTo>
                      <a:pt x="374" y="3486"/>
                    </a:lnTo>
                    <a:lnTo>
                      <a:pt x="376" y="3486"/>
                    </a:lnTo>
                    <a:lnTo>
                      <a:pt x="376" y="3486"/>
                    </a:lnTo>
                    <a:lnTo>
                      <a:pt x="380" y="3488"/>
                    </a:lnTo>
                    <a:lnTo>
                      <a:pt x="384" y="3486"/>
                    </a:lnTo>
                    <a:lnTo>
                      <a:pt x="390" y="3486"/>
                    </a:lnTo>
                    <a:lnTo>
                      <a:pt x="394" y="3488"/>
                    </a:lnTo>
                    <a:lnTo>
                      <a:pt x="394" y="3488"/>
                    </a:lnTo>
                    <a:lnTo>
                      <a:pt x="394" y="3488"/>
                    </a:lnTo>
                    <a:lnTo>
                      <a:pt x="396" y="3488"/>
                    </a:lnTo>
                    <a:lnTo>
                      <a:pt x="398" y="3484"/>
                    </a:lnTo>
                    <a:lnTo>
                      <a:pt x="400" y="3480"/>
                    </a:lnTo>
                    <a:lnTo>
                      <a:pt x="402" y="3480"/>
                    </a:lnTo>
                    <a:lnTo>
                      <a:pt x="402" y="3480"/>
                    </a:lnTo>
                    <a:lnTo>
                      <a:pt x="404" y="3480"/>
                    </a:lnTo>
                    <a:lnTo>
                      <a:pt x="402" y="3484"/>
                    </a:lnTo>
                    <a:lnTo>
                      <a:pt x="402" y="3486"/>
                    </a:lnTo>
                    <a:lnTo>
                      <a:pt x="404" y="3488"/>
                    </a:lnTo>
                    <a:lnTo>
                      <a:pt x="404" y="3488"/>
                    </a:lnTo>
                    <a:lnTo>
                      <a:pt x="408" y="3488"/>
                    </a:lnTo>
                    <a:lnTo>
                      <a:pt x="412" y="3486"/>
                    </a:lnTo>
                    <a:lnTo>
                      <a:pt x="416" y="3486"/>
                    </a:lnTo>
                    <a:lnTo>
                      <a:pt x="414" y="3488"/>
                    </a:lnTo>
                    <a:lnTo>
                      <a:pt x="414" y="3488"/>
                    </a:lnTo>
                    <a:lnTo>
                      <a:pt x="412" y="3492"/>
                    </a:lnTo>
                    <a:lnTo>
                      <a:pt x="414" y="3494"/>
                    </a:lnTo>
                    <a:lnTo>
                      <a:pt x="416" y="3492"/>
                    </a:lnTo>
                    <a:lnTo>
                      <a:pt x="418" y="3494"/>
                    </a:lnTo>
                    <a:lnTo>
                      <a:pt x="418" y="3494"/>
                    </a:lnTo>
                    <a:lnTo>
                      <a:pt x="422" y="3498"/>
                    </a:lnTo>
                    <a:lnTo>
                      <a:pt x="424" y="3498"/>
                    </a:lnTo>
                    <a:lnTo>
                      <a:pt x="428" y="3496"/>
                    </a:lnTo>
                    <a:lnTo>
                      <a:pt x="428" y="3496"/>
                    </a:lnTo>
                    <a:lnTo>
                      <a:pt x="432" y="3496"/>
                    </a:lnTo>
                    <a:lnTo>
                      <a:pt x="438" y="3498"/>
                    </a:lnTo>
                    <a:lnTo>
                      <a:pt x="442" y="3498"/>
                    </a:lnTo>
                    <a:lnTo>
                      <a:pt x="446" y="3496"/>
                    </a:lnTo>
                    <a:lnTo>
                      <a:pt x="446" y="3496"/>
                    </a:lnTo>
                    <a:lnTo>
                      <a:pt x="450" y="3496"/>
                    </a:lnTo>
                    <a:lnTo>
                      <a:pt x="452" y="3498"/>
                    </a:lnTo>
                    <a:lnTo>
                      <a:pt x="452" y="3500"/>
                    </a:lnTo>
                    <a:lnTo>
                      <a:pt x="456" y="3498"/>
                    </a:lnTo>
                    <a:lnTo>
                      <a:pt x="456" y="3498"/>
                    </a:lnTo>
                    <a:lnTo>
                      <a:pt x="458" y="3496"/>
                    </a:lnTo>
                    <a:lnTo>
                      <a:pt x="462" y="3496"/>
                    </a:lnTo>
                    <a:lnTo>
                      <a:pt x="464" y="3496"/>
                    </a:lnTo>
                    <a:lnTo>
                      <a:pt x="466" y="3492"/>
                    </a:lnTo>
                    <a:lnTo>
                      <a:pt x="466" y="3492"/>
                    </a:lnTo>
                    <a:lnTo>
                      <a:pt x="466" y="3492"/>
                    </a:lnTo>
                    <a:lnTo>
                      <a:pt x="468" y="3494"/>
                    </a:lnTo>
                    <a:lnTo>
                      <a:pt x="470" y="3498"/>
                    </a:lnTo>
                    <a:lnTo>
                      <a:pt x="478" y="3500"/>
                    </a:lnTo>
                    <a:lnTo>
                      <a:pt x="478" y="3500"/>
                    </a:lnTo>
                    <a:lnTo>
                      <a:pt x="496" y="3504"/>
                    </a:lnTo>
                    <a:lnTo>
                      <a:pt x="502" y="3504"/>
                    </a:lnTo>
                    <a:lnTo>
                      <a:pt x="504" y="3504"/>
                    </a:lnTo>
                    <a:lnTo>
                      <a:pt x="504" y="3502"/>
                    </a:lnTo>
                    <a:lnTo>
                      <a:pt x="504" y="3502"/>
                    </a:lnTo>
                    <a:lnTo>
                      <a:pt x="504" y="3500"/>
                    </a:lnTo>
                    <a:lnTo>
                      <a:pt x="506" y="3500"/>
                    </a:lnTo>
                    <a:lnTo>
                      <a:pt x="510" y="3502"/>
                    </a:lnTo>
                    <a:lnTo>
                      <a:pt x="510" y="3364"/>
                    </a:lnTo>
                    <a:lnTo>
                      <a:pt x="510" y="3364"/>
                    </a:lnTo>
                    <a:lnTo>
                      <a:pt x="508" y="3362"/>
                    </a:lnTo>
                    <a:lnTo>
                      <a:pt x="504" y="3360"/>
                    </a:lnTo>
                    <a:lnTo>
                      <a:pt x="500" y="3360"/>
                    </a:lnTo>
                    <a:lnTo>
                      <a:pt x="496" y="3364"/>
                    </a:lnTo>
                    <a:lnTo>
                      <a:pt x="490" y="3366"/>
                    </a:lnTo>
                    <a:lnTo>
                      <a:pt x="490" y="3366"/>
                    </a:lnTo>
                    <a:close/>
                    <a:moveTo>
                      <a:pt x="298" y="2826"/>
                    </a:moveTo>
                    <a:lnTo>
                      <a:pt x="298" y="2826"/>
                    </a:lnTo>
                    <a:lnTo>
                      <a:pt x="304" y="2826"/>
                    </a:lnTo>
                    <a:lnTo>
                      <a:pt x="306" y="2824"/>
                    </a:lnTo>
                    <a:lnTo>
                      <a:pt x="306" y="2822"/>
                    </a:lnTo>
                    <a:lnTo>
                      <a:pt x="304" y="2820"/>
                    </a:lnTo>
                    <a:lnTo>
                      <a:pt x="302" y="2814"/>
                    </a:lnTo>
                    <a:lnTo>
                      <a:pt x="304" y="2812"/>
                    </a:lnTo>
                    <a:lnTo>
                      <a:pt x="308" y="2812"/>
                    </a:lnTo>
                    <a:lnTo>
                      <a:pt x="308" y="2812"/>
                    </a:lnTo>
                    <a:lnTo>
                      <a:pt x="310" y="2812"/>
                    </a:lnTo>
                    <a:lnTo>
                      <a:pt x="312" y="2810"/>
                    </a:lnTo>
                    <a:lnTo>
                      <a:pt x="310" y="2806"/>
                    </a:lnTo>
                    <a:lnTo>
                      <a:pt x="308" y="2800"/>
                    </a:lnTo>
                    <a:lnTo>
                      <a:pt x="308" y="2798"/>
                    </a:lnTo>
                    <a:lnTo>
                      <a:pt x="310" y="2798"/>
                    </a:lnTo>
                    <a:lnTo>
                      <a:pt x="310" y="2798"/>
                    </a:lnTo>
                    <a:lnTo>
                      <a:pt x="314" y="2798"/>
                    </a:lnTo>
                    <a:lnTo>
                      <a:pt x="314" y="2794"/>
                    </a:lnTo>
                    <a:lnTo>
                      <a:pt x="304" y="2784"/>
                    </a:lnTo>
                    <a:lnTo>
                      <a:pt x="304" y="2784"/>
                    </a:lnTo>
                    <a:lnTo>
                      <a:pt x="302" y="2780"/>
                    </a:lnTo>
                    <a:lnTo>
                      <a:pt x="302" y="2778"/>
                    </a:lnTo>
                    <a:lnTo>
                      <a:pt x="306" y="2776"/>
                    </a:lnTo>
                    <a:lnTo>
                      <a:pt x="306" y="2774"/>
                    </a:lnTo>
                    <a:lnTo>
                      <a:pt x="306" y="2774"/>
                    </a:lnTo>
                    <a:lnTo>
                      <a:pt x="306" y="2774"/>
                    </a:lnTo>
                    <a:lnTo>
                      <a:pt x="306" y="2770"/>
                    </a:lnTo>
                    <a:lnTo>
                      <a:pt x="306" y="2768"/>
                    </a:lnTo>
                    <a:lnTo>
                      <a:pt x="316" y="2764"/>
                    </a:lnTo>
                    <a:lnTo>
                      <a:pt x="316" y="2764"/>
                    </a:lnTo>
                    <a:lnTo>
                      <a:pt x="318" y="2764"/>
                    </a:lnTo>
                    <a:lnTo>
                      <a:pt x="320" y="2762"/>
                    </a:lnTo>
                    <a:lnTo>
                      <a:pt x="318" y="2758"/>
                    </a:lnTo>
                    <a:lnTo>
                      <a:pt x="312" y="2748"/>
                    </a:lnTo>
                    <a:lnTo>
                      <a:pt x="312" y="2748"/>
                    </a:lnTo>
                    <a:lnTo>
                      <a:pt x="310" y="2740"/>
                    </a:lnTo>
                    <a:lnTo>
                      <a:pt x="308" y="2738"/>
                    </a:lnTo>
                    <a:lnTo>
                      <a:pt x="302" y="2738"/>
                    </a:lnTo>
                    <a:lnTo>
                      <a:pt x="302" y="2738"/>
                    </a:lnTo>
                    <a:lnTo>
                      <a:pt x="298" y="2740"/>
                    </a:lnTo>
                    <a:lnTo>
                      <a:pt x="298" y="2738"/>
                    </a:lnTo>
                    <a:lnTo>
                      <a:pt x="298" y="2736"/>
                    </a:lnTo>
                    <a:lnTo>
                      <a:pt x="296" y="2736"/>
                    </a:lnTo>
                    <a:lnTo>
                      <a:pt x="296" y="2736"/>
                    </a:lnTo>
                    <a:lnTo>
                      <a:pt x="292" y="2736"/>
                    </a:lnTo>
                    <a:lnTo>
                      <a:pt x="290" y="2736"/>
                    </a:lnTo>
                    <a:lnTo>
                      <a:pt x="290" y="2738"/>
                    </a:lnTo>
                    <a:lnTo>
                      <a:pt x="290" y="2744"/>
                    </a:lnTo>
                    <a:lnTo>
                      <a:pt x="290" y="2744"/>
                    </a:lnTo>
                    <a:lnTo>
                      <a:pt x="290" y="2752"/>
                    </a:lnTo>
                    <a:lnTo>
                      <a:pt x="288" y="2756"/>
                    </a:lnTo>
                    <a:lnTo>
                      <a:pt x="286" y="2762"/>
                    </a:lnTo>
                    <a:lnTo>
                      <a:pt x="284" y="2770"/>
                    </a:lnTo>
                    <a:lnTo>
                      <a:pt x="284" y="2770"/>
                    </a:lnTo>
                    <a:lnTo>
                      <a:pt x="284" y="2778"/>
                    </a:lnTo>
                    <a:lnTo>
                      <a:pt x="286" y="2782"/>
                    </a:lnTo>
                    <a:lnTo>
                      <a:pt x="286" y="2790"/>
                    </a:lnTo>
                    <a:lnTo>
                      <a:pt x="282" y="2802"/>
                    </a:lnTo>
                    <a:lnTo>
                      <a:pt x="282" y="2802"/>
                    </a:lnTo>
                    <a:lnTo>
                      <a:pt x="278" y="2814"/>
                    </a:lnTo>
                    <a:lnTo>
                      <a:pt x="278" y="2818"/>
                    </a:lnTo>
                    <a:lnTo>
                      <a:pt x="280" y="2822"/>
                    </a:lnTo>
                    <a:lnTo>
                      <a:pt x="286" y="2824"/>
                    </a:lnTo>
                    <a:lnTo>
                      <a:pt x="298" y="2826"/>
                    </a:lnTo>
                    <a:lnTo>
                      <a:pt x="298" y="2826"/>
                    </a:lnTo>
                    <a:close/>
                    <a:moveTo>
                      <a:pt x="316" y="2894"/>
                    </a:moveTo>
                    <a:lnTo>
                      <a:pt x="316" y="2894"/>
                    </a:lnTo>
                    <a:lnTo>
                      <a:pt x="316" y="2898"/>
                    </a:lnTo>
                    <a:lnTo>
                      <a:pt x="318" y="2902"/>
                    </a:lnTo>
                    <a:lnTo>
                      <a:pt x="318" y="2902"/>
                    </a:lnTo>
                    <a:lnTo>
                      <a:pt x="318" y="2904"/>
                    </a:lnTo>
                    <a:lnTo>
                      <a:pt x="318" y="2906"/>
                    </a:lnTo>
                    <a:lnTo>
                      <a:pt x="318" y="2906"/>
                    </a:lnTo>
                    <a:lnTo>
                      <a:pt x="320" y="2908"/>
                    </a:lnTo>
                    <a:lnTo>
                      <a:pt x="320" y="2908"/>
                    </a:lnTo>
                    <a:lnTo>
                      <a:pt x="324" y="2910"/>
                    </a:lnTo>
                    <a:lnTo>
                      <a:pt x="330" y="2910"/>
                    </a:lnTo>
                    <a:lnTo>
                      <a:pt x="336" y="2902"/>
                    </a:lnTo>
                    <a:lnTo>
                      <a:pt x="336" y="2902"/>
                    </a:lnTo>
                    <a:lnTo>
                      <a:pt x="338" y="2900"/>
                    </a:lnTo>
                    <a:lnTo>
                      <a:pt x="338" y="2898"/>
                    </a:lnTo>
                    <a:lnTo>
                      <a:pt x="338" y="2896"/>
                    </a:lnTo>
                    <a:lnTo>
                      <a:pt x="338" y="2896"/>
                    </a:lnTo>
                    <a:lnTo>
                      <a:pt x="338" y="2896"/>
                    </a:lnTo>
                    <a:lnTo>
                      <a:pt x="342" y="2894"/>
                    </a:lnTo>
                    <a:lnTo>
                      <a:pt x="344" y="2890"/>
                    </a:lnTo>
                    <a:lnTo>
                      <a:pt x="342" y="2886"/>
                    </a:lnTo>
                    <a:lnTo>
                      <a:pt x="338" y="2882"/>
                    </a:lnTo>
                    <a:lnTo>
                      <a:pt x="338" y="2882"/>
                    </a:lnTo>
                    <a:lnTo>
                      <a:pt x="332" y="2880"/>
                    </a:lnTo>
                    <a:lnTo>
                      <a:pt x="330" y="2880"/>
                    </a:lnTo>
                    <a:lnTo>
                      <a:pt x="330" y="2882"/>
                    </a:lnTo>
                    <a:lnTo>
                      <a:pt x="328" y="2882"/>
                    </a:lnTo>
                    <a:lnTo>
                      <a:pt x="328" y="2882"/>
                    </a:lnTo>
                    <a:lnTo>
                      <a:pt x="326" y="2882"/>
                    </a:lnTo>
                    <a:lnTo>
                      <a:pt x="324" y="2882"/>
                    </a:lnTo>
                    <a:lnTo>
                      <a:pt x="324" y="2884"/>
                    </a:lnTo>
                    <a:lnTo>
                      <a:pt x="322" y="2888"/>
                    </a:lnTo>
                    <a:lnTo>
                      <a:pt x="322" y="2888"/>
                    </a:lnTo>
                    <a:lnTo>
                      <a:pt x="322" y="2892"/>
                    </a:lnTo>
                    <a:lnTo>
                      <a:pt x="320" y="2894"/>
                    </a:lnTo>
                    <a:lnTo>
                      <a:pt x="318" y="2894"/>
                    </a:lnTo>
                    <a:lnTo>
                      <a:pt x="316" y="2894"/>
                    </a:lnTo>
                    <a:lnTo>
                      <a:pt x="316" y="2894"/>
                    </a:lnTo>
                    <a:close/>
                    <a:moveTo>
                      <a:pt x="258" y="2836"/>
                    </a:moveTo>
                    <a:lnTo>
                      <a:pt x="258" y="2836"/>
                    </a:lnTo>
                    <a:lnTo>
                      <a:pt x="262" y="2838"/>
                    </a:lnTo>
                    <a:lnTo>
                      <a:pt x="264" y="2838"/>
                    </a:lnTo>
                    <a:lnTo>
                      <a:pt x="266" y="2836"/>
                    </a:lnTo>
                    <a:lnTo>
                      <a:pt x="266" y="2834"/>
                    </a:lnTo>
                    <a:lnTo>
                      <a:pt x="266" y="2834"/>
                    </a:lnTo>
                    <a:lnTo>
                      <a:pt x="262" y="2832"/>
                    </a:lnTo>
                    <a:lnTo>
                      <a:pt x="260" y="2832"/>
                    </a:lnTo>
                    <a:lnTo>
                      <a:pt x="258" y="2834"/>
                    </a:lnTo>
                    <a:lnTo>
                      <a:pt x="258" y="2836"/>
                    </a:lnTo>
                    <a:lnTo>
                      <a:pt x="258" y="2836"/>
                    </a:lnTo>
                    <a:close/>
                    <a:moveTo>
                      <a:pt x="324" y="2852"/>
                    </a:moveTo>
                    <a:lnTo>
                      <a:pt x="324" y="2852"/>
                    </a:lnTo>
                    <a:lnTo>
                      <a:pt x="320" y="2856"/>
                    </a:lnTo>
                    <a:lnTo>
                      <a:pt x="322" y="2858"/>
                    </a:lnTo>
                    <a:lnTo>
                      <a:pt x="324" y="2860"/>
                    </a:lnTo>
                    <a:lnTo>
                      <a:pt x="324" y="2860"/>
                    </a:lnTo>
                    <a:lnTo>
                      <a:pt x="324" y="2860"/>
                    </a:lnTo>
                    <a:lnTo>
                      <a:pt x="326" y="2858"/>
                    </a:lnTo>
                    <a:lnTo>
                      <a:pt x="326" y="2854"/>
                    </a:lnTo>
                    <a:lnTo>
                      <a:pt x="326" y="2852"/>
                    </a:lnTo>
                    <a:lnTo>
                      <a:pt x="324" y="2850"/>
                    </a:lnTo>
                    <a:lnTo>
                      <a:pt x="324" y="2852"/>
                    </a:lnTo>
                    <a:lnTo>
                      <a:pt x="324" y="2852"/>
                    </a:lnTo>
                    <a:close/>
                    <a:moveTo>
                      <a:pt x="266" y="2958"/>
                    </a:moveTo>
                    <a:lnTo>
                      <a:pt x="266" y="2958"/>
                    </a:lnTo>
                    <a:lnTo>
                      <a:pt x="270" y="2958"/>
                    </a:lnTo>
                    <a:lnTo>
                      <a:pt x="270" y="2954"/>
                    </a:lnTo>
                    <a:lnTo>
                      <a:pt x="270" y="2950"/>
                    </a:lnTo>
                    <a:lnTo>
                      <a:pt x="268" y="2950"/>
                    </a:lnTo>
                    <a:lnTo>
                      <a:pt x="268" y="2950"/>
                    </a:lnTo>
                    <a:lnTo>
                      <a:pt x="266" y="2952"/>
                    </a:lnTo>
                    <a:lnTo>
                      <a:pt x="264" y="2954"/>
                    </a:lnTo>
                    <a:lnTo>
                      <a:pt x="264" y="2956"/>
                    </a:lnTo>
                    <a:lnTo>
                      <a:pt x="266" y="2958"/>
                    </a:lnTo>
                    <a:lnTo>
                      <a:pt x="266" y="2958"/>
                    </a:lnTo>
                    <a:close/>
                    <a:moveTo>
                      <a:pt x="244" y="3242"/>
                    </a:moveTo>
                    <a:lnTo>
                      <a:pt x="244" y="3242"/>
                    </a:lnTo>
                    <a:lnTo>
                      <a:pt x="248" y="3238"/>
                    </a:lnTo>
                    <a:lnTo>
                      <a:pt x="248" y="3236"/>
                    </a:lnTo>
                    <a:lnTo>
                      <a:pt x="246" y="3236"/>
                    </a:lnTo>
                    <a:lnTo>
                      <a:pt x="240" y="3234"/>
                    </a:lnTo>
                    <a:lnTo>
                      <a:pt x="240" y="3234"/>
                    </a:lnTo>
                    <a:lnTo>
                      <a:pt x="234" y="3234"/>
                    </a:lnTo>
                    <a:lnTo>
                      <a:pt x="234" y="3236"/>
                    </a:lnTo>
                    <a:lnTo>
                      <a:pt x="236" y="3240"/>
                    </a:lnTo>
                    <a:lnTo>
                      <a:pt x="236" y="3242"/>
                    </a:lnTo>
                    <a:lnTo>
                      <a:pt x="236" y="3242"/>
                    </a:lnTo>
                    <a:lnTo>
                      <a:pt x="232" y="3248"/>
                    </a:lnTo>
                    <a:lnTo>
                      <a:pt x="234" y="3250"/>
                    </a:lnTo>
                    <a:lnTo>
                      <a:pt x="238" y="3252"/>
                    </a:lnTo>
                    <a:lnTo>
                      <a:pt x="238" y="3252"/>
                    </a:lnTo>
                    <a:lnTo>
                      <a:pt x="242" y="3254"/>
                    </a:lnTo>
                    <a:lnTo>
                      <a:pt x="242" y="3250"/>
                    </a:lnTo>
                    <a:lnTo>
                      <a:pt x="242" y="3246"/>
                    </a:lnTo>
                    <a:lnTo>
                      <a:pt x="244" y="3242"/>
                    </a:lnTo>
                    <a:lnTo>
                      <a:pt x="244" y="3242"/>
                    </a:lnTo>
                    <a:close/>
                    <a:moveTo>
                      <a:pt x="302" y="2848"/>
                    </a:moveTo>
                    <a:lnTo>
                      <a:pt x="302" y="2848"/>
                    </a:lnTo>
                    <a:lnTo>
                      <a:pt x="300" y="2846"/>
                    </a:lnTo>
                    <a:lnTo>
                      <a:pt x="298" y="2846"/>
                    </a:lnTo>
                    <a:lnTo>
                      <a:pt x="296" y="2846"/>
                    </a:lnTo>
                    <a:lnTo>
                      <a:pt x="292" y="2846"/>
                    </a:lnTo>
                    <a:lnTo>
                      <a:pt x="292" y="2846"/>
                    </a:lnTo>
                    <a:lnTo>
                      <a:pt x="288" y="2846"/>
                    </a:lnTo>
                    <a:lnTo>
                      <a:pt x="286" y="2848"/>
                    </a:lnTo>
                    <a:lnTo>
                      <a:pt x="288" y="2850"/>
                    </a:lnTo>
                    <a:lnTo>
                      <a:pt x="292" y="2854"/>
                    </a:lnTo>
                    <a:lnTo>
                      <a:pt x="292" y="2854"/>
                    </a:lnTo>
                    <a:lnTo>
                      <a:pt x="294" y="2854"/>
                    </a:lnTo>
                    <a:lnTo>
                      <a:pt x="296" y="2854"/>
                    </a:lnTo>
                    <a:lnTo>
                      <a:pt x="296" y="2854"/>
                    </a:lnTo>
                    <a:lnTo>
                      <a:pt x="300" y="2852"/>
                    </a:lnTo>
                    <a:lnTo>
                      <a:pt x="302" y="2850"/>
                    </a:lnTo>
                    <a:lnTo>
                      <a:pt x="302" y="2848"/>
                    </a:lnTo>
                    <a:lnTo>
                      <a:pt x="302" y="2848"/>
                    </a:lnTo>
                    <a:close/>
                    <a:moveTo>
                      <a:pt x="302" y="2912"/>
                    </a:moveTo>
                    <a:lnTo>
                      <a:pt x="302" y="2912"/>
                    </a:lnTo>
                    <a:lnTo>
                      <a:pt x="304" y="2910"/>
                    </a:lnTo>
                    <a:lnTo>
                      <a:pt x="302" y="2906"/>
                    </a:lnTo>
                    <a:lnTo>
                      <a:pt x="300" y="2904"/>
                    </a:lnTo>
                    <a:lnTo>
                      <a:pt x="298" y="2904"/>
                    </a:lnTo>
                    <a:lnTo>
                      <a:pt x="298" y="2904"/>
                    </a:lnTo>
                    <a:lnTo>
                      <a:pt x="296" y="2906"/>
                    </a:lnTo>
                    <a:lnTo>
                      <a:pt x="298" y="2910"/>
                    </a:lnTo>
                    <a:lnTo>
                      <a:pt x="300" y="2912"/>
                    </a:lnTo>
                    <a:lnTo>
                      <a:pt x="302" y="2912"/>
                    </a:lnTo>
                    <a:lnTo>
                      <a:pt x="302" y="2912"/>
                    </a:lnTo>
                    <a:close/>
                    <a:moveTo>
                      <a:pt x="306" y="2942"/>
                    </a:moveTo>
                    <a:lnTo>
                      <a:pt x="306" y="2942"/>
                    </a:lnTo>
                    <a:lnTo>
                      <a:pt x="304" y="2942"/>
                    </a:lnTo>
                    <a:lnTo>
                      <a:pt x="302" y="2948"/>
                    </a:lnTo>
                    <a:lnTo>
                      <a:pt x="302" y="2952"/>
                    </a:lnTo>
                    <a:lnTo>
                      <a:pt x="304" y="2958"/>
                    </a:lnTo>
                    <a:lnTo>
                      <a:pt x="304" y="2958"/>
                    </a:lnTo>
                    <a:lnTo>
                      <a:pt x="306" y="2958"/>
                    </a:lnTo>
                    <a:lnTo>
                      <a:pt x="308" y="2958"/>
                    </a:lnTo>
                    <a:lnTo>
                      <a:pt x="308" y="2952"/>
                    </a:lnTo>
                    <a:lnTo>
                      <a:pt x="308" y="2952"/>
                    </a:lnTo>
                    <a:lnTo>
                      <a:pt x="310" y="2944"/>
                    </a:lnTo>
                    <a:lnTo>
                      <a:pt x="308" y="2942"/>
                    </a:lnTo>
                    <a:lnTo>
                      <a:pt x="306" y="2942"/>
                    </a:lnTo>
                    <a:lnTo>
                      <a:pt x="306" y="2942"/>
                    </a:lnTo>
                    <a:close/>
                    <a:moveTo>
                      <a:pt x="278" y="2958"/>
                    </a:moveTo>
                    <a:lnTo>
                      <a:pt x="278" y="2958"/>
                    </a:lnTo>
                    <a:lnTo>
                      <a:pt x="280" y="2956"/>
                    </a:lnTo>
                    <a:lnTo>
                      <a:pt x="284" y="2952"/>
                    </a:lnTo>
                    <a:lnTo>
                      <a:pt x="284" y="2952"/>
                    </a:lnTo>
                    <a:lnTo>
                      <a:pt x="286" y="2950"/>
                    </a:lnTo>
                    <a:lnTo>
                      <a:pt x="284" y="2946"/>
                    </a:lnTo>
                    <a:lnTo>
                      <a:pt x="280" y="2942"/>
                    </a:lnTo>
                    <a:lnTo>
                      <a:pt x="280" y="2942"/>
                    </a:lnTo>
                    <a:lnTo>
                      <a:pt x="276" y="2942"/>
                    </a:lnTo>
                    <a:lnTo>
                      <a:pt x="274" y="2944"/>
                    </a:lnTo>
                    <a:lnTo>
                      <a:pt x="272" y="2946"/>
                    </a:lnTo>
                    <a:lnTo>
                      <a:pt x="274" y="2950"/>
                    </a:lnTo>
                    <a:lnTo>
                      <a:pt x="274" y="2950"/>
                    </a:lnTo>
                    <a:lnTo>
                      <a:pt x="274" y="2952"/>
                    </a:lnTo>
                    <a:lnTo>
                      <a:pt x="274" y="2956"/>
                    </a:lnTo>
                    <a:lnTo>
                      <a:pt x="274" y="2958"/>
                    </a:lnTo>
                    <a:lnTo>
                      <a:pt x="278" y="2958"/>
                    </a:lnTo>
                    <a:lnTo>
                      <a:pt x="278" y="2958"/>
                    </a:lnTo>
                    <a:close/>
                    <a:moveTo>
                      <a:pt x="1872" y="956"/>
                    </a:moveTo>
                    <a:lnTo>
                      <a:pt x="1872" y="956"/>
                    </a:lnTo>
                    <a:lnTo>
                      <a:pt x="1868" y="926"/>
                    </a:lnTo>
                    <a:lnTo>
                      <a:pt x="1864" y="900"/>
                    </a:lnTo>
                    <a:lnTo>
                      <a:pt x="1862" y="888"/>
                    </a:lnTo>
                    <a:lnTo>
                      <a:pt x="1858" y="876"/>
                    </a:lnTo>
                    <a:lnTo>
                      <a:pt x="1852" y="868"/>
                    </a:lnTo>
                    <a:lnTo>
                      <a:pt x="1844" y="858"/>
                    </a:lnTo>
                    <a:lnTo>
                      <a:pt x="1844" y="858"/>
                    </a:lnTo>
                    <a:lnTo>
                      <a:pt x="1836" y="852"/>
                    </a:lnTo>
                    <a:lnTo>
                      <a:pt x="1830" y="850"/>
                    </a:lnTo>
                    <a:lnTo>
                      <a:pt x="1824" y="850"/>
                    </a:lnTo>
                    <a:lnTo>
                      <a:pt x="1816" y="850"/>
                    </a:lnTo>
                    <a:lnTo>
                      <a:pt x="1810" y="852"/>
                    </a:lnTo>
                    <a:lnTo>
                      <a:pt x="1800" y="850"/>
                    </a:lnTo>
                    <a:lnTo>
                      <a:pt x="1788" y="846"/>
                    </a:lnTo>
                    <a:lnTo>
                      <a:pt x="1774" y="838"/>
                    </a:lnTo>
                    <a:lnTo>
                      <a:pt x="1774" y="838"/>
                    </a:lnTo>
                    <a:lnTo>
                      <a:pt x="1760" y="828"/>
                    </a:lnTo>
                    <a:lnTo>
                      <a:pt x="1750" y="820"/>
                    </a:lnTo>
                    <a:lnTo>
                      <a:pt x="1744" y="814"/>
                    </a:lnTo>
                    <a:lnTo>
                      <a:pt x="1740" y="808"/>
                    </a:lnTo>
                    <a:lnTo>
                      <a:pt x="1734" y="796"/>
                    </a:lnTo>
                    <a:lnTo>
                      <a:pt x="1728" y="788"/>
                    </a:lnTo>
                    <a:lnTo>
                      <a:pt x="1718" y="780"/>
                    </a:lnTo>
                    <a:lnTo>
                      <a:pt x="1718" y="780"/>
                    </a:lnTo>
                    <a:lnTo>
                      <a:pt x="1698" y="762"/>
                    </a:lnTo>
                    <a:lnTo>
                      <a:pt x="1688" y="754"/>
                    </a:lnTo>
                    <a:lnTo>
                      <a:pt x="1680" y="748"/>
                    </a:lnTo>
                    <a:lnTo>
                      <a:pt x="1670" y="742"/>
                    </a:lnTo>
                    <a:lnTo>
                      <a:pt x="1660" y="740"/>
                    </a:lnTo>
                    <a:lnTo>
                      <a:pt x="1646" y="740"/>
                    </a:lnTo>
                    <a:lnTo>
                      <a:pt x="1632" y="740"/>
                    </a:lnTo>
                    <a:lnTo>
                      <a:pt x="1632" y="740"/>
                    </a:lnTo>
                    <a:lnTo>
                      <a:pt x="1618" y="742"/>
                    </a:lnTo>
                    <a:lnTo>
                      <a:pt x="1602" y="742"/>
                    </a:lnTo>
                    <a:lnTo>
                      <a:pt x="1590" y="742"/>
                    </a:lnTo>
                    <a:lnTo>
                      <a:pt x="1578" y="738"/>
                    </a:lnTo>
                    <a:lnTo>
                      <a:pt x="1556" y="732"/>
                    </a:lnTo>
                    <a:lnTo>
                      <a:pt x="1536" y="722"/>
                    </a:lnTo>
                    <a:lnTo>
                      <a:pt x="1536" y="722"/>
                    </a:lnTo>
                    <a:lnTo>
                      <a:pt x="1530" y="722"/>
                    </a:lnTo>
                    <a:lnTo>
                      <a:pt x="1526" y="722"/>
                    </a:lnTo>
                    <a:lnTo>
                      <a:pt x="1516" y="724"/>
                    </a:lnTo>
                    <a:lnTo>
                      <a:pt x="1508" y="730"/>
                    </a:lnTo>
                    <a:lnTo>
                      <a:pt x="1500" y="738"/>
                    </a:lnTo>
                    <a:lnTo>
                      <a:pt x="1488" y="750"/>
                    </a:lnTo>
                    <a:lnTo>
                      <a:pt x="1482" y="754"/>
                    </a:lnTo>
                    <a:lnTo>
                      <a:pt x="1482" y="754"/>
                    </a:lnTo>
                    <a:lnTo>
                      <a:pt x="1480" y="752"/>
                    </a:lnTo>
                    <a:lnTo>
                      <a:pt x="1480" y="752"/>
                    </a:lnTo>
                    <a:lnTo>
                      <a:pt x="1478" y="748"/>
                    </a:lnTo>
                    <a:lnTo>
                      <a:pt x="1478" y="742"/>
                    </a:lnTo>
                    <a:lnTo>
                      <a:pt x="1482" y="728"/>
                    </a:lnTo>
                    <a:lnTo>
                      <a:pt x="1486" y="716"/>
                    </a:lnTo>
                    <a:lnTo>
                      <a:pt x="1488" y="712"/>
                    </a:lnTo>
                    <a:lnTo>
                      <a:pt x="1486" y="708"/>
                    </a:lnTo>
                    <a:lnTo>
                      <a:pt x="1486" y="708"/>
                    </a:lnTo>
                    <a:lnTo>
                      <a:pt x="1482" y="702"/>
                    </a:lnTo>
                    <a:lnTo>
                      <a:pt x="1480" y="698"/>
                    </a:lnTo>
                    <a:lnTo>
                      <a:pt x="1478" y="688"/>
                    </a:lnTo>
                    <a:lnTo>
                      <a:pt x="1476" y="684"/>
                    </a:lnTo>
                    <a:lnTo>
                      <a:pt x="1470" y="680"/>
                    </a:lnTo>
                    <a:lnTo>
                      <a:pt x="1464" y="678"/>
                    </a:lnTo>
                    <a:lnTo>
                      <a:pt x="1454" y="674"/>
                    </a:lnTo>
                    <a:lnTo>
                      <a:pt x="1454" y="674"/>
                    </a:lnTo>
                    <a:lnTo>
                      <a:pt x="1444" y="670"/>
                    </a:lnTo>
                    <a:lnTo>
                      <a:pt x="1438" y="668"/>
                    </a:lnTo>
                    <a:lnTo>
                      <a:pt x="1428" y="658"/>
                    </a:lnTo>
                    <a:lnTo>
                      <a:pt x="1420" y="652"/>
                    </a:lnTo>
                    <a:lnTo>
                      <a:pt x="1416" y="650"/>
                    </a:lnTo>
                    <a:lnTo>
                      <a:pt x="1410" y="650"/>
                    </a:lnTo>
                    <a:lnTo>
                      <a:pt x="1410" y="650"/>
                    </a:lnTo>
                    <a:lnTo>
                      <a:pt x="1400" y="648"/>
                    </a:lnTo>
                    <a:lnTo>
                      <a:pt x="1392" y="644"/>
                    </a:lnTo>
                    <a:lnTo>
                      <a:pt x="1382" y="640"/>
                    </a:lnTo>
                    <a:lnTo>
                      <a:pt x="1362" y="638"/>
                    </a:lnTo>
                    <a:lnTo>
                      <a:pt x="1362" y="638"/>
                    </a:lnTo>
                    <a:lnTo>
                      <a:pt x="1354" y="638"/>
                    </a:lnTo>
                    <a:lnTo>
                      <a:pt x="1348" y="640"/>
                    </a:lnTo>
                    <a:lnTo>
                      <a:pt x="1340" y="644"/>
                    </a:lnTo>
                    <a:lnTo>
                      <a:pt x="1332" y="654"/>
                    </a:lnTo>
                    <a:lnTo>
                      <a:pt x="1326" y="662"/>
                    </a:lnTo>
                    <a:lnTo>
                      <a:pt x="1318" y="676"/>
                    </a:lnTo>
                    <a:lnTo>
                      <a:pt x="1314" y="678"/>
                    </a:lnTo>
                    <a:lnTo>
                      <a:pt x="1312" y="674"/>
                    </a:lnTo>
                    <a:lnTo>
                      <a:pt x="1312" y="674"/>
                    </a:lnTo>
                    <a:lnTo>
                      <a:pt x="1310" y="666"/>
                    </a:lnTo>
                    <a:lnTo>
                      <a:pt x="1314" y="658"/>
                    </a:lnTo>
                    <a:lnTo>
                      <a:pt x="1322" y="642"/>
                    </a:lnTo>
                    <a:lnTo>
                      <a:pt x="1326" y="634"/>
                    </a:lnTo>
                    <a:lnTo>
                      <a:pt x="1326" y="628"/>
                    </a:lnTo>
                    <a:lnTo>
                      <a:pt x="1326" y="626"/>
                    </a:lnTo>
                    <a:lnTo>
                      <a:pt x="1322" y="622"/>
                    </a:lnTo>
                    <a:lnTo>
                      <a:pt x="1314" y="618"/>
                    </a:lnTo>
                    <a:lnTo>
                      <a:pt x="1314" y="618"/>
                    </a:lnTo>
                    <a:lnTo>
                      <a:pt x="1296" y="614"/>
                    </a:lnTo>
                    <a:lnTo>
                      <a:pt x="1288" y="614"/>
                    </a:lnTo>
                    <a:lnTo>
                      <a:pt x="1278" y="616"/>
                    </a:lnTo>
                    <a:lnTo>
                      <a:pt x="1256" y="612"/>
                    </a:lnTo>
                    <a:lnTo>
                      <a:pt x="1256" y="612"/>
                    </a:lnTo>
                    <a:lnTo>
                      <a:pt x="1246" y="612"/>
                    </a:lnTo>
                    <a:lnTo>
                      <a:pt x="1240" y="614"/>
                    </a:lnTo>
                    <a:lnTo>
                      <a:pt x="1234" y="620"/>
                    </a:lnTo>
                    <a:lnTo>
                      <a:pt x="1230" y="626"/>
                    </a:lnTo>
                    <a:lnTo>
                      <a:pt x="1230" y="634"/>
                    </a:lnTo>
                    <a:lnTo>
                      <a:pt x="1228" y="642"/>
                    </a:lnTo>
                    <a:lnTo>
                      <a:pt x="1228" y="656"/>
                    </a:lnTo>
                    <a:lnTo>
                      <a:pt x="1228" y="656"/>
                    </a:lnTo>
                    <a:lnTo>
                      <a:pt x="1226" y="652"/>
                    </a:lnTo>
                    <a:lnTo>
                      <a:pt x="1222" y="652"/>
                    </a:lnTo>
                    <a:lnTo>
                      <a:pt x="1216" y="658"/>
                    </a:lnTo>
                    <a:lnTo>
                      <a:pt x="1214" y="660"/>
                    </a:lnTo>
                    <a:lnTo>
                      <a:pt x="1212" y="660"/>
                    </a:lnTo>
                    <a:lnTo>
                      <a:pt x="1212" y="658"/>
                    </a:lnTo>
                    <a:lnTo>
                      <a:pt x="1214" y="650"/>
                    </a:lnTo>
                    <a:lnTo>
                      <a:pt x="1214" y="650"/>
                    </a:lnTo>
                    <a:lnTo>
                      <a:pt x="1216" y="642"/>
                    </a:lnTo>
                    <a:lnTo>
                      <a:pt x="1214" y="638"/>
                    </a:lnTo>
                    <a:lnTo>
                      <a:pt x="1210" y="636"/>
                    </a:lnTo>
                    <a:lnTo>
                      <a:pt x="1206" y="638"/>
                    </a:lnTo>
                    <a:lnTo>
                      <a:pt x="1198" y="640"/>
                    </a:lnTo>
                    <a:lnTo>
                      <a:pt x="1198" y="640"/>
                    </a:lnTo>
                    <a:lnTo>
                      <a:pt x="1198" y="636"/>
                    </a:lnTo>
                    <a:lnTo>
                      <a:pt x="1198" y="636"/>
                    </a:lnTo>
                    <a:lnTo>
                      <a:pt x="1202" y="632"/>
                    </a:lnTo>
                    <a:lnTo>
                      <a:pt x="1202" y="628"/>
                    </a:lnTo>
                    <a:lnTo>
                      <a:pt x="1204" y="620"/>
                    </a:lnTo>
                    <a:lnTo>
                      <a:pt x="1204" y="616"/>
                    </a:lnTo>
                    <a:lnTo>
                      <a:pt x="1206" y="614"/>
                    </a:lnTo>
                    <a:lnTo>
                      <a:pt x="1210" y="610"/>
                    </a:lnTo>
                    <a:lnTo>
                      <a:pt x="1216" y="608"/>
                    </a:lnTo>
                    <a:lnTo>
                      <a:pt x="1216" y="608"/>
                    </a:lnTo>
                    <a:lnTo>
                      <a:pt x="1224" y="604"/>
                    </a:lnTo>
                    <a:lnTo>
                      <a:pt x="1230" y="596"/>
                    </a:lnTo>
                    <a:lnTo>
                      <a:pt x="1240" y="582"/>
                    </a:lnTo>
                    <a:lnTo>
                      <a:pt x="1248" y="566"/>
                    </a:lnTo>
                    <a:lnTo>
                      <a:pt x="1254" y="560"/>
                    </a:lnTo>
                    <a:lnTo>
                      <a:pt x="1260" y="556"/>
                    </a:lnTo>
                    <a:lnTo>
                      <a:pt x="1260" y="556"/>
                    </a:lnTo>
                    <a:lnTo>
                      <a:pt x="1264" y="554"/>
                    </a:lnTo>
                    <a:lnTo>
                      <a:pt x="1266" y="548"/>
                    </a:lnTo>
                    <a:lnTo>
                      <a:pt x="1266" y="542"/>
                    </a:lnTo>
                    <a:lnTo>
                      <a:pt x="1266" y="536"/>
                    </a:lnTo>
                    <a:lnTo>
                      <a:pt x="1264" y="528"/>
                    </a:lnTo>
                    <a:lnTo>
                      <a:pt x="1260" y="524"/>
                    </a:lnTo>
                    <a:lnTo>
                      <a:pt x="1256" y="520"/>
                    </a:lnTo>
                    <a:lnTo>
                      <a:pt x="1252" y="518"/>
                    </a:lnTo>
                    <a:lnTo>
                      <a:pt x="1252" y="518"/>
                    </a:lnTo>
                    <a:lnTo>
                      <a:pt x="1244" y="518"/>
                    </a:lnTo>
                    <a:lnTo>
                      <a:pt x="1240" y="516"/>
                    </a:lnTo>
                    <a:lnTo>
                      <a:pt x="1238" y="514"/>
                    </a:lnTo>
                    <a:lnTo>
                      <a:pt x="1238" y="508"/>
                    </a:lnTo>
                    <a:lnTo>
                      <a:pt x="1238" y="508"/>
                    </a:lnTo>
                    <a:lnTo>
                      <a:pt x="1236" y="504"/>
                    </a:lnTo>
                    <a:lnTo>
                      <a:pt x="1234" y="502"/>
                    </a:lnTo>
                    <a:lnTo>
                      <a:pt x="1234" y="500"/>
                    </a:lnTo>
                    <a:lnTo>
                      <a:pt x="1232" y="494"/>
                    </a:lnTo>
                    <a:lnTo>
                      <a:pt x="1232" y="494"/>
                    </a:lnTo>
                    <a:lnTo>
                      <a:pt x="1232" y="490"/>
                    </a:lnTo>
                    <a:lnTo>
                      <a:pt x="1230" y="488"/>
                    </a:lnTo>
                    <a:lnTo>
                      <a:pt x="1228" y="484"/>
                    </a:lnTo>
                    <a:lnTo>
                      <a:pt x="1226" y="480"/>
                    </a:lnTo>
                    <a:lnTo>
                      <a:pt x="1226" y="480"/>
                    </a:lnTo>
                    <a:lnTo>
                      <a:pt x="1226" y="476"/>
                    </a:lnTo>
                    <a:lnTo>
                      <a:pt x="1226" y="472"/>
                    </a:lnTo>
                    <a:lnTo>
                      <a:pt x="1222" y="466"/>
                    </a:lnTo>
                    <a:lnTo>
                      <a:pt x="1222" y="466"/>
                    </a:lnTo>
                    <a:lnTo>
                      <a:pt x="1220" y="444"/>
                    </a:lnTo>
                    <a:lnTo>
                      <a:pt x="1218" y="422"/>
                    </a:lnTo>
                    <a:lnTo>
                      <a:pt x="1218" y="422"/>
                    </a:lnTo>
                    <a:lnTo>
                      <a:pt x="1218" y="418"/>
                    </a:lnTo>
                    <a:lnTo>
                      <a:pt x="1216" y="416"/>
                    </a:lnTo>
                    <a:lnTo>
                      <a:pt x="1214" y="414"/>
                    </a:lnTo>
                    <a:lnTo>
                      <a:pt x="1212" y="410"/>
                    </a:lnTo>
                    <a:lnTo>
                      <a:pt x="1212" y="410"/>
                    </a:lnTo>
                    <a:lnTo>
                      <a:pt x="1206" y="398"/>
                    </a:lnTo>
                    <a:lnTo>
                      <a:pt x="1202" y="392"/>
                    </a:lnTo>
                    <a:lnTo>
                      <a:pt x="1200" y="392"/>
                    </a:lnTo>
                    <a:lnTo>
                      <a:pt x="1200" y="392"/>
                    </a:lnTo>
                    <a:lnTo>
                      <a:pt x="1198" y="394"/>
                    </a:lnTo>
                    <a:lnTo>
                      <a:pt x="1198" y="396"/>
                    </a:lnTo>
                    <a:lnTo>
                      <a:pt x="1196" y="402"/>
                    </a:lnTo>
                    <a:lnTo>
                      <a:pt x="1192" y="410"/>
                    </a:lnTo>
                    <a:lnTo>
                      <a:pt x="1192" y="410"/>
                    </a:lnTo>
                    <a:lnTo>
                      <a:pt x="1192" y="406"/>
                    </a:lnTo>
                    <a:lnTo>
                      <a:pt x="1192" y="404"/>
                    </a:lnTo>
                    <a:lnTo>
                      <a:pt x="1192" y="400"/>
                    </a:lnTo>
                    <a:lnTo>
                      <a:pt x="1192" y="394"/>
                    </a:lnTo>
                    <a:lnTo>
                      <a:pt x="1192" y="394"/>
                    </a:lnTo>
                    <a:lnTo>
                      <a:pt x="1188" y="380"/>
                    </a:lnTo>
                    <a:lnTo>
                      <a:pt x="1188" y="380"/>
                    </a:lnTo>
                    <a:lnTo>
                      <a:pt x="1186" y="380"/>
                    </a:lnTo>
                    <a:lnTo>
                      <a:pt x="1184" y="382"/>
                    </a:lnTo>
                    <a:lnTo>
                      <a:pt x="1182" y="382"/>
                    </a:lnTo>
                    <a:lnTo>
                      <a:pt x="1180" y="380"/>
                    </a:lnTo>
                    <a:lnTo>
                      <a:pt x="1178" y="374"/>
                    </a:lnTo>
                    <a:lnTo>
                      <a:pt x="1178" y="374"/>
                    </a:lnTo>
                    <a:lnTo>
                      <a:pt x="1174" y="372"/>
                    </a:lnTo>
                    <a:lnTo>
                      <a:pt x="1172" y="368"/>
                    </a:lnTo>
                    <a:lnTo>
                      <a:pt x="1166" y="364"/>
                    </a:lnTo>
                    <a:lnTo>
                      <a:pt x="1158" y="360"/>
                    </a:lnTo>
                    <a:lnTo>
                      <a:pt x="1154" y="356"/>
                    </a:lnTo>
                    <a:lnTo>
                      <a:pt x="1150" y="350"/>
                    </a:lnTo>
                    <a:lnTo>
                      <a:pt x="1150" y="350"/>
                    </a:lnTo>
                    <a:lnTo>
                      <a:pt x="1148" y="346"/>
                    </a:lnTo>
                    <a:lnTo>
                      <a:pt x="1144" y="342"/>
                    </a:lnTo>
                    <a:lnTo>
                      <a:pt x="1136" y="338"/>
                    </a:lnTo>
                    <a:lnTo>
                      <a:pt x="1126" y="334"/>
                    </a:lnTo>
                    <a:lnTo>
                      <a:pt x="1114" y="330"/>
                    </a:lnTo>
                    <a:lnTo>
                      <a:pt x="1114" y="330"/>
                    </a:lnTo>
                    <a:lnTo>
                      <a:pt x="1102" y="324"/>
                    </a:lnTo>
                    <a:lnTo>
                      <a:pt x="1102" y="324"/>
                    </a:lnTo>
                    <a:lnTo>
                      <a:pt x="1102" y="324"/>
                    </a:lnTo>
                    <a:lnTo>
                      <a:pt x="1102" y="324"/>
                    </a:lnTo>
                    <a:lnTo>
                      <a:pt x="1072" y="316"/>
                    </a:lnTo>
                    <a:lnTo>
                      <a:pt x="1060" y="314"/>
                    </a:lnTo>
                    <a:lnTo>
                      <a:pt x="1056" y="314"/>
                    </a:lnTo>
                    <a:lnTo>
                      <a:pt x="1056" y="314"/>
                    </a:lnTo>
                    <a:lnTo>
                      <a:pt x="1054" y="316"/>
                    </a:lnTo>
                    <a:lnTo>
                      <a:pt x="1048" y="316"/>
                    </a:lnTo>
                    <a:lnTo>
                      <a:pt x="1038" y="314"/>
                    </a:lnTo>
                    <a:lnTo>
                      <a:pt x="1038" y="314"/>
                    </a:lnTo>
                    <a:lnTo>
                      <a:pt x="1026" y="314"/>
                    </a:lnTo>
                    <a:lnTo>
                      <a:pt x="1024" y="316"/>
                    </a:lnTo>
                    <a:lnTo>
                      <a:pt x="1022" y="318"/>
                    </a:lnTo>
                    <a:lnTo>
                      <a:pt x="1022" y="318"/>
                    </a:lnTo>
                    <a:lnTo>
                      <a:pt x="1022" y="322"/>
                    </a:lnTo>
                    <a:lnTo>
                      <a:pt x="1018" y="322"/>
                    </a:lnTo>
                    <a:lnTo>
                      <a:pt x="1006" y="318"/>
                    </a:lnTo>
                    <a:lnTo>
                      <a:pt x="998" y="316"/>
                    </a:lnTo>
                    <a:lnTo>
                      <a:pt x="990" y="314"/>
                    </a:lnTo>
                    <a:lnTo>
                      <a:pt x="982" y="316"/>
                    </a:lnTo>
                    <a:lnTo>
                      <a:pt x="974" y="318"/>
                    </a:lnTo>
                    <a:lnTo>
                      <a:pt x="974" y="318"/>
                    </a:lnTo>
                    <a:lnTo>
                      <a:pt x="972" y="316"/>
                    </a:lnTo>
                    <a:lnTo>
                      <a:pt x="972" y="314"/>
                    </a:lnTo>
                    <a:lnTo>
                      <a:pt x="968" y="308"/>
                    </a:lnTo>
                    <a:lnTo>
                      <a:pt x="966" y="302"/>
                    </a:lnTo>
                    <a:lnTo>
                      <a:pt x="964" y="300"/>
                    </a:lnTo>
                    <a:lnTo>
                      <a:pt x="962" y="298"/>
                    </a:lnTo>
                    <a:lnTo>
                      <a:pt x="962" y="298"/>
                    </a:lnTo>
                    <a:lnTo>
                      <a:pt x="958" y="296"/>
                    </a:lnTo>
                    <a:lnTo>
                      <a:pt x="956" y="294"/>
                    </a:lnTo>
                    <a:lnTo>
                      <a:pt x="954" y="288"/>
                    </a:lnTo>
                    <a:lnTo>
                      <a:pt x="952" y="284"/>
                    </a:lnTo>
                    <a:lnTo>
                      <a:pt x="948" y="280"/>
                    </a:lnTo>
                    <a:lnTo>
                      <a:pt x="942" y="276"/>
                    </a:lnTo>
                    <a:lnTo>
                      <a:pt x="934" y="274"/>
                    </a:lnTo>
                    <a:lnTo>
                      <a:pt x="934" y="274"/>
                    </a:lnTo>
                    <a:lnTo>
                      <a:pt x="920" y="270"/>
                    </a:lnTo>
                    <a:lnTo>
                      <a:pt x="916" y="268"/>
                    </a:lnTo>
                    <a:lnTo>
                      <a:pt x="916" y="264"/>
                    </a:lnTo>
                    <a:lnTo>
                      <a:pt x="918" y="254"/>
                    </a:lnTo>
                    <a:lnTo>
                      <a:pt x="918" y="254"/>
                    </a:lnTo>
                    <a:lnTo>
                      <a:pt x="918" y="248"/>
                    </a:lnTo>
                    <a:lnTo>
                      <a:pt x="918" y="242"/>
                    </a:lnTo>
                    <a:lnTo>
                      <a:pt x="914" y="234"/>
                    </a:lnTo>
                    <a:lnTo>
                      <a:pt x="908" y="228"/>
                    </a:lnTo>
                    <a:lnTo>
                      <a:pt x="892" y="214"/>
                    </a:lnTo>
                    <a:lnTo>
                      <a:pt x="868" y="198"/>
                    </a:lnTo>
                    <a:lnTo>
                      <a:pt x="868" y="198"/>
                    </a:lnTo>
                    <a:lnTo>
                      <a:pt x="862" y="192"/>
                    </a:lnTo>
                    <a:lnTo>
                      <a:pt x="862" y="192"/>
                    </a:lnTo>
                    <a:lnTo>
                      <a:pt x="852" y="188"/>
                    </a:lnTo>
                    <a:lnTo>
                      <a:pt x="840" y="188"/>
                    </a:lnTo>
                    <a:lnTo>
                      <a:pt x="830" y="188"/>
                    </a:lnTo>
                    <a:lnTo>
                      <a:pt x="818" y="190"/>
                    </a:lnTo>
                    <a:lnTo>
                      <a:pt x="804" y="194"/>
                    </a:lnTo>
                    <a:lnTo>
                      <a:pt x="802" y="192"/>
                    </a:lnTo>
                    <a:lnTo>
                      <a:pt x="804" y="190"/>
                    </a:lnTo>
                    <a:lnTo>
                      <a:pt x="804" y="190"/>
                    </a:lnTo>
                    <a:lnTo>
                      <a:pt x="808" y="184"/>
                    </a:lnTo>
                    <a:lnTo>
                      <a:pt x="810" y="180"/>
                    </a:lnTo>
                    <a:lnTo>
                      <a:pt x="812" y="172"/>
                    </a:lnTo>
                    <a:lnTo>
                      <a:pt x="814" y="164"/>
                    </a:lnTo>
                    <a:lnTo>
                      <a:pt x="816" y="160"/>
                    </a:lnTo>
                    <a:lnTo>
                      <a:pt x="822" y="156"/>
                    </a:lnTo>
                    <a:lnTo>
                      <a:pt x="822" y="156"/>
                    </a:lnTo>
                    <a:lnTo>
                      <a:pt x="826" y="152"/>
                    </a:lnTo>
                    <a:lnTo>
                      <a:pt x="826" y="150"/>
                    </a:lnTo>
                    <a:lnTo>
                      <a:pt x="826" y="148"/>
                    </a:lnTo>
                    <a:lnTo>
                      <a:pt x="822" y="146"/>
                    </a:lnTo>
                    <a:lnTo>
                      <a:pt x="814" y="142"/>
                    </a:lnTo>
                    <a:lnTo>
                      <a:pt x="810" y="138"/>
                    </a:lnTo>
                    <a:lnTo>
                      <a:pt x="808" y="134"/>
                    </a:lnTo>
                    <a:lnTo>
                      <a:pt x="808" y="134"/>
                    </a:lnTo>
                    <a:lnTo>
                      <a:pt x="804" y="130"/>
                    </a:lnTo>
                    <a:lnTo>
                      <a:pt x="800" y="128"/>
                    </a:lnTo>
                    <a:lnTo>
                      <a:pt x="792" y="128"/>
                    </a:lnTo>
                    <a:lnTo>
                      <a:pt x="784" y="126"/>
                    </a:lnTo>
                    <a:lnTo>
                      <a:pt x="780" y="124"/>
                    </a:lnTo>
                    <a:lnTo>
                      <a:pt x="778" y="122"/>
                    </a:lnTo>
                    <a:lnTo>
                      <a:pt x="778" y="122"/>
                    </a:lnTo>
                    <a:lnTo>
                      <a:pt x="772" y="116"/>
                    </a:lnTo>
                    <a:lnTo>
                      <a:pt x="766" y="112"/>
                    </a:lnTo>
                    <a:lnTo>
                      <a:pt x="752" y="104"/>
                    </a:lnTo>
                    <a:lnTo>
                      <a:pt x="746" y="100"/>
                    </a:lnTo>
                    <a:lnTo>
                      <a:pt x="744" y="98"/>
                    </a:lnTo>
                    <a:lnTo>
                      <a:pt x="748" y="94"/>
                    </a:lnTo>
                    <a:lnTo>
                      <a:pt x="756" y="92"/>
                    </a:lnTo>
                    <a:lnTo>
                      <a:pt x="756" y="92"/>
                    </a:lnTo>
                    <a:lnTo>
                      <a:pt x="772" y="88"/>
                    </a:lnTo>
                    <a:lnTo>
                      <a:pt x="782" y="84"/>
                    </a:lnTo>
                    <a:lnTo>
                      <a:pt x="782" y="82"/>
                    </a:lnTo>
                    <a:lnTo>
                      <a:pt x="778" y="80"/>
                    </a:lnTo>
                    <a:lnTo>
                      <a:pt x="762" y="78"/>
                    </a:lnTo>
                    <a:lnTo>
                      <a:pt x="762" y="78"/>
                    </a:lnTo>
                    <a:lnTo>
                      <a:pt x="744" y="78"/>
                    </a:lnTo>
                    <a:lnTo>
                      <a:pt x="736" y="80"/>
                    </a:lnTo>
                    <a:lnTo>
                      <a:pt x="726" y="82"/>
                    </a:lnTo>
                    <a:lnTo>
                      <a:pt x="706" y="84"/>
                    </a:lnTo>
                    <a:lnTo>
                      <a:pt x="706" y="84"/>
                    </a:lnTo>
                    <a:lnTo>
                      <a:pt x="696" y="84"/>
                    </a:lnTo>
                    <a:lnTo>
                      <a:pt x="688" y="86"/>
                    </a:lnTo>
                    <a:lnTo>
                      <a:pt x="684" y="88"/>
                    </a:lnTo>
                    <a:lnTo>
                      <a:pt x="682" y="92"/>
                    </a:lnTo>
                    <a:lnTo>
                      <a:pt x="680" y="98"/>
                    </a:lnTo>
                    <a:lnTo>
                      <a:pt x="678" y="100"/>
                    </a:lnTo>
                    <a:lnTo>
                      <a:pt x="674" y="104"/>
                    </a:lnTo>
                    <a:lnTo>
                      <a:pt x="674" y="104"/>
                    </a:lnTo>
                    <a:lnTo>
                      <a:pt x="662" y="110"/>
                    </a:lnTo>
                    <a:lnTo>
                      <a:pt x="654" y="112"/>
                    </a:lnTo>
                    <a:lnTo>
                      <a:pt x="646" y="112"/>
                    </a:lnTo>
                    <a:lnTo>
                      <a:pt x="638" y="112"/>
                    </a:lnTo>
                    <a:lnTo>
                      <a:pt x="630" y="108"/>
                    </a:lnTo>
                    <a:lnTo>
                      <a:pt x="622" y="102"/>
                    </a:lnTo>
                    <a:lnTo>
                      <a:pt x="616" y="94"/>
                    </a:lnTo>
                    <a:lnTo>
                      <a:pt x="616" y="94"/>
                    </a:lnTo>
                    <a:lnTo>
                      <a:pt x="612" y="88"/>
                    </a:lnTo>
                    <a:lnTo>
                      <a:pt x="608" y="86"/>
                    </a:lnTo>
                    <a:lnTo>
                      <a:pt x="602" y="84"/>
                    </a:lnTo>
                    <a:lnTo>
                      <a:pt x="594" y="84"/>
                    </a:lnTo>
                    <a:lnTo>
                      <a:pt x="580" y="86"/>
                    </a:lnTo>
                    <a:lnTo>
                      <a:pt x="564" y="90"/>
                    </a:lnTo>
                    <a:lnTo>
                      <a:pt x="548" y="94"/>
                    </a:lnTo>
                    <a:lnTo>
                      <a:pt x="536" y="94"/>
                    </a:lnTo>
                    <a:lnTo>
                      <a:pt x="530" y="92"/>
                    </a:lnTo>
                    <a:lnTo>
                      <a:pt x="526" y="90"/>
                    </a:lnTo>
                    <a:lnTo>
                      <a:pt x="524" y="84"/>
                    </a:lnTo>
                    <a:lnTo>
                      <a:pt x="522" y="78"/>
                    </a:lnTo>
                    <a:lnTo>
                      <a:pt x="522" y="78"/>
                    </a:lnTo>
                    <a:lnTo>
                      <a:pt x="520" y="64"/>
                    </a:lnTo>
                    <a:lnTo>
                      <a:pt x="516" y="56"/>
                    </a:lnTo>
                    <a:lnTo>
                      <a:pt x="508" y="50"/>
                    </a:lnTo>
                    <a:lnTo>
                      <a:pt x="500" y="46"/>
                    </a:lnTo>
                    <a:lnTo>
                      <a:pt x="490" y="44"/>
                    </a:lnTo>
                    <a:lnTo>
                      <a:pt x="482" y="40"/>
                    </a:lnTo>
                    <a:lnTo>
                      <a:pt x="474" y="32"/>
                    </a:lnTo>
                    <a:lnTo>
                      <a:pt x="468" y="22"/>
                    </a:lnTo>
                    <a:lnTo>
                      <a:pt x="468" y="22"/>
                    </a:lnTo>
                    <a:lnTo>
                      <a:pt x="464" y="12"/>
                    </a:lnTo>
                    <a:lnTo>
                      <a:pt x="458" y="8"/>
                    </a:lnTo>
                    <a:lnTo>
                      <a:pt x="454" y="8"/>
                    </a:lnTo>
                    <a:lnTo>
                      <a:pt x="450" y="10"/>
                    </a:lnTo>
                    <a:lnTo>
                      <a:pt x="446" y="16"/>
                    </a:lnTo>
                    <a:lnTo>
                      <a:pt x="444" y="22"/>
                    </a:lnTo>
                    <a:lnTo>
                      <a:pt x="444" y="28"/>
                    </a:lnTo>
                    <a:lnTo>
                      <a:pt x="444" y="34"/>
                    </a:lnTo>
                    <a:lnTo>
                      <a:pt x="444" y="34"/>
                    </a:lnTo>
                    <a:lnTo>
                      <a:pt x="448" y="40"/>
                    </a:lnTo>
                    <a:lnTo>
                      <a:pt x="452" y="48"/>
                    </a:lnTo>
                    <a:lnTo>
                      <a:pt x="452" y="50"/>
                    </a:lnTo>
                    <a:lnTo>
                      <a:pt x="448" y="52"/>
                    </a:lnTo>
                    <a:lnTo>
                      <a:pt x="430" y="56"/>
                    </a:lnTo>
                    <a:lnTo>
                      <a:pt x="430" y="56"/>
                    </a:lnTo>
                    <a:lnTo>
                      <a:pt x="420" y="60"/>
                    </a:lnTo>
                    <a:lnTo>
                      <a:pt x="410" y="64"/>
                    </a:lnTo>
                    <a:lnTo>
                      <a:pt x="402" y="70"/>
                    </a:lnTo>
                    <a:lnTo>
                      <a:pt x="398" y="74"/>
                    </a:lnTo>
                    <a:lnTo>
                      <a:pt x="392" y="80"/>
                    </a:lnTo>
                    <a:lnTo>
                      <a:pt x="390" y="78"/>
                    </a:lnTo>
                    <a:lnTo>
                      <a:pt x="388" y="72"/>
                    </a:lnTo>
                    <a:lnTo>
                      <a:pt x="388" y="72"/>
                    </a:lnTo>
                    <a:lnTo>
                      <a:pt x="386" y="64"/>
                    </a:lnTo>
                    <a:lnTo>
                      <a:pt x="380" y="56"/>
                    </a:lnTo>
                    <a:lnTo>
                      <a:pt x="380" y="56"/>
                    </a:lnTo>
                    <a:lnTo>
                      <a:pt x="376" y="52"/>
                    </a:lnTo>
                    <a:lnTo>
                      <a:pt x="376" y="48"/>
                    </a:lnTo>
                    <a:lnTo>
                      <a:pt x="378" y="44"/>
                    </a:lnTo>
                    <a:lnTo>
                      <a:pt x="382" y="40"/>
                    </a:lnTo>
                    <a:lnTo>
                      <a:pt x="392" y="32"/>
                    </a:lnTo>
                    <a:lnTo>
                      <a:pt x="402" y="26"/>
                    </a:lnTo>
                    <a:lnTo>
                      <a:pt x="402" y="26"/>
                    </a:lnTo>
                    <a:lnTo>
                      <a:pt x="402" y="26"/>
                    </a:lnTo>
                    <a:lnTo>
                      <a:pt x="402" y="26"/>
                    </a:lnTo>
                    <a:lnTo>
                      <a:pt x="406" y="24"/>
                    </a:lnTo>
                    <a:lnTo>
                      <a:pt x="410" y="20"/>
                    </a:lnTo>
                    <a:lnTo>
                      <a:pt x="410" y="14"/>
                    </a:lnTo>
                    <a:lnTo>
                      <a:pt x="410" y="10"/>
                    </a:lnTo>
                    <a:lnTo>
                      <a:pt x="408" y="6"/>
                    </a:lnTo>
                    <a:lnTo>
                      <a:pt x="404" y="2"/>
                    </a:lnTo>
                    <a:lnTo>
                      <a:pt x="398" y="0"/>
                    </a:lnTo>
                    <a:lnTo>
                      <a:pt x="390" y="0"/>
                    </a:lnTo>
                    <a:lnTo>
                      <a:pt x="390" y="0"/>
                    </a:lnTo>
                    <a:lnTo>
                      <a:pt x="378" y="4"/>
                    </a:lnTo>
                    <a:lnTo>
                      <a:pt x="374" y="6"/>
                    </a:lnTo>
                    <a:lnTo>
                      <a:pt x="370" y="10"/>
                    </a:lnTo>
                    <a:lnTo>
                      <a:pt x="362" y="20"/>
                    </a:lnTo>
                    <a:lnTo>
                      <a:pt x="354" y="26"/>
                    </a:lnTo>
                    <a:lnTo>
                      <a:pt x="344" y="36"/>
                    </a:lnTo>
                    <a:lnTo>
                      <a:pt x="344" y="36"/>
                    </a:lnTo>
                    <a:lnTo>
                      <a:pt x="328" y="46"/>
                    </a:lnTo>
                    <a:lnTo>
                      <a:pt x="316" y="50"/>
                    </a:lnTo>
                    <a:lnTo>
                      <a:pt x="306" y="52"/>
                    </a:lnTo>
                    <a:lnTo>
                      <a:pt x="298" y="52"/>
                    </a:lnTo>
                    <a:lnTo>
                      <a:pt x="294" y="50"/>
                    </a:lnTo>
                    <a:lnTo>
                      <a:pt x="290" y="50"/>
                    </a:lnTo>
                    <a:lnTo>
                      <a:pt x="286" y="52"/>
                    </a:lnTo>
                    <a:lnTo>
                      <a:pt x="284" y="58"/>
                    </a:lnTo>
                    <a:lnTo>
                      <a:pt x="284" y="58"/>
                    </a:lnTo>
                    <a:lnTo>
                      <a:pt x="280" y="66"/>
                    </a:lnTo>
                    <a:lnTo>
                      <a:pt x="276" y="68"/>
                    </a:lnTo>
                    <a:lnTo>
                      <a:pt x="270" y="68"/>
                    </a:lnTo>
                    <a:lnTo>
                      <a:pt x="266" y="66"/>
                    </a:lnTo>
                    <a:lnTo>
                      <a:pt x="256" y="62"/>
                    </a:lnTo>
                    <a:lnTo>
                      <a:pt x="252" y="64"/>
                    </a:lnTo>
                    <a:lnTo>
                      <a:pt x="250" y="68"/>
                    </a:lnTo>
                    <a:lnTo>
                      <a:pt x="250" y="68"/>
                    </a:lnTo>
                    <a:lnTo>
                      <a:pt x="248" y="72"/>
                    </a:lnTo>
                    <a:lnTo>
                      <a:pt x="244" y="78"/>
                    </a:lnTo>
                    <a:lnTo>
                      <a:pt x="238" y="86"/>
                    </a:lnTo>
                    <a:lnTo>
                      <a:pt x="234" y="92"/>
                    </a:lnTo>
                    <a:lnTo>
                      <a:pt x="232" y="100"/>
                    </a:lnTo>
                    <a:lnTo>
                      <a:pt x="230" y="110"/>
                    </a:lnTo>
                    <a:lnTo>
                      <a:pt x="230" y="122"/>
                    </a:lnTo>
                    <a:lnTo>
                      <a:pt x="230" y="122"/>
                    </a:lnTo>
                    <a:lnTo>
                      <a:pt x="230" y="134"/>
                    </a:lnTo>
                    <a:lnTo>
                      <a:pt x="226" y="142"/>
                    </a:lnTo>
                    <a:lnTo>
                      <a:pt x="224" y="144"/>
                    </a:lnTo>
                    <a:lnTo>
                      <a:pt x="220" y="146"/>
                    </a:lnTo>
                    <a:lnTo>
                      <a:pt x="214" y="146"/>
                    </a:lnTo>
                    <a:lnTo>
                      <a:pt x="210" y="148"/>
                    </a:lnTo>
                    <a:lnTo>
                      <a:pt x="208" y="150"/>
                    </a:lnTo>
                    <a:lnTo>
                      <a:pt x="206" y="158"/>
                    </a:lnTo>
                    <a:lnTo>
                      <a:pt x="206" y="158"/>
                    </a:lnTo>
                    <a:lnTo>
                      <a:pt x="202" y="166"/>
                    </a:lnTo>
                    <a:lnTo>
                      <a:pt x="198" y="170"/>
                    </a:lnTo>
                    <a:lnTo>
                      <a:pt x="180" y="202"/>
                    </a:lnTo>
                    <a:lnTo>
                      <a:pt x="180" y="202"/>
                    </a:lnTo>
                    <a:lnTo>
                      <a:pt x="182" y="212"/>
                    </a:lnTo>
                    <a:lnTo>
                      <a:pt x="182" y="214"/>
                    </a:lnTo>
                    <a:lnTo>
                      <a:pt x="180" y="214"/>
                    </a:lnTo>
                    <a:lnTo>
                      <a:pt x="176" y="210"/>
                    </a:lnTo>
                    <a:lnTo>
                      <a:pt x="144" y="264"/>
                    </a:lnTo>
                    <a:lnTo>
                      <a:pt x="144" y="264"/>
                    </a:lnTo>
                    <a:lnTo>
                      <a:pt x="146" y="274"/>
                    </a:lnTo>
                    <a:lnTo>
                      <a:pt x="148" y="278"/>
                    </a:lnTo>
                    <a:lnTo>
                      <a:pt x="152" y="280"/>
                    </a:lnTo>
                    <a:lnTo>
                      <a:pt x="152" y="280"/>
                    </a:lnTo>
                    <a:lnTo>
                      <a:pt x="156" y="284"/>
                    </a:lnTo>
                    <a:lnTo>
                      <a:pt x="158" y="286"/>
                    </a:lnTo>
                    <a:lnTo>
                      <a:pt x="158" y="290"/>
                    </a:lnTo>
                    <a:lnTo>
                      <a:pt x="156" y="296"/>
                    </a:lnTo>
                    <a:lnTo>
                      <a:pt x="154" y="304"/>
                    </a:lnTo>
                    <a:lnTo>
                      <a:pt x="154" y="310"/>
                    </a:lnTo>
                    <a:lnTo>
                      <a:pt x="156" y="314"/>
                    </a:lnTo>
                    <a:lnTo>
                      <a:pt x="156" y="314"/>
                    </a:lnTo>
                    <a:lnTo>
                      <a:pt x="162" y="320"/>
                    </a:lnTo>
                    <a:lnTo>
                      <a:pt x="162" y="324"/>
                    </a:lnTo>
                    <a:lnTo>
                      <a:pt x="160" y="328"/>
                    </a:lnTo>
                    <a:lnTo>
                      <a:pt x="158" y="330"/>
                    </a:lnTo>
                    <a:lnTo>
                      <a:pt x="154" y="334"/>
                    </a:lnTo>
                    <a:lnTo>
                      <a:pt x="152" y="338"/>
                    </a:lnTo>
                    <a:lnTo>
                      <a:pt x="150" y="348"/>
                    </a:lnTo>
                    <a:lnTo>
                      <a:pt x="152" y="360"/>
                    </a:lnTo>
                    <a:lnTo>
                      <a:pt x="152" y="360"/>
                    </a:lnTo>
                    <a:lnTo>
                      <a:pt x="154" y="374"/>
                    </a:lnTo>
                    <a:lnTo>
                      <a:pt x="154" y="386"/>
                    </a:lnTo>
                    <a:lnTo>
                      <a:pt x="152" y="406"/>
                    </a:lnTo>
                    <a:lnTo>
                      <a:pt x="152" y="418"/>
                    </a:lnTo>
                    <a:lnTo>
                      <a:pt x="152" y="422"/>
                    </a:lnTo>
                    <a:lnTo>
                      <a:pt x="156" y="424"/>
                    </a:lnTo>
                    <a:lnTo>
                      <a:pt x="156" y="424"/>
                    </a:lnTo>
                    <a:lnTo>
                      <a:pt x="158" y="428"/>
                    </a:lnTo>
                    <a:lnTo>
                      <a:pt x="158" y="434"/>
                    </a:lnTo>
                    <a:lnTo>
                      <a:pt x="158" y="444"/>
                    </a:lnTo>
                    <a:lnTo>
                      <a:pt x="154" y="454"/>
                    </a:lnTo>
                    <a:lnTo>
                      <a:pt x="150" y="464"/>
                    </a:lnTo>
                    <a:lnTo>
                      <a:pt x="144" y="472"/>
                    </a:lnTo>
                    <a:lnTo>
                      <a:pt x="138" y="478"/>
                    </a:lnTo>
                    <a:lnTo>
                      <a:pt x="132" y="480"/>
                    </a:lnTo>
                    <a:lnTo>
                      <a:pt x="132" y="480"/>
                    </a:lnTo>
                    <a:lnTo>
                      <a:pt x="118" y="482"/>
                    </a:lnTo>
                    <a:lnTo>
                      <a:pt x="110" y="486"/>
                    </a:lnTo>
                    <a:lnTo>
                      <a:pt x="106" y="490"/>
                    </a:lnTo>
                    <a:lnTo>
                      <a:pt x="104" y="494"/>
                    </a:lnTo>
                    <a:lnTo>
                      <a:pt x="104" y="498"/>
                    </a:lnTo>
                    <a:lnTo>
                      <a:pt x="104" y="504"/>
                    </a:lnTo>
                    <a:lnTo>
                      <a:pt x="104" y="504"/>
                    </a:lnTo>
                    <a:lnTo>
                      <a:pt x="104" y="510"/>
                    </a:lnTo>
                    <a:lnTo>
                      <a:pt x="102" y="512"/>
                    </a:lnTo>
                    <a:lnTo>
                      <a:pt x="96" y="516"/>
                    </a:lnTo>
                    <a:lnTo>
                      <a:pt x="92" y="518"/>
                    </a:lnTo>
                    <a:lnTo>
                      <a:pt x="92" y="520"/>
                    </a:lnTo>
                    <a:lnTo>
                      <a:pt x="94" y="526"/>
                    </a:lnTo>
                    <a:lnTo>
                      <a:pt x="98" y="536"/>
                    </a:lnTo>
                    <a:lnTo>
                      <a:pt x="98" y="536"/>
                    </a:lnTo>
                    <a:lnTo>
                      <a:pt x="98" y="540"/>
                    </a:lnTo>
                    <a:lnTo>
                      <a:pt x="98" y="542"/>
                    </a:lnTo>
                    <a:lnTo>
                      <a:pt x="92" y="548"/>
                    </a:lnTo>
                    <a:lnTo>
                      <a:pt x="84" y="552"/>
                    </a:lnTo>
                    <a:lnTo>
                      <a:pt x="74" y="554"/>
                    </a:lnTo>
                    <a:lnTo>
                      <a:pt x="64" y="558"/>
                    </a:lnTo>
                    <a:lnTo>
                      <a:pt x="56" y="562"/>
                    </a:lnTo>
                    <a:lnTo>
                      <a:pt x="50" y="570"/>
                    </a:lnTo>
                    <a:lnTo>
                      <a:pt x="50" y="574"/>
                    </a:lnTo>
                    <a:lnTo>
                      <a:pt x="50" y="578"/>
                    </a:lnTo>
                    <a:lnTo>
                      <a:pt x="50" y="578"/>
                    </a:lnTo>
                    <a:lnTo>
                      <a:pt x="50" y="592"/>
                    </a:lnTo>
                    <a:lnTo>
                      <a:pt x="48" y="600"/>
                    </a:lnTo>
                    <a:lnTo>
                      <a:pt x="46" y="606"/>
                    </a:lnTo>
                    <a:lnTo>
                      <a:pt x="42" y="610"/>
                    </a:lnTo>
                    <a:lnTo>
                      <a:pt x="36" y="618"/>
                    </a:lnTo>
                    <a:lnTo>
                      <a:pt x="34" y="624"/>
                    </a:lnTo>
                    <a:lnTo>
                      <a:pt x="34" y="632"/>
                    </a:lnTo>
                    <a:lnTo>
                      <a:pt x="34" y="632"/>
                    </a:lnTo>
                    <a:lnTo>
                      <a:pt x="34" y="642"/>
                    </a:lnTo>
                    <a:lnTo>
                      <a:pt x="30" y="646"/>
                    </a:lnTo>
                    <a:lnTo>
                      <a:pt x="28" y="648"/>
                    </a:lnTo>
                    <a:lnTo>
                      <a:pt x="22" y="650"/>
                    </a:lnTo>
                    <a:lnTo>
                      <a:pt x="18" y="652"/>
                    </a:lnTo>
                    <a:lnTo>
                      <a:pt x="16" y="654"/>
                    </a:lnTo>
                    <a:lnTo>
                      <a:pt x="14" y="660"/>
                    </a:lnTo>
                    <a:lnTo>
                      <a:pt x="16" y="670"/>
                    </a:lnTo>
                    <a:lnTo>
                      <a:pt x="16" y="670"/>
                    </a:lnTo>
                    <a:lnTo>
                      <a:pt x="18" y="688"/>
                    </a:lnTo>
                    <a:lnTo>
                      <a:pt x="20" y="698"/>
                    </a:lnTo>
                    <a:lnTo>
                      <a:pt x="18" y="706"/>
                    </a:lnTo>
                    <a:lnTo>
                      <a:pt x="18" y="710"/>
                    </a:lnTo>
                    <a:lnTo>
                      <a:pt x="16" y="714"/>
                    </a:lnTo>
                    <a:lnTo>
                      <a:pt x="18" y="716"/>
                    </a:lnTo>
                    <a:lnTo>
                      <a:pt x="28" y="728"/>
                    </a:lnTo>
                    <a:lnTo>
                      <a:pt x="28" y="728"/>
                    </a:lnTo>
                    <a:lnTo>
                      <a:pt x="34" y="734"/>
                    </a:lnTo>
                    <a:lnTo>
                      <a:pt x="42" y="736"/>
                    </a:lnTo>
                    <a:lnTo>
                      <a:pt x="46" y="736"/>
                    </a:lnTo>
                    <a:lnTo>
                      <a:pt x="50" y="732"/>
                    </a:lnTo>
                    <a:lnTo>
                      <a:pt x="54" y="726"/>
                    </a:lnTo>
                    <a:lnTo>
                      <a:pt x="56" y="726"/>
                    </a:lnTo>
                    <a:lnTo>
                      <a:pt x="56" y="730"/>
                    </a:lnTo>
                    <a:lnTo>
                      <a:pt x="56" y="730"/>
                    </a:lnTo>
                    <a:lnTo>
                      <a:pt x="56" y="744"/>
                    </a:lnTo>
                    <a:lnTo>
                      <a:pt x="54" y="756"/>
                    </a:lnTo>
                    <a:lnTo>
                      <a:pt x="52" y="760"/>
                    </a:lnTo>
                    <a:lnTo>
                      <a:pt x="48" y="766"/>
                    </a:lnTo>
                    <a:lnTo>
                      <a:pt x="44" y="768"/>
                    </a:lnTo>
                    <a:lnTo>
                      <a:pt x="38" y="770"/>
                    </a:lnTo>
                    <a:lnTo>
                      <a:pt x="38" y="770"/>
                    </a:lnTo>
                    <a:lnTo>
                      <a:pt x="22" y="786"/>
                    </a:lnTo>
                    <a:lnTo>
                      <a:pt x="12" y="800"/>
                    </a:lnTo>
                    <a:lnTo>
                      <a:pt x="6" y="812"/>
                    </a:lnTo>
                    <a:lnTo>
                      <a:pt x="2" y="824"/>
                    </a:lnTo>
                    <a:lnTo>
                      <a:pt x="0" y="836"/>
                    </a:lnTo>
                    <a:lnTo>
                      <a:pt x="0" y="844"/>
                    </a:lnTo>
                    <a:lnTo>
                      <a:pt x="2" y="860"/>
                    </a:lnTo>
                    <a:lnTo>
                      <a:pt x="2" y="860"/>
                    </a:lnTo>
                    <a:lnTo>
                      <a:pt x="4" y="866"/>
                    </a:lnTo>
                    <a:lnTo>
                      <a:pt x="8" y="870"/>
                    </a:lnTo>
                    <a:lnTo>
                      <a:pt x="16" y="876"/>
                    </a:lnTo>
                    <a:lnTo>
                      <a:pt x="18" y="878"/>
                    </a:lnTo>
                    <a:lnTo>
                      <a:pt x="18" y="882"/>
                    </a:lnTo>
                    <a:lnTo>
                      <a:pt x="18" y="884"/>
                    </a:lnTo>
                    <a:lnTo>
                      <a:pt x="12" y="888"/>
                    </a:lnTo>
                    <a:lnTo>
                      <a:pt x="12" y="888"/>
                    </a:lnTo>
                    <a:lnTo>
                      <a:pt x="8" y="892"/>
                    </a:lnTo>
                    <a:lnTo>
                      <a:pt x="6" y="896"/>
                    </a:lnTo>
                    <a:lnTo>
                      <a:pt x="6" y="900"/>
                    </a:lnTo>
                    <a:lnTo>
                      <a:pt x="6" y="902"/>
                    </a:lnTo>
                    <a:lnTo>
                      <a:pt x="12" y="908"/>
                    </a:lnTo>
                    <a:lnTo>
                      <a:pt x="22" y="914"/>
                    </a:lnTo>
                    <a:lnTo>
                      <a:pt x="44" y="926"/>
                    </a:lnTo>
                    <a:lnTo>
                      <a:pt x="54" y="934"/>
                    </a:lnTo>
                    <a:lnTo>
                      <a:pt x="56" y="938"/>
                    </a:lnTo>
                    <a:lnTo>
                      <a:pt x="58" y="944"/>
                    </a:lnTo>
                    <a:lnTo>
                      <a:pt x="58" y="944"/>
                    </a:lnTo>
                    <a:lnTo>
                      <a:pt x="62" y="960"/>
                    </a:lnTo>
                    <a:lnTo>
                      <a:pt x="68" y="972"/>
                    </a:lnTo>
                    <a:lnTo>
                      <a:pt x="74" y="980"/>
                    </a:lnTo>
                    <a:lnTo>
                      <a:pt x="80" y="988"/>
                    </a:lnTo>
                    <a:lnTo>
                      <a:pt x="92" y="1004"/>
                    </a:lnTo>
                    <a:lnTo>
                      <a:pt x="96" y="1014"/>
                    </a:lnTo>
                    <a:lnTo>
                      <a:pt x="100" y="1026"/>
                    </a:lnTo>
                    <a:lnTo>
                      <a:pt x="100" y="1026"/>
                    </a:lnTo>
                    <a:lnTo>
                      <a:pt x="104" y="1040"/>
                    </a:lnTo>
                    <a:lnTo>
                      <a:pt x="108" y="1056"/>
                    </a:lnTo>
                    <a:lnTo>
                      <a:pt x="122" y="1086"/>
                    </a:lnTo>
                    <a:lnTo>
                      <a:pt x="136" y="1114"/>
                    </a:lnTo>
                    <a:lnTo>
                      <a:pt x="142" y="1128"/>
                    </a:lnTo>
                    <a:lnTo>
                      <a:pt x="146" y="1142"/>
                    </a:lnTo>
                    <a:lnTo>
                      <a:pt x="146" y="1142"/>
                    </a:lnTo>
                    <a:lnTo>
                      <a:pt x="148" y="1152"/>
                    </a:lnTo>
                    <a:lnTo>
                      <a:pt x="152" y="1160"/>
                    </a:lnTo>
                    <a:lnTo>
                      <a:pt x="158" y="1172"/>
                    </a:lnTo>
                    <a:lnTo>
                      <a:pt x="162" y="1180"/>
                    </a:lnTo>
                    <a:lnTo>
                      <a:pt x="164" y="1186"/>
                    </a:lnTo>
                    <a:lnTo>
                      <a:pt x="164" y="1194"/>
                    </a:lnTo>
                    <a:lnTo>
                      <a:pt x="164" y="1194"/>
                    </a:lnTo>
                    <a:lnTo>
                      <a:pt x="166" y="1202"/>
                    </a:lnTo>
                    <a:lnTo>
                      <a:pt x="172" y="1210"/>
                    </a:lnTo>
                    <a:lnTo>
                      <a:pt x="184" y="1228"/>
                    </a:lnTo>
                    <a:lnTo>
                      <a:pt x="192" y="1238"/>
                    </a:lnTo>
                    <a:lnTo>
                      <a:pt x="198" y="1248"/>
                    </a:lnTo>
                    <a:lnTo>
                      <a:pt x="200" y="1260"/>
                    </a:lnTo>
                    <a:lnTo>
                      <a:pt x="200" y="1274"/>
                    </a:lnTo>
                    <a:lnTo>
                      <a:pt x="200" y="1274"/>
                    </a:lnTo>
                    <a:lnTo>
                      <a:pt x="200" y="1286"/>
                    </a:lnTo>
                    <a:lnTo>
                      <a:pt x="204" y="1298"/>
                    </a:lnTo>
                    <a:lnTo>
                      <a:pt x="208" y="1308"/>
                    </a:lnTo>
                    <a:lnTo>
                      <a:pt x="214" y="1316"/>
                    </a:lnTo>
                    <a:lnTo>
                      <a:pt x="228" y="1330"/>
                    </a:lnTo>
                    <a:lnTo>
                      <a:pt x="234" y="1338"/>
                    </a:lnTo>
                    <a:lnTo>
                      <a:pt x="238" y="1344"/>
                    </a:lnTo>
                    <a:lnTo>
                      <a:pt x="238" y="1344"/>
                    </a:lnTo>
                    <a:lnTo>
                      <a:pt x="246" y="1356"/>
                    </a:lnTo>
                    <a:lnTo>
                      <a:pt x="256" y="1368"/>
                    </a:lnTo>
                    <a:lnTo>
                      <a:pt x="278" y="1384"/>
                    </a:lnTo>
                    <a:lnTo>
                      <a:pt x="318" y="1406"/>
                    </a:lnTo>
                    <a:lnTo>
                      <a:pt x="318" y="1406"/>
                    </a:lnTo>
                    <a:lnTo>
                      <a:pt x="358" y="1428"/>
                    </a:lnTo>
                    <a:lnTo>
                      <a:pt x="380" y="1442"/>
                    </a:lnTo>
                    <a:lnTo>
                      <a:pt x="388" y="1448"/>
                    </a:lnTo>
                    <a:lnTo>
                      <a:pt x="392" y="1454"/>
                    </a:lnTo>
                    <a:lnTo>
                      <a:pt x="396" y="1460"/>
                    </a:lnTo>
                    <a:lnTo>
                      <a:pt x="398" y="1468"/>
                    </a:lnTo>
                    <a:lnTo>
                      <a:pt x="398" y="1468"/>
                    </a:lnTo>
                    <a:lnTo>
                      <a:pt x="400" y="1474"/>
                    </a:lnTo>
                    <a:lnTo>
                      <a:pt x="404" y="1480"/>
                    </a:lnTo>
                    <a:lnTo>
                      <a:pt x="408" y="1486"/>
                    </a:lnTo>
                    <a:lnTo>
                      <a:pt x="414" y="1490"/>
                    </a:lnTo>
                    <a:lnTo>
                      <a:pt x="426" y="1496"/>
                    </a:lnTo>
                    <a:lnTo>
                      <a:pt x="434" y="1500"/>
                    </a:lnTo>
                    <a:lnTo>
                      <a:pt x="440" y="1506"/>
                    </a:lnTo>
                    <a:lnTo>
                      <a:pt x="440" y="1506"/>
                    </a:lnTo>
                    <a:lnTo>
                      <a:pt x="438" y="1532"/>
                    </a:lnTo>
                    <a:lnTo>
                      <a:pt x="440" y="1542"/>
                    </a:lnTo>
                    <a:lnTo>
                      <a:pt x="442" y="1546"/>
                    </a:lnTo>
                    <a:lnTo>
                      <a:pt x="442" y="1552"/>
                    </a:lnTo>
                    <a:lnTo>
                      <a:pt x="442" y="1552"/>
                    </a:lnTo>
                    <a:lnTo>
                      <a:pt x="444" y="1564"/>
                    </a:lnTo>
                    <a:lnTo>
                      <a:pt x="446" y="1574"/>
                    </a:lnTo>
                    <a:lnTo>
                      <a:pt x="448" y="1586"/>
                    </a:lnTo>
                    <a:lnTo>
                      <a:pt x="448" y="1594"/>
                    </a:lnTo>
                    <a:lnTo>
                      <a:pt x="448" y="1604"/>
                    </a:lnTo>
                    <a:lnTo>
                      <a:pt x="448" y="1604"/>
                    </a:lnTo>
                    <a:lnTo>
                      <a:pt x="446" y="1614"/>
                    </a:lnTo>
                    <a:lnTo>
                      <a:pt x="446" y="1624"/>
                    </a:lnTo>
                    <a:lnTo>
                      <a:pt x="450" y="1640"/>
                    </a:lnTo>
                    <a:lnTo>
                      <a:pt x="452" y="1658"/>
                    </a:lnTo>
                    <a:lnTo>
                      <a:pt x="452" y="1670"/>
                    </a:lnTo>
                    <a:lnTo>
                      <a:pt x="448" y="1686"/>
                    </a:lnTo>
                    <a:lnTo>
                      <a:pt x="448" y="1686"/>
                    </a:lnTo>
                    <a:lnTo>
                      <a:pt x="444" y="1716"/>
                    </a:lnTo>
                    <a:lnTo>
                      <a:pt x="442" y="1732"/>
                    </a:lnTo>
                    <a:lnTo>
                      <a:pt x="440" y="1742"/>
                    </a:lnTo>
                    <a:lnTo>
                      <a:pt x="440" y="1744"/>
                    </a:lnTo>
                    <a:lnTo>
                      <a:pt x="438" y="1744"/>
                    </a:lnTo>
                    <a:lnTo>
                      <a:pt x="438" y="1744"/>
                    </a:lnTo>
                    <a:lnTo>
                      <a:pt x="436" y="1744"/>
                    </a:lnTo>
                    <a:lnTo>
                      <a:pt x="434" y="1746"/>
                    </a:lnTo>
                    <a:lnTo>
                      <a:pt x="430" y="1752"/>
                    </a:lnTo>
                    <a:lnTo>
                      <a:pt x="430" y="1760"/>
                    </a:lnTo>
                    <a:lnTo>
                      <a:pt x="430" y="1762"/>
                    </a:lnTo>
                    <a:lnTo>
                      <a:pt x="434" y="1764"/>
                    </a:lnTo>
                    <a:lnTo>
                      <a:pt x="434" y="1764"/>
                    </a:lnTo>
                    <a:lnTo>
                      <a:pt x="436" y="1768"/>
                    </a:lnTo>
                    <a:lnTo>
                      <a:pt x="436" y="1772"/>
                    </a:lnTo>
                    <a:lnTo>
                      <a:pt x="434" y="1788"/>
                    </a:lnTo>
                    <a:lnTo>
                      <a:pt x="430" y="1808"/>
                    </a:lnTo>
                    <a:lnTo>
                      <a:pt x="432" y="1820"/>
                    </a:lnTo>
                    <a:lnTo>
                      <a:pt x="434" y="1834"/>
                    </a:lnTo>
                    <a:lnTo>
                      <a:pt x="434" y="1834"/>
                    </a:lnTo>
                    <a:lnTo>
                      <a:pt x="436" y="1846"/>
                    </a:lnTo>
                    <a:lnTo>
                      <a:pt x="436" y="1856"/>
                    </a:lnTo>
                    <a:lnTo>
                      <a:pt x="434" y="1864"/>
                    </a:lnTo>
                    <a:lnTo>
                      <a:pt x="432" y="1870"/>
                    </a:lnTo>
                    <a:lnTo>
                      <a:pt x="428" y="1882"/>
                    </a:lnTo>
                    <a:lnTo>
                      <a:pt x="428" y="1888"/>
                    </a:lnTo>
                    <a:lnTo>
                      <a:pt x="430" y="1894"/>
                    </a:lnTo>
                    <a:lnTo>
                      <a:pt x="430" y="1894"/>
                    </a:lnTo>
                    <a:lnTo>
                      <a:pt x="432" y="1900"/>
                    </a:lnTo>
                    <a:lnTo>
                      <a:pt x="430" y="1908"/>
                    </a:lnTo>
                    <a:lnTo>
                      <a:pt x="424" y="1928"/>
                    </a:lnTo>
                    <a:lnTo>
                      <a:pt x="418" y="1946"/>
                    </a:lnTo>
                    <a:lnTo>
                      <a:pt x="416" y="1956"/>
                    </a:lnTo>
                    <a:lnTo>
                      <a:pt x="416" y="1964"/>
                    </a:lnTo>
                    <a:lnTo>
                      <a:pt x="416" y="1964"/>
                    </a:lnTo>
                    <a:lnTo>
                      <a:pt x="416" y="1974"/>
                    </a:lnTo>
                    <a:lnTo>
                      <a:pt x="414" y="1978"/>
                    </a:lnTo>
                    <a:lnTo>
                      <a:pt x="410" y="1986"/>
                    </a:lnTo>
                    <a:lnTo>
                      <a:pt x="408" y="2004"/>
                    </a:lnTo>
                    <a:lnTo>
                      <a:pt x="408" y="2004"/>
                    </a:lnTo>
                    <a:lnTo>
                      <a:pt x="408" y="2016"/>
                    </a:lnTo>
                    <a:lnTo>
                      <a:pt x="404" y="2024"/>
                    </a:lnTo>
                    <a:lnTo>
                      <a:pt x="400" y="2030"/>
                    </a:lnTo>
                    <a:lnTo>
                      <a:pt x="398" y="2036"/>
                    </a:lnTo>
                    <a:lnTo>
                      <a:pt x="394" y="2040"/>
                    </a:lnTo>
                    <a:lnTo>
                      <a:pt x="392" y="2044"/>
                    </a:lnTo>
                    <a:lnTo>
                      <a:pt x="392" y="2048"/>
                    </a:lnTo>
                    <a:lnTo>
                      <a:pt x="394" y="2056"/>
                    </a:lnTo>
                    <a:lnTo>
                      <a:pt x="394" y="2056"/>
                    </a:lnTo>
                    <a:lnTo>
                      <a:pt x="400" y="2072"/>
                    </a:lnTo>
                    <a:lnTo>
                      <a:pt x="402" y="2086"/>
                    </a:lnTo>
                    <a:lnTo>
                      <a:pt x="402" y="2098"/>
                    </a:lnTo>
                    <a:lnTo>
                      <a:pt x="400" y="2104"/>
                    </a:lnTo>
                    <a:lnTo>
                      <a:pt x="398" y="2108"/>
                    </a:lnTo>
                    <a:lnTo>
                      <a:pt x="398" y="2108"/>
                    </a:lnTo>
                    <a:lnTo>
                      <a:pt x="390" y="2116"/>
                    </a:lnTo>
                    <a:lnTo>
                      <a:pt x="386" y="2124"/>
                    </a:lnTo>
                    <a:lnTo>
                      <a:pt x="384" y="2130"/>
                    </a:lnTo>
                    <a:lnTo>
                      <a:pt x="384" y="2138"/>
                    </a:lnTo>
                    <a:lnTo>
                      <a:pt x="388" y="2162"/>
                    </a:lnTo>
                    <a:lnTo>
                      <a:pt x="388" y="2162"/>
                    </a:lnTo>
                    <a:lnTo>
                      <a:pt x="392" y="2186"/>
                    </a:lnTo>
                    <a:lnTo>
                      <a:pt x="392" y="2200"/>
                    </a:lnTo>
                    <a:lnTo>
                      <a:pt x="392" y="2212"/>
                    </a:lnTo>
                    <a:lnTo>
                      <a:pt x="396" y="2224"/>
                    </a:lnTo>
                    <a:lnTo>
                      <a:pt x="396" y="2224"/>
                    </a:lnTo>
                    <a:lnTo>
                      <a:pt x="398" y="2230"/>
                    </a:lnTo>
                    <a:lnTo>
                      <a:pt x="398" y="2236"/>
                    </a:lnTo>
                    <a:lnTo>
                      <a:pt x="392" y="2248"/>
                    </a:lnTo>
                    <a:lnTo>
                      <a:pt x="386" y="2262"/>
                    </a:lnTo>
                    <a:lnTo>
                      <a:pt x="386" y="2270"/>
                    </a:lnTo>
                    <a:lnTo>
                      <a:pt x="386" y="2280"/>
                    </a:lnTo>
                    <a:lnTo>
                      <a:pt x="386" y="2280"/>
                    </a:lnTo>
                    <a:lnTo>
                      <a:pt x="388" y="2288"/>
                    </a:lnTo>
                    <a:lnTo>
                      <a:pt x="388" y="2292"/>
                    </a:lnTo>
                    <a:lnTo>
                      <a:pt x="386" y="2294"/>
                    </a:lnTo>
                    <a:lnTo>
                      <a:pt x="384" y="2298"/>
                    </a:lnTo>
                    <a:lnTo>
                      <a:pt x="380" y="2300"/>
                    </a:lnTo>
                    <a:lnTo>
                      <a:pt x="378" y="2306"/>
                    </a:lnTo>
                    <a:lnTo>
                      <a:pt x="376" y="2314"/>
                    </a:lnTo>
                    <a:lnTo>
                      <a:pt x="374" y="2328"/>
                    </a:lnTo>
                    <a:lnTo>
                      <a:pt x="374" y="2328"/>
                    </a:lnTo>
                    <a:lnTo>
                      <a:pt x="372" y="2342"/>
                    </a:lnTo>
                    <a:lnTo>
                      <a:pt x="370" y="2354"/>
                    </a:lnTo>
                    <a:lnTo>
                      <a:pt x="362" y="2376"/>
                    </a:lnTo>
                    <a:lnTo>
                      <a:pt x="354" y="2390"/>
                    </a:lnTo>
                    <a:lnTo>
                      <a:pt x="350" y="2402"/>
                    </a:lnTo>
                    <a:lnTo>
                      <a:pt x="350" y="2402"/>
                    </a:lnTo>
                    <a:lnTo>
                      <a:pt x="348" y="2412"/>
                    </a:lnTo>
                    <a:lnTo>
                      <a:pt x="344" y="2414"/>
                    </a:lnTo>
                    <a:lnTo>
                      <a:pt x="342" y="2420"/>
                    </a:lnTo>
                    <a:lnTo>
                      <a:pt x="338" y="2434"/>
                    </a:lnTo>
                    <a:lnTo>
                      <a:pt x="338" y="2434"/>
                    </a:lnTo>
                    <a:lnTo>
                      <a:pt x="336" y="2446"/>
                    </a:lnTo>
                    <a:lnTo>
                      <a:pt x="334" y="2452"/>
                    </a:lnTo>
                    <a:lnTo>
                      <a:pt x="334" y="2454"/>
                    </a:lnTo>
                    <a:lnTo>
                      <a:pt x="332" y="2454"/>
                    </a:lnTo>
                    <a:lnTo>
                      <a:pt x="330" y="2452"/>
                    </a:lnTo>
                    <a:lnTo>
                      <a:pt x="330" y="2452"/>
                    </a:lnTo>
                    <a:lnTo>
                      <a:pt x="328" y="2462"/>
                    </a:lnTo>
                    <a:lnTo>
                      <a:pt x="328" y="2462"/>
                    </a:lnTo>
                    <a:lnTo>
                      <a:pt x="326" y="2474"/>
                    </a:lnTo>
                    <a:lnTo>
                      <a:pt x="324" y="2480"/>
                    </a:lnTo>
                    <a:lnTo>
                      <a:pt x="320" y="2482"/>
                    </a:lnTo>
                    <a:lnTo>
                      <a:pt x="318" y="2482"/>
                    </a:lnTo>
                    <a:lnTo>
                      <a:pt x="310" y="2480"/>
                    </a:lnTo>
                    <a:lnTo>
                      <a:pt x="308" y="2482"/>
                    </a:lnTo>
                    <a:lnTo>
                      <a:pt x="306" y="2486"/>
                    </a:lnTo>
                    <a:lnTo>
                      <a:pt x="306" y="2486"/>
                    </a:lnTo>
                    <a:lnTo>
                      <a:pt x="306" y="2498"/>
                    </a:lnTo>
                    <a:lnTo>
                      <a:pt x="306" y="2506"/>
                    </a:lnTo>
                    <a:lnTo>
                      <a:pt x="310" y="2514"/>
                    </a:lnTo>
                    <a:lnTo>
                      <a:pt x="314" y="2522"/>
                    </a:lnTo>
                    <a:lnTo>
                      <a:pt x="314" y="2530"/>
                    </a:lnTo>
                    <a:lnTo>
                      <a:pt x="314" y="2540"/>
                    </a:lnTo>
                    <a:lnTo>
                      <a:pt x="314" y="2540"/>
                    </a:lnTo>
                    <a:lnTo>
                      <a:pt x="312" y="2552"/>
                    </a:lnTo>
                    <a:lnTo>
                      <a:pt x="314" y="2560"/>
                    </a:lnTo>
                    <a:lnTo>
                      <a:pt x="318" y="2572"/>
                    </a:lnTo>
                    <a:lnTo>
                      <a:pt x="320" y="2576"/>
                    </a:lnTo>
                    <a:lnTo>
                      <a:pt x="322" y="2584"/>
                    </a:lnTo>
                    <a:lnTo>
                      <a:pt x="324" y="2594"/>
                    </a:lnTo>
                    <a:lnTo>
                      <a:pt x="322" y="2606"/>
                    </a:lnTo>
                    <a:lnTo>
                      <a:pt x="322" y="2606"/>
                    </a:lnTo>
                    <a:lnTo>
                      <a:pt x="320" y="2618"/>
                    </a:lnTo>
                    <a:lnTo>
                      <a:pt x="316" y="2624"/>
                    </a:lnTo>
                    <a:lnTo>
                      <a:pt x="314" y="2626"/>
                    </a:lnTo>
                    <a:lnTo>
                      <a:pt x="310" y="2626"/>
                    </a:lnTo>
                    <a:lnTo>
                      <a:pt x="308" y="2626"/>
                    </a:lnTo>
                    <a:lnTo>
                      <a:pt x="306" y="2628"/>
                    </a:lnTo>
                    <a:lnTo>
                      <a:pt x="304" y="2632"/>
                    </a:lnTo>
                    <a:lnTo>
                      <a:pt x="304" y="2642"/>
                    </a:lnTo>
                    <a:lnTo>
                      <a:pt x="304" y="2642"/>
                    </a:lnTo>
                    <a:lnTo>
                      <a:pt x="302" y="2658"/>
                    </a:lnTo>
                    <a:lnTo>
                      <a:pt x="298" y="2670"/>
                    </a:lnTo>
                    <a:lnTo>
                      <a:pt x="294" y="2686"/>
                    </a:lnTo>
                    <a:lnTo>
                      <a:pt x="292" y="2692"/>
                    </a:lnTo>
                    <a:lnTo>
                      <a:pt x="292" y="2696"/>
                    </a:lnTo>
                    <a:lnTo>
                      <a:pt x="294" y="2704"/>
                    </a:lnTo>
                    <a:lnTo>
                      <a:pt x="298" y="2712"/>
                    </a:lnTo>
                    <a:lnTo>
                      <a:pt x="298" y="2712"/>
                    </a:lnTo>
                    <a:lnTo>
                      <a:pt x="302" y="2722"/>
                    </a:lnTo>
                    <a:lnTo>
                      <a:pt x="308" y="2728"/>
                    </a:lnTo>
                    <a:lnTo>
                      <a:pt x="312" y="2732"/>
                    </a:lnTo>
                    <a:lnTo>
                      <a:pt x="316" y="2734"/>
                    </a:lnTo>
                    <a:lnTo>
                      <a:pt x="320" y="2734"/>
                    </a:lnTo>
                    <a:lnTo>
                      <a:pt x="324" y="2732"/>
                    </a:lnTo>
                    <a:lnTo>
                      <a:pt x="328" y="2728"/>
                    </a:lnTo>
                    <a:lnTo>
                      <a:pt x="330" y="2724"/>
                    </a:lnTo>
                    <a:lnTo>
                      <a:pt x="330" y="2724"/>
                    </a:lnTo>
                    <a:lnTo>
                      <a:pt x="334" y="2716"/>
                    </a:lnTo>
                    <a:lnTo>
                      <a:pt x="336" y="2716"/>
                    </a:lnTo>
                    <a:lnTo>
                      <a:pt x="338" y="2718"/>
                    </a:lnTo>
                    <a:lnTo>
                      <a:pt x="342" y="2722"/>
                    </a:lnTo>
                    <a:lnTo>
                      <a:pt x="346" y="2726"/>
                    </a:lnTo>
                    <a:lnTo>
                      <a:pt x="348" y="2728"/>
                    </a:lnTo>
                    <a:lnTo>
                      <a:pt x="348" y="2728"/>
                    </a:lnTo>
                    <a:lnTo>
                      <a:pt x="350" y="2730"/>
                    </a:lnTo>
                    <a:lnTo>
                      <a:pt x="350" y="2732"/>
                    </a:lnTo>
                    <a:lnTo>
                      <a:pt x="344" y="2738"/>
                    </a:lnTo>
                    <a:lnTo>
                      <a:pt x="340" y="2744"/>
                    </a:lnTo>
                    <a:lnTo>
                      <a:pt x="340" y="2746"/>
                    </a:lnTo>
                    <a:lnTo>
                      <a:pt x="344" y="2746"/>
                    </a:lnTo>
                    <a:lnTo>
                      <a:pt x="344" y="2746"/>
                    </a:lnTo>
                    <a:lnTo>
                      <a:pt x="350" y="2748"/>
                    </a:lnTo>
                    <a:lnTo>
                      <a:pt x="354" y="2752"/>
                    </a:lnTo>
                    <a:lnTo>
                      <a:pt x="356" y="2754"/>
                    </a:lnTo>
                    <a:lnTo>
                      <a:pt x="356" y="2760"/>
                    </a:lnTo>
                    <a:lnTo>
                      <a:pt x="356" y="2766"/>
                    </a:lnTo>
                    <a:lnTo>
                      <a:pt x="354" y="2766"/>
                    </a:lnTo>
                    <a:lnTo>
                      <a:pt x="352" y="2764"/>
                    </a:lnTo>
                    <a:lnTo>
                      <a:pt x="352" y="2764"/>
                    </a:lnTo>
                    <a:lnTo>
                      <a:pt x="348" y="2758"/>
                    </a:lnTo>
                    <a:lnTo>
                      <a:pt x="344" y="2758"/>
                    </a:lnTo>
                    <a:lnTo>
                      <a:pt x="342" y="2760"/>
                    </a:lnTo>
                    <a:lnTo>
                      <a:pt x="342" y="2766"/>
                    </a:lnTo>
                    <a:lnTo>
                      <a:pt x="342" y="2766"/>
                    </a:lnTo>
                    <a:lnTo>
                      <a:pt x="342" y="2774"/>
                    </a:lnTo>
                    <a:lnTo>
                      <a:pt x="342" y="2778"/>
                    </a:lnTo>
                    <a:lnTo>
                      <a:pt x="340" y="2782"/>
                    </a:lnTo>
                    <a:lnTo>
                      <a:pt x="342" y="2792"/>
                    </a:lnTo>
                    <a:lnTo>
                      <a:pt x="342" y="2792"/>
                    </a:lnTo>
                    <a:lnTo>
                      <a:pt x="342" y="2798"/>
                    </a:lnTo>
                    <a:lnTo>
                      <a:pt x="342" y="2804"/>
                    </a:lnTo>
                    <a:lnTo>
                      <a:pt x="336" y="2812"/>
                    </a:lnTo>
                    <a:lnTo>
                      <a:pt x="330" y="2820"/>
                    </a:lnTo>
                    <a:lnTo>
                      <a:pt x="330" y="2824"/>
                    </a:lnTo>
                    <a:lnTo>
                      <a:pt x="330" y="2830"/>
                    </a:lnTo>
                    <a:lnTo>
                      <a:pt x="330" y="2830"/>
                    </a:lnTo>
                    <a:lnTo>
                      <a:pt x="334" y="2840"/>
                    </a:lnTo>
                    <a:lnTo>
                      <a:pt x="332" y="2852"/>
                    </a:lnTo>
                    <a:lnTo>
                      <a:pt x="330" y="2860"/>
                    </a:lnTo>
                    <a:lnTo>
                      <a:pt x="326" y="2864"/>
                    </a:lnTo>
                    <a:lnTo>
                      <a:pt x="326" y="2864"/>
                    </a:lnTo>
                    <a:lnTo>
                      <a:pt x="324" y="2866"/>
                    </a:lnTo>
                    <a:lnTo>
                      <a:pt x="324" y="2870"/>
                    </a:lnTo>
                    <a:lnTo>
                      <a:pt x="330" y="2872"/>
                    </a:lnTo>
                    <a:lnTo>
                      <a:pt x="336" y="2874"/>
                    </a:lnTo>
                    <a:lnTo>
                      <a:pt x="336" y="2874"/>
                    </a:lnTo>
                    <a:lnTo>
                      <a:pt x="344" y="2878"/>
                    </a:lnTo>
                    <a:lnTo>
                      <a:pt x="346" y="2882"/>
                    </a:lnTo>
                    <a:lnTo>
                      <a:pt x="348" y="2890"/>
                    </a:lnTo>
                    <a:lnTo>
                      <a:pt x="346" y="2896"/>
                    </a:lnTo>
                    <a:lnTo>
                      <a:pt x="346" y="2896"/>
                    </a:lnTo>
                    <a:lnTo>
                      <a:pt x="342" y="2904"/>
                    </a:lnTo>
                    <a:lnTo>
                      <a:pt x="338" y="2908"/>
                    </a:lnTo>
                    <a:lnTo>
                      <a:pt x="332" y="2912"/>
                    </a:lnTo>
                    <a:lnTo>
                      <a:pt x="326" y="2916"/>
                    </a:lnTo>
                    <a:lnTo>
                      <a:pt x="326" y="2916"/>
                    </a:lnTo>
                    <a:lnTo>
                      <a:pt x="320" y="2918"/>
                    </a:lnTo>
                    <a:lnTo>
                      <a:pt x="318" y="2922"/>
                    </a:lnTo>
                    <a:lnTo>
                      <a:pt x="320" y="2926"/>
                    </a:lnTo>
                    <a:lnTo>
                      <a:pt x="322" y="2930"/>
                    </a:lnTo>
                    <a:lnTo>
                      <a:pt x="322" y="2930"/>
                    </a:lnTo>
                    <a:lnTo>
                      <a:pt x="322" y="2932"/>
                    </a:lnTo>
                    <a:lnTo>
                      <a:pt x="322" y="2932"/>
                    </a:lnTo>
                    <a:lnTo>
                      <a:pt x="320" y="2936"/>
                    </a:lnTo>
                    <a:lnTo>
                      <a:pt x="316" y="2940"/>
                    </a:lnTo>
                    <a:lnTo>
                      <a:pt x="312" y="2946"/>
                    </a:lnTo>
                    <a:lnTo>
                      <a:pt x="312" y="2946"/>
                    </a:lnTo>
                    <a:lnTo>
                      <a:pt x="312" y="2954"/>
                    </a:lnTo>
                    <a:lnTo>
                      <a:pt x="312" y="2956"/>
                    </a:lnTo>
                    <a:lnTo>
                      <a:pt x="312" y="2962"/>
                    </a:lnTo>
                    <a:lnTo>
                      <a:pt x="310" y="2974"/>
                    </a:lnTo>
                    <a:lnTo>
                      <a:pt x="310" y="2974"/>
                    </a:lnTo>
                    <a:lnTo>
                      <a:pt x="308" y="2986"/>
                    </a:lnTo>
                    <a:lnTo>
                      <a:pt x="308" y="2994"/>
                    </a:lnTo>
                    <a:lnTo>
                      <a:pt x="306" y="3000"/>
                    </a:lnTo>
                    <a:lnTo>
                      <a:pt x="300" y="3006"/>
                    </a:lnTo>
                    <a:lnTo>
                      <a:pt x="300" y="3006"/>
                    </a:lnTo>
                    <a:lnTo>
                      <a:pt x="298" y="3006"/>
                    </a:lnTo>
                    <a:lnTo>
                      <a:pt x="296" y="3006"/>
                    </a:lnTo>
                    <a:lnTo>
                      <a:pt x="298" y="2998"/>
                    </a:lnTo>
                    <a:lnTo>
                      <a:pt x="300" y="2988"/>
                    </a:lnTo>
                    <a:lnTo>
                      <a:pt x="300" y="2984"/>
                    </a:lnTo>
                    <a:lnTo>
                      <a:pt x="296" y="2980"/>
                    </a:lnTo>
                    <a:lnTo>
                      <a:pt x="296" y="2980"/>
                    </a:lnTo>
                    <a:lnTo>
                      <a:pt x="292" y="2978"/>
                    </a:lnTo>
                    <a:lnTo>
                      <a:pt x="290" y="2974"/>
                    </a:lnTo>
                    <a:lnTo>
                      <a:pt x="290" y="2968"/>
                    </a:lnTo>
                    <a:lnTo>
                      <a:pt x="290" y="2964"/>
                    </a:lnTo>
                    <a:lnTo>
                      <a:pt x="288" y="2962"/>
                    </a:lnTo>
                    <a:lnTo>
                      <a:pt x="282" y="2962"/>
                    </a:lnTo>
                    <a:lnTo>
                      <a:pt x="282" y="2962"/>
                    </a:lnTo>
                    <a:lnTo>
                      <a:pt x="276" y="2962"/>
                    </a:lnTo>
                    <a:lnTo>
                      <a:pt x="274" y="2964"/>
                    </a:lnTo>
                    <a:lnTo>
                      <a:pt x="274" y="2966"/>
                    </a:lnTo>
                    <a:lnTo>
                      <a:pt x="270" y="2964"/>
                    </a:lnTo>
                    <a:lnTo>
                      <a:pt x="270" y="2964"/>
                    </a:lnTo>
                    <a:lnTo>
                      <a:pt x="268" y="2964"/>
                    </a:lnTo>
                    <a:lnTo>
                      <a:pt x="266" y="2964"/>
                    </a:lnTo>
                    <a:lnTo>
                      <a:pt x="266" y="2968"/>
                    </a:lnTo>
                    <a:lnTo>
                      <a:pt x="266" y="2972"/>
                    </a:lnTo>
                    <a:lnTo>
                      <a:pt x="264" y="2976"/>
                    </a:lnTo>
                    <a:lnTo>
                      <a:pt x="260" y="2980"/>
                    </a:lnTo>
                    <a:lnTo>
                      <a:pt x="254" y="2986"/>
                    </a:lnTo>
                    <a:lnTo>
                      <a:pt x="254" y="2986"/>
                    </a:lnTo>
                    <a:lnTo>
                      <a:pt x="238" y="2994"/>
                    </a:lnTo>
                    <a:lnTo>
                      <a:pt x="228" y="3004"/>
                    </a:lnTo>
                    <a:lnTo>
                      <a:pt x="226" y="3008"/>
                    </a:lnTo>
                    <a:lnTo>
                      <a:pt x="224" y="3012"/>
                    </a:lnTo>
                    <a:lnTo>
                      <a:pt x="224" y="3016"/>
                    </a:lnTo>
                    <a:lnTo>
                      <a:pt x="226" y="3020"/>
                    </a:lnTo>
                    <a:lnTo>
                      <a:pt x="226" y="3020"/>
                    </a:lnTo>
                    <a:lnTo>
                      <a:pt x="232" y="3026"/>
                    </a:lnTo>
                    <a:lnTo>
                      <a:pt x="236" y="3026"/>
                    </a:lnTo>
                    <a:lnTo>
                      <a:pt x="236" y="3024"/>
                    </a:lnTo>
                    <a:lnTo>
                      <a:pt x="238" y="3016"/>
                    </a:lnTo>
                    <a:lnTo>
                      <a:pt x="238" y="3016"/>
                    </a:lnTo>
                    <a:lnTo>
                      <a:pt x="238" y="3010"/>
                    </a:lnTo>
                    <a:lnTo>
                      <a:pt x="242" y="3006"/>
                    </a:lnTo>
                    <a:lnTo>
                      <a:pt x="244" y="3006"/>
                    </a:lnTo>
                    <a:lnTo>
                      <a:pt x="248" y="3006"/>
                    </a:lnTo>
                    <a:lnTo>
                      <a:pt x="252" y="3012"/>
                    </a:lnTo>
                    <a:lnTo>
                      <a:pt x="252" y="3012"/>
                    </a:lnTo>
                    <a:lnTo>
                      <a:pt x="256" y="3018"/>
                    </a:lnTo>
                    <a:lnTo>
                      <a:pt x="264" y="3022"/>
                    </a:lnTo>
                    <a:lnTo>
                      <a:pt x="272" y="3024"/>
                    </a:lnTo>
                    <a:lnTo>
                      <a:pt x="274" y="3022"/>
                    </a:lnTo>
                    <a:lnTo>
                      <a:pt x="274" y="3020"/>
                    </a:lnTo>
                    <a:lnTo>
                      <a:pt x="274" y="3020"/>
                    </a:lnTo>
                    <a:lnTo>
                      <a:pt x="276" y="3016"/>
                    </a:lnTo>
                    <a:lnTo>
                      <a:pt x="278" y="3016"/>
                    </a:lnTo>
                    <a:lnTo>
                      <a:pt x="282" y="3018"/>
                    </a:lnTo>
                    <a:lnTo>
                      <a:pt x="286" y="3024"/>
                    </a:lnTo>
                    <a:lnTo>
                      <a:pt x="286" y="3024"/>
                    </a:lnTo>
                    <a:lnTo>
                      <a:pt x="290" y="3026"/>
                    </a:lnTo>
                    <a:lnTo>
                      <a:pt x="292" y="3028"/>
                    </a:lnTo>
                    <a:lnTo>
                      <a:pt x="296" y="3030"/>
                    </a:lnTo>
                    <a:lnTo>
                      <a:pt x="296" y="3036"/>
                    </a:lnTo>
                    <a:lnTo>
                      <a:pt x="296" y="3036"/>
                    </a:lnTo>
                    <a:lnTo>
                      <a:pt x="294" y="3040"/>
                    </a:lnTo>
                    <a:lnTo>
                      <a:pt x="292" y="3040"/>
                    </a:lnTo>
                    <a:lnTo>
                      <a:pt x="286" y="3042"/>
                    </a:lnTo>
                    <a:lnTo>
                      <a:pt x="280" y="3042"/>
                    </a:lnTo>
                    <a:lnTo>
                      <a:pt x="278" y="3044"/>
                    </a:lnTo>
                    <a:lnTo>
                      <a:pt x="276" y="3048"/>
                    </a:lnTo>
                    <a:lnTo>
                      <a:pt x="276" y="3048"/>
                    </a:lnTo>
                    <a:lnTo>
                      <a:pt x="274" y="3054"/>
                    </a:lnTo>
                    <a:lnTo>
                      <a:pt x="274" y="3056"/>
                    </a:lnTo>
                    <a:lnTo>
                      <a:pt x="280" y="3062"/>
                    </a:lnTo>
                    <a:lnTo>
                      <a:pt x="284" y="3064"/>
                    </a:lnTo>
                    <a:lnTo>
                      <a:pt x="282" y="3064"/>
                    </a:lnTo>
                    <a:lnTo>
                      <a:pt x="282" y="3064"/>
                    </a:lnTo>
                    <a:lnTo>
                      <a:pt x="272" y="3062"/>
                    </a:lnTo>
                    <a:lnTo>
                      <a:pt x="270" y="3062"/>
                    </a:lnTo>
                    <a:lnTo>
                      <a:pt x="268" y="3066"/>
                    </a:lnTo>
                    <a:lnTo>
                      <a:pt x="268" y="3066"/>
                    </a:lnTo>
                    <a:lnTo>
                      <a:pt x="266" y="3072"/>
                    </a:lnTo>
                    <a:lnTo>
                      <a:pt x="268" y="3074"/>
                    </a:lnTo>
                    <a:lnTo>
                      <a:pt x="272" y="3074"/>
                    </a:lnTo>
                    <a:lnTo>
                      <a:pt x="282" y="3074"/>
                    </a:lnTo>
                    <a:lnTo>
                      <a:pt x="282" y="3074"/>
                    </a:lnTo>
                    <a:lnTo>
                      <a:pt x="290" y="3074"/>
                    </a:lnTo>
                    <a:lnTo>
                      <a:pt x="296" y="3076"/>
                    </a:lnTo>
                    <a:lnTo>
                      <a:pt x="300" y="3078"/>
                    </a:lnTo>
                    <a:lnTo>
                      <a:pt x="302" y="3078"/>
                    </a:lnTo>
                    <a:lnTo>
                      <a:pt x="302" y="3074"/>
                    </a:lnTo>
                    <a:lnTo>
                      <a:pt x="302" y="3074"/>
                    </a:lnTo>
                    <a:lnTo>
                      <a:pt x="304" y="3072"/>
                    </a:lnTo>
                    <a:lnTo>
                      <a:pt x="306" y="3072"/>
                    </a:lnTo>
                    <a:lnTo>
                      <a:pt x="310" y="3076"/>
                    </a:lnTo>
                    <a:lnTo>
                      <a:pt x="312" y="3080"/>
                    </a:lnTo>
                    <a:lnTo>
                      <a:pt x="312" y="3082"/>
                    </a:lnTo>
                    <a:lnTo>
                      <a:pt x="310" y="3084"/>
                    </a:lnTo>
                    <a:lnTo>
                      <a:pt x="310" y="3084"/>
                    </a:lnTo>
                    <a:lnTo>
                      <a:pt x="308" y="3086"/>
                    </a:lnTo>
                    <a:lnTo>
                      <a:pt x="310" y="3088"/>
                    </a:lnTo>
                    <a:lnTo>
                      <a:pt x="314" y="3096"/>
                    </a:lnTo>
                    <a:lnTo>
                      <a:pt x="318" y="3100"/>
                    </a:lnTo>
                    <a:lnTo>
                      <a:pt x="318" y="3102"/>
                    </a:lnTo>
                    <a:lnTo>
                      <a:pt x="314" y="3100"/>
                    </a:lnTo>
                    <a:lnTo>
                      <a:pt x="314" y="3100"/>
                    </a:lnTo>
                    <a:lnTo>
                      <a:pt x="300" y="3090"/>
                    </a:lnTo>
                    <a:lnTo>
                      <a:pt x="294" y="3088"/>
                    </a:lnTo>
                    <a:lnTo>
                      <a:pt x="286" y="3088"/>
                    </a:lnTo>
                    <a:lnTo>
                      <a:pt x="286" y="3088"/>
                    </a:lnTo>
                    <a:lnTo>
                      <a:pt x="272" y="3086"/>
                    </a:lnTo>
                    <a:lnTo>
                      <a:pt x="268" y="3088"/>
                    </a:lnTo>
                    <a:lnTo>
                      <a:pt x="266" y="3088"/>
                    </a:lnTo>
                    <a:lnTo>
                      <a:pt x="268" y="3090"/>
                    </a:lnTo>
                    <a:lnTo>
                      <a:pt x="268" y="3090"/>
                    </a:lnTo>
                    <a:lnTo>
                      <a:pt x="270" y="3092"/>
                    </a:lnTo>
                    <a:lnTo>
                      <a:pt x="272" y="3092"/>
                    </a:lnTo>
                    <a:lnTo>
                      <a:pt x="274" y="3092"/>
                    </a:lnTo>
                    <a:lnTo>
                      <a:pt x="276" y="3096"/>
                    </a:lnTo>
                    <a:lnTo>
                      <a:pt x="276" y="3096"/>
                    </a:lnTo>
                    <a:lnTo>
                      <a:pt x="278" y="3100"/>
                    </a:lnTo>
                    <a:lnTo>
                      <a:pt x="282" y="3104"/>
                    </a:lnTo>
                    <a:lnTo>
                      <a:pt x="292" y="3110"/>
                    </a:lnTo>
                    <a:lnTo>
                      <a:pt x="292" y="3110"/>
                    </a:lnTo>
                    <a:lnTo>
                      <a:pt x="294" y="3112"/>
                    </a:lnTo>
                    <a:lnTo>
                      <a:pt x="294" y="3114"/>
                    </a:lnTo>
                    <a:lnTo>
                      <a:pt x="294" y="3116"/>
                    </a:lnTo>
                    <a:lnTo>
                      <a:pt x="294" y="3120"/>
                    </a:lnTo>
                    <a:lnTo>
                      <a:pt x="294" y="3120"/>
                    </a:lnTo>
                    <a:lnTo>
                      <a:pt x="294" y="3120"/>
                    </a:lnTo>
                    <a:lnTo>
                      <a:pt x="292" y="3120"/>
                    </a:lnTo>
                    <a:lnTo>
                      <a:pt x="288" y="3118"/>
                    </a:lnTo>
                    <a:lnTo>
                      <a:pt x="284" y="3116"/>
                    </a:lnTo>
                    <a:lnTo>
                      <a:pt x="280" y="3116"/>
                    </a:lnTo>
                    <a:lnTo>
                      <a:pt x="280" y="3120"/>
                    </a:lnTo>
                    <a:lnTo>
                      <a:pt x="280" y="3120"/>
                    </a:lnTo>
                    <a:lnTo>
                      <a:pt x="276" y="3132"/>
                    </a:lnTo>
                    <a:lnTo>
                      <a:pt x="276" y="3138"/>
                    </a:lnTo>
                    <a:lnTo>
                      <a:pt x="276" y="3148"/>
                    </a:lnTo>
                    <a:lnTo>
                      <a:pt x="276" y="3148"/>
                    </a:lnTo>
                    <a:lnTo>
                      <a:pt x="278" y="3168"/>
                    </a:lnTo>
                    <a:lnTo>
                      <a:pt x="280" y="3174"/>
                    </a:lnTo>
                    <a:lnTo>
                      <a:pt x="282" y="3178"/>
                    </a:lnTo>
                    <a:lnTo>
                      <a:pt x="282" y="3178"/>
                    </a:lnTo>
                    <a:lnTo>
                      <a:pt x="284" y="3178"/>
                    </a:lnTo>
                    <a:lnTo>
                      <a:pt x="284" y="3176"/>
                    </a:lnTo>
                    <a:lnTo>
                      <a:pt x="286" y="3168"/>
                    </a:lnTo>
                    <a:lnTo>
                      <a:pt x="288" y="3160"/>
                    </a:lnTo>
                    <a:lnTo>
                      <a:pt x="290" y="3156"/>
                    </a:lnTo>
                    <a:lnTo>
                      <a:pt x="290" y="3156"/>
                    </a:lnTo>
                    <a:lnTo>
                      <a:pt x="292" y="3154"/>
                    </a:lnTo>
                    <a:lnTo>
                      <a:pt x="292" y="3158"/>
                    </a:lnTo>
                    <a:lnTo>
                      <a:pt x="292" y="3164"/>
                    </a:lnTo>
                    <a:lnTo>
                      <a:pt x="292" y="3170"/>
                    </a:lnTo>
                    <a:lnTo>
                      <a:pt x="292" y="3170"/>
                    </a:lnTo>
                    <a:lnTo>
                      <a:pt x="294" y="3176"/>
                    </a:lnTo>
                    <a:lnTo>
                      <a:pt x="298" y="3182"/>
                    </a:lnTo>
                    <a:lnTo>
                      <a:pt x="300" y="3184"/>
                    </a:lnTo>
                    <a:lnTo>
                      <a:pt x="296" y="3182"/>
                    </a:lnTo>
                    <a:lnTo>
                      <a:pt x="296" y="3182"/>
                    </a:lnTo>
                    <a:lnTo>
                      <a:pt x="290" y="3180"/>
                    </a:lnTo>
                    <a:lnTo>
                      <a:pt x="284" y="3182"/>
                    </a:lnTo>
                    <a:lnTo>
                      <a:pt x="280" y="3184"/>
                    </a:lnTo>
                    <a:lnTo>
                      <a:pt x="280" y="3186"/>
                    </a:lnTo>
                    <a:lnTo>
                      <a:pt x="282" y="3188"/>
                    </a:lnTo>
                    <a:lnTo>
                      <a:pt x="282" y="3188"/>
                    </a:lnTo>
                    <a:lnTo>
                      <a:pt x="282" y="3190"/>
                    </a:lnTo>
                    <a:lnTo>
                      <a:pt x="280" y="3192"/>
                    </a:lnTo>
                    <a:lnTo>
                      <a:pt x="280" y="3194"/>
                    </a:lnTo>
                    <a:lnTo>
                      <a:pt x="284" y="3198"/>
                    </a:lnTo>
                    <a:lnTo>
                      <a:pt x="284" y="3198"/>
                    </a:lnTo>
                    <a:lnTo>
                      <a:pt x="296" y="3206"/>
                    </a:lnTo>
                    <a:lnTo>
                      <a:pt x="296" y="3206"/>
                    </a:lnTo>
                    <a:lnTo>
                      <a:pt x="294" y="3206"/>
                    </a:lnTo>
                    <a:lnTo>
                      <a:pt x="288" y="3206"/>
                    </a:lnTo>
                    <a:lnTo>
                      <a:pt x="288" y="3206"/>
                    </a:lnTo>
                    <a:lnTo>
                      <a:pt x="280" y="3204"/>
                    </a:lnTo>
                    <a:lnTo>
                      <a:pt x="278" y="3204"/>
                    </a:lnTo>
                    <a:lnTo>
                      <a:pt x="280" y="3206"/>
                    </a:lnTo>
                    <a:lnTo>
                      <a:pt x="288" y="3216"/>
                    </a:lnTo>
                    <a:lnTo>
                      <a:pt x="288" y="3216"/>
                    </a:lnTo>
                    <a:lnTo>
                      <a:pt x="290" y="3220"/>
                    </a:lnTo>
                    <a:lnTo>
                      <a:pt x="290" y="3220"/>
                    </a:lnTo>
                    <a:lnTo>
                      <a:pt x="280" y="3214"/>
                    </a:lnTo>
                    <a:lnTo>
                      <a:pt x="280" y="3214"/>
                    </a:lnTo>
                    <a:lnTo>
                      <a:pt x="274" y="3212"/>
                    </a:lnTo>
                    <a:lnTo>
                      <a:pt x="268" y="3212"/>
                    </a:lnTo>
                    <a:lnTo>
                      <a:pt x="264" y="3214"/>
                    </a:lnTo>
                    <a:lnTo>
                      <a:pt x="264" y="3216"/>
                    </a:lnTo>
                    <a:lnTo>
                      <a:pt x="268" y="3218"/>
                    </a:lnTo>
                    <a:lnTo>
                      <a:pt x="268" y="3218"/>
                    </a:lnTo>
                    <a:lnTo>
                      <a:pt x="272" y="3220"/>
                    </a:lnTo>
                    <a:lnTo>
                      <a:pt x="274" y="3224"/>
                    </a:lnTo>
                    <a:lnTo>
                      <a:pt x="274" y="3226"/>
                    </a:lnTo>
                    <a:lnTo>
                      <a:pt x="278" y="3228"/>
                    </a:lnTo>
                    <a:lnTo>
                      <a:pt x="278" y="3228"/>
                    </a:lnTo>
                    <a:lnTo>
                      <a:pt x="282" y="3230"/>
                    </a:lnTo>
                    <a:lnTo>
                      <a:pt x="284" y="3230"/>
                    </a:lnTo>
                    <a:lnTo>
                      <a:pt x="288" y="3230"/>
                    </a:lnTo>
                    <a:lnTo>
                      <a:pt x="292" y="3234"/>
                    </a:lnTo>
                    <a:lnTo>
                      <a:pt x="292" y="3234"/>
                    </a:lnTo>
                    <a:lnTo>
                      <a:pt x="296" y="3236"/>
                    </a:lnTo>
                    <a:lnTo>
                      <a:pt x="296" y="3238"/>
                    </a:lnTo>
                    <a:lnTo>
                      <a:pt x="288" y="3236"/>
                    </a:lnTo>
                    <a:lnTo>
                      <a:pt x="288" y="3236"/>
                    </a:lnTo>
                    <a:lnTo>
                      <a:pt x="284" y="3236"/>
                    </a:lnTo>
                    <a:lnTo>
                      <a:pt x="284" y="3238"/>
                    </a:lnTo>
                    <a:lnTo>
                      <a:pt x="288" y="3248"/>
                    </a:lnTo>
                    <a:lnTo>
                      <a:pt x="288" y="3248"/>
                    </a:lnTo>
                    <a:lnTo>
                      <a:pt x="290" y="3252"/>
                    </a:lnTo>
                    <a:lnTo>
                      <a:pt x="294" y="3252"/>
                    </a:lnTo>
                    <a:lnTo>
                      <a:pt x="298" y="3250"/>
                    </a:lnTo>
                    <a:lnTo>
                      <a:pt x="302" y="3240"/>
                    </a:lnTo>
                    <a:lnTo>
                      <a:pt x="302" y="3240"/>
                    </a:lnTo>
                    <a:lnTo>
                      <a:pt x="306" y="3234"/>
                    </a:lnTo>
                    <a:lnTo>
                      <a:pt x="308" y="3232"/>
                    </a:lnTo>
                    <a:lnTo>
                      <a:pt x="308" y="3234"/>
                    </a:lnTo>
                    <a:lnTo>
                      <a:pt x="306" y="3242"/>
                    </a:lnTo>
                    <a:lnTo>
                      <a:pt x="306" y="3242"/>
                    </a:lnTo>
                    <a:lnTo>
                      <a:pt x="300" y="3256"/>
                    </a:lnTo>
                    <a:lnTo>
                      <a:pt x="296" y="3258"/>
                    </a:lnTo>
                    <a:lnTo>
                      <a:pt x="292" y="3258"/>
                    </a:lnTo>
                    <a:lnTo>
                      <a:pt x="292" y="3258"/>
                    </a:lnTo>
                    <a:lnTo>
                      <a:pt x="288" y="3258"/>
                    </a:lnTo>
                    <a:lnTo>
                      <a:pt x="286" y="3258"/>
                    </a:lnTo>
                    <a:lnTo>
                      <a:pt x="284" y="3260"/>
                    </a:lnTo>
                    <a:lnTo>
                      <a:pt x="284" y="3264"/>
                    </a:lnTo>
                    <a:lnTo>
                      <a:pt x="284" y="3264"/>
                    </a:lnTo>
                    <a:lnTo>
                      <a:pt x="286" y="3266"/>
                    </a:lnTo>
                    <a:lnTo>
                      <a:pt x="286" y="3266"/>
                    </a:lnTo>
                    <a:lnTo>
                      <a:pt x="288" y="3268"/>
                    </a:lnTo>
                    <a:lnTo>
                      <a:pt x="288" y="3272"/>
                    </a:lnTo>
                    <a:lnTo>
                      <a:pt x="288" y="3272"/>
                    </a:lnTo>
                    <a:lnTo>
                      <a:pt x="288" y="3276"/>
                    </a:lnTo>
                    <a:lnTo>
                      <a:pt x="290" y="3276"/>
                    </a:lnTo>
                    <a:lnTo>
                      <a:pt x="292" y="3276"/>
                    </a:lnTo>
                    <a:lnTo>
                      <a:pt x="296" y="3276"/>
                    </a:lnTo>
                    <a:lnTo>
                      <a:pt x="296" y="3276"/>
                    </a:lnTo>
                    <a:lnTo>
                      <a:pt x="302" y="3278"/>
                    </a:lnTo>
                    <a:lnTo>
                      <a:pt x="306" y="3286"/>
                    </a:lnTo>
                    <a:lnTo>
                      <a:pt x="306" y="3286"/>
                    </a:lnTo>
                    <a:lnTo>
                      <a:pt x="308" y="3294"/>
                    </a:lnTo>
                    <a:lnTo>
                      <a:pt x="308" y="3298"/>
                    </a:lnTo>
                    <a:lnTo>
                      <a:pt x="306" y="3298"/>
                    </a:lnTo>
                    <a:lnTo>
                      <a:pt x="302" y="3294"/>
                    </a:lnTo>
                    <a:lnTo>
                      <a:pt x="302" y="3294"/>
                    </a:lnTo>
                    <a:lnTo>
                      <a:pt x="298" y="3288"/>
                    </a:lnTo>
                    <a:lnTo>
                      <a:pt x="296" y="3288"/>
                    </a:lnTo>
                    <a:lnTo>
                      <a:pt x="296" y="3290"/>
                    </a:lnTo>
                    <a:lnTo>
                      <a:pt x="296" y="3294"/>
                    </a:lnTo>
                    <a:lnTo>
                      <a:pt x="296" y="3294"/>
                    </a:lnTo>
                    <a:lnTo>
                      <a:pt x="298" y="3298"/>
                    </a:lnTo>
                    <a:lnTo>
                      <a:pt x="298" y="3302"/>
                    </a:lnTo>
                    <a:lnTo>
                      <a:pt x="298" y="3304"/>
                    </a:lnTo>
                    <a:lnTo>
                      <a:pt x="300" y="3308"/>
                    </a:lnTo>
                    <a:lnTo>
                      <a:pt x="300" y="3308"/>
                    </a:lnTo>
                    <a:lnTo>
                      <a:pt x="302" y="3310"/>
                    </a:lnTo>
                    <a:lnTo>
                      <a:pt x="302" y="3310"/>
                    </a:lnTo>
                    <a:lnTo>
                      <a:pt x="306" y="3308"/>
                    </a:lnTo>
                    <a:lnTo>
                      <a:pt x="308" y="3306"/>
                    </a:lnTo>
                    <a:lnTo>
                      <a:pt x="310" y="3308"/>
                    </a:lnTo>
                    <a:lnTo>
                      <a:pt x="312" y="3310"/>
                    </a:lnTo>
                    <a:lnTo>
                      <a:pt x="312" y="3310"/>
                    </a:lnTo>
                    <a:lnTo>
                      <a:pt x="314" y="3318"/>
                    </a:lnTo>
                    <a:lnTo>
                      <a:pt x="310" y="3316"/>
                    </a:lnTo>
                    <a:lnTo>
                      <a:pt x="310" y="3316"/>
                    </a:lnTo>
                    <a:lnTo>
                      <a:pt x="308" y="3316"/>
                    </a:lnTo>
                    <a:lnTo>
                      <a:pt x="308" y="3318"/>
                    </a:lnTo>
                    <a:lnTo>
                      <a:pt x="312" y="3326"/>
                    </a:lnTo>
                    <a:lnTo>
                      <a:pt x="318" y="3332"/>
                    </a:lnTo>
                    <a:lnTo>
                      <a:pt x="322" y="3332"/>
                    </a:lnTo>
                    <a:lnTo>
                      <a:pt x="324" y="3332"/>
                    </a:lnTo>
                    <a:lnTo>
                      <a:pt x="324" y="3332"/>
                    </a:lnTo>
                    <a:lnTo>
                      <a:pt x="326" y="3322"/>
                    </a:lnTo>
                    <a:lnTo>
                      <a:pt x="330" y="3318"/>
                    </a:lnTo>
                    <a:lnTo>
                      <a:pt x="332" y="3316"/>
                    </a:lnTo>
                    <a:lnTo>
                      <a:pt x="332" y="3316"/>
                    </a:lnTo>
                    <a:lnTo>
                      <a:pt x="334" y="3314"/>
                    </a:lnTo>
                    <a:lnTo>
                      <a:pt x="334" y="3312"/>
                    </a:lnTo>
                    <a:lnTo>
                      <a:pt x="334" y="3310"/>
                    </a:lnTo>
                    <a:lnTo>
                      <a:pt x="342" y="3312"/>
                    </a:lnTo>
                    <a:lnTo>
                      <a:pt x="342" y="3312"/>
                    </a:lnTo>
                    <a:lnTo>
                      <a:pt x="348" y="3312"/>
                    </a:lnTo>
                    <a:lnTo>
                      <a:pt x="350" y="3312"/>
                    </a:lnTo>
                    <a:lnTo>
                      <a:pt x="350" y="3310"/>
                    </a:lnTo>
                    <a:lnTo>
                      <a:pt x="344" y="3304"/>
                    </a:lnTo>
                    <a:lnTo>
                      <a:pt x="334" y="3300"/>
                    </a:lnTo>
                    <a:lnTo>
                      <a:pt x="334" y="3300"/>
                    </a:lnTo>
                    <a:lnTo>
                      <a:pt x="326" y="3294"/>
                    </a:lnTo>
                    <a:lnTo>
                      <a:pt x="324" y="3292"/>
                    </a:lnTo>
                    <a:lnTo>
                      <a:pt x="328" y="3290"/>
                    </a:lnTo>
                    <a:lnTo>
                      <a:pt x="336" y="3294"/>
                    </a:lnTo>
                    <a:lnTo>
                      <a:pt x="336" y="3294"/>
                    </a:lnTo>
                    <a:lnTo>
                      <a:pt x="350" y="3302"/>
                    </a:lnTo>
                    <a:lnTo>
                      <a:pt x="354" y="3308"/>
                    </a:lnTo>
                    <a:lnTo>
                      <a:pt x="354" y="3314"/>
                    </a:lnTo>
                    <a:lnTo>
                      <a:pt x="354" y="3314"/>
                    </a:lnTo>
                    <a:lnTo>
                      <a:pt x="352" y="3320"/>
                    </a:lnTo>
                    <a:lnTo>
                      <a:pt x="350" y="3322"/>
                    </a:lnTo>
                    <a:lnTo>
                      <a:pt x="348" y="3324"/>
                    </a:lnTo>
                    <a:lnTo>
                      <a:pt x="350" y="3330"/>
                    </a:lnTo>
                    <a:lnTo>
                      <a:pt x="350" y="3330"/>
                    </a:lnTo>
                    <a:lnTo>
                      <a:pt x="352" y="3332"/>
                    </a:lnTo>
                    <a:lnTo>
                      <a:pt x="348" y="3328"/>
                    </a:lnTo>
                    <a:lnTo>
                      <a:pt x="342" y="3322"/>
                    </a:lnTo>
                    <a:lnTo>
                      <a:pt x="340" y="3322"/>
                    </a:lnTo>
                    <a:lnTo>
                      <a:pt x="338" y="3326"/>
                    </a:lnTo>
                    <a:lnTo>
                      <a:pt x="338" y="3326"/>
                    </a:lnTo>
                    <a:lnTo>
                      <a:pt x="334" y="3336"/>
                    </a:lnTo>
                    <a:lnTo>
                      <a:pt x="334" y="3336"/>
                    </a:lnTo>
                    <a:lnTo>
                      <a:pt x="332" y="3334"/>
                    </a:lnTo>
                    <a:lnTo>
                      <a:pt x="332" y="3334"/>
                    </a:lnTo>
                    <a:lnTo>
                      <a:pt x="332" y="3330"/>
                    </a:lnTo>
                    <a:lnTo>
                      <a:pt x="330" y="3332"/>
                    </a:lnTo>
                    <a:lnTo>
                      <a:pt x="324" y="3338"/>
                    </a:lnTo>
                    <a:lnTo>
                      <a:pt x="324" y="3338"/>
                    </a:lnTo>
                    <a:lnTo>
                      <a:pt x="322" y="3340"/>
                    </a:lnTo>
                    <a:lnTo>
                      <a:pt x="320" y="3340"/>
                    </a:lnTo>
                    <a:lnTo>
                      <a:pt x="316" y="3336"/>
                    </a:lnTo>
                    <a:lnTo>
                      <a:pt x="310" y="3330"/>
                    </a:lnTo>
                    <a:lnTo>
                      <a:pt x="306" y="3328"/>
                    </a:lnTo>
                    <a:lnTo>
                      <a:pt x="306" y="3328"/>
                    </a:lnTo>
                    <a:lnTo>
                      <a:pt x="304" y="3328"/>
                    </a:lnTo>
                    <a:lnTo>
                      <a:pt x="304" y="3328"/>
                    </a:lnTo>
                    <a:lnTo>
                      <a:pt x="306" y="3332"/>
                    </a:lnTo>
                    <a:lnTo>
                      <a:pt x="310" y="3336"/>
                    </a:lnTo>
                    <a:lnTo>
                      <a:pt x="310" y="3340"/>
                    </a:lnTo>
                    <a:lnTo>
                      <a:pt x="308" y="3344"/>
                    </a:lnTo>
                    <a:lnTo>
                      <a:pt x="308" y="3344"/>
                    </a:lnTo>
                    <a:lnTo>
                      <a:pt x="306" y="3350"/>
                    </a:lnTo>
                    <a:lnTo>
                      <a:pt x="308" y="3350"/>
                    </a:lnTo>
                    <a:lnTo>
                      <a:pt x="312" y="3352"/>
                    </a:lnTo>
                    <a:lnTo>
                      <a:pt x="310" y="3356"/>
                    </a:lnTo>
                    <a:lnTo>
                      <a:pt x="310" y="3356"/>
                    </a:lnTo>
                    <a:lnTo>
                      <a:pt x="306" y="3364"/>
                    </a:lnTo>
                    <a:lnTo>
                      <a:pt x="306" y="3368"/>
                    </a:lnTo>
                    <a:lnTo>
                      <a:pt x="306" y="3370"/>
                    </a:lnTo>
                    <a:lnTo>
                      <a:pt x="308" y="3370"/>
                    </a:lnTo>
                    <a:lnTo>
                      <a:pt x="314" y="3366"/>
                    </a:lnTo>
                    <a:lnTo>
                      <a:pt x="314" y="3366"/>
                    </a:lnTo>
                    <a:lnTo>
                      <a:pt x="316" y="3364"/>
                    </a:lnTo>
                    <a:lnTo>
                      <a:pt x="320" y="3364"/>
                    </a:lnTo>
                    <a:lnTo>
                      <a:pt x="322" y="3366"/>
                    </a:lnTo>
                    <a:lnTo>
                      <a:pt x="324" y="3372"/>
                    </a:lnTo>
                    <a:lnTo>
                      <a:pt x="322" y="3374"/>
                    </a:lnTo>
                    <a:lnTo>
                      <a:pt x="320" y="3374"/>
                    </a:lnTo>
                    <a:lnTo>
                      <a:pt x="320" y="3374"/>
                    </a:lnTo>
                    <a:lnTo>
                      <a:pt x="316" y="3374"/>
                    </a:lnTo>
                    <a:lnTo>
                      <a:pt x="316" y="3374"/>
                    </a:lnTo>
                    <a:lnTo>
                      <a:pt x="322" y="3380"/>
                    </a:lnTo>
                    <a:lnTo>
                      <a:pt x="322" y="3380"/>
                    </a:lnTo>
                    <a:lnTo>
                      <a:pt x="322" y="3380"/>
                    </a:lnTo>
                    <a:lnTo>
                      <a:pt x="322" y="3382"/>
                    </a:lnTo>
                    <a:lnTo>
                      <a:pt x="318" y="3384"/>
                    </a:lnTo>
                    <a:lnTo>
                      <a:pt x="316" y="3386"/>
                    </a:lnTo>
                    <a:lnTo>
                      <a:pt x="320" y="3388"/>
                    </a:lnTo>
                    <a:lnTo>
                      <a:pt x="320" y="3388"/>
                    </a:lnTo>
                    <a:lnTo>
                      <a:pt x="328" y="3390"/>
                    </a:lnTo>
                    <a:lnTo>
                      <a:pt x="332" y="3388"/>
                    </a:lnTo>
                    <a:lnTo>
                      <a:pt x="334" y="3384"/>
                    </a:lnTo>
                    <a:lnTo>
                      <a:pt x="334" y="3378"/>
                    </a:lnTo>
                    <a:lnTo>
                      <a:pt x="334" y="3378"/>
                    </a:lnTo>
                    <a:lnTo>
                      <a:pt x="334" y="3376"/>
                    </a:lnTo>
                    <a:lnTo>
                      <a:pt x="336" y="3374"/>
                    </a:lnTo>
                    <a:lnTo>
                      <a:pt x="340" y="3370"/>
                    </a:lnTo>
                    <a:lnTo>
                      <a:pt x="344" y="3368"/>
                    </a:lnTo>
                    <a:lnTo>
                      <a:pt x="346" y="3366"/>
                    </a:lnTo>
                    <a:lnTo>
                      <a:pt x="346" y="3364"/>
                    </a:lnTo>
                    <a:lnTo>
                      <a:pt x="346" y="3364"/>
                    </a:lnTo>
                    <a:lnTo>
                      <a:pt x="344" y="3362"/>
                    </a:lnTo>
                    <a:lnTo>
                      <a:pt x="340" y="3360"/>
                    </a:lnTo>
                    <a:lnTo>
                      <a:pt x="340" y="3358"/>
                    </a:lnTo>
                    <a:lnTo>
                      <a:pt x="344" y="3358"/>
                    </a:lnTo>
                    <a:lnTo>
                      <a:pt x="344" y="3358"/>
                    </a:lnTo>
                    <a:lnTo>
                      <a:pt x="352" y="3358"/>
                    </a:lnTo>
                    <a:lnTo>
                      <a:pt x="354" y="3362"/>
                    </a:lnTo>
                    <a:lnTo>
                      <a:pt x="356" y="3362"/>
                    </a:lnTo>
                    <a:lnTo>
                      <a:pt x="360" y="3360"/>
                    </a:lnTo>
                    <a:lnTo>
                      <a:pt x="360" y="3360"/>
                    </a:lnTo>
                    <a:lnTo>
                      <a:pt x="364" y="3358"/>
                    </a:lnTo>
                    <a:lnTo>
                      <a:pt x="368" y="3356"/>
                    </a:lnTo>
                    <a:lnTo>
                      <a:pt x="382" y="3356"/>
                    </a:lnTo>
                    <a:lnTo>
                      <a:pt x="392" y="3358"/>
                    </a:lnTo>
                    <a:lnTo>
                      <a:pt x="394" y="3360"/>
                    </a:lnTo>
                    <a:lnTo>
                      <a:pt x="396" y="3362"/>
                    </a:lnTo>
                    <a:lnTo>
                      <a:pt x="396" y="3362"/>
                    </a:lnTo>
                    <a:lnTo>
                      <a:pt x="392" y="3366"/>
                    </a:lnTo>
                    <a:lnTo>
                      <a:pt x="386" y="3368"/>
                    </a:lnTo>
                    <a:lnTo>
                      <a:pt x="380" y="3366"/>
                    </a:lnTo>
                    <a:lnTo>
                      <a:pt x="372" y="3364"/>
                    </a:lnTo>
                    <a:lnTo>
                      <a:pt x="372" y="3364"/>
                    </a:lnTo>
                    <a:lnTo>
                      <a:pt x="368" y="3364"/>
                    </a:lnTo>
                    <a:lnTo>
                      <a:pt x="366" y="3366"/>
                    </a:lnTo>
                    <a:lnTo>
                      <a:pt x="362" y="3370"/>
                    </a:lnTo>
                    <a:lnTo>
                      <a:pt x="358" y="3376"/>
                    </a:lnTo>
                    <a:lnTo>
                      <a:pt x="356" y="3376"/>
                    </a:lnTo>
                    <a:lnTo>
                      <a:pt x="354" y="3376"/>
                    </a:lnTo>
                    <a:lnTo>
                      <a:pt x="354" y="3376"/>
                    </a:lnTo>
                    <a:lnTo>
                      <a:pt x="348" y="3372"/>
                    </a:lnTo>
                    <a:lnTo>
                      <a:pt x="342" y="3374"/>
                    </a:lnTo>
                    <a:lnTo>
                      <a:pt x="338" y="3378"/>
                    </a:lnTo>
                    <a:lnTo>
                      <a:pt x="338" y="3384"/>
                    </a:lnTo>
                    <a:lnTo>
                      <a:pt x="338" y="3384"/>
                    </a:lnTo>
                    <a:lnTo>
                      <a:pt x="340" y="3388"/>
                    </a:lnTo>
                    <a:lnTo>
                      <a:pt x="338" y="3390"/>
                    </a:lnTo>
                    <a:lnTo>
                      <a:pt x="338" y="3392"/>
                    </a:lnTo>
                    <a:lnTo>
                      <a:pt x="340" y="3396"/>
                    </a:lnTo>
                    <a:lnTo>
                      <a:pt x="340" y="3396"/>
                    </a:lnTo>
                    <a:lnTo>
                      <a:pt x="342" y="3398"/>
                    </a:lnTo>
                    <a:lnTo>
                      <a:pt x="340" y="3398"/>
                    </a:lnTo>
                    <a:lnTo>
                      <a:pt x="334" y="3396"/>
                    </a:lnTo>
                    <a:lnTo>
                      <a:pt x="326" y="3396"/>
                    </a:lnTo>
                    <a:lnTo>
                      <a:pt x="326" y="3396"/>
                    </a:lnTo>
                    <a:lnTo>
                      <a:pt x="324" y="3396"/>
                    </a:lnTo>
                    <a:lnTo>
                      <a:pt x="324" y="3398"/>
                    </a:lnTo>
                    <a:lnTo>
                      <a:pt x="326" y="3402"/>
                    </a:lnTo>
                    <a:lnTo>
                      <a:pt x="342" y="3412"/>
                    </a:lnTo>
                    <a:lnTo>
                      <a:pt x="342" y="3412"/>
                    </a:lnTo>
                    <a:lnTo>
                      <a:pt x="354" y="3418"/>
                    </a:lnTo>
                    <a:lnTo>
                      <a:pt x="356" y="3418"/>
                    </a:lnTo>
                    <a:lnTo>
                      <a:pt x="354" y="3412"/>
                    </a:lnTo>
                    <a:lnTo>
                      <a:pt x="354" y="3412"/>
                    </a:lnTo>
                    <a:lnTo>
                      <a:pt x="352" y="3406"/>
                    </a:lnTo>
                    <a:lnTo>
                      <a:pt x="352" y="3402"/>
                    </a:lnTo>
                    <a:lnTo>
                      <a:pt x="358" y="3400"/>
                    </a:lnTo>
                    <a:lnTo>
                      <a:pt x="362" y="3398"/>
                    </a:lnTo>
                    <a:lnTo>
                      <a:pt x="362" y="3398"/>
                    </a:lnTo>
                    <a:lnTo>
                      <a:pt x="364" y="3396"/>
                    </a:lnTo>
                    <a:lnTo>
                      <a:pt x="364" y="3394"/>
                    </a:lnTo>
                    <a:lnTo>
                      <a:pt x="360" y="3390"/>
                    </a:lnTo>
                    <a:lnTo>
                      <a:pt x="356" y="3388"/>
                    </a:lnTo>
                    <a:lnTo>
                      <a:pt x="362" y="3390"/>
                    </a:lnTo>
                    <a:lnTo>
                      <a:pt x="362" y="3390"/>
                    </a:lnTo>
                    <a:lnTo>
                      <a:pt x="370" y="3392"/>
                    </a:lnTo>
                    <a:lnTo>
                      <a:pt x="374" y="3390"/>
                    </a:lnTo>
                    <a:lnTo>
                      <a:pt x="378" y="3386"/>
                    </a:lnTo>
                    <a:lnTo>
                      <a:pt x="384" y="3382"/>
                    </a:lnTo>
                    <a:lnTo>
                      <a:pt x="384" y="3382"/>
                    </a:lnTo>
                    <a:lnTo>
                      <a:pt x="392" y="3378"/>
                    </a:lnTo>
                    <a:lnTo>
                      <a:pt x="396" y="3374"/>
                    </a:lnTo>
                    <a:lnTo>
                      <a:pt x="402" y="3372"/>
                    </a:lnTo>
                    <a:lnTo>
                      <a:pt x="406" y="3374"/>
                    </a:lnTo>
                    <a:lnTo>
                      <a:pt x="406" y="3374"/>
                    </a:lnTo>
                    <a:lnTo>
                      <a:pt x="408" y="3376"/>
                    </a:lnTo>
                    <a:lnTo>
                      <a:pt x="408" y="3378"/>
                    </a:lnTo>
                    <a:lnTo>
                      <a:pt x="406" y="3384"/>
                    </a:lnTo>
                    <a:lnTo>
                      <a:pt x="398" y="3392"/>
                    </a:lnTo>
                    <a:lnTo>
                      <a:pt x="390" y="3396"/>
                    </a:lnTo>
                    <a:lnTo>
                      <a:pt x="390" y="3396"/>
                    </a:lnTo>
                    <a:lnTo>
                      <a:pt x="384" y="3400"/>
                    </a:lnTo>
                    <a:lnTo>
                      <a:pt x="384" y="3402"/>
                    </a:lnTo>
                    <a:lnTo>
                      <a:pt x="382" y="3404"/>
                    </a:lnTo>
                    <a:lnTo>
                      <a:pt x="380" y="3402"/>
                    </a:lnTo>
                    <a:lnTo>
                      <a:pt x="380" y="3402"/>
                    </a:lnTo>
                    <a:lnTo>
                      <a:pt x="376" y="3400"/>
                    </a:lnTo>
                    <a:lnTo>
                      <a:pt x="374" y="3402"/>
                    </a:lnTo>
                    <a:lnTo>
                      <a:pt x="374" y="3404"/>
                    </a:lnTo>
                    <a:lnTo>
                      <a:pt x="370" y="3402"/>
                    </a:lnTo>
                    <a:lnTo>
                      <a:pt x="370" y="3402"/>
                    </a:lnTo>
                    <a:lnTo>
                      <a:pt x="362" y="3404"/>
                    </a:lnTo>
                    <a:lnTo>
                      <a:pt x="358" y="3406"/>
                    </a:lnTo>
                    <a:lnTo>
                      <a:pt x="356" y="3408"/>
                    </a:lnTo>
                    <a:lnTo>
                      <a:pt x="356" y="3408"/>
                    </a:lnTo>
                    <a:lnTo>
                      <a:pt x="360" y="3414"/>
                    </a:lnTo>
                    <a:lnTo>
                      <a:pt x="366" y="3420"/>
                    </a:lnTo>
                    <a:lnTo>
                      <a:pt x="372" y="3426"/>
                    </a:lnTo>
                    <a:lnTo>
                      <a:pt x="378" y="3430"/>
                    </a:lnTo>
                    <a:lnTo>
                      <a:pt x="378" y="3430"/>
                    </a:lnTo>
                    <a:lnTo>
                      <a:pt x="382" y="3432"/>
                    </a:lnTo>
                    <a:lnTo>
                      <a:pt x="386" y="3434"/>
                    </a:lnTo>
                    <a:lnTo>
                      <a:pt x="392" y="3438"/>
                    </a:lnTo>
                    <a:lnTo>
                      <a:pt x="402" y="3438"/>
                    </a:lnTo>
                    <a:lnTo>
                      <a:pt x="402" y="3438"/>
                    </a:lnTo>
                    <a:lnTo>
                      <a:pt x="410" y="3436"/>
                    </a:lnTo>
                    <a:lnTo>
                      <a:pt x="414" y="3434"/>
                    </a:lnTo>
                    <a:lnTo>
                      <a:pt x="416" y="3426"/>
                    </a:lnTo>
                    <a:lnTo>
                      <a:pt x="416" y="3412"/>
                    </a:lnTo>
                    <a:lnTo>
                      <a:pt x="416" y="3412"/>
                    </a:lnTo>
                    <a:lnTo>
                      <a:pt x="418" y="3400"/>
                    </a:lnTo>
                    <a:lnTo>
                      <a:pt x="420" y="3394"/>
                    </a:lnTo>
                    <a:lnTo>
                      <a:pt x="422" y="3388"/>
                    </a:lnTo>
                    <a:lnTo>
                      <a:pt x="424" y="3378"/>
                    </a:lnTo>
                    <a:lnTo>
                      <a:pt x="424" y="3378"/>
                    </a:lnTo>
                    <a:lnTo>
                      <a:pt x="424" y="3372"/>
                    </a:lnTo>
                    <a:lnTo>
                      <a:pt x="426" y="3368"/>
                    </a:lnTo>
                    <a:lnTo>
                      <a:pt x="428" y="3366"/>
                    </a:lnTo>
                    <a:lnTo>
                      <a:pt x="432" y="3366"/>
                    </a:lnTo>
                    <a:lnTo>
                      <a:pt x="440" y="3364"/>
                    </a:lnTo>
                    <a:lnTo>
                      <a:pt x="444" y="3362"/>
                    </a:lnTo>
                    <a:lnTo>
                      <a:pt x="450" y="3358"/>
                    </a:lnTo>
                    <a:lnTo>
                      <a:pt x="450" y="3358"/>
                    </a:lnTo>
                    <a:lnTo>
                      <a:pt x="454" y="3354"/>
                    </a:lnTo>
                    <a:lnTo>
                      <a:pt x="458" y="3354"/>
                    </a:lnTo>
                    <a:lnTo>
                      <a:pt x="462" y="3354"/>
                    </a:lnTo>
                    <a:lnTo>
                      <a:pt x="466" y="3356"/>
                    </a:lnTo>
                    <a:lnTo>
                      <a:pt x="470" y="3350"/>
                    </a:lnTo>
                    <a:lnTo>
                      <a:pt x="470" y="3350"/>
                    </a:lnTo>
                    <a:lnTo>
                      <a:pt x="476" y="3342"/>
                    </a:lnTo>
                    <a:lnTo>
                      <a:pt x="480" y="3340"/>
                    </a:lnTo>
                    <a:lnTo>
                      <a:pt x="486" y="3340"/>
                    </a:lnTo>
                    <a:lnTo>
                      <a:pt x="496" y="3342"/>
                    </a:lnTo>
                    <a:lnTo>
                      <a:pt x="496" y="3342"/>
                    </a:lnTo>
                    <a:lnTo>
                      <a:pt x="510" y="3344"/>
                    </a:lnTo>
                    <a:lnTo>
                      <a:pt x="518" y="3348"/>
                    </a:lnTo>
                    <a:lnTo>
                      <a:pt x="518" y="3348"/>
                    </a:lnTo>
                    <a:lnTo>
                      <a:pt x="520" y="3346"/>
                    </a:lnTo>
                    <a:lnTo>
                      <a:pt x="518" y="3342"/>
                    </a:lnTo>
                    <a:lnTo>
                      <a:pt x="510" y="3328"/>
                    </a:lnTo>
                    <a:lnTo>
                      <a:pt x="500" y="3308"/>
                    </a:lnTo>
                    <a:lnTo>
                      <a:pt x="496" y="3296"/>
                    </a:lnTo>
                    <a:lnTo>
                      <a:pt x="492" y="3282"/>
                    </a:lnTo>
                    <a:lnTo>
                      <a:pt x="492" y="3282"/>
                    </a:lnTo>
                    <a:lnTo>
                      <a:pt x="490" y="3266"/>
                    </a:lnTo>
                    <a:lnTo>
                      <a:pt x="490" y="3256"/>
                    </a:lnTo>
                    <a:lnTo>
                      <a:pt x="490" y="3246"/>
                    </a:lnTo>
                    <a:lnTo>
                      <a:pt x="494" y="3238"/>
                    </a:lnTo>
                    <a:lnTo>
                      <a:pt x="498" y="3228"/>
                    </a:lnTo>
                    <a:lnTo>
                      <a:pt x="506" y="3222"/>
                    </a:lnTo>
                    <a:lnTo>
                      <a:pt x="518" y="3216"/>
                    </a:lnTo>
                    <a:lnTo>
                      <a:pt x="518" y="3216"/>
                    </a:lnTo>
                    <a:lnTo>
                      <a:pt x="528" y="3212"/>
                    </a:lnTo>
                    <a:lnTo>
                      <a:pt x="536" y="3208"/>
                    </a:lnTo>
                    <a:lnTo>
                      <a:pt x="542" y="3202"/>
                    </a:lnTo>
                    <a:lnTo>
                      <a:pt x="546" y="3196"/>
                    </a:lnTo>
                    <a:lnTo>
                      <a:pt x="550" y="3180"/>
                    </a:lnTo>
                    <a:lnTo>
                      <a:pt x="552" y="3156"/>
                    </a:lnTo>
                    <a:lnTo>
                      <a:pt x="552" y="3156"/>
                    </a:lnTo>
                    <a:lnTo>
                      <a:pt x="556" y="3144"/>
                    </a:lnTo>
                    <a:lnTo>
                      <a:pt x="564" y="3134"/>
                    </a:lnTo>
                    <a:lnTo>
                      <a:pt x="572" y="3126"/>
                    </a:lnTo>
                    <a:lnTo>
                      <a:pt x="580" y="3122"/>
                    </a:lnTo>
                    <a:lnTo>
                      <a:pt x="596" y="3112"/>
                    </a:lnTo>
                    <a:lnTo>
                      <a:pt x="602" y="3108"/>
                    </a:lnTo>
                    <a:lnTo>
                      <a:pt x="604" y="3104"/>
                    </a:lnTo>
                    <a:lnTo>
                      <a:pt x="604" y="3104"/>
                    </a:lnTo>
                    <a:lnTo>
                      <a:pt x="606" y="3100"/>
                    </a:lnTo>
                    <a:lnTo>
                      <a:pt x="610" y="3096"/>
                    </a:lnTo>
                    <a:lnTo>
                      <a:pt x="616" y="3092"/>
                    </a:lnTo>
                    <a:lnTo>
                      <a:pt x="622" y="3086"/>
                    </a:lnTo>
                    <a:lnTo>
                      <a:pt x="624" y="3082"/>
                    </a:lnTo>
                    <a:lnTo>
                      <a:pt x="622" y="3078"/>
                    </a:lnTo>
                    <a:lnTo>
                      <a:pt x="622" y="3078"/>
                    </a:lnTo>
                    <a:lnTo>
                      <a:pt x="620" y="3074"/>
                    </a:lnTo>
                    <a:lnTo>
                      <a:pt x="620" y="3072"/>
                    </a:lnTo>
                    <a:lnTo>
                      <a:pt x="624" y="3066"/>
                    </a:lnTo>
                    <a:lnTo>
                      <a:pt x="626" y="3060"/>
                    </a:lnTo>
                    <a:lnTo>
                      <a:pt x="626" y="3054"/>
                    </a:lnTo>
                    <a:lnTo>
                      <a:pt x="626" y="3044"/>
                    </a:lnTo>
                    <a:lnTo>
                      <a:pt x="626" y="3044"/>
                    </a:lnTo>
                    <a:lnTo>
                      <a:pt x="624" y="3038"/>
                    </a:lnTo>
                    <a:lnTo>
                      <a:pt x="620" y="3036"/>
                    </a:lnTo>
                    <a:lnTo>
                      <a:pt x="608" y="3036"/>
                    </a:lnTo>
                    <a:lnTo>
                      <a:pt x="600" y="3034"/>
                    </a:lnTo>
                    <a:lnTo>
                      <a:pt x="590" y="3032"/>
                    </a:lnTo>
                    <a:lnTo>
                      <a:pt x="580" y="3026"/>
                    </a:lnTo>
                    <a:lnTo>
                      <a:pt x="570" y="3016"/>
                    </a:lnTo>
                    <a:lnTo>
                      <a:pt x="570" y="3016"/>
                    </a:lnTo>
                    <a:lnTo>
                      <a:pt x="554" y="2996"/>
                    </a:lnTo>
                    <a:lnTo>
                      <a:pt x="550" y="2988"/>
                    </a:lnTo>
                    <a:lnTo>
                      <a:pt x="550" y="2982"/>
                    </a:lnTo>
                    <a:lnTo>
                      <a:pt x="550" y="2976"/>
                    </a:lnTo>
                    <a:lnTo>
                      <a:pt x="554" y="2968"/>
                    </a:lnTo>
                    <a:lnTo>
                      <a:pt x="564" y="2948"/>
                    </a:lnTo>
                    <a:lnTo>
                      <a:pt x="564" y="2948"/>
                    </a:lnTo>
                    <a:lnTo>
                      <a:pt x="570" y="2938"/>
                    </a:lnTo>
                    <a:lnTo>
                      <a:pt x="576" y="2930"/>
                    </a:lnTo>
                    <a:lnTo>
                      <a:pt x="580" y="2928"/>
                    </a:lnTo>
                    <a:lnTo>
                      <a:pt x="584" y="2926"/>
                    </a:lnTo>
                    <a:lnTo>
                      <a:pt x="592" y="2926"/>
                    </a:lnTo>
                    <a:lnTo>
                      <a:pt x="594" y="2924"/>
                    </a:lnTo>
                    <a:lnTo>
                      <a:pt x="598" y="2922"/>
                    </a:lnTo>
                    <a:lnTo>
                      <a:pt x="598" y="2922"/>
                    </a:lnTo>
                    <a:lnTo>
                      <a:pt x="602" y="2918"/>
                    </a:lnTo>
                    <a:lnTo>
                      <a:pt x="608" y="2916"/>
                    </a:lnTo>
                    <a:lnTo>
                      <a:pt x="622" y="2916"/>
                    </a:lnTo>
                    <a:lnTo>
                      <a:pt x="628" y="2916"/>
                    </a:lnTo>
                    <a:lnTo>
                      <a:pt x="632" y="2914"/>
                    </a:lnTo>
                    <a:lnTo>
                      <a:pt x="634" y="2912"/>
                    </a:lnTo>
                    <a:lnTo>
                      <a:pt x="630" y="2908"/>
                    </a:lnTo>
                    <a:lnTo>
                      <a:pt x="630" y="2908"/>
                    </a:lnTo>
                    <a:lnTo>
                      <a:pt x="628" y="2902"/>
                    </a:lnTo>
                    <a:lnTo>
                      <a:pt x="630" y="2898"/>
                    </a:lnTo>
                    <a:lnTo>
                      <a:pt x="638" y="2890"/>
                    </a:lnTo>
                    <a:lnTo>
                      <a:pt x="642" y="2886"/>
                    </a:lnTo>
                    <a:lnTo>
                      <a:pt x="646" y="2878"/>
                    </a:lnTo>
                    <a:lnTo>
                      <a:pt x="648" y="2868"/>
                    </a:lnTo>
                    <a:lnTo>
                      <a:pt x="644" y="2856"/>
                    </a:lnTo>
                    <a:lnTo>
                      <a:pt x="644" y="2856"/>
                    </a:lnTo>
                    <a:lnTo>
                      <a:pt x="644" y="2850"/>
                    </a:lnTo>
                    <a:lnTo>
                      <a:pt x="644" y="2844"/>
                    </a:lnTo>
                    <a:lnTo>
                      <a:pt x="646" y="2836"/>
                    </a:lnTo>
                    <a:lnTo>
                      <a:pt x="648" y="2830"/>
                    </a:lnTo>
                    <a:lnTo>
                      <a:pt x="652" y="2822"/>
                    </a:lnTo>
                    <a:lnTo>
                      <a:pt x="660" y="2816"/>
                    </a:lnTo>
                    <a:lnTo>
                      <a:pt x="668" y="2810"/>
                    </a:lnTo>
                    <a:lnTo>
                      <a:pt x="678" y="2806"/>
                    </a:lnTo>
                    <a:lnTo>
                      <a:pt x="678" y="2806"/>
                    </a:lnTo>
                    <a:lnTo>
                      <a:pt x="684" y="2802"/>
                    </a:lnTo>
                    <a:lnTo>
                      <a:pt x="684" y="2802"/>
                    </a:lnTo>
                    <a:lnTo>
                      <a:pt x="682" y="2800"/>
                    </a:lnTo>
                    <a:lnTo>
                      <a:pt x="674" y="2798"/>
                    </a:lnTo>
                    <a:lnTo>
                      <a:pt x="662" y="2794"/>
                    </a:lnTo>
                    <a:lnTo>
                      <a:pt x="662" y="2794"/>
                    </a:lnTo>
                    <a:lnTo>
                      <a:pt x="658" y="2790"/>
                    </a:lnTo>
                    <a:lnTo>
                      <a:pt x="658" y="2786"/>
                    </a:lnTo>
                    <a:lnTo>
                      <a:pt x="660" y="2782"/>
                    </a:lnTo>
                    <a:lnTo>
                      <a:pt x="664" y="2780"/>
                    </a:lnTo>
                    <a:lnTo>
                      <a:pt x="670" y="2780"/>
                    </a:lnTo>
                    <a:lnTo>
                      <a:pt x="676" y="2780"/>
                    </a:lnTo>
                    <a:lnTo>
                      <a:pt x="682" y="2782"/>
                    </a:lnTo>
                    <a:lnTo>
                      <a:pt x="686" y="2788"/>
                    </a:lnTo>
                    <a:lnTo>
                      <a:pt x="686" y="2788"/>
                    </a:lnTo>
                    <a:lnTo>
                      <a:pt x="690" y="2792"/>
                    </a:lnTo>
                    <a:lnTo>
                      <a:pt x="692" y="2796"/>
                    </a:lnTo>
                    <a:lnTo>
                      <a:pt x="696" y="2798"/>
                    </a:lnTo>
                    <a:lnTo>
                      <a:pt x="700" y="2798"/>
                    </a:lnTo>
                    <a:lnTo>
                      <a:pt x="704" y="2796"/>
                    </a:lnTo>
                    <a:lnTo>
                      <a:pt x="708" y="2792"/>
                    </a:lnTo>
                    <a:lnTo>
                      <a:pt x="712" y="2786"/>
                    </a:lnTo>
                    <a:lnTo>
                      <a:pt x="714" y="2778"/>
                    </a:lnTo>
                    <a:lnTo>
                      <a:pt x="714" y="2778"/>
                    </a:lnTo>
                    <a:lnTo>
                      <a:pt x="716" y="2770"/>
                    </a:lnTo>
                    <a:lnTo>
                      <a:pt x="714" y="2762"/>
                    </a:lnTo>
                    <a:lnTo>
                      <a:pt x="708" y="2754"/>
                    </a:lnTo>
                    <a:lnTo>
                      <a:pt x="706" y="2752"/>
                    </a:lnTo>
                    <a:lnTo>
                      <a:pt x="702" y="2752"/>
                    </a:lnTo>
                    <a:lnTo>
                      <a:pt x="702" y="2752"/>
                    </a:lnTo>
                    <a:lnTo>
                      <a:pt x="678" y="2758"/>
                    </a:lnTo>
                    <a:lnTo>
                      <a:pt x="670" y="2760"/>
                    </a:lnTo>
                    <a:lnTo>
                      <a:pt x="662" y="2758"/>
                    </a:lnTo>
                    <a:lnTo>
                      <a:pt x="658" y="2756"/>
                    </a:lnTo>
                    <a:lnTo>
                      <a:pt x="656" y="2750"/>
                    </a:lnTo>
                    <a:lnTo>
                      <a:pt x="654" y="2744"/>
                    </a:lnTo>
                    <a:lnTo>
                      <a:pt x="656" y="2734"/>
                    </a:lnTo>
                    <a:lnTo>
                      <a:pt x="656" y="2734"/>
                    </a:lnTo>
                    <a:lnTo>
                      <a:pt x="656" y="2726"/>
                    </a:lnTo>
                    <a:lnTo>
                      <a:pt x="654" y="2716"/>
                    </a:lnTo>
                    <a:lnTo>
                      <a:pt x="650" y="2700"/>
                    </a:lnTo>
                    <a:lnTo>
                      <a:pt x="648" y="2694"/>
                    </a:lnTo>
                    <a:lnTo>
                      <a:pt x="646" y="2690"/>
                    </a:lnTo>
                    <a:lnTo>
                      <a:pt x="648" y="2684"/>
                    </a:lnTo>
                    <a:lnTo>
                      <a:pt x="654" y="2682"/>
                    </a:lnTo>
                    <a:lnTo>
                      <a:pt x="654" y="2682"/>
                    </a:lnTo>
                    <a:lnTo>
                      <a:pt x="662" y="2680"/>
                    </a:lnTo>
                    <a:lnTo>
                      <a:pt x="668" y="2682"/>
                    </a:lnTo>
                    <a:lnTo>
                      <a:pt x="684" y="2688"/>
                    </a:lnTo>
                    <a:lnTo>
                      <a:pt x="700" y="2696"/>
                    </a:lnTo>
                    <a:lnTo>
                      <a:pt x="708" y="2698"/>
                    </a:lnTo>
                    <a:lnTo>
                      <a:pt x="714" y="2700"/>
                    </a:lnTo>
                    <a:lnTo>
                      <a:pt x="714" y="2700"/>
                    </a:lnTo>
                    <a:lnTo>
                      <a:pt x="724" y="2700"/>
                    </a:lnTo>
                    <a:lnTo>
                      <a:pt x="728" y="2700"/>
                    </a:lnTo>
                    <a:lnTo>
                      <a:pt x="734" y="2700"/>
                    </a:lnTo>
                    <a:lnTo>
                      <a:pt x="748" y="2694"/>
                    </a:lnTo>
                    <a:lnTo>
                      <a:pt x="748" y="2694"/>
                    </a:lnTo>
                    <a:lnTo>
                      <a:pt x="762" y="2684"/>
                    </a:lnTo>
                    <a:lnTo>
                      <a:pt x="768" y="2680"/>
                    </a:lnTo>
                    <a:lnTo>
                      <a:pt x="770" y="2676"/>
                    </a:lnTo>
                    <a:lnTo>
                      <a:pt x="770" y="2672"/>
                    </a:lnTo>
                    <a:lnTo>
                      <a:pt x="770" y="2670"/>
                    </a:lnTo>
                    <a:lnTo>
                      <a:pt x="764" y="2664"/>
                    </a:lnTo>
                    <a:lnTo>
                      <a:pt x="764" y="2664"/>
                    </a:lnTo>
                    <a:lnTo>
                      <a:pt x="762" y="2660"/>
                    </a:lnTo>
                    <a:lnTo>
                      <a:pt x="760" y="2658"/>
                    </a:lnTo>
                    <a:lnTo>
                      <a:pt x="758" y="2650"/>
                    </a:lnTo>
                    <a:lnTo>
                      <a:pt x="762" y="2642"/>
                    </a:lnTo>
                    <a:lnTo>
                      <a:pt x="770" y="2632"/>
                    </a:lnTo>
                    <a:lnTo>
                      <a:pt x="770" y="2632"/>
                    </a:lnTo>
                    <a:lnTo>
                      <a:pt x="776" y="2622"/>
                    </a:lnTo>
                    <a:lnTo>
                      <a:pt x="778" y="2612"/>
                    </a:lnTo>
                    <a:lnTo>
                      <a:pt x="776" y="2602"/>
                    </a:lnTo>
                    <a:lnTo>
                      <a:pt x="772" y="2598"/>
                    </a:lnTo>
                    <a:lnTo>
                      <a:pt x="770" y="2596"/>
                    </a:lnTo>
                    <a:lnTo>
                      <a:pt x="770" y="2596"/>
                    </a:lnTo>
                    <a:lnTo>
                      <a:pt x="766" y="2592"/>
                    </a:lnTo>
                    <a:lnTo>
                      <a:pt x="762" y="2588"/>
                    </a:lnTo>
                    <a:lnTo>
                      <a:pt x="760" y="2578"/>
                    </a:lnTo>
                    <a:lnTo>
                      <a:pt x="760" y="2574"/>
                    </a:lnTo>
                    <a:lnTo>
                      <a:pt x="762" y="2572"/>
                    </a:lnTo>
                    <a:lnTo>
                      <a:pt x="768" y="2572"/>
                    </a:lnTo>
                    <a:lnTo>
                      <a:pt x="774" y="2576"/>
                    </a:lnTo>
                    <a:lnTo>
                      <a:pt x="774" y="2576"/>
                    </a:lnTo>
                    <a:lnTo>
                      <a:pt x="784" y="2582"/>
                    </a:lnTo>
                    <a:lnTo>
                      <a:pt x="792" y="2582"/>
                    </a:lnTo>
                    <a:lnTo>
                      <a:pt x="824" y="2578"/>
                    </a:lnTo>
                    <a:lnTo>
                      <a:pt x="824" y="2578"/>
                    </a:lnTo>
                    <a:lnTo>
                      <a:pt x="856" y="2574"/>
                    </a:lnTo>
                    <a:lnTo>
                      <a:pt x="890" y="2566"/>
                    </a:lnTo>
                    <a:lnTo>
                      <a:pt x="920" y="2556"/>
                    </a:lnTo>
                    <a:lnTo>
                      <a:pt x="934" y="2550"/>
                    </a:lnTo>
                    <a:lnTo>
                      <a:pt x="944" y="2544"/>
                    </a:lnTo>
                    <a:lnTo>
                      <a:pt x="944" y="2544"/>
                    </a:lnTo>
                    <a:lnTo>
                      <a:pt x="952" y="2538"/>
                    </a:lnTo>
                    <a:lnTo>
                      <a:pt x="956" y="2534"/>
                    </a:lnTo>
                    <a:lnTo>
                      <a:pt x="958" y="2528"/>
                    </a:lnTo>
                    <a:lnTo>
                      <a:pt x="960" y="2524"/>
                    </a:lnTo>
                    <a:lnTo>
                      <a:pt x="962" y="2516"/>
                    </a:lnTo>
                    <a:lnTo>
                      <a:pt x="966" y="2510"/>
                    </a:lnTo>
                    <a:lnTo>
                      <a:pt x="970" y="2504"/>
                    </a:lnTo>
                    <a:lnTo>
                      <a:pt x="970" y="2504"/>
                    </a:lnTo>
                    <a:lnTo>
                      <a:pt x="980" y="2492"/>
                    </a:lnTo>
                    <a:lnTo>
                      <a:pt x="986" y="2478"/>
                    </a:lnTo>
                    <a:lnTo>
                      <a:pt x="990" y="2464"/>
                    </a:lnTo>
                    <a:lnTo>
                      <a:pt x="990" y="2444"/>
                    </a:lnTo>
                    <a:lnTo>
                      <a:pt x="990" y="2444"/>
                    </a:lnTo>
                    <a:lnTo>
                      <a:pt x="990" y="2436"/>
                    </a:lnTo>
                    <a:lnTo>
                      <a:pt x="990" y="2432"/>
                    </a:lnTo>
                    <a:lnTo>
                      <a:pt x="986" y="2432"/>
                    </a:lnTo>
                    <a:lnTo>
                      <a:pt x="984" y="2432"/>
                    </a:lnTo>
                    <a:lnTo>
                      <a:pt x="980" y="2432"/>
                    </a:lnTo>
                    <a:lnTo>
                      <a:pt x="976" y="2432"/>
                    </a:lnTo>
                    <a:lnTo>
                      <a:pt x="970" y="2428"/>
                    </a:lnTo>
                    <a:lnTo>
                      <a:pt x="964" y="2420"/>
                    </a:lnTo>
                    <a:lnTo>
                      <a:pt x="964" y="2420"/>
                    </a:lnTo>
                    <a:lnTo>
                      <a:pt x="962" y="2410"/>
                    </a:lnTo>
                    <a:lnTo>
                      <a:pt x="962" y="2404"/>
                    </a:lnTo>
                    <a:lnTo>
                      <a:pt x="964" y="2400"/>
                    </a:lnTo>
                    <a:lnTo>
                      <a:pt x="968" y="2396"/>
                    </a:lnTo>
                    <a:lnTo>
                      <a:pt x="970" y="2392"/>
                    </a:lnTo>
                    <a:lnTo>
                      <a:pt x="970" y="2388"/>
                    </a:lnTo>
                    <a:lnTo>
                      <a:pt x="968" y="2380"/>
                    </a:lnTo>
                    <a:lnTo>
                      <a:pt x="962" y="2368"/>
                    </a:lnTo>
                    <a:lnTo>
                      <a:pt x="962" y="2368"/>
                    </a:lnTo>
                    <a:lnTo>
                      <a:pt x="954" y="2360"/>
                    </a:lnTo>
                    <a:lnTo>
                      <a:pt x="946" y="2354"/>
                    </a:lnTo>
                    <a:lnTo>
                      <a:pt x="928" y="2344"/>
                    </a:lnTo>
                    <a:lnTo>
                      <a:pt x="922" y="2338"/>
                    </a:lnTo>
                    <a:lnTo>
                      <a:pt x="918" y="2332"/>
                    </a:lnTo>
                    <a:lnTo>
                      <a:pt x="918" y="2330"/>
                    </a:lnTo>
                    <a:lnTo>
                      <a:pt x="920" y="2326"/>
                    </a:lnTo>
                    <a:lnTo>
                      <a:pt x="926" y="2316"/>
                    </a:lnTo>
                    <a:lnTo>
                      <a:pt x="926" y="2316"/>
                    </a:lnTo>
                    <a:lnTo>
                      <a:pt x="928" y="2320"/>
                    </a:lnTo>
                    <a:lnTo>
                      <a:pt x="934" y="2326"/>
                    </a:lnTo>
                    <a:lnTo>
                      <a:pt x="946" y="2332"/>
                    </a:lnTo>
                    <a:lnTo>
                      <a:pt x="952" y="2334"/>
                    </a:lnTo>
                    <a:lnTo>
                      <a:pt x="958" y="2334"/>
                    </a:lnTo>
                    <a:lnTo>
                      <a:pt x="958" y="2334"/>
                    </a:lnTo>
                    <a:lnTo>
                      <a:pt x="966" y="2336"/>
                    </a:lnTo>
                    <a:lnTo>
                      <a:pt x="976" y="2338"/>
                    </a:lnTo>
                    <a:lnTo>
                      <a:pt x="992" y="2348"/>
                    </a:lnTo>
                    <a:lnTo>
                      <a:pt x="1002" y="2352"/>
                    </a:lnTo>
                    <a:lnTo>
                      <a:pt x="1010" y="2356"/>
                    </a:lnTo>
                    <a:lnTo>
                      <a:pt x="1018" y="2358"/>
                    </a:lnTo>
                    <a:lnTo>
                      <a:pt x="1026" y="2356"/>
                    </a:lnTo>
                    <a:lnTo>
                      <a:pt x="1026" y="2356"/>
                    </a:lnTo>
                    <a:lnTo>
                      <a:pt x="1032" y="2354"/>
                    </a:lnTo>
                    <a:lnTo>
                      <a:pt x="1038" y="2352"/>
                    </a:lnTo>
                    <a:lnTo>
                      <a:pt x="1050" y="2356"/>
                    </a:lnTo>
                    <a:lnTo>
                      <a:pt x="1056" y="2358"/>
                    </a:lnTo>
                    <a:lnTo>
                      <a:pt x="1062" y="2358"/>
                    </a:lnTo>
                    <a:lnTo>
                      <a:pt x="1068" y="2358"/>
                    </a:lnTo>
                    <a:lnTo>
                      <a:pt x="1076" y="2354"/>
                    </a:lnTo>
                    <a:lnTo>
                      <a:pt x="1076" y="2354"/>
                    </a:lnTo>
                    <a:lnTo>
                      <a:pt x="1090" y="2344"/>
                    </a:lnTo>
                    <a:lnTo>
                      <a:pt x="1100" y="2334"/>
                    </a:lnTo>
                    <a:lnTo>
                      <a:pt x="1110" y="2320"/>
                    </a:lnTo>
                    <a:lnTo>
                      <a:pt x="1122" y="2300"/>
                    </a:lnTo>
                    <a:lnTo>
                      <a:pt x="1122" y="2300"/>
                    </a:lnTo>
                    <a:lnTo>
                      <a:pt x="1120" y="2294"/>
                    </a:lnTo>
                    <a:lnTo>
                      <a:pt x="1120" y="2294"/>
                    </a:lnTo>
                    <a:lnTo>
                      <a:pt x="1124" y="2288"/>
                    </a:lnTo>
                    <a:lnTo>
                      <a:pt x="1130" y="2282"/>
                    </a:lnTo>
                    <a:lnTo>
                      <a:pt x="1140" y="2276"/>
                    </a:lnTo>
                    <a:lnTo>
                      <a:pt x="1150" y="2270"/>
                    </a:lnTo>
                    <a:lnTo>
                      <a:pt x="1154" y="2264"/>
                    </a:lnTo>
                    <a:lnTo>
                      <a:pt x="1158" y="2256"/>
                    </a:lnTo>
                    <a:lnTo>
                      <a:pt x="1158" y="2256"/>
                    </a:lnTo>
                    <a:lnTo>
                      <a:pt x="1166" y="2232"/>
                    </a:lnTo>
                    <a:lnTo>
                      <a:pt x="1170" y="2224"/>
                    </a:lnTo>
                    <a:lnTo>
                      <a:pt x="1174" y="2218"/>
                    </a:lnTo>
                    <a:lnTo>
                      <a:pt x="1188" y="2204"/>
                    </a:lnTo>
                    <a:lnTo>
                      <a:pt x="1210" y="2184"/>
                    </a:lnTo>
                    <a:lnTo>
                      <a:pt x="1210" y="2184"/>
                    </a:lnTo>
                    <a:lnTo>
                      <a:pt x="1220" y="2174"/>
                    </a:lnTo>
                    <a:lnTo>
                      <a:pt x="1228" y="2164"/>
                    </a:lnTo>
                    <a:lnTo>
                      <a:pt x="1240" y="2140"/>
                    </a:lnTo>
                    <a:lnTo>
                      <a:pt x="1254" y="2110"/>
                    </a:lnTo>
                    <a:lnTo>
                      <a:pt x="1270" y="2074"/>
                    </a:lnTo>
                    <a:lnTo>
                      <a:pt x="1270" y="2074"/>
                    </a:lnTo>
                    <a:lnTo>
                      <a:pt x="1278" y="2058"/>
                    </a:lnTo>
                    <a:lnTo>
                      <a:pt x="1284" y="2048"/>
                    </a:lnTo>
                    <a:lnTo>
                      <a:pt x="1290" y="2042"/>
                    </a:lnTo>
                    <a:lnTo>
                      <a:pt x="1294" y="2038"/>
                    </a:lnTo>
                    <a:lnTo>
                      <a:pt x="1304" y="2030"/>
                    </a:lnTo>
                    <a:lnTo>
                      <a:pt x="1308" y="2022"/>
                    </a:lnTo>
                    <a:lnTo>
                      <a:pt x="1314" y="2012"/>
                    </a:lnTo>
                    <a:lnTo>
                      <a:pt x="1314" y="2012"/>
                    </a:lnTo>
                    <a:lnTo>
                      <a:pt x="1320" y="1998"/>
                    </a:lnTo>
                    <a:lnTo>
                      <a:pt x="1322" y="1984"/>
                    </a:lnTo>
                    <a:lnTo>
                      <a:pt x="1322" y="1970"/>
                    </a:lnTo>
                    <a:lnTo>
                      <a:pt x="1322" y="1956"/>
                    </a:lnTo>
                    <a:lnTo>
                      <a:pt x="1322" y="1926"/>
                    </a:lnTo>
                    <a:lnTo>
                      <a:pt x="1320" y="1910"/>
                    </a:lnTo>
                    <a:lnTo>
                      <a:pt x="1322" y="1894"/>
                    </a:lnTo>
                    <a:lnTo>
                      <a:pt x="1322" y="1894"/>
                    </a:lnTo>
                    <a:lnTo>
                      <a:pt x="1324" y="1878"/>
                    </a:lnTo>
                    <a:lnTo>
                      <a:pt x="1332" y="1862"/>
                    </a:lnTo>
                    <a:lnTo>
                      <a:pt x="1340" y="1848"/>
                    </a:lnTo>
                    <a:lnTo>
                      <a:pt x="1352" y="1836"/>
                    </a:lnTo>
                    <a:lnTo>
                      <a:pt x="1364" y="1824"/>
                    </a:lnTo>
                    <a:lnTo>
                      <a:pt x="1376" y="1816"/>
                    </a:lnTo>
                    <a:lnTo>
                      <a:pt x="1388" y="1808"/>
                    </a:lnTo>
                    <a:lnTo>
                      <a:pt x="1398" y="1802"/>
                    </a:lnTo>
                    <a:lnTo>
                      <a:pt x="1398" y="1802"/>
                    </a:lnTo>
                    <a:lnTo>
                      <a:pt x="1422" y="1792"/>
                    </a:lnTo>
                    <a:lnTo>
                      <a:pt x="1438" y="1782"/>
                    </a:lnTo>
                    <a:lnTo>
                      <a:pt x="1452" y="1772"/>
                    </a:lnTo>
                    <a:lnTo>
                      <a:pt x="1462" y="1764"/>
                    </a:lnTo>
                    <a:lnTo>
                      <a:pt x="1476" y="1750"/>
                    </a:lnTo>
                    <a:lnTo>
                      <a:pt x="1482" y="1744"/>
                    </a:lnTo>
                    <a:lnTo>
                      <a:pt x="1490" y="1740"/>
                    </a:lnTo>
                    <a:lnTo>
                      <a:pt x="1490" y="1740"/>
                    </a:lnTo>
                    <a:lnTo>
                      <a:pt x="1498" y="1738"/>
                    </a:lnTo>
                    <a:lnTo>
                      <a:pt x="1502" y="1738"/>
                    </a:lnTo>
                    <a:lnTo>
                      <a:pt x="1506" y="1740"/>
                    </a:lnTo>
                    <a:lnTo>
                      <a:pt x="1508" y="1742"/>
                    </a:lnTo>
                    <a:lnTo>
                      <a:pt x="1514" y="1742"/>
                    </a:lnTo>
                    <a:lnTo>
                      <a:pt x="1520" y="1742"/>
                    </a:lnTo>
                    <a:lnTo>
                      <a:pt x="1530" y="1740"/>
                    </a:lnTo>
                    <a:lnTo>
                      <a:pt x="1530" y="1740"/>
                    </a:lnTo>
                    <a:lnTo>
                      <a:pt x="1544" y="1738"/>
                    </a:lnTo>
                    <a:lnTo>
                      <a:pt x="1556" y="1738"/>
                    </a:lnTo>
                    <a:lnTo>
                      <a:pt x="1576" y="1738"/>
                    </a:lnTo>
                    <a:lnTo>
                      <a:pt x="1584" y="1738"/>
                    </a:lnTo>
                    <a:lnTo>
                      <a:pt x="1588" y="1736"/>
                    </a:lnTo>
                    <a:lnTo>
                      <a:pt x="1592" y="1734"/>
                    </a:lnTo>
                    <a:lnTo>
                      <a:pt x="1590" y="1728"/>
                    </a:lnTo>
                    <a:lnTo>
                      <a:pt x="1590" y="1728"/>
                    </a:lnTo>
                    <a:lnTo>
                      <a:pt x="1590" y="1724"/>
                    </a:lnTo>
                    <a:lnTo>
                      <a:pt x="1590" y="1722"/>
                    </a:lnTo>
                    <a:lnTo>
                      <a:pt x="1594" y="1716"/>
                    </a:lnTo>
                    <a:lnTo>
                      <a:pt x="1608" y="1702"/>
                    </a:lnTo>
                    <a:lnTo>
                      <a:pt x="1616" y="1696"/>
                    </a:lnTo>
                    <a:lnTo>
                      <a:pt x="1622" y="1690"/>
                    </a:lnTo>
                    <a:lnTo>
                      <a:pt x="1626" y="1682"/>
                    </a:lnTo>
                    <a:lnTo>
                      <a:pt x="1626" y="1676"/>
                    </a:lnTo>
                    <a:lnTo>
                      <a:pt x="1624" y="1672"/>
                    </a:lnTo>
                    <a:lnTo>
                      <a:pt x="1624" y="1672"/>
                    </a:lnTo>
                    <a:lnTo>
                      <a:pt x="1622" y="1662"/>
                    </a:lnTo>
                    <a:lnTo>
                      <a:pt x="1624" y="1654"/>
                    </a:lnTo>
                    <a:lnTo>
                      <a:pt x="1628" y="1644"/>
                    </a:lnTo>
                    <a:lnTo>
                      <a:pt x="1634" y="1634"/>
                    </a:lnTo>
                    <a:lnTo>
                      <a:pt x="1650" y="1610"/>
                    </a:lnTo>
                    <a:lnTo>
                      <a:pt x="1668" y="1580"/>
                    </a:lnTo>
                    <a:lnTo>
                      <a:pt x="1668" y="1580"/>
                    </a:lnTo>
                    <a:lnTo>
                      <a:pt x="1674" y="1564"/>
                    </a:lnTo>
                    <a:lnTo>
                      <a:pt x="1678" y="1550"/>
                    </a:lnTo>
                    <a:lnTo>
                      <a:pt x="1678" y="1536"/>
                    </a:lnTo>
                    <a:lnTo>
                      <a:pt x="1678" y="1524"/>
                    </a:lnTo>
                    <a:lnTo>
                      <a:pt x="1678" y="1514"/>
                    </a:lnTo>
                    <a:lnTo>
                      <a:pt x="1680" y="1506"/>
                    </a:lnTo>
                    <a:lnTo>
                      <a:pt x="1682" y="1498"/>
                    </a:lnTo>
                    <a:lnTo>
                      <a:pt x="1688" y="1494"/>
                    </a:lnTo>
                    <a:lnTo>
                      <a:pt x="1688" y="1494"/>
                    </a:lnTo>
                    <a:lnTo>
                      <a:pt x="1694" y="1488"/>
                    </a:lnTo>
                    <a:lnTo>
                      <a:pt x="1698" y="1480"/>
                    </a:lnTo>
                    <a:lnTo>
                      <a:pt x="1698" y="1470"/>
                    </a:lnTo>
                    <a:lnTo>
                      <a:pt x="1700" y="1460"/>
                    </a:lnTo>
                    <a:lnTo>
                      <a:pt x="1700" y="1434"/>
                    </a:lnTo>
                    <a:lnTo>
                      <a:pt x="1702" y="1418"/>
                    </a:lnTo>
                    <a:lnTo>
                      <a:pt x="1704" y="1404"/>
                    </a:lnTo>
                    <a:lnTo>
                      <a:pt x="1704" y="1404"/>
                    </a:lnTo>
                    <a:lnTo>
                      <a:pt x="1708" y="1390"/>
                    </a:lnTo>
                    <a:lnTo>
                      <a:pt x="1708" y="1378"/>
                    </a:lnTo>
                    <a:lnTo>
                      <a:pt x="1708" y="1368"/>
                    </a:lnTo>
                    <a:lnTo>
                      <a:pt x="1706" y="1360"/>
                    </a:lnTo>
                    <a:lnTo>
                      <a:pt x="1702" y="1342"/>
                    </a:lnTo>
                    <a:lnTo>
                      <a:pt x="1702" y="1334"/>
                    </a:lnTo>
                    <a:lnTo>
                      <a:pt x="1702" y="1324"/>
                    </a:lnTo>
                    <a:lnTo>
                      <a:pt x="1702" y="1324"/>
                    </a:lnTo>
                    <a:lnTo>
                      <a:pt x="1706" y="1252"/>
                    </a:lnTo>
                    <a:lnTo>
                      <a:pt x="1708" y="1234"/>
                    </a:lnTo>
                    <a:lnTo>
                      <a:pt x="1710" y="1224"/>
                    </a:lnTo>
                    <a:lnTo>
                      <a:pt x="1712" y="1220"/>
                    </a:lnTo>
                    <a:lnTo>
                      <a:pt x="1714" y="1220"/>
                    </a:lnTo>
                    <a:lnTo>
                      <a:pt x="1718" y="1222"/>
                    </a:lnTo>
                    <a:lnTo>
                      <a:pt x="1720" y="1226"/>
                    </a:lnTo>
                    <a:lnTo>
                      <a:pt x="1720" y="1226"/>
                    </a:lnTo>
                    <a:lnTo>
                      <a:pt x="1726" y="1234"/>
                    </a:lnTo>
                    <a:lnTo>
                      <a:pt x="1730" y="1238"/>
                    </a:lnTo>
                    <a:lnTo>
                      <a:pt x="1736" y="1238"/>
                    </a:lnTo>
                    <a:lnTo>
                      <a:pt x="1740" y="1234"/>
                    </a:lnTo>
                    <a:lnTo>
                      <a:pt x="1746" y="1224"/>
                    </a:lnTo>
                    <a:lnTo>
                      <a:pt x="1752" y="1212"/>
                    </a:lnTo>
                    <a:lnTo>
                      <a:pt x="1766" y="1176"/>
                    </a:lnTo>
                    <a:lnTo>
                      <a:pt x="1766" y="1176"/>
                    </a:lnTo>
                    <a:lnTo>
                      <a:pt x="1774" y="1158"/>
                    </a:lnTo>
                    <a:lnTo>
                      <a:pt x="1780" y="1146"/>
                    </a:lnTo>
                    <a:lnTo>
                      <a:pt x="1788" y="1136"/>
                    </a:lnTo>
                    <a:lnTo>
                      <a:pt x="1794" y="1128"/>
                    </a:lnTo>
                    <a:lnTo>
                      <a:pt x="1810" y="1112"/>
                    </a:lnTo>
                    <a:lnTo>
                      <a:pt x="1820" y="1100"/>
                    </a:lnTo>
                    <a:lnTo>
                      <a:pt x="1830" y="1082"/>
                    </a:lnTo>
                    <a:lnTo>
                      <a:pt x="1830" y="1082"/>
                    </a:lnTo>
                    <a:lnTo>
                      <a:pt x="1852" y="1044"/>
                    </a:lnTo>
                    <a:lnTo>
                      <a:pt x="1860" y="1030"/>
                    </a:lnTo>
                    <a:lnTo>
                      <a:pt x="1866" y="1016"/>
                    </a:lnTo>
                    <a:lnTo>
                      <a:pt x="1872" y="1002"/>
                    </a:lnTo>
                    <a:lnTo>
                      <a:pt x="1874" y="988"/>
                    </a:lnTo>
                    <a:lnTo>
                      <a:pt x="1874" y="972"/>
                    </a:lnTo>
                    <a:lnTo>
                      <a:pt x="1872" y="956"/>
                    </a:lnTo>
                    <a:lnTo>
                      <a:pt x="1872" y="956"/>
                    </a:lnTo>
                    <a:close/>
                    <a:moveTo>
                      <a:pt x="1128" y="2234"/>
                    </a:moveTo>
                    <a:lnTo>
                      <a:pt x="1128" y="2234"/>
                    </a:lnTo>
                    <a:lnTo>
                      <a:pt x="1132" y="2242"/>
                    </a:lnTo>
                    <a:lnTo>
                      <a:pt x="1132" y="2242"/>
                    </a:lnTo>
                    <a:lnTo>
                      <a:pt x="1128" y="2234"/>
                    </a:lnTo>
                    <a:lnTo>
                      <a:pt x="1128" y="2234"/>
                    </a:lnTo>
                    <a:close/>
                    <a:moveTo>
                      <a:pt x="698" y="3490"/>
                    </a:moveTo>
                    <a:lnTo>
                      <a:pt x="698" y="3490"/>
                    </a:lnTo>
                    <a:lnTo>
                      <a:pt x="692" y="3492"/>
                    </a:lnTo>
                    <a:lnTo>
                      <a:pt x="688" y="3490"/>
                    </a:lnTo>
                    <a:lnTo>
                      <a:pt x="684" y="3490"/>
                    </a:lnTo>
                    <a:lnTo>
                      <a:pt x="678" y="3492"/>
                    </a:lnTo>
                    <a:lnTo>
                      <a:pt x="678" y="3492"/>
                    </a:lnTo>
                    <a:lnTo>
                      <a:pt x="670" y="3496"/>
                    </a:lnTo>
                    <a:lnTo>
                      <a:pt x="666" y="3498"/>
                    </a:lnTo>
                    <a:lnTo>
                      <a:pt x="670" y="3500"/>
                    </a:lnTo>
                    <a:lnTo>
                      <a:pt x="670" y="3500"/>
                    </a:lnTo>
                    <a:lnTo>
                      <a:pt x="672" y="3500"/>
                    </a:lnTo>
                    <a:lnTo>
                      <a:pt x="678" y="3498"/>
                    </a:lnTo>
                    <a:lnTo>
                      <a:pt x="678" y="3498"/>
                    </a:lnTo>
                    <a:lnTo>
                      <a:pt x="682" y="3494"/>
                    </a:lnTo>
                    <a:lnTo>
                      <a:pt x="684" y="3496"/>
                    </a:lnTo>
                    <a:lnTo>
                      <a:pt x="686" y="3498"/>
                    </a:lnTo>
                    <a:lnTo>
                      <a:pt x="690" y="3496"/>
                    </a:lnTo>
                    <a:lnTo>
                      <a:pt x="690" y="3496"/>
                    </a:lnTo>
                    <a:lnTo>
                      <a:pt x="694" y="3496"/>
                    </a:lnTo>
                    <a:lnTo>
                      <a:pt x="696" y="3496"/>
                    </a:lnTo>
                    <a:lnTo>
                      <a:pt x="696" y="3496"/>
                    </a:lnTo>
                    <a:lnTo>
                      <a:pt x="700" y="3496"/>
                    </a:lnTo>
                    <a:lnTo>
                      <a:pt x="700" y="3496"/>
                    </a:lnTo>
                    <a:lnTo>
                      <a:pt x="702" y="3494"/>
                    </a:lnTo>
                    <a:lnTo>
                      <a:pt x="704" y="3492"/>
                    </a:lnTo>
                    <a:lnTo>
                      <a:pt x="702" y="3490"/>
                    </a:lnTo>
                    <a:lnTo>
                      <a:pt x="698" y="3490"/>
                    </a:lnTo>
                    <a:lnTo>
                      <a:pt x="698" y="3490"/>
                    </a:lnTo>
                    <a:close/>
                    <a:moveTo>
                      <a:pt x="294" y="3084"/>
                    </a:moveTo>
                    <a:lnTo>
                      <a:pt x="294" y="3084"/>
                    </a:lnTo>
                    <a:lnTo>
                      <a:pt x="298" y="3086"/>
                    </a:lnTo>
                    <a:lnTo>
                      <a:pt x="300" y="3084"/>
                    </a:lnTo>
                    <a:lnTo>
                      <a:pt x="300" y="3084"/>
                    </a:lnTo>
                    <a:lnTo>
                      <a:pt x="300" y="3082"/>
                    </a:lnTo>
                    <a:lnTo>
                      <a:pt x="298" y="3080"/>
                    </a:lnTo>
                    <a:lnTo>
                      <a:pt x="292" y="3078"/>
                    </a:lnTo>
                    <a:lnTo>
                      <a:pt x="292" y="3078"/>
                    </a:lnTo>
                    <a:lnTo>
                      <a:pt x="286" y="3078"/>
                    </a:lnTo>
                    <a:lnTo>
                      <a:pt x="282" y="3078"/>
                    </a:lnTo>
                    <a:lnTo>
                      <a:pt x="276" y="3080"/>
                    </a:lnTo>
                    <a:lnTo>
                      <a:pt x="274" y="3082"/>
                    </a:lnTo>
                    <a:lnTo>
                      <a:pt x="274" y="3082"/>
                    </a:lnTo>
                    <a:lnTo>
                      <a:pt x="274" y="3084"/>
                    </a:lnTo>
                    <a:lnTo>
                      <a:pt x="274" y="3084"/>
                    </a:lnTo>
                    <a:lnTo>
                      <a:pt x="280" y="3084"/>
                    </a:lnTo>
                    <a:lnTo>
                      <a:pt x="288" y="3084"/>
                    </a:lnTo>
                    <a:lnTo>
                      <a:pt x="294" y="3084"/>
                    </a:lnTo>
                    <a:lnTo>
                      <a:pt x="294" y="3084"/>
                    </a:lnTo>
                    <a:close/>
                    <a:moveTo>
                      <a:pt x="338" y="3318"/>
                    </a:moveTo>
                    <a:lnTo>
                      <a:pt x="338" y="3318"/>
                    </a:lnTo>
                    <a:lnTo>
                      <a:pt x="330" y="3322"/>
                    </a:lnTo>
                    <a:lnTo>
                      <a:pt x="328" y="3324"/>
                    </a:lnTo>
                    <a:lnTo>
                      <a:pt x="330" y="3326"/>
                    </a:lnTo>
                    <a:lnTo>
                      <a:pt x="330" y="3326"/>
                    </a:lnTo>
                    <a:lnTo>
                      <a:pt x="330" y="3326"/>
                    </a:lnTo>
                    <a:lnTo>
                      <a:pt x="334" y="3326"/>
                    </a:lnTo>
                    <a:lnTo>
                      <a:pt x="338" y="3322"/>
                    </a:lnTo>
                    <a:lnTo>
                      <a:pt x="338" y="3318"/>
                    </a:lnTo>
                    <a:lnTo>
                      <a:pt x="338" y="3318"/>
                    </a:lnTo>
                    <a:lnTo>
                      <a:pt x="338" y="3318"/>
                    </a:lnTo>
                    <a:lnTo>
                      <a:pt x="338" y="3318"/>
                    </a:lnTo>
                    <a:close/>
                    <a:moveTo>
                      <a:pt x="292" y="3034"/>
                    </a:moveTo>
                    <a:lnTo>
                      <a:pt x="292" y="3034"/>
                    </a:lnTo>
                    <a:lnTo>
                      <a:pt x="290" y="3032"/>
                    </a:lnTo>
                    <a:lnTo>
                      <a:pt x="288" y="3030"/>
                    </a:lnTo>
                    <a:lnTo>
                      <a:pt x="284" y="3030"/>
                    </a:lnTo>
                    <a:lnTo>
                      <a:pt x="282" y="3034"/>
                    </a:lnTo>
                    <a:lnTo>
                      <a:pt x="282" y="3034"/>
                    </a:lnTo>
                    <a:lnTo>
                      <a:pt x="284" y="3036"/>
                    </a:lnTo>
                    <a:lnTo>
                      <a:pt x="286" y="3038"/>
                    </a:lnTo>
                    <a:lnTo>
                      <a:pt x="290" y="3036"/>
                    </a:lnTo>
                    <a:lnTo>
                      <a:pt x="292" y="3034"/>
                    </a:lnTo>
                    <a:lnTo>
                      <a:pt x="292" y="3034"/>
                    </a:lnTo>
                    <a:close/>
                    <a:moveTo>
                      <a:pt x="420" y="3442"/>
                    </a:moveTo>
                    <a:lnTo>
                      <a:pt x="420" y="3442"/>
                    </a:lnTo>
                    <a:lnTo>
                      <a:pt x="420" y="3446"/>
                    </a:lnTo>
                    <a:lnTo>
                      <a:pt x="424" y="3452"/>
                    </a:lnTo>
                    <a:lnTo>
                      <a:pt x="440" y="3462"/>
                    </a:lnTo>
                    <a:lnTo>
                      <a:pt x="440" y="3462"/>
                    </a:lnTo>
                    <a:lnTo>
                      <a:pt x="444" y="3464"/>
                    </a:lnTo>
                    <a:lnTo>
                      <a:pt x="444" y="3462"/>
                    </a:lnTo>
                    <a:lnTo>
                      <a:pt x="442" y="3458"/>
                    </a:lnTo>
                    <a:lnTo>
                      <a:pt x="438" y="3454"/>
                    </a:lnTo>
                    <a:lnTo>
                      <a:pt x="438" y="3454"/>
                    </a:lnTo>
                    <a:lnTo>
                      <a:pt x="430" y="3446"/>
                    </a:lnTo>
                    <a:lnTo>
                      <a:pt x="430" y="3446"/>
                    </a:lnTo>
                    <a:lnTo>
                      <a:pt x="434" y="3448"/>
                    </a:lnTo>
                    <a:lnTo>
                      <a:pt x="434" y="3448"/>
                    </a:lnTo>
                    <a:lnTo>
                      <a:pt x="438" y="3450"/>
                    </a:lnTo>
                    <a:lnTo>
                      <a:pt x="442" y="3450"/>
                    </a:lnTo>
                    <a:lnTo>
                      <a:pt x="442" y="3448"/>
                    </a:lnTo>
                    <a:lnTo>
                      <a:pt x="440" y="3444"/>
                    </a:lnTo>
                    <a:lnTo>
                      <a:pt x="440" y="3444"/>
                    </a:lnTo>
                    <a:lnTo>
                      <a:pt x="436" y="3438"/>
                    </a:lnTo>
                    <a:lnTo>
                      <a:pt x="434" y="3432"/>
                    </a:lnTo>
                    <a:lnTo>
                      <a:pt x="434" y="3420"/>
                    </a:lnTo>
                    <a:lnTo>
                      <a:pt x="434" y="3420"/>
                    </a:lnTo>
                    <a:lnTo>
                      <a:pt x="434" y="3418"/>
                    </a:lnTo>
                    <a:lnTo>
                      <a:pt x="434" y="3420"/>
                    </a:lnTo>
                    <a:lnTo>
                      <a:pt x="430" y="3422"/>
                    </a:lnTo>
                    <a:lnTo>
                      <a:pt x="426" y="3428"/>
                    </a:lnTo>
                    <a:lnTo>
                      <a:pt x="426" y="3432"/>
                    </a:lnTo>
                    <a:lnTo>
                      <a:pt x="426" y="3432"/>
                    </a:lnTo>
                    <a:lnTo>
                      <a:pt x="426" y="3436"/>
                    </a:lnTo>
                    <a:lnTo>
                      <a:pt x="424" y="3436"/>
                    </a:lnTo>
                    <a:lnTo>
                      <a:pt x="422" y="3436"/>
                    </a:lnTo>
                    <a:lnTo>
                      <a:pt x="420" y="3442"/>
                    </a:lnTo>
                    <a:lnTo>
                      <a:pt x="420" y="3442"/>
                    </a:lnTo>
                    <a:close/>
                    <a:moveTo>
                      <a:pt x="272" y="3186"/>
                    </a:moveTo>
                    <a:lnTo>
                      <a:pt x="272" y="3186"/>
                    </a:lnTo>
                    <a:lnTo>
                      <a:pt x="270" y="3186"/>
                    </a:lnTo>
                    <a:lnTo>
                      <a:pt x="270" y="3186"/>
                    </a:lnTo>
                    <a:lnTo>
                      <a:pt x="272" y="3180"/>
                    </a:lnTo>
                    <a:lnTo>
                      <a:pt x="272" y="3180"/>
                    </a:lnTo>
                    <a:lnTo>
                      <a:pt x="274" y="3174"/>
                    </a:lnTo>
                    <a:lnTo>
                      <a:pt x="274" y="3168"/>
                    </a:lnTo>
                    <a:lnTo>
                      <a:pt x="274" y="3150"/>
                    </a:lnTo>
                    <a:lnTo>
                      <a:pt x="274" y="3150"/>
                    </a:lnTo>
                    <a:lnTo>
                      <a:pt x="272" y="3136"/>
                    </a:lnTo>
                    <a:lnTo>
                      <a:pt x="272" y="3132"/>
                    </a:lnTo>
                    <a:lnTo>
                      <a:pt x="270" y="3132"/>
                    </a:lnTo>
                    <a:lnTo>
                      <a:pt x="270" y="3132"/>
                    </a:lnTo>
                    <a:lnTo>
                      <a:pt x="266" y="3132"/>
                    </a:lnTo>
                    <a:lnTo>
                      <a:pt x="264" y="3130"/>
                    </a:lnTo>
                    <a:lnTo>
                      <a:pt x="262" y="3130"/>
                    </a:lnTo>
                    <a:lnTo>
                      <a:pt x="258" y="3132"/>
                    </a:lnTo>
                    <a:lnTo>
                      <a:pt x="258" y="3132"/>
                    </a:lnTo>
                    <a:lnTo>
                      <a:pt x="252" y="3136"/>
                    </a:lnTo>
                    <a:lnTo>
                      <a:pt x="250" y="3138"/>
                    </a:lnTo>
                    <a:lnTo>
                      <a:pt x="252" y="3140"/>
                    </a:lnTo>
                    <a:lnTo>
                      <a:pt x="252" y="3140"/>
                    </a:lnTo>
                    <a:lnTo>
                      <a:pt x="254" y="3142"/>
                    </a:lnTo>
                    <a:lnTo>
                      <a:pt x="254" y="3144"/>
                    </a:lnTo>
                    <a:lnTo>
                      <a:pt x="254" y="3146"/>
                    </a:lnTo>
                    <a:lnTo>
                      <a:pt x="256" y="3148"/>
                    </a:lnTo>
                    <a:lnTo>
                      <a:pt x="256" y="3148"/>
                    </a:lnTo>
                    <a:lnTo>
                      <a:pt x="258" y="3150"/>
                    </a:lnTo>
                    <a:lnTo>
                      <a:pt x="260" y="3154"/>
                    </a:lnTo>
                    <a:lnTo>
                      <a:pt x="258" y="3164"/>
                    </a:lnTo>
                    <a:lnTo>
                      <a:pt x="258" y="3164"/>
                    </a:lnTo>
                    <a:lnTo>
                      <a:pt x="256" y="3166"/>
                    </a:lnTo>
                    <a:lnTo>
                      <a:pt x="252" y="3164"/>
                    </a:lnTo>
                    <a:lnTo>
                      <a:pt x="250" y="3162"/>
                    </a:lnTo>
                    <a:lnTo>
                      <a:pt x="246" y="3162"/>
                    </a:lnTo>
                    <a:lnTo>
                      <a:pt x="246" y="3162"/>
                    </a:lnTo>
                    <a:lnTo>
                      <a:pt x="244" y="3164"/>
                    </a:lnTo>
                    <a:lnTo>
                      <a:pt x="242" y="3162"/>
                    </a:lnTo>
                    <a:lnTo>
                      <a:pt x="242" y="3162"/>
                    </a:lnTo>
                    <a:lnTo>
                      <a:pt x="238" y="3162"/>
                    </a:lnTo>
                    <a:lnTo>
                      <a:pt x="238" y="3162"/>
                    </a:lnTo>
                    <a:lnTo>
                      <a:pt x="236" y="3164"/>
                    </a:lnTo>
                    <a:lnTo>
                      <a:pt x="234" y="3168"/>
                    </a:lnTo>
                    <a:lnTo>
                      <a:pt x="236" y="3172"/>
                    </a:lnTo>
                    <a:lnTo>
                      <a:pt x="238" y="3178"/>
                    </a:lnTo>
                    <a:lnTo>
                      <a:pt x="238" y="3178"/>
                    </a:lnTo>
                    <a:lnTo>
                      <a:pt x="242" y="3184"/>
                    </a:lnTo>
                    <a:lnTo>
                      <a:pt x="244" y="3190"/>
                    </a:lnTo>
                    <a:lnTo>
                      <a:pt x="246" y="3194"/>
                    </a:lnTo>
                    <a:lnTo>
                      <a:pt x="248" y="3200"/>
                    </a:lnTo>
                    <a:lnTo>
                      <a:pt x="248" y="3200"/>
                    </a:lnTo>
                    <a:lnTo>
                      <a:pt x="250" y="3200"/>
                    </a:lnTo>
                    <a:lnTo>
                      <a:pt x="252" y="3200"/>
                    </a:lnTo>
                    <a:lnTo>
                      <a:pt x="254" y="3196"/>
                    </a:lnTo>
                    <a:lnTo>
                      <a:pt x="254" y="3190"/>
                    </a:lnTo>
                    <a:lnTo>
                      <a:pt x="252" y="3184"/>
                    </a:lnTo>
                    <a:lnTo>
                      <a:pt x="252" y="3184"/>
                    </a:lnTo>
                    <a:lnTo>
                      <a:pt x="250" y="3180"/>
                    </a:lnTo>
                    <a:lnTo>
                      <a:pt x="252" y="3178"/>
                    </a:lnTo>
                    <a:lnTo>
                      <a:pt x="254" y="3178"/>
                    </a:lnTo>
                    <a:lnTo>
                      <a:pt x="258" y="3182"/>
                    </a:lnTo>
                    <a:lnTo>
                      <a:pt x="258" y="3182"/>
                    </a:lnTo>
                    <a:lnTo>
                      <a:pt x="262" y="3184"/>
                    </a:lnTo>
                    <a:lnTo>
                      <a:pt x="262" y="3186"/>
                    </a:lnTo>
                    <a:lnTo>
                      <a:pt x="260" y="3186"/>
                    </a:lnTo>
                    <a:lnTo>
                      <a:pt x="258" y="3190"/>
                    </a:lnTo>
                    <a:lnTo>
                      <a:pt x="258" y="3190"/>
                    </a:lnTo>
                    <a:lnTo>
                      <a:pt x="258" y="3192"/>
                    </a:lnTo>
                    <a:lnTo>
                      <a:pt x="258" y="3194"/>
                    </a:lnTo>
                    <a:lnTo>
                      <a:pt x="258" y="3194"/>
                    </a:lnTo>
                    <a:lnTo>
                      <a:pt x="258" y="3198"/>
                    </a:lnTo>
                    <a:lnTo>
                      <a:pt x="258" y="3198"/>
                    </a:lnTo>
                    <a:lnTo>
                      <a:pt x="258" y="3202"/>
                    </a:lnTo>
                    <a:lnTo>
                      <a:pt x="258" y="3206"/>
                    </a:lnTo>
                    <a:lnTo>
                      <a:pt x="260" y="3208"/>
                    </a:lnTo>
                    <a:lnTo>
                      <a:pt x="266" y="3208"/>
                    </a:lnTo>
                    <a:lnTo>
                      <a:pt x="266" y="3208"/>
                    </a:lnTo>
                    <a:lnTo>
                      <a:pt x="270" y="3208"/>
                    </a:lnTo>
                    <a:lnTo>
                      <a:pt x="272" y="3206"/>
                    </a:lnTo>
                    <a:lnTo>
                      <a:pt x="274" y="3200"/>
                    </a:lnTo>
                    <a:lnTo>
                      <a:pt x="274" y="3194"/>
                    </a:lnTo>
                    <a:lnTo>
                      <a:pt x="276" y="3192"/>
                    </a:lnTo>
                    <a:lnTo>
                      <a:pt x="276" y="3192"/>
                    </a:lnTo>
                    <a:lnTo>
                      <a:pt x="276" y="3190"/>
                    </a:lnTo>
                    <a:lnTo>
                      <a:pt x="276" y="3188"/>
                    </a:lnTo>
                    <a:lnTo>
                      <a:pt x="276" y="3186"/>
                    </a:lnTo>
                    <a:lnTo>
                      <a:pt x="272" y="3186"/>
                    </a:lnTo>
                    <a:lnTo>
                      <a:pt x="272" y="318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sp>
            <p:nvSpPr>
              <p:cNvPr id="31" name="Freeform 5963"/>
              <p:cNvSpPr>
                <a:spLocks/>
              </p:cNvSpPr>
              <p:nvPr/>
            </p:nvSpPr>
            <p:spPr bwMode="auto">
              <a:xfrm>
                <a:off x="4301831" y="1967427"/>
                <a:ext cx="6637" cy="3318"/>
              </a:xfrm>
              <a:custGeom>
                <a:avLst/>
                <a:gdLst>
                  <a:gd name="T0" fmla="*/ 2147483647 w 8"/>
                  <a:gd name="T1" fmla="*/ 2147483647 h 6"/>
                  <a:gd name="T2" fmla="*/ 2147483647 w 8"/>
                  <a:gd name="T3" fmla="*/ 2147483647 h 6"/>
                  <a:gd name="T4" fmla="*/ 2147483647 w 8"/>
                  <a:gd name="T5" fmla="*/ 2147483647 h 6"/>
                  <a:gd name="T6" fmla="*/ 2147483647 w 8"/>
                  <a:gd name="T7" fmla="*/ 2147483647 h 6"/>
                  <a:gd name="T8" fmla="*/ 2147483647 w 8"/>
                  <a:gd name="T9" fmla="*/ 2147483647 h 6"/>
                  <a:gd name="T10" fmla="*/ 2147483647 w 8"/>
                  <a:gd name="T11" fmla="*/ 0 h 6"/>
                  <a:gd name="T12" fmla="*/ 2147483647 w 8"/>
                  <a:gd name="T13" fmla="*/ 0 h 6"/>
                  <a:gd name="T14" fmla="*/ 2147483647 w 8"/>
                  <a:gd name="T15" fmla="*/ 0 h 6"/>
                  <a:gd name="T16" fmla="*/ 2147483647 w 8"/>
                  <a:gd name="T17" fmla="*/ 2147483647 h 6"/>
                  <a:gd name="T18" fmla="*/ 0 w 8"/>
                  <a:gd name="T19" fmla="*/ 2147483647 h 6"/>
                  <a:gd name="T20" fmla="*/ 2147483647 w 8"/>
                  <a:gd name="T21" fmla="*/ 2147483647 h 6"/>
                  <a:gd name="T22" fmla="*/ 2147483647 w 8"/>
                  <a:gd name="T23" fmla="*/ 2147483647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6"/>
                  <a:gd name="T38" fmla="*/ 8 w 8"/>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6">
                    <a:moveTo>
                      <a:pt x="2" y="6"/>
                    </a:moveTo>
                    <a:lnTo>
                      <a:pt x="2" y="6"/>
                    </a:lnTo>
                    <a:lnTo>
                      <a:pt x="4" y="6"/>
                    </a:lnTo>
                    <a:lnTo>
                      <a:pt x="6" y="4"/>
                    </a:lnTo>
                    <a:lnTo>
                      <a:pt x="8" y="2"/>
                    </a:lnTo>
                    <a:lnTo>
                      <a:pt x="8" y="0"/>
                    </a:lnTo>
                    <a:lnTo>
                      <a:pt x="4" y="0"/>
                    </a:lnTo>
                    <a:lnTo>
                      <a:pt x="2" y="2"/>
                    </a:lnTo>
                    <a:lnTo>
                      <a:pt x="0" y="4"/>
                    </a:lnTo>
                    <a:lnTo>
                      <a:pt x="2"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35" name="Freeform 5964"/>
              <p:cNvSpPr>
                <a:spLocks/>
              </p:cNvSpPr>
              <p:nvPr/>
            </p:nvSpPr>
            <p:spPr bwMode="auto">
              <a:xfrm>
                <a:off x="4281919" y="1990652"/>
                <a:ext cx="6637" cy="3318"/>
              </a:xfrm>
              <a:custGeom>
                <a:avLst/>
                <a:gdLst>
                  <a:gd name="T0" fmla="*/ 2147483647 w 10"/>
                  <a:gd name="T1" fmla="*/ 2147483647 h 8"/>
                  <a:gd name="T2" fmla="*/ 2147483647 w 10"/>
                  <a:gd name="T3" fmla="*/ 2147483647 h 8"/>
                  <a:gd name="T4" fmla="*/ 2147483647 w 10"/>
                  <a:gd name="T5" fmla="*/ 0 h 8"/>
                  <a:gd name="T6" fmla="*/ 2147483647 w 10"/>
                  <a:gd name="T7" fmla="*/ 0 h 8"/>
                  <a:gd name="T8" fmla="*/ 0 w 10"/>
                  <a:gd name="T9" fmla="*/ 2147483647 h 8"/>
                  <a:gd name="T10" fmla="*/ 0 w 10"/>
                  <a:gd name="T11" fmla="*/ 2147483647 h 8"/>
                  <a:gd name="T12" fmla="*/ 0 w 10"/>
                  <a:gd name="T13" fmla="*/ 2147483647 h 8"/>
                  <a:gd name="T14" fmla="*/ 2147483647 w 10"/>
                  <a:gd name="T15" fmla="*/ 2147483647 h 8"/>
                  <a:gd name="T16" fmla="*/ 2147483647 w 10"/>
                  <a:gd name="T17" fmla="*/ 2147483647 h 8"/>
                  <a:gd name="T18" fmla="*/ 2147483647 w 10"/>
                  <a:gd name="T19" fmla="*/ 2147483647 h 8"/>
                  <a:gd name="T20" fmla="*/ 2147483647 w 10"/>
                  <a:gd name="T21" fmla="*/ 2147483647 h 8"/>
                  <a:gd name="T22" fmla="*/ 2147483647 w 10"/>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8"/>
                  <a:gd name="T38" fmla="*/ 10 w 10"/>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8">
                    <a:moveTo>
                      <a:pt x="10" y="2"/>
                    </a:moveTo>
                    <a:lnTo>
                      <a:pt x="10" y="2"/>
                    </a:lnTo>
                    <a:lnTo>
                      <a:pt x="8" y="0"/>
                    </a:lnTo>
                    <a:lnTo>
                      <a:pt x="4" y="0"/>
                    </a:lnTo>
                    <a:lnTo>
                      <a:pt x="0" y="4"/>
                    </a:lnTo>
                    <a:lnTo>
                      <a:pt x="0" y="6"/>
                    </a:lnTo>
                    <a:lnTo>
                      <a:pt x="2" y="8"/>
                    </a:lnTo>
                    <a:lnTo>
                      <a:pt x="6" y="6"/>
                    </a:lnTo>
                    <a:lnTo>
                      <a:pt x="10" y="4"/>
                    </a:lnTo>
                    <a:lnTo>
                      <a:pt x="1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36" name="Freeform 5965"/>
              <p:cNvSpPr>
                <a:spLocks/>
              </p:cNvSpPr>
              <p:nvPr/>
            </p:nvSpPr>
            <p:spPr bwMode="auto">
              <a:xfrm>
                <a:off x="4296852" y="1977380"/>
                <a:ext cx="8297" cy="4977"/>
              </a:xfrm>
              <a:custGeom>
                <a:avLst/>
                <a:gdLst>
                  <a:gd name="T0" fmla="*/ 0 w 14"/>
                  <a:gd name="T1" fmla="*/ 2147483647 h 8"/>
                  <a:gd name="T2" fmla="*/ 0 w 14"/>
                  <a:gd name="T3" fmla="*/ 2147483647 h 8"/>
                  <a:gd name="T4" fmla="*/ 0 w 14"/>
                  <a:gd name="T5" fmla="*/ 2147483647 h 8"/>
                  <a:gd name="T6" fmla="*/ 0 w 14"/>
                  <a:gd name="T7" fmla="*/ 2147483647 h 8"/>
                  <a:gd name="T8" fmla="*/ 2147483647 w 14"/>
                  <a:gd name="T9" fmla="*/ 2147483647 h 8"/>
                  <a:gd name="T10" fmla="*/ 2147483647 w 14"/>
                  <a:gd name="T11" fmla="*/ 2147483647 h 8"/>
                  <a:gd name="T12" fmla="*/ 2147483647 w 14"/>
                  <a:gd name="T13" fmla="*/ 2147483647 h 8"/>
                  <a:gd name="T14" fmla="*/ 2147483647 w 14"/>
                  <a:gd name="T15" fmla="*/ 0 h 8"/>
                  <a:gd name="T16" fmla="*/ 2147483647 w 14"/>
                  <a:gd name="T17" fmla="*/ 0 h 8"/>
                  <a:gd name="T18" fmla="*/ 2147483647 w 14"/>
                  <a:gd name="T19" fmla="*/ 0 h 8"/>
                  <a:gd name="T20" fmla="*/ 2147483647 w 14"/>
                  <a:gd name="T21" fmla="*/ 2147483647 h 8"/>
                  <a:gd name="T22" fmla="*/ 0 w 14"/>
                  <a:gd name="T23" fmla="*/ 2147483647 h 8"/>
                  <a:gd name="T24" fmla="*/ 0 w 14"/>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8"/>
                  <a:gd name="T41" fmla="*/ 14 w 1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8">
                    <a:moveTo>
                      <a:pt x="0" y="6"/>
                    </a:moveTo>
                    <a:lnTo>
                      <a:pt x="0" y="6"/>
                    </a:lnTo>
                    <a:lnTo>
                      <a:pt x="0" y="8"/>
                    </a:lnTo>
                    <a:lnTo>
                      <a:pt x="8" y="6"/>
                    </a:lnTo>
                    <a:lnTo>
                      <a:pt x="14" y="2"/>
                    </a:lnTo>
                    <a:lnTo>
                      <a:pt x="12" y="0"/>
                    </a:lnTo>
                    <a:lnTo>
                      <a:pt x="4" y="0"/>
                    </a:lnTo>
                    <a:lnTo>
                      <a:pt x="2" y="2"/>
                    </a:lnTo>
                    <a:lnTo>
                      <a:pt x="0"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37" name="Freeform 5966"/>
              <p:cNvSpPr>
                <a:spLocks/>
              </p:cNvSpPr>
              <p:nvPr/>
            </p:nvSpPr>
            <p:spPr bwMode="auto">
              <a:xfrm>
                <a:off x="4286897" y="2010559"/>
                <a:ext cx="6637" cy="3318"/>
              </a:xfrm>
              <a:custGeom>
                <a:avLst/>
                <a:gdLst>
                  <a:gd name="T0" fmla="*/ 2147483647 w 14"/>
                  <a:gd name="T1" fmla="*/ 2147483647 h 8"/>
                  <a:gd name="T2" fmla="*/ 2147483647 w 14"/>
                  <a:gd name="T3" fmla="*/ 2147483647 h 8"/>
                  <a:gd name="T4" fmla="*/ 2147483647 w 14"/>
                  <a:gd name="T5" fmla="*/ 2147483647 h 8"/>
                  <a:gd name="T6" fmla="*/ 2147483647 w 14"/>
                  <a:gd name="T7" fmla="*/ 2147483647 h 8"/>
                  <a:gd name="T8" fmla="*/ 2147483647 w 14"/>
                  <a:gd name="T9" fmla="*/ 0 h 8"/>
                  <a:gd name="T10" fmla="*/ 2147483647 w 14"/>
                  <a:gd name="T11" fmla="*/ 2147483647 h 8"/>
                  <a:gd name="T12" fmla="*/ 2147483647 w 14"/>
                  <a:gd name="T13" fmla="*/ 2147483647 h 8"/>
                  <a:gd name="T14" fmla="*/ 2147483647 w 14"/>
                  <a:gd name="T15" fmla="*/ 2147483647 h 8"/>
                  <a:gd name="T16" fmla="*/ 2147483647 w 14"/>
                  <a:gd name="T17" fmla="*/ 2147483647 h 8"/>
                  <a:gd name="T18" fmla="*/ 2147483647 w 14"/>
                  <a:gd name="T19" fmla="*/ 2147483647 h 8"/>
                  <a:gd name="T20" fmla="*/ 0 w 14"/>
                  <a:gd name="T21" fmla="*/ 2147483647 h 8"/>
                  <a:gd name="T22" fmla="*/ 2147483647 w 14"/>
                  <a:gd name="T23" fmla="*/ 2147483647 h 8"/>
                  <a:gd name="T24" fmla="*/ 2147483647 w 14"/>
                  <a:gd name="T25" fmla="*/ 2147483647 h 8"/>
                  <a:gd name="T26" fmla="*/ 2147483647 w 14"/>
                  <a:gd name="T27" fmla="*/ 2147483647 h 8"/>
                  <a:gd name="T28" fmla="*/ 2147483647 w 14"/>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8"/>
                  <a:gd name="T47" fmla="*/ 14 w 14"/>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8">
                    <a:moveTo>
                      <a:pt x="12" y="6"/>
                    </a:moveTo>
                    <a:lnTo>
                      <a:pt x="12" y="6"/>
                    </a:lnTo>
                    <a:lnTo>
                      <a:pt x="14" y="4"/>
                    </a:lnTo>
                    <a:lnTo>
                      <a:pt x="14" y="2"/>
                    </a:lnTo>
                    <a:lnTo>
                      <a:pt x="10" y="0"/>
                    </a:lnTo>
                    <a:lnTo>
                      <a:pt x="6" y="2"/>
                    </a:lnTo>
                    <a:lnTo>
                      <a:pt x="6" y="4"/>
                    </a:lnTo>
                    <a:lnTo>
                      <a:pt x="2" y="6"/>
                    </a:lnTo>
                    <a:lnTo>
                      <a:pt x="0" y="8"/>
                    </a:lnTo>
                    <a:lnTo>
                      <a:pt x="4" y="8"/>
                    </a:lnTo>
                    <a:lnTo>
                      <a:pt x="8" y="8"/>
                    </a:lnTo>
                    <a:lnTo>
                      <a:pt x="12"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38" name="Freeform 5967"/>
              <p:cNvSpPr>
                <a:spLocks/>
              </p:cNvSpPr>
              <p:nvPr/>
            </p:nvSpPr>
            <p:spPr bwMode="auto">
              <a:xfrm>
                <a:off x="4288557" y="1997288"/>
                <a:ext cx="8296" cy="11613"/>
              </a:xfrm>
              <a:custGeom>
                <a:avLst/>
                <a:gdLst>
                  <a:gd name="T0" fmla="*/ 2147483647 w 16"/>
                  <a:gd name="T1" fmla="*/ 2147483647 h 22"/>
                  <a:gd name="T2" fmla="*/ 2147483647 w 16"/>
                  <a:gd name="T3" fmla="*/ 2147483647 h 22"/>
                  <a:gd name="T4" fmla="*/ 2147483647 w 16"/>
                  <a:gd name="T5" fmla="*/ 0 h 22"/>
                  <a:gd name="T6" fmla="*/ 2147483647 w 16"/>
                  <a:gd name="T7" fmla="*/ 0 h 22"/>
                  <a:gd name="T8" fmla="*/ 2147483647 w 16"/>
                  <a:gd name="T9" fmla="*/ 2147483647 h 22"/>
                  <a:gd name="T10" fmla="*/ 2147483647 w 16"/>
                  <a:gd name="T11" fmla="*/ 2147483647 h 22"/>
                  <a:gd name="T12" fmla="*/ 2147483647 w 16"/>
                  <a:gd name="T13" fmla="*/ 2147483647 h 22"/>
                  <a:gd name="T14" fmla="*/ 2147483647 w 16"/>
                  <a:gd name="T15" fmla="*/ 2147483647 h 22"/>
                  <a:gd name="T16" fmla="*/ 2147483647 w 16"/>
                  <a:gd name="T17" fmla="*/ 2147483647 h 22"/>
                  <a:gd name="T18" fmla="*/ 2147483647 w 16"/>
                  <a:gd name="T19" fmla="*/ 2147483647 h 22"/>
                  <a:gd name="T20" fmla="*/ 2147483647 w 16"/>
                  <a:gd name="T21" fmla="*/ 2147483647 h 22"/>
                  <a:gd name="T22" fmla="*/ 2147483647 w 16"/>
                  <a:gd name="T23" fmla="*/ 2147483647 h 22"/>
                  <a:gd name="T24" fmla="*/ 0 w 16"/>
                  <a:gd name="T25" fmla="*/ 2147483647 h 22"/>
                  <a:gd name="T26" fmla="*/ 0 w 16"/>
                  <a:gd name="T27" fmla="*/ 2147483647 h 22"/>
                  <a:gd name="T28" fmla="*/ 2147483647 w 16"/>
                  <a:gd name="T29" fmla="*/ 2147483647 h 22"/>
                  <a:gd name="T30" fmla="*/ 2147483647 w 16"/>
                  <a:gd name="T31" fmla="*/ 2147483647 h 22"/>
                  <a:gd name="T32" fmla="*/ 2147483647 w 16"/>
                  <a:gd name="T33" fmla="*/ 2147483647 h 22"/>
                  <a:gd name="T34" fmla="*/ 2147483647 w 16"/>
                  <a:gd name="T35" fmla="*/ 2147483647 h 22"/>
                  <a:gd name="T36" fmla="*/ 2147483647 w 16"/>
                  <a:gd name="T37" fmla="*/ 2147483647 h 22"/>
                  <a:gd name="T38" fmla="*/ 2147483647 w 16"/>
                  <a:gd name="T39" fmla="*/ 2147483647 h 22"/>
                  <a:gd name="T40" fmla="*/ 2147483647 w 16"/>
                  <a:gd name="T41" fmla="*/ 2147483647 h 22"/>
                  <a:gd name="T42" fmla="*/ 2147483647 w 16"/>
                  <a:gd name="T43" fmla="*/ 2147483647 h 22"/>
                  <a:gd name="T44" fmla="*/ 2147483647 w 16"/>
                  <a:gd name="T45" fmla="*/ 2147483647 h 22"/>
                  <a:gd name="T46" fmla="*/ 2147483647 w 16"/>
                  <a:gd name="T47" fmla="*/ 2147483647 h 22"/>
                  <a:gd name="T48" fmla="*/ 2147483647 w 16"/>
                  <a:gd name="T49" fmla="*/ 2147483647 h 2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
                  <a:gd name="T76" fmla="*/ 0 h 22"/>
                  <a:gd name="T77" fmla="*/ 16 w 16"/>
                  <a:gd name="T78" fmla="*/ 22 h 2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 h="22">
                    <a:moveTo>
                      <a:pt x="14" y="6"/>
                    </a:moveTo>
                    <a:lnTo>
                      <a:pt x="14" y="6"/>
                    </a:lnTo>
                    <a:lnTo>
                      <a:pt x="10" y="0"/>
                    </a:lnTo>
                    <a:lnTo>
                      <a:pt x="8" y="0"/>
                    </a:lnTo>
                    <a:lnTo>
                      <a:pt x="8" y="4"/>
                    </a:lnTo>
                    <a:lnTo>
                      <a:pt x="6" y="8"/>
                    </a:lnTo>
                    <a:lnTo>
                      <a:pt x="4" y="10"/>
                    </a:lnTo>
                    <a:lnTo>
                      <a:pt x="2" y="14"/>
                    </a:lnTo>
                    <a:lnTo>
                      <a:pt x="2" y="18"/>
                    </a:lnTo>
                    <a:lnTo>
                      <a:pt x="0" y="20"/>
                    </a:lnTo>
                    <a:lnTo>
                      <a:pt x="0" y="22"/>
                    </a:lnTo>
                    <a:lnTo>
                      <a:pt x="2" y="22"/>
                    </a:lnTo>
                    <a:lnTo>
                      <a:pt x="6" y="22"/>
                    </a:lnTo>
                    <a:lnTo>
                      <a:pt x="6" y="18"/>
                    </a:lnTo>
                    <a:lnTo>
                      <a:pt x="8" y="16"/>
                    </a:lnTo>
                    <a:lnTo>
                      <a:pt x="10" y="14"/>
                    </a:lnTo>
                    <a:lnTo>
                      <a:pt x="14" y="12"/>
                    </a:lnTo>
                    <a:lnTo>
                      <a:pt x="16" y="10"/>
                    </a:lnTo>
                    <a:lnTo>
                      <a:pt x="14"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39" name="Freeform 5968"/>
              <p:cNvSpPr>
                <a:spLocks/>
              </p:cNvSpPr>
              <p:nvPr/>
            </p:nvSpPr>
            <p:spPr bwMode="auto">
              <a:xfrm>
                <a:off x="4276941" y="2012219"/>
                <a:ext cx="8297" cy="3318"/>
              </a:xfrm>
              <a:custGeom>
                <a:avLst/>
                <a:gdLst>
                  <a:gd name="T0" fmla="*/ 0 w 12"/>
                  <a:gd name="T1" fmla="*/ 2147483647 h 6"/>
                  <a:gd name="T2" fmla="*/ 0 w 12"/>
                  <a:gd name="T3" fmla="*/ 2147483647 h 6"/>
                  <a:gd name="T4" fmla="*/ 0 w 12"/>
                  <a:gd name="T5" fmla="*/ 2147483647 h 6"/>
                  <a:gd name="T6" fmla="*/ 2147483647 w 12"/>
                  <a:gd name="T7" fmla="*/ 2147483647 h 6"/>
                  <a:gd name="T8" fmla="*/ 2147483647 w 12"/>
                  <a:gd name="T9" fmla="*/ 2147483647 h 6"/>
                  <a:gd name="T10" fmla="*/ 2147483647 w 12"/>
                  <a:gd name="T11" fmla="*/ 2147483647 h 6"/>
                  <a:gd name="T12" fmla="*/ 2147483647 w 12"/>
                  <a:gd name="T13" fmla="*/ 2147483647 h 6"/>
                  <a:gd name="T14" fmla="*/ 2147483647 w 12"/>
                  <a:gd name="T15" fmla="*/ 0 h 6"/>
                  <a:gd name="T16" fmla="*/ 2147483647 w 12"/>
                  <a:gd name="T17" fmla="*/ 2147483647 h 6"/>
                  <a:gd name="T18" fmla="*/ 0 w 12"/>
                  <a:gd name="T19" fmla="*/ 2147483647 h 6"/>
                  <a:gd name="T20" fmla="*/ 0 w 12"/>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6"/>
                  <a:gd name="T35" fmla="*/ 12 w 12"/>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6">
                    <a:moveTo>
                      <a:pt x="0" y="4"/>
                    </a:moveTo>
                    <a:lnTo>
                      <a:pt x="0" y="4"/>
                    </a:lnTo>
                    <a:lnTo>
                      <a:pt x="0" y="6"/>
                    </a:lnTo>
                    <a:lnTo>
                      <a:pt x="2" y="6"/>
                    </a:lnTo>
                    <a:lnTo>
                      <a:pt x="10" y="4"/>
                    </a:lnTo>
                    <a:lnTo>
                      <a:pt x="12" y="2"/>
                    </a:lnTo>
                    <a:lnTo>
                      <a:pt x="8" y="0"/>
                    </a:lnTo>
                    <a:lnTo>
                      <a:pt x="4" y="2"/>
                    </a:lnTo>
                    <a:lnTo>
                      <a:pt x="0"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40" name="Freeform 5969"/>
              <p:cNvSpPr>
                <a:spLocks/>
              </p:cNvSpPr>
              <p:nvPr/>
            </p:nvSpPr>
            <p:spPr bwMode="auto">
              <a:xfrm>
                <a:off x="4295194" y="1970745"/>
                <a:ext cx="6637" cy="6636"/>
              </a:xfrm>
              <a:custGeom>
                <a:avLst/>
                <a:gdLst>
                  <a:gd name="T0" fmla="*/ 2147483647 w 12"/>
                  <a:gd name="T1" fmla="*/ 2147483647 h 12"/>
                  <a:gd name="T2" fmla="*/ 2147483647 w 12"/>
                  <a:gd name="T3" fmla="*/ 2147483647 h 12"/>
                  <a:gd name="T4" fmla="*/ 2147483647 w 12"/>
                  <a:gd name="T5" fmla="*/ 2147483647 h 12"/>
                  <a:gd name="T6" fmla="*/ 2147483647 w 12"/>
                  <a:gd name="T7" fmla="*/ 2147483647 h 12"/>
                  <a:gd name="T8" fmla="*/ 0 w 12"/>
                  <a:gd name="T9" fmla="*/ 2147483647 h 12"/>
                  <a:gd name="T10" fmla="*/ 2147483647 w 12"/>
                  <a:gd name="T11" fmla="*/ 2147483647 h 12"/>
                  <a:gd name="T12" fmla="*/ 2147483647 w 12"/>
                  <a:gd name="T13" fmla="*/ 2147483647 h 12"/>
                  <a:gd name="T14" fmla="*/ 2147483647 w 12"/>
                  <a:gd name="T15" fmla="*/ 2147483647 h 12"/>
                  <a:gd name="T16" fmla="*/ 2147483647 w 12"/>
                  <a:gd name="T17" fmla="*/ 2147483647 h 12"/>
                  <a:gd name="T18" fmla="*/ 2147483647 w 12"/>
                  <a:gd name="T19" fmla="*/ 2147483647 h 12"/>
                  <a:gd name="T20" fmla="*/ 2147483647 w 12"/>
                  <a:gd name="T21" fmla="*/ 2147483647 h 12"/>
                  <a:gd name="T22" fmla="*/ 2147483647 w 12"/>
                  <a:gd name="T23" fmla="*/ 2147483647 h 12"/>
                  <a:gd name="T24" fmla="*/ 2147483647 w 12"/>
                  <a:gd name="T25" fmla="*/ 0 h 12"/>
                  <a:gd name="T26" fmla="*/ 2147483647 w 12"/>
                  <a:gd name="T27" fmla="*/ 2147483647 h 12"/>
                  <a:gd name="T28" fmla="*/ 2147483647 w 12"/>
                  <a:gd name="T29" fmla="*/ 2147483647 h 12"/>
                  <a:gd name="T30" fmla="*/ 2147483647 w 12"/>
                  <a:gd name="T31" fmla="*/ 2147483647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12"/>
                  <a:gd name="T50" fmla="*/ 12 w 12"/>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12">
                    <a:moveTo>
                      <a:pt x="4" y="2"/>
                    </a:moveTo>
                    <a:lnTo>
                      <a:pt x="4" y="2"/>
                    </a:lnTo>
                    <a:lnTo>
                      <a:pt x="4" y="6"/>
                    </a:lnTo>
                    <a:lnTo>
                      <a:pt x="2" y="10"/>
                    </a:lnTo>
                    <a:lnTo>
                      <a:pt x="0" y="12"/>
                    </a:lnTo>
                    <a:lnTo>
                      <a:pt x="2" y="12"/>
                    </a:lnTo>
                    <a:lnTo>
                      <a:pt x="8" y="10"/>
                    </a:lnTo>
                    <a:lnTo>
                      <a:pt x="10" y="8"/>
                    </a:lnTo>
                    <a:lnTo>
                      <a:pt x="12" y="4"/>
                    </a:lnTo>
                    <a:lnTo>
                      <a:pt x="12" y="2"/>
                    </a:lnTo>
                    <a:lnTo>
                      <a:pt x="8" y="0"/>
                    </a:lnTo>
                    <a:lnTo>
                      <a:pt x="6" y="2"/>
                    </a:lnTo>
                    <a:lnTo>
                      <a:pt x="4"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43" name="Freeform 5970"/>
              <p:cNvSpPr>
                <a:spLocks/>
              </p:cNvSpPr>
              <p:nvPr/>
            </p:nvSpPr>
            <p:spPr bwMode="auto">
              <a:xfrm>
                <a:off x="3226617" y="3963147"/>
                <a:ext cx="4977" cy="6636"/>
              </a:xfrm>
              <a:custGeom>
                <a:avLst/>
                <a:gdLst>
                  <a:gd name="T0" fmla="*/ 2147483647 w 10"/>
                  <a:gd name="T1" fmla="*/ 2147483647 h 14"/>
                  <a:gd name="T2" fmla="*/ 2147483647 w 10"/>
                  <a:gd name="T3" fmla="*/ 2147483647 h 14"/>
                  <a:gd name="T4" fmla="*/ 0 w 10"/>
                  <a:gd name="T5" fmla="*/ 2147483647 h 14"/>
                  <a:gd name="T6" fmla="*/ 2147483647 w 10"/>
                  <a:gd name="T7" fmla="*/ 2147483647 h 14"/>
                  <a:gd name="T8" fmla="*/ 2147483647 w 10"/>
                  <a:gd name="T9" fmla="*/ 2147483647 h 14"/>
                  <a:gd name="T10" fmla="*/ 2147483647 w 10"/>
                  <a:gd name="T11" fmla="*/ 2147483647 h 14"/>
                  <a:gd name="T12" fmla="*/ 2147483647 w 10"/>
                  <a:gd name="T13" fmla="*/ 2147483647 h 14"/>
                  <a:gd name="T14" fmla="*/ 2147483647 w 10"/>
                  <a:gd name="T15" fmla="*/ 2147483647 h 14"/>
                  <a:gd name="T16" fmla="*/ 2147483647 w 10"/>
                  <a:gd name="T17" fmla="*/ 2147483647 h 14"/>
                  <a:gd name="T18" fmla="*/ 2147483647 w 10"/>
                  <a:gd name="T19" fmla="*/ 2147483647 h 14"/>
                  <a:gd name="T20" fmla="*/ 2147483647 w 10"/>
                  <a:gd name="T21" fmla="*/ 2147483647 h 14"/>
                  <a:gd name="T22" fmla="*/ 2147483647 w 10"/>
                  <a:gd name="T23" fmla="*/ 0 h 14"/>
                  <a:gd name="T24" fmla="*/ 2147483647 w 10"/>
                  <a:gd name="T25" fmla="*/ 2147483647 h 14"/>
                  <a:gd name="T26" fmla="*/ 2147483647 w 10"/>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4"/>
                  <a:gd name="T44" fmla="*/ 10 w 1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4">
                    <a:moveTo>
                      <a:pt x="2" y="2"/>
                    </a:moveTo>
                    <a:lnTo>
                      <a:pt x="2" y="2"/>
                    </a:lnTo>
                    <a:lnTo>
                      <a:pt x="0" y="4"/>
                    </a:lnTo>
                    <a:lnTo>
                      <a:pt x="2" y="8"/>
                    </a:lnTo>
                    <a:lnTo>
                      <a:pt x="6" y="12"/>
                    </a:lnTo>
                    <a:lnTo>
                      <a:pt x="8" y="14"/>
                    </a:lnTo>
                    <a:lnTo>
                      <a:pt x="10" y="12"/>
                    </a:lnTo>
                    <a:lnTo>
                      <a:pt x="10" y="10"/>
                    </a:lnTo>
                    <a:lnTo>
                      <a:pt x="8" y="6"/>
                    </a:lnTo>
                    <a:lnTo>
                      <a:pt x="6" y="2"/>
                    </a:lnTo>
                    <a:lnTo>
                      <a:pt x="4" y="0"/>
                    </a:lnTo>
                    <a:lnTo>
                      <a:pt x="2"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44" name="Freeform 5971"/>
              <p:cNvSpPr>
                <a:spLocks/>
              </p:cNvSpPr>
              <p:nvPr/>
            </p:nvSpPr>
            <p:spPr bwMode="auto">
              <a:xfrm>
                <a:off x="4339994" y="2723909"/>
                <a:ext cx="4978" cy="18249"/>
              </a:xfrm>
              <a:custGeom>
                <a:avLst/>
                <a:gdLst>
                  <a:gd name="T0" fmla="*/ 0 w 10"/>
                  <a:gd name="T1" fmla="*/ 2147483647 h 32"/>
                  <a:gd name="T2" fmla="*/ 0 w 10"/>
                  <a:gd name="T3" fmla="*/ 2147483647 h 32"/>
                  <a:gd name="T4" fmla="*/ 0 w 10"/>
                  <a:gd name="T5" fmla="*/ 2147483647 h 32"/>
                  <a:gd name="T6" fmla="*/ 2147483647 w 10"/>
                  <a:gd name="T7" fmla="*/ 2147483647 h 32"/>
                  <a:gd name="T8" fmla="*/ 2147483647 w 10"/>
                  <a:gd name="T9" fmla="*/ 2147483647 h 32"/>
                  <a:gd name="T10" fmla="*/ 2147483647 w 10"/>
                  <a:gd name="T11" fmla="*/ 2147483647 h 32"/>
                  <a:gd name="T12" fmla="*/ 2147483647 w 10"/>
                  <a:gd name="T13" fmla="*/ 2147483647 h 32"/>
                  <a:gd name="T14" fmla="*/ 2147483647 w 10"/>
                  <a:gd name="T15" fmla="*/ 2147483647 h 32"/>
                  <a:gd name="T16" fmla="*/ 2147483647 w 10"/>
                  <a:gd name="T17" fmla="*/ 2147483647 h 32"/>
                  <a:gd name="T18" fmla="*/ 2147483647 w 10"/>
                  <a:gd name="T19" fmla="*/ 2147483647 h 32"/>
                  <a:gd name="T20" fmla="*/ 2147483647 w 10"/>
                  <a:gd name="T21" fmla="*/ 2147483647 h 32"/>
                  <a:gd name="T22" fmla="*/ 2147483647 w 10"/>
                  <a:gd name="T23" fmla="*/ 0 h 32"/>
                  <a:gd name="T24" fmla="*/ 0 w 10"/>
                  <a:gd name="T25" fmla="*/ 0 h 32"/>
                  <a:gd name="T26" fmla="*/ 0 w 10"/>
                  <a:gd name="T27" fmla="*/ 2147483647 h 32"/>
                  <a:gd name="T28" fmla="*/ 2147483647 w 10"/>
                  <a:gd name="T29" fmla="*/ 2147483647 h 32"/>
                  <a:gd name="T30" fmla="*/ 2147483647 w 10"/>
                  <a:gd name="T31" fmla="*/ 2147483647 h 32"/>
                  <a:gd name="T32" fmla="*/ 2147483647 w 10"/>
                  <a:gd name="T33" fmla="*/ 2147483647 h 32"/>
                  <a:gd name="T34" fmla="*/ 2147483647 w 10"/>
                  <a:gd name="T35" fmla="*/ 2147483647 h 32"/>
                  <a:gd name="T36" fmla="*/ 0 w 10"/>
                  <a:gd name="T37" fmla="*/ 2147483647 h 32"/>
                  <a:gd name="T38" fmla="*/ 0 w 10"/>
                  <a:gd name="T39" fmla="*/ 2147483647 h 3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
                  <a:gd name="T61" fmla="*/ 0 h 32"/>
                  <a:gd name="T62" fmla="*/ 10 w 10"/>
                  <a:gd name="T63" fmla="*/ 32 h 3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 h="32">
                    <a:moveTo>
                      <a:pt x="0" y="14"/>
                    </a:moveTo>
                    <a:lnTo>
                      <a:pt x="0" y="14"/>
                    </a:lnTo>
                    <a:lnTo>
                      <a:pt x="0" y="18"/>
                    </a:lnTo>
                    <a:lnTo>
                      <a:pt x="2" y="22"/>
                    </a:lnTo>
                    <a:lnTo>
                      <a:pt x="8" y="32"/>
                    </a:lnTo>
                    <a:lnTo>
                      <a:pt x="10" y="30"/>
                    </a:lnTo>
                    <a:lnTo>
                      <a:pt x="10" y="28"/>
                    </a:lnTo>
                    <a:lnTo>
                      <a:pt x="8" y="20"/>
                    </a:lnTo>
                    <a:lnTo>
                      <a:pt x="4" y="2"/>
                    </a:lnTo>
                    <a:lnTo>
                      <a:pt x="2" y="0"/>
                    </a:lnTo>
                    <a:lnTo>
                      <a:pt x="0" y="0"/>
                    </a:lnTo>
                    <a:lnTo>
                      <a:pt x="0" y="4"/>
                    </a:lnTo>
                    <a:lnTo>
                      <a:pt x="2" y="10"/>
                    </a:lnTo>
                    <a:lnTo>
                      <a:pt x="2" y="14"/>
                    </a:lnTo>
                    <a:lnTo>
                      <a:pt x="0" y="1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45" name="Freeform 5972"/>
              <p:cNvSpPr>
                <a:spLocks/>
              </p:cNvSpPr>
              <p:nvPr/>
            </p:nvSpPr>
            <p:spPr bwMode="auto">
              <a:xfrm>
                <a:off x="4344972" y="2722250"/>
                <a:ext cx="6637" cy="8294"/>
              </a:xfrm>
              <a:custGeom>
                <a:avLst/>
                <a:gdLst>
                  <a:gd name="T0" fmla="*/ 2147483647 w 12"/>
                  <a:gd name="T1" fmla="*/ 2147483647 h 14"/>
                  <a:gd name="T2" fmla="*/ 2147483647 w 12"/>
                  <a:gd name="T3" fmla="*/ 2147483647 h 14"/>
                  <a:gd name="T4" fmla="*/ 2147483647 w 12"/>
                  <a:gd name="T5" fmla="*/ 2147483647 h 14"/>
                  <a:gd name="T6" fmla="*/ 2147483647 w 12"/>
                  <a:gd name="T7" fmla="*/ 2147483647 h 14"/>
                  <a:gd name="T8" fmla="*/ 2147483647 w 12"/>
                  <a:gd name="T9" fmla="*/ 0 h 14"/>
                  <a:gd name="T10" fmla="*/ 2147483647 w 12"/>
                  <a:gd name="T11" fmla="*/ 0 h 14"/>
                  <a:gd name="T12" fmla="*/ 0 w 12"/>
                  <a:gd name="T13" fmla="*/ 0 h 14"/>
                  <a:gd name="T14" fmla="*/ 0 w 12"/>
                  <a:gd name="T15" fmla="*/ 2147483647 h 14"/>
                  <a:gd name="T16" fmla="*/ 0 w 12"/>
                  <a:gd name="T17" fmla="*/ 2147483647 h 14"/>
                  <a:gd name="T18" fmla="*/ 0 w 12"/>
                  <a:gd name="T19" fmla="*/ 2147483647 h 14"/>
                  <a:gd name="T20" fmla="*/ 0 w 12"/>
                  <a:gd name="T21" fmla="*/ 2147483647 h 14"/>
                  <a:gd name="T22" fmla="*/ 0 w 12"/>
                  <a:gd name="T23" fmla="*/ 2147483647 h 14"/>
                  <a:gd name="T24" fmla="*/ 2147483647 w 12"/>
                  <a:gd name="T25" fmla="*/ 2147483647 h 14"/>
                  <a:gd name="T26" fmla="*/ 2147483647 w 12"/>
                  <a:gd name="T27" fmla="*/ 2147483647 h 14"/>
                  <a:gd name="T28" fmla="*/ 2147483647 w 12"/>
                  <a:gd name="T29" fmla="*/ 2147483647 h 14"/>
                  <a:gd name="T30" fmla="*/ 2147483647 w 12"/>
                  <a:gd name="T31" fmla="*/ 2147483647 h 14"/>
                  <a:gd name="T32" fmla="*/ 2147483647 w 12"/>
                  <a:gd name="T33" fmla="*/ 2147483647 h 14"/>
                  <a:gd name="T34" fmla="*/ 2147483647 w 12"/>
                  <a:gd name="T35" fmla="*/ 2147483647 h 14"/>
                  <a:gd name="T36" fmla="*/ 2147483647 w 12"/>
                  <a:gd name="T37" fmla="*/ 2147483647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
                  <a:gd name="T58" fmla="*/ 0 h 14"/>
                  <a:gd name="T59" fmla="*/ 12 w 12"/>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 h="14">
                    <a:moveTo>
                      <a:pt x="8" y="8"/>
                    </a:moveTo>
                    <a:lnTo>
                      <a:pt x="8" y="8"/>
                    </a:lnTo>
                    <a:lnTo>
                      <a:pt x="4" y="4"/>
                    </a:lnTo>
                    <a:lnTo>
                      <a:pt x="4" y="2"/>
                    </a:lnTo>
                    <a:lnTo>
                      <a:pt x="2" y="0"/>
                    </a:lnTo>
                    <a:lnTo>
                      <a:pt x="0" y="0"/>
                    </a:lnTo>
                    <a:lnTo>
                      <a:pt x="0" y="2"/>
                    </a:lnTo>
                    <a:lnTo>
                      <a:pt x="0" y="4"/>
                    </a:lnTo>
                    <a:lnTo>
                      <a:pt x="0" y="6"/>
                    </a:lnTo>
                    <a:lnTo>
                      <a:pt x="0" y="8"/>
                    </a:lnTo>
                    <a:lnTo>
                      <a:pt x="2" y="12"/>
                    </a:lnTo>
                    <a:lnTo>
                      <a:pt x="6" y="14"/>
                    </a:lnTo>
                    <a:lnTo>
                      <a:pt x="12" y="14"/>
                    </a:lnTo>
                    <a:lnTo>
                      <a:pt x="12" y="12"/>
                    </a:lnTo>
                    <a:lnTo>
                      <a:pt x="8"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46" name="Freeform 5973"/>
              <p:cNvSpPr>
                <a:spLocks/>
              </p:cNvSpPr>
              <p:nvPr/>
            </p:nvSpPr>
            <p:spPr bwMode="auto">
              <a:xfrm>
                <a:off x="4348291" y="2740498"/>
                <a:ext cx="13274" cy="9954"/>
              </a:xfrm>
              <a:custGeom>
                <a:avLst/>
                <a:gdLst>
                  <a:gd name="T0" fmla="*/ 2147483647 w 18"/>
                  <a:gd name="T1" fmla="*/ 2147483647 h 20"/>
                  <a:gd name="T2" fmla="*/ 2147483647 w 18"/>
                  <a:gd name="T3" fmla="*/ 2147483647 h 20"/>
                  <a:gd name="T4" fmla="*/ 2147483647 w 18"/>
                  <a:gd name="T5" fmla="*/ 2147483647 h 20"/>
                  <a:gd name="T6" fmla="*/ 2147483647 w 18"/>
                  <a:gd name="T7" fmla="*/ 2147483647 h 20"/>
                  <a:gd name="T8" fmla="*/ 2147483647 w 18"/>
                  <a:gd name="T9" fmla="*/ 2147483647 h 20"/>
                  <a:gd name="T10" fmla="*/ 2147483647 w 18"/>
                  <a:gd name="T11" fmla="*/ 2147483647 h 20"/>
                  <a:gd name="T12" fmla="*/ 0 w 18"/>
                  <a:gd name="T13" fmla="*/ 0 h 20"/>
                  <a:gd name="T14" fmla="*/ 0 w 18"/>
                  <a:gd name="T15" fmla="*/ 0 h 20"/>
                  <a:gd name="T16" fmla="*/ 0 w 18"/>
                  <a:gd name="T17" fmla="*/ 2147483647 h 20"/>
                  <a:gd name="T18" fmla="*/ 0 w 18"/>
                  <a:gd name="T19" fmla="*/ 2147483647 h 20"/>
                  <a:gd name="T20" fmla="*/ 2147483647 w 18"/>
                  <a:gd name="T21" fmla="*/ 2147483647 h 20"/>
                  <a:gd name="T22" fmla="*/ 2147483647 w 18"/>
                  <a:gd name="T23" fmla="*/ 2147483647 h 20"/>
                  <a:gd name="T24" fmla="*/ 2147483647 w 18"/>
                  <a:gd name="T25" fmla="*/ 2147483647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20"/>
                  <a:gd name="T41" fmla="*/ 18 w 18"/>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20">
                    <a:moveTo>
                      <a:pt x="16" y="20"/>
                    </a:moveTo>
                    <a:lnTo>
                      <a:pt x="16" y="20"/>
                    </a:lnTo>
                    <a:lnTo>
                      <a:pt x="18" y="20"/>
                    </a:lnTo>
                    <a:lnTo>
                      <a:pt x="16" y="16"/>
                    </a:lnTo>
                    <a:lnTo>
                      <a:pt x="8" y="6"/>
                    </a:lnTo>
                    <a:lnTo>
                      <a:pt x="0" y="0"/>
                    </a:lnTo>
                    <a:lnTo>
                      <a:pt x="0" y="2"/>
                    </a:lnTo>
                    <a:lnTo>
                      <a:pt x="6" y="10"/>
                    </a:lnTo>
                    <a:lnTo>
                      <a:pt x="16" y="2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47" name="Freeform 5974"/>
              <p:cNvSpPr>
                <a:spLocks/>
              </p:cNvSpPr>
              <p:nvPr/>
            </p:nvSpPr>
            <p:spPr bwMode="auto">
              <a:xfrm>
                <a:off x="4434573" y="2189726"/>
                <a:ext cx="4977" cy="4977"/>
              </a:xfrm>
              <a:custGeom>
                <a:avLst/>
                <a:gdLst>
                  <a:gd name="T0" fmla="*/ 2147483647 w 8"/>
                  <a:gd name="T1" fmla="*/ 2147483647 h 12"/>
                  <a:gd name="T2" fmla="*/ 2147483647 w 8"/>
                  <a:gd name="T3" fmla="*/ 2147483647 h 12"/>
                  <a:gd name="T4" fmla="*/ 2147483647 w 8"/>
                  <a:gd name="T5" fmla="*/ 2147483647 h 12"/>
                  <a:gd name="T6" fmla="*/ 2147483647 w 8"/>
                  <a:gd name="T7" fmla="*/ 2147483647 h 12"/>
                  <a:gd name="T8" fmla="*/ 2147483647 w 8"/>
                  <a:gd name="T9" fmla="*/ 2147483647 h 12"/>
                  <a:gd name="T10" fmla="*/ 0 w 8"/>
                  <a:gd name="T11" fmla="*/ 0 h 12"/>
                  <a:gd name="T12" fmla="*/ 0 w 8"/>
                  <a:gd name="T13" fmla="*/ 0 h 12"/>
                  <a:gd name="T14" fmla="*/ 0 w 8"/>
                  <a:gd name="T15" fmla="*/ 2147483647 h 12"/>
                  <a:gd name="T16" fmla="*/ 0 w 8"/>
                  <a:gd name="T17" fmla="*/ 2147483647 h 12"/>
                  <a:gd name="T18" fmla="*/ 2147483647 w 8"/>
                  <a:gd name="T19" fmla="*/ 2147483647 h 12"/>
                  <a:gd name="T20" fmla="*/ 2147483647 w 8"/>
                  <a:gd name="T21" fmla="*/ 2147483647 h 12"/>
                  <a:gd name="T22" fmla="*/ 2147483647 w 8"/>
                  <a:gd name="T23" fmla="*/ 2147483647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2"/>
                  <a:gd name="T38" fmla="*/ 8 w 8"/>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2">
                    <a:moveTo>
                      <a:pt x="8" y="12"/>
                    </a:moveTo>
                    <a:lnTo>
                      <a:pt x="8" y="12"/>
                    </a:lnTo>
                    <a:lnTo>
                      <a:pt x="8" y="10"/>
                    </a:lnTo>
                    <a:lnTo>
                      <a:pt x="6" y="6"/>
                    </a:lnTo>
                    <a:lnTo>
                      <a:pt x="2" y="2"/>
                    </a:lnTo>
                    <a:lnTo>
                      <a:pt x="0" y="0"/>
                    </a:lnTo>
                    <a:lnTo>
                      <a:pt x="0" y="2"/>
                    </a:lnTo>
                    <a:lnTo>
                      <a:pt x="0" y="6"/>
                    </a:lnTo>
                    <a:lnTo>
                      <a:pt x="4" y="10"/>
                    </a:lnTo>
                    <a:lnTo>
                      <a:pt x="8" y="1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48" name="Freeform 5975"/>
              <p:cNvSpPr>
                <a:spLocks/>
              </p:cNvSpPr>
              <p:nvPr/>
            </p:nvSpPr>
            <p:spPr bwMode="auto">
              <a:xfrm>
                <a:off x="4268645" y="2033785"/>
                <a:ext cx="4977" cy="3318"/>
              </a:xfrm>
              <a:custGeom>
                <a:avLst/>
                <a:gdLst>
                  <a:gd name="T0" fmla="*/ 2147483647 w 12"/>
                  <a:gd name="T1" fmla="*/ 2147483647 h 8"/>
                  <a:gd name="T2" fmla="*/ 2147483647 w 12"/>
                  <a:gd name="T3" fmla="*/ 2147483647 h 8"/>
                  <a:gd name="T4" fmla="*/ 2147483647 w 12"/>
                  <a:gd name="T5" fmla="*/ 2147483647 h 8"/>
                  <a:gd name="T6" fmla="*/ 2147483647 w 12"/>
                  <a:gd name="T7" fmla="*/ 2147483647 h 8"/>
                  <a:gd name="T8" fmla="*/ 2147483647 w 12"/>
                  <a:gd name="T9" fmla="*/ 2147483647 h 8"/>
                  <a:gd name="T10" fmla="*/ 2147483647 w 12"/>
                  <a:gd name="T11" fmla="*/ 2147483647 h 8"/>
                  <a:gd name="T12" fmla="*/ 2147483647 w 12"/>
                  <a:gd name="T13" fmla="*/ 2147483647 h 8"/>
                  <a:gd name="T14" fmla="*/ 2147483647 w 12"/>
                  <a:gd name="T15" fmla="*/ 2147483647 h 8"/>
                  <a:gd name="T16" fmla="*/ 2147483647 w 12"/>
                  <a:gd name="T17" fmla="*/ 2147483647 h 8"/>
                  <a:gd name="T18" fmla="*/ 2147483647 w 12"/>
                  <a:gd name="T19" fmla="*/ 0 h 8"/>
                  <a:gd name="T20" fmla="*/ 0 w 12"/>
                  <a:gd name="T21" fmla="*/ 2147483647 h 8"/>
                  <a:gd name="T22" fmla="*/ 0 w 12"/>
                  <a:gd name="T23" fmla="*/ 2147483647 h 8"/>
                  <a:gd name="T24" fmla="*/ 0 w 12"/>
                  <a:gd name="T25" fmla="*/ 2147483647 h 8"/>
                  <a:gd name="T26" fmla="*/ 0 w 12"/>
                  <a:gd name="T27" fmla="*/ 2147483647 h 8"/>
                  <a:gd name="T28" fmla="*/ 2147483647 w 12"/>
                  <a:gd name="T29" fmla="*/ 2147483647 h 8"/>
                  <a:gd name="T30" fmla="*/ 2147483647 w 12"/>
                  <a:gd name="T31" fmla="*/ 2147483647 h 8"/>
                  <a:gd name="T32" fmla="*/ 2147483647 w 12"/>
                  <a:gd name="T33" fmla="*/ 2147483647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8"/>
                  <a:gd name="T53" fmla="*/ 12 w 12"/>
                  <a:gd name="T54" fmla="*/ 8 h 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8">
                    <a:moveTo>
                      <a:pt x="6" y="8"/>
                    </a:moveTo>
                    <a:lnTo>
                      <a:pt x="6" y="8"/>
                    </a:lnTo>
                    <a:lnTo>
                      <a:pt x="10" y="8"/>
                    </a:lnTo>
                    <a:lnTo>
                      <a:pt x="12" y="6"/>
                    </a:lnTo>
                    <a:lnTo>
                      <a:pt x="10" y="6"/>
                    </a:lnTo>
                    <a:lnTo>
                      <a:pt x="8" y="4"/>
                    </a:lnTo>
                    <a:lnTo>
                      <a:pt x="4" y="4"/>
                    </a:lnTo>
                    <a:lnTo>
                      <a:pt x="4" y="2"/>
                    </a:lnTo>
                    <a:lnTo>
                      <a:pt x="2" y="0"/>
                    </a:lnTo>
                    <a:lnTo>
                      <a:pt x="0" y="2"/>
                    </a:lnTo>
                    <a:lnTo>
                      <a:pt x="0" y="4"/>
                    </a:lnTo>
                    <a:lnTo>
                      <a:pt x="0" y="6"/>
                    </a:lnTo>
                    <a:lnTo>
                      <a:pt x="2" y="8"/>
                    </a:lnTo>
                    <a:lnTo>
                      <a:pt x="6"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49" name="Freeform 5976"/>
              <p:cNvSpPr>
                <a:spLocks/>
              </p:cNvSpPr>
              <p:nvPr/>
            </p:nvSpPr>
            <p:spPr bwMode="auto">
              <a:xfrm>
                <a:off x="4510900" y="2201339"/>
                <a:ext cx="3319" cy="1658"/>
              </a:xfrm>
              <a:custGeom>
                <a:avLst/>
                <a:gdLst>
                  <a:gd name="T0" fmla="*/ 0 w 6"/>
                  <a:gd name="T1" fmla="*/ 2147483647 h 4"/>
                  <a:gd name="T2" fmla="*/ 0 w 6"/>
                  <a:gd name="T3" fmla="*/ 2147483647 h 4"/>
                  <a:gd name="T4" fmla="*/ 0 w 6"/>
                  <a:gd name="T5" fmla="*/ 2147483647 h 4"/>
                  <a:gd name="T6" fmla="*/ 2147483647 w 6"/>
                  <a:gd name="T7" fmla="*/ 2147483647 h 4"/>
                  <a:gd name="T8" fmla="*/ 2147483647 w 6"/>
                  <a:gd name="T9" fmla="*/ 2147483647 h 4"/>
                  <a:gd name="T10" fmla="*/ 2147483647 w 6"/>
                  <a:gd name="T11" fmla="*/ 0 h 4"/>
                  <a:gd name="T12" fmla="*/ 2147483647 w 6"/>
                  <a:gd name="T13" fmla="*/ 0 h 4"/>
                  <a:gd name="T14" fmla="*/ 2147483647 w 6"/>
                  <a:gd name="T15" fmla="*/ 0 h 4"/>
                  <a:gd name="T16" fmla="*/ 2147483647 w 6"/>
                  <a:gd name="T17" fmla="*/ 0 h 4"/>
                  <a:gd name="T18" fmla="*/ 0 w 6"/>
                  <a:gd name="T19" fmla="*/ 2147483647 h 4"/>
                  <a:gd name="T20" fmla="*/ 0 w 6"/>
                  <a:gd name="T21" fmla="*/ 2147483647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0" y="2"/>
                    </a:moveTo>
                    <a:lnTo>
                      <a:pt x="0" y="2"/>
                    </a:lnTo>
                    <a:lnTo>
                      <a:pt x="0" y="4"/>
                    </a:lnTo>
                    <a:lnTo>
                      <a:pt x="2" y="4"/>
                    </a:lnTo>
                    <a:lnTo>
                      <a:pt x="4" y="2"/>
                    </a:lnTo>
                    <a:lnTo>
                      <a:pt x="6" y="0"/>
                    </a:lnTo>
                    <a:lnTo>
                      <a:pt x="4" y="0"/>
                    </a:lnTo>
                    <a:lnTo>
                      <a:pt x="2" y="0"/>
                    </a:lnTo>
                    <a:lnTo>
                      <a:pt x="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50" name="Freeform 5977"/>
              <p:cNvSpPr>
                <a:spLocks/>
              </p:cNvSpPr>
              <p:nvPr/>
            </p:nvSpPr>
            <p:spPr bwMode="auto">
              <a:xfrm>
                <a:off x="4512559" y="2193044"/>
                <a:ext cx="4978" cy="3318"/>
              </a:xfrm>
              <a:custGeom>
                <a:avLst/>
                <a:gdLst>
                  <a:gd name="T0" fmla="*/ 2147483647 w 8"/>
                  <a:gd name="T1" fmla="*/ 0 h 8"/>
                  <a:gd name="T2" fmla="*/ 2147483647 w 8"/>
                  <a:gd name="T3" fmla="*/ 0 h 8"/>
                  <a:gd name="T4" fmla="*/ 0 w 8"/>
                  <a:gd name="T5" fmla="*/ 0 h 8"/>
                  <a:gd name="T6" fmla="*/ 0 w 8"/>
                  <a:gd name="T7" fmla="*/ 2147483647 h 8"/>
                  <a:gd name="T8" fmla="*/ 2147483647 w 8"/>
                  <a:gd name="T9" fmla="*/ 2147483647 h 8"/>
                  <a:gd name="T10" fmla="*/ 2147483647 w 8"/>
                  <a:gd name="T11" fmla="*/ 2147483647 h 8"/>
                  <a:gd name="T12" fmla="*/ 2147483647 w 8"/>
                  <a:gd name="T13" fmla="*/ 2147483647 h 8"/>
                  <a:gd name="T14" fmla="*/ 2147483647 w 8"/>
                  <a:gd name="T15" fmla="*/ 2147483647 h 8"/>
                  <a:gd name="T16" fmla="*/ 2147483647 w 8"/>
                  <a:gd name="T17" fmla="*/ 2147483647 h 8"/>
                  <a:gd name="T18" fmla="*/ 2147483647 w 8"/>
                  <a:gd name="T19" fmla="*/ 2147483647 h 8"/>
                  <a:gd name="T20" fmla="*/ 2147483647 w 8"/>
                  <a:gd name="T21" fmla="*/ 0 h 8"/>
                  <a:gd name="T22" fmla="*/ 2147483647 w 8"/>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8"/>
                  <a:gd name="T38" fmla="*/ 8 w 8"/>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8">
                    <a:moveTo>
                      <a:pt x="2" y="0"/>
                    </a:moveTo>
                    <a:lnTo>
                      <a:pt x="2" y="0"/>
                    </a:lnTo>
                    <a:lnTo>
                      <a:pt x="0" y="0"/>
                    </a:lnTo>
                    <a:lnTo>
                      <a:pt x="0" y="4"/>
                    </a:lnTo>
                    <a:lnTo>
                      <a:pt x="2" y="8"/>
                    </a:lnTo>
                    <a:lnTo>
                      <a:pt x="6" y="8"/>
                    </a:lnTo>
                    <a:lnTo>
                      <a:pt x="8" y="8"/>
                    </a:lnTo>
                    <a:lnTo>
                      <a:pt x="6" y="4"/>
                    </a:lnTo>
                    <a:lnTo>
                      <a:pt x="6" y="2"/>
                    </a:lnTo>
                    <a:lnTo>
                      <a:pt x="2"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51" name="Freeform 5978"/>
              <p:cNvSpPr>
                <a:spLocks/>
              </p:cNvSpPr>
              <p:nvPr/>
            </p:nvSpPr>
            <p:spPr bwMode="auto">
              <a:xfrm>
                <a:off x="4499285" y="2085213"/>
                <a:ext cx="6637" cy="3318"/>
              </a:xfrm>
              <a:custGeom>
                <a:avLst/>
                <a:gdLst>
                  <a:gd name="T0" fmla="*/ 2147483647 w 12"/>
                  <a:gd name="T1" fmla="*/ 2147483647 h 8"/>
                  <a:gd name="T2" fmla="*/ 2147483647 w 12"/>
                  <a:gd name="T3" fmla="*/ 2147483647 h 8"/>
                  <a:gd name="T4" fmla="*/ 2147483647 w 12"/>
                  <a:gd name="T5" fmla="*/ 0 h 8"/>
                  <a:gd name="T6" fmla="*/ 2147483647 w 12"/>
                  <a:gd name="T7" fmla="*/ 0 h 8"/>
                  <a:gd name="T8" fmla="*/ 2147483647 w 12"/>
                  <a:gd name="T9" fmla="*/ 2147483647 h 8"/>
                  <a:gd name="T10" fmla="*/ 2147483647 w 12"/>
                  <a:gd name="T11" fmla="*/ 2147483647 h 8"/>
                  <a:gd name="T12" fmla="*/ 2147483647 w 12"/>
                  <a:gd name="T13" fmla="*/ 2147483647 h 8"/>
                  <a:gd name="T14" fmla="*/ 0 w 12"/>
                  <a:gd name="T15" fmla="*/ 2147483647 h 8"/>
                  <a:gd name="T16" fmla="*/ 0 w 12"/>
                  <a:gd name="T17" fmla="*/ 2147483647 h 8"/>
                  <a:gd name="T18" fmla="*/ 2147483647 w 12"/>
                  <a:gd name="T19" fmla="*/ 2147483647 h 8"/>
                  <a:gd name="T20" fmla="*/ 2147483647 w 12"/>
                  <a:gd name="T21" fmla="*/ 2147483647 h 8"/>
                  <a:gd name="T22" fmla="*/ 2147483647 w 12"/>
                  <a:gd name="T23" fmla="*/ 2147483647 h 8"/>
                  <a:gd name="T24" fmla="*/ 2147483647 w 12"/>
                  <a:gd name="T25" fmla="*/ 2147483647 h 8"/>
                  <a:gd name="T26" fmla="*/ 2147483647 w 12"/>
                  <a:gd name="T27" fmla="*/ 2147483647 h 8"/>
                  <a:gd name="T28" fmla="*/ 2147483647 w 12"/>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8"/>
                  <a:gd name="T47" fmla="*/ 12 w 12"/>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8">
                    <a:moveTo>
                      <a:pt x="12" y="4"/>
                    </a:moveTo>
                    <a:lnTo>
                      <a:pt x="12" y="4"/>
                    </a:lnTo>
                    <a:lnTo>
                      <a:pt x="12" y="0"/>
                    </a:lnTo>
                    <a:lnTo>
                      <a:pt x="10" y="0"/>
                    </a:lnTo>
                    <a:lnTo>
                      <a:pt x="4" y="2"/>
                    </a:lnTo>
                    <a:lnTo>
                      <a:pt x="2" y="2"/>
                    </a:lnTo>
                    <a:lnTo>
                      <a:pt x="0" y="2"/>
                    </a:lnTo>
                    <a:lnTo>
                      <a:pt x="0" y="4"/>
                    </a:lnTo>
                    <a:lnTo>
                      <a:pt x="4" y="8"/>
                    </a:lnTo>
                    <a:lnTo>
                      <a:pt x="6" y="8"/>
                    </a:lnTo>
                    <a:lnTo>
                      <a:pt x="8" y="8"/>
                    </a:lnTo>
                    <a:lnTo>
                      <a:pt x="12"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52" name="Freeform 5979"/>
              <p:cNvSpPr>
                <a:spLocks/>
              </p:cNvSpPr>
              <p:nvPr/>
            </p:nvSpPr>
            <p:spPr bwMode="auto">
              <a:xfrm>
                <a:off x="4268645" y="2030467"/>
                <a:ext cx="4977" cy="3318"/>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0 h 6"/>
                  <a:gd name="T10" fmla="*/ 2147483647 w 6"/>
                  <a:gd name="T11" fmla="*/ 0 h 6"/>
                  <a:gd name="T12" fmla="*/ 0 w 6"/>
                  <a:gd name="T13" fmla="*/ 2147483647 h 6"/>
                  <a:gd name="T14" fmla="*/ 0 w 6"/>
                  <a:gd name="T15" fmla="*/ 2147483647 h 6"/>
                  <a:gd name="T16" fmla="*/ 2147483647 w 6"/>
                  <a:gd name="T17" fmla="*/ 2147483647 h 6"/>
                  <a:gd name="T18" fmla="*/ 2147483647 w 6"/>
                  <a:gd name="T19" fmla="*/ 2147483647 h 6"/>
                  <a:gd name="T20" fmla="*/ 2147483647 w 6"/>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6"/>
                  <a:gd name="T35" fmla="*/ 6 w 6"/>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6">
                    <a:moveTo>
                      <a:pt x="6" y="6"/>
                    </a:moveTo>
                    <a:lnTo>
                      <a:pt x="6" y="6"/>
                    </a:lnTo>
                    <a:lnTo>
                      <a:pt x="6" y="4"/>
                    </a:lnTo>
                    <a:lnTo>
                      <a:pt x="6" y="2"/>
                    </a:lnTo>
                    <a:lnTo>
                      <a:pt x="2" y="0"/>
                    </a:lnTo>
                    <a:lnTo>
                      <a:pt x="0" y="2"/>
                    </a:lnTo>
                    <a:lnTo>
                      <a:pt x="0" y="4"/>
                    </a:lnTo>
                    <a:lnTo>
                      <a:pt x="2" y="6"/>
                    </a:lnTo>
                    <a:lnTo>
                      <a:pt x="6"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53" name="Freeform 5980"/>
              <p:cNvSpPr>
                <a:spLocks/>
              </p:cNvSpPr>
              <p:nvPr/>
            </p:nvSpPr>
            <p:spPr bwMode="auto">
              <a:xfrm>
                <a:off x="4263667" y="2032126"/>
                <a:ext cx="4978" cy="1658"/>
              </a:xfrm>
              <a:custGeom>
                <a:avLst/>
                <a:gdLst>
                  <a:gd name="T0" fmla="*/ 0 w 6"/>
                  <a:gd name="T1" fmla="*/ 0 h 4"/>
                  <a:gd name="T2" fmla="*/ 0 w 6"/>
                  <a:gd name="T3" fmla="*/ 0 h 4"/>
                  <a:gd name="T4" fmla="*/ 0 w 6"/>
                  <a:gd name="T5" fmla="*/ 2147483647 h 4"/>
                  <a:gd name="T6" fmla="*/ 0 w 6"/>
                  <a:gd name="T7" fmla="*/ 2147483647 h 4"/>
                  <a:gd name="T8" fmla="*/ 2147483647 w 6"/>
                  <a:gd name="T9" fmla="*/ 2147483647 h 4"/>
                  <a:gd name="T10" fmla="*/ 2147483647 w 6"/>
                  <a:gd name="T11" fmla="*/ 2147483647 h 4"/>
                  <a:gd name="T12" fmla="*/ 2147483647 w 6"/>
                  <a:gd name="T13" fmla="*/ 2147483647 h 4"/>
                  <a:gd name="T14" fmla="*/ 2147483647 w 6"/>
                  <a:gd name="T15" fmla="*/ 0 h 4"/>
                  <a:gd name="T16" fmla="*/ 2147483647 w 6"/>
                  <a:gd name="T17" fmla="*/ 0 h 4"/>
                  <a:gd name="T18" fmla="*/ 0 w 6"/>
                  <a:gd name="T19" fmla="*/ 0 h 4"/>
                  <a:gd name="T20" fmla="*/ 0 w 6"/>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0" y="0"/>
                    </a:moveTo>
                    <a:lnTo>
                      <a:pt x="0" y="0"/>
                    </a:lnTo>
                    <a:lnTo>
                      <a:pt x="0" y="2"/>
                    </a:lnTo>
                    <a:lnTo>
                      <a:pt x="0" y="4"/>
                    </a:lnTo>
                    <a:lnTo>
                      <a:pt x="4" y="2"/>
                    </a:lnTo>
                    <a:lnTo>
                      <a:pt x="6" y="2"/>
                    </a:lnTo>
                    <a:lnTo>
                      <a:pt x="4" y="0"/>
                    </a:lnTo>
                    <a:lnTo>
                      <a:pt x="2" y="0"/>
                    </a:lnTo>
                    <a:lnTo>
                      <a:pt x="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54" name="Freeform 5981"/>
              <p:cNvSpPr>
                <a:spLocks/>
              </p:cNvSpPr>
              <p:nvPr/>
            </p:nvSpPr>
            <p:spPr bwMode="auto">
              <a:xfrm>
                <a:off x="4578930" y="2013877"/>
                <a:ext cx="11615" cy="6636"/>
              </a:xfrm>
              <a:custGeom>
                <a:avLst/>
                <a:gdLst>
                  <a:gd name="T0" fmla="*/ 2147483647 w 20"/>
                  <a:gd name="T1" fmla="*/ 2147483647 h 10"/>
                  <a:gd name="T2" fmla="*/ 2147483647 w 20"/>
                  <a:gd name="T3" fmla="*/ 2147483647 h 10"/>
                  <a:gd name="T4" fmla="*/ 2147483647 w 20"/>
                  <a:gd name="T5" fmla="*/ 2147483647 h 10"/>
                  <a:gd name="T6" fmla="*/ 2147483647 w 20"/>
                  <a:gd name="T7" fmla="*/ 2147483647 h 10"/>
                  <a:gd name="T8" fmla="*/ 2147483647 w 20"/>
                  <a:gd name="T9" fmla="*/ 0 h 10"/>
                  <a:gd name="T10" fmla="*/ 2147483647 w 20"/>
                  <a:gd name="T11" fmla="*/ 0 h 10"/>
                  <a:gd name="T12" fmla="*/ 2147483647 w 20"/>
                  <a:gd name="T13" fmla="*/ 0 h 10"/>
                  <a:gd name="T14" fmla="*/ 2147483647 w 20"/>
                  <a:gd name="T15" fmla="*/ 0 h 10"/>
                  <a:gd name="T16" fmla="*/ 0 w 20"/>
                  <a:gd name="T17" fmla="*/ 2147483647 h 10"/>
                  <a:gd name="T18" fmla="*/ 0 w 20"/>
                  <a:gd name="T19" fmla="*/ 2147483647 h 10"/>
                  <a:gd name="T20" fmla="*/ 2147483647 w 20"/>
                  <a:gd name="T21" fmla="*/ 2147483647 h 10"/>
                  <a:gd name="T22" fmla="*/ 2147483647 w 20"/>
                  <a:gd name="T23" fmla="*/ 2147483647 h 10"/>
                  <a:gd name="T24" fmla="*/ 2147483647 w 20"/>
                  <a:gd name="T25" fmla="*/ 2147483647 h 10"/>
                  <a:gd name="T26" fmla="*/ 2147483647 w 20"/>
                  <a:gd name="T27" fmla="*/ 2147483647 h 10"/>
                  <a:gd name="T28" fmla="*/ 2147483647 w 20"/>
                  <a:gd name="T29" fmla="*/ 2147483647 h 10"/>
                  <a:gd name="T30" fmla="*/ 2147483647 w 20"/>
                  <a:gd name="T31" fmla="*/ 2147483647 h 10"/>
                  <a:gd name="T32" fmla="*/ 2147483647 w 20"/>
                  <a:gd name="T33" fmla="*/ 2147483647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
                  <a:gd name="T52" fmla="*/ 0 h 10"/>
                  <a:gd name="T53" fmla="*/ 20 w 20"/>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 h="10">
                    <a:moveTo>
                      <a:pt x="18" y="4"/>
                    </a:moveTo>
                    <a:lnTo>
                      <a:pt x="18" y="4"/>
                    </a:lnTo>
                    <a:lnTo>
                      <a:pt x="20" y="4"/>
                    </a:lnTo>
                    <a:lnTo>
                      <a:pt x="18" y="4"/>
                    </a:lnTo>
                    <a:lnTo>
                      <a:pt x="8" y="0"/>
                    </a:lnTo>
                    <a:lnTo>
                      <a:pt x="4" y="0"/>
                    </a:lnTo>
                    <a:lnTo>
                      <a:pt x="2" y="0"/>
                    </a:lnTo>
                    <a:lnTo>
                      <a:pt x="0" y="4"/>
                    </a:lnTo>
                    <a:lnTo>
                      <a:pt x="0" y="8"/>
                    </a:lnTo>
                    <a:lnTo>
                      <a:pt x="4" y="10"/>
                    </a:lnTo>
                    <a:lnTo>
                      <a:pt x="8" y="10"/>
                    </a:lnTo>
                    <a:lnTo>
                      <a:pt x="10" y="8"/>
                    </a:lnTo>
                    <a:lnTo>
                      <a:pt x="12" y="6"/>
                    </a:lnTo>
                    <a:lnTo>
                      <a:pt x="18"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55" name="Freeform 5982"/>
              <p:cNvSpPr>
                <a:spLocks/>
              </p:cNvSpPr>
              <p:nvPr/>
            </p:nvSpPr>
            <p:spPr bwMode="auto">
              <a:xfrm>
                <a:off x="4507582" y="2202998"/>
                <a:ext cx="3319" cy="1659"/>
              </a:xfrm>
              <a:custGeom>
                <a:avLst/>
                <a:gdLst>
                  <a:gd name="T0" fmla="*/ 2147483647 w 6"/>
                  <a:gd name="T1" fmla="*/ 0 h 4"/>
                  <a:gd name="T2" fmla="*/ 2147483647 w 6"/>
                  <a:gd name="T3" fmla="*/ 0 h 4"/>
                  <a:gd name="T4" fmla="*/ 2147483647 w 6"/>
                  <a:gd name="T5" fmla="*/ 0 h 4"/>
                  <a:gd name="T6" fmla="*/ 2147483647 w 6"/>
                  <a:gd name="T7" fmla="*/ 0 h 4"/>
                  <a:gd name="T8" fmla="*/ 0 w 6"/>
                  <a:gd name="T9" fmla="*/ 2147483647 h 4"/>
                  <a:gd name="T10" fmla="*/ 0 w 6"/>
                  <a:gd name="T11" fmla="*/ 2147483647 h 4"/>
                  <a:gd name="T12" fmla="*/ 0 w 6"/>
                  <a:gd name="T13" fmla="*/ 2147483647 h 4"/>
                  <a:gd name="T14" fmla="*/ 2147483647 w 6"/>
                  <a:gd name="T15" fmla="*/ 2147483647 h 4"/>
                  <a:gd name="T16" fmla="*/ 2147483647 w 6"/>
                  <a:gd name="T17" fmla="*/ 2147483647 h 4"/>
                  <a:gd name="T18" fmla="*/ 2147483647 w 6"/>
                  <a:gd name="T19" fmla="*/ 0 h 4"/>
                  <a:gd name="T20" fmla="*/ 2147483647 w 6"/>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6" y="0"/>
                    </a:moveTo>
                    <a:lnTo>
                      <a:pt x="6" y="0"/>
                    </a:lnTo>
                    <a:lnTo>
                      <a:pt x="4" y="0"/>
                    </a:lnTo>
                    <a:lnTo>
                      <a:pt x="2" y="0"/>
                    </a:lnTo>
                    <a:lnTo>
                      <a:pt x="0" y="2"/>
                    </a:lnTo>
                    <a:lnTo>
                      <a:pt x="0" y="4"/>
                    </a:lnTo>
                    <a:lnTo>
                      <a:pt x="2" y="4"/>
                    </a:lnTo>
                    <a:lnTo>
                      <a:pt x="4" y="2"/>
                    </a:lnTo>
                    <a:lnTo>
                      <a:pt x="6"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56" name="Freeform 5983"/>
              <p:cNvSpPr>
                <a:spLocks/>
              </p:cNvSpPr>
              <p:nvPr/>
            </p:nvSpPr>
            <p:spPr bwMode="auto">
              <a:xfrm>
                <a:off x="4474396" y="2206316"/>
                <a:ext cx="1659" cy="3318"/>
              </a:xfrm>
              <a:custGeom>
                <a:avLst/>
                <a:gdLst>
                  <a:gd name="T0" fmla="*/ 0 w 8"/>
                  <a:gd name="T1" fmla="*/ 0 h 6"/>
                  <a:gd name="T2" fmla="*/ 0 w 8"/>
                  <a:gd name="T3" fmla="*/ 0 h 6"/>
                  <a:gd name="T4" fmla="*/ 0 w 8"/>
                  <a:gd name="T5" fmla="*/ 2147483647 h 6"/>
                  <a:gd name="T6" fmla="*/ 2147483647 w 8"/>
                  <a:gd name="T7" fmla="*/ 2147483647 h 6"/>
                  <a:gd name="T8" fmla="*/ 2147483647 w 8"/>
                  <a:gd name="T9" fmla="*/ 2147483647 h 6"/>
                  <a:gd name="T10" fmla="*/ 2147483647 w 8"/>
                  <a:gd name="T11" fmla="*/ 2147483647 h 6"/>
                  <a:gd name="T12" fmla="*/ 2147483647 w 8"/>
                  <a:gd name="T13" fmla="*/ 2147483647 h 6"/>
                  <a:gd name="T14" fmla="*/ 2147483647 w 8"/>
                  <a:gd name="T15" fmla="*/ 2147483647 h 6"/>
                  <a:gd name="T16" fmla="*/ 2147483647 w 8"/>
                  <a:gd name="T17" fmla="*/ 0 h 6"/>
                  <a:gd name="T18" fmla="*/ 2147483647 w 8"/>
                  <a:gd name="T19" fmla="*/ 0 h 6"/>
                  <a:gd name="T20" fmla="*/ 0 w 8"/>
                  <a:gd name="T21" fmla="*/ 0 h 6"/>
                  <a:gd name="T22" fmla="*/ 0 w 8"/>
                  <a:gd name="T23" fmla="*/ 0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6"/>
                  <a:gd name="T38" fmla="*/ 8 w 8"/>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6">
                    <a:moveTo>
                      <a:pt x="0" y="0"/>
                    </a:moveTo>
                    <a:lnTo>
                      <a:pt x="0" y="0"/>
                    </a:lnTo>
                    <a:lnTo>
                      <a:pt x="0" y="2"/>
                    </a:lnTo>
                    <a:lnTo>
                      <a:pt x="2" y="4"/>
                    </a:lnTo>
                    <a:lnTo>
                      <a:pt x="6" y="6"/>
                    </a:lnTo>
                    <a:lnTo>
                      <a:pt x="8" y="4"/>
                    </a:lnTo>
                    <a:lnTo>
                      <a:pt x="8" y="2"/>
                    </a:lnTo>
                    <a:lnTo>
                      <a:pt x="6" y="0"/>
                    </a:lnTo>
                    <a:lnTo>
                      <a:pt x="2" y="0"/>
                    </a:lnTo>
                    <a:lnTo>
                      <a:pt x="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57" name="Freeform 5984"/>
              <p:cNvSpPr>
                <a:spLocks/>
              </p:cNvSpPr>
              <p:nvPr/>
            </p:nvSpPr>
            <p:spPr bwMode="auto">
              <a:xfrm>
                <a:off x="4461122" y="2194704"/>
                <a:ext cx="18252" cy="11612"/>
              </a:xfrm>
              <a:custGeom>
                <a:avLst/>
                <a:gdLst>
                  <a:gd name="T0" fmla="*/ 2147483647 w 32"/>
                  <a:gd name="T1" fmla="*/ 2147483647 h 22"/>
                  <a:gd name="T2" fmla="*/ 2147483647 w 32"/>
                  <a:gd name="T3" fmla="*/ 2147483647 h 22"/>
                  <a:gd name="T4" fmla="*/ 2147483647 w 32"/>
                  <a:gd name="T5" fmla="*/ 2147483647 h 22"/>
                  <a:gd name="T6" fmla="*/ 0 w 32"/>
                  <a:gd name="T7" fmla="*/ 2147483647 h 22"/>
                  <a:gd name="T8" fmla="*/ 0 w 32"/>
                  <a:gd name="T9" fmla="*/ 2147483647 h 22"/>
                  <a:gd name="T10" fmla="*/ 0 w 32"/>
                  <a:gd name="T11" fmla="*/ 2147483647 h 22"/>
                  <a:gd name="T12" fmla="*/ 0 w 32"/>
                  <a:gd name="T13" fmla="*/ 2147483647 h 22"/>
                  <a:gd name="T14" fmla="*/ 0 w 32"/>
                  <a:gd name="T15" fmla="*/ 2147483647 h 22"/>
                  <a:gd name="T16" fmla="*/ 2147483647 w 32"/>
                  <a:gd name="T17" fmla="*/ 2147483647 h 22"/>
                  <a:gd name="T18" fmla="*/ 2147483647 w 32"/>
                  <a:gd name="T19" fmla="*/ 2147483647 h 22"/>
                  <a:gd name="T20" fmla="*/ 2147483647 w 32"/>
                  <a:gd name="T21" fmla="*/ 2147483647 h 22"/>
                  <a:gd name="T22" fmla="*/ 2147483647 w 32"/>
                  <a:gd name="T23" fmla="*/ 2147483647 h 22"/>
                  <a:gd name="T24" fmla="*/ 2147483647 w 32"/>
                  <a:gd name="T25" fmla="*/ 2147483647 h 22"/>
                  <a:gd name="T26" fmla="*/ 2147483647 w 32"/>
                  <a:gd name="T27" fmla="*/ 2147483647 h 22"/>
                  <a:gd name="T28" fmla="*/ 2147483647 w 32"/>
                  <a:gd name="T29" fmla="*/ 2147483647 h 22"/>
                  <a:gd name="T30" fmla="*/ 2147483647 w 32"/>
                  <a:gd name="T31" fmla="*/ 2147483647 h 22"/>
                  <a:gd name="T32" fmla="*/ 2147483647 w 32"/>
                  <a:gd name="T33" fmla="*/ 2147483647 h 22"/>
                  <a:gd name="T34" fmla="*/ 2147483647 w 32"/>
                  <a:gd name="T35" fmla="*/ 2147483647 h 22"/>
                  <a:gd name="T36" fmla="*/ 2147483647 w 32"/>
                  <a:gd name="T37" fmla="*/ 2147483647 h 22"/>
                  <a:gd name="T38" fmla="*/ 2147483647 w 32"/>
                  <a:gd name="T39" fmla="*/ 2147483647 h 22"/>
                  <a:gd name="T40" fmla="*/ 2147483647 w 32"/>
                  <a:gd name="T41" fmla="*/ 2147483647 h 22"/>
                  <a:gd name="T42" fmla="*/ 2147483647 w 32"/>
                  <a:gd name="T43" fmla="*/ 2147483647 h 22"/>
                  <a:gd name="T44" fmla="*/ 2147483647 w 32"/>
                  <a:gd name="T45" fmla="*/ 2147483647 h 22"/>
                  <a:gd name="T46" fmla="*/ 2147483647 w 32"/>
                  <a:gd name="T47" fmla="*/ 2147483647 h 22"/>
                  <a:gd name="T48" fmla="*/ 2147483647 w 32"/>
                  <a:gd name="T49" fmla="*/ 2147483647 h 22"/>
                  <a:gd name="T50" fmla="*/ 2147483647 w 32"/>
                  <a:gd name="T51" fmla="*/ 2147483647 h 22"/>
                  <a:gd name="T52" fmla="*/ 2147483647 w 32"/>
                  <a:gd name="T53" fmla="*/ 2147483647 h 22"/>
                  <a:gd name="T54" fmla="*/ 2147483647 w 32"/>
                  <a:gd name="T55" fmla="*/ 2147483647 h 22"/>
                  <a:gd name="T56" fmla="*/ 2147483647 w 32"/>
                  <a:gd name="T57" fmla="*/ 2147483647 h 22"/>
                  <a:gd name="T58" fmla="*/ 2147483647 w 32"/>
                  <a:gd name="T59" fmla="*/ 2147483647 h 22"/>
                  <a:gd name="T60" fmla="*/ 2147483647 w 32"/>
                  <a:gd name="T61" fmla="*/ 2147483647 h 22"/>
                  <a:gd name="T62" fmla="*/ 2147483647 w 32"/>
                  <a:gd name="T63" fmla="*/ 0 h 22"/>
                  <a:gd name="T64" fmla="*/ 2147483647 w 32"/>
                  <a:gd name="T65" fmla="*/ 2147483647 h 22"/>
                  <a:gd name="T66" fmla="*/ 2147483647 w 32"/>
                  <a:gd name="T67" fmla="*/ 2147483647 h 22"/>
                  <a:gd name="T68" fmla="*/ 2147483647 w 32"/>
                  <a:gd name="T69" fmla="*/ 2147483647 h 22"/>
                  <a:gd name="T70" fmla="*/ 2147483647 w 32"/>
                  <a:gd name="T71" fmla="*/ 2147483647 h 22"/>
                  <a:gd name="T72" fmla="*/ 2147483647 w 32"/>
                  <a:gd name="T73" fmla="*/ 2147483647 h 22"/>
                  <a:gd name="T74" fmla="*/ 2147483647 w 32"/>
                  <a:gd name="T75" fmla="*/ 2147483647 h 22"/>
                  <a:gd name="T76" fmla="*/ 2147483647 w 32"/>
                  <a:gd name="T77" fmla="*/ 2147483647 h 22"/>
                  <a:gd name="T78" fmla="*/ 2147483647 w 32"/>
                  <a:gd name="T79" fmla="*/ 2147483647 h 22"/>
                  <a:gd name="T80" fmla="*/ 2147483647 w 32"/>
                  <a:gd name="T81" fmla="*/ 2147483647 h 22"/>
                  <a:gd name="T82" fmla="*/ 2147483647 w 32"/>
                  <a:gd name="T83" fmla="*/ 2147483647 h 2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2"/>
                  <a:gd name="T127" fmla="*/ 0 h 22"/>
                  <a:gd name="T128" fmla="*/ 32 w 32"/>
                  <a:gd name="T129" fmla="*/ 22 h 2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2" h="22">
                    <a:moveTo>
                      <a:pt x="8" y="8"/>
                    </a:moveTo>
                    <a:lnTo>
                      <a:pt x="8" y="8"/>
                    </a:lnTo>
                    <a:lnTo>
                      <a:pt x="4" y="10"/>
                    </a:lnTo>
                    <a:lnTo>
                      <a:pt x="0" y="12"/>
                    </a:lnTo>
                    <a:lnTo>
                      <a:pt x="0" y="16"/>
                    </a:lnTo>
                    <a:lnTo>
                      <a:pt x="0" y="18"/>
                    </a:lnTo>
                    <a:lnTo>
                      <a:pt x="4" y="16"/>
                    </a:lnTo>
                    <a:lnTo>
                      <a:pt x="8" y="18"/>
                    </a:lnTo>
                    <a:lnTo>
                      <a:pt x="8" y="20"/>
                    </a:lnTo>
                    <a:lnTo>
                      <a:pt x="12" y="22"/>
                    </a:lnTo>
                    <a:lnTo>
                      <a:pt x="16" y="22"/>
                    </a:lnTo>
                    <a:lnTo>
                      <a:pt x="18" y="22"/>
                    </a:lnTo>
                    <a:lnTo>
                      <a:pt x="20" y="20"/>
                    </a:lnTo>
                    <a:lnTo>
                      <a:pt x="20" y="18"/>
                    </a:lnTo>
                    <a:lnTo>
                      <a:pt x="20" y="16"/>
                    </a:lnTo>
                    <a:lnTo>
                      <a:pt x="20" y="14"/>
                    </a:lnTo>
                    <a:lnTo>
                      <a:pt x="22" y="14"/>
                    </a:lnTo>
                    <a:lnTo>
                      <a:pt x="24" y="14"/>
                    </a:lnTo>
                    <a:lnTo>
                      <a:pt x="26" y="14"/>
                    </a:lnTo>
                    <a:lnTo>
                      <a:pt x="30" y="12"/>
                    </a:lnTo>
                    <a:lnTo>
                      <a:pt x="32" y="8"/>
                    </a:lnTo>
                    <a:lnTo>
                      <a:pt x="30" y="6"/>
                    </a:lnTo>
                    <a:lnTo>
                      <a:pt x="16" y="2"/>
                    </a:lnTo>
                    <a:lnTo>
                      <a:pt x="10" y="0"/>
                    </a:lnTo>
                    <a:lnTo>
                      <a:pt x="10" y="2"/>
                    </a:lnTo>
                    <a:lnTo>
                      <a:pt x="14" y="6"/>
                    </a:lnTo>
                    <a:lnTo>
                      <a:pt x="14" y="8"/>
                    </a:lnTo>
                    <a:lnTo>
                      <a:pt x="14" y="10"/>
                    </a:lnTo>
                    <a:lnTo>
                      <a:pt x="12" y="12"/>
                    </a:lnTo>
                    <a:lnTo>
                      <a:pt x="10" y="10"/>
                    </a:lnTo>
                    <a:lnTo>
                      <a:pt x="10" y="8"/>
                    </a:lnTo>
                    <a:lnTo>
                      <a:pt x="8"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58" name="Freeform 5985"/>
              <p:cNvSpPr>
                <a:spLocks/>
              </p:cNvSpPr>
              <p:nvPr/>
            </p:nvSpPr>
            <p:spPr bwMode="auto">
              <a:xfrm>
                <a:off x="4519196" y="2196362"/>
                <a:ext cx="6637" cy="1659"/>
              </a:xfrm>
              <a:custGeom>
                <a:avLst/>
                <a:gdLst>
                  <a:gd name="T0" fmla="*/ 2147483647 w 10"/>
                  <a:gd name="T1" fmla="*/ 2147483647 h 4"/>
                  <a:gd name="T2" fmla="*/ 2147483647 w 10"/>
                  <a:gd name="T3" fmla="*/ 2147483647 h 4"/>
                  <a:gd name="T4" fmla="*/ 2147483647 w 10"/>
                  <a:gd name="T5" fmla="*/ 0 h 4"/>
                  <a:gd name="T6" fmla="*/ 2147483647 w 10"/>
                  <a:gd name="T7" fmla="*/ 0 h 4"/>
                  <a:gd name="T8" fmla="*/ 2147483647 w 10"/>
                  <a:gd name="T9" fmla="*/ 0 h 4"/>
                  <a:gd name="T10" fmla="*/ 0 w 10"/>
                  <a:gd name="T11" fmla="*/ 2147483647 h 4"/>
                  <a:gd name="T12" fmla="*/ 0 w 10"/>
                  <a:gd name="T13" fmla="*/ 2147483647 h 4"/>
                  <a:gd name="T14" fmla="*/ 2147483647 w 10"/>
                  <a:gd name="T15" fmla="*/ 2147483647 h 4"/>
                  <a:gd name="T16" fmla="*/ 2147483647 w 10"/>
                  <a:gd name="T17" fmla="*/ 2147483647 h 4"/>
                  <a:gd name="T18" fmla="*/ 2147483647 w 10"/>
                  <a:gd name="T19" fmla="*/ 2147483647 h 4"/>
                  <a:gd name="T20" fmla="*/ 2147483647 w 10"/>
                  <a:gd name="T21" fmla="*/ 2147483647 h 4"/>
                  <a:gd name="T22" fmla="*/ 2147483647 w 10"/>
                  <a:gd name="T23" fmla="*/ 2147483647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4"/>
                  <a:gd name="T38" fmla="*/ 10 w 10"/>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4">
                    <a:moveTo>
                      <a:pt x="10" y="2"/>
                    </a:moveTo>
                    <a:lnTo>
                      <a:pt x="10" y="2"/>
                    </a:lnTo>
                    <a:lnTo>
                      <a:pt x="10" y="0"/>
                    </a:lnTo>
                    <a:lnTo>
                      <a:pt x="6" y="0"/>
                    </a:lnTo>
                    <a:lnTo>
                      <a:pt x="2" y="0"/>
                    </a:lnTo>
                    <a:lnTo>
                      <a:pt x="0" y="2"/>
                    </a:lnTo>
                    <a:lnTo>
                      <a:pt x="2" y="4"/>
                    </a:lnTo>
                    <a:lnTo>
                      <a:pt x="6" y="4"/>
                    </a:lnTo>
                    <a:lnTo>
                      <a:pt x="8" y="4"/>
                    </a:lnTo>
                    <a:lnTo>
                      <a:pt x="1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59" name="Freeform 5986"/>
              <p:cNvSpPr>
                <a:spLocks/>
              </p:cNvSpPr>
              <p:nvPr/>
            </p:nvSpPr>
            <p:spPr bwMode="auto">
              <a:xfrm>
                <a:off x="4517537" y="2201339"/>
                <a:ext cx="1659" cy="1658"/>
              </a:xfrm>
              <a:custGeom>
                <a:avLst/>
                <a:gdLst>
                  <a:gd name="T0" fmla="*/ 0 w 4"/>
                  <a:gd name="T1" fmla="*/ 2147483647 h 4"/>
                  <a:gd name="T2" fmla="*/ 0 w 4"/>
                  <a:gd name="T3" fmla="*/ 2147483647 h 4"/>
                  <a:gd name="T4" fmla="*/ 0 w 4"/>
                  <a:gd name="T5" fmla="*/ 2147483647 h 4"/>
                  <a:gd name="T6" fmla="*/ 2147483647 w 4"/>
                  <a:gd name="T7" fmla="*/ 2147483647 h 4"/>
                  <a:gd name="T8" fmla="*/ 2147483647 w 4"/>
                  <a:gd name="T9" fmla="*/ 2147483647 h 4"/>
                  <a:gd name="T10" fmla="*/ 2147483647 w 4"/>
                  <a:gd name="T11" fmla="*/ 0 h 4"/>
                  <a:gd name="T12" fmla="*/ 2147483647 w 4"/>
                  <a:gd name="T13" fmla="*/ 0 h 4"/>
                  <a:gd name="T14" fmla="*/ 2147483647 w 4"/>
                  <a:gd name="T15" fmla="*/ 0 h 4"/>
                  <a:gd name="T16" fmla="*/ 0 w 4"/>
                  <a:gd name="T17" fmla="*/ 0 h 4"/>
                  <a:gd name="T18" fmla="*/ 0 w 4"/>
                  <a:gd name="T19" fmla="*/ 2147483647 h 4"/>
                  <a:gd name="T20" fmla="*/ 0 w 4"/>
                  <a:gd name="T21" fmla="*/ 2147483647 h 4"/>
                  <a:gd name="T22" fmla="*/ 0 w 4"/>
                  <a:gd name="T23" fmla="*/ 2147483647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4"/>
                  <a:gd name="T38" fmla="*/ 4 w 4"/>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4">
                    <a:moveTo>
                      <a:pt x="0" y="4"/>
                    </a:moveTo>
                    <a:lnTo>
                      <a:pt x="0" y="4"/>
                    </a:lnTo>
                    <a:lnTo>
                      <a:pt x="2" y="4"/>
                    </a:lnTo>
                    <a:lnTo>
                      <a:pt x="4" y="2"/>
                    </a:lnTo>
                    <a:lnTo>
                      <a:pt x="4" y="0"/>
                    </a:lnTo>
                    <a:lnTo>
                      <a:pt x="2" y="0"/>
                    </a:lnTo>
                    <a:lnTo>
                      <a:pt x="0" y="0"/>
                    </a:lnTo>
                    <a:lnTo>
                      <a:pt x="0" y="2"/>
                    </a:lnTo>
                    <a:lnTo>
                      <a:pt x="0"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0" name="Freeform 5987"/>
              <p:cNvSpPr>
                <a:spLocks/>
              </p:cNvSpPr>
              <p:nvPr/>
            </p:nvSpPr>
            <p:spPr bwMode="auto">
              <a:xfrm>
                <a:off x="4341654" y="3014226"/>
                <a:ext cx="3319" cy="6636"/>
              </a:xfrm>
              <a:custGeom>
                <a:avLst/>
                <a:gdLst>
                  <a:gd name="T0" fmla="*/ 0 w 8"/>
                  <a:gd name="T1" fmla="*/ 0 h 10"/>
                  <a:gd name="T2" fmla="*/ 0 w 8"/>
                  <a:gd name="T3" fmla="*/ 0 h 10"/>
                  <a:gd name="T4" fmla="*/ 0 w 8"/>
                  <a:gd name="T5" fmla="*/ 2147483647 h 10"/>
                  <a:gd name="T6" fmla="*/ 0 w 8"/>
                  <a:gd name="T7" fmla="*/ 2147483647 h 10"/>
                  <a:gd name="T8" fmla="*/ 2147483647 w 8"/>
                  <a:gd name="T9" fmla="*/ 2147483647 h 10"/>
                  <a:gd name="T10" fmla="*/ 2147483647 w 8"/>
                  <a:gd name="T11" fmla="*/ 2147483647 h 10"/>
                  <a:gd name="T12" fmla="*/ 2147483647 w 8"/>
                  <a:gd name="T13" fmla="*/ 2147483647 h 10"/>
                  <a:gd name="T14" fmla="*/ 2147483647 w 8"/>
                  <a:gd name="T15" fmla="*/ 2147483647 h 10"/>
                  <a:gd name="T16" fmla="*/ 2147483647 w 8"/>
                  <a:gd name="T17" fmla="*/ 2147483647 h 10"/>
                  <a:gd name="T18" fmla="*/ 2147483647 w 8"/>
                  <a:gd name="T19" fmla="*/ 0 h 10"/>
                  <a:gd name="T20" fmla="*/ 0 w 8"/>
                  <a:gd name="T21" fmla="*/ 0 h 10"/>
                  <a:gd name="T22" fmla="*/ 0 w 8"/>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0"/>
                  <a:gd name="T38" fmla="*/ 8 w 8"/>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0">
                    <a:moveTo>
                      <a:pt x="0" y="0"/>
                    </a:moveTo>
                    <a:lnTo>
                      <a:pt x="0" y="0"/>
                    </a:lnTo>
                    <a:lnTo>
                      <a:pt x="0" y="4"/>
                    </a:lnTo>
                    <a:lnTo>
                      <a:pt x="0" y="8"/>
                    </a:lnTo>
                    <a:lnTo>
                      <a:pt x="4" y="10"/>
                    </a:lnTo>
                    <a:lnTo>
                      <a:pt x="8" y="10"/>
                    </a:lnTo>
                    <a:lnTo>
                      <a:pt x="8" y="8"/>
                    </a:lnTo>
                    <a:lnTo>
                      <a:pt x="6" y="4"/>
                    </a:lnTo>
                    <a:lnTo>
                      <a:pt x="4" y="0"/>
                    </a:lnTo>
                    <a:lnTo>
                      <a:pt x="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1" name="Freeform 5988"/>
              <p:cNvSpPr>
                <a:spLocks/>
              </p:cNvSpPr>
              <p:nvPr/>
            </p:nvSpPr>
            <p:spPr bwMode="auto">
              <a:xfrm>
                <a:off x="4914105" y="4210330"/>
                <a:ext cx="9956" cy="19907"/>
              </a:xfrm>
              <a:custGeom>
                <a:avLst/>
                <a:gdLst>
                  <a:gd name="T0" fmla="*/ 2147483647 w 16"/>
                  <a:gd name="T1" fmla="*/ 2147483647 h 36"/>
                  <a:gd name="T2" fmla="*/ 2147483647 w 16"/>
                  <a:gd name="T3" fmla="*/ 2147483647 h 36"/>
                  <a:gd name="T4" fmla="*/ 0 w 16"/>
                  <a:gd name="T5" fmla="*/ 2147483647 h 36"/>
                  <a:gd name="T6" fmla="*/ 0 w 16"/>
                  <a:gd name="T7" fmla="*/ 2147483647 h 36"/>
                  <a:gd name="T8" fmla="*/ 2147483647 w 16"/>
                  <a:gd name="T9" fmla="*/ 2147483647 h 36"/>
                  <a:gd name="T10" fmla="*/ 2147483647 w 16"/>
                  <a:gd name="T11" fmla="*/ 2147483647 h 36"/>
                  <a:gd name="T12" fmla="*/ 2147483647 w 16"/>
                  <a:gd name="T13" fmla="*/ 2147483647 h 36"/>
                  <a:gd name="T14" fmla="*/ 2147483647 w 16"/>
                  <a:gd name="T15" fmla="*/ 2147483647 h 36"/>
                  <a:gd name="T16" fmla="*/ 2147483647 w 16"/>
                  <a:gd name="T17" fmla="*/ 2147483647 h 36"/>
                  <a:gd name="T18" fmla="*/ 2147483647 w 16"/>
                  <a:gd name="T19" fmla="*/ 2147483647 h 36"/>
                  <a:gd name="T20" fmla="*/ 2147483647 w 16"/>
                  <a:gd name="T21" fmla="*/ 2147483647 h 36"/>
                  <a:gd name="T22" fmla="*/ 2147483647 w 16"/>
                  <a:gd name="T23" fmla="*/ 2147483647 h 36"/>
                  <a:gd name="T24" fmla="*/ 2147483647 w 16"/>
                  <a:gd name="T25" fmla="*/ 2147483647 h 36"/>
                  <a:gd name="T26" fmla="*/ 2147483647 w 16"/>
                  <a:gd name="T27" fmla="*/ 2147483647 h 36"/>
                  <a:gd name="T28" fmla="*/ 2147483647 w 16"/>
                  <a:gd name="T29" fmla="*/ 2147483647 h 36"/>
                  <a:gd name="T30" fmla="*/ 2147483647 w 16"/>
                  <a:gd name="T31" fmla="*/ 2147483647 h 36"/>
                  <a:gd name="T32" fmla="*/ 2147483647 w 16"/>
                  <a:gd name="T33" fmla="*/ 2147483647 h 36"/>
                  <a:gd name="T34" fmla="*/ 2147483647 w 16"/>
                  <a:gd name="T35" fmla="*/ 0 h 36"/>
                  <a:gd name="T36" fmla="*/ 2147483647 w 16"/>
                  <a:gd name="T37" fmla="*/ 0 h 36"/>
                  <a:gd name="T38" fmla="*/ 2147483647 w 16"/>
                  <a:gd name="T39" fmla="*/ 2147483647 h 36"/>
                  <a:gd name="T40" fmla="*/ 2147483647 w 16"/>
                  <a:gd name="T41" fmla="*/ 2147483647 h 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36"/>
                  <a:gd name="T65" fmla="*/ 16 w 16"/>
                  <a:gd name="T66" fmla="*/ 36 h 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36">
                    <a:moveTo>
                      <a:pt x="2" y="6"/>
                    </a:moveTo>
                    <a:lnTo>
                      <a:pt x="2" y="6"/>
                    </a:lnTo>
                    <a:lnTo>
                      <a:pt x="0" y="12"/>
                    </a:lnTo>
                    <a:lnTo>
                      <a:pt x="0" y="18"/>
                    </a:lnTo>
                    <a:lnTo>
                      <a:pt x="4" y="24"/>
                    </a:lnTo>
                    <a:lnTo>
                      <a:pt x="8" y="30"/>
                    </a:lnTo>
                    <a:lnTo>
                      <a:pt x="12" y="36"/>
                    </a:lnTo>
                    <a:lnTo>
                      <a:pt x="16" y="36"/>
                    </a:lnTo>
                    <a:lnTo>
                      <a:pt x="16" y="32"/>
                    </a:lnTo>
                    <a:lnTo>
                      <a:pt x="14" y="26"/>
                    </a:lnTo>
                    <a:lnTo>
                      <a:pt x="14" y="20"/>
                    </a:lnTo>
                    <a:lnTo>
                      <a:pt x="12" y="18"/>
                    </a:lnTo>
                    <a:lnTo>
                      <a:pt x="10" y="14"/>
                    </a:lnTo>
                    <a:lnTo>
                      <a:pt x="8" y="8"/>
                    </a:lnTo>
                    <a:lnTo>
                      <a:pt x="6" y="0"/>
                    </a:lnTo>
                    <a:lnTo>
                      <a:pt x="4" y="0"/>
                    </a:lnTo>
                    <a:lnTo>
                      <a:pt x="2"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2" name="Freeform 5989"/>
              <p:cNvSpPr>
                <a:spLocks/>
              </p:cNvSpPr>
              <p:nvPr/>
            </p:nvSpPr>
            <p:spPr bwMode="auto">
              <a:xfrm>
                <a:off x="4925720" y="4185446"/>
                <a:ext cx="6637" cy="16590"/>
              </a:xfrm>
              <a:custGeom>
                <a:avLst/>
                <a:gdLst>
                  <a:gd name="T0" fmla="*/ 2147483647 w 10"/>
                  <a:gd name="T1" fmla="*/ 2147483647 h 28"/>
                  <a:gd name="T2" fmla="*/ 2147483647 w 10"/>
                  <a:gd name="T3" fmla="*/ 2147483647 h 28"/>
                  <a:gd name="T4" fmla="*/ 2147483647 w 10"/>
                  <a:gd name="T5" fmla="*/ 2147483647 h 28"/>
                  <a:gd name="T6" fmla="*/ 2147483647 w 10"/>
                  <a:gd name="T7" fmla="*/ 2147483647 h 28"/>
                  <a:gd name="T8" fmla="*/ 2147483647 w 10"/>
                  <a:gd name="T9" fmla="*/ 2147483647 h 28"/>
                  <a:gd name="T10" fmla="*/ 2147483647 w 10"/>
                  <a:gd name="T11" fmla="*/ 2147483647 h 28"/>
                  <a:gd name="T12" fmla="*/ 2147483647 w 10"/>
                  <a:gd name="T13" fmla="*/ 2147483647 h 28"/>
                  <a:gd name="T14" fmla="*/ 2147483647 w 10"/>
                  <a:gd name="T15" fmla="*/ 2147483647 h 28"/>
                  <a:gd name="T16" fmla="*/ 2147483647 w 10"/>
                  <a:gd name="T17" fmla="*/ 2147483647 h 28"/>
                  <a:gd name="T18" fmla="*/ 2147483647 w 10"/>
                  <a:gd name="T19" fmla="*/ 2147483647 h 28"/>
                  <a:gd name="T20" fmla="*/ 2147483647 w 10"/>
                  <a:gd name="T21" fmla="*/ 0 h 28"/>
                  <a:gd name="T22" fmla="*/ 2147483647 w 10"/>
                  <a:gd name="T23" fmla="*/ 2147483647 h 28"/>
                  <a:gd name="T24" fmla="*/ 2147483647 w 10"/>
                  <a:gd name="T25" fmla="*/ 2147483647 h 28"/>
                  <a:gd name="T26" fmla="*/ 2147483647 w 10"/>
                  <a:gd name="T27" fmla="*/ 2147483647 h 28"/>
                  <a:gd name="T28" fmla="*/ 2147483647 w 10"/>
                  <a:gd name="T29" fmla="*/ 2147483647 h 28"/>
                  <a:gd name="T30" fmla="*/ 2147483647 w 10"/>
                  <a:gd name="T31" fmla="*/ 2147483647 h 28"/>
                  <a:gd name="T32" fmla="*/ 0 w 10"/>
                  <a:gd name="T33" fmla="*/ 2147483647 h 28"/>
                  <a:gd name="T34" fmla="*/ 2147483647 w 10"/>
                  <a:gd name="T35" fmla="*/ 2147483647 h 28"/>
                  <a:gd name="T36" fmla="*/ 2147483647 w 10"/>
                  <a:gd name="T37" fmla="*/ 2147483647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
                  <a:gd name="T58" fmla="*/ 0 h 28"/>
                  <a:gd name="T59" fmla="*/ 10 w 10"/>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 h="28">
                    <a:moveTo>
                      <a:pt x="2" y="28"/>
                    </a:moveTo>
                    <a:lnTo>
                      <a:pt x="2" y="28"/>
                    </a:lnTo>
                    <a:lnTo>
                      <a:pt x="4" y="28"/>
                    </a:lnTo>
                    <a:lnTo>
                      <a:pt x="6" y="26"/>
                    </a:lnTo>
                    <a:lnTo>
                      <a:pt x="8" y="16"/>
                    </a:lnTo>
                    <a:lnTo>
                      <a:pt x="10" y="6"/>
                    </a:lnTo>
                    <a:lnTo>
                      <a:pt x="8" y="4"/>
                    </a:lnTo>
                    <a:lnTo>
                      <a:pt x="6" y="2"/>
                    </a:lnTo>
                    <a:lnTo>
                      <a:pt x="2" y="0"/>
                    </a:lnTo>
                    <a:lnTo>
                      <a:pt x="2" y="2"/>
                    </a:lnTo>
                    <a:lnTo>
                      <a:pt x="2" y="12"/>
                    </a:lnTo>
                    <a:lnTo>
                      <a:pt x="2" y="18"/>
                    </a:lnTo>
                    <a:lnTo>
                      <a:pt x="2" y="22"/>
                    </a:lnTo>
                    <a:lnTo>
                      <a:pt x="0" y="24"/>
                    </a:lnTo>
                    <a:lnTo>
                      <a:pt x="2" y="2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3" name="Freeform 5990"/>
              <p:cNvSpPr>
                <a:spLocks/>
              </p:cNvSpPr>
              <p:nvPr/>
            </p:nvSpPr>
            <p:spPr bwMode="auto">
              <a:xfrm>
                <a:off x="4925720" y="4263416"/>
                <a:ext cx="6637" cy="9954"/>
              </a:xfrm>
              <a:custGeom>
                <a:avLst/>
                <a:gdLst>
                  <a:gd name="T0" fmla="*/ 2147483647 w 12"/>
                  <a:gd name="T1" fmla="*/ 2147483647 h 18"/>
                  <a:gd name="T2" fmla="*/ 2147483647 w 12"/>
                  <a:gd name="T3" fmla="*/ 2147483647 h 18"/>
                  <a:gd name="T4" fmla="*/ 2147483647 w 12"/>
                  <a:gd name="T5" fmla="*/ 2147483647 h 18"/>
                  <a:gd name="T6" fmla="*/ 2147483647 w 12"/>
                  <a:gd name="T7" fmla="*/ 2147483647 h 18"/>
                  <a:gd name="T8" fmla="*/ 2147483647 w 12"/>
                  <a:gd name="T9" fmla="*/ 2147483647 h 18"/>
                  <a:gd name="T10" fmla="*/ 2147483647 w 12"/>
                  <a:gd name="T11" fmla="*/ 2147483647 h 18"/>
                  <a:gd name="T12" fmla="*/ 2147483647 w 12"/>
                  <a:gd name="T13" fmla="*/ 0 h 18"/>
                  <a:gd name="T14" fmla="*/ 2147483647 w 12"/>
                  <a:gd name="T15" fmla="*/ 2147483647 h 18"/>
                  <a:gd name="T16" fmla="*/ 2147483647 w 12"/>
                  <a:gd name="T17" fmla="*/ 2147483647 h 18"/>
                  <a:gd name="T18" fmla="*/ 0 w 12"/>
                  <a:gd name="T19" fmla="*/ 2147483647 h 18"/>
                  <a:gd name="T20" fmla="*/ 0 w 12"/>
                  <a:gd name="T21" fmla="*/ 2147483647 h 18"/>
                  <a:gd name="T22" fmla="*/ 2147483647 w 12"/>
                  <a:gd name="T23" fmla="*/ 2147483647 h 18"/>
                  <a:gd name="T24" fmla="*/ 2147483647 w 12"/>
                  <a:gd name="T25" fmla="*/ 2147483647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18"/>
                  <a:gd name="T41" fmla="*/ 12 w 12"/>
                  <a:gd name="T42" fmla="*/ 18 h 1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18">
                    <a:moveTo>
                      <a:pt x="4" y="18"/>
                    </a:moveTo>
                    <a:lnTo>
                      <a:pt x="4" y="18"/>
                    </a:lnTo>
                    <a:lnTo>
                      <a:pt x="6" y="16"/>
                    </a:lnTo>
                    <a:lnTo>
                      <a:pt x="10" y="12"/>
                    </a:lnTo>
                    <a:lnTo>
                      <a:pt x="12" y="2"/>
                    </a:lnTo>
                    <a:lnTo>
                      <a:pt x="12" y="0"/>
                    </a:lnTo>
                    <a:lnTo>
                      <a:pt x="10" y="2"/>
                    </a:lnTo>
                    <a:lnTo>
                      <a:pt x="4" y="8"/>
                    </a:lnTo>
                    <a:lnTo>
                      <a:pt x="0" y="14"/>
                    </a:lnTo>
                    <a:lnTo>
                      <a:pt x="0" y="18"/>
                    </a:lnTo>
                    <a:lnTo>
                      <a:pt x="4" y="1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4" name="Freeform 5991"/>
              <p:cNvSpPr>
                <a:spLocks/>
              </p:cNvSpPr>
              <p:nvPr/>
            </p:nvSpPr>
            <p:spPr bwMode="auto">
              <a:xfrm>
                <a:off x="4572293" y="2969434"/>
                <a:ext cx="3319" cy="4977"/>
              </a:xfrm>
              <a:custGeom>
                <a:avLst/>
                <a:gdLst>
                  <a:gd name="T0" fmla="*/ 2147483647 w 4"/>
                  <a:gd name="T1" fmla="*/ 2147483647 h 8"/>
                  <a:gd name="T2" fmla="*/ 2147483647 w 4"/>
                  <a:gd name="T3" fmla="*/ 2147483647 h 8"/>
                  <a:gd name="T4" fmla="*/ 2147483647 w 4"/>
                  <a:gd name="T5" fmla="*/ 2147483647 h 8"/>
                  <a:gd name="T6" fmla="*/ 2147483647 w 4"/>
                  <a:gd name="T7" fmla="*/ 0 h 8"/>
                  <a:gd name="T8" fmla="*/ 2147483647 w 4"/>
                  <a:gd name="T9" fmla="*/ 0 h 8"/>
                  <a:gd name="T10" fmla="*/ 2147483647 w 4"/>
                  <a:gd name="T11" fmla="*/ 0 h 8"/>
                  <a:gd name="T12" fmla="*/ 2147483647 w 4"/>
                  <a:gd name="T13" fmla="*/ 0 h 8"/>
                  <a:gd name="T14" fmla="*/ 0 w 4"/>
                  <a:gd name="T15" fmla="*/ 2147483647 h 8"/>
                  <a:gd name="T16" fmla="*/ 0 w 4"/>
                  <a:gd name="T17" fmla="*/ 2147483647 h 8"/>
                  <a:gd name="T18" fmla="*/ 0 w 4"/>
                  <a:gd name="T19" fmla="*/ 2147483647 h 8"/>
                  <a:gd name="T20" fmla="*/ 2147483647 w 4"/>
                  <a:gd name="T21" fmla="*/ 2147483647 h 8"/>
                  <a:gd name="T22" fmla="*/ 2147483647 w 4"/>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8"/>
                  <a:gd name="T38" fmla="*/ 4 w 4"/>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8">
                    <a:moveTo>
                      <a:pt x="2" y="8"/>
                    </a:moveTo>
                    <a:lnTo>
                      <a:pt x="2" y="8"/>
                    </a:lnTo>
                    <a:lnTo>
                      <a:pt x="4" y="6"/>
                    </a:lnTo>
                    <a:lnTo>
                      <a:pt x="4" y="0"/>
                    </a:lnTo>
                    <a:lnTo>
                      <a:pt x="2" y="0"/>
                    </a:lnTo>
                    <a:lnTo>
                      <a:pt x="0" y="2"/>
                    </a:lnTo>
                    <a:lnTo>
                      <a:pt x="0" y="6"/>
                    </a:lnTo>
                    <a:lnTo>
                      <a:pt x="0" y="8"/>
                    </a:lnTo>
                    <a:lnTo>
                      <a:pt x="2"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5" name="Freeform 5992"/>
              <p:cNvSpPr>
                <a:spLocks/>
              </p:cNvSpPr>
              <p:nvPr/>
            </p:nvSpPr>
            <p:spPr bwMode="auto">
              <a:xfrm>
                <a:off x="4577271" y="2921325"/>
                <a:ext cx="3319" cy="8294"/>
              </a:xfrm>
              <a:custGeom>
                <a:avLst/>
                <a:gdLst>
                  <a:gd name="T0" fmla="*/ 0 w 8"/>
                  <a:gd name="T1" fmla="*/ 0 h 12"/>
                  <a:gd name="T2" fmla="*/ 0 w 8"/>
                  <a:gd name="T3" fmla="*/ 0 h 12"/>
                  <a:gd name="T4" fmla="*/ 0 w 8"/>
                  <a:gd name="T5" fmla="*/ 2147483647 h 12"/>
                  <a:gd name="T6" fmla="*/ 2147483647 w 8"/>
                  <a:gd name="T7" fmla="*/ 2147483647 h 12"/>
                  <a:gd name="T8" fmla="*/ 2147483647 w 8"/>
                  <a:gd name="T9" fmla="*/ 2147483647 h 12"/>
                  <a:gd name="T10" fmla="*/ 2147483647 w 8"/>
                  <a:gd name="T11" fmla="*/ 2147483647 h 12"/>
                  <a:gd name="T12" fmla="*/ 2147483647 w 8"/>
                  <a:gd name="T13" fmla="*/ 2147483647 h 12"/>
                  <a:gd name="T14" fmla="*/ 2147483647 w 8"/>
                  <a:gd name="T15" fmla="*/ 2147483647 h 12"/>
                  <a:gd name="T16" fmla="*/ 2147483647 w 8"/>
                  <a:gd name="T17" fmla="*/ 2147483647 h 12"/>
                  <a:gd name="T18" fmla="*/ 0 w 8"/>
                  <a:gd name="T19" fmla="*/ 0 h 12"/>
                  <a:gd name="T20" fmla="*/ 0 w 8"/>
                  <a:gd name="T21" fmla="*/ 0 h 12"/>
                  <a:gd name="T22" fmla="*/ 0 w 8"/>
                  <a:gd name="T23" fmla="*/ 0 h 12"/>
                  <a:gd name="T24" fmla="*/ 0 w 8"/>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12"/>
                  <a:gd name="T41" fmla="*/ 8 w 8"/>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12">
                    <a:moveTo>
                      <a:pt x="0" y="0"/>
                    </a:moveTo>
                    <a:lnTo>
                      <a:pt x="0" y="0"/>
                    </a:lnTo>
                    <a:lnTo>
                      <a:pt x="0" y="8"/>
                    </a:lnTo>
                    <a:lnTo>
                      <a:pt x="2" y="10"/>
                    </a:lnTo>
                    <a:lnTo>
                      <a:pt x="6" y="12"/>
                    </a:lnTo>
                    <a:lnTo>
                      <a:pt x="8" y="12"/>
                    </a:lnTo>
                    <a:lnTo>
                      <a:pt x="6" y="10"/>
                    </a:lnTo>
                    <a:lnTo>
                      <a:pt x="4" y="4"/>
                    </a:lnTo>
                    <a:lnTo>
                      <a:pt x="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6" name="Freeform 5993"/>
              <p:cNvSpPr>
                <a:spLocks/>
              </p:cNvSpPr>
              <p:nvPr/>
            </p:nvSpPr>
            <p:spPr bwMode="auto">
              <a:xfrm>
                <a:off x="4537449" y="2921325"/>
                <a:ext cx="39823" cy="31520"/>
              </a:xfrm>
              <a:custGeom>
                <a:avLst/>
                <a:gdLst>
                  <a:gd name="T0" fmla="*/ 2147483647 w 70"/>
                  <a:gd name="T1" fmla="*/ 2147483647 h 56"/>
                  <a:gd name="T2" fmla="*/ 2147483647 w 70"/>
                  <a:gd name="T3" fmla="*/ 2147483647 h 56"/>
                  <a:gd name="T4" fmla="*/ 2147483647 w 70"/>
                  <a:gd name="T5" fmla="*/ 2147483647 h 56"/>
                  <a:gd name="T6" fmla="*/ 2147483647 w 70"/>
                  <a:gd name="T7" fmla="*/ 2147483647 h 56"/>
                  <a:gd name="T8" fmla="*/ 2147483647 w 70"/>
                  <a:gd name="T9" fmla="*/ 2147483647 h 56"/>
                  <a:gd name="T10" fmla="*/ 2147483647 w 70"/>
                  <a:gd name="T11" fmla="*/ 2147483647 h 56"/>
                  <a:gd name="T12" fmla="*/ 2147483647 w 70"/>
                  <a:gd name="T13" fmla="*/ 2147483647 h 56"/>
                  <a:gd name="T14" fmla="*/ 2147483647 w 70"/>
                  <a:gd name="T15" fmla="*/ 2147483647 h 56"/>
                  <a:gd name="T16" fmla="*/ 2147483647 w 70"/>
                  <a:gd name="T17" fmla="*/ 2147483647 h 56"/>
                  <a:gd name="T18" fmla="*/ 2147483647 w 70"/>
                  <a:gd name="T19" fmla="*/ 2147483647 h 56"/>
                  <a:gd name="T20" fmla="*/ 2147483647 w 70"/>
                  <a:gd name="T21" fmla="*/ 2147483647 h 56"/>
                  <a:gd name="T22" fmla="*/ 2147483647 w 70"/>
                  <a:gd name="T23" fmla="*/ 2147483647 h 56"/>
                  <a:gd name="T24" fmla="*/ 2147483647 w 70"/>
                  <a:gd name="T25" fmla="*/ 2147483647 h 56"/>
                  <a:gd name="T26" fmla="*/ 2147483647 w 70"/>
                  <a:gd name="T27" fmla="*/ 0 h 56"/>
                  <a:gd name="T28" fmla="*/ 2147483647 w 70"/>
                  <a:gd name="T29" fmla="*/ 0 h 56"/>
                  <a:gd name="T30" fmla="*/ 2147483647 w 70"/>
                  <a:gd name="T31" fmla="*/ 2147483647 h 56"/>
                  <a:gd name="T32" fmla="*/ 2147483647 w 70"/>
                  <a:gd name="T33" fmla="*/ 2147483647 h 56"/>
                  <a:gd name="T34" fmla="*/ 0 w 70"/>
                  <a:gd name="T35" fmla="*/ 2147483647 h 56"/>
                  <a:gd name="T36" fmla="*/ 0 w 70"/>
                  <a:gd name="T37" fmla="*/ 2147483647 h 56"/>
                  <a:gd name="T38" fmla="*/ 0 w 70"/>
                  <a:gd name="T39" fmla="*/ 2147483647 h 56"/>
                  <a:gd name="T40" fmla="*/ 2147483647 w 70"/>
                  <a:gd name="T41" fmla="*/ 2147483647 h 56"/>
                  <a:gd name="T42" fmla="*/ 2147483647 w 70"/>
                  <a:gd name="T43" fmla="*/ 2147483647 h 56"/>
                  <a:gd name="T44" fmla="*/ 2147483647 w 70"/>
                  <a:gd name="T45" fmla="*/ 2147483647 h 56"/>
                  <a:gd name="T46" fmla="*/ 2147483647 w 70"/>
                  <a:gd name="T47" fmla="*/ 2147483647 h 56"/>
                  <a:gd name="T48" fmla="*/ 2147483647 w 70"/>
                  <a:gd name="T49" fmla="*/ 2147483647 h 56"/>
                  <a:gd name="T50" fmla="*/ 2147483647 w 70"/>
                  <a:gd name="T51" fmla="*/ 2147483647 h 56"/>
                  <a:gd name="T52" fmla="*/ 2147483647 w 70"/>
                  <a:gd name="T53" fmla="*/ 2147483647 h 56"/>
                  <a:gd name="T54" fmla="*/ 2147483647 w 70"/>
                  <a:gd name="T55" fmla="*/ 2147483647 h 56"/>
                  <a:gd name="T56" fmla="*/ 2147483647 w 70"/>
                  <a:gd name="T57" fmla="*/ 2147483647 h 56"/>
                  <a:gd name="T58" fmla="*/ 2147483647 w 70"/>
                  <a:gd name="T59" fmla="*/ 2147483647 h 56"/>
                  <a:gd name="T60" fmla="*/ 2147483647 w 70"/>
                  <a:gd name="T61" fmla="*/ 2147483647 h 56"/>
                  <a:gd name="T62" fmla="*/ 2147483647 w 70"/>
                  <a:gd name="T63" fmla="*/ 2147483647 h 56"/>
                  <a:gd name="T64" fmla="*/ 2147483647 w 70"/>
                  <a:gd name="T65" fmla="*/ 2147483647 h 56"/>
                  <a:gd name="T66" fmla="*/ 2147483647 w 70"/>
                  <a:gd name="T67" fmla="*/ 2147483647 h 56"/>
                  <a:gd name="T68" fmla="*/ 2147483647 w 70"/>
                  <a:gd name="T69" fmla="*/ 2147483647 h 56"/>
                  <a:gd name="T70" fmla="*/ 2147483647 w 70"/>
                  <a:gd name="T71" fmla="*/ 2147483647 h 56"/>
                  <a:gd name="T72" fmla="*/ 2147483647 w 70"/>
                  <a:gd name="T73" fmla="*/ 2147483647 h 56"/>
                  <a:gd name="T74" fmla="*/ 2147483647 w 70"/>
                  <a:gd name="T75" fmla="*/ 2147483647 h 56"/>
                  <a:gd name="T76" fmla="*/ 2147483647 w 70"/>
                  <a:gd name="T77" fmla="*/ 2147483647 h 5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70"/>
                  <a:gd name="T118" fmla="*/ 0 h 56"/>
                  <a:gd name="T119" fmla="*/ 70 w 70"/>
                  <a:gd name="T120" fmla="*/ 56 h 5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70" h="56">
                    <a:moveTo>
                      <a:pt x="62" y="46"/>
                    </a:moveTo>
                    <a:lnTo>
                      <a:pt x="62" y="46"/>
                    </a:lnTo>
                    <a:lnTo>
                      <a:pt x="58" y="42"/>
                    </a:lnTo>
                    <a:lnTo>
                      <a:pt x="56" y="36"/>
                    </a:lnTo>
                    <a:lnTo>
                      <a:pt x="52" y="22"/>
                    </a:lnTo>
                    <a:lnTo>
                      <a:pt x="52" y="18"/>
                    </a:lnTo>
                    <a:lnTo>
                      <a:pt x="50" y="16"/>
                    </a:lnTo>
                    <a:lnTo>
                      <a:pt x="44" y="16"/>
                    </a:lnTo>
                    <a:lnTo>
                      <a:pt x="36" y="14"/>
                    </a:lnTo>
                    <a:lnTo>
                      <a:pt x="30" y="10"/>
                    </a:lnTo>
                    <a:lnTo>
                      <a:pt x="22" y="2"/>
                    </a:lnTo>
                    <a:lnTo>
                      <a:pt x="20" y="0"/>
                    </a:lnTo>
                    <a:lnTo>
                      <a:pt x="16" y="0"/>
                    </a:lnTo>
                    <a:lnTo>
                      <a:pt x="8" y="2"/>
                    </a:lnTo>
                    <a:lnTo>
                      <a:pt x="2" y="4"/>
                    </a:lnTo>
                    <a:lnTo>
                      <a:pt x="0" y="6"/>
                    </a:lnTo>
                    <a:lnTo>
                      <a:pt x="0" y="8"/>
                    </a:lnTo>
                    <a:lnTo>
                      <a:pt x="8" y="8"/>
                    </a:lnTo>
                    <a:lnTo>
                      <a:pt x="24" y="16"/>
                    </a:lnTo>
                    <a:lnTo>
                      <a:pt x="30" y="22"/>
                    </a:lnTo>
                    <a:lnTo>
                      <a:pt x="32" y="28"/>
                    </a:lnTo>
                    <a:lnTo>
                      <a:pt x="34" y="30"/>
                    </a:lnTo>
                    <a:lnTo>
                      <a:pt x="38" y="32"/>
                    </a:lnTo>
                    <a:lnTo>
                      <a:pt x="44" y="32"/>
                    </a:lnTo>
                    <a:lnTo>
                      <a:pt x="46" y="36"/>
                    </a:lnTo>
                    <a:lnTo>
                      <a:pt x="52" y="42"/>
                    </a:lnTo>
                    <a:lnTo>
                      <a:pt x="58" y="50"/>
                    </a:lnTo>
                    <a:lnTo>
                      <a:pt x="64" y="56"/>
                    </a:lnTo>
                    <a:lnTo>
                      <a:pt x="68" y="56"/>
                    </a:lnTo>
                    <a:lnTo>
                      <a:pt x="70" y="54"/>
                    </a:lnTo>
                    <a:lnTo>
                      <a:pt x="68" y="50"/>
                    </a:lnTo>
                    <a:lnTo>
                      <a:pt x="62" y="4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7" name="Freeform 5994"/>
              <p:cNvSpPr>
                <a:spLocks/>
              </p:cNvSpPr>
              <p:nvPr/>
            </p:nvSpPr>
            <p:spPr bwMode="auto">
              <a:xfrm>
                <a:off x="4602160" y="2881510"/>
                <a:ext cx="9956" cy="4976"/>
              </a:xfrm>
              <a:custGeom>
                <a:avLst/>
                <a:gdLst>
                  <a:gd name="T0" fmla="*/ 0 w 16"/>
                  <a:gd name="T1" fmla="*/ 2147483647 h 8"/>
                  <a:gd name="T2" fmla="*/ 0 w 16"/>
                  <a:gd name="T3" fmla="*/ 2147483647 h 8"/>
                  <a:gd name="T4" fmla="*/ 2147483647 w 16"/>
                  <a:gd name="T5" fmla="*/ 2147483647 h 8"/>
                  <a:gd name="T6" fmla="*/ 2147483647 w 16"/>
                  <a:gd name="T7" fmla="*/ 2147483647 h 8"/>
                  <a:gd name="T8" fmla="*/ 2147483647 w 16"/>
                  <a:gd name="T9" fmla="*/ 2147483647 h 8"/>
                  <a:gd name="T10" fmla="*/ 2147483647 w 16"/>
                  <a:gd name="T11" fmla="*/ 2147483647 h 8"/>
                  <a:gd name="T12" fmla="*/ 2147483647 w 16"/>
                  <a:gd name="T13" fmla="*/ 2147483647 h 8"/>
                  <a:gd name="T14" fmla="*/ 2147483647 w 16"/>
                  <a:gd name="T15" fmla="*/ 2147483647 h 8"/>
                  <a:gd name="T16" fmla="*/ 2147483647 w 16"/>
                  <a:gd name="T17" fmla="*/ 2147483647 h 8"/>
                  <a:gd name="T18" fmla="*/ 2147483647 w 16"/>
                  <a:gd name="T19" fmla="*/ 0 h 8"/>
                  <a:gd name="T20" fmla="*/ 2147483647 w 16"/>
                  <a:gd name="T21" fmla="*/ 2147483647 h 8"/>
                  <a:gd name="T22" fmla="*/ 0 w 16"/>
                  <a:gd name="T23" fmla="*/ 2147483647 h 8"/>
                  <a:gd name="T24" fmla="*/ 0 w 16"/>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8"/>
                  <a:gd name="T41" fmla="*/ 16 w 16"/>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8">
                    <a:moveTo>
                      <a:pt x="0" y="6"/>
                    </a:moveTo>
                    <a:lnTo>
                      <a:pt x="0" y="6"/>
                    </a:lnTo>
                    <a:lnTo>
                      <a:pt x="2" y="8"/>
                    </a:lnTo>
                    <a:lnTo>
                      <a:pt x="4" y="8"/>
                    </a:lnTo>
                    <a:lnTo>
                      <a:pt x="14" y="6"/>
                    </a:lnTo>
                    <a:lnTo>
                      <a:pt x="16" y="6"/>
                    </a:lnTo>
                    <a:lnTo>
                      <a:pt x="16" y="4"/>
                    </a:lnTo>
                    <a:lnTo>
                      <a:pt x="12" y="2"/>
                    </a:lnTo>
                    <a:lnTo>
                      <a:pt x="6" y="0"/>
                    </a:lnTo>
                    <a:lnTo>
                      <a:pt x="2" y="2"/>
                    </a:lnTo>
                    <a:lnTo>
                      <a:pt x="0"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8" name="Freeform 5995"/>
              <p:cNvSpPr>
                <a:spLocks/>
              </p:cNvSpPr>
              <p:nvPr/>
            </p:nvSpPr>
            <p:spPr bwMode="auto">
              <a:xfrm>
                <a:off x="4610457" y="2962798"/>
                <a:ext cx="8296" cy="4977"/>
              </a:xfrm>
              <a:custGeom>
                <a:avLst/>
                <a:gdLst>
                  <a:gd name="T0" fmla="*/ 2147483647 w 14"/>
                  <a:gd name="T1" fmla="*/ 2147483647 h 10"/>
                  <a:gd name="T2" fmla="*/ 2147483647 w 14"/>
                  <a:gd name="T3" fmla="*/ 2147483647 h 10"/>
                  <a:gd name="T4" fmla="*/ 2147483647 w 14"/>
                  <a:gd name="T5" fmla="*/ 0 h 10"/>
                  <a:gd name="T6" fmla="*/ 2147483647 w 14"/>
                  <a:gd name="T7" fmla="*/ 0 h 10"/>
                  <a:gd name="T8" fmla="*/ 2147483647 w 14"/>
                  <a:gd name="T9" fmla="*/ 2147483647 h 10"/>
                  <a:gd name="T10" fmla="*/ 2147483647 w 14"/>
                  <a:gd name="T11" fmla="*/ 2147483647 h 10"/>
                  <a:gd name="T12" fmla="*/ 0 w 14"/>
                  <a:gd name="T13" fmla="*/ 2147483647 h 10"/>
                  <a:gd name="T14" fmla="*/ 0 w 14"/>
                  <a:gd name="T15" fmla="*/ 2147483647 h 10"/>
                  <a:gd name="T16" fmla="*/ 0 w 14"/>
                  <a:gd name="T17" fmla="*/ 2147483647 h 10"/>
                  <a:gd name="T18" fmla="*/ 2147483647 w 14"/>
                  <a:gd name="T19" fmla="*/ 2147483647 h 10"/>
                  <a:gd name="T20" fmla="*/ 2147483647 w 14"/>
                  <a:gd name="T21" fmla="*/ 2147483647 h 10"/>
                  <a:gd name="T22" fmla="*/ 2147483647 w 14"/>
                  <a:gd name="T23" fmla="*/ 2147483647 h 10"/>
                  <a:gd name="T24" fmla="*/ 2147483647 w 14"/>
                  <a:gd name="T25" fmla="*/ 2147483647 h 10"/>
                  <a:gd name="T26" fmla="*/ 2147483647 w 14"/>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10"/>
                  <a:gd name="T44" fmla="*/ 14 w 14"/>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10">
                    <a:moveTo>
                      <a:pt x="14" y="2"/>
                    </a:moveTo>
                    <a:lnTo>
                      <a:pt x="14" y="2"/>
                    </a:lnTo>
                    <a:lnTo>
                      <a:pt x="14" y="0"/>
                    </a:lnTo>
                    <a:lnTo>
                      <a:pt x="12" y="0"/>
                    </a:lnTo>
                    <a:lnTo>
                      <a:pt x="8" y="2"/>
                    </a:lnTo>
                    <a:lnTo>
                      <a:pt x="2" y="4"/>
                    </a:lnTo>
                    <a:lnTo>
                      <a:pt x="0" y="8"/>
                    </a:lnTo>
                    <a:lnTo>
                      <a:pt x="0" y="10"/>
                    </a:lnTo>
                    <a:lnTo>
                      <a:pt x="2" y="10"/>
                    </a:lnTo>
                    <a:lnTo>
                      <a:pt x="8" y="8"/>
                    </a:lnTo>
                    <a:lnTo>
                      <a:pt x="12" y="4"/>
                    </a:lnTo>
                    <a:lnTo>
                      <a:pt x="14"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9" name="Freeform 5996"/>
              <p:cNvSpPr>
                <a:spLocks/>
              </p:cNvSpPr>
              <p:nvPr/>
            </p:nvSpPr>
            <p:spPr bwMode="auto">
              <a:xfrm>
                <a:off x="4607138" y="2934596"/>
                <a:ext cx="6637" cy="13272"/>
              </a:xfrm>
              <a:custGeom>
                <a:avLst/>
                <a:gdLst>
                  <a:gd name="T0" fmla="*/ 2147483647 w 12"/>
                  <a:gd name="T1" fmla="*/ 2147483647 h 24"/>
                  <a:gd name="T2" fmla="*/ 2147483647 w 12"/>
                  <a:gd name="T3" fmla="*/ 2147483647 h 24"/>
                  <a:gd name="T4" fmla="*/ 2147483647 w 12"/>
                  <a:gd name="T5" fmla="*/ 2147483647 h 24"/>
                  <a:gd name="T6" fmla="*/ 2147483647 w 12"/>
                  <a:gd name="T7" fmla="*/ 2147483647 h 24"/>
                  <a:gd name="T8" fmla="*/ 2147483647 w 12"/>
                  <a:gd name="T9" fmla="*/ 2147483647 h 24"/>
                  <a:gd name="T10" fmla="*/ 2147483647 w 12"/>
                  <a:gd name="T11" fmla="*/ 2147483647 h 24"/>
                  <a:gd name="T12" fmla="*/ 2147483647 w 12"/>
                  <a:gd name="T13" fmla="*/ 2147483647 h 24"/>
                  <a:gd name="T14" fmla="*/ 2147483647 w 12"/>
                  <a:gd name="T15" fmla="*/ 0 h 24"/>
                  <a:gd name="T16" fmla="*/ 2147483647 w 12"/>
                  <a:gd name="T17" fmla="*/ 0 h 24"/>
                  <a:gd name="T18" fmla="*/ 2147483647 w 12"/>
                  <a:gd name="T19" fmla="*/ 0 h 24"/>
                  <a:gd name="T20" fmla="*/ 2147483647 w 12"/>
                  <a:gd name="T21" fmla="*/ 0 h 24"/>
                  <a:gd name="T22" fmla="*/ 0 w 12"/>
                  <a:gd name="T23" fmla="*/ 2147483647 h 24"/>
                  <a:gd name="T24" fmla="*/ 0 w 12"/>
                  <a:gd name="T25" fmla="*/ 2147483647 h 24"/>
                  <a:gd name="T26" fmla="*/ 2147483647 w 12"/>
                  <a:gd name="T27" fmla="*/ 2147483647 h 24"/>
                  <a:gd name="T28" fmla="*/ 2147483647 w 12"/>
                  <a:gd name="T29" fmla="*/ 2147483647 h 24"/>
                  <a:gd name="T30" fmla="*/ 2147483647 w 12"/>
                  <a:gd name="T31" fmla="*/ 2147483647 h 24"/>
                  <a:gd name="T32" fmla="*/ 2147483647 w 12"/>
                  <a:gd name="T33" fmla="*/ 2147483647 h 24"/>
                  <a:gd name="T34" fmla="*/ 2147483647 w 12"/>
                  <a:gd name="T35" fmla="*/ 2147483647 h 24"/>
                  <a:gd name="T36" fmla="*/ 2147483647 w 12"/>
                  <a:gd name="T37" fmla="*/ 2147483647 h 24"/>
                  <a:gd name="T38" fmla="*/ 2147483647 w 12"/>
                  <a:gd name="T39" fmla="*/ 2147483647 h 24"/>
                  <a:gd name="T40" fmla="*/ 2147483647 w 12"/>
                  <a:gd name="T41" fmla="*/ 2147483647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
                  <a:gd name="T64" fmla="*/ 0 h 24"/>
                  <a:gd name="T65" fmla="*/ 12 w 12"/>
                  <a:gd name="T66" fmla="*/ 24 h 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 h="24">
                    <a:moveTo>
                      <a:pt x="6" y="24"/>
                    </a:moveTo>
                    <a:lnTo>
                      <a:pt x="6" y="24"/>
                    </a:lnTo>
                    <a:lnTo>
                      <a:pt x="10" y="20"/>
                    </a:lnTo>
                    <a:lnTo>
                      <a:pt x="12" y="16"/>
                    </a:lnTo>
                    <a:lnTo>
                      <a:pt x="12" y="12"/>
                    </a:lnTo>
                    <a:lnTo>
                      <a:pt x="12" y="8"/>
                    </a:lnTo>
                    <a:lnTo>
                      <a:pt x="12" y="4"/>
                    </a:lnTo>
                    <a:lnTo>
                      <a:pt x="8" y="0"/>
                    </a:lnTo>
                    <a:lnTo>
                      <a:pt x="6" y="0"/>
                    </a:lnTo>
                    <a:lnTo>
                      <a:pt x="2" y="0"/>
                    </a:lnTo>
                    <a:lnTo>
                      <a:pt x="0" y="2"/>
                    </a:lnTo>
                    <a:lnTo>
                      <a:pt x="0" y="4"/>
                    </a:lnTo>
                    <a:lnTo>
                      <a:pt x="4" y="8"/>
                    </a:lnTo>
                    <a:lnTo>
                      <a:pt x="4" y="12"/>
                    </a:lnTo>
                    <a:lnTo>
                      <a:pt x="2" y="18"/>
                    </a:lnTo>
                    <a:lnTo>
                      <a:pt x="2" y="24"/>
                    </a:lnTo>
                    <a:lnTo>
                      <a:pt x="6" y="2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0" name="Freeform 5997"/>
              <p:cNvSpPr>
                <a:spLocks/>
              </p:cNvSpPr>
              <p:nvPr/>
            </p:nvSpPr>
            <p:spPr bwMode="auto">
              <a:xfrm>
                <a:off x="4607138" y="2908053"/>
                <a:ext cx="14933" cy="13272"/>
              </a:xfrm>
              <a:custGeom>
                <a:avLst/>
                <a:gdLst>
                  <a:gd name="T0" fmla="*/ 2147483647 w 30"/>
                  <a:gd name="T1" fmla="*/ 0 h 22"/>
                  <a:gd name="T2" fmla="*/ 2147483647 w 30"/>
                  <a:gd name="T3" fmla="*/ 0 h 22"/>
                  <a:gd name="T4" fmla="*/ 2147483647 w 30"/>
                  <a:gd name="T5" fmla="*/ 0 h 22"/>
                  <a:gd name="T6" fmla="*/ 2147483647 w 30"/>
                  <a:gd name="T7" fmla="*/ 0 h 22"/>
                  <a:gd name="T8" fmla="*/ 2147483647 w 30"/>
                  <a:gd name="T9" fmla="*/ 2147483647 h 22"/>
                  <a:gd name="T10" fmla="*/ 2147483647 w 30"/>
                  <a:gd name="T11" fmla="*/ 2147483647 h 22"/>
                  <a:gd name="T12" fmla="*/ 0 w 30"/>
                  <a:gd name="T13" fmla="*/ 2147483647 h 22"/>
                  <a:gd name="T14" fmla="*/ 0 w 30"/>
                  <a:gd name="T15" fmla="*/ 2147483647 h 22"/>
                  <a:gd name="T16" fmla="*/ 2147483647 w 30"/>
                  <a:gd name="T17" fmla="*/ 2147483647 h 22"/>
                  <a:gd name="T18" fmla="*/ 2147483647 w 30"/>
                  <a:gd name="T19" fmla="*/ 2147483647 h 22"/>
                  <a:gd name="T20" fmla="*/ 2147483647 w 30"/>
                  <a:gd name="T21" fmla="*/ 2147483647 h 22"/>
                  <a:gd name="T22" fmla="*/ 2147483647 w 30"/>
                  <a:gd name="T23" fmla="*/ 2147483647 h 22"/>
                  <a:gd name="T24" fmla="*/ 2147483647 w 30"/>
                  <a:gd name="T25" fmla="*/ 2147483647 h 22"/>
                  <a:gd name="T26" fmla="*/ 2147483647 w 30"/>
                  <a:gd name="T27" fmla="*/ 2147483647 h 22"/>
                  <a:gd name="T28" fmla="*/ 2147483647 w 30"/>
                  <a:gd name="T29" fmla="*/ 2147483647 h 22"/>
                  <a:gd name="T30" fmla="*/ 2147483647 w 30"/>
                  <a:gd name="T31" fmla="*/ 2147483647 h 22"/>
                  <a:gd name="T32" fmla="*/ 2147483647 w 30"/>
                  <a:gd name="T33" fmla="*/ 2147483647 h 22"/>
                  <a:gd name="T34" fmla="*/ 2147483647 w 30"/>
                  <a:gd name="T35" fmla="*/ 2147483647 h 22"/>
                  <a:gd name="T36" fmla="*/ 2147483647 w 30"/>
                  <a:gd name="T37" fmla="*/ 2147483647 h 22"/>
                  <a:gd name="T38" fmla="*/ 2147483647 w 30"/>
                  <a:gd name="T39" fmla="*/ 2147483647 h 22"/>
                  <a:gd name="T40" fmla="*/ 2147483647 w 30"/>
                  <a:gd name="T41" fmla="*/ 2147483647 h 22"/>
                  <a:gd name="T42" fmla="*/ 2147483647 w 30"/>
                  <a:gd name="T43" fmla="*/ 2147483647 h 22"/>
                  <a:gd name="T44" fmla="*/ 2147483647 w 30"/>
                  <a:gd name="T45" fmla="*/ 0 h 22"/>
                  <a:gd name="T46" fmla="*/ 2147483647 w 30"/>
                  <a:gd name="T47" fmla="*/ 0 h 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0"/>
                  <a:gd name="T73" fmla="*/ 0 h 22"/>
                  <a:gd name="T74" fmla="*/ 30 w 30"/>
                  <a:gd name="T75" fmla="*/ 22 h 2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0" h="22">
                    <a:moveTo>
                      <a:pt x="20" y="0"/>
                    </a:moveTo>
                    <a:lnTo>
                      <a:pt x="20" y="0"/>
                    </a:lnTo>
                    <a:lnTo>
                      <a:pt x="16" y="0"/>
                    </a:lnTo>
                    <a:lnTo>
                      <a:pt x="14" y="0"/>
                    </a:lnTo>
                    <a:lnTo>
                      <a:pt x="4" y="6"/>
                    </a:lnTo>
                    <a:lnTo>
                      <a:pt x="0" y="8"/>
                    </a:lnTo>
                    <a:lnTo>
                      <a:pt x="0" y="10"/>
                    </a:lnTo>
                    <a:lnTo>
                      <a:pt x="2" y="14"/>
                    </a:lnTo>
                    <a:lnTo>
                      <a:pt x="8" y="18"/>
                    </a:lnTo>
                    <a:lnTo>
                      <a:pt x="16" y="22"/>
                    </a:lnTo>
                    <a:lnTo>
                      <a:pt x="22" y="22"/>
                    </a:lnTo>
                    <a:lnTo>
                      <a:pt x="28" y="20"/>
                    </a:lnTo>
                    <a:lnTo>
                      <a:pt x="30" y="20"/>
                    </a:lnTo>
                    <a:lnTo>
                      <a:pt x="30" y="16"/>
                    </a:lnTo>
                    <a:lnTo>
                      <a:pt x="30" y="14"/>
                    </a:lnTo>
                    <a:lnTo>
                      <a:pt x="28" y="12"/>
                    </a:lnTo>
                    <a:lnTo>
                      <a:pt x="22" y="8"/>
                    </a:lnTo>
                    <a:lnTo>
                      <a:pt x="22" y="4"/>
                    </a:lnTo>
                    <a:lnTo>
                      <a:pt x="22" y="2"/>
                    </a:lnTo>
                    <a:lnTo>
                      <a:pt x="2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1" name="Freeform 5998"/>
              <p:cNvSpPr>
                <a:spLocks/>
              </p:cNvSpPr>
              <p:nvPr/>
            </p:nvSpPr>
            <p:spPr bwMode="auto">
              <a:xfrm>
                <a:off x="4570634" y="2962798"/>
                <a:ext cx="3319" cy="3318"/>
              </a:xfrm>
              <a:custGeom>
                <a:avLst/>
                <a:gdLst>
                  <a:gd name="T0" fmla="*/ 0 w 6"/>
                  <a:gd name="T1" fmla="*/ 2147483647 h 8"/>
                  <a:gd name="T2" fmla="*/ 0 w 6"/>
                  <a:gd name="T3" fmla="*/ 2147483647 h 8"/>
                  <a:gd name="T4" fmla="*/ 2147483647 w 6"/>
                  <a:gd name="T5" fmla="*/ 2147483647 h 8"/>
                  <a:gd name="T6" fmla="*/ 2147483647 w 6"/>
                  <a:gd name="T7" fmla="*/ 2147483647 h 8"/>
                  <a:gd name="T8" fmla="*/ 2147483647 w 6"/>
                  <a:gd name="T9" fmla="*/ 2147483647 h 8"/>
                  <a:gd name="T10" fmla="*/ 2147483647 w 6"/>
                  <a:gd name="T11" fmla="*/ 2147483647 h 8"/>
                  <a:gd name="T12" fmla="*/ 2147483647 w 6"/>
                  <a:gd name="T13" fmla="*/ 2147483647 h 8"/>
                  <a:gd name="T14" fmla="*/ 2147483647 w 6"/>
                  <a:gd name="T15" fmla="*/ 0 h 8"/>
                  <a:gd name="T16" fmla="*/ 2147483647 w 6"/>
                  <a:gd name="T17" fmla="*/ 2147483647 h 8"/>
                  <a:gd name="T18" fmla="*/ 0 w 6"/>
                  <a:gd name="T19" fmla="*/ 2147483647 h 8"/>
                  <a:gd name="T20" fmla="*/ 0 w 6"/>
                  <a:gd name="T21" fmla="*/ 2147483647 h 8"/>
                  <a:gd name="T22" fmla="*/ 0 w 6"/>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8"/>
                  <a:gd name="T38" fmla="*/ 6 w 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8">
                    <a:moveTo>
                      <a:pt x="0" y="8"/>
                    </a:moveTo>
                    <a:lnTo>
                      <a:pt x="0" y="8"/>
                    </a:lnTo>
                    <a:lnTo>
                      <a:pt x="2" y="8"/>
                    </a:lnTo>
                    <a:lnTo>
                      <a:pt x="4" y="6"/>
                    </a:lnTo>
                    <a:lnTo>
                      <a:pt x="6" y="4"/>
                    </a:lnTo>
                    <a:lnTo>
                      <a:pt x="4" y="2"/>
                    </a:lnTo>
                    <a:lnTo>
                      <a:pt x="2" y="0"/>
                    </a:lnTo>
                    <a:lnTo>
                      <a:pt x="2" y="4"/>
                    </a:lnTo>
                    <a:lnTo>
                      <a:pt x="0" y="6"/>
                    </a:lnTo>
                    <a:lnTo>
                      <a:pt x="0"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2" name="Freeform 5999"/>
              <p:cNvSpPr>
                <a:spLocks/>
              </p:cNvSpPr>
              <p:nvPr/>
            </p:nvSpPr>
            <p:spPr bwMode="auto">
              <a:xfrm>
                <a:off x="4587227" y="2891463"/>
                <a:ext cx="8296" cy="3318"/>
              </a:xfrm>
              <a:custGeom>
                <a:avLst/>
                <a:gdLst>
                  <a:gd name="T0" fmla="*/ 2147483647 w 16"/>
                  <a:gd name="T1" fmla="*/ 0 h 12"/>
                  <a:gd name="T2" fmla="*/ 2147483647 w 16"/>
                  <a:gd name="T3" fmla="*/ 0 h 12"/>
                  <a:gd name="T4" fmla="*/ 2147483647 w 16"/>
                  <a:gd name="T5" fmla="*/ 0 h 12"/>
                  <a:gd name="T6" fmla="*/ 2147483647 w 16"/>
                  <a:gd name="T7" fmla="*/ 0 h 12"/>
                  <a:gd name="T8" fmla="*/ 2147483647 w 16"/>
                  <a:gd name="T9" fmla="*/ 0 h 12"/>
                  <a:gd name="T10" fmla="*/ 0 w 16"/>
                  <a:gd name="T11" fmla="*/ 2147483647 h 12"/>
                  <a:gd name="T12" fmla="*/ 0 w 16"/>
                  <a:gd name="T13" fmla="*/ 2147483647 h 12"/>
                  <a:gd name="T14" fmla="*/ 0 w 16"/>
                  <a:gd name="T15" fmla="*/ 2147483647 h 12"/>
                  <a:gd name="T16" fmla="*/ 0 w 16"/>
                  <a:gd name="T17" fmla="*/ 2147483647 h 12"/>
                  <a:gd name="T18" fmla="*/ 2147483647 w 16"/>
                  <a:gd name="T19" fmla="*/ 2147483647 h 12"/>
                  <a:gd name="T20" fmla="*/ 2147483647 w 16"/>
                  <a:gd name="T21" fmla="*/ 2147483647 h 12"/>
                  <a:gd name="T22" fmla="*/ 2147483647 w 16"/>
                  <a:gd name="T23" fmla="*/ 2147483647 h 12"/>
                  <a:gd name="T24" fmla="*/ 2147483647 w 16"/>
                  <a:gd name="T25" fmla="*/ 2147483647 h 12"/>
                  <a:gd name="T26" fmla="*/ 2147483647 w 16"/>
                  <a:gd name="T27" fmla="*/ 2147483647 h 12"/>
                  <a:gd name="T28" fmla="*/ 2147483647 w 16"/>
                  <a:gd name="T29" fmla="*/ 2147483647 h 12"/>
                  <a:gd name="T30" fmla="*/ 2147483647 w 16"/>
                  <a:gd name="T31" fmla="*/ 2147483647 h 12"/>
                  <a:gd name="T32" fmla="*/ 2147483647 w 16"/>
                  <a:gd name="T33" fmla="*/ 2147483647 h 12"/>
                  <a:gd name="T34" fmla="*/ 2147483647 w 16"/>
                  <a:gd name="T35" fmla="*/ 2147483647 h 12"/>
                  <a:gd name="T36" fmla="*/ 2147483647 w 16"/>
                  <a:gd name="T37" fmla="*/ 2147483647 h 12"/>
                  <a:gd name="T38" fmla="*/ 2147483647 w 16"/>
                  <a:gd name="T39" fmla="*/ 0 h 12"/>
                  <a:gd name="T40" fmla="*/ 2147483647 w 16"/>
                  <a:gd name="T41" fmla="*/ 0 h 12"/>
                  <a:gd name="T42" fmla="*/ 2147483647 w 16"/>
                  <a:gd name="T43" fmla="*/ 0 h 12"/>
                  <a:gd name="T44" fmla="*/ 2147483647 w 16"/>
                  <a:gd name="T45" fmla="*/ 0 h 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
                  <a:gd name="T70" fmla="*/ 0 h 12"/>
                  <a:gd name="T71" fmla="*/ 16 w 16"/>
                  <a:gd name="T72" fmla="*/ 12 h 1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 h="12">
                    <a:moveTo>
                      <a:pt x="14" y="0"/>
                    </a:moveTo>
                    <a:lnTo>
                      <a:pt x="14" y="0"/>
                    </a:lnTo>
                    <a:lnTo>
                      <a:pt x="10" y="0"/>
                    </a:lnTo>
                    <a:lnTo>
                      <a:pt x="6" y="0"/>
                    </a:lnTo>
                    <a:lnTo>
                      <a:pt x="2" y="0"/>
                    </a:lnTo>
                    <a:lnTo>
                      <a:pt x="0" y="2"/>
                    </a:lnTo>
                    <a:lnTo>
                      <a:pt x="0" y="6"/>
                    </a:lnTo>
                    <a:lnTo>
                      <a:pt x="0" y="10"/>
                    </a:lnTo>
                    <a:lnTo>
                      <a:pt x="2" y="10"/>
                    </a:lnTo>
                    <a:lnTo>
                      <a:pt x="4" y="10"/>
                    </a:lnTo>
                    <a:lnTo>
                      <a:pt x="6" y="8"/>
                    </a:lnTo>
                    <a:lnTo>
                      <a:pt x="8" y="8"/>
                    </a:lnTo>
                    <a:lnTo>
                      <a:pt x="10" y="8"/>
                    </a:lnTo>
                    <a:lnTo>
                      <a:pt x="12" y="10"/>
                    </a:lnTo>
                    <a:lnTo>
                      <a:pt x="14" y="12"/>
                    </a:lnTo>
                    <a:lnTo>
                      <a:pt x="14" y="10"/>
                    </a:lnTo>
                    <a:lnTo>
                      <a:pt x="16" y="0"/>
                    </a:lnTo>
                    <a:lnTo>
                      <a:pt x="14"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3" name="Freeform 6000"/>
              <p:cNvSpPr>
                <a:spLocks/>
              </p:cNvSpPr>
              <p:nvPr/>
            </p:nvSpPr>
            <p:spPr bwMode="auto">
              <a:xfrm>
                <a:off x="4580590" y="2952844"/>
                <a:ext cx="11614" cy="14931"/>
              </a:xfrm>
              <a:custGeom>
                <a:avLst/>
                <a:gdLst>
                  <a:gd name="T0" fmla="*/ 0 w 22"/>
                  <a:gd name="T1" fmla="*/ 2147483647 h 26"/>
                  <a:gd name="T2" fmla="*/ 0 w 22"/>
                  <a:gd name="T3" fmla="*/ 2147483647 h 26"/>
                  <a:gd name="T4" fmla="*/ 0 w 22"/>
                  <a:gd name="T5" fmla="*/ 2147483647 h 26"/>
                  <a:gd name="T6" fmla="*/ 2147483647 w 22"/>
                  <a:gd name="T7" fmla="*/ 2147483647 h 26"/>
                  <a:gd name="T8" fmla="*/ 2147483647 w 22"/>
                  <a:gd name="T9" fmla="*/ 2147483647 h 26"/>
                  <a:gd name="T10" fmla="*/ 2147483647 w 22"/>
                  <a:gd name="T11" fmla="*/ 2147483647 h 26"/>
                  <a:gd name="T12" fmla="*/ 2147483647 w 22"/>
                  <a:gd name="T13" fmla="*/ 2147483647 h 26"/>
                  <a:gd name="T14" fmla="*/ 2147483647 w 22"/>
                  <a:gd name="T15" fmla="*/ 2147483647 h 26"/>
                  <a:gd name="T16" fmla="*/ 2147483647 w 22"/>
                  <a:gd name="T17" fmla="*/ 2147483647 h 26"/>
                  <a:gd name="T18" fmla="*/ 2147483647 w 22"/>
                  <a:gd name="T19" fmla="*/ 2147483647 h 26"/>
                  <a:gd name="T20" fmla="*/ 2147483647 w 22"/>
                  <a:gd name="T21" fmla="*/ 2147483647 h 26"/>
                  <a:gd name="T22" fmla="*/ 2147483647 w 22"/>
                  <a:gd name="T23" fmla="*/ 2147483647 h 26"/>
                  <a:gd name="T24" fmla="*/ 2147483647 w 22"/>
                  <a:gd name="T25" fmla="*/ 2147483647 h 26"/>
                  <a:gd name="T26" fmla="*/ 2147483647 w 22"/>
                  <a:gd name="T27" fmla="*/ 0 h 26"/>
                  <a:gd name="T28" fmla="*/ 2147483647 w 22"/>
                  <a:gd name="T29" fmla="*/ 0 h 26"/>
                  <a:gd name="T30" fmla="*/ 0 w 22"/>
                  <a:gd name="T31" fmla="*/ 2147483647 h 26"/>
                  <a:gd name="T32" fmla="*/ 0 w 22"/>
                  <a:gd name="T33" fmla="*/ 2147483647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26"/>
                  <a:gd name="T53" fmla="*/ 22 w 22"/>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26">
                    <a:moveTo>
                      <a:pt x="0" y="2"/>
                    </a:moveTo>
                    <a:lnTo>
                      <a:pt x="0" y="2"/>
                    </a:lnTo>
                    <a:lnTo>
                      <a:pt x="0" y="4"/>
                    </a:lnTo>
                    <a:lnTo>
                      <a:pt x="2" y="8"/>
                    </a:lnTo>
                    <a:lnTo>
                      <a:pt x="12" y="20"/>
                    </a:lnTo>
                    <a:lnTo>
                      <a:pt x="18" y="26"/>
                    </a:lnTo>
                    <a:lnTo>
                      <a:pt x="20" y="26"/>
                    </a:lnTo>
                    <a:lnTo>
                      <a:pt x="22" y="24"/>
                    </a:lnTo>
                    <a:lnTo>
                      <a:pt x="18" y="20"/>
                    </a:lnTo>
                    <a:lnTo>
                      <a:pt x="14" y="14"/>
                    </a:lnTo>
                    <a:lnTo>
                      <a:pt x="8" y="6"/>
                    </a:lnTo>
                    <a:lnTo>
                      <a:pt x="4" y="0"/>
                    </a:lnTo>
                    <a:lnTo>
                      <a:pt x="2" y="0"/>
                    </a:lnTo>
                    <a:lnTo>
                      <a:pt x="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4" name="Freeform 6001"/>
              <p:cNvSpPr>
                <a:spLocks/>
              </p:cNvSpPr>
              <p:nvPr/>
            </p:nvSpPr>
            <p:spPr bwMode="auto">
              <a:xfrm>
                <a:off x="4577271" y="2863261"/>
                <a:ext cx="4977" cy="8295"/>
              </a:xfrm>
              <a:custGeom>
                <a:avLst/>
                <a:gdLst>
                  <a:gd name="T0" fmla="*/ 2147483647 w 10"/>
                  <a:gd name="T1" fmla="*/ 0 h 12"/>
                  <a:gd name="T2" fmla="*/ 2147483647 w 10"/>
                  <a:gd name="T3" fmla="*/ 0 h 12"/>
                  <a:gd name="T4" fmla="*/ 2147483647 w 10"/>
                  <a:gd name="T5" fmla="*/ 2147483647 h 12"/>
                  <a:gd name="T6" fmla="*/ 0 w 10"/>
                  <a:gd name="T7" fmla="*/ 2147483647 h 12"/>
                  <a:gd name="T8" fmla="*/ 0 w 10"/>
                  <a:gd name="T9" fmla="*/ 2147483647 h 12"/>
                  <a:gd name="T10" fmla="*/ 2147483647 w 10"/>
                  <a:gd name="T11" fmla="*/ 2147483647 h 12"/>
                  <a:gd name="T12" fmla="*/ 2147483647 w 10"/>
                  <a:gd name="T13" fmla="*/ 2147483647 h 12"/>
                  <a:gd name="T14" fmla="*/ 2147483647 w 10"/>
                  <a:gd name="T15" fmla="*/ 2147483647 h 12"/>
                  <a:gd name="T16" fmla="*/ 2147483647 w 10"/>
                  <a:gd name="T17" fmla="*/ 2147483647 h 12"/>
                  <a:gd name="T18" fmla="*/ 2147483647 w 10"/>
                  <a:gd name="T19" fmla="*/ 2147483647 h 12"/>
                  <a:gd name="T20" fmla="*/ 2147483647 w 10"/>
                  <a:gd name="T21" fmla="*/ 2147483647 h 12"/>
                  <a:gd name="T22" fmla="*/ 2147483647 w 10"/>
                  <a:gd name="T23" fmla="*/ 0 h 12"/>
                  <a:gd name="T24" fmla="*/ 2147483647 w 10"/>
                  <a:gd name="T25" fmla="*/ 0 h 12"/>
                  <a:gd name="T26" fmla="*/ 2147483647 w 10"/>
                  <a:gd name="T27" fmla="*/ 0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2"/>
                  <a:gd name="T44" fmla="*/ 10 w 10"/>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2">
                    <a:moveTo>
                      <a:pt x="6" y="0"/>
                    </a:moveTo>
                    <a:lnTo>
                      <a:pt x="6" y="0"/>
                    </a:lnTo>
                    <a:lnTo>
                      <a:pt x="2" y="2"/>
                    </a:lnTo>
                    <a:lnTo>
                      <a:pt x="0" y="6"/>
                    </a:lnTo>
                    <a:lnTo>
                      <a:pt x="0" y="10"/>
                    </a:lnTo>
                    <a:lnTo>
                      <a:pt x="4" y="12"/>
                    </a:lnTo>
                    <a:lnTo>
                      <a:pt x="6" y="12"/>
                    </a:lnTo>
                    <a:lnTo>
                      <a:pt x="8" y="10"/>
                    </a:lnTo>
                    <a:lnTo>
                      <a:pt x="10" y="6"/>
                    </a:lnTo>
                    <a:lnTo>
                      <a:pt x="10" y="2"/>
                    </a:lnTo>
                    <a:lnTo>
                      <a:pt x="8" y="0"/>
                    </a:lnTo>
                    <a:lnTo>
                      <a:pt x="6"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5" name="Freeform 6002"/>
              <p:cNvSpPr>
                <a:spLocks/>
              </p:cNvSpPr>
              <p:nvPr/>
            </p:nvSpPr>
            <p:spPr bwMode="auto">
              <a:xfrm>
                <a:off x="5332243" y="4613456"/>
                <a:ext cx="13274" cy="14930"/>
              </a:xfrm>
              <a:custGeom>
                <a:avLst/>
                <a:gdLst>
                  <a:gd name="T0" fmla="*/ 2147483647 w 18"/>
                  <a:gd name="T1" fmla="*/ 2147483647 h 28"/>
                  <a:gd name="T2" fmla="*/ 2147483647 w 18"/>
                  <a:gd name="T3" fmla="*/ 2147483647 h 28"/>
                  <a:gd name="T4" fmla="*/ 2147483647 w 18"/>
                  <a:gd name="T5" fmla="*/ 2147483647 h 28"/>
                  <a:gd name="T6" fmla="*/ 2147483647 w 18"/>
                  <a:gd name="T7" fmla="*/ 2147483647 h 28"/>
                  <a:gd name="T8" fmla="*/ 2147483647 w 18"/>
                  <a:gd name="T9" fmla="*/ 2147483647 h 28"/>
                  <a:gd name="T10" fmla="*/ 2147483647 w 18"/>
                  <a:gd name="T11" fmla="*/ 2147483647 h 28"/>
                  <a:gd name="T12" fmla="*/ 2147483647 w 18"/>
                  <a:gd name="T13" fmla="*/ 2147483647 h 28"/>
                  <a:gd name="T14" fmla="*/ 2147483647 w 18"/>
                  <a:gd name="T15" fmla="*/ 2147483647 h 28"/>
                  <a:gd name="T16" fmla="*/ 2147483647 w 18"/>
                  <a:gd name="T17" fmla="*/ 2147483647 h 28"/>
                  <a:gd name="T18" fmla="*/ 2147483647 w 18"/>
                  <a:gd name="T19" fmla="*/ 0 h 28"/>
                  <a:gd name="T20" fmla="*/ 2147483647 w 18"/>
                  <a:gd name="T21" fmla="*/ 2147483647 h 28"/>
                  <a:gd name="T22" fmla="*/ 2147483647 w 18"/>
                  <a:gd name="T23" fmla="*/ 2147483647 h 28"/>
                  <a:gd name="T24" fmla="*/ 0 w 18"/>
                  <a:gd name="T25" fmla="*/ 2147483647 h 28"/>
                  <a:gd name="T26" fmla="*/ 0 w 18"/>
                  <a:gd name="T27" fmla="*/ 2147483647 h 28"/>
                  <a:gd name="T28" fmla="*/ 2147483647 w 18"/>
                  <a:gd name="T29" fmla="*/ 2147483647 h 28"/>
                  <a:gd name="T30" fmla="*/ 2147483647 w 18"/>
                  <a:gd name="T31" fmla="*/ 2147483647 h 28"/>
                  <a:gd name="T32" fmla="*/ 2147483647 w 18"/>
                  <a:gd name="T33" fmla="*/ 2147483647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8"/>
                  <a:gd name="T53" fmla="*/ 18 w 18"/>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8">
                    <a:moveTo>
                      <a:pt x="10" y="28"/>
                    </a:moveTo>
                    <a:lnTo>
                      <a:pt x="10" y="28"/>
                    </a:lnTo>
                    <a:lnTo>
                      <a:pt x="14" y="26"/>
                    </a:lnTo>
                    <a:lnTo>
                      <a:pt x="16" y="24"/>
                    </a:lnTo>
                    <a:lnTo>
                      <a:pt x="18" y="22"/>
                    </a:lnTo>
                    <a:lnTo>
                      <a:pt x="18" y="20"/>
                    </a:lnTo>
                    <a:lnTo>
                      <a:pt x="16" y="12"/>
                    </a:lnTo>
                    <a:lnTo>
                      <a:pt x="14" y="2"/>
                    </a:lnTo>
                    <a:lnTo>
                      <a:pt x="12" y="0"/>
                    </a:lnTo>
                    <a:lnTo>
                      <a:pt x="10" y="2"/>
                    </a:lnTo>
                    <a:lnTo>
                      <a:pt x="2" y="12"/>
                    </a:lnTo>
                    <a:lnTo>
                      <a:pt x="0" y="18"/>
                    </a:lnTo>
                    <a:lnTo>
                      <a:pt x="0" y="24"/>
                    </a:lnTo>
                    <a:lnTo>
                      <a:pt x="2" y="28"/>
                    </a:lnTo>
                    <a:lnTo>
                      <a:pt x="10" y="2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6" name="Freeform 6003"/>
              <p:cNvSpPr>
                <a:spLocks/>
              </p:cNvSpPr>
              <p:nvPr/>
            </p:nvSpPr>
            <p:spPr bwMode="auto">
              <a:xfrm>
                <a:off x="5284125" y="4639999"/>
                <a:ext cx="14933" cy="13272"/>
              </a:xfrm>
              <a:custGeom>
                <a:avLst/>
                <a:gdLst>
                  <a:gd name="T0" fmla="*/ 0 w 26"/>
                  <a:gd name="T1" fmla="*/ 2147483647 h 24"/>
                  <a:gd name="T2" fmla="*/ 0 w 26"/>
                  <a:gd name="T3" fmla="*/ 2147483647 h 24"/>
                  <a:gd name="T4" fmla="*/ 0 w 26"/>
                  <a:gd name="T5" fmla="*/ 2147483647 h 24"/>
                  <a:gd name="T6" fmla="*/ 2147483647 w 26"/>
                  <a:gd name="T7" fmla="*/ 2147483647 h 24"/>
                  <a:gd name="T8" fmla="*/ 2147483647 w 26"/>
                  <a:gd name="T9" fmla="*/ 2147483647 h 24"/>
                  <a:gd name="T10" fmla="*/ 2147483647 w 26"/>
                  <a:gd name="T11" fmla="*/ 2147483647 h 24"/>
                  <a:gd name="T12" fmla="*/ 2147483647 w 26"/>
                  <a:gd name="T13" fmla="*/ 2147483647 h 24"/>
                  <a:gd name="T14" fmla="*/ 2147483647 w 26"/>
                  <a:gd name="T15" fmla="*/ 2147483647 h 24"/>
                  <a:gd name="T16" fmla="*/ 2147483647 w 26"/>
                  <a:gd name="T17" fmla="*/ 2147483647 h 24"/>
                  <a:gd name="T18" fmla="*/ 2147483647 w 26"/>
                  <a:gd name="T19" fmla="*/ 2147483647 h 24"/>
                  <a:gd name="T20" fmla="*/ 2147483647 w 26"/>
                  <a:gd name="T21" fmla="*/ 2147483647 h 24"/>
                  <a:gd name="T22" fmla="*/ 2147483647 w 26"/>
                  <a:gd name="T23" fmla="*/ 2147483647 h 24"/>
                  <a:gd name="T24" fmla="*/ 2147483647 w 26"/>
                  <a:gd name="T25" fmla="*/ 2147483647 h 24"/>
                  <a:gd name="T26" fmla="*/ 2147483647 w 26"/>
                  <a:gd name="T27" fmla="*/ 2147483647 h 24"/>
                  <a:gd name="T28" fmla="*/ 2147483647 w 26"/>
                  <a:gd name="T29" fmla="*/ 2147483647 h 24"/>
                  <a:gd name="T30" fmla="*/ 2147483647 w 26"/>
                  <a:gd name="T31" fmla="*/ 0 h 24"/>
                  <a:gd name="T32" fmla="*/ 2147483647 w 26"/>
                  <a:gd name="T33" fmla="*/ 2147483647 h 24"/>
                  <a:gd name="T34" fmla="*/ 0 w 26"/>
                  <a:gd name="T35" fmla="*/ 2147483647 h 24"/>
                  <a:gd name="T36" fmla="*/ 0 w 26"/>
                  <a:gd name="T37" fmla="*/ 2147483647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24"/>
                  <a:gd name="T59" fmla="*/ 26 w 26"/>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24">
                    <a:moveTo>
                      <a:pt x="0" y="4"/>
                    </a:moveTo>
                    <a:lnTo>
                      <a:pt x="0" y="4"/>
                    </a:lnTo>
                    <a:lnTo>
                      <a:pt x="0" y="8"/>
                    </a:lnTo>
                    <a:lnTo>
                      <a:pt x="2" y="12"/>
                    </a:lnTo>
                    <a:lnTo>
                      <a:pt x="8" y="20"/>
                    </a:lnTo>
                    <a:lnTo>
                      <a:pt x="12" y="22"/>
                    </a:lnTo>
                    <a:lnTo>
                      <a:pt x="16" y="24"/>
                    </a:lnTo>
                    <a:lnTo>
                      <a:pt x="20" y="22"/>
                    </a:lnTo>
                    <a:lnTo>
                      <a:pt x="24" y="20"/>
                    </a:lnTo>
                    <a:lnTo>
                      <a:pt x="26" y="16"/>
                    </a:lnTo>
                    <a:lnTo>
                      <a:pt x="26" y="12"/>
                    </a:lnTo>
                    <a:lnTo>
                      <a:pt x="22" y="8"/>
                    </a:lnTo>
                    <a:lnTo>
                      <a:pt x="18" y="4"/>
                    </a:lnTo>
                    <a:lnTo>
                      <a:pt x="14" y="2"/>
                    </a:lnTo>
                    <a:lnTo>
                      <a:pt x="8" y="0"/>
                    </a:lnTo>
                    <a:lnTo>
                      <a:pt x="4" y="2"/>
                    </a:lnTo>
                    <a:lnTo>
                      <a:pt x="0"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7" name="Freeform 6007"/>
              <p:cNvSpPr>
                <a:spLocks/>
              </p:cNvSpPr>
              <p:nvPr/>
            </p:nvSpPr>
            <p:spPr bwMode="auto">
              <a:xfrm>
                <a:off x="3226617" y="4006279"/>
                <a:ext cx="4977" cy="11612"/>
              </a:xfrm>
              <a:custGeom>
                <a:avLst/>
                <a:gdLst>
                  <a:gd name="T0" fmla="*/ 2147483647 w 10"/>
                  <a:gd name="T1" fmla="*/ 2147483647 h 16"/>
                  <a:gd name="T2" fmla="*/ 2147483647 w 10"/>
                  <a:gd name="T3" fmla="*/ 2147483647 h 16"/>
                  <a:gd name="T4" fmla="*/ 2147483647 w 10"/>
                  <a:gd name="T5" fmla="*/ 2147483647 h 16"/>
                  <a:gd name="T6" fmla="*/ 2147483647 w 10"/>
                  <a:gd name="T7" fmla="*/ 2147483647 h 16"/>
                  <a:gd name="T8" fmla="*/ 2147483647 w 10"/>
                  <a:gd name="T9" fmla="*/ 2147483647 h 16"/>
                  <a:gd name="T10" fmla="*/ 2147483647 w 10"/>
                  <a:gd name="T11" fmla="*/ 2147483647 h 16"/>
                  <a:gd name="T12" fmla="*/ 2147483647 w 10"/>
                  <a:gd name="T13" fmla="*/ 0 h 16"/>
                  <a:gd name="T14" fmla="*/ 2147483647 w 10"/>
                  <a:gd name="T15" fmla="*/ 0 h 16"/>
                  <a:gd name="T16" fmla="*/ 2147483647 w 10"/>
                  <a:gd name="T17" fmla="*/ 2147483647 h 16"/>
                  <a:gd name="T18" fmla="*/ 2147483647 w 10"/>
                  <a:gd name="T19" fmla="*/ 2147483647 h 16"/>
                  <a:gd name="T20" fmla="*/ 2147483647 w 10"/>
                  <a:gd name="T21" fmla="*/ 2147483647 h 16"/>
                  <a:gd name="T22" fmla="*/ 0 w 10"/>
                  <a:gd name="T23" fmla="*/ 2147483647 h 16"/>
                  <a:gd name="T24" fmla="*/ 2147483647 w 10"/>
                  <a:gd name="T25" fmla="*/ 2147483647 h 16"/>
                  <a:gd name="T26" fmla="*/ 2147483647 w 10"/>
                  <a:gd name="T27" fmla="*/ 2147483647 h 16"/>
                  <a:gd name="T28" fmla="*/ 2147483647 w 10"/>
                  <a:gd name="T29" fmla="*/ 2147483647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16"/>
                  <a:gd name="T47" fmla="*/ 10 w 10"/>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16">
                    <a:moveTo>
                      <a:pt x="6" y="16"/>
                    </a:moveTo>
                    <a:lnTo>
                      <a:pt x="6" y="16"/>
                    </a:lnTo>
                    <a:lnTo>
                      <a:pt x="8" y="16"/>
                    </a:lnTo>
                    <a:lnTo>
                      <a:pt x="10" y="12"/>
                    </a:lnTo>
                    <a:lnTo>
                      <a:pt x="6" y="4"/>
                    </a:lnTo>
                    <a:lnTo>
                      <a:pt x="4" y="0"/>
                    </a:lnTo>
                    <a:lnTo>
                      <a:pt x="4" y="6"/>
                    </a:lnTo>
                    <a:lnTo>
                      <a:pt x="2" y="10"/>
                    </a:lnTo>
                    <a:lnTo>
                      <a:pt x="0" y="14"/>
                    </a:lnTo>
                    <a:lnTo>
                      <a:pt x="2" y="16"/>
                    </a:lnTo>
                    <a:lnTo>
                      <a:pt x="6" y="1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8" name="Freeform 6137"/>
              <p:cNvSpPr>
                <a:spLocks/>
              </p:cNvSpPr>
              <p:nvPr/>
            </p:nvSpPr>
            <p:spPr bwMode="auto">
              <a:xfrm>
                <a:off x="4159133" y="4039458"/>
                <a:ext cx="6637" cy="9954"/>
              </a:xfrm>
              <a:custGeom>
                <a:avLst/>
                <a:gdLst>
                  <a:gd name="T0" fmla="*/ 2147483647 w 12"/>
                  <a:gd name="T1" fmla="*/ 0 h 18"/>
                  <a:gd name="T2" fmla="*/ 2147483647 w 12"/>
                  <a:gd name="T3" fmla="*/ 0 h 18"/>
                  <a:gd name="T4" fmla="*/ 2147483647 w 12"/>
                  <a:gd name="T5" fmla="*/ 0 h 18"/>
                  <a:gd name="T6" fmla="*/ 2147483647 w 12"/>
                  <a:gd name="T7" fmla="*/ 0 h 18"/>
                  <a:gd name="T8" fmla="*/ 0 w 12"/>
                  <a:gd name="T9" fmla="*/ 2147483647 h 18"/>
                  <a:gd name="T10" fmla="*/ 0 w 12"/>
                  <a:gd name="T11" fmla="*/ 2147483647 h 18"/>
                  <a:gd name="T12" fmla="*/ 2147483647 w 12"/>
                  <a:gd name="T13" fmla="*/ 2147483647 h 18"/>
                  <a:gd name="T14" fmla="*/ 2147483647 w 12"/>
                  <a:gd name="T15" fmla="*/ 2147483647 h 18"/>
                  <a:gd name="T16" fmla="*/ 2147483647 w 12"/>
                  <a:gd name="T17" fmla="*/ 2147483647 h 18"/>
                  <a:gd name="T18" fmla="*/ 2147483647 w 12"/>
                  <a:gd name="T19" fmla="*/ 2147483647 h 18"/>
                  <a:gd name="T20" fmla="*/ 2147483647 w 12"/>
                  <a:gd name="T21" fmla="*/ 2147483647 h 18"/>
                  <a:gd name="T22" fmla="*/ 2147483647 w 12"/>
                  <a:gd name="T23" fmla="*/ 2147483647 h 18"/>
                  <a:gd name="T24" fmla="*/ 2147483647 w 12"/>
                  <a:gd name="T25" fmla="*/ 2147483647 h 18"/>
                  <a:gd name="T26" fmla="*/ 2147483647 w 12"/>
                  <a:gd name="T27" fmla="*/ 0 h 18"/>
                  <a:gd name="T28" fmla="*/ 2147483647 w 12"/>
                  <a:gd name="T29" fmla="*/ 0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18"/>
                  <a:gd name="T47" fmla="*/ 12 w 12"/>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18">
                    <a:moveTo>
                      <a:pt x="10" y="0"/>
                    </a:moveTo>
                    <a:lnTo>
                      <a:pt x="10" y="0"/>
                    </a:lnTo>
                    <a:lnTo>
                      <a:pt x="6" y="0"/>
                    </a:lnTo>
                    <a:lnTo>
                      <a:pt x="4" y="0"/>
                    </a:lnTo>
                    <a:lnTo>
                      <a:pt x="0" y="6"/>
                    </a:lnTo>
                    <a:lnTo>
                      <a:pt x="0" y="14"/>
                    </a:lnTo>
                    <a:lnTo>
                      <a:pt x="2" y="18"/>
                    </a:lnTo>
                    <a:lnTo>
                      <a:pt x="4" y="18"/>
                    </a:lnTo>
                    <a:lnTo>
                      <a:pt x="6" y="16"/>
                    </a:lnTo>
                    <a:lnTo>
                      <a:pt x="10" y="10"/>
                    </a:lnTo>
                    <a:lnTo>
                      <a:pt x="12" y="4"/>
                    </a:lnTo>
                    <a:lnTo>
                      <a:pt x="12" y="2"/>
                    </a:lnTo>
                    <a:lnTo>
                      <a:pt x="1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9" name="Freeform 6139"/>
              <p:cNvSpPr>
                <a:spLocks/>
              </p:cNvSpPr>
              <p:nvPr/>
            </p:nvSpPr>
            <p:spPr bwMode="auto">
              <a:xfrm>
                <a:off x="5007024" y="4369589"/>
                <a:ext cx="4978" cy="13272"/>
              </a:xfrm>
              <a:custGeom>
                <a:avLst/>
                <a:gdLst>
                  <a:gd name="T0" fmla="*/ 2147483647 w 10"/>
                  <a:gd name="T1" fmla="*/ 2147483647 h 28"/>
                  <a:gd name="T2" fmla="*/ 2147483647 w 10"/>
                  <a:gd name="T3" fmla="*/ 2147483647 h 28"/>
                  <a:gd name="T4" fmla="*/ 2147483647 w 10"/>
                  <a:gd name="T5" fmla="*/ 2147483647 h 28"/>
                  <a:gd name="T6" fmla="*/ 2147483647 w 10"/>
                  <a:gd name="T7" fmla="*/ 2147483647 h 28"/>
                  <a:gd name="T8" fmla="*/ 2147483647 w 10"/>
                  <a:gd name="T9" fmla="*/ 2147483647 h 28"/>
                  <a:gd name="T10" fmla="*/ 2147483647 w 10"/>
                  <a:gd name="T11" fmla="*/ 2147483647 h 28"/>
                  <a:gd name="T12" fmla="*/ 2147483647 w 10"/>
                  <a:gd name="T13" fmla="*/ 0 h 28"/>
                  <a:gd name="T14" fmla="*/ 2147483647 w 10"/>
                  <a:gd name="T15" fmla="*/ 0 h 28"/>
                  <a:gd name="T16" fmla="*/ 2147483647 w 10"/>
                  <a:gd name="T17" fmla="*/ 0 h 28"/>
                  <a:gd name="T18" fmla="*/ 0 w 10"/>
                  <a:gd name="T19" fmla="*/ 2147483647 h 28"/>
                  <a:gd name="T20" fmla="*/ 0 w 10"/>
                  <a:gd name="T21" fmla="*/ 2147483647 h 28"/>
                  <a:gd name="T22" fmla="*/ 2147483647 w 10"/>
                  <a:gd name="T23" fmla="*/ 2147483647 h 28"/>
                  <a:gd name="T24" fmla="*/ 2147483647 w 10"/>
                  <a:gd name="T25" fmla="*/ 2147483647 h 28"/>
                  <a:gd name="T26" fmla="*/ 2147483647 w 10"/>
                  <a:gd name="T27" fmla="*/ 2147483647 h 28"/>
                  <a:gd name="T28" fmla="*/ 2147483647 w 10"/>
                  <a:gd name="T29" fmla="*/ 2147483647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28"/>
                  <a:gd name="T47" fmla="*/ 10 w 10"/>
                  <a:gd name="T48" fmla="*/ 28 h 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28">
                    <a:moveTo>
                      <a:pt x="8" y="28"/>
                    </a:moveTo>
                    <a:lnTo>
                      <a:pt x="8" y="28"/>
                    </a:lnTo>
                    <a:lnTo>
                      <a:pt x="10" y="28"/>
                    </a:lnTo>
                    <a:lnTo>
                      <a:pt x="10" y="24"/>
                    </a:lnTo>
                    <a:lnTo>
                      <a:pt x="10" y="12"/>
                    </a:lnTo>
                    <a:lnTo>
                      <a:pt x="8" y="2"/>
                    </a:lnTo>
                    <a:lnTo>
                      <a:pt x="6" y="0"/>
                    </a:lnTo>
                    <a:lnTo>
                      <a:pt x="4" y="0"/>
                    </a:lnTo>
                    <a:lnTo>
                      <a:pt x="0" y="6"/>
                    </a:lnTo>
                    <a:lnTo>
                      <a:pt x="0" y="16"/>
                    </a:lnTo>
                    <a:lnTo>
                      <a:pt x="2" y="24"/>
                    </a:lnTo>
                    <a:lnTo>
                      <a:pt x="4" y="26"/>
                    </a:lnTo>
                    <a:lnTo>
                      <a:pt x="8" y="2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0" name="Freeform 6140"/>
              <p:cNvSpPr>
                <a:spLocks/>
              </p:cNvSpPr>
              <p:nvPr/>
            </p:nvSpPr>
            <p:spPr bwMode="auto">
              <a:xfrm>
                <a:off x="4212230" y="3946557"/>
                <a:ext cx="4977" cy="8294"/>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2147483647 w 10"/>
                  <a:gd name="T9" fmla="*/ 2147483647 h 14"/>
                  <a:gd name="T10" fmla="*/ 2147483647 w 10"/>
                  <a:gd name="T11" fmla="*/ 0 h 14"/>
                  <a:gd name="T12" fmla="*/ 2147483647 w 10"/>
                  <a:gd name="T13" fmla="*/ 0 h 14"/>
                  <a:gd name="T14" fmla="*/ 0 w 10"/>
                  <a:gd name="T15" fmla="*/ 2147483647 h 14"/>
                  <a:gd name="T16" fmla="*/ 2147483647 w 10"/>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4"/>
                  <a:gd name="T29" fmla="*/ 10 w 1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4">
                    <a:moveTo>
                      <a:pt x="8" y="14"/>
                    </a:moveTo>
                    <a:lnTo>
                      <a:pt x="8" y="14"/>
                    </a:lnTo>
                    <a:lnTo>
                      <a:pt x="10" y="10"/>
                    </a:lnTo>
                    <a:lnTo>
                      <a:pt x="10" y="6"/>
                    </a:lnTo>
                    <a:lnTo>
                      <a:pt x="10" y="2"/>
                    </a:lnTo>
                    <a:lnTo>
                      <a:pt x="8" y="0"/>
                    </a:lnTo>
                    <a:lnTo>
                      <a:pt x="4" y="0"/>
                    </a:lnTo>
                    <a:lnTo>
                      <a:pt x="0" y="4"/>
                    </a:lnTo>
                    <a:lnTo>
                      <a:pt x="8" y="1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1" name="Freeform 6142"/>
              <p:cNvSpPr>
                <a:spLocks/>
              </p:cNvSpPr>
              <p:nvPr/>
            </p:nvSpPr>
            <p:spPr bwMode="auto">
              <a:xfrm>
                <a:off x="4212230" y="3946557"/>
                <a:ext cx="4977" cy="8294"/>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2147483647 w 10"/>
                  <a:gd name="T9" fmla="*/ 2147483647 h 14"/>
                  <a:gd name="T10" fmla="*/ 2147483647 w 10"/>
                  <a:gd name="T11" fmla="*/ 0 h 14"/>
                  <a:gd name="T12" fmla="*/ 2147483647 w 10"/>
                  <a:gd name="T13" fmla="*/ 0 h 14"/>
                  <a:gd name="T14" fmla="*/ 0 w 10"/>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4"/>
                  <a:gd name="T26" fmla="*/ 10 w 1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4">
                    <a:moveTo>
                      <a:pt x="8" y="14"/>
                    </a:moveTo>
                    <a:lnTo>
                      <a:pt x="8" y="14"/>
                    </a:lnTo>
                    <a:lnTo>
                      <a:pt x="10" y="10"/>
                    </a:lnTo>
                    <a:lnTo>
                      <a:pt x="10" y="6"/>
                    </a:lnTo>
                    <a:lnTo>
                      <a:pt x="10" y="2"/>
                    </a:lnTo>
                    <a:lnTo>
                      <a:pt x="8" y="0"/>
                    </a:lnTo>
                    <a:lnTo>
                      <a:pt x="4" y="0"/>
                    </a:lnTo>
                    <a:lnTo>
                      <a:pt x="0" y="4"/>
                    </a:lnTo>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2" name="Freeform 6143"/>
              <p:cNvSpPr>
                <a:spLocks/>
              </p:cNvSpPr>
              <p:nvPr/>
            </p:nvSpPr>
            <p:spPr bwMode="auto">
              <a:xfrm>
                <a:off x="3229936" y="4004620"/>
                <a:ext cx="6637" cy="6636"/>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2147483647 w 10"/>
                  <a:gd name="T9" fmla="*/ 2147483647 h 14"/>
                  <a:gd name="T10" fmla="*/ 2147483647 w 10"/>
                  <a:gd name="T11" fmla="*/ 0 h 14"/>
                  <a:gd name="T12" fmla="*/ 2147483647 w 10"/>
                  <a:gd name="T13" fmla="*/ 2147483647 h 14"/>
                  <a:gd name="T14" fmla="*/ 2147483647 w 10"/>
                  <a:gd name="T15" fmla="*/ 2147483647 h 14"/>
                  <a:gd name="T16" fmla="*/ 2147483647 w 10"/>
                  <a:gd name="T17" fmla="*/ 2147483647 h 14"/>
                  <a:gd name="T18" fmla="*/ 0 w 10"/>
                  <a:gd name="T19" fmla="*/ 2147483647 h 14"/>
                  <a:gd name="T20" fmla="*/ 0 w 10"/>
                  <a:gd name="T21" fmla="*/ 2147483647 h 14"/>
                  <a:gd name="T22" fmla="*/ 2147483647 w 10"/>
                  <a:gd name="T23" fmla="*/ 2147483647 h 14"/>
                  <a:gd name="T24" fmla="*/ 2147483647 w 10"/>
                  <a:gd name="T25" fmla="*/ 2147483647 h 14"/>
                  <a:gd name="T26" fmla="*/ 2147483647 w 10"/>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4"/>
                  <a:gd name="T44" fmla="*/ 10 w 1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4">
                    <a:moveTo>
                      <a:pt x="6" y="14"/>
                    </a:moveTo>
                    <a:lnTo>
                      <a:pt x="6" y="14"/>
                    </a:lnTo>
                    <a:lnTo>
                      <a:pt x="10" y="10"/>
                    </a:lnTo>
                    <a:lnTo>
                      <a:pt x="10" y="4"/>
                    </a:lnTo>
                    <a:lnTo>
                      <a:pt x="10" y="2"/>
                    </a:lnTo>
                    <a:lnTo>
                      <a:pt x="8" y="0"/>
                    </a:lnTo>
                    <a:lnTo>
                      <a:pt x="6" y="2"/>
                    </a:lnTo>
                    <a:lnTo>
                      <a:pt x="2" y="4"/>
                    </a:lnTo>
                    <a:lnTo>
                      <a:pt x="0" y="6"/>
                    </a:lnTo>
                    <a:lnTo>
                      <a:pt x="0" y="10"/>
                    </a:lnTo>
                    <a:lnTo>
                      <a:pt x="4" y="14"/>
                    </a:lnTo>
                    <a:lnTo>
                      <a:pt x="6" y="1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3" name="Freeform 6145"/>
              <p:cNvSpPr>
                <a:spLocks/>
              </p:cNvSpPr>
              <p:nvPr/>
            </p:nvSpPr>
            <p:spPr bwMode="auto">
              <a:xfrm>
                <a:off x="3206706" y="4027845"/>
                <a:ext cx="4977" cy="8295"/>
              </a:xfrm>
              <a:custGeom>
                <a:avLst/>
                <a:gdLst>
                  <a:gd name="T0" fmla="*/ 2147483647 w 8"/>
                  <a:gd name="T1" fmla="*/ 0 h 14"/>
                  <a:gd name="T2" fmla="*/ 2147483647 w 8"/>
                  <a:gd name="T3" fmla="*/ 0 h 14"/>
                  <a:gd name="T4" fmla="*/ 2147483647 w 8"/>
                  <a:gd name="T5" fmla="*/ 2147483647 h 14"/>
                  <a:gd name="T6" fmla="*/ 0 w 8"/>
                  <a:gd name="T7" fmla="*/ 2147483647 h 14"/>
                  <a:gd name="T8" fmla="*/ 0 w 8"/>
                  <a:gd name="T9" fmla="*/ 2147483647 h 14"/>
                  <a:gd name="T10" fmla="*/ 0 w 8"/>
                  <a:gd name="T11" fmla="*/ 2147483647 h 14"/>
                  <a:gd name="T12" fmla="*/ 2147483647 w 8"/>
                  <a:gd name="T13" fmla="*/ 2147483647 h 14"/>
                  <a:gd name="T14" fmla="*/ 2147483647 w 8"/>
                  <a:gd name="T15" fmla="*/ 2147483647 h 14"/>
                  <a:gd name="T16" fmla="*/ 2147483647 w 8"/>
                  <a:gd name="T17" fmla="*/ 2147483647 h 14"/>
                  <a:gd name="T18" fmla="*/ 2147483647 w 8"/>
                  <a:gd name="T19" fmla="*/ 2147483647 h 14"/>
                  <a:gd name="T20" fmla="*/ 2147483647 w 8"/>
                  <a:gd name="T21" fmla="*/ 0 h 14"/>
                  <a:gd name="T22" fmla="*/ 2147483647 w 8"/>
                  <a:gd name="T23" fmla="*/ 0 h 14"/>
                  <a:gd name="T24" fmla="*/ 2147483647 w 8"/>
                  <a:gd name="T25" fmla="*/ 0 h 14"/>
                  <a:gd name="T26" fmla="*/ 2147483647 w 8"/>
                  <a:gd name="T27" fmla="*/ 0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14"/>
                  <a:gd name="T44" fmla="*/ 8 w 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14">
                    <a:moveTo>
                      <a:pt x="6" y="0"/>
                    </a:moveTo>
                    <a:lnTo>
                      <a:pt x="6" y="0"/>
                    </a:lnTo>
                    <a:lnTo>
                      <a:pt x="2" y="2"/>
                    </a:lnTo>
                    <a:lnTo>
                      <a:pt x="0" y="8"/>
                    </a:lnTo>
                    <a:lnTo>
                      <a:pt x="0" y="12"/>
                    </a:lnTo>
                    <a:lnTo>
                      <a:pt x="0" y="14"/>
                    </a:lnTo>
                    <a:lnTo>
                      <a:pt x="2" y="14"/>
                    </a:lnTo>
                    <a:lnTo>
                      <a:pt x="4" y="12"/>
                    </a:lnTo>
                    <a:lnTo>
                      <a:pt x="8" y="6"/>
                    </a:lnTo>
                    <a:lnTo>
                      <a:pt x="8" y="0"/>
                    </a:lnTo>
                    <a:lnTo>
                      <a:pt x="6"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4" name="Freeform 6146"/>
              <p:cNvSpPr>
                <a:spLocks/>
              </p:cNvSpPr>
              <p:nvPr/>
            </p:nvSpPr>
            <p:spPr bwMode="auto">
              <a:xfrm>
                <a:off x="3213343" y="4037799"/>
                <a:ext cx="4977" cy="6636"/>
              </a:xfrm>
              <a:custGeom>
                <a:avLst/>
                <a:gdLst>
                  <a:gd name="T0" fmla="*/ 2147483647 w 10"/>
                  <a:gd name="T1" fmla="*/ 2147483647 h 10"/>
                  <a:gd name="T2" fmla="*/ 2147483647 w 10"/>
                  <a:gd name="T3" fmla="*/ 2147483647 h 10"/>
                  <a:gd name="T4" fmla="*/ 2147483647 w 10"/>
                  <a:gd name="T5" fmla="*/ 0 h 10"/>
                  <a:gd name="T6" fmla="*/ 2147483647 w 10"/>
                  <a:gd name="T7" fmla="*/ 0 h 10"/>
                  <a:gd name="T8" fmla="*/ 2147483647 w 10"/>
                  <a:gd name="T9" fmla="*/ 2147483647 h 10"/>
                  <a:gd name="T10" fmla="*/ 0 w 10"/>
                  <a:gd name="T11" fmla="*/ 2147483647 h 10"/>
                  <a:gd name="T12" fmla="*/ 0 w 10"/>
                  <a:gd name="T13" fmla="*/ 2147483647 h 10"/>
                  <a:gd name="T14" fmla="*/ 2147483647 w 10"/>
                  <a:gd name="T15" fmla="*/ 2147483647 h 10"/>
                  <a:gd name="T16" fmla="*/ 2147483647 w 10"/>
                  <a:gd name="T17" fmla="*/ 2147483647 h 10"/>
                  <a:gd name="T18" fmla="*/ 2147483647 w 10"/>
                  <a:gd name="T19" fmla="*/ 2147483647 h 10"/>
                  <a:gd name="T20" fmla="*/ 2147483647 w 10"/>
                  <a:gd name="T21" fmla="*/ 2147483647 h 10"/>
                  <a:gd name="T22" fmla="*/ 2147483647 w 10"/>
                  <a:gd name="T23" fmla="*/ 2147483647 h 10"/>
                  <a:gd name="T24" fmla="*/ 2147483647 w 10"/>
                  <a:gd name="T25" fmla="*/ 2147483647 h 10"/>
                  <a:gd name="T26" fmla="*/ 2147483647 w 10"/>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0"/>
                  <a:gd name="T44" fmla="*/ 10 w 10"/>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0">
                    <a:moveTo>
                      <a:pt x="10" y="2"/>
                    </a:moveTo>
                    <a:lnTo>
                      <a:pt x="10" y="2"/>
                    </a:lnTo>
                    <a:lnTo>
                      <a:pt x="10" y="0"/>
                    </a:lnTo>
                    <a:lnTo>
                      <a:pt x="8" y="0"/>
                    </a:lnTo>
                    <a:lnTo>
                      <a:pt x="4" y="4"/>
                    </a:lnTo>
                    <a:lnTo>
                      <a:pt x="0" y="8"/>
                    </a:lnTo>
                    <a:lnTo>
                      <a:pt x="2" y="10"/>
                    </a:lnTo>
                    <a:lnTo>
                      <a:pt x="4" y="10"/>
                    </a:lnTo>
                    <a:lnTo>
                      <a:pt x="8" y="8"/>
                    </a:lnTo>
                    <a:lnTo>
                      <a:pt x="10" y="4"/>
                    </a:lnTo>
                    <a:lnTo>
                      <a:pt x="1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5" name="Freeform 6147"/>
              <p:cNvSpPr>
                <a:spLocks/>
              </p:cNvSpPr>
              <p:nvPr/>
            </p:nvSpPr>
            <p:spPr bwMode="auto">
              <a:xfrm>
                <a:off x="3231595" y="3999644"/>
                <a:ext cx="6637" cy="1658"/>
              </a:xfrm>
              <a:custGeom>
                <a:avLst/>
                <a:gdLst>
                  <a:gd name="T0" fmla="*/ 0 w 10"/>
                  <a:gd name="T1" fmla="*/ 2147483647 h 6"/>
                  <a:gd name="T2" fmla="*/ 0 w 10"/>
                  <a:gd name="T3" fmla="*/ 2147483647 h 6"/>
                  <a:gd name="T4" fmla="*/ 0 w 10"/>
                  <a:gd name="T5" fmla="*/ 2147483647 h 6"/>
                  <a:gd name="T6" fmla="*/ 0 w 10"/>
                  <a:gd name="T7" fmla="*/ 2147483647 h 6"/>
                  <a:gd name="T8" fmla="*/ 2147483647 w 10"/>
                  <a:gd name="T9" fmla="*/ 2147483647 h 6"/>
                  <a:gd name="T10" fmla="*/ 2147483647 w 10"/>
                  <a:gd name="T11" fmla="*/ 2147483647 h 6"/>
                  <a:gd name="T12" fmla="*/ 2147483647 w 10"/>
                  <a:gd name="T13" fmla="*/ 0 h 6"/>
                  <a:gd name="T14" fmla="*/ 2147483647 w 10"/>
                  <a:gd name="T15" fmla="*/ 0 h 6"/>
                  <a:gd name="T16" fmla="*/ 2147483647 w 10"/>
                  <a:gd name="T17" fmla="*/ 0 h 6"/>
                  <a:gd name="T18" fmla="*/ 2147483647 w 10"/>
                  <a:gd name="T19" fmla="*/ 0 h 6"/>
                  <a:gd name="T20" fmla="*/ 2147483647 w 10"/>
                  <a:gd name="T21" fmla="*/ 2147483647 h 6"/>
                  <a:gd name="T22" fmla="*/ 0 w 10"/>
                  <a:gd name="T23" fmla="*/ 2147483647 h 6"/>
                  <a:gd name="T24" fmla="*/ 0 w 10"/>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6"/>
                  <a:gd name="T41" fmla="*/ 10 w 10"/>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6">
                    <a:moveTo>
                      <a:pt x="0" y="6"/>
                    </a:moveTo>
                    <a:lnTo>
                      <a:pt x="0" y="6"/>
                    </a:lnTo>
                    <a:lnTo>
                      <a:pt x="4" y="6"/>
                    </a:lnTo>
                    <a:lnTo>
                      <a:pt x="8" y="4"/>
                    </a:lnTo>
                    <a:lnTo>
                      <a:pt x="10" y="0"/>
                    </a:lnTo>
                    <a:lnTo>
                      <a:pt x="8" y="0"/>
                    </a:lnTo>
                    <a:lnTo>
                      <a:pt x="4" y="0"/>
                    </a:lnTo>
                    <a:lnTo>
                      <a:pt x="2" y="2"/>
                    </a:lnTo>
                    <a:lnTo>
                      <a:pt x="0"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6" name="Freeform 6148"/>
              <p:cNvSpPr>
                <a:spLocks/>
              </p:cNvSpPr>
              <p:nvPr/>
            </p:nvSpPr>
            <p:spPr bwMode="auto">
              <a:xfrm>
                <a:off x="3213343" y="4034481"/>
                <a:ext cx="3319" cy="3318"/>
              </a:xfrm>
              <a:custGeom>
                <a:avLst/>
                <a:gdLst>
                  <a:gd name="T0" fmla="*/ 2147483647 w 8"/>
                  <a:gd name="T1" fmla="*/ 0 h 8"/>
                  <a:gd name="T2" fmla="*/ 2147483647 w 8"/>
                  <a:gd name="T3" fmla="*/ 0 h 8"/>
                  <a:gd name="T4" fmla="*/ 2147483647 w 8"/>
                  <a:gd name="T5" fmla="*/ 2147483647 h 8"/>
                  <a:gd name="T6" fmla="*/ 0 w 8"/>
                  <a:gd name="T7" fmla="*/ 2147483647 h 8"/>
                  <a:gd name="T8" fmla="*/ 0 w 8"/>
                  <a:gd name="T9" fmla="*/ 2147483647 h 8"/>
                  <a:gd name="T10" fmla="*/ 0 w 8"/>
                  <a:gd name="T11" fmla="*/ 2147483647 h 8"/>
                  <a:gd name="T12" fmla="*/ 0 w 8"/>
                  <a:gd name="T13" fmla="*/ 2147483647 h 8"/>
                  <a:gd name="T14" fmla="*/ 2147483647 w 8"/>
                  <a:gd name="T15" fmla="*/ 2147483647 h 8"/>
                  <a:gd name="T16" fmla="*/ 2147483647 w 8"/>
                  <a:gd name="T17" fmla="*/ 2147483647 h 8"/>
                  <a:gd name="T18" fmla="*/ 2147483647 w 8"/>
                  <a:gd name="T19" fmla="*/ 2147483647 h 8"/>
                  <a:gd name="T20" fmla="*/ 2147483647 w 8"/>
                  <a:gd name="T21" fmla="*/ 0 h 8"/>
                  <a:gd name="T22" fmla="*/ 2147483647 w 8"/>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8"/>
                  <a:gd name="T38" fmla="*/ 8 w 8"/>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8">
                    <a:moveTo>
                      <a:pt x="6" y="0"/>
                    </a:moveTo>
                    <a:lnTo>
                      <a:pt x="6" y="0"/>
                    </a:lnTo>
                    <a:lnTo>
                      <a:pt x="4" y="2"/>
                    </a:lnTo>
                    <a:lnTo>
                      <a:pt x="0" y="4"/>
                    </a:lnTo>
                    <a:lnTo>
                      <a:pt x="0" y="6"/>
                    </a:lnTo>
                    <a:lnTo>
                      <a:pt x="0" y="8"/>
                    </a:lnTo>
                    <a:lnTo>
                      <a:pt x="4" y="8"/>
                    </a:lnTo>
                    <a:lnTo>
                      <a:pt x="6" y="6"/>
                    </a:lnTo>
                    <a:lnTo>
                      <a:pt x="8" y="2"/>
                    </a:lnTo>
                    <a:lnTo>
                      <a:pt x="6"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7" name="Freeform 6151"/>
              <p:cNvSpPr>
                <a:spLocks noEditPoints="1"/>
              </p:cNvSpPr>
              <p:nvPr/>
            </p:nvSpPr>
            <p:spPr bwMode="auto">
              <a:xfrm>
                <a:off x="6621504" y="4051070"/>
                <a:ext cx="1539812" cy="1375272"/>
              </a:xfrm>
              <a:custGeom>
                <a:avLst/>
                <a:gdLst/>
                <a:ahLst/>
                <a:cxnLst>
                  <a:cxn ang="0">
                    <a:pos x="696" y="550"/>
                  </a:cxn>
                  <a:cxn ang="0">
                    <a:pos x="1634" y="564"/>
                  </a:cxn>
                  <a:cxn ang="0">
                    <a:pos x="1542" y="1182"/>
                  </a:cxn>
                  <a:cxn ang="0">
                    <a:pos x="1436" y="994"/>
                  </a:cxn>
                  <a:cxn ang="0">
                    <a:pos x="1244" y="702"/>
                  </a:cxn>
                  <a:cxn ang="0">
                    <a:pos x="1144" y="636"/>
                  </a:cxn>
                  <a:cxn ang="0">
                    <a:pos x="912" y="744"/>
                  </a:cxn>
                  <a:cxn ang="0">
                    <a:pos x="920" y="604"/>
                  </a:cxn>
                  <a:cxn ang="0">
                    <a:pos x="754" y="556"/>
                  </a:cxn>
                  <a:cxn ang="0">
                    <a:pos x="612" y="722"/>
                  </a:cxn>
                  <a:cxn ang="0">
                    <a:pos x="414" y="840"/>
                  </a:cxn>
                  <a:cxn ang="0">
                    <a:pos x="110" y="1034"/>
                  </a:cxn>
                  <a:cxn ang="0">
                    <a:pos x="8" y="1264"/>
                  </a:cxn>
                  <a:cxn ang="0">
                    <a:pos x="96" y="1664"/>
                  </a:cxn>
                  <a:cxn ang="0">
                    <a:pos x="344" y="1698"/>
                  </a:cxn>
                  <a:cxn ang="0">
                    <a:pos x="772" y="1596"/>
                  </a:cxn>
                  <a:cxn ang="0">
                    <a:pos x="990" y="1640"/>
                  </a:cxn>
                  <a:cxn ang="0">
                    <a:pos x="1020" y="1792"/>
                  </a:cxn>
                  <a:cxn ang="0">
                    <a:pos x="1276" y="1916"/>
                  </a:cxn>
                  <a:cxn ang="0">
                    <a:pos x="1478" y="1874"/>
                  </a:cxn>
                  <a:cxn ang="0">
                    <a:pos x="1628" y="1412"/>
                  </a:cxn>
                  <a:cxn ang="0">
                    <a:pos x="1668" y="244"/>
                  </a:cxn>
                  <a:cxn ang="0">
                    <a:pos x="1242" y="2032"/>
                  </a:cxn>
                  <a:cxn ang="0">
                    <a:pos x="1276" y="2118"/>
                  </a:cxn>
                  <a:cxn ang="0">
                    <a:pos x="1388" y="2198"/>
                  </a:cxn>
                  <a:cxn ang="0">
                    <a:pos x="982" y="1810"/>
                  </a:cxn>
                  <a:cxn ang="0">
                    <a:pos x="2214" y="814"/>
                  </a:cxn>
                  <a:cxn ang="0">
                    <a:pos x="2158" y="1098"/>
                  </a:cxn>
                  <a:cxn ang="0">
                    <a:pos x="2154" y="718"/>
                  </a:cxn>
                  <a:cxn ang="0">
                    <a:pos x="1772" y="386"/>
                  </a:cxn>
                  <a:cxn ang="0">
                    <a:pos x="1742" y="318"/>
                  </a:cxn>
                  <a:cxn ang="0">
                    <a:pos x="1830" y="382"/>
                  </a:cxn>
                  <a:cxn ang="0">
                    <a:pos x="1906" y="576"/>
                  </a:cxn>
                  <a:cxn ang="0">
                    <a:pos x="2196" y="808"/>
                  </a:cxn>
                  <a:cxn ang="0">
                    <a:pos x="2434" y="2088"/>
                  </a:cxn>
                  <a:cxn ang="0">
                    <a:pos x="2246" y="2248"/>
                  </a:cxn>
                  <a:cxn ang="0">
                    <a:pos x="2256" y="2404"/>
                  </a:cxn>
                  <a:cxn ang="0">
                    <a:pos x="2416" y="2196"/>
                  </a:cxn>
                  <a:cxn ang="0">
                    <a:pos x="2666" y="822"/>
                  </a:cxn>
                  <a:cxn ang="0">
                    <a:pos x="2482" y="1836"/>
                  </a:cxn>
                  <a:cxn ang="0">
                    <a:pos x="2464" y="1830"/>
                  </a:cxn>
                  <a:cxn ang="0">
                    <a:pos x="2502" y="2120"/>
                  </a:cxn>
                  <a:cxn ang="0">
                    <a:pos x="2600" y="1904"/>
                  </a:cxn>
                  <a:cxn ang="0">
                    <a:pos x="2250" y="926"/>
                  </a:cxn>
                  <a:cxn ang="0">
                    <a:pos x="1522" y="492"/>
                  </a:cxn>
                  <a:cxn ang="0">
                    <a:pos x="1366" y="252"/>
                  </a:cxn>
                  <a:cxn ang="0">
                    <a:pos x="920" y="78"/>
                  </a:cxn>
                  <a:cxn ang="0">
                    <a:pos x="850" y="288"/>
                  </a:cxn>
                  <a:cxn ang="0">
                    <a:pos x="994" y="384"/>
                  </a:cxn>
                  <a:cxn ang="0">
                    <a:pos x="1060" y="804"/>
                  </a:cxn>
                  <a:cxn ang="0">
                    <a:pos x="1212" y="440"/>
                  </a:cxn>
                  <a:cxn ang="0">
                    <a:pos x="1400" y="492"/>
                  </a:cxn>
                  <a:cxn ang="0">
                    <a:pos x="1394" y="386"/>
                  </a:cxn>
                  <a:cxn ang="0">
                    <a:pos x="1220" y="170"/>
                  </a:cxn>
                  <a:cxn ang="0">
                    <a:pos x="1452" y="296"/>
                  </a:cxn>
                  <a:cxn ang="0">
                    <a:pos x="1530" y="242"/>
                  </a:cxn>
                  <a:cxn ang="0">
                    <a:pos x="1588" y="202"/>
                  </a:cxn>
                  <a:cxn ang="0">
                    <a:pos x="1500" y="128"/>
                  </a:cxn>
                  <a:cxn ang="0">
                    <a:pos x="768" y="146"/>
                  </a:cxn>
                  <a:cxn ang="0">
                    <a:pos x="1004" y="284"/>
                  </a:cxn>
                  <a:cxn ang="0">
                    <a:pos x="966" y="96"/>
                  </a:cxn>
                  <a:cxn ang="0">
                    <a:pos x="786" y="18"/>
                  </a:cxn>
                  <a:cxn ang="0">
                    <a:pos x="1616" y="1224"/>
                  </a:cxn>
                </a:cxnLst>
                <a:rect l="0" t="0" r="r" b="b"/>
                <a:pathLst>
                  <a:path w="2690" h="2404">
                    <a:moveTo>
                      <a:pt x="692" y="12"/>
                    </a:moveTo>
                    <a:lnTo>
                      <a:pt x="692" y="12"/>
                    </a:lnTo>
                    <a:lnTo>
                      <a:pt x="698" y="14"/>
                    </a:lnTo>
                    <a:lnTo>
                      <a:pt x="702" y="18"/>
                    </a:lnTo>
                    <a:lnTo>
                      <a:pt x="708" y="20"/>
                    </a:lnTo>
                    <a:lnTo>
                      <a:pt x="714" y="20"/>
                    </a:lnTo>
                    <a:lnTo>
                      <a:pt x="714" y="20"/>
                    </a:lnTo>
                    <a:lnTo>
                      <a:pt x="716" y="20"/>
                    </a:lnTo>
                    <a:lnTo>
                      <a:pt x="714" y="18"/>
                    </a:lnTo>
                    <a:lnTo>
                      <a:pt x="712" y="16"/>
                    </a:lnTo>
                    <a:lnTo>
                      <a:pt x="710" y="12"/>
                    </a:lnTo>
                    <a:lnTo>
                      <a:pt x="708" y="12"/>
                    </a:lnTo>
                    <a:lnTo>
                      <a:pt x="710" y="12"/>
                    </a:lnTo>
                    <a:lnTo>
                      <a:pt x="710" y="12"/>
                    </a:lnTo>
                    <a:lnTo>
                      <a:pt x="714" y="12"/>
                    </a:lnTo>
                    <a:lnTo>
                      <a:pt x="718" y="16"/>
                    </a:lnTo>
                    <a:lnTo>
                      <a:pt x="722" y="18"/>
                    </a:lnTo>
                    <a:lnTo>
                      <a:pt x="728" y="18"/>
                    </a:lnTo>
                    <a:lnTo>
                      <a:pt x="728" y="18"/>
                    </a:lnTo>
                    <a:lnTo>
                      <a:pt x="730" y="16"/>
                    </a:lnTo>
                    <a:lnTo>
                      <a:pt x="730" y="12"/>
                    </a:lnTo>
                    <a:lnTo>
                      <a:pt x="724" y="6"/>
                    </a:lnTo>
                    <a:lnTo>
                      <a:pt x="714" y="2"/>
                    </a:lnTo>
                    <a:lnTo>
                      <a:pt x="708" y="0"/>
                    </a:lnTo>
                    <a:lnTo>
                      <a:pt x="702" y="2"/>
                    </a:lnTo>
                    <a:lnTo>
                      <a:pt x="702" y="2"/>
                    </a:lnTo>
                    <a:lnTo>
                      <a:pt x="694" y="4"/>
                    </a:lnTo>
                    <a:lnTo>
                      <a:pt x="688" y="8"/>
                    </a:lnTo>
                    <a:lnTo>
                      <a:pt x="688" y="10"/>
                    </a:lnTo>
                    <a:lnTo>
                      <a:pt x="692" y="12"/>
                    </a:lnTo>
                    <a:lnTo>
                      <a:pt x="692" y="12"/>
                    </a:lnTo>
                    <a:close/>
                    <a:moveTo>
                      <a:pt x="742" y="352"/>
                    </a:moveTo>
                    <a:lnTo>
                      <a:pt x="742" y="352"/>
                    </a:lnTo>
                    <a:lnTo>
                      <a:pt x="740" y="350"/>
                    </a:lnTo>
                    <a:lnTo>
                      <a:pt x="740" y="350"/>
                    </a:lnTo>
                    <a:lnTo>
                      <a:pt x="736" y="352"/>
                    </a:lnTo>
                    <a:lnTo>
                      <a:pt x="732" y="358"/>
                    </a:lnTo>
                    <a:lnTo>
                      <a:pt x="728" y="366"/>
                    </a:lnTo>
                    <a:lnTo>
                      <a:pt x="724" y="382"/>
                    </a:lnTo>
                    <a:lnTo>
                      <a:pt x="724" y="386"/>
                    </a:lnTo>
                    <a:lnTo>
                      <a:pt x="724" y="388"/>
                    </a:lnTo>
                    <a:lnTo>
                      <a:pt x="726" y="388"/>
                    </a:lnTo>
                    <a:lnTo>
                      <a:pt x="726" y="388"/>
                    </a:lnTo>
                    <a:lnTo>
                      <a:pt x="736" y="382"/>
                    </a:lnTo>
                    <a:lnTo>
                      <a:pt x="742" y="374"/>
                    </a:lnTo>
                    <a:lnTo>
                      <a:pt x="744" y="364"/>
                    </a:lnTo>
                    <a:lnTo>
                      <a:pt x="742" y="352"/>
                    </a:lnTo>
                    <a:lnTo>
                      <a:pt x="742" y="352"/>
                    </a:lnTo>
                    <a:close/>
                    <a:moveTo>
                      <a:pt x="696" y="550"/>
                    </a:moveTo>
                    <a:lnTo>
                      <a:pt x="696" y="550"/>
                    </a:lnTo>
                    <a:lnTo>
                      <a:pt x="692" y="548"/>
                    </a:lnTo>
                    <a:lnTo>
                      <a:pt x="690" y="548"/>
                    </a:lnTo>
                    <a:lnTo>
                      <a:pt x="690" y="552"/>
                    </a:lnTo>
                    <a:lnTo>
                      <a:pt x="692" y="556"/>
                    </a:lnTo>
                    <a:lnTo>
                      <a:pt x="700" y="566"/>
                    </a:lnTo>
                    <a:lnTo>
                      <a:pt x="710" y="578"/>
                    </a:lnTo>
                    <a:lnTo>
                      <a:pt x="710" y="578"/>
                    </a:lnTo>
                    <a:lnTo>
                      <a:pt x="714" y="580"/>
                    </a:lnTo>
                    <a:lnTo>
                      <a:pt x="718" y="578"/>
                    </a:lnTo>
                    <a:lnTo>
                      <a:pt x="724" y="576"/>
                    </a:lnTo>
                    <a:lnTo>
                      <a:pt x="728" y="574"/>
                    </a:lnTo>
                    <a:lnTo>
                      <a:pt x="734" y="568"/>
                    </a:lnTo>
                    <a:lnTo>
                      <a:pt x="736" y="564"/>
                    </a:lnTo>
                    <a:lnTo>
                      <a:pt x="738" y="558"/>
                    </a:lnTo>
                    <a:lnTo>
                      <a:pt x="736" y="552"/>
                    </a:lnTo>
                    <a:lnTo>
                      <a:pt x="736" y="552"/>
                    </a:lnTo>
                    <a:lnTo>
                      <a:pt x="730" y="546"/>
                    </a:lnTo>
                    <a:lnTo>
                      <a:pt x="728" y="544"/>
                    </a:lnTo>
                    <a:lnTo>
                      <a:pt x="724" y="546"/>
                    </a:lnTo>
                    <a:lnTo>
                      <a:pt x="722" y="548"/>
                    </a:lnTo>
                    <a:lnTo>
                      <a:pt x="718" y="552"/>
                    </a:lnTo>
                    <a:lnTo>
                      <a:pt x="712" y="554"/>
                    </a:lnTo>
                    <a:lnTo>
                      <a:pt x="706" y="554"/>
                    </a:lnTo>
                    <a:lnTo>
                      <a:pt x="696" y="550"/>
                    </a:lnTo>
                    <a:lnTo>
                      <a:pt x="696" y="550"/>
                    </a:lnTo>
                    <a:close/>
                    <a:moveTo>
                      <a:pt x="936" y="688"/>
                    </a:moveTo>
                    <a:lnTo>
                      <a:pt x="936" y="688"/>
                    </a:lnTo>
                    <a:lnTo>
                      <a:pt x="938" y="696"/>
                    </a:lnTo>
                    <a:lnTo>
                      <a:pt x="940" y="696"/>
                    </a:lnTo>
                    <a:lnTo>
                      <a:pt x="942" y="696"/>
                    </a:lnTo>
                    <a:lnTo>
                      <a:pt x="946" y="692"/>
                    </a:lnTo>
                    <a:lnTo>
                      <a:pt x="950" y="684"/>
                    </a:lnTo>
                    <a:lnTo>
                      <a:pt x="950" y="684"/>
                    </a:lnTo>
                    <a:lnTo>
                      <a:pt x="950" y="680"/>
                    </a:lnTo>
                    <a:lnTo>
                      <a:pt x="950" y="678"/>
                    </a:lnTo>
                    <a:lnTo>
                      <a:pt x="946" y="676"/>
                    </a:lnTo>
                    <a:lnTo>
                      <a:pt x="942" y="676"/>
                    </a:lnTo>
                    <a:lnTo>
                      <a:pt x="940" y="676"/>
                    </a:lnTo>
                    <a:lnTo>
                      <a:pt x="936" y="680"/>
                    </a:lnTo>
                    <a:lnTo>
                      <a:pt x="934" y="684"/>
                    </a:lnTo>
                    <a:lnTo>
                      <a:pt x="936" y="688"/>
                    </a:lnTo>
                    <a:lnTo>
                      <a:pt x="936" y="688"/>
                    </a:lnTo>
                    <a:close/>
                    <a:moveTo>
                      <a:pt x="1610" y="556"/>
                    </a:moveTo>
                    <a:lnTo>
                      <a:pt x="1610" y="556"/>
                    </a:lnTo>
                    <a:lnTo>
                      <a:pt x="1616" y="560"/>
                    </a:lnTo>
                    <a:lnTo>
                      <a:pt x="1624" y="562"/>
                    </a:lnTo>
                    <a:lnTo>
                      <a:pt x="1632" y="564"/>
                    </a:lnTo>
                    <a:lnTo>
                      <a:pt x="1634" y="564"/>
                    </a:lnTo>
                    <a:lnTo>
                      <a:pt x="1634" y="562"/>
                    </a:lnTo>
                    <a:lnTo>
                      <a:pt x="1634" y="562"/>
                    </a:lnTo>
                    <a:lnTo>
                      <a:pt x="1628" y="558"/>
                    </a:lnTo>
                    <a:lnTo>
                      <a:pt x="1618" y="552"/>
                    </a:lnTo>
                    <a:lnTo>
                      <a:pt x="1610" y="550"/>
                    </a:lnTo>
                    <a:lnTo>
                      <a:pt x="1610" y="552"/>
                    </a:lnTo>
                    <a:lnTo>
                      <a:pt x="1610" y="556"/>
                    </a:lnTo>
                    <a:lnTo>
                      <a:pt x="1610" y="556"/>
                    </a:lnTo>
                    <a:close/>
                    <a:moveTo>
                      <a:pt x="1402" y="2052"/>
                    </a:moveTo>
                    <a:lnTo>
                      <a:pt x="1402" y="2052"/>
                    </a:lnTo>
                    <a:lnTo>
                      <a:pt x="1404" y="2054"/>
                    </a:lnTo>
                    <a:lnTo>
                      <a:pt x="1410" y="2056"/>
                    </a:lnTo>
                    <a:lnTo>
                      <a:pt x="1416" y="2056"/>
                    </a:lnTo>
                    <a:lnTo>
                      <a:pt x="1420" y="2054"/>
                    </a:lnTo>
                    <a:lnTo>
                      <a:pt x="1420" y="2054"/>
                    </a:lnTo>
                    <a:lnTo>
                      <a:pt x="1420" y="2052"/>
                    </a:lnTo>
                    <a:lnTo>
                      <a:pt x="1418" y="2048"/>
                    </a:lnTo>
                    <a:lnTo>
                      <a:pt x="1412" y="2048"/>
                    </a:lnTo>
                    <a:lnTo>
                      <a:pt x="1404" y="2048"/>
                    </a:lnTo>
                    <a:lnTo>
                      <a:pt x="1402" y="2050"/>
                    </a:lnTo>
                    <a:lnTo>
                      <a:pt x="1402" y="2052"/>
                    </a:lnTo>
                    <a:lnTo>
                      <a:pt x="1402" y="2052"/>
                    </a:lnTo>
                    <a:close/>
                    <a:moveTo>
                      <a:pt x="1610" y="1344"/>
                    </a:moveTo>
                    <a:lnTo>
                      <a:pt x="1610" y="1344"/>
                    </a:lnTo>
                    <a:lnTo>
                      <a:pt x="1612" y="1338"/>
                    </a:lnTo>
                    <a:lnTo>
                      <a:pt x="1614" y="1334"/>
                    </a:lnTo>
                    <a:lnTo>
                      <a:pt x="1612" y="1324"/>
                    </a:lnTo>
                    <a:lnTo>
                      <a:pt x="1610" y="1312"/>
                    </a:lnTo>
                    <a:lnTo>
                      <a:pt x="1608" y="1304"/>
                    </a:lnTo>
                    <a:lnTo>
                      <a:pt x="1610" y="1294"/>
                    </a:lnTo>
                    <a:lnTo>
                      <a:pt x="1610" y="1294"/>
                    </a:lnTo>
                    <a:lnTo>
                      <a:pt x="1610" y="1280"/>
                    </a:lnTo>
                    <a:lnTo>
                      <a:pt x="1608" y="1276"/>
                    </a:lnTo>
                    <a:lnTo>
                      <a:pt x="1606" y="1276"/>
                    </a:lnTo>
                    <a:lnTo>
                      <a:pt x="1604" y="1274"/>
                    </a:lnTo>
                    <a:lnTo>
                      <a:pt x="1600" y="1270"/>
                    </a:lnTo>
                    <a:lnTo>
                      <a:pt x="1598" y="1266"/>
                    </a:lnTo>
                    <a:lnTo>
                      <a:pt x="1596" y="1256"/>
                    </a:lnTo>
                    <a:lnTo>
                      <a:pt x="1596" y="1256"/>
                    </a:lnTo>
                    <a:lnTo>
                      <a:pt x="1594" y="1246"/>
                    </a:lnTo>
                    <a:lnTo>
                      <a:pt x="1590" y="1238"/>
                    </a:lnTo>
                    <a:lnTo>
                      <a:pt x="1582" y="1226"/>
                    </a:lnTo>
                    <a:lnTo>
                      <a:pt x="1570" y="1214"/>
                    </a:lnTo>
                    <a:lnTo>
                      <a:pt x="1560" y="1198"/>
                    </a:lnTo>
                    <a:lnTo>
                      <a:pt x="1560" y="1198"/>
                    </a:lnTo>
                    <a:lnTo>
                      <a:pt x="1550" y="1184"/>
                    </a:lnTo>
                    <a:lnTo>
                      <a:pt x="1548" y="1182"/>
                    </a:lnTo>
                    <a:lnTo>
                      <a:pt x="1546" y="1182"/>
                    </a:lnTo>
                    <a:lnTo>
                      <a:pt x="1542" y="1182"/>
                    </a:lnTo>
                    <a:lnTo>
                      <a:pt x="1538" y="1180"/>
                    </a:lnTo>
                    <a:lnTo>
                      <a:pt x="1534" y="1176"/>
                    </a:lnTo>
                    <a:lnTo>
                      <a:pt x="1526" y="1166"/>
                    </a:lnTo>
                    <a:lnTo>
                      <a:pt x="1526" y="1166"/>
                    </a:lnTo>
                    <a:lnTo>
                      <a:pt x="1518" y="1156"/>
                    </a:lnTo>
                    <a:lnTo>
                      <a:pt x="1514" y="1146"/>
                    </a:lnTo>
                    <a:lnTo>
                      <a:pt x="1514" y="1136"/>
                    </a:lnTo>
                    <a:lnTo>
                      <a:pt x="1514" y="1126"/>
                    </a:lnTo>
                    <a:lnTo>
                      <a:pt x="1514" y="1110"/>
                    </a:lnTo>
                    <a:lnTo>
                      <a:pt x="1514" y="1104"/>
                    </a:lnTo>
                    <a:lnTo>
                      <a:pt x="1510" y="1098"/>
                    </a:lnTo>
                    <a:lnTo>
                      <a:pt x="1510" y="1098"/>
                    </a:lnTo>
                    <a:lnTo>
                      <a:pt x="1508" y="1096"/>
                    </a:lnTo>
                    <a:lnTo>
                      <a:pt x="1506" y="1096"/>
                    </a:lnTo>
                    <a:lnTo>
                      <a:pt x="1502" y="1102"/>
                    </a:lnTo>
                    <a:lnTo>
                      <a:pt x="1502" y="1104"/>
                    </a:lnTo>
                    <a:lnTo>
                      <a:pt x="1498" y="1104"/>
                    </a:lnTo>
                    <a:lnTo>
                      <a:pt x="1494" y="1102"/>
                    </a:lnTo>
                    <a:lnTo>
                      <a:pt x="1490" y="1096"/>
                    </a:lnTo>
                    <a:lnTo>
                      <a:pt x="1490" y="1096"/>
                    </a:lnTo>
                    <a:lnTo>
                      <a:pt x="1484" y="1090"/>
                    </a:lnTo>
                    <a:lnTo>
                      <a:pt x="1480" y="1090"/>
                    </a:lnTo>
                    <a:lnTo>
                      <a:pt x="1480" y="1092"/>
                    </a:lnTo>
                    <a:lnTo>
                      <a:pt x="1480" y="1098"/>
                    </a:lnTo>
                    <a:lnTo>
                      <a:pt x="1478" y="1102"/>
                    </a:lnTo>
                    <a:lnTo>
                      <a:pt x="1478" y="1106"/>
                    </a:lnTo>
                    <a:lnTo>
                      <a:pt x="1474" y="1104"/>
                    </a:lnTo>
                    <a:lnTo>
                      <a:pt x="1470" y="1100"/>
                    </a:lnTo>
                    <a:lnTo>
                      <a:pt x="1470" y="1100"/>
                    </a:lnTo>
                    <a:lnTo>
                      <a:pt x="1464" y="1092"/>
                    </a:lnTo>
                    <a:lnTo>
                      <a:pt x="1462" y="1086"/>
                    </a:lnTo>
                    <a:lnTo>
                      <a:pt x="1462" y="1080"/>
                    </a:lnTo>
                    <a:lnTo>
                      <a:pt x="1462" y="1076"/>
                    </a:lnTo>
                    <a:lnTo>
                      <a:pt x="1464" y="1066"/>
                    </a:lnTo>
                    <a:lnTo>
                      <a:pt x="1462" y="1060"/>
                    </a:lnTo>
                    <a:lnTo>
                      <a:pt x="1462" y="1054"/>
                    </a:lnTo>
                    <a:lnTo>
                      <a:pt x="1462" y="1054"/>
                    </a:lnTo>
                    <a:lnTo>
                      <a:pt x="1458" y="1046"/>
                    </a:lnTo>
                    <a:lnTo>
                      <a:pt x="1452" y="1038"/>
                    </a:lnTo>
                    <a:lnTo>
                      <a:pt x="1440" y="1022"/>
                    </a:lnTo>
                    <a:lnTo>
                      <a:pt x="1430" y="1012"/>
                    </a:lnTo>
                    <a:lnTo>
                      <a:pt x="1428" y="1008"/>
                    </a:lnTo>
                    <a:lnTo>
                      <a:pt x="1432" y="1008"/>
                    </a:lnTo>
                    <a:lnTo>
                      <a:pt x="1432" y="1008"/>
                    </a:lnTo>
                    <a:lnTo>
                      <a:pt x="1436" y="1008"/>
                    </a:lnTo>
                    <a:lnTo>
                      <a:pt x="1438" y="1006"/>
                    </a:lnTo>
                    <a:lnTo>
                      <a:pt x="1440" y="1002"/>
                    </a:lnTo>
                    <a:lnTo>
                      <a:pt x="1438" y="998"/>
                    </a:lnTo>
                    <a:lnTo>
                      <a:pt x="1436" y="994"/>
                    </a:lnTo>
                    <a:lnTo>
                      <a:pt x="1430" y="988"/>
                    </a:lnTo>
                    <a:lnTo>
                      <a:pt x="1422" y="984"/>
                    </a:lnTo>
                    <a:lnTo>
                      <a:pt x="1410" y="978"/>
                    </a:lnTo>
                    <a:lnTo>
                      <a:pt x="1410" y="978"/>
                    </a:lnTo>
                    <a:lnTo>
                      <a:pt x="1398" y="974"/>
                    </a:lnTo>
                    <a:lnTo>
                      <a:pt x="1392" y="968"/>
                    </a:lnTo>
                    <a:lnTo>
                      <a:pt x="1388" y="964"/>
                    </a:lnTo>
                    <a:lnTo>
                      <a:pt x="1386" y="960"/>
                    </a:lnTo>
                    <a:lnTo>
                      <a:pt x="1384" y="956"/>
                    </a:lnTo>
                    <a:lnTo>
                      <a:pt x="1380" y="952"/>
                    </a:lnTo>
                    <a:lnTo>
                      <a:pt x="1374" y="950"/>
                    </a:lnTo>
                    <a:lnTo>
                      <a:pt x="1364" y="946"/>
                    </a:lnTo>
                    <a:lnTo>
                      <a:pt x="1364" y="946"/>
                    </a:lnTo>
                    <a:lnTo>
                      <a:pt x="1354" y="942"/>
                    </a:lnTo>
                    <a:lnTo>
                      <a:pt x="1346" y="938"/>
                    </a:lnTo>
                    <a:lnTo>
                      <a:pt x="1340" y="934"/>
                    </a:lnTo>
                    <a:lnTo>
                      <a:pt x="1338" y="928"/>
                    </a:lnTo>
                    <a:lnTo>
                      <a:pt x="1334" y="916"/>
                    </a:lnTo>
                    <a:lnTo>
                      <a:pt x="1332" y="908"/>
                    </a:lnTo>
                    <a:lnTo>
                      <a:pt x="1328" y="902"/>
                    </a:lnTo>
                    <a:lnTo>
                      <a:pt x="1328" y="902"/>
                    </a:lnTo>
                    <a:lnTo>
                      <a:pt x="1324" y="896"/>
                    </a:lnTo>
                    <a:lnTo>
                      <a:pt x="1324" y="886"/>
                    </a:lnTo>
                    <a:lnTo>
                      <a:pt x="1322" y="864"/>
                    </a:lnTo>
                    <a:lnTo>
                      <a:pt x="1322" y="852"/>
                    </a:lnTo>
                    <a:lnTo>
                      <a:pt x="1320" y="840"/>
                    </a:lnTo>
                    <a:lnTo>
                      <a:pt x="1316" y="828"/>
                    </a:lnTo>
                    <a:lnTo>
                      <a:pt x="1308" y="818"/>
                    </a:lnTo>
                    <a:lnTo>
                      <a:pt x="1308" y="818"/>
                    </a:lnTo>
                    <a:lnTo>
                      <a:pt x="1304" y="812"/>
                    </a:lnTo>
                    <a:lnTo>
                      <a:pt x="1302" y="806"/>
                    </a:lnTo>
                    <a:lnTo>
                      <a:pt x="1298" y="794"/>
                    </a:lnTo>
                    <a:lnTo>
                      <a:pt x="1296" y="780"/>
                    </a:lnTo>
                    <a:lnTo>
                      <a:pt x="1296" y="764"/>
                    </a:lnTo>
                    <a:lnTo>
                      <a:pt x="1296" y="750"/>
                    </a:lnTo>
                    <a:lnTo>
                      <a:pt x="1294" y="736"/>
                    </a:lnTo>
                    <a:lnTo>
                      <a:pt x="1290" y="726"/>
                    </a:lnTo>
                    <a:lnTo>
                      <a:pt x="1286" y="722"/>
                    </a:lnTo>
                    <a:lnTo>
                      <a:pt x="1282" y="718"/>
                    </a:lnTo>
                    <a:lnTo>
                      <a:pt x="1282" y="718"/>
                    </a:lnTo>
                    <a:lnTo>
                      <a:pt x="1274" y="712"/>
                    </a:lnTo>
                    <a:lnTo>
                      <a:pt x="1268" y="704"/>
                    </a:lnTo>
                    <a:lnTo>
                      <a:pt x="1262" y="692"/>
                    </a:lnTo>
                    <a:lnTo>
                      <a:pt x="1258" y="690"/>
                    </a:lnTo>
                    <a:lnTo>
                      <a:pt x="1256" y="688"/>
                    </a:lnTo>
                    <a:lnTo>
                      <a:pt x="1254" y="690"/>
                    </a:lnTo>
                    <a:lnTo>
                      <a:pt x="1250" y="698"/>
                    </a:lnTo>
                    <a:lnTo>
                      <a:pt x="1250" y="698"/>
                    </a:lnTo>
                    <a:lnTo>
                      <a:pt x="1244" y="702"/>
                    </a:lnTo>
                    <a:lnTo>
                      <a:pt x="1240" y="704"/>
                    </a:lnTo>
                    <a:lnTo>
                      <a:pt x="1236" y="702"/>
                    </a:lnTo>
                    <a:lnTo>
                      <a:pt x="1232" y="696"/>
                    </a:lnTo>
                    <a:lnTo>
                      <a:pt x="1228" y="690"/>
                    </a:lnTo>
                    <a:lnTo>
                      <a:pt x="1226" y="682"/>
                    </a:lnTo>
                    <a:lnTo>
                      <a:pt x="1224" y="664"/>
                    </a:lnTo>
                    <a:lnTo>
                      <a:pt x="1224" y="664"/>
                    </a:lnTo>
                    <a:lnTo>
                      <a:pt x="1224" y="650"/>
                    </a:lnTo>
                    <a:lnTo>
                      <a:pt x="1224" y="634"/>
                    </a:lnTo>
                    <a:lnTo>
                      <a:pt x="1220" y="620"/>
                    </a:lnTo>
                    <a:lnTo>
                      <a:pt x="1216" y="614"/>
                    </a:lnTo>
                    <a:lnTo>
                      <a:pt x="1212" y="606"/>
                    </a:lnTo>
                    <a:lnTo>
                      <a:pt x="1212" y="606"/>
                    </a:lnTo>
                    <a:lnTo>
                      <a:pt x="1208" y="600"/>
                    </a:lnTo>
                    <a:lnTo>
                      <a:pt x="1206" y="596"/>
                    </a:lnTo>
                    <a:lnTo>
                      <a:pt x="1206" y="588"/>
                    </a:lnTo>
                    <a:lnTo>
                      <a:pt x="1208" y="584"/>
                    </a:lnTo>
                    <a:lnTo>
                      <a:pt x="1206" y="582"/>
                    </a:lnTo>
                    <a:lnTo>
                      <a:pt x="1204" y="578"/>
                    </a:lnTo>
                    <a:lnTo>
                      <a:pt x="1204" y="578"/>
                    </a:lnTo>
                    <a:lnTo>
                      <a:pt x="1200" y="576"/>
                    </a:lnTo>
                    <a:lnTo>
                      <a:pt x="1196" y="572"/>
                    </a:lnTo>
                    <a:lnTo>
                      <a:pt x="1194" y="562"/>
                    </a:lnTo>
                    <a:lnTo>
                      <a:pt x="1192" y="548"/>
                    </a:lnTo>
                    <a:lnTo>
                      <a:pt x="1190" y="534"/>
                    </a:lnTo>
                    <a:lnTo>
                      <a:pt x="1190" y="534"/>
                    </a:lnTo>
                    <a:lnTo>
                      <a:pt x="1188" y="526"/>
                    </a:lnTo>
                    <a:lnTo>
                      <a:pt x="1184" y="522"/>
                    </a:lnTo>
                    <a:lnTo>
                      <a:pt x="1180" y="520"/>
                    </a:lnTo>
                    <a:lnTo>
                      <a:pt x="1176" y="520"/>
                    </a:lnTo>
                    <a:lnTo>
                      <a:pt x="1172" y="522"/>
                    </a:lnTo>
                    <a:lnTo>
                      <a:pt x="1170" y="526"/>
                    </a:lnTo>
                    <a:lnTo>
                      <a:pt x="1166" y="532"/>
                    </a:lnTo>
                    <a:lnTo>
                      <a:pt x="1166" y="538"/>
                    </a:lnTo>
                    <a:lnTo>
                      <a:pt x="1166" y="538"/>
                    </a:lnTo>
                    <a:lnTo>
                      <a:pt x="1164" y="552"/>
                    </a:lnTo>
                    <a:lnTo>
                      <a:pt x="1162" y="564"/>
                    </a:lnTo>
                    <a:lnTo>
                      <a:pt x="1150" y="594"/>
                    </a:lnTo>
                    <a:lnTo>
                      <a:pt x="1150" y="594"/>
                    </a:lnTo>
                    <a:lnTo>
                      <a:pt x="1146" y="602"/>
                    </a:lnTo>
                    <a:lnTo>
                      <a:pt x="1146" y="608"/>
                    </a:lnTo>
                    <a:lnTo>
                      <a:pt x="1146" y="612"/>
                    </a:lnTo>
                    <a:lnTo>
                      <a:pt x="1150" y="614"/>
                    </a:lnTo>
                    <a:lnTo>
                      <a:pt x="1152" y="616"/>
                    </a:lnTo>
                    <a:lnTo>
                      <a:pt x="1152" y="618"/>
                    </a:lnTo>
                    <a:lnTo>
                      <a:pt x="1150" y="622"/>
                    </a:lnTo>
                    <a:lnTo>
                      <a:pt x="1150" y="622"/>
                    </a:lnTo>
                    <a:lnTo>
                      <a:pt x="1144" y="630"/>
                    </a:lnTo>
                    <a:lnTo>
                      <a:pt x="1144" y="636"/>
                    </a:lnTo>
                    <a:lnTo>
                      <a:pt x="1144" y="646"/>
                    </a:lnTo>
                    <a:lnTo>
                      <a:pt x="1138" y="658"/>
                    </a:lnTo>
                    <a:lnTo>
                      <a:pt x="1138" y="658"/>
                    </a:lnTo>
                    <a:lnTo>
                      <a:pt x="1136" y="668"/>
                    </a:lnTo>
                    <a:lnTo>
                      <a:pt x="1136" y="676"/>
                    </a:lnTo>
                    <a:lnTo>
                      <a:pt x="1140" y="700"/>
                    </a:lnTo>
                    <a:lnTo>
                      <a:pt x="1144" y="724"/>
                    </a:lnTo>
                    <a:lnTo>
                      <a:pt x="1144" y="736"/>
                    </a:lnTo>
                    <a:lnTo>
                      <a:pt x="1142" y="748"/>
                    </a:lnTo>
                    <a:lnTo>
                      <a:pt x="1142" y="748"/>
                    </a:lnTo>
                    <a:lnTo>
                      <a:pt x="1136" y="768"/>
                    </a:lnTo>
                    <a:lnTo>
                      <a:pt x="1136" y="780"/>
                    </a:lnTo>
                    <a:lnTo>
                      <a:pt x="1136" y="792"/>
                    </a:lnTo>
                    <a:lnTo>
                      <a:pt x="1130" y="806"/>
                    </a:lnTo>
                    <a:lnTo>
                      <a:pt x="1130" y="806"/>
                    </a:lnTo>
                    <a:lnTo>
                      <a:pt x="1124" y="816"/>
                    </a:lnTo>
                    <a:lnTo>
                      <a:pt x="1120" y="826"/>
                    </a:lnTo>
                    <a:lnTo>
                      <a:pt x="1116" y="840"/>
                    </a:lnTo>
                    <a:lnTo>
                      <a:pt x="1114" y="850"/>
                    </a:lnTo>
                    <a:lnTo>
                      <a:pt x="1110" y="856"/>
                    </a:lnTo>
                    <a:lnTo>
                      <a:pt x="1102" y="862"/>
                    </a:lnTo>
                    <a:lnTo>
                      <a:pt x="1102" y="862"/>
                    </a:lnTo>
                    <a:lnTo>
                      <a:pt x="1096" y="866"/>
                    </a:lnTo>
                    <a:lnTo>
                      <a:pt x="1088" y="866"/>
                    </a:lnTo>
                    <a:lnTo>
                      <a:pt x="1078" y="864"/>
                    </a:lnTo>
                    <a:lnTo>
                      <a:pt x="1068" y="860"/>
                    </a:lnTo>
                    <a:lnTo>
                      <a:pt x="1060" y="854"/>
                    </a:lnTo>
                    <a:lnTo>
                      <a:pt x="1052" y="848"/>
                    </a:lnTo>
                    <a:lnTo>
                      <a:pt x="1046" y="842"/>
                    </a:lnTo>
                    <a:lnTo>
                      <a:pt x="1044" y="836"/>
                    </a:lnTo>
                    <a:lnTo>
                      <a:pt x="1044" y="836"/>
                    </a:lnTo>
                    <a:lnTo>
                      <a:pt x="1040" y="830"/>
                    </a:lnTo>
                    <a:lnTo>
                      <a:pt x="1036" y="826"/>
                    </a:lnTo>
                    <a:lnTo>
                      <a:pt x="1028" y="824"/>
                    </a:lnTo>
                    <a:lnTo>
                      <a:pt x="1022" y="822"/>
                    </a:lnTo>
                    <a:lnTo>
                      <a:pt x="1014" y="818"/>
                    </a:lnTo>
                    <a:lnTo>
                      <a:pt x="1004" y="812"/>
                    </a:lnTo>
                    <a:lnTo>
                      <a:pt x="990" y="800"/>
                    </a:lnTo>
                    <a:lnTo>
                      <a:pt x="990" y="800"/>
                    </a:lnTo>
                    <a:lnTo>
                      <a:pt x="978" y="788"/>
                    </a:lnTo>
                    <a:lnTo>
                      <a:pt x="968" y="782"/>
                    </a:lnTo>
                    <a:lnTo>
                      <a:pt x="962" y="780"/>
                    </a:lnTo>
                    <a:lnTo>
                      <a:pt x="956" y="778"/>
                    </a:lnTo>
                    <a:lnTo>
                      <a:pt x="948" y="776"/>
                    </a:lnTo>
                    <a:lnTo>
                      <a:pt x="942" y="772"/>
                    </a:lnTo>
                    <a:lnTo>
                      <a:pt x="934" y="764"/>
                    </a:lnTo>
                    <a:lnTo>
                      <a:pt x="934" y="764"/>
                    </a:lnTo>
                    <a:lnTo>
                      <a:pt x="922" y="752"/>
                    </a:lnTo>
                    <a:lnTo>
                      <a:pt x="912" y="744"/>
                    </a:lnTo>
                    <a:lnTo>
                      <a:pt x="898" y="732"/>
                    </a:lnTo>
                    <a:lnTo>
                      <a:pt x="896" y="728"/>
                    </a:lnTo>
                    <a:lnTo>
                      <a:pt x="896" y="722"/>
                    </a:lnTo>
                    <a:lnTo>
                      <a:pt x="900" y="712"/>
                    </a:lnTo>
                    <a:lnTo>
                      <a:pt x="908" y="700"/>
                    </a:lnTo>
                    <a:lnTo>
                      <a:pt x="908" y="700"/>
                    </a:lnTo>
                    <a:lnTo>
                      <a:pt x="916" y="684"/>
                    </a:lnTo>
                    <a:lnTo>
                      <a:pt x="920" y="674"/>
                    </a:lnTo>
                    <a:lnTo>
                      <a:pt x="920" y="670"/>
                    </a:lnTo>
                    <a:lnTo>
                      <a:pt x="918" y="670"/>
                    </a:lnTo>
                    <a:lnTo>
                      <a:pt x="916" y="668"/>
                    </a:lnTo>
                    <a:lnTo>
                      <a:pt x="914" y="666"/>
                    </a:lnTo>
                    <a:lnTo>
                      <a:pt x="914" y="662"/>
                    </a:lnTo>
                    <a:lnTo>
                      <a:pt x="918" y="652"/>
                    </a:lnTo>
                    <a:lnTo>
                      <a:pt x="918" y="652"/>
                    </a:lnTo>
                    <a:lnTo>
                      <a:pt x="924" y="644"/>
                    </a:lnTo>
                    <a:lnTo>
                      <a:pt x="928" y="640"/>
                    </a:lnTo>
                    <a:lnTo>
                      <a:pt x="930" y="642"/>
                    </a:lnTo>
                    <a:lnTo>
                      <a:pt x="934" y="646"/>
                    </a:lnTo>
                    <a:lnTo>
                      <a:pt x="936" y="648"/>
                    </a:lnTo>
                    <a:lnTo>
                      <a:pt x="936" y="650"/>
                    </a:lnTo>
                    <a:lnTo>
                      <a:pt x="938" y="646"/>
                    </a:lnTo>
                    <a:lnTo>
                      <a:pt x="940" y="638"/>
                    </a:lnTo>
                    <a:lnTo>
                      <a:pt x="940" y="638"/>
                    </a:lnTo>
                    <a:lnTo>
                      <a:pt x="942" y="626"/>
                    </a:lnTo>
                    <a:lnTo>
                      <a:pt x="946" y="618"/>
                    </a:lnTo>
                    <a:lnTo>
                      <a:pt x="950" y="612"/>
                    </a:lnTo>
                    <a:lnTo>
                      <a:pt x="956" y="606"/>
                    </a:lnTo>
                    <a:lnTo>
                      <a:pt x="958" y="604"/>
                    </a:lnTo>
                    <a:lnTo>
                      <a:pt x="960" y="602"/>
                    </a:lnTo>
                    <a:lnTo>
                      <a:pt x="960" y="598"/>
                    </a:lnTo>
                    <a:lnTo>
                      <a:pt x="956" y="596"/>
                    </a:lnTo>
                    <a:lnTo>
                      <a:pt x="956" y="596"/>
                    </a:lnTo>
                    <a:lnTo>
                      <a:pt x="950" y="590"/>
                    </a:lnTo>
                    <a:lnTo>
                      <a:pt x="946" y="586"/>
                    </a:lnTo>
                    <a:lnTo>
                      <a:pt x="942" y="580"/>
                    </a:lnTo>
                    <a:lnTo>
                      <a:pt x="942" y="578"/>
                    </a:lnTo>
                    <a:lnTo>
                      <a:pt x="940" y="578"/>
                    </a:lnTo>
                    <a:lnTo>
                      <a:pt x="934" y="582"/>
                    </a:lnTo>
                    <a:lnTo>
                      <a:pt x="934" y="582"/>
                    </a:lnTo>
                    <a:lnTo>
                      <a:pt x="930" y="584"/>
                    </a:lnTo>
                    <a:lnTo>
                      <a:pt x="928" y="588"/>
                    </a:lnTo>
                    <a:lnTo>
                      <a:pt x="928" y="594"/>
                    </a:lnTo>
                    <a:lnTo>
                      <a:pt x="930" y="598"/>
                    </a:lnTo>
                    <a:lnTo>
                      <a:pt x="928" y="600"/>
                    </a:lnTo>
                    <a:lnTo>
                      <a:pt x="926" y="602"/>
                    </a:lnTo>
                    <a:lnTo>
                      <a:pt x="926" y="602"/>
                    </a:lnTo>
                    <a:lnTo>
                      <a:pt x="922" y="604"/>
                    </a:lnTo>
                    <a:lnTo>
                      <a:pt x="920" y="604"/>
                    </a:lnTo>
                    <a:lnTo>
                      <a:pt x="918" y="598"/>
                    </a:lnTo>
                    <a:lnTo>
                      <a:pt x="918" y="592"/>
                    </a:lnTo>
                    <a:lnTo>
                      <a:pt x="918" y="590"/>
                    </a:lnTo>
                    <a:lnTo>
                      <a:pt x="916" y="590"/>
                    </a:lnTo>
                    <a:lnTo>
                      <a:pt x="916" y="590"/>
                    </a:lnTo>
                    <a:lnTo>
                      <a:pt x="914" y="588"/>
                    </a:lnTo>
                    <a:lnTo>
                      <a:pt x="914" y="586"/>
                    </a:lnTo>
                    <a:lnTo>
                      <a:pt x="914" y="578"/>
                    </a:lnTo>
                    <a:lnTo>
                      <a:pt x="914" y="574"/>
                    </a:lnTo>
                    <a:lnTo>
                      <a:pt x="912" y="574"/>
                    </a:lnTo>
                    <a:lnTo>
                      <a:pt x="906" y="576"/>
                    </a:lnTo>
                    <a:lnTo>
                      <a:pt x="898" y="584"/>
                    </a:lnTo>
                    <a:lnTo>
                      <a:pt x="898" y="584"/>
                    </a:lnTo>
                    <a:lnTo>
                      <a:pt x="888" y="590"/>
                    </a:lnTo>
                    <a:lnTo>
                      <a:pt x="882" y="594"/>
                    </a:lnTo>
                    <a:lnTo>
                      <a:pt x="878" y="594"/>
                    </a:lnTo>
                    <a:lnTo>
                      <a:pt x="874" y="592"/>
                    </a:lnTo>
                    <a:lnTo>
                      <a:pt x="870" y="586"/>
                    </a:lnTo>
                    <a:lnTo>
                      <a:pt x="866" y="584"/>
                    </a:lnTo>
                    <a:lnTo>
                      <a:pt x="860" y="584"/>
                    </a:lnTo>
                    <a:lnTo>
                      <a:pt x="860" y="584"/>
                    </a:lnTo>
                    <a:lnTo>
                      <a:pt x="854" y="586"/>
                    </a:lnTo>
                    <a:lnTo>
                      <a:pt x="848" y="586"/>
                    </a:lnTo>
                    <a:lnTo>
                      <a:pt x="844" y="584"/>
                    </a:lnTo>
                    <a:lnTo>
                      <a:pt x="842" y="580"/>
                    </a:lnTo>
                    <a:lnTo>
                      <a:pt x="834" y="572"/>
                    </a:lnTo>
                    <a:lnTo>
                      <a:pt x="830" y="570"/>
                    </a:lnTo>
                    <a:lnTo>
                      <a:pt x="822" y="570"/>
                    </a:lnTo>
                    <a:lnTo>
                      <a:pt x="822" y="570"/>
                    </a:lnTo>
                    <a:lnTo>
                      <a:pt x="814" y="570"/>
                    </a:lnTo>
                    <a:lnTo>
                      <a:pt x="808" y="568"/>
                    </a:lnTo>
                    <a:lnTo>
                      <a:pt x="804" y="564"/>
                    </a:lnTo>
                    <a:lnTo>
                      <a:pt x="802" y="560"/>
                    </a:lnTo>
                    <a:lnTo>
                      <a:pt x="798" y="554"/>
                    </a:lnTo>
                    <a:lnTo>
                      <a:pt x="796" y="554"/>
                    </a:lnTo>
                    <a:lnTo>
                      <a:pt x="792" y="554"/>
                    </a:lnTo>
                    <a:lnTo>
                      <a:pt x="792" y="554"/>
                    </a:lnTo>
                    <a:lnTo>
                      <a:pt x="788" y="554"/>
                    </a:lnTo>
                    <a:lnTo>
                      <a:pt x="784" y="554"/>
                    </a:lnTo>
                    <a:lnTo>
                      <a:pt x="782" y="550"/>
                    </a:lnTo>
                    <a:lnTo>
                      <a:pt x="776" y="546"/>
                    </a:lnTo>
                    <a:lnTo>
                      <a:pt x="774" y="544"/>
                    </a:lnTo>
                    <a:lnTo>
                      <a:pt x="768" y="542"/>
                    </a:lnTo>
                    <a:lnTo>
                      <a:pt x="768" y="542"/>
                    </a:lnTo>
                    <a:lnTo>
                      <a:pt x="758" y="542"/>
                    </a:lnTo>
                    <a:lnTo>
                      <a:pt x="752" y="544"/>
                    </a:lnTo>
                    <a:lnTo>
                      <a:pt x="750" y="546"/>
                    </a:lnTo>
                    <a:lnTo>
                      <a:pt x="750" y="548"/>
                    </a:lnTo>
                    <a:lnTo>
                      <a:pt x="754" y="556"/>
                    </a:lnTo>
                    <a:lnTo>
                      <a:pt x="754" y="556"/>
                    </a:lnTo>
                    <a:lnTo>
                      <a:pt x="756" y="558"/>
                    </a:lnTo>
                    <a:lnTo>
                      <a:pt x="762" y="560"/>
                    </a:lnTo>
                    <a:lnTo>
                      <a:pt x="774" y="560"/>
                    </a:lnTo>
                    <a:lnTo>
                      <a:pt x="778" y="560"/>
                    </a:lnTo>
                    <a:lnTo>
                      <a:pt x="782" y="564"/>
                    </a:lnTo>
                    <a:lnTo>
                      <a:pt x="784" y="570"/>
                    </a:lnTo>
                    <a:lnTo>
                      <a:pt x="782" y="580"/>
                    </a:lnTo>
                    <a:lnTo>
                      <a:pt x="782" y="580"/>
                    </a:lnTo>
                    <a:lnTo>
                      <a:pt x="778" y="594"/>
                    </a:lnTo>
                    <a:lnTo>
                      <a:pt x="778" y="596"/>
                    </a:lnTo>
                    <a:lnTo>
                      <a:pt x="776" y="596"/>
                    </a:lnTo>
                    <a:lnTo>
                      <a:pt x="768" y="594"/>
                    </a:lnTo>
                    <a:lnTo>
                      <a:pt x="760" y="594"/>
                    </a:lnTo>
                    <a:lnTo>
                      <a:pt x="750" y="596"/>
                    </a:lnTo>
                    <a:lnTo>
                      <a:pt x="750" y="596"/>
                    </a:lnTo>
                    <a:lnTo>
                      <a:pt x="742" y="596"/>
                    </a:lnTo>
                    <a:lnTo>
                      <a:pt x="736" y="596"/>
                    </a:lnTo>
                    <a:lnTo>
                      <a:pt x="728" y="592"/>
                    </a:lnTo>
                    <a:lnTo>
                      <a:pt x="726" y="592"/>
                    </a:lnTo>
                    <a:lnTo>
                      <a:pt x="720" y="594"/>
                    </a:lnTo>
                    <a:lnTo>
                      <a:pt x="700" y="608"/>
                    </a:lnTo>
                    <a:lnTo>
                      <a:pt x="700" y="608"/>
                    </a:lnTo>
                    <a:lnTo>
                      <a:pt x="688" y="620"/>
                    </a:lnTo>
                    <a:lnTo>
                      <a:pt x="680" y="628"/>
                    </a:lnTo>
                    <a:lnTo>
                      <a:pt x="678" y="634"/>
                    </a:lnTo>
                    <a:lnTo>
                      <a:pt x="676" y="638"/>
                    </a:lnTo>
                    <a:lnTo>
                      <a:pt x="676" y="644"/>
                    </a:lnTo>
                    <a:lnTo>
                      <a:pt x="674" y="652"/>
                    </a:lnTo>
                    <a:lnTo>
                      <a:pt x="670" y="662"/>
                    </a:lnTo>
                    <a:lnTo>
                      <a:pt x="662" y="674"/>
                    </a:lnTo>
                    <a:lnTo>
                      <a:pt x="662" y="674"/>
                    </a:lnTo>
                    <a:lnTo>
                      <a:pt x="654" y="688"/>
                    </a:lnTo>
                    <a:lnTo>
                      <a:pt x="650" y="698"/>
                    </a:lnTo>
                    <a:lnTo>
                      <a:pt x="652" y="706"/>
                    </a:lnTo>
                    <a:lnTo>
                      <a:pt x="654" y="710"/>
                    </a:lnTo>
                    <a:lnTo>
                      <a:pt x="662" y="716"/>
                    </a:lnTo>
                    <a:lnTo>
                      <a:pt x="662" y="720"/>
                    </a:lnTo>
                    <a:lnTo>
                      <a:pt x="658" y="724"/>
                    </a:lnTo>
                    <a:lnTo>
                      <a:pt x="658" y="724"/>
                    </a:lnTo>
                    <a:lnTo>
                      <a:pt x="652" y="728"/>
                    </a:lnTo>
                    <a:lnTo>
                      <a:pt x="648" y="730"/>
                    </a:lnTo>
                    <a:lnTo>
                      <a:pt x="644" y="730"/>
                    </a:lnTo>
                    <a:lnTo>
                      <a:pt x="640" y="728"/>
                    </a:lnTo>
                    <a:lnTo>
                      <a:pt x="630" y="722"/>
                    </a:lnTo>
                    <a:lnTo>
                      <a:pt x="626" y="722"/>
                    </a:lnTo>
                    <a:lnTo>
                      <a:pt x="618" y="722"/>
                    </a:lnTo>
                    <a:lnTo>
                      <a:pt x="618" y="722"/>
                    </a:lnTo>
                    <a:lnTo>
                      <a:pt x="612" y="722"/>
                    </a:lnTo>
                    <a:lnTo>
                      <a:pt x="608" y="718"/>
                    </a:lnTo>
                    <a:lnTo>
                      <a:pt x="596" y="712"/>
                    </a:lnTo>
                    <a:lnTo>
                      <a:pt x="574" y="688"/>
                    </a:lnTo>
                    <a:lnTo>
                      <a:pt x="562" y="676"/>
                    </a:lnTo>
                    <a:lnTo>
                      <a:pt x="554" y="670"/>
                    </a:lnTo>
                    <a:lnTo>
                      <a:pt x="550" y="668"/>
                    </a:lnTo>
                    <a:lnTo>
                      <a:pt x="548" y="668"/>
                    </a:lnTo>
                    <a:lnTo>
                      <a:pt x="546" y="670"/>
                    </a:lnTo>
                    <a:lnTo>
                      <a:pt x="544" y="674"/>
                    </a:lnTo>
                    <a:lnTo>
                      <a:pt x="544" y="674"/>
                    </a:lnTo>
                    <a:lnTo>
                      <a:pt x="542" y="682"/>
                    </a:lnTo>
                    <a:lnTo>
                      <a:pt x="540" y="684"/>
                    </a:lnTo>
                    <a:lnTo>
                      <a:pt x="536" y="684"/>
                    </a:lnTo>
                    <a:lnTo>
                      <a:pt x="532" y="682"/>
                    </a:lnTo>
                    <a:lnTo>
                      <a:pt x="526" y="678"/>
                    </a:lnTo>
                    <a:lnTo>
                      <a:pt x="522" y="678"/>
                    </a:lnTo>
                    <a:lnTo>
                      <a:pt x="518" y="682"/>
                    </a:lnTo>
                    <a:lnTo>
                      <a:pt x="516" y="690"/>
                    </a:lnTo>
                    <a:lnTo>
                      <a:pt x="516" y="690"/>
                    </a:lnTo>
                    <a:lnTo>
                      <a:pt x="516" y="698"/>
                    </a:lnTo>
                    <a:lnTo>
                      <a:pt x="514" y="700"/>
                    </a:lnTo>
                    <a:lnTo>
                      <a:pt x="510" y="700"/>
                    </a:lnTo>
                    <a:lnTo>
                      <a:pt x="508" y="698"/>
                    </a:lnTo>
                    <a:lnTo>
                      <a:pt x="502" y="696"/>
                    </a:lnTo>
                    <a:lnTo>
                      <a:pt x="498" y="698"/>
                    </a:lnTo>
                    <a:lnTo>
                      <a:pt x="490" y="704"/>
                    </a:lnTo>
                    <a:lnTo>
                      <a:pt x="482" y="718"/>
                    </a:lnTo>
                    <a:lnTo>
                      <a:pt x="482" y="718"/>
                    </a:lnTo>
                    <a:lnTo>
                      <a:pt x="474" y="732"/>
                    </a:lnTo>
                    <a:lnTo>
                      <a:pt x="468" y="742"/>
                    </a:lnTo>
                    <a:lnTo>
                      <a:pt x="458" y="752"/>
                    </a:lnTo>
                    <a:lnTo>
                      <a:pt x="454" y="756"/>
                    </a:lnTo>
                    <a:lnTo>
                      <a:pt x="452" y="762"/>
                    </a:lnTo>
                    <a:lnTo>
                      <a:pt x="450" y="768"/>
                    </a:lnTo>
                    <a:lnTo>
                      <a:pt x="448" y="780"/>
                    </a:lnTo>
                    <a:lnTo>
                      <a:pt x="448" y="780"/>
                    </a:lnTo>
                    <a:lnTo>
                      <a:pt x="448" y="794"/>
                    </a:lnTo>
                    <a:lnTo>
                      <a:pt x="446" y="798"/>
                    </a:lnTo>
                    <a:lnTo>
                      <a:pt x="444" y="800"/>
                    </a:lnTo>
                    <a:lnTo>
                      <a:pt x="440" y="798"/>
                    </a:lnTo>
                    <a:lnTo>
                      <a:pt x="434" y="794"/>
                    </a:lnTo>
                    <a:lnTo>
                      <a:pt x="428" y="792"/>
                    </a:lnTo>
                    <a:lnTo>
                      <a:pt x="426" y="792"/>
                    </a:lnTo>
                    <a:lnTo>
                      <a:pt x="422" y="794"/>
                    </a:lnTo>
                    <a:lnTo>
                      <a:pt x="420" y="798"/>
                    </a:lnTo>
                    <a:lnTo>
                      <a:pt x="418" y="804"/>
                    </a:lnTo>
                    <a:lnTo>
                      <a:pt x="416" y="824"/>
                    </a:lnTo>
                    <a:lnTo>
                      <a:pt x="416" y="824"/>
                    </a:lnTo>
                    <a:lnTo>
                      <a:pt x="414" y="840"/>
                    </a:lnTo>
                    <a:lnTo>
                      <a:pt x="414" y="842"/>
                    </a:lnTo>
                    <a:lnTo>
                      <a:pt x="412" y="842"/>
                    </a:lnTo>
                    <a:lnTo>
                      <a:pt x="408" y="828"/>
                    </a:lnTo>
                    <a:lnTo>
                      <a:pt x="402" y="818"/>
                    </a:lnTo>
                    <a:lnTo>
                      <a:pt x="400" y="812"/>
                    </a:lnTo>
                    <a:lnTo>
                      <a:pt x="396" y="810"/>
                    </a:lnTo>
                    <a:lnTo>
                      <a:pt x="392" y="810"/>
                    </a:lnTo>
                    <a:lnTo>
                      <a:pt x="386" y="812"/>
                    </a:lnTo>
                    <a:lnTo>
                      <a:pt x="382" y="816"/>
                    </a:lnTo>
                    <a:lnTo>
                      <a:pt x="376" y="822"/>
                    </a:lnTo>
                    <a:lnTo>
                      <a:pt x="376" y="822"/>
                    </a:lnTo>
                    <a:lnTo>
                      <a:pt x="366" y="840"/>
                    </a:lnTo>
                    <a:lnTo>
                      <a:pt x="360" y="852"/>
                    </a:lnTo>
                    <a:lnTo>
                      <a:pt x="360" y="864"/>
                    </a:lnTo>
                    <a:lnTo>
                      <a:pt x="362" y="872"/>
                    </a:lnTo>
                    <a:lnTo>
                      <a:pt x="362" y="880"/>
                    </a:lnTo>
                    <a:lnTo>
                      <a:pt x="362" y="886"/>
                    </a:lnTo>
                    <a:lnTo>
                      <a:pt x="358" y="894"/>
                    </a:lnTo>
                    <a:lnTo>
                      <a:pt x="350" y="902"/>
                    </a:lnTo>
                    <a:lnTo>
                      <a:pt x="350" y="902"/>
                    </a:lnTo>
                    <a:lnTo>
                      <a:pt x="344" y="908"/>
                    </a:lnTo>
                    <a:lnTo>
                      <a:pt x="338" y="916"/>
                    </a:lnTo>
                    <a:lnTo>
                      <a:pt x="334" y="930"/>
                    </a:lnTo>
                    <a:lnTo>
                      <a:pt x="330" y="940"/>
                    </a:lnTo>
                    <a:lnTo>
                      <a:pt x="324" y="948"/>
                    </a:lnTo>
                    <a:lnTo>
                      <a:pt x="316" y="958"/>
                    </a:lnTo>
                    <a:lnTo>
                      <a:pt x="304" y="968"/>
                    </a:lnTo>
                    <a:lnTo>
                      <a:pt x="304" y="968"/>
                    </a:lnTo>
                    <a:lnTo>
                      <a:pt x="290" y="976"/>
                    </a:lnTo>
                    <a:lnTo>
                      <a:pt x="276" y="980"/>
                    </a:lnTo>
                    <a:lnTo>
                      <a:pt x="266" y="982"/>
                    </a:lnTo>
                    <a:lnTo>
                      <a:pt x="256" y="980"/>
                    </a:lnTo>
                    <a:lnTo>
                      <a:pt x="240" y="980"/>
                    </a:lnTo>
                    <a:lnTo>
                      <a:pt x="234" y="982"/>
                    </a:lnTo>
                    <a:lnTo>
                      <a:pt x="232" y="986"/>
                    </a:lnTo>
                    <a:lnTo>
                      <a:pt x="232" y="986"/>
                    </a:lnTo>
                    <a:lnTo>
                      <a:pt x="228" y="990"/>
                    </a:lnTo>
                    <a:lnTo>
                      <a:pt x="224" y="994"/>
                    </a:lnTo>
                    <a:lnTo>
                      <a:pt x="212" y="998"/>
                    </a:lnTo>
                    <a:lnTo>
                      <a:pt x="198" y="1002"/>
                    </a:lnTo>
                    <a:lnTo>
                      <a:pt x="180" y="1012"/>
                    </a:lnTo>
                    <a:lnTo>
                      <a:pt x="180" y="1012"/>
                    </a:lnTo>
                    <a:lnTo>
                      <a:pt x="170" y="1016"/>
                    </a:lnTo>
                    <a:lnTo>
                      <a:pt x="162" y="1016"/>
                    </a:lnTo>
                    <a:lnTo>
                      <a:pt x="150" y="1012"/>
                    </a:lnTo>
                    <a:lnTo>
                      <a:pt x="142" y="1012"/>
                    </a:lnTo>
                    <a:lnTo>
                      <a:pt x="134" y="1014"/>
                    </a:lnTo>
                    <a:lnTo>
                      <a:pt x="124" y="1020"/>
                    </a:lnTo>
                    <a:lnTo>
                      <a:pt x="110" y="1034"/>
                    </a:lnTo>
                    <a:lnTo>
                      <a:pt x="110" y="1034"/>
                    </a:lnTo>
                    <a:lnTo>
                      <a:pt x="98" y="1048"/>
                    </a:lnTo>
                    <a:lnTo>
                      <a:pt x="86" y="1058"/>
                    </a:lnTo>
                    <a:lnTo>
                      <a:pt x="78" y="1062"/>
                    </a:lnTo>
                    <a:lnTo>
                      <a:pt x="72" y="1066"/>
                    </a:lnTo>
                    <a:lnTo>
                      <a:pt x="66" y="1068"/>
                    </a:lnTo>
                    <a:lnTo>
                      <a:pt x="60" y="1074"/>
                    </a:lnTo>
                    <a:lnTo>
                      <a:pt x="54" y="1082"/>
                    </a:lnTo>
                    <a:lnTo>
                      <a:pt x="50" y="1094"/>
                    </a:lnTo>
                    <a:lnTo>
                      <a:pt x="50" y="1094"/>
                    </a:lnTo>
                    <a:lnTo>
                      <a:pt x="44" y="1104"/>
                    </a:lnTo>
                    <a:lnTo>
                      <a:pt x="42" y="1106"/>
                    </a:lnTo>
                    <a:lnTo>
                      <a:pt x="42" y="1104"/>
                    </a:lnTo>
                    <a:lnTo>
                      <a:pt x="40" y="1100"/>
                    </a:lnTo>
                    <a:lnTo>
                      <a:pt x="38" y="1092"/>
                    </a:lnTo>
                    <a:lnTo>
                      <a:pt x="38" y="1084"/>
                    </a:lnTo>
                    <a:lnTo>
                      <a:pt x="36" y="1078"/>
                    </a:lnTo>
                    <a:lnTo>
                      <a:pt x="34" y="1078"/>
                    </a:lnTo>
                    <a:lnTo>
                      <a:pt x="30" y="1078"/>
                    </a:lnTo>
                    <a:lnTo>
                      <a:pt x="24" y="1088"/>
                    </a:lnTo>
                    <a:lnTo>
                      <a:pt x="24" y="1088"/>
                    </a:lnTo>
                    <a:lnTo>
                      <a:pt x="18" y="1100"/>
                    </a:lnTo>
                    <a:lnTo>
                      <a:pt x="16" y="1110"/>
                    </a:lnTo>
                    <a:lnTo>
                      <a:pt x="18" y="1118"/>
                    </a:lnTo>
                    <a:lnTo>
                      <a:pt x="20" y="1126"/>
                    </a:lnTo>
                    <a:lnTo>
                      <a:pt x="22" y="1134"/>
                    </a:lnTo>
                    <a:lnTo>
                      <a:pt x="22" y="1144"/>
                    </a:lnTo>
                    <a:lnTo>
                      <a:pt x="20" y="1154"/>
                    </a:lnTo>
                    <a:lnTo>
                      <a:pt x="12" y="1170"/>
                    </a:lnTo>
                    <a:lnTo>
                      <a:pt x="12" y="1170"/>
                    </a:lnTo>
                    <a:lnTo>
                      <a:pt x="8" y="1180"/>
                    </a:lnTo>
                    <a:lnTo>
                      <a:pt x="4" y="1188"/>
                    </a:lnTo>
                    <a:lnTo>
                      <a:pt x="4" y="1196"/>
                    </a:lnTo>
                    <a:lnTo>
                      <a:pt x="4" y="1204"/>
                    </a:lnTo>
                    <a:lnTo>
                      <a:pt x="8" y="1220"/>
                    </a:lnTo>
                    <a:lnTo>
                      <a:pt x="16" y="1236"/>
                    </a:lnTo>
                    <a:lnTo>
                      <a:pt x="34" y="1266"/>
                    </a:lnTo>
                    <a:lnTo>
                      <a:pt x="40" y="1280"/>
                    </a:lnTo>
                    <a:lnTo>
                      <a:pt x="40" y="1288"/>
                    </a:lnTo>
                    <a:lnTo>
                      <a:pt x="42" y="1294"/>
                    </a:lnTo>
                    <a:lnTo>
                      <a:pt x="42" y="1294"/>
                    </a:lnTo>
                    <a:lnTo>
                      <a:pt x="40" y="1304"/>
                    </a:lnTo>
                    <a:lnTo>
                      <a:pt x="38" y="1304"/>
                    </a:lnTo>
                    <a:lnTo>
                      <a:pt x="36" y="1304"/>
                    </a:lnTo>
                    <a:lnTo>
                      <a:pt x="32" y="1298"/>
                    </a:lnTo>
                    <a:lnTo>
                      <a:pt x="26" y="1288"/>
                    </a:lnTo>
                    <a:lnTo>
                      <a:pt x="14" y="1268"/>
                    </a:lnTo>
                    <a:lnTo>
                      <a:pt x="10" y="1264"/>
                    </a:lnTo>
                    <a:lnTo>
                      <a:pt x="8" y="1264"/>
                    </a:lnTo>
                    <a:lnTo>
                      <a:pt x="8" y="1264"/>
                    </a:lnTo>
                    <a:lnTo>
                      <a:pt x="8" y="1264"/>
                    </a:lnTo>
                    <a:lnTo>
                      <a:pt x="6" y="1270"/>
                    </a:lnTo>
                    <a:lnTo>
                      <a:pt x="8" y="1276"/>
                    </a:lnTo>
                    <a:lnTo>
                      <a:pt x="14" y="1290"/>
                    </a:lnTo>
                    <a:lnTo>
                      <a:pt x="20" y="1304"/>
                    </a:lnTo>
                    <a:lnTo>
                      <a:pt x="22" y="1310"/>
                    </a:lnTo>
                    <a:lnTo>
                      <a:pt x="22" y="1316"/>
                    </a:lnTo>
                    <a:lnTo>
                      <a:pt x="22" y="1316"/>
                    </a:lnTo>
                    <a:lnTo>
                      <a:pt x="20" y="1316"/>
                    </a:lnTo>
                    <a:lnTo>
                      <a:pt x="20" y="1316"/>
                    </a:lnTo>
                    <a:lnTo>
                      <a:pt x="16" y="1312"/>
                    </a:lnTo>
                    <a:lnTo>
                      <a:pt x="10" y="1298"/>
                    </a:lnTo>
                    <a:lnTo>
                      <a:pt x="6" y="1292"/>
                    </a:lnTo>
                    <a:lnTo>
                      <a:pt x="2" y="1288"/>
                    </a:lnTo>
                    <a:lnTo>
                      <a:pt x="2" y="1288"/>
                    </a:lnTo>
                    <a:lnTo>
                      <a:pt x="0" y="1290"/>
                    </a:lnTo>
                    <a:lnTo>
                      <a:pt x="0" y="1298"/>
                    </a:lnTo>
                    <a:lnTo>
                      <a:pt x="0" y="1298"/>
                    </a:lnTo>
                    <a:lnTo>
                      <a:pt x="0" y="1306"/>
                    </a:lnTo>
                    <a:lnTo>
                      <a:pt x="4" y="1316"/>
                    </a:lnTo>
                    <a:lnTo>
                      <a:pt x="18" y="1334"/>
                    </a:lnTo>
                    <a:lnTo>
                      <a:pt x="30" y="1354"/>
                    </a:lnTo>
                    <a:lnTo>
                      <a:pt x="34" y="1364"/>
                    </a:lnTo>
                    <a:lnTo>
                      <a:pt x="36" y="1374"/>
                    </a:lnTo>
                    <a:lnTo>
                      <a:pt x="36" y="1374"/>
                    </a:lnTo>
                    <a:lnTo>
                      <a:pt x="36" y="1390"/>
                    </a:lnTo>
                    <a:lnTo>
                      <a:pt x="40" y="1402"/>
                    </a:lnTo>
                    <a:lnTo>
                      <a:pt x="48" y="1414"/>
                    </a:lnTo>
                    <a:lnTo>
                      <a:pt x="60" y="1438"/>
                    </a:lnTo>
                    <a:lnTo>
                      <a:pt x="60" y="1438"/>
                    </a:lnTo>
                    <a:lnTo>
                      <a:pt x="66" y="1452"/>
                    </a:lnTo>
                    <a:lnTo>
                      <a:pt x="68" y="1462"/>
                    </a:lnTo>
                    <a:lnTo>
                      <a:pt x="68" y="1482"/>
                    </a:lnTo>
                    <a:lnTo>
                      <a:pt x="70" y="1494"/>
                    </a:lnTo>
                    <a:lnTo>
                      <a:pt x="72" y="1510"/>
                    </a:lnTo>
                    <a:lnTo>
                      <a:pt x="76" y="1530"/>
                    </a:lnTo>
                    <a:lnTo>
                      <a:pt x="86" y="1556"/>
                    </a:lnTo>
                    <a:lnTo>
                      <a:pt x="86" y="1556"/>
                    </a:lnTo>
                    <a:lnTo>
                      <a:pt x="96" y="1580"/>
                    </a:lnTo>
                    <a:lnTo>
                      <a:pt x="100" y="1598"/>
                    </a:lnTo>
                    <a:lnTo>
                      <a:pt x="102" y="1610"/>
                    </a:lnTo>
                    <a:lnTo>
                      <a:pt x="100" y="1620"/>
                    </a:lnTo>
                    <a:lnTo>
                      <a:pt x="96" y="1632"/>
                    </a:lnTo>
                    <a:lnTo>
                      <a:pt x="94" y="1638"/>
                    </a:lnTo>
                    <a:lnTo>
                      <a:pt x="94" y="1646"/>
                    </a:lnTo>
                    <a:lnTo>
                      <a:pt x="94" y="1646"/>
                    </a:lnTo>
                    <a:lnTo>
                      <a:pt x="96" y="1656"/>
                    </a:lnTo>
                    <a:lnTo>
                      <a:pt x="96" y="1664"/>
                    </a:lnTo>
                    <a:lnTo>
                      <a:pt x="94" y="1672"/>
                    </a:lnTo>
                    <a:lnTo>
                      <a:pt x="92" y="1678"/>
                    </a:lnTo>
                    <a:lnTo>
                      <a:pt x="88" y="1682"/>
                    </a:lnTo>
                    <a:lnTo>
                      <a:pt x="84" y="1684"/>
                    </a:lnTo>
                    <a:lnTo>
                      <a:pt x="80" y="1684"/>
                    </a:lnTo>
                    <a:lnTo>
                      <a:pt x="74" y="1684"/>
                    </a:lnTo>
                    <a:lnTo>
                      <a:pt x="74" y="1684"/>
                    </a:lnTo>
                    <a:lnTo>
                      <a:pt x="70" y="1684"/>
                    </a:lnTo>
                    <a:lnTo>
                      <a:pt x="68" y="1688"/>
                    </a:lnTo>
                    <a:lnTo>
                      <a:pt x="66" y="1694"/>
                    </a:lnTo>
                    <a:lnTo>
                      <a:pt x="66" y="1702"/>
                    </a:lnTo>
                    <a:lnTo>
                      <a:pt x="68" y="1710"/>
                    </a:lnTo>
                    <a:lnTo>
                      <a:pt x="70" y="1716"/>
                    </a:lnTo>
                    <a:lnTo>
                      <a:pt x="76" y="1722"/>
                    </a:lnTo>
                    <a:lnTo>
                      <a:pt x="82" y="1722"/>
                    </a:lnTo>
                    <a:lnTo>
                      <a:pt x="82" y="1722"/>
                    </a:lnTo>
                    <a:lnTo>
                      <a:pt x="88" y="1722"/>
                    </a:lnTo>
                    <a:lnTo>
                      <a:pt x="92" y="1726"/>
                    </a:lnTo>
                    <a:lnTo>
                      <a:pt x="104" y="1738"/>
                    </a:lnTo>
                    <a:lnTo>
                      <a:pt x="114" y="1746"/>
                    </a:lnTo>
                    <a:lnTo>
                      <a:pt x="124" y="1754"/>
                    </a:lnTo>
                    <a:lnTo>
                      <a:pt x="138" y="1760"/>
                    </a:lnTo>
                    <a:lnTo>
                      <a:pt x="156" y="1762"/>
                    </a:lnTo>
                    <a:lnTo>
                      <a:pt x="156" y="1762"/>
                    </a:lnTo>
                    <a:lnTo>
                      <a:pt x="174" y="1764"/>
                    </a:lnTo>
                    <a:lnTo>
                      <a:pt x="188" y="1760"/>
                    </a:lnTo>
                    <a:lnTo>
                      <a:pt x="200" y="1756"/>
                    </a:lnTo>
                    <a:lnTo>
                      <a:pt x="208" y="1750"/>
                    </a:lnTo>
                    <a:lnTo>
                      <a:pt x="222" y="1736"/>
                    </a:lnTo>
                    <a:lnTo>
                      <a:pt x="230" y="1732"/>
                    </a:lnTo>
                    <a:lnTo>
                      <a:pt x="238" y="1730"/>
                    </a:lnTo>
                    <a:lnTo>
                      <a:pt x="238" y="1730"/>
                    </a:lnTo>
                    <a:lnTo>
                      <a:pt x="246" y="1728"/>
                    </a:lnTo>
                    <a:lnTo>
                      <a:pt x="252" y="1724"/>
                    </a:lnTo>
                    <a:lnTo>
                      <a:pt x="254" y="1720"/>
                    </a:lnTo>
                    <a:lnTo>
                      <a:pt x="258" y="1714"/>
                    </a:lnTo>
                    <a:lnTo>
                      <a:pt x="260" y="1708"/>
                    </a:lnTo>
                    <a:lnTo>
                      <a:pt x="264" y="1704"/>
                    </a:lnTo>
                    <a:lnTo>
                      <a:pt x="270" y="1702"/>
                    </a:lnTo>
                    <a:lnTo>
                      <a:pt x="278" y="1700"/>
                    </a:lnTo>
                    <a:lnTo>
                      <a:pt x="278" y="1700"/>
                    </a:lnTo>
                    <a:lnTo>
                      <a:pt x="290" y="1700"/>
                    </a:lnTo>
                    <a:lnTo>
                      <a:pt x="300" y="1700"/>
                    </a:lnTo>
                    <a:lnTo>
                      <a:pt x="316" y="1696"/>
                    </a:lnTo>
                    <a:lnTo>
                      <a:pt x="322" y="1694"/>
                    </a:lnTo>
                    <a:lnTo>
                      <a:pt x="328" y="1694"/>
                    </a:lnTo>
                    <a:lnTo>
                      <a:pt x="336" y="1694"/>
                    </a:lnTo>
                    <a:lnTo>
                      <a:pt x="344" y="1698"/>
                    </a:lnTo>
                    <a:lnTo>
                      <a:pt x="344" y="1698"/>
                    </a:lnTo>
                    <a:lnTo>
                      <a:pt x="354" y="1702"/>
                    </a:lnTo>
                    <a:lnTo>
                      <a:pt x="360" y="1704"/>
                    </a:lnTo>
                    <a:lnTo>
                      <a:pt x="364" y="1704"/>
                    </a:lnTo>
                    <a:lnTo>
                      <a:pt x="368" y="1702"/>
                    </a:lnTo>
                    <a:lnTo>
                      <a:pt x="372" y="1698"/>
                    </a:lnTo>
                    <a:lnTo>
                      <a:pt x="378" y="1698"/>
                    </a:lnTo>
                    <a:lnTo>
                      <a:pt x="386" y="1698"/>
                    </a:lnTo>
                    <a:lnTo>
                      <a:pt x="398" y="1702"/>
                    </a:lnTo>
                    <a:lnTo>
                      <a:pt x="398" y="1702"/>
                    </a:lnTo>
                    <a:lnTo>
                      <a:pt x="406" y="1702"/>
                    </a:lnTo>
                    <a:lnTo>
                      <a:pt x="410" y="1702"/>
                    </a:lnTo>
                    <a:lnTo>
                      <a:pt x="416" y="1702"/>
                    </a:lnTo>
                    <a:lnTo>
                      <a:pt x="420" y="1698"/>
                    </a:lnTo>
                    <a:lnTo>
                      <a:pt x="426" y="1690"/>
                    </a:lnTo>
                    <a:lnTo>
                      <a:pt x="430" y="1678"/>
                    </a:lnTo>
                    <a:lnTo>
                      <a:pt x="434" y="1668"/>
                    </a:lnTo>
                    <a:lnTo>
                      <a:pt x="438" y="1656"/>
                    </a:lnTo>
                    <a:lnTo>
                      <a:pt x="446" y="1650"/>
                    </a:lnTo>
                    <a:lnTo>
                      <a:pt x="450" y="1646"/>
                    </a:lnTo>
                    <a:lnTo>
                      <a:pt x="454" y="1646"/>
                    </a:lnTo>
                    <a:lnTo>
                      <a:pt x="454" y="1646"/>
                    </a:lnTo>
                    <a:lnTo>
                      <a:pt x="464" y="1644"/>
                    </a:lnTo>
                    <a:lnTo>
                      <a:pt x="472" y="1640"/>
                    </a:lnTo>
                    <a:lnTo>
                      <a:pt x="484" y="1628"/>
                    </a:lnTo>
                    <a:lnTo>
                      <a:pt x="492" y="1622"/>
                    </a:lnTo>
                    <a:lnTo>
                      <a:pt x="502" y="1616"/>
                    </a:lnTo>
                    <a:lnTo>
                      <a:pt x="514" y="1614"/>
                    </a:lnTo>
                    <a:lnTo>
                      <a:pt x="530" y="1614"/>
                    </a:lnTo>
                    <a:lnTo>
                      <a:pt x="530" y="1614"/>
                    </a:lnTo>
                    <a:lnTo>
                      <a:pt x="544" y="1614"/>
                    </a:lnTo>
                    <a:lnTo>
                      <a:pt x="556" y="1614"/>
                    </a:lnTo>
                    <a:lnTo>
                      <a:pt x="578" y="1610"/>
                    </a:lnTo>
                    <a:lnTo>
                      <a:pt x="596" y="1602"/>
                    </a:lnTo>
                    <a:lnTo>
                      <a:pt x="614" y="1594"/>
                    </a:lnTo>
                    <a:lnTo>
                      <a:pt x="630" y="1586"/>
                    </a:lnTo>
                    <a:lnTo>
                      <a:pt x="644" y="1580"/>
                    </a:lnTo>
                    <a:lnTo>
                      <a:pt x="660" y="1574"/>
                    </a:lnTo>
                    <a:lnTo>
                      <a:pt x="668" y="1574"/>
                    </a:lnTo>
                    <a:lnTo>
                      <a:pt x="676" y="1574"/>
                    </a:lnTo>
                    <a:lnTo>
                      <a:pt x="676" y="1574"/>
                    </a:lnTo>
                    <a:lnTo>
                      <a:pt x="696" y="1578"/>
                    </a:lnTo>
                    <a:lnTo>
                      <a:pt x="706" y="1576"/>
                    </a:lnTo>
                    <a:lnTo>
                      <a:pt x="712" y="1574"/>
                    </a:lnTo>
                    <a:lnTo>
                      <a:pt x="716" y="1572"/>
                    </a:lnTo>
                    <a:lnTo>
                      <a:pt x="718" y="1570"/>
                    </a:lnTo>
                    <a:lnTo>
                      <a:pt x="724" y="1572"/>
                    </a:lnTo>
                    <a:lnTo>
                      <a:pt x="752" y="1586"/>
                    </a:lnTo>
                    <a:lnTo>
                      <a:pt x="752" y="1586"/>
                    </a:lnTo>
                    <a:lnTo>
                      <a:pt x="772" y="1596"/>
                    </a:lnTo>
                    <a:lnTo>
                      <a:pt x="786" y="1602"/>
                    </a:lnTo>
                    <a:lnTo>
                      <a:pt x="798" y="1606"/>
                    </a:lnTo>
                    <a:lnTo>
                      <a:pt x="806" y="1606"/>
                    </a:lnTo>
                    <a:lnTo>
                      <a:pt x="822" y="1608"/>
                    </a:lnTo>
                    <a:lnTo>
                      <a:pt x="828" y="1612"/>
                    </a:lnTo>
                    <a:lnTo>
                      <a:pt x="838" y="1618"/>
                    </a:lnTo>
                    <a:lnTo>
                      <a:pt x="838" y="1618"/>
                    </a:lnTo>
                    <a:lnTo>
                      <a:pt x="846" y="1626"/>
                    </a:lnTo>
                    <a:lnTo>
                      <a:pt x="848" y="1632"/>
                    </a:lnTo>
                    <a:lnTo>
                      <a:pt x="848" y="1636"/>
                    </a:lnTo>
                    <a:lnTo>
                      <a:pt x="846" y="1642"/>
                    </a:lnTo>
                    <a:lnTo>
                      <a:pt x="844" y="1646"/>
                    </a:lnTo>
                    <a:lnTo>
                      <a:pt x="844" y="1650"/>
                    </a:lnTo>
                    <a:lnTo>
                      <a:pt x="848" y="1656"/>
                    </a:lnTo>
                    <a:lnTo>
                      <a:pt x="860" y="1662"/>
                    </a:lnTo>
                    <a:lnTo>
                      <a:pt x="860" y="1662"/>
                    </a:lnTo>
                    <a:lnTo>
                      <a:pt x="866" y="1666"/>
                    </a:lnTo>
                    <a:lnTo>
                      <a:pt x="870" y="1672"/>
                    </a:lnTo>
                    <a:lnTo>
                      <a:pt x="876" y="1682"/>
                    </a:lnTo>
                    <a:lnTo>
                      <a:pt x="880" y="1694"/>
                    </a:lnTo>
                    <a:lnTo>
                      <a:pt x="882" y="1708"/>
                    </a:lnTo>
                    <a:lnTo>
                      <a:pt x="884" y="1722"/>
                    </a:lnTo>
                    <a:lnTo>
                      <a:pt x="886" y="1732"/>
                    </a:lnTo>
                    <a:lnTo>
                      <a:pt x="892" y="1742"/>
                    </a:lnTo>
                    <a:lnTo>
                      <a:pt x="894" y="1746"/>
                    </a:lnTo>
                    <a:lnTo>
                      <a:pt x="900" y="1748"/>
                    </a:lnTo>
                    <a:lnTo>
                      <a:pt x="900" y="1748"/>
                    </a:lnTo>
                    <a:lnTo>
                      <a:pt x="914" y="1756"/>
                    </a:lnTo>
                    <a:lnTo>
                      <a:pt x="914" y="1758"/>
                    </a:lnTo>
                    <a:lnTo>
                      <a:pt x="914" y="1756"/>
                    </a:lnTo>
                    <a:lnTo>
                      <a:pt x="914" y="1750"/>
                    </a:lnTo>
                    <a:lnTo>
                      <a:pt x="916" y="1742"/>
                    </a:lnTo>
                    <a:lnTo>
                      <a:pt x="920" y="1730"/>
                    </a:lnTo>
                    <a:lnTo>
                      <a:pt x="932" y="1716"/>
                    </a:lnTo>
                    <a:lnTo>
                      <a:pt x="932" y="1716"/>
                    </a:lnTo>
                    <a:lnTo>
                      <a:pt x="944" y="1702"/>
                    </a:lnTo>
                    <a:lnTo>
                      <a:pt x="952" y="1694"/>
                    </a:lnTo>
                    <a:lnTo>
                      <a:pt x="958" y="1690"/>
                    </a:lnTo>
                    <a:lnTo>
                      <a:pt x="962" y="1690"/>
                    </a:lnTo>
                    <a:lnTo>
                      <a:pt x="964" y="1690"/>
                    </a:lnTo>
                    <a:lnTo>
                      <a:pt x="966" y="1680"/>
                    </a:lnTo>
                    <a:lnTo>
                      <a:pt x="966" y="1680"/>
                    </a:lnTo>
                    <a:lnTo>
                      <a:pt x="968" y="1672"/>
                    </a:lnTo>
                    <a:lnTo>
                      <a:pt x="972" y="1666"/>
                    </a:lnTo>
                    <a:lnTo>
                      <a:pt x="980" y="1658"/>
                    </a:lnTo>
                    <a:lnTo>
                      <a:pt x="986" y="1650"/>
                    </a:lnTo>
                    <a:lnTo>
                      <a:pt x="988" y="1646"/>
                    </a:lnTo>
                    <a:lnTo>
                      <a:pt x="990" y="1640"/>
                    </a:lnTo>
                    <a:lnTo>
                      <a:pt x="990" y="1640"/>
                    </a:lnTo>
                    <a:lnTo>
                      <a:pt x="990" y="1632"/>
                    </a:lnTo>
                    <a:lnTo>
                      <a:pt x="990" y="1630"/>
                    </a:lnTo>
                    <a:lnTo>
                      <a:pt x="990" y="1632"/>
                    </a:lnTo>
                    <a:lnTo>
                      <a:pt x="998" y="1646"/>
                    </a:lnTo>
                    <a:lnTo>
                      <a:pt x="998" y="1646"/>
                    </a:lnTo>
                    <a:lnTo>
                      <a:pt x="998" y="1654"/>
                    </a:lnTo>
                    <a:lnTo>
                      <a:pt x="996" y="1664"/>
                    </a:lnTo>
                    <a:lnTo>
                      <a:pt x="988" y="1686"/>
                    </a:lnTo>
                    <a:lnTo>
                      <a:pt x="980" y="1710"/>
                    </a:lnTo>
                    <a:lnTo>
                      <a:pt x="978" y="1718"/>
                    </a:lnTo>
                    <a:lnTo>
                      <a:pt x="978" y="1726"/>
                    </a:lnTo>
                    <a:lnTo>
                      <a:pt x="978" y="1726"/>
                    </a:lnTo>
                    <a:lnTo>
                      <a:pt x="980" y="1736"/>
                    </a:lnTo>
                    <a:lnTo>
                      <a:pt x="980" y="1746"/>
                    </a:lnTo>
                    <a:lnTo>
                      <a:pt x="976" y="1750"/>
                    </a:lnTo>
                    <a:lnTo>
                      <a:pt x="972" y="1752"/>
                    </a:lnTo>
                    <a:lnTo>
                      <a:pt x="968" y="1752"/>
                    </a:lnTo>
                    <a:lnTo>
                      <a:pt x="968" y="1752"/>
                    </a:lnTo>
                    <a:lnTo>
                      <a:pt x="964" y="1754"/>
                    </a:lnTo>
                    <a:lnTo>
                      <a:pt x="960" y="1756"/>
                    </a:lnTo>
                    <a:lnTo>
                      <a:pt x="956" y="1758"/>
                    </a:lnTo>
                    <a:lnTo>
                      <a:pt x="954" y="1762"/>
                    </a:lnTo>
                    <a:lnTo>
                      <a:pt x="954" y="1766"/>
                    </a:lnTo>
                    <a:lnTo>
                      <a:pt x="958" y="1770"/>
                    </a:lnTo>
                    <a:lnTo>
                      <a:pt x="962" y="1770"/>
                    </a:lnTo>
                    <a:lnTo>
                      <a:pt x="972" y="1770"/>
                    </a:lnTo>
                    <a:lnTo>
                      <a:pt x="972" y="1770"/>
                    </a:lnTo>
                    <a:lnTo>
                      <a:pt x="978" y="1770"/>
                    </a:lnTo>
                    <a:lnTo>
                      <a:pt x="982" y="1766"/>
                    </a:lnTo>
                    <a:lnTo>
                      <a:pt x="990" y="1758"/>
                    </a:lnTo>
                    <a:lnTo>
                      <a:pt x="994" y="1750"/>
                    </a:lnTo>
                    <a:lnTo>
                      <a:pt x="996" y="1740"/>
                    </a:lnTo>
                    <a:lnTo>
                      <a:pt x="1000" y="1730"/>
                    </a:lnTo>
                    <a:lnTo>
                      <a:pt x="1002" y="1726"/>
                    </a:lnTo>
                    <a:lnTo>
                      <a:pt x="1004" y="1726"/>
                    </a:lnTo>
                    <a:lnTo>
                      <a:pt x="1006" y="1726"/>
                    </a:lnTo>
                    <a:lnTo>
                      <a:pt x="1012" y="1734"/>
                    </a:lnTo>
                    <a:lnTo>
                      <a:pt x="1012" y="1734"/>
                    </a:lnTo>
                    <a:lnTo>
                      <a:pt x="1016" y="1744"/>
                    </a:lnTo>
                    <a:lnTo>
                      <a:pt x="1018" y="1754"/>
                    </a:lnTo>
                    <a:lnTo>
                      <a:pt x="1016" y="1762"/>
                    </a:lnTo>
                    <a:lnTo>
                      <a:pt x="1014" y="1770"/>
                    </a:lnTo>
                    <a:lnTo>
                      <a:pt x="1006" y="1784"/>
                    </a:lnTo>
                    <a:lnTo>
                      <a:pt x="1004" y="1788"/>
                    </a:lnTo>
                    <a:lnTo>
                      <a:pt x="1006" y="1792"/>
                    </a:lnTo>
                    <a:lnTo>
                      <a:pt x="1006" y="1792"/>
                    </a:lnTo>
                    <a:lnTo>
                      <a:pt x="1008" y="1794"/>
                    </a:lnTo>
                    <a:lnTo>
                      <a:pt x="1012" y="1794"/>
                    </a:lnTo>
                    <a:lnTo>
                      <a:pt x="1020" y="1792"/>
                    </a:lnTo>
                    <a:lnTo>
                      <a:pt x="1030" y="1792"/>
                    </a:lnTo>
                    <a:lnTo>
                      <a:pt x="1036" y="1792"/>
                    </a:lnTo>
                    <a:lnTo>
                      <a:pt x="1042" y="1794"/>
                    </a:lnTo>
                    <a:lnTo>
                      <a:pt x="1042" y="1794"/>
                    </a:lnTo>
                    <a:lnTo>
                      <a:pt x="1048" y="1800"/>
                    </a:lnTo>
                    <a:lnTo>
                      <a:pt x="1054" y="1806"/>
                    </a:lnTo>
                    <a:lnTo>
                      <a:pt x="1060" y="1814"/>
                    </a:lnTo>
                    <a:lnTo>
                      <a:pt x="1066" y="1824"/>
                    </a:lnTo>
                    <a:lnTo>
                      <a:pt x="1070" y="1832"/>
                    </a:lnTo>
                    <a:lnTo>
                      <a:pt x="1072" y="1842"/>
                    </a:lnTo>
                    <a:lnTo>
                      <a:pt x="1072" y="1850"/>
                    </a:lnTo>
                    <a:lnTo>
                      <a:pt x="1070" y="1858"/>
                    </a:lnTo>
                    <a:lnTo>
                      <a:pt x="1070" y="1858"/>
                    </a:lnTo>
                    <a:lnTo>
                      <a:pt x="1068" y="1866"/>
                    </a:lnTo>
                    <a:lnTo>
                      <a:pt x="1068" y="1874"/>
                    </a:lnTo>
                    <a:lnTo>
                      <a:pt x="1074" y="1886"/>
                    </a:lnTo>
                    <a:lnTo>
                      <a:pt x="1080" y="1896"/>
                    </a:lnTo>
                    <a:lnTo>
                      <a:pt x="1088" y="1904"/>
                    </a:lnTo>
                    <a:lnTo>
                      <a:pt x="1098" y="1914"/>
                    </a:lnTo>
                    <a:lnTo>
                      <a:pt x="1106" y="1920"/>
                    </a:lnTo>
                    <a:lnTo>
                      <a:pt x="1114" y="1924"/>
                    </a:lnTo>
                    <a:lnTo>
                      <a:pt x="1114" y="1924"/>
                    </a:lnTo>
                    <a:lnTo>
                      <a:pt x="1120" y="1926"/>
                    </a:lnTo>
                    <a:lnTo>
                      <a:pt x="1126" y="1930"/>
                    </a:lnTo>
                    <a:lnTo>
                      <a:pt x="1134" y="1938"/>
                    </a:lnTo>
                    <a:lnTo>
                      <a:pt x="1138" y="1944"/>
                    </a:lnTo>
                    <a:lnTo>
                      <a:pt x="1142" y="1944"/>
                    </a:lnTo>
                    <a:lnTo>
                      <a:pt x="1146" y="1942"/>
                    </a:lnTo>
                    <a:lnTo>
                      <a:pt x="1146" y="1942"/>
                    </a:lnTo>
                    <a:lnTo>
                      <a:pt x="1152" y="1936"/>
                    </a:lnTo>
                    <a:lnTo>
                      <a:pt x="1156" y="1936"/>
                    </a:lnTo>
                    <a:lnTo>
                      <a:pt x="1160" y="1936"/>
                    </a:lnTo>
                    <a:lnTo>
                      <a:pt x="1176" y="1942"/>
                    </a:lnTo>
                    <a:lnTo>
                      <a:pt x="1198" y="1956"/>
                    </a:lnTo>
                    <a:lnTo>
                      <a:pt x="1198" y="1956"/>
                    </a:lnTo>
                    <a:lnTo>
                      <a:pt x="1210" y="1962"/>
                    </a:lnTo>
                    <a:lnTo>
                      <a:pt x="1218" y="1964"/>
                    </a:lnTo>
                    <a:lnTo>
                      <a:pt x="1224" y="1964"/>
                    </a:lnTo>
                    <a:lnTo>
                      <a:pt x="1230" y="1960"/>
                    </a:lnTo>
                    <a:lnTo>
                      <a:pt x="1238" y="1952"/>
                    </a:lnTo>
                    <a:lnTo>
                      <a:pt x="1244" y="1946"/>
                    </a:lnTo>
                    <a:lnTo>
                      <a:pt x="1252" y="1940"/>
                    </a:lnTo>
                    <a:lnTo>
                      <a:pt x="1252" y="1940"/>
                    </a:lnTo>
                    <a:lnTo>
                      <a:pt x="1260" y="1936"/>
                    </a:lnTo>
                    <a:lnTo>
                      <a:pt x="1264" y="1930"/>
                    </a:lnTo>
                    <a:lnTo>
                      <a:pt x="1270" y="1920"/>
                    </a:lnTo>
                    <a:lnTo>
                      <a:pt x="1270" y="1918"/>
                    </a:lnTo>
                    <a:lnTo>
                      <a:pt x="1272" y="1916"/>
                    </a:lnTo>
                    <a:lnTo>
                      <a:pt x="1276" y="1916"/>
                    </a:lnTo>
                    <a:lnTo>
                      <a:pt x="1282" y="1918"/>
                    </a:lnTo>
                    <a:lnTo>
                      <a:pt x="1282" y="1918"/>
                    </a:lnTo>
                    <a:lnTo>
                      <a:pt x="1286" y="1924"/>
                    </a:lnTo>
                    <a:lnTo>
                      <a:pt x="1288" y="1928"/>
                    </a:lnTo>
                    <a:lnTo>
                      <a:pt x="1284" y="1930"/>
                    </a:lnTo>
                    <a:lnTo>
                      <a:pt x="1280" y="1934"/>
                    </a:lnTo>
                    <a:lnTo>
                      <a:pt x="1274" y="1940"/>
                    </a:lnTo>
                    <a:lnTo>
                      <a:pt x="1274" y="1944"/>
                    </a:lnTo>
                    <a:lnTo>
                      <a:pt x="1278" y="1946"/>
                    </a:lnTo>
                    <a:lnTo>
                      <a:pt x="1278" y="1946"/>
                    </a:lnTo>
                    <a:lnTo>
                      <a:pt x="1282" y="1948"/>
                    </a:lnTo>
                    <a:lnTo>
                      <a:pt x="1288" y="1948"/>
                    </a:lnTo>
                    <a:lnTo>
                      <a:pt x="1290" y="1944"/>
                    </a:lnTo>
                    <a:lnTo>
                      <a:pt x="1292" y="1942"/>
                    </a:lnTo>
                    <a:lnTo>
                      <a:pt x="1296" y="1936"/>
                    </a:lnTo>
                    <a:lnTo>
                      <a:pt x="1296" y="1942"/>
                    </a:lnTo>
                    <a:lnTo>
                      <a:pt x="1296" y="1942"/>
                    </a:lnTo>
                    <a:lnTo>
                      <a:pt x="1298" y="1948"/>
                    </a:lnTo>
                    <a:lnTo>
                      <a:pt x="1300" y="1952"/>
                    </a:lnTo>
                    <a:lnTo>
                      <a:pt x="1306" y="1956"/>
                    </a:lnTo>
                    <a:lnTo>
                      <a:pt x="1316" y="1964"/>
                    </a:lnTo>
                    <a:lnTo>
                      <a:pt x="1324" y="1970"/>
                    </a:lnTo>
                    <a:lnTo>
                      <a:pt x="1334" y="1982"/>
                    </a:lnTo>
                    <a:lnTo>
                      <a:pt x="1334" y="1982"/>
                    </a:lnTo>
                    <a:lnTo>
                      <a:pt x="1338" y="1988"/>
                    </a:lnTo>
                    <a:lnTo>
                      <a:pt x="1340" y="1988"/>
                    </a:lnTo>
                    <a:lnTo>
                      <a:pt x="1340" y="1980"/>
                    </a:lnTo>
                    <a:lnTo>
                      <a:pt x="1340" y="1974"/>
                    </a:lnTo>
                    <a:lnTo>
                      <a:pt x="1340" y="1968"/>
                    </a:lnTo>
                    <a:lnTo>
                      <a:pt x="1342" y="1962"/>
                    </a:lnTo>
                    <a:lnTo>
                      <a:pt x="1346" y="1960"/>
                    </a:lnTo>
                    <a:lnTo>
                      <a:pt x="1346" y="1960"/>
                    </a:lnTo>
                    <a:lnTo>
                      <a:pt x="1354" y="1956"/>
                    </a:lnTo>
                    <a:lnTo>
                      <a:pt x="1362" y="1950"/>
                    </a:lnTo>
                    <a:lnTo>
                      <a:pt x="1386" y="1930"/>
                    </a:lnTo>
                    <a:lnTo>
                      <a:pt x="1398" y="1920"/>
                    </a:lnTo>
                    <a:lnTo>
                      <a:pt x="1412" y="1912"/>
                    </a:lnTo>
                    <a:lnTo>
                      <a:pt x="1428" y="1908"/>
                    </a:lnTo>
                    <a:lnTo>
                      <a:pt x="1434" y="1908"/>
                    </a:lnTo>
                    <a:lnTo>
                      <a:pt x="1442" y="1908"/>
                    </a:lnTo>
                    <a:lnTo>
                      <a:pt x="1442" y="1908"/>
                    </a:lnTo>
                    <a:lnTo>
                      <a:pt x="1456" y="1910"/>
                    </a:lnTo>
                    <a:lnTo>
                      <a:pt x="1466" y="1906"/>
                    </a:lnTo>
                    <a:lnTo>
                      <a:pt x="1474" y="1902"/>
                    </a:lnTo>
                    <a:lnTo>
                      <a:pt x="1478" y="1896"/>
                    </a:lnTo>
                    <a:lnTo>
                      <a:pt x="1482" y="1890"/>
                    </a:lnTo>
                    <a:lnTo>
                      <a:pt x="1482" y="1884"/>
                    </a:lnTo>
                    <a:lnTo>
                      <a:pt x="1482" y="1878"/>
                    </a:lnTo>
                    <a:lnTo>
                      <a:pt x="1478" y="1874"/>
                    </a:lnTo>
                    <a:lnTo>
                      <a:pt x="1478" y="1874"/>
                    </a:lnTo>
                    <a:lnTo>
                      <a:pt x="1476" y="1870"/>
                    </a:lnTo>
                    <a:lnTo>
                      <a:pt x="1476" y="1866"/>
                    </a:lnTo>
                    <a:lnTo>
                      <a:pt x="1480" y="1856"/>
                    </a:lnTo>
                    <a:lnTo>
                      <a:pt x="1486" y="1842"/>
                    </a:lnTo>
                    <a:lnTo>
                      <a:pt x="1488" y="1836"/>
                    </a:lnTo>
                    <a:lnTo>
                      <a:pt x="1488" y="1828"/>
                    </a:lnTo>
                    <a:lnTo>
                      <a:pt x="1488" y="1828"/>
                    </a:lnTo>
                    <a:lnTo>
                      <a:pt x="1490" y="1812"/>
                    </a:lnTo>
                    <a:lnTo>
                      <a:pt x="1494" y="1794"/>
                    </a:lnTo>
                    <a:lnTo>
                      <a:pt x="1502" y="1776"/>
                    </a:lnTo>
                    <a:lnTo>
                      <a:pt x="1506" y="1770"/>
                    </a:lnTo>
                    <a:lnTo>
                      <a:pt x="1510" y="1766"/>
                    </a:lnTo>
                    <a:lnTo>
                      <a:pt x="1510" y="1766"/>
                    </a:lnTo>
                    <a:lnTo>
                      <a:pt x="1514" y="1760"/>
                    </a:lnTo>
                    <a:lnTo>
                      <a:pt x="1518" y="1750"/>
                    </a:lnTo>
                    <a:lnTo>
                      <a:pt x="1526" y="1718"/>
                    </a:lnTo>
                    <a:lnTo>
                      <a:pt x="1530" y="1700"/>
                    </a:lnTo>
                    <a:lnTo>
                      <a:pt x="1538" y="1680"/>
                    </a:lnTo>
                    <a:lnTo>
                      <a:pt x="1548" y="1662"/>
                    </a:lnTo>
                    <a:lnTo>
                      <a:pt x="1554" y="1654"/>
                    </a:lnTo>
                    <a:lnTo>
                      <a:pt x="1562" y="1646"/>
                    </a:lnTo>
                    <a:lnTo>
                      <a:pt x="1562" y="1646"/>
                    </a:lnTo>
                    <a:lnTo>
                      <a:pt x="1574" y="1634"/>
                    </a:lnTo>
                    <a:lnTo>
                      <a:pt x="1582" y="1626"/>
                    </a:lnTo>
                    <a:lnTo>
                      <a:pt x="1586" y="1618"/>
                    </a:lnTo>
                    <a:lnTo>
                      <a:pt x="1588" y="1612"/>
                    </a:lnTo>
                    <a:lnTo>
                      <a:pt x="1588" y="1604"/>
                    </a:lnTo>
                    <a:lnTo>
                      <a:pt x="1590" y="1598"/>
                    </a:lnTo>
                    <a:lnTo>
                      <a:pt x="1594" y="1590"/>
                    </a:lnTo>
                    <a:lnTo>
                      <a:pt x="1594" y="1590"/>
                    </a:lnTo>
                    <a:lnTo>
                      <a:pt x="1598" y="1576"/>
                    </a:lnTo>
                    <a:lnTo>
                      <a:pt x="1602" y="1566"/>
                    </a:lnTo>
                    <a:lnTo>
                      <a:pt x="1602" y="1556"/>
                    </a:lnTo>
                    <a:lnTo>
                      <a:pt x="1602" y="1546"/>
                    </a:lnTo>
                    <a:lnTo>
                      <a:pt x="1602" y="1532"/>
                    </a:lnTo>
                    <a:lnTo>
                      <a:pt x="1604" y="1524"/>
                    </a:lnTo>
                    <a:lnTo>
                      <a:pt x="1606" y="1516"/>
                    </a:lnTo>
                    <a:lnTo>
                      <a:pt x="1606" y="1516"/>
                    </a:lnTo>
                    <a:lnTo>
                      <a:pt x="1612" y="1504"/>
                    </a:lnTo>
                    <a:lnTo>
                      <a:pt x="1614" y="1494"/>
                    </a:lnTo>
                    <a:lnTo>
                      <a:pt x="1616" y="1476"/>
                    </a:lnTo>
                    <a:lnTo>
                      <a:pt x="1618" y="1458"/>
                    </a:lnTo>
                    <a:lnTo>
                      <a:pt x="1620" y="1448"/>
                    </a:lnTo>
                    <a:lnTo>
                      <a:pt x="1626" y="1438"/>
                    </a:lnTo>
                    <a:lnTo>
                      <a:pt x="1626" y="1438"/>
                    </a:lnTo>
                    <a:lnTo>
                      <a:pt x="1628" y="1432"/>
                    </a:lnTo>
                    <a:lnTo>
                      <a:pt x="1630" y="1426"/>
                    </a:lnTo>
                    <a:lnTo>
                      <a:pt x="1628" y="1412"/>
                    </a:lnTo>
                    <a:lnTo>
                      <a:pt x="1626" y="1398"/>
                    </a:lnTo>
                    <a:lnTo>
                      <a:pt x="1622" y="1384"/>
                    </a:lnTo>
                    <a:lnTo>
                      <a:pt x="1612" y="1358"/>
                    </a:lnTo>
                    <a:lnTo>
                      <a:pt x="1610" y="1350"/>
                    </a:lnTo>
                    <a:lnTo>
                      <a:pt x="1610" y="1344"/>
                    </a:lnTo>
                    <a:lnTo>
                      <a:pt x="1610" y="1344"/>
                    </a:lnTo>
                    <a:close/>
                    <a:moveTo>
                      <a:pt x="1412" y="2026"/>
                    </a:moveTo>
                    <a:lnTo>
                      <a:pt x="1412" y="2026"/>
                    </a:lnTo>
                    <a:lnTo>
                      <a:pt x="1408" y="2024"/>
                    </a:lnTo>
                    <a:lnTo>
                      <a:pt x="1406" y="2020"/>
                    </a:lnTo>
                    <a:lnTo>
                      <a:pt x="1404" y="2016"/>
                    </a:lnTo>
                    <a:lnTo>
                      <a:pt x="1402" y="2014"/>
                    </a:lnTo>
                    <a:lnTo>
                      <a:pt x="1400" y="2014"/>
                    </a:lnTo>
                    <a:lnTo>
                      <a:pt x="1396" y="2018"/>
                    </a:lnTo>
                    <a:lnTo>
                      <a:pt x="1396" y="2018"/>
                    </a:lnTo>
                    <a:lnTo>
                      <a:pt x="1392" y="2022"/>
                    </a:lnTo>
                    <a:lnTo>
                      <a:pt x="1392" y="2024"/>
                    </a:lnTo>
                    <a:lnTo>
                      <a:pt x="1394" y="2024"/>
                    </a:lnTo>
                    <a:lnTo>
                      <a:pt x="1394" y="2024"/>
                    </a:lnTo>
                    <a:lnTo>
                      <a:pt x="1396" y="2026"/>
                    </a:lnTo>
                    <a:lnTo>
                      <a:pt x="1398" y="2028"/>
                    </a:lnTo>
                    <a:lnTo>
                      <a:pt x="1400" y="2038"/>
                    </a:lnTo>
                    <a:lnTo>
                      <a:pt x="1400" y="2038"/>
                    </a:lnTo>
                    <a:lnTo>
                      <a:pt x="1402" y="2040"/>
                    </a:lnTo>
                    <a:lnTo>
                      <a:pt x="1404" y="2042"/>
                    </a:lnTo>
                    <a:lnTo>
                      <a:pt x="1410" y="2044"/>
                    </a:lnTo>
                    <a:lnTo>
                      <a:pt x="1414" y="2042"/>
                    </a:lnTo>
                    <a:lnTo>
                      <a:pt x="1414" y="2040"/>
                    </a:lnTo>
                    <a:lnTo>
                      <a:pt x="1414" y="2036"/>
                    </a:lnTo>
                    <a:lnTo>
                      <a:pt x="1414" y="2036"/>
                    </a:lnTo>
                    <a:lnTo>
                      <a:pt x="1412" y="2034"/>
                    </a:lnTo>
                    <a:lnTo>
                      <a:pt x="1412" y="2032"/>
                    </a:lnTo>
                    <a:lnTo>
                      <a:pt x="1414" y="2030"/>
                    </a:lnTo>
                    <a:lnTo>
                      <a:pt x="1416" y="2028"/>
                    </a:lnTo>
                    <a:lnTo>
                      <a:pt x="1412" y="2026"/>
                    </a:lnTo>
                    <a:lnTo>
                      <a:pt x="1412" y="2026"/>
                    </a:lnTo>
                    <a:close/>
                    <a:moveTo>
                      <a:pt x="1708" y="300"/>
                    </a:moveTo>
                    <a:lnTo>
                      <a:pt x="1708" y="300"/>
                    </a:lnTo>
                    <a:lnTo>
                      <a:pt x="1704" y="298"/>
                    </a:lnTo>
                    <a:lnTo>
                      <a:pt x="1700" y="294"/>
                    </a:lnTo>
                    <a:lnTo>
                      <a:pt x="1694" y="284"/>
                    </a:lnTo>
                    <a:lnTo>
                      <a:pt x="1688" y="274"/>
                    </a:lnTo>
                    <a:lnTo>
                      <a:pt x="1686" y="272"/>
                    </a:lnTo>
                    <a:lnTo>
                      <a:pt x="1682" y="268"/>
                    </a:lnTo>
                    <a:lnTo>
                      <a:pt x="1682" y="268"/>
                    </a:lnTo>
                    <a:lnTo>
                      <a:pt x="1678" y="266"/>
                    </a:lnTo>
                    <a:lnTo>
                      <a:pt x="1676" y="262"/>
                    </a:lnTo>
                    <a:lnTo>
                      <a:pt x="1672" y="252"/>
                    </a:lnTo>
                    <a:lnTo>
                      <a:pt x="1668" y="244"/>
                    </a:lnTo>
                    <a:lnTo>
                      <a:pt x="1668" y="242"/>
                    </a:lnTo>
                    <a:lnTo>
                      <a:pt x="1664" y="244"/>
                    </a:lnTo>
                    <a:lnTo>
                      <a:pt x="1664" y="244"/>
                    </a:lnTo>
                    <a:lnTo>
                      <a:pt x="1662" y="248"/>
                    </a:lnTo>
                    <a:lnTo>
                      <a:pt x="1662" y="250"/>
                    </a:lnTo>
                    <a:lnTo>
                      <a:pt x="1666" y="256"/>
                    </a:lnTo>
                    <a:lnTo>
                      <a:pt x="1670" y="264"/>
                    </a:lnTo>
                    <a:lnTo>
                      <a:pt x="1672" y="268"/>
                    </a:lnTo>
                    <a:lnTo>
                      <a:pt x="1672" y="276"/>
                    </a:lnTo>
                    <a:lnTo>
                      <a:pt x="1672" y="276"/>
                    </a:lnTo>
                    <a:lnTo>
                      <a:pt x="1672" y="282"/>
                    </a:lnTo>
                    <a:lnTo>
                      <a:pt x="1672" y="288"/>
                    </a:lnTo>
                    <a:lnTo>
                      <a:pt x="1680" y="298"/>
                    </a:lnTo>
                    <a:lnTo>
                      <a:pt x="1688" y="306"/>
                    </a:lnTo>
                    <a:lnTo>
                      <a:pt x="1690" y="310"/>
                    </a:lnTo>
                    <a:lnTo>
                      <a:pt x="1692" y="316"/>
                    </a:lnTo>
                    <a:lnTo>
                      <a:pt x="1692" y="316"/>
                    </a:lnTo>
                    <a:lnTo>
                      <a:pt x="1694" y="324"/>
                    </a:lnTo>
                    <a:lnTo>
                      <a:pt x="1700" y="330"/>
                    </a:lnTo>
                    <a:lnTo>
                      <a:pt x="1708" y="332"/>
                    </a:lnTo>
                    <a:lnTo>
                      <a:pt x="1716" y="330"/>
                    </a:lnTo>
                    <a:lnTo>
                      <a:pt x="1716" y="330"/>
                    </a:lnTo>
                    <a:lnTo>
                      <a:pt x="1720" y="328"/>
                    </a:lnTo>
                    <a:lnTo>
                      <a:pt x="1722" y="326"/>
                    </a:lnTo>
                    <a:lnTo>
                      <a:pt x="1722" y="322"/>
                    </a:lnTo>
                    <a:lnTo>
                      <a:pt x="1720" y="316"/>
                    </a:lnTo>
                    <a:lnTo>
                      <a:pt x="1716" y="306"/>
                    </a:lnTo>
                    <a:lnTo>
                      <a:pt x="1712" y="304"/>
                    </a:lnTo>
                    <a:lnTo>
                      <a:pt x="1708" y="300"/>
                    </a:lnTo>
                    <a:lnTo>
                      <a:pt x="1708" y="300"/>
                    </a:lnTo>
                    <a:close/>
                    <a:moveTo>
                      <a:pt x="1712" y="342"/>
                    </a:moveTo>
                    <a:lnTo>
                      <a:pt x="1712" y="342"/>
                    </a:lnTo>
                    <a:lnTo>
                      <a:pt x="1712" y="346"/>
                    </a:lnTo>
                    <a:lnTo>
                      <a:pt x="1716" y="346"/>
                    </a:lnTo>
                    <a:lnTo>
                      <a:pt x="1718" y="346"/>
                    </a:lnTo>
                    <a:lnTo>
                      <a:pt x="1720" y="344"/>
                    </a:lnTo>
                    <a:lnTo>
                      <a:pt x="1720" y="344"/>
                    </a:lnTo>
                    <a:lnTo>
                      <a:pt x="1718" y="340"/>
                    </a:lnTo>
                    <a:lnTo>
                      <a:pt x="1716" y="338"/>
                    </a:lnTo>
                    <a:lnTo>
                      <a:pt x="1712" y="340"/>
                    </a:lnTo>
                    <a:lnTo>
                      <a:pt x="1712" y="342"/>
                    </a:lnTo>
                    <a:lnTo>
                      <a:pt x="1712" y="342"/>
                    </a:lnTo>
                    <a:close/>
                    <a:moveTo>
                      <a:pt x="1238" y="2006"/>
                    </a:moveTo>
                    <a:lnTo>
                      <a:pt x="1238" y="2006"/>
                    </a:lnTo>
                    <a:lnTo>
                      <a:pt x="1236" y="2012"/>
                    </a:lnTo>
                    <a:lnTo>
                      <a:pt x="1234" y="2024"/>
                    </a:lnTo>
                    <a:lnTo>
                      <a:pt x="1236" y="2032"/>
                    </a:lnTo>
                    <a:lnTo>
                      <a:pt x="1240" y="2034"/>
                    </a:lnTo>
                    <a:lnTo>
                      <a:pt x="1242" y="2032"/>
                    </a:lnTo>
                    <a:lnTo>
                      <a:pt x="1242" y="2032"/>
                    </a:lnTo>
                    <a:lnTo>
                      <a:pt x="1244" y="2028"/>
                    </a:lnTo>
                    <a:lnTo>
                      <a:pt x="1246" y="2024"/>
                    </a:lnTo>
                    <a:lnTo>
                      <a:pt x="1246" y="2014"/>
                    </a:lnTo>
                    <a:lnTo>
                      <a:pt x="1242" y="2006"/>
                    </a:lnTo>
                    <a:lnTo>
                      <a:pt x="1240" y="2004"/>
                    </a:lnTo>
                    <a:lnTo>
                      <a:pt x="1238" y="2006"/>
                    </a:lnTo>
                    <a:lnTo>
                      <a:pt x="1238" y="2006"/>
                    </a:lnTo>
                    <a:close/>
                    <a:moveTo>
                      <a:pt x="1414" y="2116"/>
                    </a:moveTo>
                    <a:lnTo>
                      <a:pt x="1414" y="2116"/>
                    </a:lnTo>
                    <a:lnTo>
                      <a:pt x="1414" y="2106"/>
                    </a:lnTo>
                    <a:lnTo>
                      <a:pt x="1414" y="2096"/>
                    </a:lnTo>
                    <a:lnTo>
                      <a:pt x="1414" y="2088"/>
                    </a:lnTo>
                    <a:lnTo>
                      <a:pt x="1412" y="2082"/>
                    </a:lnTo>
                    <a:lnTo>
                      <a:pt x="1408" y="2076"/>
                    </a:lnTo>
                    <a:lnTo>
                      <a:pt x="1406" y="2072"/>
                    </a:lnTo>
                    <a:lnTo>
                      <a:pt x="1402" y="2072"/>
                    </a:lnTo>
                    <a:lnTo>
                      <a:pt x="1400" y="2074"/>
                    </a:lnTo>
                    <a:lnTo>
                      <a:pt x="1400" y="2074"/>
                    </a:lnTo>
                    <a:lnTo>
                      <a:pt x="1398" y="2078"/>
                    </a:lnTo>
                    <a:lnTo>
                      <a:pt x="1396" y="2078"/>
                    </a:lnTo>
                    <a:lnTo>
                      <a:pt x="1392" y="2076"/>
                    </a:lnTo>
                    <a:lnTo>
                      <a:pt x="1388" y="2076"/>
                    </a:lnTo>
                    <a:lnTo>
                      <a:pt x="1386" y="2078"/>
                    </a:lnTo>
                    <a:lnTo>
                      <a:pt x="1382" y="2080"/>
                    </a:lnTo>
                    <a:lnTo>
                      <a:pt x="1382" y="2080"/>
                    </a:lnTo>
                    <a:lnTo>
                      <a:pt x="1380" y="2082"/>
                    </a:lnTo>
                    <a:lnTo>
                      <a:pt x="1378" y="2082"/>
                    </a:lnTo>
                    <a:lnTo>
                      <a:pt x="1370" y="2082"/>
                    </a:lnTo>
                    <a:lnTo>
                      <a:pt x="1352" y="2088"/>
                    </a:lnTo>
                    <a:lnTo>
                      <a:pt x="1352" y="2088"/>
                    </a:lnTo>
                    <a:lnTo>
                      <a:pt x="1340" y="2092"/>
                    </a:lnTo>
                    <a:lnTo>
                      <a:pt x="1332" y="2094"/>
                    </a:lnTo>
                    <a:lnTo>
                      <a:pt x="1324" y="2092"/>
                    </a:lnTo>
                    <a:lnTo>
                      <a:pt x="1320" y="2088"/>
                    </a:lnTo>
                    <a:lnTo>
                      <a:pt x="1310" y="2080"/>
                    </a:lnTo>
                    <a:lnTo>
                      <a:pt x="1304" y="2076"/>
                    </a:lnTo>
                    <a:lnTo>
                      <a:pt x="1296" y="2076"/>
                    </a:lnTo>
                    <a:lnTo>
                      <a:pt x="1296" y="2076"/>
                    </a:lnTo>
                    <a:lnTo>
                      <a:pt x="1288" y="2074"/>
                    </a:lnTo>
                    <a:lnTo>
                      <a:pt x="1282" y="2072"/>
                    </a:lnTo>
                    <a:lnTo>
                      <a:pt x="1274" y="2066"/>
                    </a:lnTo>
                    <a:lnTo>
                      <a:pt x="1272" y="2064"/>
                    </a:lnTo>
                    <a:lnTo>
                      <a:pt x="1270" y="2064"/>
                    </a:lnTo>
                    <a:lnTo>
                      <a:pt x="1266" y="2078"/>
                    </a:lnTo>
                    <a:lnTo>
                      <a:pt x="1266" y="2078"/>
                    </a:lnTo>
                    <a:lnTo>
                      <a:pt x="1264" y="2086"/>
                    </a:lnTo>
                    <a:lnTo>
                      <a:pt x="1266" y="2094"/>
                    </a:lnTo>
                    <a:lnTo>
                      <a:pt x="1276" y="2118"/>
                    </a:lnTo>
                    <a:lnTo>
                      <a:pt x="1276" y="2118"/>
                    </a:lnTo>
                    <a:lnTo>
                      <a:pt x="1280" y="2130"/>
                    </a:lnTo>
                    <a:lnTo>
                      <a:pt x="1284" y="2134"/>
                    </a:lnTo>
                    <a:lnTo>
                      <a:pt x="1288" y="2136"/>
                    </a:lnTo>
                    <a:lnTo>
                      <a:pt x="1288" y="2144"/>
                    </a:lnTo>
                    <a:lnTo>
                      <a:pt x="1288" y="2144"/>
                    </a:lnTo>
                    <a:lnTo>
                      <a:pt x="1288" y="2158"/>
                    </a:lnTo>
                    <a:lnTo>
                      <a:pt x="1292" y="2174"/>
                    </a:lnTo>
                    <a:lnTo>
                      <a:pt x="1296" y="2186"/>
                    </a:lnTo>
                    <a:lnTo>
                      <a:pt x="1300" y="2192"/>
                    </a:lnTo>
                    <a:lnTo>
                      <a:pt x="1304" y="2198"/>
                    </a:lnTo>
                    <a:lnTo>
                      <a:pt x="1304" y="2198"/>
                    </a:lnTo>
                    <a:lnTo>
                      <a:pt x="1310" y="2202"/>
                    </a:lnTo>
                    <a:lnTo>
                      <a:pt x="1312" y="2206"/>
                    </a:lnTo>
                    <a:lnTo>
                      <a:pt x="1318" y="2216"/>
                    </a:lnTo>
                    <a:lnTo>
                      <a:pt x="1322" y="2224"/>
                    </a:lnTo>
                    <a:lnTo>
                      <a:pt x="1324" y="2226"/>
                    </a:lnTo>
                    <a:lnTo>
                      <a:pt x="1328" y="2226"/>
                    </a:lnTo>
                    <a:lnTo>
                      <a:pt x="1328" y="2226"/>
                    </a:lnTo>
                    <a:lnTo>
                      <a:pt x="1332" y="2226"/>
                    </a:lnTo>
                    <a:lnTo>
                      <a:pt x="1338" y="2226"/>
                    </a:lnTo>
                    <a:lnTo>
                      <a:pt x="1352" y="2230"/>
                    </a:lnTo>
                    <a:lnTo>
                      <a:pt x="1352" y="2230"/>
                    </a:lnTo>
                    <a:lnTo>
                      <a:pt x="1356" y="2232"/>
                    </a:lnTo>
                    <a:lnTo>
                      <a:pt x="1358" y="2230"/>
                    </a:lnTo>
                    <a:lnTo>
                      <a:pt x="1360" y="2226"/>
                    </a:lnTo>
                    <a:lnTo>
                      <a:pt x="1362" y="2220"/>
                    </a:lnTo>
                    <a:lnTo>
                      <a:pt x="1366" y="2214"/>
                    </a:lnTo>
                    <a:lnTo>
                      <a:pt x="1366" y="2214"/>
                    </a:lnTo>
                    <a:lnTo>
                      <a:pt x="1370" y="2212"/>
                    </a:lnTo>
                    <a:lnTo>
                      <a:pt x="1372" y="2208"/>
                    </a:lnTo>
                    <a:lnTo>
                      <a:pt x="1374" y="2200"/>
                    </a:lnTo>
                    <a:lnTo>
                      <a:pt x="1376" y="2194"/>
                    </a:lnTo>
                    <a:lnTo>
                      <a:pt x="1378" y="2194"/>
                    </a:lnTo>
                    <a:lnTo>
                      <a:pt x="1378" y="2196"/>
                    </a:lnTo>
                    <a:lnTo>
                      <a:pt x="1378" y="2196"/>
                    </a:lnTo>
                    <a:lnTo>
                      <a:pt x="1380" y="2198"/>
                    </a:lnTo>
                    <a:lnTo>
                      <a:pt x="1382" y="2198"/>
                    </a:lnTo>
                    <a:lnTo>
                      <a:pt x="1382" y="2194"/>
                    </a:lnTo>
                    <a:lnTo>
                      <a:pt x="1384" y="2190"/>
                    </a:lnTo>
                    <a:lnTo>
                      <a:pt x="1386" y="2188"/>
                    </a:lnTo>
                    <a:lnTo>
                      <a:pt x="1388" y="2188"/>
                    </a:lnTo>
                    <a:lnTo>
                      <a:pt x="1388" y="2188"/>
                    </a:lnTo>
                    <a:lnTo>
                      <a:pt x="1392" y="2192"/>
                    </a:lnTo>
                    <a:lnTo>
                      <a:pt x="1394" y="2194"/>
                    </a:lnTo>
                    <a:lnTo>
                      <a:pt x="1394" y="2196"/>
                    </a:lnTo>
                    <a:lnTo>
                      <a:pt x="1392" y="2196"/>
                    </a:lnTo>
                    <a:lnTo>
                      <a:pt x="1392" y="2196"/>
                    </a:lnTo>
                    <a:lnTo>
                      <a:pt x="1388" y="2198"/>
                    </a:lnTo>
                    <a:lnTo>
                      <a:pt x="1388" y="2202"/>
                    </a:lnTo>
                    <a:lnTo>
                      <a:pt x="1390" y="2206"/>
                    </a:lnTo>
                    <a:lnTo>
                      <a:pt x="1398" y="2210"/>
                    </a:lnTo>
                    <a:lnTo>
                      <a:pt x="1398" y="2210"/>
                    </a:lnTo>
                    <a:lnTo>
                      <a:pt x="1402" y="2208"/>
                    </a:lnTo>
                    <a:lnTo>
                      <a:pt x="1404" y="2206"/>
                    </a:lnTo>
                    <a:lnTo>
                      <a:pt x="1402" y="2194"/>
                    </a:lnTo>
                    <a:lnTo>
                      <a:pt x="1400" y="2180"/>
                    </a:lnTo>
                    <a:lnTo>
                      <a:pt x="1400" y="2174"/>
                    </a:lnTo>
                    <a:lnTo>
                      <a:pt x="1402" y="2170"/>
                    </a:lnTo>
                    <a:lnTo>
                      <a:pt x="1402" y="2170"/>
                    </a:lnTo>
                    <a:lnTo>
                      <a:pt x="1404" y="2168"/>
                    </a:lnTo>
                    <a:lnTo>
                      <a:pt x="1404" y="2166"/>
                    </a:lnTo>
                    <a:lnTo>
                      <a:pt x="1402" y="2160"/>
                    </a:lnTo>
                    <a:lnTo>
                      <a:pt x="1402" y="2152"/>
                    </a:lnTo>
                    <a:lnTo>
                      <a:pt x="1402" y="2150"/>
                    </a:lnTo>
                    <a:lnTo>
                      <a:pt x="1404" y="2146"/>
                    </a:lnTo>
                    <a:lnTo>
                      <a:pt x="1404" y="2146"/>
                    </a:lnTo>
                    <a:lnTo>
                      <a:pt x="1408" y="2144"/>
                    </a:lnTo>
                    <a:lnTo>
                      <a:pt x="1410" y="2144"/>
                    </a:lnTo>
                    <a:lnTo>
                      <a:pt x="1410" y="2150"/>
                    </a:lnTo>
                    <a:lnTo>
                      <a:pt x="1412" y="2154"/>
                    </a:lnTo>
                    <a:lnTo>
                      <a:pt x="1412" y="2154"/>
                    </a:lnTo>
                    <a:lnTo>
                      <a:pt x="1414" y="2152"/>
                    </a:lnTo>
                    <a:lnTo>
                      <a:pt x="1414" y="2152"/>
                    </a:lnTo>
                    <a:lnTo>
                      <a:pt x="1416" y="2148"/>
                    </a:lnTo>
                    <a:lnTo>
                      <a:pt x="1416" y="2146"/>
                    </a:lnTo>
                    <a:lnTo>
                      <a:pt x="1414" y="2140"/>
                    </a:lnTo>
                    <a:lnTo>
                      <a:pt x="1412" y="2132"/>
                    </a:lnTo>
                    <a:lnTo>
                      <a:pt x="1412" y="2124"/>
                    </a:lnTo>
                    <a:lnTo>
                      <a:pt x="1414" y="2116"/>
                    </a:lnTo>
                    <a:lnTo>
                      <a:pt x="1414" y="2116"/>
                    </a:lnTo>
                    <a:close/>
                    <a:moveTo>
                      <a:pt x="984" y="1792"/>
                    </a:moveTo>
                    <a:lnTo>
                      <a:pt x="984" y="1792"/>
                    </a:lnTo>
                    <a:lnTo>
                      <a:pt x="980" y="1788"/>
                    </a:lnTo>
                    <a:lnTo>
                      <a:pt x="974" y="1788"/>
                    </a:lnTo>
                    <a:lnTo>
                      <a:pt x="966" y="1788"/>
                    </a:lnTo>
                    <a:lnTo>
                      <a:pt x="958" y="1792"/>
                    </a:lnTo>
                    <a:lnTo>
                      <a:pt x="950" y="1794"/>
                    </a:lnTo>
                    <a:lnTo>
                      <a:pt x="944" y="1798"/>
                    </a:lnTo>
                    <a:lnTo>
                      <a:pt x="942" y="1804"/>
                    </a:lnTo>
                    <a:lnTo>
                      <a:pt x="940" y="1808"/>
                    </a:lnTo>
                    <a:lnTo>
                      <a:pt x="940" y="1808"/>
                    </a:lnTo>
                    <a:lnTo>
                      <a:pt x="942" y="1810"/>
                    </a:lnTo>
                    <a:lnTo>
                      <a:pt x="948" y="1812"/>
                    </a:lnTo>
                    <a:lnTo>
                      <a:pt x="960" y="1814"/>
                    </a:lnTo>
                    <a:lnTo>
                      <a:pt x="974" y="1812"/>
                    </a:lnTo>
                    <a:lnTo>
                      <a:pt x="982" y="1810"/>
                    </a:lnTo>
                    <a:lnTo>
                      <a:pt x="982" y="1810"/>
                    </a:lnTo>
                    <a:lnTo>
                      <a:pt x="990" y="1808"/>
                    </a:lnTo>
                    <a:lnTo>
                      <a:pt x="998" y="1808"/>
                    </a:lnTo>
                    <a:lnTo>
                      <a:pt x="1004" y="1806"/>
                    </a:lnTo>
                    <a:lnTo>
                      <a:pt x="1004" y="1804"/>
                    </a:lnTo>
                    <a:lnTo>
                      <a:pt x="1002" y="1800"/>
                    </a:lnTo>
                    <a:lnTo>
                      <a:pt x="1002" y="1800"/>
                    </a:lnTo>
                    <a:lnTo>
                      <a:pt x="1000" y="1798"/>
                    </a:lnTo>
                    <a:lnTo>
                      <a:pt x="994" y="1798"/>
                    </a:lnTo>
                    <a:lnTo>
                      <a:pt x="990" y="1796"/>
                    </a:lnTo>
                    <a:lnTo>
                      <a:pt x="984" y="1792"/>
                    </a:lnTo>
                    <a:lnTo>
                      <a:pt x="984" y="1792"/>
                    </a:lnTo>
                    <a:close/>
                    <a:moveTo>
                      <a:pt x="2204" y="1064"/>
                    </a:moveTo>
                    <a:lnTo>
                      <a:pt x="2204" y="1064"/>
                    </a:lnTo>
                    <a:lnTo>
                      <a:pt x="2206" y="1066"/>
                    </a:lnTo>
                    <a:lnTo>
                      <a:pt x="2208" y="1066"/>
                    </a:lnTo>
                    <a:lnTo>
                      <a:pt x="2212" y="1066"/>
                    </a:lnTo>
                    <a:lnTo>
                      <a:pt x="2214" y="1060"/>
                    </a:lnTo>
                    <a:lnTo>
                      <a:pt x="2214" y="1058"/>
                    </a:lnTo>
                    <a:lnTo>
                      <a:pt x="2212" y="1054"/>
                    </a:lnTo>
                    <a:lnTo>
                      <a:pt x="2212" y="1054"/>
                    </a:lnTo>
                    <a:lnTo>
                      <a:pt x="2210" y="1050"/>
                    </a:lnTo>
                    <a:lnTo>
                      <a:pt x="2208" y="1048"/>
                    </a:lnTo>
                    <a:lnTo>
                      <a:pt x="2206" y="1048"/>
                    </a:lnTo>
                    <a:lnTo>
                      <a:pt x="2204" y="1050"/>
                    </a:lnTo>
                    <a:lnTo>
                      <a:pt x="2202" y="1054"/>
                    </a:lnTo>
                    <a:lnTo>
                      <a:pt x="2204" y="1064"/>
                    </a:lnTo>
                    <a:lnTo>
                      <a:pt x="2204" y="1064"/>
                    </a:lnTo>
                    <a:close/>
                    <a:moveTo>
                      <a:pt x="2218" y="862"/>
                    </a:moveTo>
                    <a:lnTo>
                      <a:pt x="2218" y="862"/>
                    </a:lnTo>
                    <a:lnTo>
                      <a:pt x="2216" y="866"/>
                    </a:lnTo>
                    <a:lnTo>
                      <a:pt x="2218" y="870"/>
                    </a:lnTo>
                    <a:lnTo>
                      <a:pt x="2222" y="872"/>
                    </a:lnTo>
                    <a:lnTo>
                      <a:pt x="2228" y="874"/>
                    </a:lnTo>
                    <a:lnTo>
                      <a:pt x="2228" y="874"/>
                    </a:lnTo>
                    <a:lnTo>
                      <a:pt x="2230" y="872"/>
                    </a:lnTo>
                    <a:lnTo>
                      <a:pt x="2230" y="870"/>
                    </a:lnTo>
                    <a:lnTo>
                      <a:pt x="2228" y="864"/>
                    </a:lnTo>
                    <a:lnTo>
                      <a:pt x="2222" y="860"/>
                    </a:lnTo>
                    <a:lnTo>
                      <a:pt x="2220" y="860"/>
                    </a:lnTo>
                    <a:lnTo>
                      <a:pt x="2218" y="862"/>
                    </a:lnTo>
                    <a:lnTo>
                      <a:pt x="2218" y="862"/>
                    </a:lnTo>
                    <a:close/>
                    <a:moveTo>
                      <a:pt x="2220" y="824"/>
                    </a:moveTo>
                    <a:lnTo>
                      <a:pt x="2220" y="824"/>
                    </a:lnTo>
                    <a:lnTo>
                      <a:pt x="2222" y="824"/>
                    </a:lnTo>
                    <a:lnTo>
                      <a:pt x="2222" y="822"/>
                    </a:lnTo>
                    <a:lnTo>
                      <a:pt x="2216" y="814"/>
                    </a:lnTo>
                    <a:lnTo>
                      <a:pt x="2216" y="814"/>
                    </a:lnTo>
                    <a:lnTo>
                      <a:pt x="2216" y="812"/>
                    </a:lnTo>
                    <a:lnTo>
                      <a:pt x="2214" y="814"/>
                    </a:lnTo>
                    <a:lnTo>
                      <a:pt x="2212" y="816"/>
                    </a:lnTo>
                    <a:lnTo>
                      <a:pt x="2214" y="822"/>
                    </a:lnTo>
                    <a:lnTo>
                      <a:pt x="2216" y="822"/>
                    </a:lnTo>
                    <a:lnTo>
                      <a:pt x="2220" y="824"/>
                    </a:lnTo>
                    <a:lnTo>
                      <a:pt x="2220" y="824"/>
                    </a:lnTo>
                    <a:close/>
                    <a:moveTo>
                      <a:pt x="2124" y="1064"/>
                    </a:moveTo>
                    <a:lnTo>
                      <a:pt x="2124" y="1064"/>
                    </a:lnTo>
                    <a:lnTo>
                      <a:pt x="2118" y="1060"/>
                    </a:lnTo>
                    <a:lnTo>
                      <a:pt x="2116" y="1060"/>
                    </a:lnTo>
                    <a:lnTo>
                      <a:pt x="2114" y="1062"/>
                    </a:lnTo>
                    <a:lnTo>
                      <a:pt x="2096" y="1042"/>
                    </a:lnTo>
                    <a:lnTo>
                      <a:pt x="2096" y="1042"/>
                    </a:lnTo>
                    <a:lnTo>
                      <a:pt x="2094" y="1038"/>
                    </a:lnTo>
                    <a:lnTo>
                      <a:pt x="2090" y="1032"/>
                    </a:lnTo>
                    <a:lnTo>
                      <a:pt x="2076" y="1018"/>
                    </a:lnTo>
                    <a:lnTo>
                      <a:pt x="2060" y="1008"/>
                    </a:lnTo>
                    <a:lnTo>
                      <a:pt x="2050" y="1000"/>
                    </a:lnTo>
                    <a:lnTo>
                      <a:pt x="2050" y="1004"/>
                    </a:lnTo>
                    <a:lnTo>
                      <a:pt x="2050" y="1004"/>
                    </a:lnTo>
                    <a:lnTo>
                      <a:pt x="2044" y="998"/>
                    </a:lnTo>
                    <a:lnTo>
                      <a:pt x="2040" y="994"/>
                    </a:lnTo>
                    <a:lnTo>
                      <a:pt x="2036" y="992"/>
                    </a:lnTo>
                    <a:lnTo>
                      <a:pt x="2040" y="1000"/>
                    </a:lnTo>
                    <a:lnTo>
                      <a:pt x="2050" y="1020"/>
                    </a:lnTo>
                    <a:lnTo>
                      <a:pt x="2050" y="1020"/>
                    </a:lnTo>
                    <a:lnTo>
                      <a:pt x="2052" y="1024"/>
                    </a:lnTo>
                    <a:lnTo>
                      <a:pt x="2052" y="1026"/>
                    </a:lnTo>
                    <a:lnTo>
                      <a:pt x="2052" y="1026"/>
                    </a:lnTo>
                    <a:lnTo>
                      <a:pt x="2064" y="1036"/>
                    </a:lnTo>
                    <a:lnTo>
                      <a:pt x="2070" y="1042"/>
                    </a:lnTo>
                    <a:lnTo>
                      <a:pt x="2076" y="1056"/>
                    </a:lnTo>
                    <a:lnTo>
                      <a:pt x="2076" y="1054"/>
                    </a:lnTo>
                    <a:lnTo>
                      <a:pt x="2078" y="1058"/>
                    </a:lnTo>
                    <a:lnTo>
                      <a:pt x="2078" y="1058"/>
                    </a:lnTo>
                    <a:lnTo>
                      <a:pt x="2082" y="1058"/>
                    </a:lnTo>
                    <a:lnTo>
                      <a:pt x="2088" y="1064"/>
                    </a:lnTo>
                    <a:lnTo>
                      <a:pt x="2088" y="1064"/>
                    </a:lnTo>
                    <a:lnTo>
                      <a:pt x="2094" y="1070"/>
                    </a:lnTo>
                    <a:lnTo>
                      <a:pt x="2102" y="1074"/>
                    </a:lnTo>
                    <a:lnTo>
                      <a:pt x="2110" y="1080"/>
                    </a:lnTo>
                    <a:lnTo>
                      <a:pt x="2116" y="1086"/>
                    </a:lnTo>
                    <a:lnTo>
                      <a:pt x="2136" y="1098"/>
                    </a:lnTo>
                    <a:lnTo>
                      <a:pt x="2136" y="1098"/>
                    </a:lnTo>
                    <a:lnTo>
                      <a:pt x="2136" y="1102"/>
                    </a:lnTo>
                    <a:lnTo>
                      <a:pt x="2136" y="1104"/>
                    </a:lnTo>
                    <a:lnTo>
                      <a:pt x="2136" y="1104"/>
                    </a:lnTo>
                    <a:lnTo>
                      <a:pt x="2136" y="1104"/>
                    </a:lnTo>
                    <a:lnTo>
                      <a:pt x="2154" y="1100"/>
                    </a:lnTo>
                    <a:lnTo>
                      <a:pt x="2158" y="1098"/>
                    </a:lnTo>
                    <a:lnTo>
                      <a:pt x="2158" y="1096"/>
                    </a:lnTo>
                    <a:lnTo>
                      <a:pt x="2148" y="1086"/>
                    </a:lnTo>
                    <a:lnTo>
                      <a:pt x="2124" y="1064"/>
                    </a:lnTo>
                    <a:lnTo>
                      <a:pt x="2124" y="1064"/>
                    </a:lnTo>
                    <a:close/>
                    <a:moveTo>
                      <a:pt x="2172" y="1036"/>
                    </a:moveTo>
                    <a:lnTo>
                      <a:pt x="2172" y="1036"/>
                    </a:lnTo>
                    <a:lnTo>
                      <a:pt x="2178" y="1038"/>
                    </a:lnTo>
                    <a:lnTo>
                      <a:pt x="2182" y="1040"/>
                    </a:lnTo>
                    <a:lnTo>
                      <a:pt x="2184" y="1038"/>
                    </a:lnTo>
                    <a:lnTo>
                      <a:pt x="2186" y="1036"/>
                    </a:lnTo>
                    <a:lnTo>
                      <a:pt x="2186" y="1030"/>
                    </a:lnTo>
                    <a:lnTo>
                      <a:pt x="2182" y="1024"/>
                    </a:lnTo>
                    <a:lnTo>
                      <a:pt x="2182" y="1024"/>
                    </a:lnTo>
                    <a:lnTo>
                      <a:pt x="2176" y="1018"/>
                    </a:lnTo>
                    <a:lnTo>
                      <a:pt x="2172" y="1016"/>
                    </a:lnTo>
                    <a:lnTo>
                      <a:pt x="2168" y="1018"/>
                    </a:lnTo>
                    <a:lnTo>
                      <a:pt x="2168" y="1020"/>
                    </a:lnTo>
                    <a:lnTo>
                      <a:pt x="2170" y="1020"/>
                    </a:lnTo>
                    <a:lnTo>
                      <a:pt x="2170" y="1020"/>
                    </a:lnTo>
                    <a:lnTo>
                      <a:pt x="2172" y="1022"/>
                    </a:lnTo>
                    <a:lnTo>
                      <a:pt x="2172" y="1024"/>
                    </a:lnTo>
                    <a:lnTo>
                      <a:pt x="2170" y="1028"/>
                    </a:lnTo>
                    <a:lnTo>
                      <a:pt x="2168" y="1032"/>
                    </a:lnTo>
                    <a:lnTo>
                      <a:pt x="2170" y="1034"/>
                    </a:lnTo>
                    <a:lnTo>
                      <a:pt x="2172" y="1036"/>
                    </a:lnTo>
                    <a:lnTo>
                      <a:pt x="2172" y="1036"/>
                    </a:lnTo>
                    <a:close/>
                    <a:moveTo>
                      <a:pt x="2152" y="752"/>
                    </a:moveTo>
                    <a:lnTo>
                      <a:pt x="2152" y="752"/>
                    </a:lnTo>
                    <a:lnTo>
                      <a:pt x="2154" y="760"/>
                    </a:lnTo>
                    <a:lnTo>
                      <a:pt x="2156" y="764"/>
                    </a:lnTo>
                    <a:lnTo>
                      <a:pt x="2160" y="766"/>
                    </a:lnTo>
                    <a:lnTo>
                      <a:pt x="2168" y="764"/>
                    </a:lnTo>
                    <a:lnTo>
                      <a:pt x="2168" y="764"/>
                    </a:lnTo>
                    <a:lnTo>
                      <a:pt x="2172" y="762"/>
                    </a:lnTo>
                    <a:lnTo>
                      <a:pt x="2174" y="760"/>
                    </a:lnTo>
                    <a:lnTo>
                      <a:pt x="2176" y="758"/>
                    </a:lnTo>
                    <a:lnTo>
                      <a:pt x="2176" y="754"/>
                    </a:lnTo>
                    <a:lnTo>
                      <a:pt x="2174" y="746"/>
                    </a:lnTo>
                    <a:lnTo>
                      <a:pt x="2170" y="736"/>
                    </a:lnTo>
                    <a:lnTo>
                      <a:pt x="2170" y="736"/>
                    </a:lnTo>
                    <a:lnTo>
                      <a:pt x="2168" y="732"/>
                    </a:lnTo>
                    <a:lnTo>
                      <a:pt x="2166" y="732"/>
                    </a:lnTo>
                    <a:lnTo>
                      <a:pt x="2164" y="734"/>
                    </a:lnTo>
                    <a:lnTo>
                      <a:pt x="2162" y="736"/>
                    </a:lnTo>
                    <a:lnTo>
                      <a:pt x="2162" y="736"/>
                    </a:lnTo>
                    <a:lnTo>
                      <a:pt x="2158" y="730"/>
                    </a:lnTo>
                    <a:lnTo>
                      <a:pt x="2158" y="730"/>
                    </a:lnTo>
                    <a:lnTo>
                      <a:pt x="2156" y="724"/>
                    </a:lnTo>
                    <a:lnTo>
                      <a:pt x="2154" y="718"/>
                    </a:lnTo>
                    <a:lnTo>
                      <a:pt x="2152" y="716"/>
                    </a:lnTo>
                    <a:lnTo>
                      <a:pt x="2148" y="716"/>
                    </a:lnTo>
                    <a:lnTo>
                      <a:pt x="2148" y="716"/>
                    </a:lnTo>
                    <a:lnTo>
                      <a:pt x="2146" y="718"/>
                    </a:lnTo>
                    <a:lnTo>
                      <a:pt x="2146" y="722"/>
                    </a:lnTo>
                    <a:lnTo>
                      <a:pt x="2148" y="726"/>
                    </a:lnTo>
                    <a:lnTo>
                      <a:pt x="2148" y="726"/>
                    </a:lnTo>
                    <a:lnTo>
                      <a:pt x="2152" y="736"/>
                    </a:lnTo>
                    <a:lnTo>
                      <a:pt x="2152" y="742"/>
                    </a:lnTo>
                    <a:lnTo>
                      <a:pt x="2152" y="746"/>
                    </a:lnTo>
                    <a:lnTo>
                      <a:pt x="2152" y="752"/>
                    </a:lnTo>
                    <a:lnTo>
                      <a:pt x="2152" y="752"/>
                    </a:lnTo>
                    <a:close/>
                    <a:moveTo>
                      <a:pt x="2196" y="758"/>
                    </a:moveTo>
                    <a:lnTo>
                      <a:pt x="2196" y="758"/>
                    </a:lnTo>
                    <a:lnTo>
                      <a:pt x="2202" y="754"/>
                    </a:lnTo>
                    <a:lnTo>
                      <a:pt x="2206" y="750"/>
                    </a:lnTo>
                    <a:lnTo>
                      <a:pt x="2208" y="748"/>
                    </a:lnTo>
                    <a:lnTo>
                      <a:pt x="2206" y="746"/>
                    </a:lnTo>
                    <a:lnTo>
                      <a:pt x="2206" y="746"/>
                    </a:lnTo>
                    <a:lnTo>
                      <a:pt x="2202" y="746"/>
                    </a:lnTo>
                    <a:lnTo>
                      <a:pt x="2198" y="748"/>
                    </a:lnTo>
                    <a:lnTo>
                      <a:pt x="2194" y="752"/>
                    </a:lnTo>
                    <a:lnTo>
                      <a:pt x="2194" y="754"/>
                    </a:lnTo>
                    <a:lnTo>
                      <a:pt x="2196" y="758"/>
                    </a:lnTo>
                    <a:lnTo>
                      <a:pt x="2196" y="758"/>
                    </a:lnTo>
                    <a:close/>
                    <a:moveTo>
                      <a:pt x="2206" y="798"/>
                    </a:moveTo>
                    <a:lnTo>
                      <a:pt x="2206" y="798"/>
                    </a:lnTo>
                    <a:lnTo>
                      <a:pt x="2210" y="800"/>
                    </a:lnTo>
                    <a:lnTo>
                      <a:pt x="2214" y="800"/>
                    </a:lnTo>
                    <a:lnTo>
                      <a:pt x="2216" y="798"/>
                    </a:lnTo>
                    <a:lnTo>
                      <a:pt x="2216" y="792"/>
                    </a:lnTo>
                    <a:lnTo>
                      <a:pt x="2216" y="792"/>
                    </a:lnTo>
                    <a:lnTo>
                      <a:pt x="2216" y="790"/>
                    </a:lnTo>
                    <a:lnTo>
                      <a:pt x="2214" y="788"/>
                    </a:lnTo>
                    <a:lnTo>
                      <a:pt x="2208" y="790"/>
                    </a:lnTo>
                    <a:lnTo>
                      <a:pt x="2204" y="794"/>
                    </a:lnTo>
                    <a:lnTo>
                      <a:pt x="2204" y="796"/>
                    </a:lnTo>
                    <a:lnTo>
                      <a:pt x="2206" y="798"/>
                    </a:lnTo>
                    <a:lnTo>
                      <a:pt x="2206" y="798"/>
                    </a:lnTo>
                    <a:close/>
                    <a:moveTo>
                      <a:pt x="1762" y="382"/>
                    </a:moveTo>
                    <a:lnTo>
                      <a:pt x="1762" y="382"/>
                    </a:lnTo>
                    <a:lnTo>
                      <a:pt x="1762" y="386"/>
                    </a:lnTo>
                    <a:lnTo>
                      <a:pt x="1764" y="392"/>
                    </a:lnTo>
                    <a:lnTo>
                      <a:pt x="1768" y="394"/>
                    </a:lnTo>
                    <a:lnTo>
                      <a:pt x="1770" y="394"/>
                    </a:lnTo>
                    <a:lnTo>
                      <a:pt x="1772" y="392"/>
                    </a:lnTo>
                    <a:lnTo>
                      <a:pt x="1772" y="392"/>
                    </a:lnTo>
                    <a:lnTo>
                      <a:pt x="1774" y="390"/>
                    </a:lnTo>
                    <a:lnTo>
                      <a:pt x="1772" y="386"/>
                    </a:lnTo>
                    <a:lnTo>
                      <a:pt x="1770" y="382"/>
                    </a:lnTo>
                    <a:lnTo>
                      <a:pt x="1766" y="378"/>
                    </a:lnTo>
                    <a:lnTo>
                      <a:pt x="1764" y="380"/>
                    </a:lnTo>
                    <a:lnTo>
                      <a:pt x="1762" y="382"/>
                    </a:lnTo>
                    <a:lnTo>
                      <a:pt x="1762" y="382"/>
                    </a:lnTo>
                    <a:close/>
                    <a:moveTo>
                      <a:pt x="1786" y="386"/>
                    </a:moveTo>
                    <a:lnTo>
                      <a:pt x="1786" y="386"/>
                    </a:lnTo>
                    <a:lnTo>
                      <a:pt x="1784" y="386"/>
                    </a:lnTo>
                    <a:lnTo>
                      <a:pt x="1780" y="388"/>
                    </a:lnTo>
                    <a:lnTo>
                      <a:pt x="1776" y="396"/>
                    </a:lnTo>
                    <a:lnTo>
                      <a:pt x="1776" y="402"/>
                    </a:lnTo>
                    <a:lnTo>
                      <a:pt x="1778" y="404"/>
                    </a:lnTo>
                    <a:lnTo>
                      <a:pt x="1780" y="404"/>
                    </a:lnTo>
                    <a:lnTo>
                      <a:pt x="1780" y="404"/>
                    </a:lnTo>
                    <a:lnTo>
                      <a:pt x="1784" y="402"/>
                    </a:lnTo>
                    <a:lnTo>
                      <a:pt x="1788" y="404"/>
                    </a:lnTo>
                    <a:lnTo>
                      <a:pt x="1790" y="410"/>
                    </a:lnTo>
                    <a:lnTo>
                      <a:pt x="1794" y="414"/>
                    </a:lnTo>
                    <a:lnTo>
                      <a:pt x="1794" y="414"/>
                    </a:lnTo>
                    <a:lnTo>
                      <a:pt x="1796" y="416"/>
                    </a:lnTo>
                    <a:lnTo>
                      <a:pt x="1800" y="412"/>
                    </a:lnTo>
                    <a:lnTo>
                      <a:pt x="1798" y="408"/>
                    </a:lnTo>
                    <a:lnTo>
                      <a:pt x="1794" y="402"/>
                    </a:lnTo>
                    <a:lnTo>
                      <a:pt x="1794" y="402"/>
                    </a:lnTo>
                    <a:lnTo>
                      <a:pt x="1790" y="396"/>
                    </a:lnTo>
                    <a:lnTo>
                      <a:pt x="1790" y="392"/>
                    </a:lnTo>
                    <a:lnTo>
                      <a:pt x="1790" y="390"/>
                    </a:lnTo>
                    <a:lnTo>
                      <a:pt x="1786" y="386"/>
                    </a:lnTo>
                    <a:lnTo>
                      <a:pt x="1786" y="386"/>
                    </a:lnTo>
                    <a:close/>
                    <a:moveTo>
                      <a:pt x="1754" y="340"/>
                    </a:moveTo>
                    <a:lnTo>
                      <a:pt x="1754" y="340"/>
                    </a:lnTo>
                    <a:lnTo>
                      <a:pt x="1758" y="346"/>
                    </a:lnTo>
                    <a:lnTo>
                      <a:pt x="1766" y="354"/>
                    </a:lnTo>
                    <a:lnTo>
                      <a:pt x="1776" y="360"/>
                    </a:lnTo>
                    <a:lnTo>
                      <a:pt x="1780" y="360"/>
                    </a:lnTo>
                    <a:lnTo>
                      <a:pt x="1784" y="360"/>
                    </a:lnTo>
                    <a:lnTo>
                      <a:pt x="1784" y="360"/>
                    </a:lnTo>
                    <a:lnTo>
                      <a:pt x="1788" y="358"/>
                    </a:lnTo>
                    <a:lnTo>
                      <a:pt x="1788" y="358"/>
                    </a:lnTo>
                    <a:lnTo>
                      <a:pt x="1784" y="356"/>
                    </a:lnTo>
                    <a:lnTo>
                      <a:pt x="1776" y="352"/>
                    </a:lnTo>
                    <a:lnTo>
                      <a:pt x="1774" y="348"/>
                    </a:lnTo>
                    <a:lnTo>
                      <a:pt x="1772" y="344"/>
                    </a:lnTo>
                    <a:lnTo>
                      <a:pt x="1772" y="344"/>
                    </a:lnTo>
                    <a:lnTo>
                      <a:pt x="1768" y="336"/>
                    </a:lnTo>
                    <a:lnTo>
                      <a:pt x="1764" y="332"/>
                    </a:lnTo>
                    <a:lnTo>
                      <a:pt x="1746" y="320"/>
                    </a:lnTo>
                    <a:lnTo>
                      <a:pt x="1746" y="320"/>
                    </a:lnTo>
                    <a:lnTo>
                      <a:pt x="1742" y="318"/>
                    </a:lnTo>
                    <a:lnTo>
                      <a:pt x="1740" y="320"/>
                    </a:lnTo>
                    <a:lnTo>
                      <a:pt x="1742" y="328"/>
                    </a:lnTo>
                    <a:lnTo>
                      <a:pt x="1742" y="328"/>
                    </a:lnTo>
                    <a:lnTo>
                      <a:pt x="1744" y="332"/>
                    </a:lnTo>
                    <a:lnTo>
                      <a:pt x="1748" y="334"/>
                    </a:lnTo>
                    <a:lnTo>
                      <a:pt x="1752" y="336"/>
                    </a:lnTo>
                    <a:lnTo>
                      <a:pt x="1754" y="340"/>
                    </a:lnTo>
                    <a:lnTo>
                      <a:pt x="1754" y="340"/>
                    </a:lnTo>
                    <a:close/>
                    <a:moveTo>
                      <a:pt x="1744" y="368"/>
                    </a:moveTo>
                    <a:lnTo>
                      <a:pt x="1744" y="368"/>
                    </a:lnTo>
                    <a:lnTo>
                      <a:pt x="1744" y="374"/>
                    </a:lnTo>
                    <a:lnTo>
                      <a:pt x="1748" y="378"/>
                    </a:lnTo>
                    <a:lnTo>
                      <a:pt x="1752" y="382"/>
                    </a:lnTo>
                    <a:lnTo>
                      <a:pt x="1754" y="380"/>
                    </a:lnTo>
                    <a:lnTo>
                      <a:pt x="1756" y="380"/>
                    </a:lnTo>
                    <a:lnTo>
                      <a:pt x="1756" y="380"/>
                    </a:lnTo>
                    <a:lnTo>
                      <a:pt x="1758" y="376"/>
                    </a:lnTo>
                    <a:lnTo>
                      <a:pt x="1758" y="374"/>
                    </a:lnTo>
                    <a:lnTo>
                      <a:pt x="1752" y="368"/>
                    </a:lnTo>
                    <a:lnTo>
                      <a:pt x="1746" y="366"/>
                    </a:lnTo>
                    <a:lnTo>
                      <a:pt x="1744" y="366"/>
                    </a:lnTo>
                    <a:lnTo>
                      <a:pt x="1744" y="368"/>
                    </a:lnTo>
                    <a:lnTo>
                      <a:pt x="1744" y="368"/>
                    </a:lnTo>
                    <a:close/>
                    <a:moveTo>
                      <a:pt x="1802" y="416"/>
                    </a:moveTo>
                    <a:lnTo>
                      <a:pt x="1802" y="416"/>
                    </a:lnTo>
                    <a:lnTo>
                      <a:pt x="1800" y="420"/>
                    </a:lnTo>
                    <a:lnTo>
                      <a:pt x="1800" y="424"/>
                    </a:lnTo>
                    <a:lnTo>
                      <a:pt x="1804" y="426"/>
                    </a:lnTo>
                    <a:lnTo>
                      <a:pt x="1810" y="424"/>
                    </a:lnTo>
                    <a:lnTo>
                      <a:pt x="1810" y="424"/>
                    </a:lnTo>
                    <a:lnTo>
                      <a:pt x="1810" y="422"/>
                    </a:lnTo>
                    <a:lnTo>
                      <a:pt x="1812" y="420"/>
                    </a:lnTo>
                    <a:lnTo>
                      <a:pt x="1810" y="416"/>
                    </a:lnTo>
                    <a:lnTo>
                      <a:pt x="1806" y="414"/>
                    </a:lnTo>
                    <a:lnTo>
                      <a:pt x="1804" y="414"/>
                    </a:lnTo>
                    <a:lnTo>
                      <a:pt x="1802" y="416"/>
                    </a:lnTo>
                    <a:lnTo>
                      <a:pt x="1802" y="416"/>
                    </a:lnTo>
                    <a:close/>
                    <a:moveTo>
                      <a:pt x="1858" y="386"/>
                    </a:moveTo>
                    <a:lnTo>
                      <a:pt x="1858" y="386"/>
                    </a:lnTo>
                    <a:lnTo>
                      <a:pt x="1848" y="382"/>
                    </a:lnTo>
                    <a:lnTo>
                      <a:pt x="1844" y="378"/>
                    </a:lnTo>
                    <a:lnTo>
                      <a:pt x="1840" y="374"/>
                    </a:lnTo>
                    <a:lnTo>
                      <a:pt x="1832" y="368"/>
                    </a:lnTo>
                    <a:lnTo>
                      <a:pt x="1832" y="368"/>
                    </a:lnTo>
                    <a:lnTo>
                      <a:pt x="1828" y="366"/>
                    </a:lnTo>
                    <a:lnTo>
                      <a:pt x="1826" y="368"/>
                    </a:lnTo>
                    <a:lnTo>
                      <a:pt x="1828" y="378"/>
                    </a:lnTo>
                    <a:lnTo>
                      <a:pt x="1828" y="378"/>
                    </a:lnTo>
                    <a:lnTo>
                      <a:pt x="1830" y="382"/>
                    </a:lnTo>
                    <a:lnTo>
                      <a:pt x="1834" y="386"/>
                    </a:lnTo>
                    <a:lnTo>
                      <a:pt x="1848" y="394"/>
                    </a:lnTo>
                    <a:lnTo>
                      <a:pt x="1864" y="404"/>
                    </a:lnTo>
                    <a:lnTo>
                      <a:pt x="1878" y="414"/>
                    </a:lnTo>
                    <a:lnTo>
                      <a:pt x="1878" y="414"/>
                    </a:lnTo>
                    <a:lnTo>
                      <a:pt x="1880" y="416"/>
                    </a:lnTo>
                    <a:lnTo>
                      <a:pt x="1882" y="416"/>
                    </a:lnTo>
                    <a:lnTo>
                      <a:pt x="1878" y="408"/>
                    </a:lnTo>
                    <a:lnTo>
                      <a:pt x="1870" y="396"/>
                    </a:lnTo>
                    <a:lnTo>
                      <a:pt x="1864" y="390"/>
                    </a:lnTo>
                    <a:lnTo>
                      <a:pt x="1858" y="386"/>
                    </a:lnTo>
                    <a:lnTo>
                      <a:pt x="1858" y="386"/>
                    </a:lnTo>
                    <a:close/>
                    <a:moveTo>
                      <a:pt x="1882" y="456"/>
                    </a:moveTo>
                    <a:lnTo>
                      <a:pt x="1882" y="456"/>
                    </a:lnTo>
                    <a:lnTo>
                      <a:pt x="1876" y="450"/>
                    </a:lnTo>
                    <a:lnTo>
                      <a:pt x="1872" y="450"/>
                    </a:lnTo>
                    <a:lnTo>
                      <a:pt x="1870" y="454"/>
                    </a:lnTo>
                    <a:lnTo>
                      <a:pt x="1870" y="462"/>
                    </a:lnTo>
                    <a:lnTo>
                      <a:pt x="1870" y="462"/>
                    </a:lnTo>
                    <a:lnTo>
                      <a:pt x="1870" y="468"/>
                    </a:lnTo>
                    <a:lnTo>
                      <a:pt x="1876" y="474"/>
                    </a:lnTo>
                    <a:lnTo>
                      <a:pt x="1882" y="478"/>
                    </a:lnTo>
                    <a:lnTo>
                      <a:pt x="1892" y="478"/>
                    </a:lnTo>
                    <a:lnTo>
                      <a:pt x="1892" y="478"/>
                    </a:lnTo>
                    <a:lnTo>
                      <a:pt x="1900" y="476"/>
                    </a:lnTo>
                    <a:lnTo>
                      <a:pt x="1900" y="478"/>
                    </a:lnTo>
                    <a:lnTo>
                      <a:pt x="1902" y="480"/>
                    </a:lnTo>
                    <a:lnTo>
                      <a:pt x="1912" y="482"/>
                    </a:lnTo>
                    <a:lnTo>
                      <a:pt x="1912" y="482"/>
                    </a:lnTo>
                    <a:lnTo>
                      <a:pt x="1916" y="482"/>
                    </a:lnTo>
                    <a:lnTo>
                      <a:pt x="1920" y="482"/>
                    </a:lnTo>
                    <a:lnTo>
                      <a:pt x="1920" y="480"/>
                    </a:lnTo>
                    <a:lnTo>
                      <a:pt x="1918" y="476"/>
                    </a:lnTo>
                    <a:lnTo>
                      <a:pt x="1914" y="468"/>
                    </a:lnTo>
                    <a:lnTo>
                      <a:pt x="1906" y="460"/>
                    </a:lnTo>
                    <a:lnTo>
                      <a:pt x="1906" y="460"/>
                    </a:lnTo>
                    <a:lnTo>
                      <a:pt x="1902" y="458"/>
                    </a:lnTo>
                    <a:lnTo>
                      <a:pt x="1900" y="456"/>
                    </a:lnTo>
                    <a:lnTo>
                      <a:pt x="1892" y="456"/>
                    </a:lnTo>
                    <a:lnTo>
                      <a:pt x="1886" y="458"/>
                    </a:lnTo>
                    <a:lnTo>
                      <a:pt x="1884" y="456"/>
                    </a:lnTo>
                    <a:lnTo>
                      <a:pt x="1882" y="456"/>
                    </a:lnTo>
                    <a:lnTo>
                      <a:pt x="1882" y="456"/>
                    </a:lnTo>
                    <a:close/>
                    <a:moveTo>
                      <a:pt x="1884" y="560"/>
                    </a:moveTo>
                    <a:lnTo>
                      <a:pt x="1884" y="560"/>
                    </a:lnTo>
                    <a:lnTo>
                      <a:pt x="1886" y="564"/>
                    </a:lnTo>
                    <a:lnTo>
                      <a:pt x="1894" y="570"/>
                    </a:lnTo>
                    <a:lnTo>
                      <a:pt x="1902" y="576"/>
                    </a:lnTo>
                    <a:lnTo>
                      <a:pt x="1906" y="576"/>
                    </a:lnTo>
                    <a:lnTo>
                      <a:pt x="1910" y="576"/>
                    </a:lnTo>
                    <a:lnTo>
                      <a:pt x="1910" y="576"/>
                    </a:lnTo>
                    <a:lnTo>
                      <a:pt x="1910" y="574"/>
                    </a:lnTo>
                    <a:lnTo>
                      <a:pt x="1908" y="570"/>
                    </a:lnTo>
                    <a:lnTo>
                      <a:pt x="1900" y="562"/>
                    </a:lnTo>
                    <a:lnTo>
                      <a:pt x="1890" y="558"/>
                    </a:lnTo>
                    <a:lnTo>
                      <a:pt x="1886" y="558"/>
                    </a:lnTo>
                    <a:lnTo>
                      <a:pt x="1884" y="560"/>
                    </a:lnTo>
                    <a:lnTo>
                      <a:pt x="1884" y="560"/>
                    </a:lnTo>
                    <a:close/>
                    <a:moveTo>
                      <a:pt x="1966" y="508"/>
                    </a:moveTo>
                    <a:lnTo>
                      <a:pt x="1966" y="508"/>
                    </a:lnTo>
                    <a:lnTo>
                      <a:pt x="1958" y="506"/>
                    </a:lnTo>
                    <a:lnTo>
                      <a:pt x="1950" y="502"/>
                    </a:lnTo>
                    <a:lnTo>
                      <a:pt x="1942" y="498"/>
                    </a:lnTo>
                    <a:lnTo>
                      <a:pt x="1938" y="498"/>
                    </a:lnTo>
                    <a:lnTo>
                      <a:pt x="1936" y="500"/>
                    </a:lnTo>
                    <a:lnTo>
                      <a:pt x="1936" y="500"/>
                    </a:lnTo>
                    <a:lnTo>
                      <a:pt x="1934" y="500"/>
                    </a:lnTo>
                    <a:lnTo>
                      <a:pt x="1934" y="502"/>
                    </a:lnTo>
                    <a:lnTo>
                      <a:pt x="1938" y="504"/>
                    </a:lnTo>
                    <a:lnTo>
                      <a:pt x="1942" y="506"/>
                    </a:lnTo>
                    <a:lnTo>
                      <a:pt x="1944" y="510"/>
                    </a:lnTo>
                    <a:lnTo>
                      <a:pt x="1944" y="512"/>
                    </a:lnTo>
                    <a:lnTo>
                      <a:pt x="1944" y="512"/>
                    </a:lnTo>
                    <a:lnTo>
                      <a:pt x="1946" y="516"/>
                    </a:lnTo>
                    <a:lnTo>
                      <a:pt x="1948" y="518"/>
                    </a:lnTo>
                    <a:lnTo>
                      <a:pt x="1956" y="524"/>
                    </a:lnTo>
                    <a:lnTo>
                      <a:pt x="1966" y="528"/>
                    </a:lnTo>
                    <a:lnTo>
                      <a:pt x="1974" y="528"/>
                    </a:lnTo>
                    <a:lnTo>
                      <a:pt x="1974" y="528"/>
                    </a:lnTo>
                    <a:lnTo>
                      <a:pt x="1976" y="528"/>
                    </a:lnTo>
                    <a:lnTo>
                      <a:pt x="1978" y="526"/>
                    </a:lnTo>
                    <a:lnTo>
                      <a:pt x="1976" y="518"/>
                    </a:lnTo>
                    <a:lnTo>
                      <a:pt x="1972" y="512"/>
                    </a:lnTo>
                    <a:lnTo>
                      <a:pt x="1968" y="510"/>
                    </a:lnTo>
                    <a:lnTo>
                      <a:pt x="1966" y="508"/>
                    </a:lnTo>
                    <a:lnTo>
                      <a:pt x="1966" y="508"/>
                    </a:lnTo>
                    <a:close/>
                    <a:moveTo>
                      <a:pt x="2174" y="784"/>
                    </a:moveTo>
                    <a:lnTo>
                      <a:pt x="2174" y="784"/>
                    </a:lnTo>
                    <a:lnTo>
                      <a:pt x="2174" y="788"/>
                    </a:lnTo>
                    <a:lnTo>
                      <a:pt x="2180" y="792"/>
                    </a:lnTo>
                    <a:lnTo>
                      <a:pt x="2180" y="792"/>
                    </a:lnTo>
                    <a:lnTo>
                      <a:pt x="2182" y="794"/>
                    </a:lnTo>
                    <a:lnTo>
                      <a:pt x="2184" y="798"/>
                    </a:lnTo>
                    <a:lnTo>
                      <a:pt x="2186" y="804"/>
                    </a:lnTo>
                    <a:lnTo>
                      <a:pt x="2188" y="808"/>
                    </a:lnTo>
                    <a:lnTo>
                      <a:pt x="2192" y="808"/>
                    </a:lnTo>
                    <a:lnTo>
                      <a:pt x="2196" y="808"/>
                    </a:lnTo>
                    <a:lnTo>
                      <a:pt x="2196" y="808"/>
                    </a:lnTo>
                    <a:lnTo>
                      <a:pt x="2198" y="806"/>
                    </a:lnTo>
                    <a:lnTo>
                      <a:pt x="2198" y="800"/>
                    </a:lnTo>
                    <a:lnTo>
                      <a:pt x="2196" y="794"/>
                    </a:lnTo>
                    <a:lnTo>
                      <a:pt x="2190" y="788"/>
                    </a:lnTo>
                    <a:lnTo>
                      <a:pt x="2186" y="784"/>
                    </a:lnTo>
                    <a:lnTo>
                      <a:pt x="2180" y="780"/>
                    </a:lnTo>
                    <a:lnTo>
                      <a:pt x="2176" y="780"/>
                    </a:lnTo>
                    <a:lnTo>
                      <a:pt x="2174" y="784"/>
                    </a:lnTo>
                    <a:lnTo>
                      <a:pt x="2174" y="784"/>
                    </a:lnTo>
                    <a:close/>
                    <a:moveTo>
                      <a:pt x="1938" y="458"/>
                    </a:moveTo>
                    <a:lnTo>
                      <a:pt x="1938" y="458"/>
                    </a:lnTo>
                    <a:lnTo>
                      <a:pt x="1938" y="454"/>
                    </a:lnTo>
                    <a:lnTo>
                      <a:pt x="1938" y="448"/>
                    </a:lnTo>
                    <a:lnTo>
                      <a:pt x="1936" y="444"/>
                    </a:lnTo>
                    <a:lnTo>
                      <a:pt x="1930" y="438"/>
                    </a:lnTo>
                    <a:lnTo>
                      <a:pt x="1930" y="438"/>
                    </a:lnTo>
                    <a:lnTo>
                      <a:pt x="1928" y="434"/>
                    </a:lnTo>
                    <a:lnTo>
                      <a:pt x="1926" y="428"/>
                    </a:lnTo>
                    <a:lnTo>
                      <a:pt x="1922" y="420"/>
                    </a:lnTo>
                    <a:lnTo>
                      <a:pt x="1920" y="410"/>
                    </a:lnTo>
                    <a:lnTo>
                      <a:pt x="1916" y="408"/>
                    </a:lnTo>
                    <a:lnTo>
                      <a:pt x="1910" y="406"/>
                    </a:lnTo>
                    <a:lnTo>
                      <a:pt x="1910" y="406"/>
                    </a:lnTo>
                    <a:lnTo>
                      <a:pt x="1908" y="404"/>
                    </a:lnTo>
                    <a:lnTo>
                      <a:pt x="1906" y="406"/>
                    </a:lnTo>
                    <a:lnTo>
                      <a:pt x="1906" y="412"/>
                    </a:lnTo>
                    <a:lnTo>
                      <a:pt x="1912" y="422"/>
                    </a:lnTo>
                    <a:lnTo>
                      <a:pt x="1916" y="440"/>
                    </a:lnTo>
                    <a:lnTo>
                      <a:pt x="1916" y="440"/>
                    </a:lnTo>
                    <a:lnTo>
                      <a:pt x="1918" y="446"/>
                    </a:lnTo>
                    <a:lnTo>
                      <a:pt x="1920" y="448"/>
                    </a:lnTo>
                    <a:lnTo>
                      <a:pt x="1926" y="452"/>
                    </a:lnTo>
                    <a:lnTo>
                      <a:pt x="1930" y="460"/>
                    </a:lnTo>
                    <a:lnTo>
                      <a:pt x="1930" y="460"/>
                    </a:lnTo>
                    <a:lnTo>
                      <a:pt x="1936" y="466"/>
                    </a:lnTo>
                    <a:lnTo>
                      <a:pt x="1940" y="470"/>
                    </a:lnTo>
                    <a:lnTo>
                      <a:pt x="1942" y="468"/>
                    </a:lnTo>
                    <a:lnTo>
                      <a:pt x="1942" y="468"/>
                    </a:lnTo>
                    <a:lnTo>
                      <a:pt x="1938" y="458"/>
                    </a:lnTo>
                    <a:lnTo>
                      <a:pt x="1938" y="458"/>
                    </a:lnTo>
                    <a:close/>
                    <a:moveTo>
                      <a:pt x="2456" y="2102"/>
                    </a:moveTo>
                    <a:lnTo>
                      <a:pt x="2456" y="2102"/>
                    </a:lnTo>
                    <a:lnTo>
                      <a:pt x="2460" y="2096"/>
                    </a:lnTo>
                    <a:lnTo>
                      <a:pt x="2460" y="2090"/>
                    </a:lnTo>
                    <a:lnTo>
                      <a:pt x="2458" y="2084"/>
                    </a:lnTo>
                    <a:lnTo>
                      <a:pt x="2456" y="2082"/>
                    </a:lnTo>
                    <a:lnTo>
                      <a:pt x="2450" y="2082"/>
                    </a:lnTo>
                    <a:lnTo>
                      <a:pt x="2442" y="2084"/>
                    </a:lnTo>
                    <a:lnTo>
                      <a:pt x="2434" y="2088"/>
                    </a:lnTo>
                    <a:lnTo>
                      <a:pt x="2426" y="2094"/>
                    </a:lnTo>
                    <a:lnTo>
                      <a:pt x="2426" y="2094"/>
                    </a:lnTo>
                    <a:lnTo>
                      <a:pt x="2418" y="2100"/>
                    </a:lnTo>
                    <a:lnTo>
                      <a:pt x="2412" y="2100"/>
                    </a:lnTo>
                    <a:lnTo>
                      <a:pt x="2410" y="2098"/>
                    </a:lnTo>
                    <a:lnTo>
                      <a:pt x="2410" y="2094"/>
                    </a:lnTo>
                    <a:lnTo>
                      <a:pt x="2410" y="2080"/>
                    </a:lnTo>
                    <a:lnTo>
                      <a:pt x="2410" y="2076"/>
                    </a:lnTo>
                    <a:lnTo>
                      <a:pt x="2408" y="2074"/>
                    </a:lnTo>
                    <a:lnTo>
                      <a:pt x="2408" y="2074"/>
                    </a:lnTo>
                    <a:lnTo>
                      <a:pt x="2400" y="2072"/>
                    </a:lnTo>
                    <a:lnTo>
                      <a:pt x="2398" y="2070"/>
                    </a:lnTo>
                    <a:lnTo>
                      <a:pt x="2398" y="2068"/>
                    </a:lnTo>
                    <a:lnTo>
                      <a:pt x="2404" y="2064"/>
                    </a:lnTo>
                    <a:lnTo>
                      <a:pt x="2404" y="2064"/>
                    </a:lnTo>
                    <a:lnTo>
                      <a:pt x="2408" y="2062"/>
                    </a:lnTo>
                    <a:lnTo>
                      <a:pt x="2408" y="2058"/>
                    </a:lnTo>
                    <a:lnTo>
                      <a:pt x="2408" y="2056"/>
                    </a:lnTo>
                    <a:lnTo>
                      <a:pt x="2404" y="2054"/>
                    </a:lnTo>
                    <a:lnTo>
                      <a:pt x="2400" y="2054"/>
                    </a:lnTo>
                    <a:lnTo>
                      <a:pt x="2396" y="2056"/>
                    </a:lnTo>
                    <a:lnTo>
                      <a:pt x="2388" y="2060"/>
                    </a:lnTo>
                    <a:lnTo>
                      <a:pt x="2380" y="2068"/>
                    </a:lnTo>
                    <a:lnTo>
                      <a:pt x="2380" y="2068"/>
                    </a:lnTo>
                    <a:lnTo>
                      <a:pt x="2376" y="2074"/>
                    </a:lnTo>
                    <a:lnTo>
                      <a:pt x="2374" y="2080"/>
                    </a:lnTo>
                    <a:lnTo>
                      <a:pt x="2374" y="2096"/>
                    </a:lnTo>
                    <a:lnTo>
                      <a:pt x="2372" y="2104"/>
                    </a:lnTo>
                    <a:lnTo>
                      <a:pt x="2370" y="2110"/>
                    </a:lnTo>
                    <a:lnTo>
                      <a:pt x="2366" y="2116"/>
                    </a:lnTo>
                    <a:lnTo>
                      <a:pt x="2358" y="2120"/>
                    </a:lnTo>
                    <a:lnTo>
                      <a:pt x="2358" y="2120"/>
                    </a:lnTo>
                    <a:lnTo>
                      <a:pt x="2352" y="2126"/>
                    </a:lnTo>
                    <a:lnTo>
                      <a:pt x="2346" y="2134"/>
                    </a:lnTo>
                    <a:lnTo>
                      <a:pt x="2336" y="2156"/>
                    </a:lnTo>
                    <a:lnTo>
                      <a:pt x="2324" y="2180"/>
                    </a:lnTo>
                    <a:lnTo>
                      <a:pt x="2318" y="2190"/>
                    </a:lnTo>
                    <a:lnTo>
                      <a:pt x="2310" y="2196"/>
                    </a:lnTo>
                    <a:lnTo>
                      <a:pt x="2310" y="2196"/>
                    </a:lnTo>
                    <a:lnTo>
                      <a:pt x="2298" y="2206"/>
                    </a:lnTo>
                    <a:lnTo>
                      <a:pt x="2286" y="2218"/>
                    </a:lnTo>
                    <a:lnTo>
                      <a:pt x="2274" y="2228"/>
                    </a:lnTo>
                    <a:lnTo>
                      <a:pt x="2270" y="2230"/>
                    </a:lnTo>
                    <a:lnTo>
                      <a:pt x="2264" y="2232"/>
                    </a:lnTo>
                    <a:lnTo>
                      <a:pt x="2264" y="2232"/>
                    </a:lnTo>
                    <a:lnTo>
                      <a:pt x="2260" y="2234"/>
                    </a:lnTo>
                    <a:lnTo>
                      <a:pt x="2256" y="2236"/>
                    </a:lnTo>
                    <a:lnTo>
                      <a:pt x="2250" y="2242"/>
                    </a:lnTo>
                    <a:lnTo>
                      <a:pt x="2246" y="2248"/>
                    </a:lnTo>
                    <a:lnTo>
                      <a:pt x="2242" y="2250"/>
                    </a:lnTo>
                    <a:lnTo>
                      <a:pt x="2236" y="2250"/>
                    </a:lnTo>
                    <a:lnTo>
                      <a:pt x="2236" y="2250"/>
                    </a:lnTo>
                    <a:lnTo>
                      <a:pt x="2228" y="2250"/>
                    </a:lnTo>
                    <a:lnTo>
                      <a:pt x="2222" y="2254"/>
                    </a:lnTo>
                    <a:lnTo>
                      <a:pt x="2216" y="2260"/>
                    </a:lnTo>
                    <a:lnTo>
                      <a:pt x="2210" y="2266"/>
                    </a:lnTo>
                    <a:lnTo>
                      <a:pt x="2200" y="2282"/>
                    </a:lnTo>
                    <a:lnTo>
                      <a:pt x="2186" y="2298"/>
                    </a:lnTo>
                    <a:lnTo>
                      <a:pt x="2186" y="2298"/>
                    </a:lnTo>
                    <a:lnTo>
                      <a:pt x="2174" y="2310"/>
                    </a:lnTo>
                    <a:lnTo>
                      <a:pt x="2162" y="2322"/>
                    </a:lnTo>
                    <a:lnTo>
                      <a:pt x="2160" y="2328"/>
                    </a:lnTo>
                    <a:lnTo>
                      <a:pt x="2156" y="2334"/>
                    </a:lnTo>
                    <a:lnTo>
                      <a:pt x="2156" y="2338"/>
                    </a:lnTo>
                    <a:lnTo>
                      <a:pt x="2158" y="2344"/>
                    </a:lnTo>
                    <a:lnTo>
                      <a:pt x="2158" y="2344"/>
                    </a:lnTo>
                    <a:lnTo>
                      <a:pt x="2160" y="2348"/>
                    </a:lnTo>
                    <a:lnTo>
                      <a:pt x="2158" y="2352"/>
                    </a:lnTo>
                    <a:lnTo>
                      <a:pt x="2152" y="2356"/>
                    </a:lnTo>
                    <a:lnTo>
                      <a:pt x="2146" y="2360"/>
                    </a:lnTo>
                    <a:lnTo>
                      <a:pt x="2146" y="2362"/>
                    </a:lnTo>
                    <a:lnTo>
                      <a:pt x="2146" y="2368"/>
                    </a:lnTo>
                    <a:lnTo>
                      <a:pt x="2146" y="2368"/>
                    </a:lnTo>
                    <a:lnTo>
                      <a:pt x="2152" y="2376"/>
                    </a:lnTo>
                    <a:lnTo>
                      <a:pt x="2162" y="2382"/>
                    </a:lnTo>
                    <a:lnTo>
                      <a:pt x="2168" y="2384"/>
                    </a:lnTo>
                    <a:lnTo>
                      <a:pt x="2172" y="2384"/>
                    </a:lnTo>
                    <a:lnTo>
                      <a:pt x="2178" y="2382"/>
                    </a:lnTo>
                    <a:lnTo>
                      <a:pt x="2184" y="2378"/>
                    </a:lnTo>
                    <a:lnTo>
                      <a:pt x="2184" y="2378"/>
                    </a:lnTo>
                    <a:lnTo>
                      <a:pt x="2190" y="2376"/>
                    </a:lnTo>
                    <a:lnTo>
                      <a:pt x="2192" y="2374"/>
                    </a:lnTo>
                    <a:lnTo>
                      <a:pt x="2194" y="2376"/>
                    </a:lnTo>
                    <a:lnTo>
                      <a:pt x="2196" y="2378"/>
                    </a:lnTo>
                    <a:lnTo>
                      <a:pt x="2200" y="2384"/>
                    </a:lnTo>
                    <a:lnTo>
                      <a:pt x="2202" y="2386"/>
                    </a:lnTo>
                    <a:lnTo>
                      <a:pt x="2208" y="2386"/>
                    </a:lnTo>
                    <a:lnTo>
                      <a:pt x="2208" y="2386"/>
                    </a:lnTo>
                    <a:lnTo>
                      <a:pt x="2212" y="2386"/>
                    </a:lnTo>
                    <a:lnTo>
                      <a:pt x="2216" y="2388"/>
                    </a:lnTo>
                    <a:lnTo>
                      <a:pt x="2218" y="2392"/>
                    </a:lnTo>
                    <a:lnTo>
                      <a:pt x="2218" y="2396"/>
                    </a:lnTo>
                    <a:lnTo>
                      <a:pt x="2220" y="2398"/>
                    </a:lnTo>
                    <a:lnTo>
                      <a:pt x="2224" y="2402"/>
                    </a:lnTo>
                    <a:lnTo>
                      <a:pt x="2232" y="2402"/>
                    </a:lnTo>
                    <a:lnTo>
                      <a:pt x="2232" y="2402"/>
                    </a:lnTo>
                    <a:lnTo>
                      <a:pt x="2248" y="2404"/>
                    </a:lnTo>
                    <a:lnTo>
                      <a:pt x="2256" y="2404"/>
                    </a:lnTo>
                    <a:lnTo>
                      <a:pt x="2262" y="2404"/>
                    </a:lnTo>
                    <a:lnTo>
                      <a:pt x="2268" y="2402"/>
                    </a:lnTo>
                    <a:lnTo>
                      <a:pt x="2276" y="2398"/>
                    </a:lnTo>
                    <a:lnTo>
                      <a:pt x="2282" y="2390"/>
                    </a:lnTo>
                    <a:lnTo>
                      <a:pt x="2288" y="2380"/>
                    </a:lnTo>
                    <a:lnTo>
                      <a:pt x="2288" y="2380"/>
                    </a:lnTo>
                    <a:lnTo>
                      <a:pt x="2296" y="2372"/>
                    </a:lnTo>
                    <a:lnTo>
                      <a:pt x="2302" y="2366"/>
                    </a:lnTo>
                    <a:lnTo>
                      <a:pt x="2308" y="2362"/>
                    </a:lnTo>
                    <a:lnTo>
                      <a:pt x="2314" y="2360"/>
                    </a:lnTo>
                    <a:lnTo>
                      <a:pt x="2320" y="2358"/>
                    </a:lnTo>
                    <a:lnTo>
                      <a:pt x="2320" y="2356"/>
                    </a:lnTo>
                    <a:lnTo>
                      <a:pt x="2318" y="2352"/>
                    </a:lnTo>
                    <a:lnTo>
                      <a:pt x="2318" y="2352"/>
                    </a:lnTo>
                    <a:lnTo>
                      <a:pt x="2318" y="2346"/>
                    </a:lnTo>
                    <a:lnTo>
                      <a:pt x="2318" y="2340"/>
                    </a:lnTo>
                    <a:lnTo>
                      <a:pt x="2324" y="2328"/>
                    </a:lnTo>
                    <a:lnTo>
                      <a:pt x="2332" y="2312"/>
                    </a:lnTo>
                    <a:lnTo>
                      <a:pt x="2336" y="2300"/>
                    </a:lnTo>
                    <a:lnTo>
                      <a:pt x="2336" y="2288"/>
                    </a:lnTo>
                    <a:lnTo>
                      <a:pt x="2336" y="2288"/>
                    </a:lnTo>
                    <a:lnTo>
                      <a:pt x="2340" y="2276"/>
                    </a:lnTo>
                    <a:lnTo>
                      <a:pt x="2346" y="2266"/>
                    </a:lnTo>
                    <a:lnTo>
                      <a:pt x="2354" y="2258"/>
                    </a:lnTo>
                    <a:lnTo>
                      <a:pt x="2364" y="2252"/>
                    </a:lnTo>
                    <a:lnTo>
                      <a:pt x="2376" y="2248"/>
                    </a:lnTo>
                    <a:lnTo>
                      <a:pt x="2386" y="2246"/>
                    </a:lnTo>
                    <a:lnTo>
                      <a:pt x="2394" y="2244"/>
                    </a:lnTo>
                    <a:lnTo>
                      <a:pt x="2400" y="2246"/>
                    </a:lnTo>
                    <a:lnTo>
                      <a:pt x="2400" y="2246"/>
                    </a:lnTo>
                    <a:lnTo>
                      <a:pt x="2406" y="2246"/>
                    </a:lnTo>
                    <a:lnTo>
                      <a:pt x="2410" y="2246"/>
                    </a:lnTo>
                    <a:lnTo>
                      <a:pt x="2414" y="2244"/>
                    </a:lnTo>
                    <a:lnTo>
                      <a:pt x="2416" y="2242"/>
                    </a:lnTo>
                    <a:lnTo>
                      <a:pt x="2418" y="2238"/>
                    </a:lnTo>
                    <a:lnTo>
                      <a:pt x="2418" y="2236"/>
                    </a:lnTo>
                    <a:lnTo>
                      <a:pt x="2416" y="2232"/>
                    </a:lnTo>
                    <a:lnTo>
                      <a:pt x="2410" y="2230"/>
                    </a:lnTo>
                    <a:lnTo>
                      <a:pt x="2410" y="2230"/>
                    </a:lnTo>
                    <a:lnTo>
                      <a:pt x="2404" y="2228"/>
                    </a:lnTo>
                    <a:lnTo>
                      <a:pt x="2402" y="2224"/>
                    </a:lnTo>
                    <a:lnTo>
                      <a:pt x="2400" y="2218"/>
                    </a:lnTo>
                    <a:lnTo>
                      <a:pt x="2400" y="2214"/>
                    </a:lnTo>
                    <a:lnTo>
                      <a:pt x="2400" y="2208"/>
                    </a:lnTo>
                    <a:lnTo>
                      <a:pt x="2402" y="2204"/>
                    </a:lnTo>
                    <a:lnTo>
                      <a:pt x="2406" y="2200"/>
                    </a:lnTo>
                    <a:lnTo>
                      <a:pt x="2410" y="2198"/>
                    </a:lnTo>
                    <a:lnTo>
                      <a:pt x="2410" y="2198"/>
                    </a:lnTo>
                    <a:lnTo>
                      <a:pt x="2416" y="2196"/>
                    </a:lnTo>
                    <a:lnTo>
                      <a:pt x="2420" y="2192"/>
                    </a:lnTo>
                    <a:lnTo>
                      <a:pt x="2430" y="2178"/>
                    </a:lnTo>
                    <a:lnTo>
                      <a:pt x="2440" y="2160"/>
                    </a:lnTo>
                    <a:lnTo>
                      <a:pt x="2454" y="2138"/>
                    </a:lnTo>
                    <a:lnTo>
                      <a:pt x="2454" y="2138"/>
                    </a:lnTo>
                    <a:lnTo>
                      <a:pt x="2460" y="2130"/>
                    </a:lnTo>
                    <a:lnTo>
                      <a:pt x="2462" y="2124"/>
                    </a:lnTo>
                    <a:lnTo>
                      <a:pt x="2462" y="2120"/>
                    </a:lnTo>
                    <a:lnTo>
                      <a:pt x="2460" y="2118"/>
                    </a:lnTo>
                    <a:lnTo>
                      <a:pt x="2456" y="2116"/>
                    </a:lnTo>
                    <a:lnTo>
                      <a:pt x="2454" y="2114"/>
                    </a:lnTo>
                    <a:lnTo>
                      <a:pt x="2454" y="2110"/>
                    </a:lnTo>
                    <a:lnTo>
                      <a:pt x="2456" y="2102"/>
                    </a:lnTo>
                    <a:lnTo>
                      <a:pt x="2456" y="2102"/>
                    </a:lnTo>
                    <a:close/>
                    <a:moveTo>
                      <a:pt x="2684" y="808"/>
                    </a:moveTo>
                    <a:lnTo>
                      <a:pt x="2684" y="808"/>
                    </a:lnTo>
                    <a:lnTo>
                      <a:pt x="2680" y="812"/>
                    </a:lnTo>
                    <a:lnTo>
                      <a:pt x="2678" y="810"/>
                    </a:lnTo>
                    <a:lnTo>
                      <a:pt x="2678" y="810"/>
                    </a:lnTo>
                    <a:lnTo>
                      <a:pt x="2682" y="802"/>
                    </a:lnTo>
                    <a:lnTo>
                      <a:pt x="2688" y="794"/>
                    </a:lnTo>
                    <a:lnTo>
                      <a:pt x="2688" y="794"/>
                    </a:lnTo>
                    <a:lnTo>
                      <a:pt x="2690" y="792"/>
                    </a:lnTo>
                    <a:lnTo>
                      <a:pt x="2690" y="790"/>
                    </a:lnTo>
                    <a:lnTo>
                      <a:pt x="2688" y="788"/>
                    </a:lnTo>
                    <a:lnTo>
                      <a:pt x="2684" y="790"/>
                    </a:lnTo>
                    <a:lnTo>
                      <a:pt x="2676" y="794"/>
                    </a:lnTo>
                    <a:lnTo>
                      <a:pt x="2664" y="800"/>
                    </a:lnTo>
                    <a:lnTo>
                      <a:pt x="2664" y="800"/>
                    </a:lnTo>
                    <a:lnTo>
                      <a:pt x="2658" y="804"/>
                    </a:lnTo>
                    <a:lnTo>
                      <a:pt x="2652" y="806"/>
                    </a:lnTo>
                    <a:lnTo>
                      <a:pt x="2648" y="806"/>
                    </a:lnTo>
                    <a:lnTo>
                      <a:pt x="2646" y="812"/>
                    </a:lnTo>
                    <a:lnTo>
                      <a:pt x="2646" y="812"/>
                    </a:lnTo>
                    <a:lnTo>
                      <a:pt x="2644" y="814"/>
                    </a:lnTo>
                    <a:lnTo>
                      <a:pt x="2642" y="816"/>
                    </a:lnTo>
                    <a:lnTo>
                      <a:pt x="2636" y="814"/>
                    </a:lnTo>
                    <a:lnTo>
                      <a:pt x="2634" y="814"/>
                    </a:lnTo>
                    <a:lnTo>
                      <a:pt x="2634" y="816"/>
                    </a:lnTo>
                    <a:lnTo>
                      <a:pt x="2636" y="826"/>
                    </a:lnTo>
                    <a:lnTo>
                      <a:pt x="2636" y="826"/>
                    </a:lnTo>
                    <a:lnTo>
                      <a:pt x="2640" y="832"/>
                    </a:lnTo>
                    <a:lnTo>
                      <a:pt x="2642" y="832"/>
                    </a:lnTo>
                    <a:lnTo>
                      <a:pt x="2656" y="822"/>
                    </a:lnTo>
                    <a:lnTo>
                      <a:pt x="2656" y="822"/>
                    </a:lnTo>
                    <a:lnTo>
                      <a:pt x="2660" y="820"/>
                    </a:lnTo>
                    <a:lnTo>
                      <a:pt x="2662" y="820"/>
                    </a:lnTo>
                    <a:lnTo>
                      <a:pt x="2664" y="820"/>
                    </a:lnTo>
                    <a:lnTo>
                      <a:pt x="2666" y="822"/>
                    </a:lnTo>
                    <a:lnTo>
                      <a:pt x="2666" y="824"/>
                    </a:lnTo>
                    <a:lnTo>
                      <a:pt x="2668" y="824"/>
                    </a:lnTo>
                    <a:lnTo>
                      <a:pt x="2670" y="824"/>
                    </a:lnTo>
                    <a:lnTo>
                      <a:pt x="2670" y="824"/>
                    </a:lnTo>
                    <a:lnTo>
                      <a:pt x="2678" y="820"/>
                    </a:lnTo>
                    <a:lnTo>
                      <a:pt x="2684" y="820"/>
                    </a:lnTo>
                    <a:lnTo>
                      <a:pt x="2690" y="820"/>
                    </a:lnTo>
                    <a:lnTo>
                      <a:pt x="2690" y="820"/>
                    </a:lnTo>
                    <a:lnTo>
                      <a:pt x="2690" y="820"/>
                    </a:lnTo>
                    <a:lnTo>
                      <a:pt x="2690" y="820"/>
                    </a:lnTo>
                    <a:lnTo>
                      <a:pt x="2688" y="816"/>
                    </a:lnTo>
                    <a:lnTo>
                      <a:pt x="2688" y="810"/>
                    </a:lnTo>
                    <a:lnTo>
                      <a:pt x="2688" y="806"/>
                    </a:lnTo>
                    <a:lnTo>
                      <a:pt x="2684" y="808"/>
                    </a:lnTo>
                    <a:lnTo>
                      <a:pt x="2684" y="808"/>
                    </a:lnTo>
                    <a:close/>
                    <a:moveTo>
                      <a:pt x="2600" y="1904"/>
                    </a:moveTo>
                    <a:lnTo>
                      <a:pt x="2600" y="1904"/>
                    </a:lnTo>
                    <a:lnTo>
                      <a:pt x="2596" y="1910"/>
                    </a:lnTo>
                    <a:lnTo>
                      <a:pt x="2592" y="1916"/>
                    </a:lnTo>
                    <a:lnTo>
                      <a:pt x="2586" y="1918"/>
                    </a:lnTo>
                    <a:lnTo>
                      <a:pt x="2580" y="1918"/>
                    </a:lnTo>
                    <a:lnTo>
                      <a:pt x="2574" y="1918"/>
                    </a:lnTo>
                    <a:lnTo>
                      <a:pt x="2566" y="1914"/>
                    </a:lnTo>
                    <a:lnTo>
                      <a:pt x="2548" y="1906"/>
                    </a:lnTo>
                    <a:lnTo>
                      <a:pt x="2548" y="1906"/>
                    </a:lnTo>
                    <a:lnTo>
                      <a:pt x="2540" y="1900"/>
                    </a:lnTo>
                    <a:lnTo>
                      <a:pt x="2534" y="1892"/>
                    </a:lnTo>
                    <a:lnTo>
                      <a:pt x="2530" y="1884"/>
                    </a:lnTo>
                    <a:lnTo>
                      <a:pt x="2528" y="1876"/>
                    </a:lnTo>
                    <a:lnTo>
                      <a:pt x="2522" y="1856"/>
                    </a:lnTo>
                    <a:lnTo>
                      <a:pt x="2518" y="1848"/>
                    </a:lnTo>
                    <a:lnTo>
                      <a:pt x="2514" y="1840"/>
                    </a:lnTo>
                    <a:lnTo>
                      <a:pt x="2514" y="1840"/>
                    </a:lnTo>
                    <a:lnTo>
                      <a:pt x="2508" y="1834"/>
                    </a:lnTo>
                    <a:lnTo>
                      <a:pt x="2504" y="1832"/>
                    </a:lnTo>
                    <a:lnTo>
                      <a:pt x="2504" y="1834"/>
                    </a:lnTo>
                    <a:lnTo>
                      <a:pt x="2504" y="1838"/>
                    </a:lnTo>
                    <a:lnTo>
                      <a:pt x="2506" y="1850"/>
                    </a:lnTo>
                    <a:lnTo>
                      <a:pt x="2512" y="1868"/>
                    </a:lnTo>
                    <a:lnTo>
                      <a:pt x="2512" y="1868"/>
                    </a:lnTo>
                    <a:lnTo>
                      <a:pt x="2514" y="1874"/>
                    </a:lnTo>
                    <a:lnTo>
                      <a:pt x="2512" y="1876"/>
                    </a:lnTo>
                    <a:lnTo>
                      <a:pt x="2512" y="1876"/>
                    </a:lnTo>
                    <a:lnTo>
                      <a:pt x="2506" y="1874"/>
                    </a:lnTo>
                    <a:lnTo>
                      <a:pt x="2498" y="1868"/>
                    </a:lnTo>
                    <a:lnTo>
                      <a:pt x="2490" y="1862"/>
                    </a:lnTo>
                    <a:lnTo>
                      <a:pt x="2484" y="1854"/>
                    </a:lnTo>
                    <a:lnTo>
                      <a:pt x="2482" y="1844"/>
                    </a:lnTo>
                    <a:lnTo>
                      <a:pt x="2482" y="1836"/>
                    </a:lnTo>
                    <a:lnTo>
                      <a:pt x="2482" y="1836"/>
                    </a:lnTo>
                    <a:lnTo>
                      <a:pt x="2482" y="1830"/>
                    </a:lnTo>
                    <a:lnTo>
                      <a:pt x="2482" y="1826"/>
                    </a:lnTo>
                    <a:lnTo>
                      <a:pt x="2478" y="1818"/>
                    </a:lnTo>
                    <a:lnTo>
                      <a:pt x="2474" y="1810"/>
                    </a:lnTo>
                    <a:lnTo>
                      <a:pt x="2472" y="1806"/>
                    </a:lnTo>
                    <a:lnTo>
                      <a:pt x="2472" y="1802"/>
                    </a:lnTo>
                    <a:lnTo>
                      <a:pt x="2472" y="1802"/>
                    </a:lnTo>
                    <a:lnTo>
                      <a:pt x="2472" y="1792"/>
                    </a:lnTo>
                    <a:lnTo>
                      <a:pt x="2470" y="1786"/>
                    </a:lnTo>
                    <a:lnTo>
                      <a:pt x="2466" y="1780"/>
                    </a:lnTo>
                    <a:lnTo>
                      <a:pt x="2462" y="1770"/>
                    </a:lnTo>
                    <a:lnTo>
                      <a:pt x="2462" y="1770"/>
                    </a:lnTo>
                    <a:lnTo>
                      <a:pt x="2454" y="1762"/>
                    </a:lnTo>
                    <a:lnTo>
                      <a:pt x="2448" y="1758"/>
                    </a:lnTo>
                    <a:lnTo>
                      <a:pt x="2440" y="1754"/>
                    </a:lnTo>
                    <a:lnTo>
                      <a:pt x="2428" y="1752"/>
                    </a:lnTo>
                    <a:lnTo>
                      <a:pt x="2428" y="1752"/>
                    </a:lnTo>
                    <a:lnTo>
                      <a:pt x="2424" y="1750"/>
                    </a:lnTo>
                    <a:lnTo>
                      <a:pt x="2422" y="1748"/>
                    </a:lnTo>
                    <a:lnTo>
                      <a:pt x="2418" y="1738"/>
                    </a:lnTo>
                    <a:lnTo>
                      <a:pt x="2412" y="1730"/>
                    </a:lnTo>
                    <a:lnTo>
                      <a:pt x="2408" y="1726"/>
                    </a:lnTo>
                    <a:lnTo>
                      <a:pt x="2402" y="1726"/>
                    </a:lnTo>
                    <a:lnTo>
                      <a:pt x="2402" y="1726"/>
                    </a:lnTo>
                    <a:lnTo>
                      <a:pt x="2394" y="1726"/>
                    </a:lnTo>
                    <a:lnTo>
                      <a:pt x="2394" y="1728"/>
                    </a:lnTo>
                    <a:lnTo>
                      <a:pt x="2394" y="1730"/>
                    </a:lnTo>
                    <a:lnTo>
                      <a:pt x="2400" y="1736"/>
                    </a:lnTo>
                    <a:lnTo>
                      <a:pt x="2410" y="1748"/>
                    </a:lnTo>
                    <a:lnTo>
                      <a:pt x="2410" y="1748"/>
                    </a:lnTo>
                    <a:lnTo>
                      <a:pt x="2414" y="1754"/>
                    </a:lnTo>
                    <a:lnTo>
                      <a:pt x="2416" y="1758"/>
                    </a:lnTo>
                    <a:lnTo>
                      <a:pt x="2416" y="1762"/>
                    </a:lnTo>
                    <a:lnTo>
                      <a:pt x="2416" y="1764"/>
                    </a:lnTo>
                    <a:lnTo>
                      <a:pt x="2414" y="1768"/>
                    </a:lnTo>
                    <a:lnTo>
                      <a:pt x="2420" y="1776"/>
                    </a:lnTo>
                    <a:lnTo>
                      <a:pt x="2420" y="1776"/>
                    </a:lnTo>
                    <a:lnTo>
                      <a:pt x="2426" y="1784"/>
                    </a:lnTo>
                    <a:lnTo>
                      <a:pt x="2430" y="1794"/>
                    </a:lnTo>
                    <a:lnTo>
                      <a:pt x="2440" y="1814"/>
                    </a:lnTo>
                    <a:lnTo>
                      <a:pt x="2444" y="1822"/>
                    </a:lnTo>
                    <a:lnTo>
                      <a:pt x="2448" y="1828"/>
                    </a:lnTo>
                    <a:lnTo>
                      <a:pt x="2452" y="1830"/>
                    </a:lnTo>
                    <a:lnTo>
                      <a:pt x="2454" y="1826"/>
                    </a:lnTo>
                    <a:lnTo>
                      <a:pt x="2454" y="1826"/>
                    </a:lnTo>
                    <a:lnTo>
                      <a:pt x="2456" y="1822"/>
                    </a:lnTo>
                    <a:lnTo>
                      <a:pt x="2460" y="1822"/>
                    </a:lnTo>
                    <a:lnTo>
                      <a:pt x="2464" y="1830"/>
                    </a:lnTo>
                    <a:lnTo>
                      <a:pt x="2466" y="1840"/>
                    </a:lnTo>
                    <a:lnTo>
                      <a:pt x="2466" y="1842"/>
                    </a:lnTo>
                    <a:lnTo>
                      <a:pt x="2464" y="1842"/>
                    </a:lnTo>
                    <a:lnTo>
                      <a:pt x="2464" y="1842"/>
                    </a:lnTo>
                    <a:lnTo>
                      <a:pt x="2458" y="1838"/>
                    </a:lnTo>
                    <a:lnTo>
                      <a:pt x="2458" y="1842"/>
                    </a:lnTo>
                    <a:lnTo>
                      <a:pt x="2474" y="1878"/>
                    </a:lnTo>
                    <a:lnTo>
                      <a:pt x="2474" y="1878"/>
                    </a:lnTo>
                    <a:lnTo>
                      <a:pt x="2480" y="1892"/>
                    </a:lnTo>
                    <a:lnTo>
                      <a:pt x="2482" y="1902"/>
                    </a:lnTo>
                    <a:lnTo>
                      <a:pt x="2482" y="1910"/>
                    </a:lnTo>
                    <a:lnTo>
                      <a:pt x="2482" y="1916"/>
                    </a:lnTo>
                    <a:lnTo>
                      <a:pt x="2478" y="1928"/>
                    </a:lnTo>
                    <a:lnTo>
                      <a:pt x="2476" y="1936"/>
                    </a:lnTo>
                    <a:lnTo>
                      <a:pt x="2476" y="1946"/>
                    </a:lnTo>
                    <a:lnTo>
                      <a:pt x="2476" y="1946"/>
                    </a:lnTo>
                    <a:lnTo>
                      <a:pt x="2476" y="1954"/>
                    </a:lnTo>
                    <a:lnTo>
                      <a:pt x="2472" y="1962"/>
                    </a:lnTo>
                    <a:lnTo>
                      <a:pt x="2466" y="1968"/>
                    </a:lnTo>
                    <a:lnTo>
                      <a:pt x="2460" y="1972"/>
                    </a:lnTo>
                    <a:lnTo>
                      <a:pt x="2446" y="1980"/>
                    </a:lnTo>
                    <a:lnTo>
                      <a:pt x="2442" y="1984"/>
                    </a:lnTo>
                    <a:lnTo>
                      <a:pt x="2440" y="1988"/>
                    </a:lnTo>
                    <a:lnTo>
                      <a:pt x="2440" y="1988"/>
                    </a:lnTo>
                    <a:lnTo>
                      <a:pt x="2440" y="1994"/>
                    </a:lnTo>
                    <a:lnTo>
                      <a:pt x="2444" y="2000"/>
                    </a:lnTo>
                    <a:lnTo>
                      <a:pt x="2456" y="2010"/>
                    </a:lnTo>
                    <a:lnTo>
                      <a:pt x="2474" y="2020"/>
                    </a:lnTo>
                    <a:lnTo>
                      <a:pt x="2488" y="2028"/>
                    </a:lnTo>
                    <a:lnTo>
                      <a:pt x="2488" y="2028"/>
                    </a:lnTo>
                    <a:lnTo>
                      <a:pt x="2494" y="2032"/>
                    </a:lnTo>
                    <a:lnTo>
                      <a:pt x="2496" y="2040"/>
                    </a:lnTo>
                    <a:lnTo>
                      <a:pt x="2498" y="2048"/>
                    </a:lnTo>
                    <a:lnTo>
                      <a:pt x="2496" y="2058"/>
                    </a:lnTo>
                    <a:lnTo>
                      <a:pt x="2492" y="2076"/>
                    </a:lnTo>
                    <a:lnTo>
                      <a:pt x="2488" y="2082"/>
                    </a:lnTo>
                    <a:lnTo>
                      <a:pt x="2484" y="2088"/>
                    </a:lnTo>
                    <a:lnTo>
                      <a:pt x="2484" y="2088"/>
                    </a:lnTo>
                    <a:lnTo>
                      <a:pt x="2478" y="2092"/>
                    </a:lnTo>
                    <a:lnTo>
                      <a:pt x="2474" y="2098"/>
                    </a:lnTo>
                    <a:lnTo>
                      <a:pt x="2474" y="2100"/>
                    </a:lnTo>
                    <a:lnTo>
                      <a:pt x="2476" y="2100"/>
                    </a:lnTo>
                    <a:lnTo>
                      <a:pt x="2488" y="2106"/>
                    </a:lnTo>
                    <a:lnTo>
                      <a:pt x="2488" y="2106"/>
                    </a:lnTo>
                    <a:lnTo>
                      <a:pt x="2492" y="2108"/>
                    </a:lnTo>
                    <a:lnTo>
                      <a:pt x="2494" y="2110"/>
                    </a:lnTo>
                    <a:lnTo>
                      <a:pt x="2498" y="2116"/>
                    </a:lnTo>
                    <a:lnTo>
                      <a:pt x="2498" y="2120"/>
                    </a:lnTo>
                    <a:lnTo>
                      <a:pt x="2502" y="2120"/>
                    </a:lnTo>
                    <a:lnTo>
                      <a:pt x="2506" y="2118"/>
                    </a:lnTo>
                    <a:lnTo>
                      <a:pt x="2512" y="2114"/>
                    </a:lnTo>
                    <a:lnTo>
                      <a:pt x="2512" y="2114"/>
                    </a:lnTo>
                    <a:lnTo>
                      <a:pt x="2520" y="2108"/>
                    </a:lnTo>
                    <a:lnTo>
                      <a:pt x="2530" y="2094"/>
                    </a:lnTo>
                    <a:lnTo>
                      <a:pt x="2552" y="2062"/>
                    </a:lnTo>
                    <a:lnTo>
                      <a:pt x="2560" y="2044"/>
                    </a:lnTo>
                    <a:lnTo>
                      <a:pt x="2568" y="2028"/>
                    </a:lnTo>
                    <a:lnTo>
                      <a:pt x="2570" y="2016"/>
                    </a:lnTo>
                    <a:lnTo>
                      <a:pt x="2570" y="2010"/>
                    </a:lnTo>
                    <a:lnTo>
                      <a:pt x="2568" y="2006"/>
                    </a:lnTo>
                    <a:lnTo>
                      <a:pt x="2568" y="2006"/>
                    </a:lnTo>
                    <a:lnTo>
                      <a:pt x="2566" y="2002"/>
                    </a:lnTo>
                    <a:lnTo>
                      <a:pt x="2568" y="1998"/>
                    </a:lnTo>
                    <a:lnTo>
                      <a:pt x="2570" y="1992"/>
                    </a:lnTo>
                    <a:lnTo>
                      <a:pt x="2574" y="1986"/>
                    </a:lnTo>
                    <a:lnTo>
                      <a:pt x="2580" y="1982"/>
                    </a:lnTo>
                    <a:lnTo>
                      <a:pt x="2586" y="1980"/>
                    </a:lnTo>
                    <a:lnTo>
                      <a:pt x="2594" y="1982"/>
                    </a:lnTo>
                    <a:lnTo>
                      <a:pt x="2602" y="1986"/>
                    </a:lnTo>
                    <a:lnTo>
                      <a:pt x="2602" y="1986"/>
                    </a:lnTo>
                    <a:lnTo>
                      <a:pt x="2608" y="1990"/>
                    </a:lnTo>
                    <a:lnTo>
                      <a:pt x="2610" y="1990"/>
                    </a:lnTo>
                    <a:lnTo>
                      <a:pt x="2612" y="1988"/>
                    </a:lnTo>
                    <a:lnTo>
                      <a:pt x="2612" y="1984"/>
                    </a:lnTo>
                    <a:lnTo>
                      <a:pt x="2610" y="1978"/>
                    </a:lnTo>
                    <a:lnTo>
                      <a:pt x="2608" y="1970"/>
                    </a:lnTo>
                    <a:lnTo>
                      <a:pt x="2608" y="1964"/>
                    </a:lnTo>
                    <a:lnTo>
                      <a:pt x="2610" y="1958"/>
                    </a:lnTo>
                    <a:lnTo>
                      <a:pt x="2612" y="1956"/>
                    </a:lnTo>
                    <a:lnTo>
                      <a:pt x="2614" y="1954"/>
                    </a:lnTo>
                    <a:lnTo>
                      <a:pt x="2614" y="1954"/>
                    </a:lnTo>
                    <a:lnTo>
                      <a:pt x="2620" y="1952"/>
                    </a:lnTo>
                    <a:lnTo>
                      <a:pt x="2624" y="1948"/>
                    </a:lnTo>
                    <a:lnTo>
                      <a:pt x="2626" y="1942"/>
                    </a:lnTo>
                    <a:lnTo>
                      <a:pt x="2626" y="1934"/>
                    </a:lnTo>
                    <a:lnTo>
                      <a:pt x="2628" y="1920"/>
                    </a:lnTo>
                    <a:lnTo>
                      <a:pt x="2628" y="1912"/>
                    </a:lnTo>
                    <a:lnTo>
                      <a:pt x="2630" y="1908"/>
                    </a:lnTo>
                    <a:lnTo>
                      <a:pt x="2630" y="1908"/>
                    </a:lnTo>
                    <a:lnTo>
                      <a:pt x="2632" y="1904"/>
                    </a:lnTo>
                    <a:lnTo>
                      <a:pt x="2630" y="1900"/>
                    </a:lnTo>
                    <a:lnTo>
                      <a:pt x="2626" y="1896"/>
                    </a:lnTo>
                    <a:lnTo>
                      <a:pt x="2620" y="1894"/>
                    </a:lnTo>
                    <a:lnTo>
                      <a:pt x="2614" y="1894"/>
                    </a:lnTo>
                    <a:lnTo>
                      <a:pt x="2608" y="1896"/>
                    </a:lnTo>
                    <a:lnTo>
                      <a:pt x="2604" y="1900"/>
                    </a:lnTo>
                    <a:lnTo>
                      <a:pt x="2600" y="1904"/>
                    </a:lnTo>
                    <a:lnTo>
                      <a:pt x="2600" y="1904"/>
                    </a:lnTo>
                    <a:close/>
                    <a:moveTo>
                      <a:pt x="2636" y="868"/>
                    </a:moveTo>
                    <a:lnTo>
                      <a:pt x="2636" y="868"/>
                    </a:lnTo>
                    <a:lnTo>
                      <a:pt x="2636" y="864"/>
                    </a:lnTo>
                    <a:lnTo>
                      <a:pt x="2634" y="860"/>
                    </a:lnTo>
                    <a:lnTo>
                      <a:pt x="2630" y="856"/>
                    </a:lnTo>
                    <a:lnTo>
                      <a:pt x="2626" y="854"/>
                    </a:lnTo>
                    <a:lnTo>
                      <a:pt x="2616" y="850"/>
                    </a:lnTo>
                    <a:lnTo>
                      <a:pt x="2606" y="852"/>
                    </a:lnTo>
                    <a:lnTo>
                      <a:pt x="2606" y="852"/>
                    </a:lnTo>
                    <a:lnTo>
                      <a:pt x="2596" y="858"/>
                    </a:lnTo>
                    <a:lnTo>
                      <a:pt x="2588" y="864"/>
                    </a:lnTo>
                    <a:lnTo>
                      <a:pt x="2582" y="870"/>
                    </a:lnTo>
                    <a:lnTo>
                      <a:pt x="2580" y="876"/>
                    </a:lnTo>
                    <a:lnTo>
                      <a:pt x="2580" y="880"/>
                    </a:lnTo>
                    <a:lnTo>
                      <a:pt x="2580" y="882"/>
                    </a:lnTo>
                    <a:lnTo>
                      <a:pt x="2582" y="886"/>
                    </a:lnTo>
                    <a:lnTo>
                      <a:pt x="2586" y="888"/>
                    </a:lnTo>
                    <a:lnTo>
                      <a:pt x="2600" y="892"/>
                    </a:lnTo>
                    <a:lnTo>
                      <a:pt x="2600" y="892"/>
                    </a:lnTo>
                    <a:lnTo>
                      <a:pt x="2610" y="896"/>
                    </a:lnTo>
                    <a:lnTo>
                      <a:pt x="2616" y="894"/>
                    </a:lnTo>
                    <a:lnTo>
                      <a:pt x="2620" y="890"/>
                    </a:lnTo>
                    <a:lnTo>
                      <a:pt x="2620" y="890"/>
                    </a:lnTo>
                    <a:lnTo>
                      <a:pt x="2624" y="888"/>
                    </a:lnTo>
                    <a:lnTo>
                      <a:pt x="2626" y="886"/>
                    </a:lnTo>
                    <a:lnTo>
                      <a:pt x="2630" y="888"/>
                    </a:lnTo>
                    <a:lnTo>
                      <a:pt x="2636" y="890"/>
                    </a:lnTo>
                    <a:lnTo>
                      <a:pt x="2638" y="890"/>
                    </a:lnTo>
                    <a:lnTo>
                      <a:pt x="2640" y="888"/>
                    </a:lnTo>
                    <a:lnTo>
                      <a:pt x="2640" y="888"/>
                    </a:lnTo>
                    <a:lnTo>
                      <a:pt x="2642" y="886"/>
                    </a:lnTo>
                    <a:lnTo>
                      <a:pt x="2642" y="886"/>
                    </a:lnTo>
                    <a:lnTo>
                      <a:pt x="2640" y="882"/>
                    </a:lnTo>
                    <a:lnTo>
                      <a:pt x="2636" y="876"/>
                    </a:lnTo>
                    <a:lnTo>
                      <a:pt x="2636" y="872"/>
                    </a:lnTo>
                    <a:lnTo>
                      <a:pt x="2636" y="868"/>
                    </a:lnTo>
                    <a:lnTo>
                      <a:pt x="2636" y="868"/>
                    </a:lnTo>
                    <a:close/>
                    <a:moveTo>
                      <a:pt x="2260" y="930"/>
                    </a:moveTo>
                    <a:lnTo>
                      <a:pt x="2260" y="930"/>
                    </a:lnTo>
                    <a:lnTo>
                      <a:pt x="2260" y="928"/>
                    </a:lnTo>
                    <a:lnTo>
                      <a:pt x="2262" y="924"/>
                    </a:lnTo>
                    <a:lnTo>
                      <a:pt x="2258" y="918"/>
                    </a:lnTo>
                    <a:lnTo>
                      <a:pt x="2254" y="912"/>
                    </a:lnTo>
                    <a:lnTo>
                      <a:pt x="2252" y="912"/>
                    </a:lnTo>
                    <a:lnTo>
                      <a:pt x="2248" y="914"/>
                    </a:lnTo>
                    <a:lnTo>
                      <a:pt x="2248" y="914"/>
                    </a:lnTo>
                    <a:lnTo>
                      <a:pt x="2248" y="918"/>
                    </a:lnTo>
                    <a:lnTo>
                      <a:pt x="2248" y="920"/>
                    </a:lnTo>
                    <a:lnTo>
                      <a:pt x="2250" y="926"/>
                    </a:lnTo>
                    <a:lnTo>
                      <a:pt x="2256" y="930"/>
                    </a:lnTo>
                    <a:lnTo>
                      <a:pt x="2258" y="930"/>
                    </a:lnTo>
                    <a:lnTo>
                      <a:pt x="2260" y="930"/>
                    </a:lnTo>
                    <a:lnTo>
                      <a:pt x="2260" y="930"/>
                    </a:lnTo>
                    <a:close/>
                    <a:moveTo>
                      <a:pt x="2258" y="948"/>
                    </a:moveTo>
                    <a:lnTo>
                      <a:pt x="2258" y="948"/>
                    </a:lnTo>
                    <a:lnTo>
                      <a:pt x="2256" y="950"/>
                    </a:lnTo>
                    <a:lnTo>
                      <a:pt x="2256" y="954"/>
                    </a:lnTo>
                    <a:lnTo>
                      <a:pt x="2258" y="960"/>
                    </a:lnTo>
                    <a:lnTo>
                      <a:pt x="2262" y="964"/>
                    </a:lnTo>
                    <a:lnTo>
                      <a:pt x="2266" y="966"/>
                    </a:lnTo>
                    <a:lnTo>
                      <a:pt x="2266" y="966"/>
                    </a:lnTo>
                    <a:lnTo>
                      <a:pt x="2268" y="964"/>
                    </a:lnTo>
                    <a:lnTo>
                      <a:pt x="2268" y="962"/>
                    </a:lnTo>
                    <a:lnTo>
                      <a:pt x="2266" y="954"/>
                    </a:lnTo>
                    <a:lnTo>
                      <a:pt x="2262" y="948"/>
                    </a:lnTo>
                    <a:lnTo>
                      <a:pt x="2260" y="948"/>
                    </a:lnTo>
                    <a:lnTo>
                      <a:pt x="2258" y="948"/>
                    </a:lnTo>
                    <a:lnTo>
                      <a:pt x="2258" y="948"/>
                    </a:lnTo>
                    <a:close/>
                    <a:moveTo>
                      <a:pt x="1490" y="460"/>
                    </a:moveTo>
                    <a:lnTo>
                      <a:pt x="1490" y="460"/>
                    </a:lnTo>
                    <a:lnTo>
                      <a:pt x="1492" y="462"/>
                    </a:lnTo>
                    <a:lnTo>
                      <a:pt x="1494" y="464"/>
                    </a:lnTo>
                    <a:lnTo>
                      <a:pt x="1496" y="462"/>
                    </a:lnTo>
                    <a:lnTo>
                      <a:pt x="1496" y="460"/>
                    </a:lnTo>
                    <a:lnTo>
                      <a:pt x="1496" y="454"/>
                    </a:lnTo>
                    <a:lnTo>
                      <a:pt x="1494" y="448"/>
                    </a:lnTo>
                    <a:lnTo>
                      <a:pt x="1494" y="448"/>
                    </a:lnTo>
                    <a:lnTo>
                      <a:pt x="1490" y="446"/>
                    </a:lnTo>
                    <a:lnTo>
                      <a:pt x="1486" y="448"/>
                    </a:lnTo>
                    <a:lnTo>
                      <a:pt x="1486" y="452"/>
                    </a:lnTo>
                    <a:lnTo>
                      <a:pt x="1490" y="460"/>
                    </a:lnTo>
                    <a:lnTo>
                      <a:pt x="1490" y="460"/>
                    </a:lnTo>
                    <a:close/>
                    <a:moveTo>
                      <a:pt x="1532" y="492"/>
                    </a:moveTo>
                    <a:lnTo>
                      <a:pt x="1532" y="492"/>
                    </a:lnTo>
                    <a:lnTo>
                      <a:pt x="1534" y="486"/>
                    </a:lnTo>
                    <a:lnTo>
                      <a:pt x="1534" y="482"/>
                    </a:lnTo>
                    <a:lnTo>
                      <a:pt x="1532" y="482"/>
                    </a:lnTo>
                    <a:lnTo>
                      <a:pt x="1530" y="482"/>
                    </a:lnTo>
                    <a:lnTo>
                      <a:pt x="1530" y="482"/>
                    </a:lnTo>
                    <a:lnTo>
                      <a:pt x="1528" y="484"/>
                    </a:lnTo>
                    <a:lnTo>
                      <a:pt x="1526" y="484"/>
                    </a:lnTo>
                    <a:lnTo>
                      <a:pt x="1522" y="480"/>
                    </a:lnTo>
                    <a:lnTo>
                      <a:pt x="1518" y="478"/>
                    </a:lnTo>
                    <a:lnTo>
                      <a:pt x="1516" y="478"/>
                    </a:lnTo>
                    <a:lnTo>
                      <a:pt x="1516" y="478"/>
                    </a:lnTo>
                    <a:lnTo>
                      <a:pt x="1516" y="478"/>
                    </a:lnTo>
                    <a:lnTo>
                      <a:pt x="1518" y="486"/>
                    </a:lnTo>
                    <a:lnTo>
                      <a:pt x="1522" y="492"/>
                    </a:lnTo>
                    <a:lnTo>
                      <a:pt x="1528" y="496"/>
                    </a:lnTo>
                    <a:lnTo>
                      <a:pt x="1532" y="496"/>
                    </a:lnTo>
                    <a:lnTo>
                      <a:pt x="1532" y="492"/>
                    </a:lnTo>
                    <a:lnTo>
                      <a:pt x="1532" y="492"/>
                    </a:lnTo>
                    <a:close/>
                    <a:moveTo>
                      <a:pt x="1520" y="466"/>
                    </a:moveTo>
                    <a:lnTo>
                      <a:pt x="1520" y="466"/>
                    </a:lnTo>
                    <a:lnTo>
                      <a:pt x="1516" y="458"/>
                    </a:lnTo>
                    <a:lnTo>
                      <a:pt x="1512" y="454"/>
                    </a:lnTo>
                    <a:lnTo>
                      <a:pt x="1508" y="454"/>
                    </a:lnTo>
                    <a:lnTo>
                      <a:pt x="1506" y="454"/>
                    </a:lnTo>
                    <a:lnTo>
                      <a:pt x="1504" y="456"/>
                    </a:lnTo>
                    <a:lnTo>
                      <a:pt x="1502" y="460"/>
                    </a:lnTo>
                    <a:lnTo>
                      <a:pt x="1502" y="460"/>
                    </a:lnTo>
                    <a:lnTo>
                      <a:pt x="1500" y="468"/>
                    </a:lnTo>
                    <a:lnTo>
                      <a:pt x="1500" y="470"/>
                    </a:lnTo>
                    <a:lnTo>
                      <a:pt x="1504" y="470"/>
                    </a:lnTo>
                    <a:lnTo>
                      <a:pt x="1504" y="470"/>
                    </a:lnTo>
                    <a:lnTo>
                      <a:pt x="1514" y="472"/>
                    </a:lnTo>
                    <a:lnTo>
                      <a:pt x="1518" y="470"/>
                    </a:lnTo>
                    <a:lnTo>
                      <a:pt x="1520" y="466"/>
                    </a:lnTo>
                    <a:lnTo>
                      <a:pt x="1520" y="466"/>
                    </a:lnTo>
                    <a:close/>
                    <a:moveTo>
                      <a:pt x="1400" y="268"/>
                    </a:moveTo>
                    <a:lnTo>
                      <a:pt x="1400" y="268"/>
                    </a:lnTo>
                    <a:lnTo>
                      <a:pt x="1394" y="264"/>
                    </a:lnTo>
                    <a:lnTo>
                      <a:pt x="1392" y="264"/>
                    </a:lnTo>
                    <a:lnTo>
                      <a:pt x="1390" y="266"/>
                    </a:lnTo>
                    <a:lnTo>
                      <a:pt x="1392" y="272"/>
                    </a:lnTo>
                    <a:lnTo>
                      <a:pt x="1396" y="280"/>
                    </a:lnTo>
                    <a:lnTo>
                      <a:pt x="1396" y="280"/>
                    </a:lnTo>
                    <a:lnTo>
                      <a:pt x="1398" y="282"/>
                    </a:lnTo>
                    <a:lnTo>
                      <a:pt x="1400" y="284"/>
                    </a:lnTo>
                    <a:lnTo>
                      <a:pt x="1402" y="282"/>
                    </a:lnTo>
                    <a:lnTo>
                      <a:pt x="1404" y="280"/>
                    </a:lnTo>
                    <a:lnTo>
                      <a:pt x="1404" y="274"/>
                    </a:lnTo>
                    <a:lnTo>
                      <a:pt x="1402" y="272"/>
                    </a:lnTo>
                    <a:lnTo>
                      <a:pt x="1400" y="268"/>
                    </a:lnTo>
                    <a:lnTo>
                      <a:pt x="1400" y="268"/>
                    </a:lnTo>
                    <a:close/>
                    <a:moveTo>
                      <a:pt x="1360" y="254"/>
                    </a:moveTo>
                    <a:lnTo>
                      <a:pt x="1360" y="254"/>
                    </a:lnTo>
                    <a:lnTo>
                      <a:pt x="1360" y="256"/>
                    </a:lnTo>
                    <a:lnTo>
                      <a:pt x="1360" y="260"/>
                    </a:lnTo>
                    <a:lnTo>
                      <a:pt x="1362" y="264"/>
                    </a:lnTo>
                    <a:lnTo>
                      <a:pt x="1368" y="266"/>
                    </a:lnTo>
                    <a:lnTo>
                      <a:pt x="1372" y="264"/>
                    </a:lnTo>
                    <a:lnTo>
                      <a:pt x="1372" y="264"/>
                    </a:lnTo>
                    <a:lnTo>
                      <a:pt x="1372" y="262"/>
                    </a:lnTo>
                    <a:lnTo>
                      <a:pt x="1372" y="260"/>
                    </a:lnTo>
                    <a:lnTo>
                      <a:pt x="1370" y="254"/>
                    </a:lnTo>
                    <a:lnTo>
                      <a:pt x="1366" y="252"/>
                    </a:lnTo>
                    <a:lnTo>
                      <a:pt x="1364" y="252"/>
                    </a:lnTo>
                    <a:lnTo>
                      <a:pt x="1360" y="254"/>
                    </a:lnTo>
                    <a:lnTo>
                      <a:pt x="1360" y="254"/>
                    </a:lnTo>
                    <a:close/>
                    <a:moveTo>
                      <a:pt x="1320" y="218"/>
                    </a:moveTo>
                    <a:lnTo>
                      <a:pt x="1320" y="218"/>
                    </a:lnTo>
                    <a:lnTo>
                      <a:pt x="1318" y="216"/>
                    </a:lnTo>
                    <a:lnTo>
                      <a:pt x="1316" y="218"/>
                    </a:lnTo>
                    <a:lnTo>
                      <a:pt x="1314" y="220"/>
                    </a:lnTo>
                    <a:lnTo>
                      <a:pt x="1314" y="226"/>
                    </a:lnTo>
                    <a:lnTo>
                      <a:pt x="1316" y="232"/>
                    </a:lnTo>
                    <a:lnTo>
                      <a:pt x="1316" y="232"/>
                    </a:lnTo>
                    <a:lnTo>
                      <a:pt x="1318" y="232"/>
                    </a:lnTo>
                    <a:lnTo>
                      <a:pt x="1320" y="232"/>
                    </a:lnTo>
                    <a:lnTo>
                      <a:pt x="1324" y="228"/>
                    </a:lnTo>
                    <a:lnTo>
                      <a:pt x="1324" y="224"/>
                    </a:lnTo>
                    <a:lnTo>
                      <a:pt x="1324" y="220"/>
                    </a:lnTo>
                    <a:lnTo>
                      <a:pt x="1320" y="218"/>
                    </a:lnTo>
                    <a:lnTo>
                      <a:pt x="1320" y="218"/>
                    </a:lnTo>
                    <a:close/>
                    <a:moveTo>
                      <a:pt x="1360" y="106"/>
                    </a:moveTo>
                    <a:lnTo>
                      <a:pt x="1360" y="106"/>
                    </a:lnTo>
                    <a:lnTo>
                      <a:pt x="1370" y="106"/>
                    </a:lnTo>
                    <a:lnTo>
                      <a:pt x="1376" y="102"/>
                    </a:lnTo>
                    <a:lnTo>
                      <a:pt x="1376" y="100"/>
                    </a:lnTo>
                    <a:lnTo>
                      <a:pt x="1376" y="98"/>
                    </a:lnTo>
                    <a:lnTo>
                      <a:pt x="1374" y="98"/>
                    </a:lnTo>
                    <a:lnTo>
                      <a:pt x="1370" y="96"/>
                    </a:lnTo>
                    <a:lnTo>
                      <a:pt x="1370" y="96"/>
                    </a:lnTo>
                    <a:lnTo>
                      <a:pt x="1362" y="94"/>
                    </a:lnTo>
                    <a:lnTo>
                      <a:pt x="1352" y="94"/>
                    </a:lnTo>
                    <a:lnTo>
                      <a:pt x="1344" y="96"/>
                    </a:lnTo>
                    <a:lnTo>
                      <a:pt x="1342" y="100"/>
                    </a:lnTo>
                    <a:lnTo>
                      <a:pt x="1340" y="102"/>
                    </a:lnTo>
                    <a:lnTo>
                      <a:pt x="1340" y="102"/>
                    </a:lnTo>
                    <a:lnTo>
                      <a:pt x="1340" y="108"/>
                    </a:lnTo>
                    <a:lnTo>
                      <a:pt x="1344" y="108"/>
                    </a:lnTo>
                    <a:lnTo>
                      <a:pt x="1352" y="108"/>
                    </a:lnTo>
                    <a:lnTo>
                      <a:pt x="1360" y="106"/>
                    </a:lnTo>
                    <a:lnTo>
                      <a:pt x="1360" y="106"/>
                    </a:lnTo>
                    <a:close/>
                    <a:moveTo>
                      <a:pt x="918" y="88"/>
                    </a:moveTo>
                    <a:lnTo>
                      <a:pt x="918" y="88"/>
                    </a:lnTo>
                    <a:lnTo>
                      <a:pt x="922" y="90"/>
                    </a:lnTo>
                    <a:lnTo>
                      <a:pt x="926" y="92"/>
                    </a:lnTo>
                    <a:lnTo>
                      <a:pt x="948" y="88"/>
                    </a:lnTo>
                    <a:lnTo>
                      <a:pt x="948" y="88"/>
                    </a:lnTo>
                    <a:lnTo>
                      <a:pt x="958" y="84"/>
                    </a:lnTo>
                    <a:lnTo>
                      <a:pt x="958" y="84"/>
                    </a:lnTo>
                    <a:lnTo>
                      <a:pt x="954" y="82"/>
                    </a:lnTo>
                    <a:lnTo>
                      <a:pt x="920" y="78"/>
                    </a:lnTo>
                    <a:lnTo>
                      <a:pt x="920" y="78"/>
                    </a:lnTo>
                    <a:lnTo>
                      <a:pt x="906" y="76"/>
                    </a:lnTo>
                    <a:lnTo>
                      <a:pt x="902" y="78"/>
                    </a:lnTo>
                    <a:lnTo>
                      <a:pt x="908" y="80"/>
                    </a:lnTo>
                    <a:lnTo>
                      <a:pt x="918" y="88"/>
                    </a:lnTo>
                    <a:lnTo>
                      <a:pt x="918" y="88"/>
                    </a:lnTo>
                    <a:close/>
                    <a:moveTo>
                      <a:pt x="910" y="44"/>
                    </a:moveTo>
                    <a:lnTo>
                      <a:pt x="910" y="44"/>
                    </a:lnTo>
                    <a:lnTo>
                      <a:pt x="912" y="46"/>
                    </a:lnTo>
                    <a:lnTo>
                      <a:pt x="914" y="48"/>
                    </a:lnTo>
                    <a:lnTo>
                      <a:pt x="914" y="54"/>
                    </a:lnTo>
                    <a:lnTo>
                      <a:pt x="916" y="56"/>
                    </a:lnTo>
                    <a:lnTo>
                      <a:pt x="918" y="56"/>
                    </a:lnTo>
                    <a:lnTo>
                      <a:pt x="922" y="58"/>
                    </a:lnTo>
                    <a:lnTo>
                      <a:pt x="930" y="56"/>
                    </a:lnTo>
                    <a:lnTo>
                      <a:pt x="930" y="56"/>
                    </a:lnTo>
                    <a:lnTo>
                      <a:pt x="936" y="54"/>
                    </a:lnTo>
                    <a:lnTo>
                      <a:pt x="938" y="52"/>
                    </a:lnTo>
                    <a:lnTo>
                      <a:pt x="936" y="50"/>
                    </a:lnTo>
                    <a:lnTo>
                      <a:pt x="928" y="46"/>
                    </a:lnTo>
                    <a:lnTo>
                      <a:pt x="928" y="46"/>
                    </a:lnTo>
                    <a:lnTo>
                      <a:pt x="924" y="44"/>
                    </a:lnTo>
                    <a:lnTo>
                      <a:pt x="920" y="38"/>
                    </a:lnTo>
                    <a:lnTo>
                      <a:pt x="916" y="34"/>
                    </a:lnTo>
                    <a:lnTo>
                      <a:pt x="906" y="30"/>
                    </a:lnTo>
                    <a:lnTo>
                      <a:pt x="906" y="30"/>
                    </a:lnTo>
                    <a:lnTo>
                      <a:pt x="896" y="30"/>
                    </a:lnTo>
                    <a:lnTo>
                      <a:pt x="894" y="30"/>
                    </a:lnTo>
                    <a:lnTo>
                      <a:pt x="896" y="32"/>
                    </a:lnTo>
                    <a:lnTo>
                      <a:pt x="902" y="38"/>
                    </a:lnTo>
                    <a:lnTo>
                      <a:pt x="910" y="44"/>
                    </a:lnTo>
                    <a:lnTo>
                      <a:pt x="910" y="44"/>
                    </a:lnTo>
                    <a:close/>
                    <a:moveTo>
                      <a:pt x="868" y="284"/>
                    </a:moveTo>
                    <a:lnTo>
                      <a:pt x="868" y="284"/>
                    </a:lnTo>
                    <a:lnTo>
                      <a:pt x="866" y="272"/>
                    </a:lnTo>
                    <a:lnTo>
                      <a:pt x="862" y="266"/>
                    </a:lnTo>
                    <a:lnTo>
                      <a:pt x="860" y="264"/>
                    </a:lnTo>
                    <a:lnTo>
                      <a:pt x="858" y="264"/>
                    </a:lnTo>
                    <a:lnTo>
                      <a:pt x="856" y="270"/>
                    </a:lnTo>
                    <a:lnTo>
                      <a:pt x="856" y="270"/>
                    </a:lnTo>
                    <a:lnTo>
                      <a:pt x="852" y="276"/>
                    </a:lnTo>
                    <a:lnTo>
                      <a:pt x="850" y="276"/>
                    </a:lnTo>
                    <a:lnTo>
                      <a:pt x="848" y="276"/>
                    </a:lnTo>
                    <a:lnTo>
                      <a:pt x="846" y="278"/>
                    </a:lnTo>
                    <a:lnTo>
                      <a:pt x="846" y="278"/>
                    </a:lnTo>
                    <a:lnTo>
                      <a:pt x="848" y="280"/>
                    </a:lnTo>
                    <a:lnTo>
                      <a:pt x="848" y="282"/>
                    </a:lnTo>
                    <a:lnTo>
                      <a:pt x="850" y="284"/>
                    </a:lnTo>
                    <a:lnTo>
                      <a:pt x="850" y="288"/>
                    </a:lnTo>
                    <a:lnTo>
                      <a:pt x="850" y="288"/>
                    </a:lnTo>
                    <a:lnTo>
                      <a:pt x="850" y="296"/>
                    </a:lnTo>
                    <a:lnTo>
                      <a:pt x="852" y="300"/>
                    </a:lnTo>
                    <a:lnTo>
                      <a:pt x="860" y="308"/>
                    </a:lnTo>
                    <a:lnTo>
                      <a:pt x="860" y="308"/>
                    </a:lnTo>
                    <a:lnTo>
                      <a:pt x="864" y="310"/>
                    </a:lnTo>
                    <a:lnTo>
                      <a:pt x="866" y="306"/>
                    </a:lnTo>
                    <a:lnTo>
                      <a:pt x="868" y="298"/>
                    </a:lnTo>
                    <a:lnTo>
                      <a:pt x="868" y="284"/>
                    </a:lnTo>
                    <a:lnTo>
                      <a:pt x="868" y="284"/>
                    </a:lnTo>
                    <a:close/>
                    <a:moveTo>
                      <a:pt x="852" y="306"/>
                    </a:moveTo>
                    <a:lnTo>
                      <a:pt x="852" y="306"/>
                    </a:lnTo>
                    <a:lnTo>
                      <a:pt x="848" y="302"/>
                    </a:lnTo>
                    <a:lnTo>
                      <a:pt x="846" y="298"/>
                    </a:lnTo>
                    <a:lnTo>
                      <a:pt x="844" y="296"/>
                    </a:lnTo>
                    <a:lnTo>
                      <a:pt x="844" y="296"/>
                    </a:lnTo>
                    <a:lnTo>
                      <a:pt x="844" y="296"/>
                    </a:lnTo>
                    <a:lnTo>
                      <a:pt x="844" y="302"/>
                    </a:lnTo>
                    <a:lnTo>
                      <a:pt x="846" y="304"/>
                    </a:lnTo>
                    <a:lnTo>
                      <a:pt x="846" y="304"/>
                    </a:lnTo>
                    <a:lnTo>
                      <a:pt x="852" y="310"/>
                    </a:lnTo>
                    <a:lnTo>
                      <a:pt x="858" y="318"/>
                    </a:lnTo>
                    <a:lnTo>
                      <a:pt x="858" y="318"/>
                    </a:lnTo>
                    <a:lnTo>
                      <a:pt x="858" y="318"/>
                    </a:lnTo>
                    <a:lnTo>
                      <a:pt x="858" y="314"/>
                    </a:lnTo>
                    <a:lnTo>
                      <a:pt x="856" y="310"/>
                    </a:lnTo>
                    <a:lnTo>
                      <a:pt x="852" y="306"/>
                    </a:lnTo>
                    <a:lnTo>
                      <a:pt x="852" y="306"/>
                    </a:lnTo>
                    <a:close/>
                    <a:moveTo>
                      <a:pt x="1028" y="396"/>
                    </a:moveTo>
                    <a:lnTo>
                      <a:pt x="1028" y="396"/>
                    </a:lnTo>
                    <a:lnTo>
                      <a:pt x="1032" y="394"/>
                    </a:lnTo>
                    <a:lnTo>
                      <a:pt x="1032" y="392"/>
                    </a:lnTo>
                    <a:lnTo>
                      <a:pt x="1036" y="380"/>
                    </a:lnTo>
                    <a:lnTo>
                      <a:pt x="1036" y="380"/>
                    </a:lnTo>
                    <a:lnTo>
                      <a:pt x="1040" y="372"/>
                    </a:lnTo>
                    <a:lnTo>
                      <a:pt x="1040" y="370"/>
                    </a:lnTo>
                    <a:lnTo>
                      <a:pt x="1036" y="368"/>
                    </a:lnTo>
                    <a:lnTo>
                      <a:pt x="1036" y="368"/>
                    </a:lnTo>
                    <a:lnTo>
                      <a:pt x="1034" y="366"/>
                    </a:lnTo>
                    <a:lnTo>
                      <a:pt x="1032" y="364"/>
                    </a:lnTo>
                    <a:lnTo>
                      <a:pt x="1032" y="362"/>
                    </a:lnTo>
                    <a:lnTo>
                      <a:pt x="1028" y="360"/>
                    </a:lnTo>
                    <a:lnTo>
                      <a:pt x="1028" y="360"/>
                    </a:lnTo>
                    <a:lnTo>
                      <a:pt x="1024" y="358"/>
                    </a:lnTo>
                    <a:lnTo>
                      <a:pt x="1018" y="360"/>
                    </a:lnTo>
                    <a:lnTo>
                      <a:pt x="1008" y="366"/>
                    </a:lnTo>
                    <a:lnTo>
                      <a:pt x="998" y="374"/>
                    </a:lnTo>
                    <a:lnTo>
                      <a:pt x="994" y="378"/>
                    </a:lnTo>
                    <a:lnTo>
                      <a:pt x="994" y="384"/>
                    </a:lnTo>
                    <a:lnTo>
                      <a:pt x="994" y="384"/>
                    </a:lnTo>
                    <a:lnTo>
                      <a:pt x="992" y="388"/>
                    </a:lnTo>
                    <a:lnTo>
                      <a:pt x="988" y="396"/>
                    </a:lnTo>
                    <a:lnTo>
                      <a:pt x="984" y="402"/>
                    </a:lnTo>
                    <a:lnTo>
                      <a:pt x="984" y="408"/>
                    </a:lnTo>
                    <a:lnTo>
                      <a:pt x="984" y="408"/>
                    </a:lnTo>
                    <a:lnTo>
                      <a:pt x="984" y="410"/>
                    </a:lnTo>
                    <a:lnTo>
                      <a:pt x="984" y="412"/>
                    </a:lnTo>
                    <a:lnTo>
                      <a:pt x="988" y="410"/>
                    </a:lnTo>
                    <a:lnTo>
                      <a:pt x="996" y="408"/>
                    </a:lnTo>
                    <a:lnTo>
                      <a:pt x="1000" y="408"/>
                    </a:lnTo>
                    <a:lnTo>
                      <a:pt x="1006" y="410"/>
                    </a:lnTo>
                    <a:lnTo>
                      <a:pt x="1006" y="410"/>
                    </a:lnTo>
                    <a:lnTo>
                      <a:pt x="1012" y="410"/>
                    </a:lnTo>
                    <a:lnTo>
                      <a:pt x="1016" y="410"/>
                    </a:lnTo>
                    <a:lnTo>
                      <a:pt x="1020" y="406"/>
                    </a:lnTo>
                    <a:lnTo>
                      <a:pt x="1024" y="400"/>
                    </a:lnTo>
                    <a:lnTo>
                      <a:pt x="1028" y="396"/>
                    </a:lnTo>
                    <a:lnTo>
                      <a:pt x="1028" y="396"/>
                    </a:lnTo>
                    <a:close/>
                    <a:moveTo>
                      <a:pt x="1032" y="410"/>
                    </a:moveTo>
                    <a:lnTo>
                      <a:pt x="1032" y="410"/>
                    </a:lnTo>
                    <a:lnTo>
                      <a:pt x="1036" y="410"/>
                    </a:lnTo>
                    <a:lnTo>
                      <a:pt x="1036" y="406"/>
                    </a:lnTo>
                    <a:lnTo>
                      <a:pt x="1034" y="402"/>
                    </a:lnTo>
                    <a:lnTo>
                      <a:pt x="1032" y="400"/>
                    </a:lnTo>
                    <a:lnTo>
                      <a:pt x="1032" y="400"/>
                    </a:lnTo>
                    <a:lnTo>
                      <a:pt x="1032" y="398"/>
                    </a:lnTo>
                    <a:lnTo>
                      <a:pt x="1030" y="398"/>
                    </a:lnTo>
                    <a:lnTo>
                      <a:pt x="1026" y="400"/>
                    </a:lnTo>
                    <a:lnTo>
                      <a:pt x="1024" y="404"/>
                    </a:lnTo>
                    <a:lnTo>
                      <a:pt x="1024" y="404"/>
                    </a:lnTo>
                    <a:lnTo>
                      <a:pt x="1024" y="408"/>
                    </a:lnTo>
                    <a:lnTo>
                      <a:pt x="1024" y="410"/>
                    </a:lnTo>
                    <a:lnTo>
                      <a:pt x="1032" y="410"/>
                    </a:lnTo>
                    <a:lnTo>
                      <a:pt x="1032" y="410"/>
                    </a:lnTo>
                    <a:close/>
                    <a:moveTo>
                      <a:pt x="1044" y="820"/>
                    </a:moveTo>
                    <a:lnTo>
                      <a:pt x="1044" y="820"/>
                    </a:lnTo>
                    <a:lnTo>
                      <a:pt x="1046" y="820"/>
                    </a:lnTo>
                    <a:lnTo>
                      <a:pt x="1050" y="820"/>
                    </a:lnTo>
                    <a:lnTo>
                      <a:pt x="1054" y="816"/>
                    </a:lnTo>
                    <a:lnTo>
                      <a:pt x="1056" y="812"/>
                    </a:lnTo>
                    <a:lnTo>
                      <a:pt x="1056" y="812"/>
                    </a:lnTo>
                    <a:lnTo>
                      <a:pt x="1060" y="812"/>
                    </a:lnTo>
                    <a:lnTo>
                      <a:pt x="1064" y="810"/>
                    </a:lnTo>
                    <a:lnTo>
                      <a:pt x="1068" y="808"/>
                    </a:lnTo>
                    <a:lnTo>
                      <a:pt x="1068" y="806"/>
                    </a:lnTo>
                    <a:lnTo>
                      <a:pt x="1066" y="804"/>
                    </a:lnTo>
                    <a:lnTo>
                      <a:pt x="1066" y="804"/>
                    </a:lnTo>
                    <a:lnTo>
                      <a:pt x="1064" y="802"/>
                    </a:lnTo>
                    <a:lnTo>
                      <a:pt x="1060" y="804"/>
                    </a:lnTo>
                    <a:lnTo>
                      <a:pt x="1052" y="808"/>
                    </a:lnTo>
                    <a:lnTo>
                      <a:pt x="1046" y="814"/>
                    </a:lnTo>
                    <a:lnTo>
                      <a:pt x="1044" y="818"/>
                    </a:lnTo>
                    <a:lnTo>
                      <a:pt x="1044" y="820"/>
                    </a:lnTo>
                    <a:lnTo>
                      <a:pt x="1044" y="820"/>
                    </a:lnTo>
                    <a:close/>
                    <a:moveTo>
                      <a:pt x="844" y="336"/>
                    </a:moveTo>
                    <a:lnTo>
                      <a:pt x="844" y="336"/>
                    </a:lnTo>
                    <a:lnTo>
                      <a:pt x="852" y="332"/>
                    </a:lnTo>
                    <a:lnTo>
                      <a:pt x="856" y="326"/>
                    </a:lnTo>
                    <a:lnTo>
                      <a:pt x="854" y="320"/>
                    </a:lnTo>
                    <a:lnTo>
                      <a:pt x="850" y="312"/>
                    </a:lnTo>
                    <a:lnTo>
                      <a:pt x="850" y="312"/>
                    </a:lnTo>
                    <a:lnTo>
                      <a:pt x="846" y="306"/>
                    </a:lnTo>
                    <a:lnTo>
                      <a:pt x="842" y="306"/>
                    </a:lnTo>
                    <a:lnTo>
                      <a:pt x="840" y="310"/>
                    </a:lnTo>
                    <a:lnTo>
                      <a:pt x="840" y="316"/>
                    </a:lnTo>
                    <a:lnTo>
                      <a:pt x="840" y="330"/>
                    </a:lnTo>
                    <a:lnTo>
                      <a:pt x="842" y="336"/>
                    </a:lnTo>
                    <a:lnTo>
                      <a:pt x="844" y="336"/>
                    </a:lnTo>
                    <a:lnTo>
                      <a:pt x="844" y="336"/>
                    </a:lnTo>
                    <a:close/>
                    <a:moveTo>
                      <a:pt x="794" y="292"/>
                    </a:moveTo>
                    <a:lnTo>
                      <a:pt x="794" y="292"/>
                    </a:lnTo>
                    <a:lnTo>
                      <a:pt x="800" y="276"/>
                    </a:lnTo>
                    <a:lnTo>
                      <a:pt x="804" y="264"/>
                    </a:lnTo>
                    <a:lnTo>
                      <a:pt x="806" y="256"/>
                    </a:lnTo>
                    <a:lnTo>
                      <a:pt x="806" y="256"/>
                    </a:lnTo>
                    <a:lnTo>
                      <a:pt x="804" y="256"/>
                    </a:lnTo>
                    <a:lnTo>
                      <a:pt x="804" y="256"/>
                    </a:lnTo>
                    <a:lnTo>
                      <a:pt x="798" y="264"/>
                    </a:lnTo>
                    <a:lnTo>
                      <a:pt x="794" y="278"/>
                    </a:lnTo>
                    <a:lnTo>
                      <a:pt x="794" y="292"/>
                    </a:lnTo>
                    <a:lnTo>
                      <a:pt x="794" y="292"/>
                    </a:lnTo>
                    <a:close/>
                    <a:moveTo>
                      <a:pt x="1118" y="446"/>
                    </a:moveTo>
                    <a:lnTo>
                      <a:pt x="1118" y="446"/>
                    </a:lnTo>
                    <a:lnTo>
                      <a:pt x="1122" y="448"/>
                    </a:lnTo>
                    <a:lnTo>
                      <a:pt x="1128" y="450"/>
                    </a:lnTo>
                    <a:lnTo>
                      <a:pt x="1142" y="448"/>
                    </a:lnTo>
                    <a:lnTo>
                      <a:pt x="1158" y="448"/>
                    </a:lnTo>
                    <a:lnTo>
                      <a:pt x="1166" y="450"/>
                    </a:lnTo>
                    <a:lnTo>
                      <a:pt x="1172" y="452"/>
                    </a:lnTo>
                    <a:lnTo>
                      <a:pt x="1172" y="452"/>
                    </a:lnTo>
                    <a:lnTo>
                      <a:pt x="1180" y="454"/>
                    </a:lnTo>
                    <a:lnTo>
                      <a:pt x="1186" y="454"/>
                    </a:lnTo>
                    <a:lnTo>
                      <a:pt x="1190" y="452"/>
                    </a:lnTo>
                    <a:lnTo>
                      <a:pt x="1194" y="450"/>
                    </a:lnTo>
                    <a:lnTo>
                      <a:pt x="1204" y="442"/>
                    </a:lnTo>
                    <a:lnTo>
                      <a:pt x="1208" y="440"/>
                    </a:lnTo>
                    <a:lnTo>
                      <a:pt x="1212" y="440"/>
                    </a:lnTo>
                    <a:lnTo>
                      <a:pt x="1212" y="440"/>
                    </a:lnTo>
                    <a:lnTo>
                      <a:pt x="1216" y="440"/>
                    </a:lnTo>
                    <a:lnTo>
                      <a:pt x="1218" y="438"/>
                    </a:lnTo>
                    <a:lnTo>
                      <a:pt x="1218" y="434"/>
                    </a:lnTo>
                    <a:lnTo>
                      <a:pt x="1218" y="430"/>
                    </a:lnTo>
                    <a:lnTo>
                      <a:pt x="1214" y="420"/>
                    </a:lnTo>
                    <a:lnTo>
                      <a:pt x="1206" y="414"/>
                    </a:lnTo>
                    <a:lnTo>
                      <a:pt x="1206" y="414"/>
                    </a:lnTo>
                    <a:lnTo>
                      <a:pt x="1200" y="410"/>
                    </a:lnTo>
                    <a:lnTo>
                      <a:pt x="1198" y="406"/>
                    </a:lnTo>
                    <a:lnTo>
                      <a:pt x="1200" y="406"/>
                    </a:lnTo>
                    <a:lnTo>
                      <a:pt x="1206" y="404"/>
                    </a:lnTo>
                    <a:lnTo>
                      <a:pt x="1218" y="402"/>
                    </a:lnTo>
                    <a:lnTo>
                      <a:pt x="1222" y="398"/>
                    </a:lnTo>
                    <a:lnTo>
                      <a:pt x="1222" y="394"/>
                    </a:lnTo>
                    <a:lnTo>
                      <a:pt x="1222" y="394"/>
                    </a:lnTo>
                    <a:lnTo>
                      <a:pt x="1222" y="392"/>
                    </a:lnTo>
                    <a:lnTo>
                      <a:pt x="1224" y="390"/>
                    </a:lnTo>
                    <a:lnTo>
                      <a:pt x="1230" y="388"/>
                    </a:lnTo>
                    <a:lnTo>
                      <a:pt x="1232" y="388"/>
                    </a:lnTo>
                    <a:lnTo>
                      <a:pt x="1232" y="384"/>
                    </a:lnTo>
                    <a:lnTo>
                      <a:pt x="1232" y="376"/>
                    </a:lnTo>
                    <a:lnTo>
                      <a:pt x="1228" y="364"/>
                    </a:lnTo>
                    <a:lnTo>
                      <a:pt x="1228" y="364"/>
                    </a:lnTo>
                    <a:lnTo>
                      <a:pt x="1234" y="372"/>
                    </a:lnTo>
                    <a:lnTo>
                      <a:pt x="1240" y="376"/>
                    </a:lnTo>
                    <a:lnTo>
                      <a:pt x="1246" y="378"/>
                    </a:lnTo>
                    <a:lnTo>
                      <a:pt x="1256" y="376"/>
                    </a:lnTo>
                    <a:lnTo>
                      <a:pt x="1256" y="376"/>
                    </a:lnTo>
                    <a:lnTo>
                      <a:pt x="1268" y="372"/>
                    </a:lnTo>
                    <a:lnTo>
                      <a:pt x="1272" y="374"/>
                    </a:lnTo>
                    <a:lnTo>
                      <a:pt x="1272" y="376"/>
                    </a:lnTo>
                    <a:lnTo>
                      <a:pt x="1274" y="378"/>
                    </a:lnTo>
                    <a:lnTo>
                      <a:pt x="1278" y="382"/>
                    </a:lnTo>
                    <a:lnTo>
                      <a:pt x="1284" y="384"/>
                    </a:lnTo>
                    <a:lnTo>
                      <a:pt x="1296" y="386"/>
                    </a:lnTo>
                    <a:lnTo>
                      <a:pt x="1296" y="386"/>
                    </a:lnTo>
                    <a:lnTo>
                      <a:pt x="1308" y="388"/>
                    </a:lnTo>
                    <a:lnTo>
                      <a:pt x="1316" y="392"/>
                    </a:lnTo>
                    <a:lnTo>
                      <a:pt x="1324" y="398"/>
                    </a:lnTo>
                    <a:lnTo>
                      <a:pt x="1330" y="406"/>
                    </a:lnTo>
                    <a:lnTo>
                      <a:pt x="1340" y="426"/>
                    </a:lnTo>
                    <a:lnTo>
                      <a:pt x="1348" y="438"/>
                    </a:lnTo>
                    <a:lnTo>
                      <a:pt x="1358" y="450"/>
                    </a:lnTo>
                    <a:lnTo>
                      <a:pt x="1358" y="450"/>
                    </a:lnTo>
                    <a:lnTo>
                      <a:pt x="1374" y="472"/>
                    </a:lnTo>
                    <a:lnTo>
                      <a:pt x="1380" y="480"/>
                    </a:lnTo>
                    <a:lnTo>
                      <a:pt x="1384" y="486"/>
                    </a:lnTo>
                    <a:lnTo>
                      <a:pt x="1392" y="488"/>
                    </a:lnTo>
                    <a:lnTo>
                      <a:pt x="1400" y="492"/>
                    </a:lnTo>
                    <a:lnTo>
                      <a:pt x="1432" y="498"/>
                    </a:lnTo>
                    <a:lnTo>
                      <a:pt x="1432" y="498"/>
                    </a:lnTo>
                    <a:lnTo>
                      <a:pt x="1450" y="502"/>
                    </a:lnTo>
                    <a:lnTo>
                      <a:pt x="1462" y="506"/>
                    </a:lnTo>
                    <a:lnTo>
                      <a:pt x="1470" y="510"/>
                    </a:lnTo>
                    <a:lnTo>
                      <a:pt x="1476" y="512"/>
                    </a:lnTo>
                    <a:lnTo>
                      <a:pt x="1482" y="518"/>
                    </a:lnTo>
                    <a:lnTo>
                      <a:pt x="1488" y="520"/>
                    </a:lnTo>
                    <a:lnTo>
                      <a:pt x="1492" y="520"/>
                    </a:lnTo>
                    <a:lnTo>
                      <a:pt x="1492" y="520"/>
                    </a:lnTo>
                    <a:lnTo>
                      <a:pt x="1500" y="520"/>
                    </a:lnTo>
                    <a:lnTo>
                      <a:pt x="1506" y="518"/>
                    </a:lnTo>
                    <a:lnTo>
                      <a:pt x="1512" y="514"/>
                    </a:lnTo>
                    <a:lnTo>
                      <a:pt x="1514" y="510"/>
                    </a:lnTo>
                    <a:lnTo>
                      <a:pt x="1514" y="506"/>
                    </a:lnTo>
                    <a:lnTo>
                      <a:pt x="1512" y="502"/>
                    </a:lnTo>
                    <a:lnTo>
                      <a:pt x="1508" y="498"/>
                    </a:lnTo>
                    <a:lnTo>
                      <a:pt x="1498" y="494"/>
                    </a:lnTo>
                    <a:lnTo>
                      <a:pt x="1498" y="494"/>
                    </a:lnTo>
                    <a:lnTo>
                      <a:pt x="1482" y="490"/>
                    </a:lnTo>
                    <a:lnTo>
                      <a:pt x="1474" y="484"/>
                    </a:lnTo>
                    <a:lnTo>
                      <a:pt x="1472" y="482"/>
                    </a:lnTo>
                    <a:lnTo>
                      <a:pt x="1472" y="480"/>
                    </a:lnTo>
                    <a:lnTo>
                      <a:pt x="1474" y="476"/>
                    </a:lnTo>
                    <a:lnTo>
                      <a:pt x="1478" y="472"/>
                    </a:lnTo>
                    <a:lnTo>
                      <a:pt x="1478" y="470"/>
                    </a:lnTo>
                    <a:lnTo>
                      <a:pt x="1476" y="468"/>
                    </a:lnTo>
                    <a:lnTo>
                      <a:pt x="1464" y="466"/>
                    </a:lnTo>
                    <a:lnTo>
                      <a:pt x="1464" y="466"/>
                    </a:lnTo>
                    <a:lnTo>
                      <a:pt x="1454" y="464"/>
                    </a:lnTo>
                    <a:lnTo>
                      <a:pt x="1450" y="462"/>
                    </a:lnTo>
                    <a:lnTo>
                      <a:pt x="1448" y="458"/>
                    </a:lnTo>
                    <a:lnTo>
                      <a:pt x="1448" y="454"/>
                    </a:lnTo>
                    <a:lnTo>
                      <a:pt x="1450" y="448"/>
                    </a:lnTo>
                    <a:lnTo>
                      <a:pt x="1454" y="442"/>
                    </a:lnTo>
                    <a:lnTo>
                      <a:pt x="1454" y="438"/>
                    </a:lnTo>
                    <a:lnTo>
                      <a:pt x="1448" y="438"/>
                    </a:lnTo>
                    <a:lnTo>
                      <a:pt x="1436" y="440"/>
                    </a:lnTo>
                    <a:lnTo>
                      <a:pt x="1436" y="440"/>
                    </a:lnTo>
                    <a:lnTo>
                      <a:pt x="1432" y="440"/>
                    </a:lnTo>
                    <a:lnTo>
                      <a:pt x="1428" y="440"/>
                    </a:lnTo>
                    <a:lnTo>
                      <a:pt x="1422" y="436"/>
                    </a:lnTo>
                    <a:lnTo>
                      <a:pt x="1416" y="428"/>
                    </a:lnTo>
                    <a:lnTo>
                      <a:pt x="1412" y="420"/>
                    </a:lnTo>
                    <a:lnTo>
                      <a:pt x="1408" y="400"/>
                    </a:lnTo>
                    <a:lnTo>
                      <a:pt x="1404" y="394"/>
                    </a:lnTo>
                    <a:lnTo>
                      <a:pt x="1400" y="390"/>
                    </a:lnTo>
                    <a:lnTo>
                      <a:pt x="1400" y="390"/>
                    </a:lnTo>
                    <a:lnTo>
                      <a:pt x="1394" y="386"/>
                    </a:lnTo>
                    <a:lnTo>
                      <a:pt x="1386" y="378"/>
                    </a:lnTo>
                    <a:lnTo>
                      <a:pt x="1370" y="360"/>
                    </a:lnTo>
                    <a:lnTo>
                      <a:pt x="1364" y="350"/>
                    </a:lnTo>
                    <a:lnTo>
                      <a:pt x="1358" y="340"/>
                    </a:lnTo>
                    <a:lnTo>
                      <a:pt x="1356" y="334"/>
                    </a:lnTo>
                    <a:lnTo>
                      <a:pt x="1356" y="332"/>
                    </a:lnTo>
                    <a:lnTo>
                      <a:pt x="1358" y="330"/>
                    </a:lnTo>
                    <a:lnTo>
                      <a:pt x="1358" y="330"/>
                    </a:lnTo>
                    <a:lnTo>
                      <a:pt x="1362" y="328"/>
                    </a:lnTo>
                    <a:lnTo>
                      <a:pt x="1366" y="326"/>
                    </a:lnTo>
                    <a:lnTo>
                      <a:pt x="1376" y="328"/>
                    </a:lnTo>
                    <a:lnTo>
                      <a:pt x="1388" y="328"/>
                    </a:lnTo>
                    <a:lnTo>
                      <a:pt x="1392" y="326"/>
                    </a:lnTo>
                    <a:lnTo>
                      <a:pt x="1394" y="324"/>
                    </a:lnTo>
                    <a:lnTo>
                      <a:pt x="1394" y="324"/>
                    </a:lnTo>
                    <a:lnTo>
                      <a:pt x="1396" y="320"/>
                    </a:lnTo>
                    <a:lnTo>
                      <a:pt x="1396" y="314"/>
                    </a:lnTo>
                    <a:lnTo>
                      <a:pt x="1390" y="302"/>
                    </a:lnTo>
                    <a:lnTo>
                      <a:pt x="1386" y="296"/>
                    </a:lnTo>
                    <a:lnTo>
                      <a:pt x="1380" y="292"/>
                    </a:lnTo>
                    <a:lnTo>
                      <a:pt x="1374" y="290"/>
                    </a:lnTo>
                    <a:lnTo>
                      <a:pt x="1370" y="290"/>
                    </a:lnTo>
                    <a:lnTo>
                      <a:pt x="1370" y="290"/>
                    </a:lnTo>
                    <a:lnTo>
                      <a:pt x="1364" y="290"/>
                    </a:lnTo>
                    <a:lnTo>
                      <a:pt x="1360" y="290"/>
                    </a:lnTo>
                    <a:lnTo>
                      <a:pt x="1354" y="284"/>
                    </a:lnTo>
                    <a:lnTo>
                      <a:pt x="1344" y="276"/>
                    </a:lnTo>
                    <a:lnTo>
                      <a:pt x="1338" y="272"/>
                    </a:lnTo>
                    <a:lnTo>
                      <a:pt x="1328" y="270"/>
                    </a:lnTo>
                    <a:lnTo>
                      <a:pt x="1328" y="270"/>
                    </a:lnTo>
                    <a:lnTo>
                      <a:pt x="1312" y="264"/>
                    </a:lnTo>
                    <a:lnTo>
                      <a:pt x="1310" y="262"/>
                    </a:lnTo>
                    <a:lnTo>
                      <a:pt x="1308" y="260"/>
                    </a:lnTo>
                    <a:lnTo>
                      <a:pt x="1310" y="256"/>
                    </a:lnTo>
                    <a:lnTo>
                      <a:pt x="1312" y="246"/>
                    </a:lnTo>
                    <a:lnTo>
                      <a:pt x="1312" y="246"/>
                    </a:lnTo>
                    <a:lnTo>
                      <a:pt x="1312" y="238"/>
                    </a:lnTo>
                    <a:lnTo>
                      <a:pt x="1306" y="230"/>
                    </a:lnTo>
                    <a:lnTo>
                      <a:pt x="1298" y="220"/>
                    </a:lnTo>
                    <a:lnTo>
                      <a:pt x="1288" y="210"/>
                    </a:lnTo>
                    <a:lnTo>
                      <a:pt x="1278" y="200"/>
                    </a:lnTo>
                    <a:lnTo>
                      <a:pt x="1266" y="192"/>
                    </a:lnTo>
                    <a:lnTo>
                      <a:pt x="1256" y="188"/>
                    </a:lnTo>
                    <a:lnTo>
                      <a:pt x="1248" y="186"/>
                    </a:lnTo>
                    <a:lnTo>
                      <a:pt x="1248" y="186"/>
                    </a:lnTo>
                    <a:lnTo>
                      <a:pt x="1242" y="186"/>
                    </a:lnTo>
                    <a:lnTo>
                      <a:pt x="1238" y="184"/>
                    </a:lnTo>
                    <a:lnTo>
                      <a:pt x="1230" y="178"/>
                    </a:lnTo>
                    <a:lnTo>
                      <a:pt x="1220" y="170"/>
                    </a:lnTo>
                    <a:lnTo>
                      <a:pt x="1214" y="166"/>
                    </a:lnTo>
                    <a:lnTo>
                      <a:pt x="1202" y="162"/>
                    </a:lnTo>
                    <a:lnTo>
                      <a:pt x="1202" y="162"/>
                    </a:lnTo>
                    <a:lnTo>
                      <a:pt x="1190" y="158"/>
                    </a:lnTo>
                    <a:lnTo>
                      <a:pt x="1174" y="152"/>
                    </a:lnTo>
                    <a:lnTo>
                      <a:pt x="1140" y="134"/>
                    </a:lnTo>
                    <a:lnTo>
                      <a:pt x="1106" y="120"/>
                    </a:lnTo>
                    <a:lnTo>
                      <a:pt x="1092" y="116"/>
                    </a:lnTo>
                    <a:lnTo>
                      <a:pt x="1078" y="116"/>
                    </a:lnTo>
                    <a:lnTo>
                      <a:pt x="1080" y="404"/>
                    </a:lnTo>
                    <a:lnTo>
                      <a:pt x="1080" y="404"/>
                    </a:lnTo>
                    <a:lnTo>
                      <a:pt x="1094" y="414"/>
                    </a:lnTo>
                    <a:lnTo>
                      <a:pt x="1104" y="426"/>
                    </a:lnTo>
                    <a:lnTo>
                      <a:pt x="1118" y="446"/>
                    </a:lnTo>
                    <a:lnTo>
                      <a:pt x="1118" y="446"/>
                    </a:lnTo>
                    <a:close/>
                    <a:moveTo>
                      <a:pt x="784" y="288"/>
                    </a:moveTo>
                    <a:lnTo>
                      <a:pt x="784" y="288"/>
                    </a:lnTo>
                    <a:lnTo>
                      <a:pt x="786" y="290"/>
                    </a:lnTo>
                    <a:lnTo>
                      <a:pt x="788" y="288"/>
                    </a:lnTo>
                    <a:lnTo>
                      <a:pt x="790" y="286"/>
                    </a:lnTo>
                    <a:lnTo>
                      <a:pt x="790" y="282"/>
                    </a:lnTo>
                    <a:lnTo>
                      <a:pt x="790" y="282"/>
                    </a:lnTo>
                    <a:lnTo>
                      <a:pt x="788" y="278"/>
                    </a:lnTo>
                    <a:lnTo>
                      <a:pt x="784" y="274"/>
                    </a:lnTo>
                    <a:lnTo>
                      <a:pt x="784" y="274"/>
                    </a:lnTo>
                    <a:lnTo>
                      <a:pt x="782" y="276"/>
                    </a:lnTo>
                    <a:lnTo>
                      <a:pt x="784" y="288"/>
                    </a:lnTo>
                    <a:lnTo>
                      <a:pt x="784" y="288"/>
                    </a:lnTo>
                    <a:close/>
                    <a:moveTo>
                      <a:pt x="1474" y="80"/>
                    </a:moveTo>
                    <a:lnTo>
                      <a:pt x="1474" y="80"/>
                    </a:lnTo>
                    <a:lnTo>
                      <a:pt x="1476" y="80"/>
                    </a:lnTo>
                    <a:lnTo>
                      <a:pt x="1476" y="78"/>
                    </a:lnTo>
                    <a:lnTo>
                      <a:pt x="1474" y="72"/>
                    </a:lnTo>
                    <a:lnTo>
                      <a:pt x="1468" y="68"/>
                    </a:lnTo>
                    <a:lnTo>
                      <a:pt x="1466" y="68"/>
                    </a:lnTo>
                    <a:lnTo>
                      <a:pt x="1464" y="68"/>
                    </a:lnTo>
                    <a:lnTo>
                      <a:pt x="1464" y="68"/>
                    </a:lnTo>
                    <a:lnTo>
                      <a:pt x="1464" y="72"/>
                    </a:lnTo>
                    <a:lnTo>
                      <a:pt x="1464" y="76"/>
                    </a:lnTo>
                    <a:lnTo>
                      <a:pt x="1468" y="78"/>
                    </a:lnTo>
                    <a:lnTo>
                      <a:pt x="1474" y="80"/>
                    </a:lnTo>
                    <a:lnTo>
                      <a:pt x="1474" y="80"/>
                    </a:lnTo>
                    <a:close/>
                    <a:moveTo>
                      <a:pt x="1436" y="292"/>
                    </a:moveTo>
                    <a:lnTo>
                      <a:pt x="1436" y="292"/>
                    </a:lnTo>
                    <a:lnTo>
                      <a:pt x="1442" y="296"/>
                    </a:lnTo>
                    <a:lnTo>
                      <a:pt x="1446" y="298"/>
                    </a:lnTo>
                    <a:lnTo>
                      <a:pt x="1448" y="298"/>
                    </a:lnTo>
                    <a:lnTo>
                      <a:pt x="1450" y="298"/>
                    </a:lnTo>
                    <a:lnTo>
                      <a:pt x="1452" y="296"/>
                    </a:lnTo>
                    <a:lnTo>
                      <a:pt x="1454" y="296"/>
                    </a:lnTo>
                    <a:lnTo>
                      <a:pt x="1458" y="298"/>
                    </a:lnTo>
                    <a:lnTo>
                      <a:pt x="1462" y="302"/>
                    </a:lnTo>
                    <a:lnTo>
                      <a:pt x="1462" y="302"/>
                    </a:lnTo>
                    <a:lnTo>
                      <a:pt x="1468" y="306"/>
                    </a:lnTo>
                    <a:lnTo>
                      <a:pt x="1478" y="308"/>
                    </a:lnTo>
                    <a:lnTo>
                      <a:pt x="1490" y="306"/>
                    </a:lnTo>
                    <a:lnTo>
                      <a:pt x="1502" y="302"/>
                    </a:lnTo>
                    <a:lnTo>
                      <a:pt x="1514" y="298"/>
                    </a:lnTo>
                    <a:lnTo>
                      <a:pt x="1524" y="292"/>
                    </a:lnTo>
                    <a:lnTo>
                      <a:pt x="1534" y="284"/>
                    </a:lnTo>
                    <a:lnTo>
                      <a:pt x="1538" y="278"/>
                    </a:lnTo>
                    <a:lnTo>
                      <a:pt x="1538" y="278"/>
                    </a:lnTo>
                    <a:lnTo>
                      <a:pt x="1542" y="272"/>
                    </a:lnTo>
                    <a:lnTo>
                      <a:pt x="1544" y="270"/>
                    </a:lnTo>
                    <a:lnTo>
                      <a:pt x="1548" y="270"/>
                    </a:lnTo>
                    <a:lnTo>
                      <a:pt x="1550" y="270"/>
                    </a:lnTo>
                    <a:lnTo>
                      <a:pt x="1556" y="272"/>
                    </a:lnTo>
                    <a:lnTo>
                      <a:pt x="1560" y="270"/>
                    </a:lnTo>
                    <a:lnTo>
                      <a:pt x="1566" y="268"/>
                    </a:lnTo>
                    <a:lnTo>
                      <a:pt x="1566" y="268"/>
                    </a:lnTo>
                    <a:lnTo>
                      <a:pt x="1568" y="264"/>
                    </a:lnTo>
                    <a:lnTo>
                      <a:pt x="1570" y="260"/>
                    </a:lnTo>
                    <a:lnTo>
                      <a:pt x="1566" y="252"/>
                    </a:lnTo>
                    <a:lnTo>
                      <a:pt x="1564" y="246"/>
                    </a:lnTo>
                    <a:lnTo>
                      <a:pt x="1564" y="244"/>
                    </a:lnTo>
                    <a:lnTo>
                      <a:pt x="1566" y="242"/>
                    </a:lnTo>
                    <a:lnTo>
                      <a:pt x="1566" y="242"/>
                    </a:lnTo>
                    <a:lnTo>
                      <a:pt x="1572" y="240"/>
                    </a:lnTo>
                    <a:lnTo>
                      <a:pt x="1574" y="238"/>
                    </a:lnTo>
                    <a:lnTo>
                      <a:pt x="1580" y="228"/>
                    </a:lnTo>
                    <a:lnTo>
                      <a:pt x="1580" y="216"/>
                    </a:lnTo>
                    <a:lnTo>
                      <a:pt x="1578" y="212"/>
                    </a:lnTo>
                    <a:lnTo>
                      <a:pt x="1576" y="208"/>
                    </a:lnTo>
                    <a:lnTo>
                      <a:pt x="1576" y="208"/>
                    </a:lnTo>
                    <a:lnTo>
                      <a:pt x="1572" y="202"/>
                    </a:lnTo>
                    <a:lnTo>
                      <a:pt x="1566" y="202"/>
                    </a:lnTo>
                    <a:lnTo>
                      <a:pt x="1548" y="202"/>
                    </a:lnTo>
                    <a:lnTo>
                      <a:pt x="1548" y="202"/>
                    </a:lnTo>
                    <a:lnTo>
                      <a:pt x="1546" y="204"/>
                    </a:lnTo>
                    <a:lnTo>
                      <a:pt x="1544" y="206"/>
                    </a:lnTo>
                    <a:lnTo>
                      <a:pt x="1542" y="210"/>
                    </a:lnTo>
                    <a:lnTo>
                      <a:pt x="1546" y="224"/>
                    </a:lnTo>
                    <a:lnTo>
                      <a:pt x="1550" y="236"/>
                    </a:lnTo>
                    <a:lnTo>
                      <a:pt x="1548" y="240"/>
                    </a:lnTo>
                    <a:lnTo>
                      <a:pt x="1542" y="240"/>
                    </a:lnTo>
                    <a:lnTo>
                      <a:pt x="1542" y="240"/>
                    </a:lnTo>
                    <a:lnTo>
                      <a:pt x="1536" y="238"/>
                    </a:lnTo>
                    <a:lnTo>
                      <a:pt x="1530" y="242"/>
                    </a:lnTo>
                    <a:lnTo>
                      <a:pt x="1526" y="248"/>
                    </a:lnTo>
                    <a:lnTo>
                      <a:pt x="1522" y="254"/>
                    </a:lnTo>
                    <a:lnTo>
                      <a:pt x="1518" y="262"/>
                    </a:lnTo>
                    <a:lnTo>
                      <a:pt x="1514" y="266"/>
                    </a:lnTo>
                    <a:lnTo>
                      <a:pt x="1510" y="268"/>
                    </a:lnTo>
                    <a:lnTo>
                      <a:pt x="1504" y="266"/>
                    </a:lnTo>
                    <a:lnTo>
                      <a:pt x="1504" y="266"/>
                    </a:lnTo>
                    <a:lnTo>
                      <a:pt x="1500" y="264"/>
                    </a:lnTo>
                    <a:lnTo>
                      <a:pt x="1498" y="264"/>
                    </a:lnTo>
                    <a:lnTo>
                      <a:pt x="1494" y="268"/>
                    </a:lnTo>
                    <a:lnTo>
                      <a:pt x="1490" y="270"/>
                    </a:lnTo>
                    <a:lnTo>
                      <a:pt x="1488" y="264"/>
                    </a:lnTo>
                    <a:lnTo>
                      <a:pt x="1488" y="264"/>
                    </a:lnTo>
                    <a:lnTo>
                      <a:pt x="1486" y="256"/>
                    </a:lnTo>
                    <a:lnTo>
                      <a:pt x="1488" y="250"/>
                    </a:lnTo>
                    <a:lnTo>
                      <a:pt x="1490" y="248"/>
                    </a:lnTo>
                    <a:lnTo>
                      <a:pt x="1490" y="244"/>
                    </a:lnTo>
                    <a:lnTo>
                      <a:pt x="1490" y="244"/>
                    </a:lnTo>
                    <a:lnTo>
                      <a:pt x="1488" y="242"/>
                    </a:lnTo>
                    <a:lnTo>
                      <a:pt x="1488" y="242"/>
                    </a:lnTo>
                    <a:lnTo>
                      <a:pt x="1484" y="244"/>
                    </a:lnTo>
                    <a:lnTo>
                      <a:pt x="1480" y="250"/>
                    </a:lnTo>
                    <a:lnTo>
                      <a:pt x="1480" y="262"/>
                    </a:lnTo>
                    <a:lnTo>
                      <a:pt x="1480" y="262"/>
                    </a:lnTo>
                    <a:lnTo>
                      <a:pt x="1478" y="266"/>
                    </a:lnTo>
                    <a:lnTo>
                      <a:pt x="1476" y="268"/>
                    </a:lnTo>
                    <a:lnTo>
                      <a:pt x="1470" y="270"/>
                    </a:lnTo>
                    <a:lnTo>
                      <a:pt x="1460" y="268"/>
                    </a:lnTo>
                    <a:lnTo>
                      <a:pt x="1448" y="266"/>
                    </a:lnTo>
                    <a:lnTo>
                      <a:pt x="1434" y="266"/>
                    </a:lnTo>
                    <a:lnTo>
                      <a:pt x="1424" y="264"/>
                    </a:lnTo>
                    <a:lnTo>
                      <a:pt x="1416" y="266"/>
                    </a:lnTo>
                    <a:lnTo>
                      <a:pt x="1414" y="268"/>
                    </a:lnTo>
                    <a:lnTo>
                      <a:pt x="1414" y="270"/>
                    </a:lnTo>
                    <a:lnTo>
                      <a:pt x="1414" y="270"/>
                    </a:lnTo>
                    <a:lnTo>
                      <a:pt x="1416" y="278"/>
                    </a:lnTo>
                    <a:lnTo>
                      <a:pt x="1420" y="280"/>
                    </a:lnTo>
                    <a:lnTo>
                      <a:pt x="1428" y="284"/>
                    </a:lnTo>
                    <a:lnTo>
                      <a:pt x="1436" y="292"/>
                    </a:lnTo>
                    <a:lnTo>
                      <a:pt x="1436" y="292"/>
                    </a:lnTo>
                    <a:close/>
                    <a:moveTo>
                      <a:pt x="1546" y="156"/>
                    </a:moveTo>
                    <a:lnTo>
                      <a:pt x="1546" y="156"/>
                    </a:lnTo>
                    <a:lnTo>
                      <a:pt x="1552" y="162"/>
                    </a:lnTo>
                    <a:lnTo>
                      <a:pt x="1562" y="170"/>
                    </a:lnTo>
                    <a:lnTo>
                      <a:pt x="1572" y="178"/>
                    </a:lnTo>
                    <a:lnTo>
                      <a:pt x="1582" y="190"/>
                    </a:lnTo>
                    <a:lnTo>
                      <a:pt x="1582" y="190"/>
                    </a:lnTo>
                    <a:lnTo>
                      <a:pt x="1586" y="196"/>
                    </a:lnTo>
                    <a:lnTo>
                      <a:pt x="1588" y="202"/>
                    </a:lnTo>
                    <a:lnTo>
                      <a:pt x="1590" y="210"/>
                    </a:lnTo>
                    <a:lnTo>
                      <a:pt x="1590" y="220"/>
                    </a:lnTo>
                    <a:lnTo>
                      <a:pt x="1592" y="224"/>
                    </a:lnTo>
                    <a:lnTo>
                      <a:pt x="1594" y="232"/>
                    </a:lnTo>
                    <a:lnTo>
                      <a:pt x="1594" y="232"/>
                    </a:lnTo>
                    <a:lnTo>
                      <a:pt x="1598" y="236"/>
                    </a:lnTo>
                    <a:lnTo>
                      <a:pt x="1602" y="234"/>
                    </a:lnTo>
                    <a:lnTo>
                      <a:pt x="1604" y="230"/>
                    </a:lnTo>
                    <a:lnTo>
                      <a:pt x="1608" y="222"/>
                    </a:lnTo>
                    <a:lnTo>
                      <a:pt x="1608" y="214"/>
                    </a:lnTo>
                    <a:lnTo>
                      <a:pt x="1608" y="206"/>
                    </a:lnTo>
                    <a:lnTo>
                      <a:pt x="1604" y="196"/>
                    </a:lnTo>
                    <a:lnTo>
                      <a:pt x="1596" y="190"/>
                    </a:lnTo>
                    <a:lnTo>
                      <a:pt x="1596" y="190"/>
                    </a:lnTo>
                    <a:lnTo>
                      <a:pt x="1582" y="178"/>
                    </a:lnTo>
                    <a:lnTo>
                      <a:pt x="1574" y="168"/>
                    </a:lnTo>
                    <a:lnTo>
                      <a:pt x="1566" y="160"/>
                    </a:lnTo>
                    <a:lnTo>
                      <a:pt x="1556" y="154"/>
                    </a:lnTo>
                    <a:lnTo>
                      <a:pt x="1556" y="154"/>
                    </a:lnTo>
                    <a:lnTo>
                      <a:pt x="1538" y="142"/>
                    </a:lnTo>
                    <a:lnTo>
                      <a:pt x="1526" y="132"/>
                    </a:lnTo>
                    <a:lnTo>
                      <a:pt x="1518" y="126"/>
                    </a:lnTo>
                    <a:lnTo>
                      <a:pt x="1516" y="126"/>
                    </a:lnTo>
                    <a:lnTo>
                      <a:pt x="1514" y="128"/>
                    </a:lnTo>
                    <a:lnTo>
                      <a:pt x="1514" y="128"/>
                    </a:lnTo>
                    <a:lnTo>
                      <a:pt x="1510" y="132"/>
                    </a:lnTo>
                    <a:lnTo>
                      <a:pt x="1508" y="134"/>
                    </a:lnTo>
                    <a:lnTo>
                      <a:pt x="1510" y="136"/>
                    </a:lnTo>
                    <a:lnTo>
                      <a:pt x="1516" y="138"/>
                    </a:lnTo>
                    <a:lnTo>
                      <a:pt x="1530" y="144"/>
                    </a:lnTo>
                    <a:lnTo>
                      <a:pt x="1538" y="150"/>
                    </a:lnTo>
                    <a:lnTo>
                      <a:pt x="1546" y="156"/>
                    </a:lnTo>
                    <a:lnTo>
                      <a:pt x="1546" y="156"/>
                    </a:lnTo>
                    <a:close/>
                    <a:moveTo>
                      <a:pt x="1500" y="128"/>
                    </a:moveTo>
                    <a:lnTo>
                      <a:pt x="1500" y="128"/>
                    </a:lnTo>
                    <a:lnTo>
                      <a:pt x="1502" y="126"/>
                    </a:lnTo>
                    <a:lnTo>
                      <a:pt x="1502" y="122"/>
                    </a:lnTo>
                    <a:lnTo>
                      <a:pt x="1496" y="116"/>
                    </a:lnTo>
                    <a:lnTo>
                      <a:pt x="1492" y="114"/>
                    </a:lnTo>
                    <a:lnTo>
                      <a:pt x="1490" y="114"/>
                    </a:lnTo>
                    <a:lnTo>
                      <a:pt x="1486" y="114"/>
                    </a:lnTo>
                    <a:lnTo>
                      <a:pt x="1484" y="118"/>
                    </a:lnTo>
                    <a:lnTo>
                      <a:pt x="1484" y="118"/>
                    </a:lnTo>
                    <a:lnTo>
                      <a:pt x="1484" y="120"/>
                    </a:lnTo>
                    <a:lnTo>
                      <a:pt x="1484" y="124"/>
                    </a:lnTo>
                    <a:lnTo>
                      <a:pt x="1488" y="128"/>
                    </a:lnTo>
                    <a:lnTo>
                      <a:pt x="1494" y="130"/>
                    </a:lnTo>
                    <a:lnTo>
                      <a:pt x="1498" y="130"/>
                    </a:lnTo>
                    <a:lnTo>
                      <a:pt x="1500" y="128"/>
                    </a:lnTo>
                    <a:lnTo>
                      <a:pt x="1500" y="128"/>
                    </a:lnTo>
                    <a:close/>
                    <a:moveTo>
                      <a:pt x="726" y="46"/>
                    </a:moveTo>
                    <a:lnTo>
                      <a:pt x="726" y="46"/>
                    </a:lnTo>
                    <a:lnTo>
                      <a:pt x="726" y="50"/>
                    </a:lnTo>
                    <a:lnTo>
                      <a:pt x="724" y="54"/>
                    </a:lnTo>
                    <a:lnTo>
                      <a:pt x="716" y="62"/>
                    </a:lnTo>
                    <a:lnTo>
                      <a:pt x="714" y="66"/>
                    </a:lnTo>
                    <a:lnTo>
                      <a:pt x="716" y="70"/>
                    </a:lnTo>
                    <a:lnTo>
                      <a:pt x="718" y="72"/>
                    </a:lnTo>
                    <a:lnTo>
                      <a:pt x="726" y="72"/>
                    </a:lnTo>
                    <a:lnTo>
                      <a:pt x="726" y="72"/>
                    </a:lnTo>
                    <a:lnTo>
                      <a:pt x="738" y="72"/>
                    </a:lnTo>
                    <a:lnTo>
                      <a:pt x="742" y="74"/>
                    </a:lnTo>
                    <a:lnTo>
                      <a:pt x="746" y="78"/>
                    </a:lnTo>
                    <a:lnTo>
                      <a:pt x="752" y="88"/>
                    </a:lnTo>
                    <a:lnTo>
                      <a:pt x="758" y="104"/>
                    </a:lnTo>
                    <a:lnTo>
                      <a:pt x="758" y="104"/>
                    </a:lnTo>
                    <a:lnTo>
                      <a:pt x="762" y="106"/>
                    </a:lnTo>
                    <a:lnTo>
                      <a:pt x="764" y="108"/>
                    </a:lnTo>
                    <a:lnTo>
                      <a:pt x="774" y="110"/>
                    </a:lnTo>
                    <a:lnTo>
                      <a:pt x="786" y="110"/>
                    </a:lnTo>
                    <a:lnTo>
                      <a:pt x="798" y="110"/>
                    </a:lnTo>
                    <a:lnTo>
                      <a:pt x="810" y="108"/>
                    </a:lnTo>
                    <a:lnTo>
                      <a:pt x="820" y="108"/>
                    </a:lnTo>
                    <a:lnTo>
                      <a:pt x="828" y="110"/>
                    </a:lnTo>
                    <a:lnTo>
                      <a:pt x="830" y="112"/>
                    </a:lnTo>
                    <a:lnTo>
                      <a:pt x="830" y="114"/>
                    </a:lnTo>
                    <a:lnTo>
                      <a:pt x="830" y="114"/>
                    </a:lnTo>
                    <a:lnTo>
                      <a:pt x="830" y="120"/>
                    </a:lnTo>
                    <a:lnTo>
                      <a:pt x="826" y="122"/>
                    </a:lnTo>
                    <a:lnTo>
                      <a:pt x="822" y="122"/>
                    </a:lnTo>
                    <a:lnTo>
                      <a:pt x="816" y="120"/>
                    </a:lnTo>
                    <a:lnTo>
                      <a:pt x="808" y="120"/>
                    </a:lnTo>
                    <a:lnTo>
                      <a:pt x="802" y="118"/>
                    </a:lnTo>
                    <a:lnTo>
                      <a:pt x="798" y="120"/>
                    </a:lnTo>
                    <a:lnTo>
                      <a:pt x="794" y="124"/>
                    </a:lnTo>
                    <a:lnTo>
                      <a:pt x="794" y="124"/>
                    </a:lnTo>
                    <a:lnTo>
                      <a:pt x="790" y="130"/>
                    </a:lnTo>
                    <a:lnTo>
                      <a:pt x="784" y="134"/>
                    </a:lnTo>
                    <a:lnTo>
                      <a:pt x="778" y="134"/>
                    </a:lnTo>
                    <a:lnTo>
                      <a:pt x="772" y="132"/>
                    </a:lnTo>
                    <a:lnTo>
                      <a:pt x="766" y="130"/>
                    </a:lnTo>
                    <a:lnTo>
                      <a:pt x="760" y="130"/>
                    </a:lnTo>
                    <a:lnTo>
                      <a:pt x="756" y="132"/>
                    </a:lnTo>
                    <a:lnTo>
                      <a:pt x="756" y="138"/>
                    </a:lnTo>
                    <a:lnTo>
                      <a:pt x="756" y="138"/>
                    </a:lnTo>
                    <a:lnTo>
                      <a:pt x="756" y="142"/>
                    </a:lnTo>
                    <a:lnTo>
                      <a:pt x="760" y="144"/>
                    </a:lnTo>
                    <a:lnTo>
                      <a:pt x="768" y="146"/>
                    </a:lnTo>
                    <a:lnTo>
                      <a:pt x="780" y="156"/>
                    </a:lnTo>
                    <a:lnTo>
                      <a:pt x="780" y="156"/>
                    </a:lnTo>
                    <a:lnTo>
                      <a:pt x="786" y="164"/>
                    </a:lnTo>
                    <a:lnTo>
                      <a:pt x="790" y="170"/>
                    </a:lnTo>
                    <a:lnTo>
                      <a:pt x="790" y="174"/>
                    </a:lnTo>
                    <a:lnTo>
                      <a:pt x="788" y="176"/>
                    </a:lnTo>
                    <a:lnTo>
                      <a:pt x="784" y="180"/>
                    </a:lnTo>
                    <a:lnTo>
                      <a:pt x="784" y="184"/>
                    </a:lnTo>
                    <a:lnTo>
                      <a:pt x="784" y="188"/>
                    </a:lnTo>
                    <a:lnTo>
                      <a:pt x="784" y="188"/>
                    </a:lnTo>
                    <a:lnTo>
                      <a:pt x="788" y="194"/>
                    </a:lnTo>
                    <a:lnTo>
                      <a:pt x="792" y="196"/>
                    </a:lnTo>
                    <a:lnTo>
                      <a:pt x="796" y="198"/>
                    </a:lnTo>
                    <a:lnTo>
                      <a:pt x="802" y="198"/>
                    </a:lnTo>
                    <a:lnTo>
                      <a:pt x="806" y="196"/>
                    </a:lnTo>
                    <a:lnTo>
                      <a:pt x="810" y="192"/>
                    </a:lnTo>
                    <a:lnTo>
                      <a:pt x="814" y="186"/>
                    </a:lnTo>
                    <a:lnTo>
                      <a:pt x="816" y="178"/>
                    </a:lnTo>
                    <a:lnTo>
                      <a:pt x="816" y="178"/>
                    </a:lnTo>
                    <a:lnTo>
                      <a:pt x="822" y="158"/>
                    </a:lnTo>
                    <a:lnTo>
                      <a:pt x="826" y="150"/>
                    </a:lnTo>
                    <a:lnTo>
                      <a:pt x="828" y="150"/>
                    </a:lnTo>
                    <a:lnTo>
                      <a:pt x="828" y="154"/>
                    </a:lnTo>
                    <a:lnTo>
                      <a:pt x="824" y="168"/>
                    </a:lnTo>
                    <a:lnTo>
                      <a:pt x="824" y="168"/>
                    </a:lnTo>
                    <a:lnTo>
                      <a:pt x="824" y="174"/>
                    </a:lnTo>
                    <a:lnTo>
                      <a:pt x="824" y="178"/>
                    </a:lnTo>
                    <a:lnTo>
                      <a:pt x="828" y="180"/>
                    </a:lnTo>
                    <a:lnTo>
                      <a:pt x="832" y="184"/>
                    </a:lnTo>
                    <a:lnTo>
                      <a:pt x="844" y="188"/>
                    </a:lnTo>
                    <a:lnTo>
                      <a:pt x="852" y="192"/>
                    </a:lnTo>
                    <a:lnTo>
                      <a:pt x="860" y="198"/>
                    </a:lnTo>
                    <a:lnTo>
                      <a:pt x="860" y="198"/>
                    </a:lnTo>
                    <a:lnTo>
                      <a:pt x="870" y="206"/>
                    </a:lnTo>
                    <a:lnTo>
                      <a:pt x="878" y="212"/>
                    </a:lnTo>
                    <a:lnTo>
                      <a:pt x="886" y="214"/>
                    </a:lnTo>
                    <a:lnTo>
                      <a:pt x="892" y="216"/>
                    </a:lnTo>
                    <a:lnTo>
                      <a:pt x="906" y="218"/>
                    </a:lnTo>
                    <a:lnTo>
                      <a:pt x="916" y="220"/>
                    </a:lnTo>
                    <a:lnTo>
                      <a:pt x="926" y="226"/>
                    </a:lnTo>
                    <a:lnTo>
                      <a:pt x="926" y="226"/>
                    </a:lnTo>
                    <a:lnTo>
                      <a:pt x="940" y="232"/>
                    </a:lnTo>
                    <a:lnTo>
                      <a:pt x="954" y="238"/>
                    </a:lnTo>
                    <a:lnTo>
                      <a:pt x="966" y="242"/>
                    </a:lnTo>
                    <a:lnTo>
                      <a:pt x="980" y="252"/>
                    </a:lnTo>
                    <a:lnTo>
                      <a:pt x="980" y="252"/>
                    </a:lnTo>
                    <a:lnTo>
                      <a:pt x="988" y="258"/>
                    </a:lnTo>
                    <a:lnTo>
                      <a:pt x="994" y="266"/>
                    </a:lnTo>
                    <a:lnTo>
                      <a:pt x="1004" y="284"/>
                    </a:lnTo>
                    <a:lnTo>
                      <a:pt x="1014" y="302"/>
                    </a:lnTo>
                    <a:lnTo>
                      <a:pt x="1024" y="318"/>
                    </a:lnTo>
                    <a:lnTo>
                      <a:pt x="1024" y="318"/>
                    </a:lnTo>
                    <a:lnTo>
                      <a:pt x="1028" y="324"/>
                    </a:lnTo>
                    <a:lnTo>
                      <a:pt x="1030" y="328"/>
                    </a:lnTo>
                    <a:lnTo>
                      <a:pt x="1028" y="330"/>
                    </a:lnTo>
                    <a:lnTo>
                      <a:pt x="1026" y="332"/>
                    </a:lnTo>
                    <a:lnTo>
                      <a:pt x="1022" y="336"/>
                    </a:lnTo>
                    <a:lnTo>
                      <a:pt x="1020" y="338"/>
                    </a:lnTo>
                    <a:lnTo>
                      <a:pt x="1020" y="344"/>
                    </a:lnTo>
                    <a:lnTo>
                      <a:pt x="1020" y="344"/>
                    </a:lnTo>
                    <a:lnTo>
                      <a:pt x="1024" y="350"/>
                    </a:lnTo>
                    <a:lnTo>
                      <a:pt x="1028" y="354"/>
                    </a:lnTo>
                    <a:lnTo>
                      <a:pt x="1036" y="360"/>
                    </a:lnTo>
                    <a:lnTo>
                      <a:pt x="1040" y="364"/>
                    </a:lnTo>
                    <a:lnTo>
                      <a:pt x="1044" y="368"/>
                    </a:lnTo>
                    <a:lnTo>
                      <a:pt x="1044" y="372"/>
                    </a:lnTo>
                    <a:lnTo>
                      <a:pt x="1040" y="380"/>
                    </a:lnTo>
                    <a:lnTo>
                      <a:pt x="1040" y="380"/>
                    </a:lnTo>
                    <a:lnTo>
                      <a:pt x="1036" y="394"/>
                    </a:lnTo>
                    <a:lnTo>
                      <a:pt x="1036" y="396"/>
                    </a:lnTo>
                    <a:lnTo>
                      <a:pt x="1038" y="398"/>
                    </a:lnTo>
                    <a:lnTo>
                      <a:pt x="1044" y="396"/>
                    </a:lnTo>
                    <a:lnTo>
                      <a:pt x="1046" y="396"/>
                    </a:lnTo>
                    <a:lnTo>
                      <a:pt x="1050" y="396"/>
                    </a:lnTo>
                    <a:lnTo>
                      <a:pt x="1050" y="396"/>
                    </a:lnTo>
                    <a:lnTo>
                      <a:pt x="1052" y="398"/>
                    </a:lnTo>
                    <a:lnTo>
                      <a:pt x="1054" y="398"/>
                    </a:lnTo>
                    <a:lnTo>
                      <a:pt x="1060" y="398"/>
                    </a:lnTo>
                    <a:lnTo>
                      <a:pt x="1068" y="398"/>
                    </a:lnTo>
                    <a:lnTo>
                      <a:pt x="1074" y="400"/>
                    </a:lnTo>
                    <a:lnTo>
                      <a:pt x="1080" y="404"/>
                    </a:lnTo>
                    <a:lnTo>
                      <a:pt x="1078" y="116"/>
                    </a:lnTo>
                    <a:lnTo>
                      <a:pt x="1078" y="116"/>
                    </a:lnTo>
                    <a:lnTo>
                      <a:pt x="1070" y="114"/>
                    </a:lnTo>
                    <a:lnTo>
                      <a:pt x="1060" y="110"/>
                    </a:lnTo>
                    <a:lnTo>
                      <a:pt x="1038" y="100"/>
                    </a:lnTo>
                    <a:lnTo>
                      <a:pt x="1002" y="76"/>
                    </a:lnTo>
                    <a:lnTo>
                      <a:pt x="1002" y="76"/>
                    </a:lnTo>
                    <a:lnTo>
                      <a:pt x="996" y="72"/>
                    </a:lnTo>
                    <a:lnTo>
                      <a:pt x="988" y="72"/>
                    </a:lnTo>
                    <a:lnTo>
                      <a:pt x="982" y="74"/>
                    </a:lnTo>
                    <a:lnTo>
                      <a:pt x="976" y="76"/>
                    </a:lnTo>
                    <a:lnTo>
                      <a:pt x="970" y="80"/>
                    </a:lnTo>
                    <a:lnTo>
                      <a:pt x="966" y="84"/>
                    </a:lnTo>
                    <a:lnTo>
                      <a:pt x="964" y="88"/>
                    </a:lnTo>
                    <a:lnTo>
                      <a:pt x="964" y="92"/>
                    </a:lnTo>
                    <a:lnTo>
                      <a:pt x="964" y="92"/>
                    </a:lnTo>
                    <a:lnTo>
                      <a:pt x="966" y="96"/>
                    </a:lnTo>
                    <a:lnTo>
                      <a:pt x="964" y="100"/>
                    </a:lnTo>
                    <a:lnTo>
                      <a:pt x="956" y="106"/>
                    </a:lnTo>
                    <a:lnTo>
                      <a:pt x="946" y="110"/>
                    </a:lnTo>
                    <a:lnTo>
                      <a:pt x="942" y="110"/>
                    </a:lnTo>
                    <a:lnTo>
                      <a:pt x="938" y="108"/>
                    </a:lnTo>
                    <a:lnTo>
                      <a:pt x="938" y="108"/>
                    </a:lnTo>
                    <a:lnTo>
                      <a:pt x="936" y="108"/>
                    </a:lnTo>
                    <a:lnTo>
                      <a:pt x="934" y="110"/>
                    </a:lnTo>
                    <a:lnTo>
                      <a:pt x="928" y="116"/>
                    </a:lnTo>
                    <a:lnTo>
                      <a:pt x="914" y="138"/>
                    </a:lnTo>
                    <a:lnTo>
                      <a:pt x="906" y="148"/>
                    </a:lnTo>
                    <a:lnTo>
                      <a:pt x="898" y="158"/>
                    </a:lnTo>
                    <a:lnTo>
                      <a:pt x="890" y="164"/>
                    </a:lnTo>
                    <a:lnTo>
                      <a:pt x="886" y="164"/>
                    </a:lnTo>
                    <a:lnTo>
                      <a:pt x="882" y="164"/>
                    </a:lnTo>
                    <a:lnTo>
                      <a:pt x="882" y="164"/>
                    </a:lnTo>
                    <a:lnTo>
                      <a:pt x="876" y="160"/>
                    </a:lnTo>
                    <a:lnTo>
                      <a:pt x="872" y="156"/>
                    </a:lnTo>
                    <a:lnTo>
                      <a:pt x="870" y="150"/>
                    </a:lnTo>
                    <a:lnTo>
                      <a:pt x="868" y="144"/>
                    </a:lnTo>
                    <a:lnTo>
                      <a:pt x="864" y="132"/>
                    </a:lnTo>
                    <a:lnTo>
                      <a:pt x="862" y="126"/>
                    </a:lnTo>
                    <a:lnTo>
                      <a:pt x="860" y="120"/>
                    </a:lnTo>
                    <a:lnTo>
                      <a:pt x="860" y="120"/>
                    </a:lnTo>
                    <a:lnTo>
                      <a:pt x="856" y="118"/>
                    </a:lnTo>
                    <a:lnTo>
                      <a:pt x="854" y="118"/>
                    </a:lnTo>
                    <a:lnTo>
                      <a:pt x="852" y="124"/>
                    </a:lnTo>
                    <a:lnTo>
                      <a:pt x="852" y="126"/>
                    </a:lnTo>
                    <a:lnTo>
                      <a:pt x="852" y="126"/>
                    </a:lnTo>
                    <a:lnTo>
                      <a:pt x="846" y="114"/>
                    </a:lnTo>
                    <a:lnTo>
                      <a:pt x="846" y="114"/>
                    </a:lnTo>
                    <a:lnTo>
                      <a:pt x="842" y="102"/>
                    </a:lnTo>
                    <a:lnTo>
                      <a:pt x="842" y="94"/>
                    </a:lnTo>
                    <a:lnTo>
                      <a:pt x="842" y="86"/>
                    </a:lnTo>
                    <a:lnTo>
                      <a:pt x="844" y="80"/>
                    </a:lnTo>
                    <a:lnTo>
                      <a:pt x="846" y="66"/>
                    </a:lnTo>
                    <a:lnTo>
                      <a:pt x="846" y="58"/>
                    </a:lnTo>
                    <a:lnTo>
                      <a:pt x="844" y="48"/>
                    </a:lnTo>
                    <a:lnTo>
                      <a:pt x="844" y="48"/>
                    </a:lnTo>
                    <a:lnTo>
                      <a:pt x="840" y="40"/>
                    </a:lnTo>
                    <a:lnTo>
                      <a:pt x="838" y="36"/>
                    </a:lnTo>
                    <a:lnTo>
                      <a:pt x="834" y="36"/>
                    </a:lnTo>
                    <a:lnTo>
                      <a:pt x="830" y="36"/>
                    </a:lnTo>
                    <a:lnTo>
                      <a:pt x="826" y="36"/>
                    </a:lnTo>
                    <a:lnTo>
                      <a:pt x="818" y="36"/>
                    </a:lnTo>
                    <a:lnTo>
                      <a:pt x="810" y="32"/>
                    </a:lnTo>
                    <a:lnTo>
                      <a:pt x="798" y="26"/>
                    </a:lnTo>
                    <a:lnTo>
                      <a:pt x="798" y="26"/>
                    </a:lnTo>
                    <a:lnTo>
                      <a:pt x="786" y="18"/>
                    </a:lnTo>
                    <a:lnTo>
                      <a:pt x="776" y="16"/>
                    </a:lnTo>
                    <a:lnTo>
                      <a:pt x="770" y="16"/>
                    </a:lnTo>
                    <a:lnTo>
                      <a:pt x="764" y="20"/>
                    </a:lnTo>
                    <a:lnTo>
                      <a:pt x="756" y="28"/>
                    </a:lnTo>
                    <a:lnTo>
                      <a:pt x="752" y="32"/>
                    </a:lnTo>
                    <a:lnTo>
                      <a:pt x="748" y="34"/>
                    </a:lnTo>
                    <a:lnTo>
                      <a:pt x="748" y="34"/>
                    </a:lnTo>
                    <a:lnTo>
                      <a:pt x="740" y="36"/>
                    </a:lnTo>
                    <a:lnTo>
                      <a:pt x="732" y="38"/>
                    </a:lnTo>
                    <a:lnTo>
                      <a:pt x="728" y="40"/>
                    </a:lnTo>
                    <a:lnTo>
                      <a:pt x="726" y="42"/>
                    </a:lnTo>
                    <a:lnTo>
                      <a:pt x="726" y="46"/>
                    </a:lnTo>
                    <a:lnTo>
                      <a:pt x="726" y="46"/>
                    </a:lnTo>
                    <a:close/>
                    <a:moveTo>
                      <a:pt x="1600" y="438"/>
                    </a:moveTo>
                    <a:lnTo>
                      <a:pt x="1600" y="438"/>
                    </a:lnTo>
                    <a:lnTo>
                      <a:pt x="1594" y="436"/>
                    </a:lnTo>
                    <a:lnTo>
                      <a:pt x="1588" y="434"/>
                    </a:lnTo>
                    <a:lnTo>
                      <a:pt x="1586" y="436"/>
                    </a:lnTo>
                    <a:lnTo>
                      <a:pt x="1588" y="438"/>
                    </a:lnTo>
                    <a:lnTo>
                      <a:pt x="1588" y="438"/>
                    </a:lnTo>
                    <a:lnTo>
                      <a:pt x="1590" y="442"/>
                    </a:lnTo>
                    <a:lnTo>
                      <a:pt x="1590" y="444"/>
                    </a:lnTo>
                    <a:lnTo>
                      <a:pt x="1592" y="446"/>
                    </a:lnTo>
                    <a:lnTo>
                      <a:pt x="1596" y="448"/>
                    </a:lnTo>
                    <a:lnTo>
                      <a:pt x="1596" y="448"/>
                    </a:lnTo>
                    <a:lnTo>
                      <a:pt x="1600" y="448"/>
                    </a:lnTo>
                    <a:lnTo>
                      <a:pt x="1604" y="446"/>
                    </a:lnTo>
                    <a:lnTo>
                      <a:pt x="1604" y="444"/>
                    </a:lnTo>
                    <a:lnTo>
                      <a:pt x="1600" y="438"/>
                    </a:lnTo>
                    <a:lnTo>
                      <a:pt x="1600" y="438"/>
                    </a:lnTo>
                    <a:close/>
                    <a:moveTo>
                      <a:pt x="1606" y="1248"/>
                    </a:moveTo>
                    <a:lnTo>
                      <a:pt x="1606" y="1248"/>
                    </a:lnTo>
                    <a:lnTo>
                      <a:pt x="1606" y="1252"/>
                    </a:lnTo>
                    <a:lnTo>
                      <a:pt x="1604" y="1260"/>
                    </a:lnTo>
                    <a:lnTo>
                      <a:pt x="1604" y="1268"/>
                    </a:lnTo>
                    <a:lnTo>
                      <a:pt x="1604" y="1272"/>
                    </a:lnTo>
                    <a:lnTo>
                      <a:pt x="1606" y="1274"/>
                    </a:lnTo>
                    <a:lnTo>
                      <a:pt x="1606" y="1274"/>
                    </a:lnTo>
                    <a:lnTo>
                      <a:pt x="1608" y="1274"/>
                    </a:lnTo>
                    <a:lnTo>
                      <a:pt x="1610" y="1270"/>
                    </a:lnTo>
                    <a:lnTo>
                      <a:pt x="1610" y="1260"/>
                    </a:lnTo>
                    <a:lnTo>
                      <a:pt x="1610" y="1260"/>
                    </a:lnTo>
                    <a:lnTo>
                      <a:pt x="1614" y="1250"/>
                    </a:lnTo>
                    <a:lnTo>
                      <a:pt x="1620" y="1240"/>
                    </a:lnTo>
                    <a:lnTo>
                      <a:pt x="1620" y="1240"/>
                    </a:lnTo>
                    <a:lnTo>
                      <a:pt x="1620" y="1236"/>
                    </a:lnTo>
                    <a:lnTo>
                      <a:pt x="1618" y="1232"/>
                    </a:lnTo>
                    <a:lnTo>
                      <a:pt x="1618" y="1228"/>
                    </a:lnTo>
                    <a:lnTo>
                      <a:pt x="1616" y="1224"/>
                    </a:lnTo>
                    <a:lnTo>
                      <a:pt x="1616" y="1224"/>
                    </a:lnTo>
                    <a:lnTo>
                      <a:pt x="1616" y="1220"/>
                    </a:lnTo>
                    <a:lnTo>
                      <a:pt x="1614" y="1220"/>
                    </a:lnTo>
                    <a:lnTo>
                      <a:pt x="1612" y="1224"/>
                    </a:lnTo>
                    <a:lnTo>
                      <a:pt x="1612" y="1230"/>
                    </a:lnTo>
                    <a:lnTo>
                      <a:pt x="1612" y="1230"/>
                    </a:lnTo>
                    <a:lnTo>
                      <a:pt x="1612" y="1234"/>
                    </a:lnTo>
                    <a:lnTo>
                      <a:pt x="1612" y="1236"/>
                    </a:lnTo>
                    <a:lnTo>
                      <a:pt x="1608" y="1240"/>
                    </a:lnTo>
                    <a:lnTo>
                      <a:pt x="1606" y="1244"/>
                    </a:lnTo>
                    <a:lnTo>
                      <a:pt x="1604" y="1246"/>
                    </a:lnTo>
                    <a:lnTo>
                      <a:pt x="1606" y="1248"/>
                    </a:lnTo>
                    <a:lnTo>
                      <a:pt x="1606" y="124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sp>
            <p:nvSpPr>
              <p:cNvPr id="88" name="Freeform 6152"/>
              <p:cNvSpPr>
                <a:spLocks/>
              </p:cNvSpPr>
              <p:nvPr/>
            </p:nvSpPr>
            <p:spPr bwMode="auto">
              <a:xfrm>
                <a:off x="4751495" y="3153578"/>
                <a:ext cx="1660" cy="3318"/>
              </a:xfrm>
              <a:custGeom>
                <a:avLst/>
                <a:gdLst>
                  <a:gd name="T0" fmla="*/ 2147483647 w 4"/>
                  <a:gd name="T1" fmla="*/ 2147483647 h 6"/>
                  <a:gd name="T2" fmla="*/ 2147483647 w 4"/>
                  <a:gd name="T3" fmla="*/ 2147483647 h 6"/>
                  <a:gd name="T4" fmla="*/ 2147483647 w 4"/>
                  <a:gd name="T5" fmla="*/ 2147483647 h 6"/>
                  <a:gd name="T6" fmla="*/ 0 w 4"/>
                  <a:gd name="T7" fmla="*/ 0 h 6"/>
                  <a:gd name="T8" fmla="*/ 2147483647 w 4"/>
                  <a:gd name="T9" fmla="*/ 2147483647 h 6"/>
                  <a:gd name="T10" fmla="*/ 2147483647 w 4"/>
                  <a:gd name="T11" fmla="*/ 2147483647 h 6"/>
                  <a:gd name="T12" fmla="*/ 2147483647 w 4"/>
                  <a:gd name="T13" fmla="*/ 2147483647 h 6"/>
                  <a:gd name="T14" fmla="*/ 2147483647 w 4"/>
                  <a:gd name="T15" fmla="*/ 2147483647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4" y="6"/>
                    </a:moveTo>
                    <a:lnTo>
                      <a:pt x="4" y="6"/>
                    </a:lnTo>
                    <a:lnTo>
                      <a:pt x="4" y="4"/>
                    </a:lnTo>
                    <a:lnTo>
                      <a:pt x="0" y="0"/>
                    </a:lnTo>
                    <a:lnTo>
                      <a:pt x="2" y="4"/>
                    </a:lnTo>
                    <a:lnTo>
                      <a:pt x="4"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9" name="Freeform 6153"/>
              <p:cNvSpPr>
                <a:spLocks noEditPoints="1"/>
              </p:cNvSpPr>
              <p:nvPr/>
            </p:nvSpPr>
            <p:spPr bwMode="auto">
              <a:xfrm>
                <a:off x="3608252" y="2972752"/>
                <a:ext cx="1589590" cy="2077008"/>
              </a:xfrm>
              <a:custGeom>
                <a:avLst/>
                <a:gdLst/>
                <a:ahLst/>
                <a:cxnLst>
                  <a:cxn ang="0">
                    <a:pos x="2626" y="2588"/>
                  </a:cxn>
                  <a:cxn ang="0">
                    <a:pos x="2478" y="2732"/>
                  </a:cxn>
                  <a:cxn ang="0">
                    <a:pos x="2470" y="2928"/>
                  </a:cxn>
                  <a:cxn ang="0">
                    <a:pos x="2514" y="3136"/>
                  </a:cxn>
                  <a:cxn ang="0">
                    <a:pos x="2698" y="2722"/>
                  </a:cxn>
                  <a:cxn ang="0">
                    <a:pos x="2736" y="2624"/>
                  </a:cxn>
                  <a:cxn ang="0">
                    <a:pos x="2676" y="1330"/>
                  </a:cxn>
                  <a:cxn ang="0">
                    <a:pos x="2484" y="1368"/>
                  </a:cxn>
                  <a:cxn ang="0">
                    <a:pos x="2416" y="1236"/>
                  </a:cxn>
                  <a:cxn ang="0">
                    <a:pos x="2338" y="1150"/>
                  </a:cxn>
                  <a:cxn ang="0">
                    <a:pos x="2260" y="998"/>
                  </a:cxn>
                  <a:cxn ang="0">
                    <a:pos x="2208" y="850"/>
                  </a:cxn>
                  <a:cxn ang="0">
                    <a:pos x="2132" y="716"/>
                  </a:cxn>
                  <a:cxn ang="0">
                    <a:pos x="2050" y="494"/>
                  </a:cxn>
                  <a:cxn ang="0">
                    <a:pos x="1990" y="314"/>
                  </a:cxn>
                  <a:cxn ang="0">
                    <a:pos x="1886" y="346"/>
                  </a:cxn>
                  <a:cxn ang="0">
                    <a:pos x="1718" y="308"/>
                  </a:cxn>
                  <a:cxn ang="0">
                    <a:pos x="1550" y="246"/>
                  </a:cxn>
                  <a:cxn ang="0">
                    <a:pos x="1376" y="328"/>
                  </a:cxn>
                  <a:cxn ang="0">
                    <a:pos x="1172" y="224"/>
                  </a:cxn>
                  <a:cxn ang="0">
                    <a:pos x="1152" y="110"/>
                  </a:cxn>
                  <a:cxn ang="0">
                    <a:pos x="1122" y="32"/>
                  </a:cxn>
                  <a:cxn ang="0">
                    <a:pos x="998" y="14"/>
                  </a:cxn>
                  <a:cxn ang="0">
                    <a:pos x="842" y="28"/>
                  </a:cxn>
                  <a:cxn ang="0">
                    <a:pos x="668" y="86"/>
                  </a:cxn>
                  <a:cxn ang="0">
                    <a:pos x="542" y="114"/>
                  </a:cxn>
                  <a:cxn ang="0">
                    <a:pos x="332" y="256"/>
                  </a:cxn>
                  <a:cxn ang="0">
                    <a:pos x="196" y="492"/>
                  </a:cxn>
                  <a:cxn ang="0">
                    <a:pos x="60" y="714"/>
                  </a:cxn>
                  <a:cxn ang="0">
                    <a:pos x="24" y="846"/>
                  </a:cxn>
                  <a:cxn ang="0">
                    <a:pos x="60" y="986"/>
                  </a:cxn>
                  <a:cxn ang="0">
                    <a:pos x="40" y="1222"/>
                  </a:cxn>
                  <a:cxn ang="0">
                    <a:pos x="54" y="1264"/>
                  </a:cxn>
                  <a:cxn ang="0">
                    <a:pos x="54" y="1300"/>
                  </a:cxn>
                  <a:cxn ang="0">
                    <a:pos x="86" y="1336"/>
                  </a:cxn>
                  <a:cxn ang="0">
                    <a:pos x="112" y="1360"/>
                  </a:cxn>
                  <a:cxn ang="0">
                    <a:pos x="168" y="1432"/>
                  </a:cxn>
                  <a:cxn ang="0">
                    <a:pos x="182" y="1482"/>
                  </a:cxn>
                  <a:cxn ang="0">
                    <a:pos x="270" y="1570"/>
                  </a:cxn>
                  <a:cxn ang="0">
                    <a:pos x="504" y="1632"/>
                  </a:cxn>
                  <a:cxn ang="0">
                    <a:pos x="648" y="1636"/>
                  </a:cxn>
                  <a:cxn ang="0">
                    <a:pos x="844" y="1564"/>
                  </a:cxn>
                  <a:cxn ang="0">
                    <a:pos x="996" y="1658"/>
                  </a:cxn>
                  <a:cxn ang="0">
                    <a:pos x="1088" y="1684"/>
                  </a:cxn>
                  <a:cxn ang="0">
                    <a:pos x="1082" y="1824"/>
                  </a:cxn>
                  <a:cxn ang="0">
                    <a:pos x="1104" y="1880"/>
                  </a:cxn>
                  <a:cxn ang="0">
                    <a:pos x="1088" y="1988"/>
                  </a:cxn>
                  <a:cxn ang="0">
                    <a:pos x="1208" y="2168"/>
                  </a:cxn>
                  <a:cxn ang="0">
                    <a:pos x="1256" y="2396"/>
                  </a:cxn>
                  <a:cxn ang="0">
                    <a:pos x="1176" y="2736"/>
                  </a:cxn>
                  <a:cxn ang="0">
                    <a:pos x="1334" y="3266"/>
                  </a:cxn>
                  <a:cxn ang="0">
                    <a:pos x="1424" y="3532"/>
                  </a:cxn>
                  <a:cxn ang="0">
                    <a:pos x="1472" y="3606"/>
                  </a:cxn>
                  <a:cxn ang="0">
                    <a:pos x="1590" y="3598"/>
                  </a:cxn>
                  <a:cxn ang="0">
                    <a:pos x="1740" y="3574"/>
                  </a:cxn>
                  <a:cxn ang="0">
                    <a:pos x="2018" y="3276"/>
                  </a:cxn>
                  <a:cxn ang="0">
                    <a:pos x="2134" y="3056"/>
                  </a:cxn>
                  <a:cxn ang="0">
                    <a:pos x="2108" y="2854"/>
                  </a:cxn>
                  <a:cxn ang="0">
                    <a:pos x="2336" y="2636"/>
                  </a:cxn>
                  <a:cxn ang="0">
                    <a:pos x="2324" y="2384"/>
                  </a:cxn>
                  <a:cxn ang="0">
                    <a:pos x="2282" y="2206"/>
                  </a:cxn>
                  <a:cxn ang="0">
                    <a:pos x="2350" y="1998"/>
                  </a:cxn>
                  <a:cxn ang="0">
                    <a:pos x="2646" y="1646"/>
                  </a:cxn>
                </a:cxnLst>
                <a:rect l="0" t="0" r="r" b="b"/>
                <a:pathLst>
                  <a:path w="2776" h="3628">
                    <a:moveTo>
                      <a:pt x="2710" y="2504"/>
                    </a:moveTo>
                    <a:lnTo>
                      <a:pt x="2710" y="2504"/>
                    </a:lnTo>
                    <a:lnTo>
                      <a:pt x="2706" y="2498"/>
                    </a:lnTo>
                    <a:lnTo>
                      <a:pt x="2702" y="2492"/>
                    </a:lnTo>
                    <a:lnTo>
                      <a:pt x="2698" y="2476"/>
                    </a:lnTo>
                    <a:lnTo>
                      <a:pt x="2696" y="2470"/>
                    </a:lnTo>
                    <a:lnTo>
                      <a:pt x="2692" y="2466"/>
                    </a:lnTo>
                    <a:lnTo>
                      <a:pt x="2690" y="2468"/>
                    </a:lnTo>
                    <a:lnTo>
                      <a:pt x="2684" y="2472"/>
                    </a:lnTo>
                    <a:lnTo>
                      <a:pt x="2684" y="2472"/>
                    </a:lnTo>
                    <a:lnTo>
                      <a:pt x="2680" y="2480"/>
                    </a:lnTo>
                    <a:lnTo>
                      <a:pt x="2678" y="2486"/>
                    </a:lnTo>
                    <a:lnTo>
                      <a:pt x="2676" y="2508"/>
                    </a:lnTo>
                    <a:lnTo>
                      <a:pt x="2676" y="2508"/>
                    </a:lnTo>
                    <a:lnTo>
                      <a:pt x="2674" y="2518"/>
                    </a:lnTo>
                    <a:lnTo>
                      <a:pt x="2672" y="2526"/>
                    </a:lnTo>
                    <a:lnTo>
                      <a:pt x="2668" y="2532"/>
                    </a:lnTo>
                    <a:lnTo>
                      <a:pt x="2664" y="2536"/>
                    </a:lnTo>
                    <a:lnTo>
                      <a:pt x="2656" y="2542"/>
                    </a:lnTo>
                    <a:lnTo>
                      <a:pt x="2648" y="2544"/>
                    </a:lnTo>
                    <a:lnTo>
                      <a:pt x="2634" y="2546"/>
                    </a:lnTo>
                    <a:lnTo>
                      <a:pt x="2632" y="2548"/>
                    </a:lnTo>
                    <a:lnTo>
                      <a:pt x="2632" y="2554"/>
                    </a:lnTo>
                    <a:lnTo>
                      <a:pt x="2632" y="2554"/>
                    </a:lnTo>
                    <a:lnTo>
                      <a:pt x="2638" y="2566"/>
                    </a:lnTo>
                    <a:lnTo>
                      <a:pt x="2636" y="2572"/>
                    </a:lnTo>
                    <a:lnTo>
                      <a:pt x="2636" y="2576"/>
                    </a:lnTo>
                    <a:lnTo>
                      <a:pt x="2626" y="2588"/>
                    </a:lnTo>
                    <a:lnTo>
                      <a:pt x="2606" y="2608"/>
                    </a:lnTo>
                    <a:lnTo>
                      <a:pt x="2606" y="2608"/>
                    </a:lnTo>
                    <a:lnTo>
                      <a:pt x="2596" y="2618"/>
                    </a:lnTo>
                    <a:lnTo>
                      <a:pt x="2588" y="2628"/>
                    </a:lnTo>
                    <a:lnTo>
                      <a:pt x="2578" y="2640"/>
                    </a:lnTo>
                    <a:lnTo>
                      <a:pt x="2572" y="2646"/>
                    </a:lnTo>
                    <a:lnTo>
                      <a:pt x="2564" y="2650"/>
                    </a:lnTo>
                    <a:lnTo>
                      <a:pt x="2554" y="2652"/>
                    </a:lnTo>
                    <a:lnTo>
                      <a:pt x="2538" y="2656"/>
                    </a:lnTo>
                    <a:lnTo>
                      <a:pt x="2538" y="2656"/>
                    </a:lnTo>
                    <a:lnTo>
                      <a:pt x="2530" y="2658"/>
                    </a:lnTo>
                    <a:lnTo>
                      <a:pt x="2526" y="2660"/>
                    </a:lnTo>
                    <a:lnTo>
                      <a:pt x="2522" y="2664"/>
                    </a:lnTo>
                    <a:lnTo>
                      <a:pt x="2520" y="2668"/>
                    </a:lnTo>
                    <a:lnTo>
                      <a:pt x="2516" y="2670"/>
                    </a:lnTo>
                    <a:lnTo>
                      <a:pt x="2512" y="2670"/>
                    </a:lnTo>
                    <a:lnTo>
                      <a:pt x="2506" y="2670"/>
                    </a:lnTo>
                    <a:lnTo>
                      <a:pt x="2506" y="2670"/>
                    </a:lnTo>
                    <a:lnTo>
                      <a:pt x="2500" y="2670"/>
                    </a:lnTo>
                    <a:lnTo>
                      <a:pt x="2496" y="2670"/>
                    </a:lnTo>
                    <a:lnTo>
                      <a:pt x="2496" y="2672"/>
                    </a:lnTo>
                    <a:lnTo>
                      <a:pt x="2496" y="2676"/>
                    </a:lnTo>
                    <a:lnTo>
                      <a:pt x="2494" y="2690"/>
                    </a:lnTo>
                    <a:lnTo>
                      <a:pt x="2492" y="2700"/>
                    </a:lnTo>
                    <a:lnTo>
                      <a:pt x="2486" y="2712"/>
                    </a:lnTo>
                    <a:lnTo>
                      <a:pt x="2486" y="2712"/>
                    </a:lnTo>
                    <a:lnTo>
                      <a:pt x="2480" y="2724"/>
                    </a:lnTo>
                    <a:lnTo>
                      <a:pt x="2478" y="2732"/>
                    </a:lnTo>
                    <a:lnTo>
                      <a:pt x="2478" y="2738"/>
                    </a:lnTo>
                    <a:lnTo>
                      <a:pt x="2478" y="2742"/>
                    </a:lnTo>
                    <a:lnTo>
                      <a:pt x="2482" y="2750"/>
                    </a:lnTo>
                    <a:lnTo>
                      <a:pt x="2482" y="2754"/>
                    </a:lnTo>
                    <a:lnTo>
                      <a:pt x="2482" y="2762"/>
                    </a:lnTo>
                    <a:lnTo>
                      <a:pt x="2482" y="2762"/>
                    </a:lnTo>
                    <a:lnTo>
                      <a:pt x="2480" y="2772"/>
                    </a:lnTo>
                    <a:lnTo>
                      <a:pt x="2480" y="2778"/>
                    </a:lnTo>
                    <a:lnTo>
                      <a:pt x="2484" y="2790"/>
                    </a:lnTo>
                    <a:lnTo>
                      <a:pt x="2488" y="2798"/>
                    </a:lnTo>
                    <a:lnTo>
                      <a:pt x="2488" y="2802"/>
                    </a:lnTo>
                    <a:lnTo>
                      <a:pt x="2488" y="2806"/>
                    </a:lnTo>
                    <a:lnTo>
                      <a:pt x="2488" y="2806"/>
                    </a:lnTo>
                    <a:lnTo>
                      <a:pt x="2488" y="2814"/>
                    </a:lnTo>
                    <a:lnTo>
                      <a:pt x="2490" y="2820"/>
                    </a:lnTo>
                    <a:lnTo>
                      <a:pt x="2494" y="2832"/>
                    </a:lnTo>
                    <a:lnTo>
                      <a:pt x="2498" y="2848"/>
                    </a:lnTo>
                    <a:lnTo>
                      <a:pt x="2498" y="2848"/>
                    </a:lnTo>
                    <a:lnTo>
                      <a:pt x="2498" y="2860"/>
                    </a:lnTo>
                    <a:lnTo>
                      <a:pt x="2496" y="2868"/>
                    </a:lnTo>
                    <a:lnTo>
                      <a:pt x="2492" y="2876"/>
                    </a:lnTo>
                    <a:lnTo>
                      <a:pt x="2488" y="2884"/>
                    </a:lnTo>
                    <a:lnTo>
                      <a:pt x="2480" y="2900"/>
                    </a:lnTo>
                    <a:lnTo>
                      <a:pt x="2476" y="2908"/>
                    </a:lnTo>
                    <a:lnTo>
                      <a:pt x="2474" y="2916"/>
                    </a:lnTo>
                    <a:lnTo>
                      <a:pt x="2474" y="2916"/>
                    </a:lnTo>
                    <a:lnTo>
                      <a:pt x="2472" y="2924"/>
                    </a:lnTo>
                    <a:lnTo>
                      <a:pt x="2470" y="2928"/>
                    </a:lnTo>
                    <a:lnTo>
                      <a:pt x="2466" y="2928"/>
                    </a:lnTo>
                    <a:lnTo>
                      <a:pt x="2464" y="2928"/>
                    </a:lnTo>
                    <a:lnTo>
                      <a:pt x="2462" y="2930"/>
                    </a:lnTo>
                    <a:lnTo>
                      <a:pt x="2458" y="2934"/>
                    </a:lnTo>
                    <a:lnTo>
                      <a:pt x="2454" y="2942"/>
                    </a:lnTo>
                    <a:lnTo>
                      <a:pt x="2450" y="2954"/>
                    </a:lnTo>
                    <a:lnTo>
                      <a:pt x="2450" y="2954"/>
                    </a:lnTo>
                    <a:lnTo>
                      <a:pt x="2448" y="2968"/>
                    </a:lnTo>
                    <a:lnTo>
                      <a:pt x="2446" y="2980"/>
                    </a:lnTo>
                    <a:lnTo>
                      <a:pt x="2448" y="2990"/>
                    </a:lnTo>
                    <a:lnTo>
                      <a:pt x="2448" y="2998"/>
                    </a:lnTo>
                    <a:lnTo>
                      <a:pt x="2456" y="3012"/>
                    </a:lnTo>
                    <a:lnTo>
                      <a:pt x="2464" y="3026"/>
                    </a:lnTo>
                    <a:lnTo>
                      <a:pt x="2464" y="3026"/>
                    </a:lnTo>
                    <a:lnTo>
                      <a:pt x="2466" y="3034"/>
                    </a:lnTo>
                    <a:lnTo>
                      <a:pt x="2466" y="3040"/>
                    </a:lnTo>
                    <a:lnTo>
                      <a:pt x="2466" y="3054"/>
                    </a:lnTo>
                    <a:lnTo>
                      <a:pt x="2464" y="3062"/>
                    </a:lnTo>
                    <a:lnTo>
                      <a:pt x="2466" y="3072"/>
                    </a:lnTo>
                    <a:lnTo>
                      <a:pt x="2468" y="3084"/>
                    </a:lnTo>
                    <a:lnTo>
                      <a:pt x="2474" y="3100"/>
                    </a:lnTo>
                    <a:lnTo>
                      <a:pt x="2474" y="3100"/>
                    </a:lnTo>
                    <a:lnTo>
                      <a:pt x="2480" y="3114"/>
                    </a:lnTo>
                    <a:lnTo>
                      <a:pt x="2486" y="3122"/>
                    </a:lnTo>
                    <a:lnTo>
                      <a:pt x="2492" y="3126"/>
                    </a:lnTo>
                    <a:lnTo>
                      <a:pt x="2498" y="3130"/>
                    </a:lnTo>
                    <a:lnTo>
                      <a:pt x="2510" y="3134"/>
                    </a:lnTo>
                    <a:lnTo>
                      <a:pt x="2514" y="3136"/>
                    </a:lnTo>
                    <a:lnTo>
                      <a:pt x="2520" y="3142"/>
                    </a:lnTo>
                    <a:lnTo>
                      <a:pt x="2520" y="3142"/>
                    </a:lnTo>
                    <a:lnTo>
                      <a:pt x="2522" y="3144"/>
                    </a:lnTo>
                    <a:lnTo>
                      <a:pt x="2526" y="3146"/>
                    </a:lnTo>
                    <a:lnTo>
                      <a:pt x="2534" y="3146"/>
                    </a:lnTo>
                    <a:lnTo>
                      <a:pt x="2544" y="3144"/>
                    </a:lnTo>
                    <a:lnTo>
                      <a:pt x="2554" y="3140"/>
                    </a:lnTo>
                    <a:lnTo>
                      <a:pt x="2574" y="3128"/>
                    </a:lnTo>
                    <a:lnTo>
                      <a:pt x="2584" y="3124"/>
                    </a:lnTo>
                    <a:lnTo>
                      <a:pt x="2594" y="3122"/>
                    </a:lnTo>
                    <a:lnTo>
                      <a:pt x="2594" y="3122"/>
                    </a:lnTo>
                    <a:lnTo>
                      <a:pt x="2598" y="3120"/>
                    </a:lnTo>
                    <a:lnTo>
                      <a:pt x="2602" y="3116"/>
                    </a:lnTo>
                    <a:lnTo>
                      <a:pt x="2610" y="3096"/>
                    </a:lnTo>
                    <a:lnTo>
                      <a:pt x="2620" y="3068"/>
                    </a:lnTo>
                    <a:lnTo>
                      <a:pt x="2628" y="3034"/>
                    </a:lnTo>
                    <a:lnTo>
                      <a:pt x="2648" y="2952"/>
                    </a:lnTo>
                    <a:lnTo>
                      <a:pt x="2668" y="2870"/>
                    </a:lnTo>
                    <a:lnTo>
                      <a:pt x="2668" y="2870"/>
                    </a:lnTo>
                    <a:lnTo>
                      <a:pt x="2682" y="2822"/>
                    </a:lnTo>
                    <a:lnTo>
                      <a:pt x="2694" y="2792"/>
                    </a:lnTo>
                    <a:lnTo>
                      <a:pt x="2696" y="2780"/>
                    </a:lnTo>
                    <a:lnTo>
                      <a:pt x="2700" y="2768"/>
                    </a:lnTo>
                    <a:lnTo>
                      <a:pt x="2700" y="2756"/>
                    </a:lnTo>
                    <a:lnTo>
                      <a:pt x="2698" y="2742"/>
                    </a:lnTo>
                    <a:lnTo>
                      <a:pt x="2698" y="2742"/>
                    </a:lnTo>
                    <a:lnTo>
                      <a:pt x="2698" y="2730"/>
                    </a:lnTo>
                    <a:lnTo>
                      <a:pt x="2698" y="2722"/>
                    </a:lnTo>
                    <a:lnTo>
                      <a:pt x="2700" y="2718"/>
                    </a:lnTo>
                    <a:lnTo>
                      <a:pt x="2704" y="2714"/>
                    </a:lnTo>
                    <a:lnTo>
                      <a:pt x="2710" y="2710"/>
                    </a:lnTo>
                    <a:lnTo>
                      <a:pt x="2712" y="2706"/>
                    </a:lnTo>
                    <a:lnTo>
                      <a:pt x="2710" y="2700"/>
                    </a:lnTo>
                    <a:lnTo>
                      <a:pt x="2710" y="2700"/>
                    </a:lnTo>
                    <a:lnTo>
                      <a:pt x="2710" y="2690"/>
                    </a:lnTo>
                    <a:lnTo>
                      <a:pt x="2712" y="2684"/>
                    </a:lnTo>
                    <a:lnTo>
                      <a:pt x="2712" y="2674"/>
                    </a:lnTo>
                    <a:lnTo>
                      <a:pt x="2712" y="2670"/>
                    </a:lnTo>
                    <a:lnTo>
                      <a:pt x="2710" y="2662"/>
                    </a:lnTo>
                    <a:lnTo>
                      <a:pt x="2710" y="2662"/>
                    </a:lnTo>
                    <a:lnTo>
                      <a:pt x="2706" y="2654"/>
                    </a:lnTo>
                    <a:lnTo>
                      <a:pt x="2706" y="2648"/>
                    </a:lnTo>
                    <a:lnTo>
                      <a:pt x="2706" y="2642"/>
                    </a:lnTo>
                    <a:lnTo>
                      <a:pt x="2708" y="2638"/>
                    </a:lnTo>
                    <a:lnTo>
                      <a:pt x="2710" y="2636"/>
                    </a:lnTo>
                    <a:lnTo>
                      <a:pt x="2714" y="2640"/>
                    </a:lnTo>
                    <a:lnTo>
                      <a:pt x="2718" y="2646"/>
                    </a:lnTo>
                    <a:lnTo>
                      <a:pt x="2722" y="2658"/>
                    </a:lnTo>
                    <a:lnTo>
                      <a:pt x="2722" y="2658"/>
                    </a:lnTo>
                    <a:lnTo>
                      <a:pt x="2724" y="2662"/>
                    </a:lnTo>
                    <a:lnTo>
                      <a:pt x="2728" y="2662"/>
                    </a:lnTo>
                    <a:lnTo>
                      <a:pt x="2732" y="2658"/>
                    </a:lnTo>
                    <a:lnTo>
                      <a:pt x="2734" y="2652"/>
                    </a:lnTo>
                    <a:lnTo>
                      <a:pt x="2736" y="2644"/>
                    </a:lnTo>
                    <a:lnTo>
                      <a:pt x="2738" y="2634"/>
                    </a:lnTo>
                    <a:lnTo>
                      <a:pt x="2736" y="2624"/>
                    </a:lnTo>
                    <a:lnTo>
                      <a:pt x="2734" y="2614"/>
                    </a:lnTo>
                    <a:lnTo>
                      <a:pt x="2734" y="2614"/>
                    </a:lnTo>
                    <a:lnTo>
                      <a:pt x="2732" y="2604"/>
                    </a:lnTo>
                    <a:lnTo>
                      <a:pt x="2730" y="2590"/>
                    </a:lnTo>
                    <a:lnTo>
                      <a:pt x="2724" y="2556"/>
                    </a:lnTo>
                    <a:lnTo>
                      <a:pt x="2720" y="2522"/>
                    </a:lnTo>
                    <a:lnTo>
                      <a:pt x="2716" y="2510"/>
                    </a:lnTo>
                    <a:lnTo>
                      <a:pt x="2710" y="2504"/>
                    </a:lnTo>
                    <a:lnTo>
                      <a:pt x="2710" y="2504"/>
                    </a:lnTo>
                    <a:close/>
                    <a:moveTo>
                      <a:pt x="2770" y="1364"/>
                    </a:moveTo>
                    <a:lnTo>
                      <a:pt x="2770" y="1364"/>
                    </a:lnTo>
                    <a:lnTo>
                      <a:pt x="2764" y="1352"/>
                    </a:lnTo>
                    <a:lnTo>
                      <a:pt x="2762" y="1342"/>
                    </a:lnTo>
                    <a:lnTo>
                      <a:pt x="2764" y="1332"/>
                    </a:lnTo>
                    <a:lnTo>
                      <a:pt x="2766" y="1322"/>
                    </a:lnTo>
                    <a:lnTo>
                      <a:pt x="2770" y="1316"/>
                    </a:lnTo>
                    <a:lnTo>
                      <a:pt x="2770" y="1308"/>
                    </a:lnTo>
                    <a:lnTo>
                      <a:pt x="2768" y="1304"/>
                    </a:lnTo>
                    <a:lnTo>
                      <a:pt x="2762" y="1300"/>
                    </a:lnTo>
                    <a:lnTo>
                      <a:pt x="2762" y="1300"/>
                    </a:lnTo>
                    <a:lnTo>
                      <a:pt x="2752" y="1300"/>
                    </a:lnTo>
                    <a:lnTo>
                      <a:pt x="2746" y="1302"/>
                    </a:lnTo>
                    <a:lnTo>
                      <a:pt x="2730" y="1314"/>
                    </a:lnTo>
                    <a:lnTo>
                      <a:pt x="2720" y="1320"/>
                    </a:lnTo>
                    <a:lnTo>
                      <a:pt x="2708" y="1326"/>
                    </a:lnTo>
                    <a:lnTo>
                      <a:pt x="2694" y="1330"/>
                    </a:lnTo>
                    <a:lnTo>
                      <a:pt x="2676" y="1330"/>
                    </a:lnTo>
                    <a:lnTo>
                      <a:pt x="2676" y="1330"/>
                    </a:lnTo>
                    <a:lnTo>
                      <a:pt x="2660" y="1332"/>
                    </a:lnTo>
                    <a:lnTo>
                      <a:pt x="2650" y="1332"/>
                    </a:lnTo>
                    <a:lnTo>
                      <a:pt x="2646" y="1334"/>
                    </a:lnTo>
                    <a:lnTo>
                      <a:pt x="2646" y="1336"/>
                    </a:lnTo>
                    <a:lnTo>
                      <a:pt x="2646" y="1338"/>
                    </a:lnTo>
                    <a:lnTo>
                      <a:pt x="2644" y="1340"/>
                    </a:lnTo>
                    <a:lnTo>
                      <a:pt x="2640" y="1340"/>
                    </a:lnTo>
                    <a:lnTo>
                      <a:pt x="2630" y="1340"/>
                    </a:lnTo>
                    <a:lnTo>
                      <a:pt x="2630" y="1340"/>
                    </a:lnTo>
                    <a:lnTo>
                      <a:pt x="2618" y="1340"/>
                    </a:lnTo>
                    <a:lnTo>
                      <a:pt x="2608" y="1342"/>
                    </a:lnTo>
                    <a:lnTo>
                      <a:pt x="2602" y="1346"/>
                    </a:lnTo>
                    <a:lnTo>
                      <a:pt x="2596" y="1352"/>
                    </a:lnTo>
                    <a:lnTo>
                      <a:pt x="2590" y="1356"/>
                    </a:lnTo>
                    <a:lnTo>
                      <a:pt x="2584" y="1360"/>
                    </a:lnTo>
                    <a:lnTo>
                      <a:pt x="2574" y="1360"/>
                    </a:lnTo>
                    <a:lnTo>
                      <a:pt x="2564" y="1358"/>
                    </a:lnTo>
                    <a:lnTo>
                      <a:pt x="2564" y="1358"/>
                    </a:lnTo>
                    <a:lnTo>
                      <a:pt x="2552" y="1356"/>
                    </a:lnTo>
                    <a:lnTo>
                      <a:pt x="2542" y="1356"/>
                    </a:lnTo>
                    <a:lnTo>
                      <a:pt x="2534" y="1360"/>
                    </a:lnTo>
                    <a:lnTo>
                      <a:pt x="2528" y="1366"/>
                    </a:lnTo>
                    <a:lnTo>
                      <a:pt x="2520" y="1370"/>
                    </a:lnTo>
                    <a:lnTo>
                      <a:pt x="2512" y="1374"/>
                    </a:lnTo>
                    <a:lnTo>
                      <a:pt x="2504" y="1376"/>
                    </a:lnTo>
                    <a:lnTo>
                      <a:pt x="2494" y="1374"/>
                    </a:lnTo>
                    <a:lnTo>
                      <a:pt x="2494" y="1374"/>
                    </a:lnTo>
                    <a:lnTo>
                      <a:pt x="2484" y="1368"/>
                    </a:lnTo>
                    <a:lnTo>
                      <a:pt x="2476" y="1362"/>
                    </a:lnTo>
                    <a:lnTo>
                      <a:pt x="2470" y="1356"/>
                    </a:lnTo>
                    <a:lnTo>
                      <a:pt x="2466" y="1350"/>
                    </a:lnTo>
                    <a:lnTo>
                      <a:pt x="2458" y="1334"/>
                    </a:lnTo>
                    <a:lnTo>
                      <a:pt x="2454" y="1328"/>
                    </a:lnTo>
                    <a:lnTo>
                      <a:pt x="2448" y="1320"/>
                    </a:lnTo>
                    <a:lnTo>
                      <a:pt x="2448" y="1320"/>
                    </a:lnTo>
                    <a:lnTo>
                      <a:pt x="2444" y="1318"/>
                    </a:lnTo>
                    <a:lnTo>
                      <a:pt x="2438" y="1316"/>
                    </a:lnTo>
                    <a:lnTo>
                      <a:pt x="2428" y="1316"/>
                    </a:lnTo>
                    <a:lnTo>
                      <a:pt x="2426" y="1316"/>
                    </a:lnTo>
                    <a:lnTo>
                      <a:pt x="2428" y="1314"/>
                    </a:lnTo>
                    <a:lnTo>
                      <a:pt x="2444" y="1302"/>
                    </a:lnTo>
                    <a:lnTo>
                      <a:pt x="2444" y="1302"/>
                    </a:lnTo>
                    <a:lnTo>
                      <a:pt x="2450" y="1298"/>
                    </a:lnTo>
                    <a:lnTo>
                      <a:pt x="2452" y="1294"/>
                    </a:lnTo>
                    <a:lnTo>
                      <a:pt x="2452" y="1288"/>
                    </a:lnTo>
                    <a:lnTo>
                      <a:pt x="2452" y="1284"/>
                    </a:lnTo>
                    <a:lnTo>
                      <a:pt x="2448" y="1272"/>
                    </a:lnTo>
                    <a:lnTo>
                      <a:pt x="2440" y="1260"/>
                    </a:lnTo>
                    <a:lnTo>
                      <a:pt x="2440" y="1260"/>
                    </a:lnTo>
                    <a:lnTo>
                      <a:pt x="2436" y="1256"/>
                    </a:lnTo>
                    <a:lnTo>
                      <a:pt x="2432" y="1254"/>
                    </a:lnTo>
                    <a:lnTo>
                      <a:pt x="2426" y="1252"/>
                    </a:lnTo>
                    <a:lnTo>
                      <a:pt x="2422" y="1244"/>
                    </a:lnTo>
                    <a:lnTo>
                      <a:pt x="2422" y="1244"/>
                    </a:lnTo>
                    <a:lnTo>
                      <a:pt x="2418" y="1238"/>
                    </a:lnTo>
                    <a:lnTo>
                      <a:pt x="2416" y="1236"/>
                    </a:lnTo>
                    <a:lnTo>
                      <a:pt x="2414" y="1232"/>
                    </a:lnTo>
                    <a:lnTo>
                      <a:pt x="2410" y="1224"/>
                    </a:lnTo>
                    <a:lnTo>
                      <a:pt x="2410" y="1224"/>
                    </a:lnTo>
                    <a:lnTo>
                      <a:pt x="2404" y="1214"/>
                    </a:lnTo>
                    <a:lnTo>
                      <a:pt x="2404" y="1214"/>
                    </a:lnTo>
                    <a:lnTo>
                      <a:pt x="2402" y="1214"/>
                    </a:lnTo>
                    <a:lnTo>
                      <a:pt x="2402" y="1216"/>
                    </a:lnTo>
                    <a:lnTo>
                      <a:pt x="2396" y="1208"/>
                    </a:lnTo>
                    <a:lnTo>
                      <a:pt x="2396" y="1208"/>
                    </a:lnTo>
                    <a:lnTo>
                      <a:pt x="2394" y="1204"/>
                    </a:lnTo>
                    <a:lnTo>
                      <a:pt x="2392" y="1202"/>
                    </a:lnTo>
                    <a:lnTo>
                      <a:pt x="2388" y="1202"/>
                    </a:lnTo>
                    <a:lnTo>
                      <a:pt x="2384" y="1202"/>
                    </a:lnTo>
                    <a:lnTo>
                      <a:pt x="2382" y="1198"/>
                    </a:lnTo>
                    <a:lnTo>
                      <a:pt x="2378" y="1192"/>
                    </a:lnTo>
                    <a:lnTo>
                      <a:pt x="2372" y="1182"/>
                    </a:lnTo>
                    <a:lnTo>
                      <a:pt x="2372" y="1182"/>
                    </a:lnTo>
                    <a:lnTo>
                      <a:pt x="2366" y="1172"/>
                    </a:lnTo>
                    <a:lnTo>
                      <a:pt x="2362" y="1166"/>
                    </a:lnTo>
                    <a:lnTo>
                      <a:pt x="2358" y="1164"/>
                    </a:lnTo>
                    <a:lnTo>
                      <a:pt x="2356" y="1164"/>
                    </a:lnTo>
                    <a:lnTo>
                      <a:pt x="2354" y="1166"/>
                    </a:lnTo>
                    <a:lnTo>
                      <a:pt x="2352" y="1166"/>
                    </a:lnTo>
                    <a:lnTo>
                      <a:pt x="2348" y="1162"/>
                    </a:lnTo>
                    <a:lnTo>
                      <a:pt x="2344" y="1156"/>
                    </a:lnTo>
                    <a:lnTo>
                      <a:pt x="2344" y="1156"/>
                    </a:lnTo>
                    <a:lnTo>
                      <a:pt x="2340" y="1150"/>
                    </a:lnTo>
                    <a:lnTo>
                      <a:pt x="2338" y="1150"/>
                    </a:lnTo>
                    <a:lnTo>
                      <a:pt x="2334" y="1150"/>
                    </a:lnTo>
                    <a:lnTo>
                      <a:pt x="2332" y="1152"/>
                    </a:lnTo>
                    <a:lnTo>
                      <a:pt x="2330" y="1152"/>
                    </a:lnTo>
                    <a:lnTo>
                      <a:pt x="2326" y="1150"/>
                    </a:lnTo>
                    <a:lnTo>
                      <a:pt x="2322" y="1144"/>
                    </a:lnTo>
                    <a:lnTo>
                      <a:pt x="2316" y="1132"/>
                    </a:lnTo>
                    <a:lnTo>
                      <a:pt x="2316" y="1132"/>
                    </a:lnTo>
                    <a:lnTo>
                      <a:pt x="2312" y="1124"/>
                    </a:lnTo>
                    <a:lnTo>
                      <a:pt x="2310" y="1122"/>
                    </a:lnTo>
                    <a:lnTo>
                      <a:pt x="2308" y="1124"/>
                    </a:lnTo>
                    <a:lnTo>
                      <a:pt x="2308" y="1128"/>
                    </a:lnTo>
                    <a:lnTo>
                      <a:pt x="2308" y="1140"/>
                    </a:lnTo>
                    <a:lnTo>
                      <a:pt x="2308" y="1144"/>
                    </a:lnTo>
                    <a:lnTo>
                      <a:pt x="2306" y="1146"/>
                    </a:lnTo>
                    <a:lnTo>
                      <a:pt x="2306" y="1146"/>
                    </a:lnTo>
                    <a:lnTo>
                      <a:pt x="2304" y="1142"/>
                    </a:lnTo>
                    <a:lnTo>
                      <a:pt x="2300" y="1136"/>
                    </a:lnTo>
                    <a:lnTo>
                      <a:pt x="2298" y="1126"/>
                    </a:lnTo>
                    <a:lnTo>
                      <a:pt x="2290" y="1110"/>
                    </a:lnTo>
                    <a:lnTo>
                      <a:pt x="2290" y="1110"/>
                    </a:lnTo>
                    <a:lnTo>
                      <a:pt x="2286" y="1100"/>
                    </a:lnTo>
                    <a:lnTo>
                      <a:pt x="2284" y="1086"/>
                    </a:lnTo>
                    <a:lnTo>
                      <a:pt x="2280" y="1058"/>
                    </a:lnTo>
                    <a:lnTo>
                      <a:pt x="2276" y="1042"/>
                    </a:lnTo>
                    <a:lnTo>
                      <a:pt x="2272" y="1026"/>
                    </a:lnTo>
                    <a:lnTo>
                      <a:pt x="2268" y="1012"/>
                    </a:lnTo>
                    <a:lnTo>
                      <a:pt x="2260" y="998"/>
                    </a:lnTo>
                    <a:lnTo>
                      <a:pt x="2260" y="998"/>
                    </a:lnTo>
                    <a:lnTo>
                      <a:pt x="2252" y="988"/>
                    </a:lnTo>
                    <a:lnTo>
                      <a:pt x="2248" y="984"/>
                    </a:lnTo>
                    <a:lnTo>
                      <a:pt x="2244" y="986"/>
                    </a:lnTo>
                    <a:lnTo>
                      <a:pt x="2244" y="986"/>
                    </a:lnTo>
                    <a:lnTo>
                      <a:pt x="2242" y="986"/>
                    </a:lnTo>
                    <a:lnTo>
                      <a:pt x="2240" y="984"/>
                    </a:lnTo>
                    <a:lnTo>
                      <a:pt x="2236" y="976"/>
                    </a:lnTo>
                    <a:lnTo>
                      <a:pt x="2230" y="968"/>
                    </a:lnTo>
                    <a:lnTo>
                      <a:pt x="2226" y="966"/>
                    </a:lnTo>
                    <a:lnTo>
                      <a:pt x="2222" y="966"/>
                    </a:lnTo>
                    <a:lnTo>
                      <a:pt x="2222" y="966"/>
                    </a:lnTo>
                    <a:lnTo>
                      <a:pt x="2220" y="966"/>
                    </a:lnTo>
                    <a:lnTo>
                      <a:pt x="2218" y="964"/>
                    </a:lnTo>
                    <a:lnTo>
                      <a:pt x="2212" y="956"/>
                    </a:lnTo>
                    <a:lnTo>
                      <a:pt x="2208" y="944"/>
                    </a:lnTo>
                    <a:lnTo>
                      <a:pt x="2206" y="928"/>
                    </a:lnTo>
                    <a:lnTo>
                      <a:pt x="2202" y="900"/>
                    </a:lnTo>
                    <a:lnTo>
                      <a:pt x="2200" y="890"/>
                    </a:lnTo>
                    <a:lnTo>
                      <a:pt x="2202" y="884"/>
                    </a:lnTo>
                    <a:lnTo>
                      <a:pt x="2202" y="884"/>
                    </a:lnTo>
                    <a:lnTo>
                      <a:pt x="2204" y="876"/>
                    </a:lnTo>
                    <a:lnTo>
                      <a:pt x="2204" y="870"/>
                    </a:lnTo>
                    <a:lnTo>
                      <a:pt x="2200" y="858"/>
                    </a:lnTo>
                    <a:lnTo>
                      <a:pt x="2198" y="850"/>
                    </a:lnTo>
                    <a:lnTo>
                      <a:pt x="2200" y="848"/>
                    </a:lnTo>
                    <a:lnTo>
                      <a:pt x="2204" y="850"/>
                    </a:lnTo>
                    <a:lnTo>
                      <a:pt x="2204" y="850"/>
                    </a:lnTo>
                    <a:lnTo>
                      <a:pt x="2208" y="850"/>
                    </a:lnTo>
                    <a:lnTo>
                      <a:pt x="2210" y="848"/>
                    </a:lnTo>
                    <a:lnTo>
                      <a:pt x="2204" y="842"/>
                    </a:lnTo>
                    <a:lnTo>
                      <a:pt x="2198" y="826"/>
                    </a:lnTo>
                    <a:lnTo>
                      <a:pt x="2194" y="816"/>
                    </a:lnTo>
                    <a:lnTo>
                      <a:pt x="2192" y="802"/>
                    </a:lnTo>
                    <a:lnTo>
                      <a:pt x="2192" y="802"/>
                    </a:lnTo>
                    <a:lnTo>
                      <a:pt x="2190" y="794"/>
                    </a:lnTo>
                    <a:lnTo>
                      <a:pt x="2188" y="790"/>
                    </a:lnTo>
                    <a:lnTo>
                      <a:pt x="2184" y="786"/>
                    </a:lnTo>
                    <a:lnTo>
                      <a:pt x="2176" y="784"/>
                    </a:lnTo>
                    <a:lnTo>
                      <a:pt x="2176" y="784"/>
                    </a:lnTo>
                    <a:lnTo>
                      <a:pt x="2174" y="782"/>
                    </a:lnTo>
                    <a:lnTo>
                      <a:pt x="2170" y="780"/>
                    </a:lnTo>
                    <a:lnTo>
                      <a:pt x="2166" y="772"/>
                    </a:lnTo>
                    <a:lnTo>
                      <a:pt x="2162" y="766"/>
                    </a:lnTo>
                    <a:lnTo>
                      <a:pt x="2160" y="764"/>
                    </a:lnTo>
                    <a:lnTo>
                      <a:pt x="2154" y="764"/>
                    </a:lnTo>
                    <a:lnTo>
                      <a:pt x="2154" y="764"/>
                    </a:lnTo>
                    <a:lnTo>
                      <a:pt x="2150" y="762"/>
                    </a:lnTo>
                    <a:lnTo>
                      <a:pt x="2146" y="758"/>
                    </a:lnTo>
                    <a:lnTo>
                      <a:pt x="2138" y="746"/>
                    </a:lnTo>
                    <a:lnTo>
                      <a:pt x="2138" y="746"/>
                    </a:lnTo>
                    <a:lnTo>
                      <a:pt x="2134" y="752"/>
                    </a:lnTo>
                    <a:lnTo>
                      <a:pt x="2134" y="752"/>
                    </a:lnTo>
                    <a:lnTo>
                      <a:pt x="2138" y="746"/>
                    </a:lnTo>
                    <a:lnTo>
                      <a:pt x="2138" y="746"/>
                    </a:lnTo>
                    <a:lnTo>
                      <a:pt x="2134" y="732"/>
                    </a:lnTo>
                    <a:lnTo>
                      <a:pt x="2132" y="716"/>
                    </a:lnTo>
                    <a:lnTo>
                      <a:pt x="2132" y="710"/>
                    </a:lnTo>
                    <a:lnTo>
                      <a:pt x="2134" y="706"/>
                    </a:lnTo>
                    <a:lnTo>
                      <a:pt x="2136" y="702"/>
                    </a:lnTo>
                    <a:lnTo>
                      <a:pt x="2142" y="702"/>
                    </a:lnTo>
                    <a:lnTo>
                      <a:pt x="2142" y="702"/>
                    </a:lnTo>
                    <a:lnTo>
                      <a:pt x="2144" y="702"/>
                    </a:lnTo>
                    <a:lnTo>
                      <a:pt x="2138" y="698"/>
                    </a:lnTo>
                    <a:lnTo>
                      <a:pt x="2134" y="692"/>
                    </a:lnTo>
                    <a:lnTo>
                      <a:pt x="2128" y="684"/>
                    </a:lnTo>
                    <a:lnTo>
                      <a:pt x="2120" y="674"/>
                    </a:lnTo>
                    <a:lnTo>
                      <a:pt x="2116" y="662"/>
                    </a:lnTo>
                    <a:lnTo>
                      <a:pt x="2116" y="662"/>
                    </a:lnTo>
                    <a:lnTo>
                      <a:pt x="2108" y="642"/>
                    </a:lnTo>
                    <a:lnTo>
                      <a:pt x="2098" y="624"/>
                    </a:lnTo>
                    <a:lnTo>
                      <a:pt x="2082" y="594"/>
                    </a:lnTo>
                    <a:lnTo>
                      <a:pt x="2072" y="572"/>
                    </a:lnTo>
                    <a:lnTo>
                      <a:pt x="2070" y="564"/>
                    </a:lnTo>
                    <a:lnTo>
                      <a:pt x="2070" y="556"/>
                    </a:lnTo>
                    <a:lnTo>
                      <a:pt x="2070" y="556"/>
                    </a:lnTo>
                    <a:lnTo>
                      <a:pt x="2070" y="550"/>
                    </a:lnTo>
                    <a:lnTo>
                      <a:pt x="2070" y="544"/>
                    </a:lnTo>
                    <a:lnTo>
                      <a:pt x="2064" y="534"/>
                    </a:lnTo>
                    <a:lnTo>
                      <a:pt x="2058" y="526"/>
                    </a:lnTo>
                    <a:lnTo>
                      <a:pt x="2056" y="520"/>
                    </a:lnTo>
                    <a:lnTo>
                      <a:pt x="2056" y="512"/>
                    </a:lnTo>
                    <a:lnTo>
                      <a:pt x="2056" y="512"/>
                    </a:lnTo>
                    <a:lnTo>
                      <a:pt x="2054" y="504"/>
                    </a:lnTo>
                    <a:lnTo>
                      <a:pt x="2050" y="494"/>
                    </a:lnTo>
                    <a:lnTo>
                      <a:pt x="2036" y="474"/>
                    </a:lnTo>
                    <a:lnTo>
                      <a:pt x="2022" y="452"/>
                    </a:lnTo>
                    <a:lnTo>
                      <a:pt x="2018" y="442"/>
                    </a:lnTo>
                    <a:lnTo>
                      <a:pt x="2016" y="434"/>
                    </a:lnTo>
                    <a:lnTo>
                      <a:pt x="2016" y="434"/>
                    </a:lnTo>
                    <a:lnTo>
                      <a:pt x="2016" y="426"/>
                    </a:lnTo>
                    <a:lnTo>
                      <a:pt x="2014" y="422"/>
                    </a:lnTo>
                    <a:lnTo>
                      <a:pt x="2010" y="416"/>
                    </a:lnTo>
                    <a:lnTo>
                      <a:pt x="2008" y="412"/>
                    </a:lnTo>
                    <a:lnTo>
                      <a:pt x="2008" y="408"/>
                    </a:lnTo>
                    <a:lnTo>
                      <a:pt x="2010" y="402"/>
                    </a:lnTo>
                    <a:lnTo>
                      <a:pt x="2014" y="394"/>
                    </a:lnTo>
                    <a:lnTo>
                      <a:pt x="2000" y="332"/>
                    </a:lnTo>
                    <a:lnTo>
                      <a:pt x="2000" y="332"/>
                    </a:lnTo>
                    <a:lnTo>
                      <a:pt x="1998" y="332"/>
                    </a:lnTo>
                    <a:lnTo>
                      <a:pt x="1996" y="328"/>
                    </a:lnTo>
                    <a:lnTo>
                      <a:pt x="1996" y="328"/>
                    </a:lnTo>
                    <a:lnTo>
                      <a:pt x="1992" y="326"/>
                    </a:lnTo>
                    <a:lnTo>
                      <a:pt x="1990" y="326"/>
                    </a:lnTo>
                    <a:lnTo>
                      <a:pt x="1986" y="326"/>
                    </a:lnTo>
                    <a:lnTo>
                      <a:pt x="1984" y="324"/>
                    </a:lnTo>
                    <a:lnTo>
                      <a:pt x="1984" y="324"/>
                    </a:lnTo>
                    <a:lnTo>
                      <a:pt x="1984" y="322"/>
                    </a:lnTo>
                    <a:lnTo>
                      <a:pt x="1984" y="320"/>
                    </a:lnTo>
                    <a:lnTo>
                      <a:pt x="1986" y="318"/>
                    </a:lnTo>
                    <a:lnTo>
                      <a:pt x="1988" y="316"/>
                    </a:lnTo>
                    <a:lnTo>
                      <a:pt x="1988" y="316"/>
                    </a:lnTo>
                    <a:lnTo>
                      <a:pt x="1990" y="314"/>
                    </a:lnTo>
                    <a:lnTo>
                      <a:pt x="1992" y="316"/>
                    </a:lnTo>
                    <a:lnTo>
                      <a:pt x="1998" y="320"/>
                    </a:lnTo>
                    <a:lnTo>
                      <a:pt x="1996" y="316"/>
                    </a:lnTo>
                    <a:lnTo>
                      <a:pt x="1996" y="316"/>
                    </a:lnTo>
                    <a:lnTo>
                      <a:pt x="1990" y="310"/>
                    </a:lnTo>
                    <a:lnTo>
                      <a:pt x="1990" y="310"/>
                    </a:lnTo>
                    <a:lnTo>
                      <a:pt x="1988" y="308"/>
                    </a:lnTo>
                    <a:lnTo>
                      <a:pt x="1986" y="308"/>
                    </a:lnTo>
                    <a:lnTo>
                      <a:pt x="1980" y="312"/>
                    </a:lnTo>
                    <a:lnTo>
                      <a:pt x="1980" y="312"/>
                    </a:lnTo>
                    <a:lnTo>
                      <a:pt x="1976" y="314"/>
                    </a:lnTo>
                    <a:lnTo>
                      <a:pt x="1974" y="314"/>
                    </a:lnTo>
                    <a:lnTo>
                      <a:pt x="1966" y="310"/>
                    </a:lnTo>
                    <a:lnTo>
                      <a:pt x="1958" y="306"/>
                    </a:lnTo>
                    <a:lnTo>
                      <a:pt x="1954" y="306"/>
                    </a:lnTo>
                    <a:lnTo>
                      <a:pt x="1948" y="308"/>
                    </a:lnTo>
                    <a:lnTo>
                      <a:pt x="1948" y="308"/>
                    </a:lnTo>
                    <a:lnTo>
                      <a:pt x="1938" y="312"/>
                    </a:lnTo>
                    <a:lnTo>
                      <a:pt x="1932" y="312"/>
                    </a:lnTo>
                    <a:lnTo>
                      <a:pt x="1928" y="312"/>
                    </a:lnTo>
                    <a:lnTo>
                      <a:pt x="1922" y="318"/>
                    </a:lnTo>
                    <a:lnTo>
                      <a:pt x="1922" y="318"/>
                    </a:lnTo>
                    <a:lnTo>
                      <a:pt x="1920" y="320"/>
                    </a:lnTo>
                    <a:lnTo>
                      <a:pt x="1916" y="322"/>
                    </a:lnTo>
                    <a:lnTo>
                      <a:pt x="1908" y="326"/>
                    </a:lnTo>
                    <a:lnTo>
                      <a:pt x="1892" y="340"/>
                    </a:lnTo>
                    <a:lnTo>
                      <a:pt x="1892" y="340"/>
                    </a:lnTo>
                    <a:lnTo>
                      <a:pt x="1886" y="346"/>
                    </a:lnTo>
                    <a:lnTo>
                      <a:pt x="1880" y="346"/>
                    </a:lnTo>
                    <a:lnTo>
                      <a:pt x="1874" y="346"/>
                    </a:lnTo>
                    <a:lnTo>
                      <a:pt x="1866" y="344"/>
                    </a:lnTo>
                    <a:lnTo>
                      <a:pt x="1854" y="336"/>
                    </a:lnTo>
                    <a:lnTo>
                      <a:pt x="1848" y="334"/>
                    </a:lnTo>
                    <a:lnTo>
                      <a:pt x="1844" y="334"/>
                    </a:lnTo>
                    <a:lnTo>
                      <a:pt x="1844" y="334"/>
                    </a:lnTo>
                    <a:lnTo>
                      <a:pt x="1836" y="332"/>
                    </a:lnTo>
                    <a:lnTo>
                      <a:pt x="1830" y="330"/>
                    </a:lnTo>
                    <a:lnTo>
                      <a:pt x="1826" y="326"/>
                    </a:lnTo>
                    <a:lnTo>
                      <a:pt x="1822" y="326"/>
                    </a:lnTo>
                    <a:lnTo>
                      <a:pt x="1818" y="326"/>
                    </a:lnTo>
                    <a:lnTo>
                      <a:pt x="1818" y="326"/>
                    </a:lnTo>
                    <a:lnTo>
                      <a:pt x="1812" y="326"/>
                    </a:lnTo>
                    <a:lnTo>
                      <a:pt x="1812" y="324"/>
                    </a:lnTo>
                    <a:lnTo>
                      <a:pt x="1808" y="322"/>
                    </a:lnTo>
                    <a:lnTo>
                      <a:pt x="1804" y="318"/>
                    </a:lnTo>
                    <a:lnTo>
                      <a:pt x="1794" y="314"/>
                    </a:lnTo>
                    <a:lnTo>
                      <a:pt x="1778" y="310"/>
                    </a:lnTo>
                    <a:lnTo>
                      <a:pt x="1778" y="310"/>
                    </a:lnTo>
                    <a:lnTo>
                      <a:pt x="1762" y="308"/>
                    </a:lnTo>
                    <a:lnTo>
                      <a:pt x="1750" y="306"/>
                    </a:lnTo>
                    <a:lnTo>
                      <a:pt x="1734" y="308"/>
                    </a:lnTo>
                    <a:lnTo>
                      <a:pt x="1724" y="310"/>
                    </a:lnTo>
                    <a:lnTo>
                      <a:pt x="1718" y="310"/>
                    </a:lnTo>
                    <a:lnTo>
                      <a:pt x="1718" y="310"/>
                    </a:lnTo>
                    <a:lnTo>
                      <a:pt x="1718" y="308"/>
                    </a:lnTo>
                    <a:lnTo>
                      <a:pt x="1718" y="308"/>
                    </a:lnTo>
                    <a:lnTo>
                      <a:pt x="1716" y="302"/>
                    </a:lnTo>
                    <a:lnTo>
                      <a:pt x="1714" y="292"/>
                    </a:lnTo>
                    <a:lnTo>
                      <a:pt x="1710" y="288"/>
                    </a:lnTo>
                    <a:lnTo>
                      <a:pt x="1706" y="286"/>
                    </a:lnTo>
                    <a:lnTo>
                      <a:pt x="1700" y="284"/>
                    </a:lnTo>
                    <a:lnTo>
                      <a:pt x="1692" y="284"/>
                    </a:lnTo>
                    <a:lnTo>
                      <a:pt x="1692" y="284"/>
                    </a:lnTo>
                    <a:lnTo>
                      <a:pt x="1678" y="284"/>
                    </a:lnTo>
                    <a:lnTo>
                      <a:pt x="1672" y="282"/>
                    </a:lnTo>
                    <a:lnTo>
                      <a:pt x="1666" y="280"/>
                    </a:lnTo>
                    <a:lnTo>
                      <a:pt x="1654" y="278"/>
                    </a:lnTo>
                    <a:lnTo>
                      <a:pt x="1654" y="278"/>
                    </a:lnTo>
                    <a:lnTo>
                      <a:pt x="1648" y="276"/>
                    </a:lnTo>
                    <a:lnTo>
                      <a:pt x="1644" y="274"/>
                    </a:lnTo>
                    <a:lnTo>
                      <a:pt x="1640" y="266"/>
                    </a:lnTo>
                    <a:lnTo>
                      <a:pt x="1638" y="262"/>
                    </a:lnTo>
                    <a:lnTo>
                      <a:pt x="1632" y="256"/>
                    </a:lnTo>
                    <a:lnTo>
                      <a:pt x="1624" y="250"/>
                    </a:lnTo>
                    <a:lnTo>
                      <a:pt x="1612" y="242"/>
                    </a:lnTo>
                    <a:lnTo>
                      <a:pt x="1612" y="242"/>
                    </a:lnTo>
                    <a:lnTo>
                      <a:pt x="1596" y="236"/>
                    </a:lnTo>
                    <a:lnTo>
                      <a:pt x="1584" y="236"/>
                    </a:lnTo>
                    <a:lnTo>
                      <a:pt x="1574" y="238"/>
                    </a:lnTo>
                    <a:lnTo>
                      <a:pt x="1568" y="242"/>
                    </a:lnTo>
                    <a:lnTo>
                      <a:pt x="1568" y="242"/>
                    </a:lnTo>
                    <a:lnTo>
                      <a:pt x="1564" y="244"/>
                    </a:lnTo>
                    <a:lnTo>
                      <a:pt x="1560" y="246"/>
                    </a:lnTo>
                    <a:lnTo>
                      <a:pt x="1550" y="246"/>
                    </a:lnTo>
                    <a:lnTo>
                      <a:pt x="1544" y="248"/>
                    </a:lnTo>
                    <a:lnTo>
                      <a:pt x="1536" y="252"/>
                    </a:lnTo>
                    <a:lnTo>
                      <a:pt x="1528" y="260"/>
                    </a:lnTo>
                    <a:lnTo>
                      <a:pt x="1516" y="274"/>
                    </a:lnTo>
                    <a:lnTo>
                      <a:pt x="1516" y="274"/>
                    </a:lnTo>
                    <a:lnTo>
                      <a:pt x="1510" y="284"/>
                    </a:lnTo>
                    <a:lnTo>
                      <a:pt x="1508" y="292"/>
                    </a:lnTo>
                    <a:lnTo>
                      <a:pt x="1508" y="302"/>
                    </a:lnTo>
                    <a:lnTo>
                      <a:pt x="1510" y="314"/>
                    </a:lnTo>
                    <a:lnTo>
                      <a:pt x="1512" y="324"/>
                    </a:lnTo>
                    <a:lnTo>
                      <a:pt x="1514" y="334"/>
                    </a:lnTo>
                    <a:lnTo>
                      <a:pt x="1512" y="344"/>
                    </a:lnTo>
                    <a:lnTo>
                      <a:pt x="1506" y="354"/>
                    </a:lnTo>
                    <a:lnTo>
                      <a:pt x="1506" y="354"/>
                    </a:lnTo>
                    <a:lnTo>
                      <a:pt x="1498" y="362"/>
                    </a:lnTo>
                    <a:lnTo>
                      <a:pt x="1492" y="368"/>
                    </a:lnTo>
                    <a:lnTo>
                      <a:pt x="1484" y="374"/>
                    </a:lnTo>
                    <a:lnTo>
                      <a:pt x="1478" y="376"/>
                    </a:lnTo>
                    <a:lnTo>
                      <a:pt x="1470" y="376"/>
                    </a:lnTo>
                    <a:lnTo>
                      <a:pt x="1464" y="374"/>
                    </a:lnTo>
                    <a:lnTo>
                      <a:pt x="1458" y="368"/>
                    </a:lnTo>
                    <a:lnTo>
                      <a:pt x="1452" y="362"/>
                    </a:lnTo>
                    <a:lnTo>
                      <a:pt x="1452" y="362"/>
                    </a:lnTo>
                    <a:lnTo>
                      <a:pt x="1446" y="356"/>
                    </a:lnTo>
                    <a:lnTo>
                      <a:pt x="1438" y="350"/>
                    </a:lnTo>
                    <a:lnTo>
                      <a:pt x="1418" y="338"/>
                    </a:lnTo>
                    <a:lnTo>
                      <a:pt x="1398" y="330"/>
                    </a:lnTo>
                    <a:lnTo>
                      <a:pt x="1376" y="328"/>
                    </a:lnTo>
                    <a:lnTo>
                      <a:pt x="1376" y="328"/>
                    </a:lnTo>
                    <a:lnTo>
                      <a:pt x="1358" y="326"/>
                    </a:lnTo>
                    <a:lnTo>
                      <a:pt x="1350" y="324"/>
                    </a:lnTo>
                    <a:lnTo>
                      <a:pt x="1344" y="320"/>
                    </a:lnTo>
                    <a:lnTo>
                      <a:pt x="1338" y="316"/>
                    </a:lnTo>
                    <a:lnTo>
                      <a:pt x="1334" y="310"/>
                    </a:lnTo>
                    <a:lnTo>
                      <a:pt x="1330" y="300"/>
                    </a:lnTo>
                    <a:lnTo>
                      <a:pt x="1326" y="288"/>
                    </a:lnTo>
                    <a:lnTo>
                      <a:pt x="1326" y="288"/>
                    </a:lnTo>
                    <a:lnTo>
                      <a:pt x="1324" y="276"/>
                    </a:lnTo>
                    <a:lnTo>
                      <a:pt x="1320" y="268"/>
                    </a:lnTo>
                    <a:lnTo>
                      <a:pt x="1314" y="262"/>
                    </a:lnTo>
                    <a:lnTo>
                      <a:pt x="1306" y="260"/>
                    </a:lnTo>
                    <a:lnTo>
                      <a:pt x="1294" y="258"/>
                    </a:lnTo>
                    <a:lnTo>
                      <a:pt x="1288" y="256"/>
                    </a:lnTo>
                    <a:lnTo>
                      <a:pt x="1284" y="254"/>
                    </a:lnTo>
                    <a:lnTo>
                      <a:pt x="1284" y="254"/>
                    </a:lnTo>
                    <a:lnTo>
                      <a:pt x="1272" y="248"/>
                    </a:lnTo>
                    <a:lnTo>
                      <a:pt x="1256" y="242"/>
                    </a:lnTo>
                    <a:lnTo>
                      <a:pt x="1238" y="240"/>
                    </a:lnTo>
                    <a:lnTo>
                      <a:pt x="1230" y="240"/>
                    </a:lnTo>
                    <a:lnTo>
                      <a:pt x="1224" y="240"/>
                    </a:lnTo>
                    <a:lnTo>
                      <a:pt x="1224" y="240"/>
                    </a:lnTo>
                    <a:lnTo>
                      <a:pt x="1216" y="242"/>
                    </a:lnTo>
                    <a:lnTo>
                      <a:pt x="1210" y="242"/>
                    </a:lnTo>
                    <a:lnTo>
                      <a:pt x="1196" y="236"/>
                    </a:lnTo>
                    <a:lnTo>
                      <a:pt x="1182" y="230"/>
                    </a:lnTo>
                    <a:lnTo>
                      <a:pt x="1172" y="224"/>
                    </a:lnTo>
                    <a:lnTo>
                      <a:pt x="1172" y="224"/>
                    </a:lnTo>
                    <a:lnTo>
                      <a:pt x="1160" y="218"/>
                    </a:lnTo>
                    <a:lnTo>
                      <a:pt x="1156" y="214"/>
                    </a:lnTo>
                    <a:lnTo>
                      <a:pt x="1154" y="206"/>
                    </a:lnTo>
                    <a:lnTo>
                      <a:pt x="1154" y="206"/>
                    </a:lnTo>
                    <a:lnTo>
                      <a:pt x="1152" y="198"/>
                    </a:lnTo>
                    <a:lnTo>
                      <a:pt x="1150" y="198"/>
                    </a:lnTo>
                    <a:lnTo>
                      <a:pt x="1148" y="198"/>
                    </a:lnTo>
                    <a:lnTo>
                      <a:pt x="1144" y="200"/>
                    </a:lnTo>
                    <a:lnTo>
                      <a:pt x="1142" y="200"/>
                    </a:lnTo>
                    <a:lnTo>
                      <a:pt x="1140" y="198"/>
                    </a:lnTo>
                    <a:lnTo>
                      <a:pt x="1140" y="198"/>
                    </a:lnTo>
                    <a:lnTo>
                      <a:pt x="1132" y="196"/>
                    </a:lnTo>
                    <a:lnTo>
                      <a:pt x="1124" y="194"/>
                    </a:lnTo>
                    <a:lnTo>
                      <a:pt x="1118" y="194"/>
                    </a:lnTo>
                    <a:lnTo>
                      <a:pt x="1114" y="190"/>
                    </a:lnTo>
                    <a:lnTo>
                      <a:pt x="1110" y="184"/>
                    </a:lnTo>
                    <a:lnTo>
                      <a:pt x="1108" y="176"/>
                    </a:lnTo>
                    <a:lnTo>
                      <a:pt x="1108" y="176"/>
                    </a:lnTo>
                    <a:lnTo>
                      <a:pt x="1110" y="170"/>
                    </a:lnTo>
                    <a:lnTo>
                      <a:pt x="1116" y="162"/>
                    </a:lnTo>
                    <a:lnTo>
                      <a:pt x="1134" y="144"/>
                    </a:lnTo>
                    <a:lnTo>
                      <a:pt x="1142" y="134"/>
                    </a:lnTo>
                    <a:lnTo>
                      <a:pt x="1150" y="124"/>
                    </a:lnTo>
                    <a:lnTo>
                      <a:pt x="1154" y="116"/>
                    </a:lnTo>
                    <a:lnTo>
                      <a:pt x="1154" y="114"/>
                    </a:lnTo>
                    <a:lnTo>
                      <a:pt x="1152" y="110"/>
                    </a:lnTo>
                    <a:lnTo>
                      <a:pt x="1152" y="110"/>
                    </a:lnTo>
                    <a:lnTo>
                      <a:pt x="1150" y="106"/>
                    </a:lnTo>
                    <a:lnTo>
                      <a:pt x="1148" y="102"/>
                    </a:lnTo>
                    <a:lnTo>
                      <a:pt x="1148" y="96"/>
                    </a:lnTo>
                    <a:lnTo>
                      <a:pt x="1148" y="92"/>
                    </a:lnTo>
                    <a:lnTo>
                      <a:pt x="1146" y="90"/>
                    </a:lnTo>
                    <a:lnTo>
                      <a:pt x="1142" y="86"/>
                    </a:lnTo>
                    <a:lnTo>
                      <a:pt x="1136" y="82"/>
                    </a:lnTo>
                    <a:lnTo>
                      <a:pt x="1136" y="82"/>
                    </a:lnTo>
                    <a:lnTo>
                      <a:pt x="1132" y="78"/>
                    </a:lnTo>
                    <a:lnTo>
                      <a:pt x="1128" y="74"/>
                    </a:lnTo>
                    <a:lnTo>
                      <a:pt x="1124" y="64"/>
                    </a:lnTo>
                    <a:lnTo>
                      <a:pt x="1124" y="60"/>
                    </a:lnTo>
                    <a:lnTo>
                      <a:pt x="1124" y="56"/>
                    </a:lnTo>
                    <a:lnTo>
                      <a:pt x="1126" y="52"/>
                    </a:lnTo>
                    <a:lnTo>
                      <a:pt x="1130" y="50"/>
                    </a:lnTo>
                    <a:lnTo>
                      <a:pt x="1130" y="50"/>
                    </a:lnTo>
                    <a:lnTo>
                      <a:pt x="1140" y="42"/>
                    </a:lnTo>
                    <a:lnTo>
                      <a:pt x="1148" y="34"/>
                    </a:lnTo>
                    <a:lnTo>
                      <a:pt x="1152" y="26"/>
                    </a:lnTo>
                    <a:lnTo>
                      <a:pt x="1152" y="20"/>
                    </a:lnTo>
                    <a:lnTo>
                      <a:pt x="1152" y="16"/>
                    </a:lnTo>
                    <a:lnTo>
                      <a:pt x="1152" y="16"/>
                    </a:lnTo>
                    <a:lnTo>
                      <a:pt x="1148" y="14"/>
                    </a:lnTo>
                    <a:lnTo>
                      <a:pt x="1146" y="16"/>
                    </a:lnTo>
                    <a:lnTo>
                      <a:pt x="1136" y="22"/>
                    </a:lnTo>
                    <a:lnTo>
                      <a:pt x="1128" y="30"/>
                    </a:lnTo>
                    <a:lnTo>
                      <a:pt x="1124" y="32"/>
                    </a:lnTo>
                    <a:lnTo>
                      <a:pt x="1122" y="32"/>
                    </a:lnTo>
                    <a:lnTo>
                      <a:pt x="1122" y="32"/>
                    </a:lnTo>
                    <a:lnTo>
                      <a:pt x="1120" y="30"/>
                    </a:lnTo>
                    <a:lnTo>
                      <a:pt x="1118" y="26"/>
                    </a:lnTo>
                    <a:lnTo>
                      <a:pt x="1118" y="18"/>
                    </a:lnTo>
                    <a:lnTo>
                      <a:pt x="1116" y="10"/>
                    </a:lnTo>
                    <a:lnTo>
                      <a:pt x="1112" y="6"/>
                    </a:lnTo>
                    <a:lnTo>
                      <a:pt x="1108" y="4"/>
                    </a:lnTo>
                    <a:lnTo>
                      <a:pt x="1108" y="4"/>
                    </a:lnTo>
                    <a:lnTo>
                      <a:pt x="1096" y="0"/>
                    </a:lnTo>
                    <a:lnTo>
                      <a:pt x="1088" y="2"/>
                    </a:lnTo>
                    <a:lnTo>
                      <a:pt x="1080" y="4"/>
                    </a:lnTo>
                    <a:lnTo>
                      <a:pt x="1074" y="6"/>
                    </a:lnTo>
                    <a:lnTo>
                      <a:pt x="1064" y="16"/>
                    </a:lnTo>
                    <a:lnTo>
                      <a:pt x="1058" y="22"/>
                    </a:lnTo>
                    <a:lnTo>
                      <a:pt x="1058" y="22"/>
                    </a:lnTo>
                    <a:lnTo>
                      <a:pt x="1052" y="22"/>
                    </a:lnTo>
                    <a:lnTo>
                      <a:pt x="1052" y="22"/>
                    </a:lnTo>
                    <a:lnTo>
                      <a:pt x="1040" y="22"/>
                    </a:lnTo>
                    <a:lnTo>
                      <a:pt x="1034" y="22"/>
                    </a:lnTo>
                    <a:lnTo>
                      <a:pt x="1026" y="24"/>
                    </a:lnTo>
                    <a:lnTo>
                      <a:pt x="1026" y="24"/>
                    </a:lnTo>
                    <a:lnTo>
                      <a:pt x="1022" y="28"/>
                    </a:lnTo>
                    <a:lnTo>
                      <a:pt x="1018" y="24"/>
                    </a:lnTo>
                    <a:lnTo>
                      <a:pt x="1014" y="20"/>
                    </a:lnTo>
                    <a:lnTo>
                      <a:pt x="1006" y="14"/>
                    </a:lnTo>
                    <a:lnTo>
                      <a:pt x="1006" y="14"/>
                    </a:lnTo>
                    <a:lnTo>
                      <a:pt x="1002" y="12"/>
                    </a:lnTo>
                    <a:lnTo>
                      <a:pt x="998" y="14"/>
                    </a:lnTo>
                    <a:lnTo>
                      <a:pt x="994" y="18"/>
                    </a:lnTo>
                    <a:lnTo>
                      <a:pt x="992" y="20"/>
                    </a:lnTo>
                    <a:lnTo>
                      <a:pt x="988" y="22"/>
                    </a:lnTo>
                    <a:lnTo>
                      <a:pt x="984" y="22"/>
                    </a:lnTo>
                    <a:lnTo>
                      <a:pt x="978" y="20"/>
                    </a:lnTo>
                    <a:lnTo>
                      <a:pt x="978" y="20"/>
                    </a:lnTo>
                    <a:lnTo>
                      <a:pt x="966" y="16"/>
                    </a:lnTo>
                    <a:lnTo>
                      <a:pt x="962" y="16"/>
                    </a:lnTo>
                    <a:lnTo>
                      <a:pt x="960" y="18"/>
                    </a:lnTo>
                    <a:lnTo>
                      <a:pt x="954" y="22"/>
                    </a:lnTo>
                    <a:lnTo>
                      <a:pt x="942" y="26"/>
                    </a:lnTo>
                    <a:lnTo>
                      <a:pt x="942" y="26"/>
                    </a:lnTo>
                    <a:lnTo>
                      <a:pt x="936" y="28"/>
                    </a:lnTo>
                    <a:lnTo>
                      <a:pt x="930" y="30"/>
                    </a:lnTo>
                    <a:lnTo>
                      <a:pt x="924" y="36"/>
                    </a:lnTo>
                    <a:lnTo>
                      <a:pt x="920" y="38"/>
                    </a:lnTo>
                    <a:lnTo>
                      <a:pt x="918" y="38"/>
                    </a:lnTo>
                    <a:lnTo>
                      <a:pt x="914" y="36"/>
                    </a:lnTo>
                    <a:lnTo>
                      <a:pt x="910" y="32"/>
                    </a:lnTo>
                    <a:lnTo>
                      <a:pt x="910" y="32"/>
                    </a:lnTo>
                    <a:lnTo>
                      <a:pt x="906" y="28"/>
                    </a:lnTo>
                    <a:lnTo>
                      <a:pt x="900" y="26"/>
                    </a:lnTo>
                    <a:lnTo>
                      <a:pt x="886" y="22"/>
                    </a:lnTo>
                    <a:lnTo>
                      <a:pt x="870" y="24"/>
                    </a:lnTo>
                    <a:lnTo>
                      <a:pt x="854" y="26"/>
                    </a:lnTo>
                    <a:lnTo>
                      <a:pt x="854" y="26"/>
                    </a:lnTo>
                    <a:lnTo>
                      <a:pt x="848" y="28"/>
                    </a:lnTo>
                    <a:lnTo>
                      <a:pt x="842" y="28"/>
                    </a:lnTo>
                    <a:lnTo>
                      <a:pt x="832" y="28"/>
                    </a:lnTo>
                    <a:lnTo>
                      <a:pt x="822" y="28"/>
                    </a:lnTo>
                    <a:lnTo>
                      <a:pt x="820" y="30"/>
                    </a:lnTo>
                    <a:lnTo>
                      <a:pt x="816" y="32"/>
                    </a:lnTo>
                    <a:lnTo>
                      <a:pt x="816" y="32"/>
                    </a:lnTo>
                    <a:lnTo>
                      <a:pt x="812" y="38"/>
                    </a:lnTo>
                    <a:lnTo>
                      <a:pt x="804" y="40"/>
                    </a:lnTo>
                    <a:lnTo>
                      <a:pt x="776" y="42"/>
                    </a:lnTo>
                    <a:lnTo>
                      <a:pt x="776" y="42"/>
                    </a:lnTo>
                    <a:lnTo>
                      <a:pt x="754" y="46"/>
                    </a:lnTo>
                    <a:lnTo>
                      <a:pt x="732" y="52"/>
                    </a:lnTo>
                    <a:lnTo>
                      <a:pt x="724" y="58"/>
                    </a:lnTo>
                    <a:lnTo>
                      <a:pt x="716" y="64"/>
                    </a:lnTo>
                    <a:lnTo>
                      <a:pt x="710" y="70"/>
                    </a:lnTo>
                    <a:lnTo>
                      <a:pt x="706" y="76"/>
                    </a:lnTo>
                    <a:lnTo>
                      <a:pt x="706" y="76"/>
                    </a:lnTo>
                    <a:lnTo>
                      <a:pt x="704" y="82"/>
                    </a:lnTo>
                    <a:lnTo>
                      <a:pt x="700" y="86"/>
                    </a:lnTo>
                    <a:lnTo>
                      <a:pt x="698" y="86"/>
                    </a:lnTo>
                    <a:lnTo>
                      <a:pt x="696" y="84"/>
                    </a:lnTo>
                    <a:lnTo>
                      <a:pt x="690" y="80"/>
                    </a:lnTo>
                    <a:lnTo>
                      <a:pt x="686" y="82"/>
                    </a:lnTo>
                    <a:lnTo>
                      <a:pt x="682" y="84"/>
                    </a:lnTo>
                    <a:lnTo>
                      <a:pt x="682" y="84"/>
                    </a:lnTo>
                    <a:lnTo>
                      <a:pt x="680" y="86"/>
                    </a:lnTo>
                    <a:lnTo>
                      <a:pt x="676" y="88"/>
                    </a:lnTo>
                    <a:lnTo>
                      <a:pt x="670" y="86"/>
                    </a:lnTo>
                    <a:lnTo>
                      <a:pt x="668" y="86"/>
                    </a:lnTo>
                    <a:lnTo>
                      <a:pt x="664" y="88"/>
                    </a:lnTo>
                    <a:lnTo>
                      <a:pt x="662" y="90"/>
                    </a:lnTo>
                    <a:lnTo>
                      <a:pt x="656" y="96"/>
                    </a:lnTo>
                    <a:lnTo>
                      <a:pt x="656" y="96"/>
                    </a:lnTo>
                    <a:lnTo>
                      <a:pt x="650" y="104"/>
                    </a:lnTo>
                    <a:lnTo>
                      <a:pt x="640" y="114"/>
                    </a:lnTo>
                    <a:lnTo>
                      <a:pt x="634" y="118"/>
                    </a:lnTo>
                    <a:lnTo>
                      <a:pt x="628" y="120"/>
                    </a:lnTo>
                    <a:lnTo>
                      <a:pt x="622" y="120"/>
                    </a:lnTo>
                    <a:lnTo>
                      <a:pt x="616" y="120"/>
                    </a:lnTo>
                    <a:lnTo>
                      <a:pt x="616" y="120"/>
                    </a:lnTo>
                    <a:lnTo>
                      <a:pt x="600" y="120"/>
                    </a:lnTo>
                    <a:lnTo>
                      <a:pt x="596" y="118"/>
                    </a:lnTo>
                    <a:lnTo>
                      <a:pt x="592" y="116"/>
                    </a:lnTo>
                    <a:lnTo>
                      <a:pt x="588" y="112"/>
                    </a:lnTo>
                    <a:lnTo>
                      <a:pt x="586" y="108"/>
                    </a:lnTo>
                    <a:lnTo>
                      <a:pt x="586" y="108"/>
                    </a:lnTo>
                    <a:lnTo>
                      <a:pt x="586" y="104"/>
                    </a:lnTo>
                    <a:lnTo>
                      <a:pt x="584" y="104"/>
                    </a:lnTo>
                    <a:lnTo>
                      <a:pt x="580" y="108"/>
                    </a:lnTo>
                    <a:lnTo>
                      <a:pt x="578" y="110"/>
                    </a:lnTo>
                    <a:lnTo>
                      <a:pt x="574" y="112"/>
                    </a:lnTo>
                    <a:lnTo>
                      <a:pt x="570" y="114"/>
                    </a:lnTo>
                    <a:lnTo>
                      <a:pt x="562" y="112"/>
                    </a:lnTo>
                    <a:lnTo>
                      <a:pt x="562" y="112"/>
                    </a:lnTo>
                    <a:lnTo>
                      <a:pt x="558" y="110"/>
                    </a:lnTo>
                    <a:lnTo>
                      <a:pt x="552" y="110"/>
                    </a:lnTo>
                    <a:lnTo>
                      <a:pt x="542" y="114"/>
                    </a:lnTo>
                    <a:lnTo>
                      <a:pt x="536" y="116"/>
                    </a:lnTo>
                    <a:lnTo>
                      <a:pt x="530" y="118"/>
                    </a:lnTo>
                    <a:lnTo>
                      <a:pt x="520" y="116"/>
                    </a:lnTo>
                    <a:lnTo>
                      <a:pt x="510" y="112"/>
                    </a:lnTo>
                    <a:lnTo>
                      <a:pt x="510" y="112"/>
                    </a:lnTo>
                    <a:lnTo>
                      <a:pt x="502" y="108"/>
                    </a:lnTo>
                    <a:lnTo>
                      <a:pt x="498" y="102"/>
                    </a:lnTo>
                    <a:lnTo>
                      <a:pt x="494" y="98"/>
                    </a:lnTo>
                    <a:lnTo>
                      <a:pt x="492" y="94"/>
                    </a:lnTo>
                    <a:lnTo>
                      <a:pt x="464" y="96"/>
                    </a:lnTo>
                    <a:lnTo>
                      <a:pt x="464" y="96"/>
                    </a:lnTo>
                    <a:lnTo>
                      <a:pt x="454" y="122"/>
                    </a:lnTo>
                    <a:lnTo>
                      <a:pt x="444" y="152"/>
                    </a:lnTo>
                    <a:lnTo>
                      <a:pt x="436" y="166"/>
                    </a:lnTo>
                    <a:lnTo>
                      <a:pt x="426" y="180"/>
                    </a:lnTo>
                    <a:lnTo>
                      <a:pt x="414" y="190"/>
                    </a:lnTo>
                    <a:lnTo>
                      <a:pt x="400" y="200"/>
                    </a:lnTo>
                    <a:lnTo>
                      <a:pt x="400" y="200"/>
                    </a:lnTo>
                    <a:lnTo>
                      <a:pt x="380" y="206"/>
                    </a:lnTo>
                    <a:lnTo>
                      <a:pt x="368" y="212"/>
                    </a:lnTo>
                    <a:lnTo>
                      <a:pt x="360" y="218"/>
                    </a:lnTo>
                    <a:lnTo>
                      <a:pt x="356" y="222"/>
                    </a:lnTo>
                    <a:lnTo>
                      <a:pt x="352" y="232"/>
                    </a:lnTo>
                    <a:lnTo>
                      <a:pt x="348" y="238"/>
                    </a:lnTo>
                    <a:lnTo>
                      <a:pt x="342" y="244"/>
                    </a:lnTo>
                    <a:lnTo>
                      <a:pt x="342" y="244"/>
                    </a:lnTo>
                    <a:lnTo>
                      <a:pt x="334" y="252"/>
                    </a:lnTo>
                    <a:lnTo>
                      <a:pt x="332" y="256"/>
                    </a:lnTo>
                    <a:lnTo>
                      <a:pt x="330" y="260"/>
                    </a:lnTo>
                    <a:lnTo>
                      <a:pt x="330" y="264"/>
                    </a:lnTo>
                    <a:lnTo>
                      <a:pt x="330" y="270"/>
                    </a:lnTo>
                    <a:lnTo>
                      <a:pt x="330" y="274"/>
                    </a:lnTo>
                    <a:lnTo>
                      <a:pt x="326" y="282"/>
                    </a:lnTo>
                    <a:lnTo>
                      <a:pt x="320" y="292"/>
                    </a:lnTo>
                    <a:lnTo>
                      <a:pt x="320" y="292"/>
                    </a:lnTo>
                    <a:lnTo>
                      <a:pt x="312" y="306"/>
                    </a:lnTo>
                    <a:lnTo>
                      <a:pt x="308" y="320"/>
                    </a:lnTo>
                    <a:lnTo>
                      <a:pt x="308" y="336"/>
                    </a:lnTo>
                    <a:lnTo>
                      <a:pt x="310" y="350"/>
                    </a:lnTo>
                    <a:lnTo>
                      <a:pt x="314" y="376"/>
                    </a:lnTo>
                    <a:lnTo>
                      <a:pt x="314" y="388"/>
                    </a:lnTo>
                    <a:lnTo>
                      <a:pt x="310" y="398"/>
                    </a:lnTo>
                    <a:lnTo>
                      <a:pt x="310" y="398"/>
                    </a:lnTo>
                    <a:lnTo>
                      <a:pt x="298" y="420"/>
                    </a:lnTo>
                    <a:lnTo>
                      <a:pt x="288" y="434"/>
                    </a:lnTo>
                    <a:lnTo>
                      <a:pt x="282" y="442"/>
                    </a:lnTo>
                    <a:lnTo>
                      <a:pt x="276" y="446"/>
                    </a:lnTo>
                    <a:lnTo>
                      <a:pt x="264" y="452"/>
                    </a:lnTo>
                    <a:lnTo>
                      <a:pt x="258" y="456"/>
                    </a:lnTo>
                    <a:lnTo>
                      <a:pt x="250" y="466"/>
                    </a:lnTo>
                    <a:lnTo>
                      <a:pt x="250" y="466"/>
                    </a:lnTo>
                    <a:lnTo>
                      <a:pt x="240" y="478"/>
                    </a:lnTo>
                    <a:lnTo>
                      <a:pt x="228" y="484"/>
                    </a:lnTo>
                    <a:lnTo>
                      <a:pt x="218" y="488"/>
                    </a:lnTo>
                    <a:lnTo>
                      <a:pt x="206" y="490"/>
                    </a:lnTo>
                    <a:lnTo>
                      <a:pt x="196" y="492"/>
                    </a:lnTo>
                    <a:lnTo>
                      <a:pt x="188" y="496"/>
                    </a:lnTo>
                    <a:lnTo>
                      <a:pt x="180" y="500"/>
                    </a:lnTo>
                    <a:lnTo>
                      <a:pt x="174" y="510"/>
                    </a:lnTo>
                    <a:lnTo>
                      <a:pt x="174" y="510"/>
                    </a:lnTo>
                    <a:lnTo>
                      <a:pt x="164" y="538"/>
                    </a:lnTo>
                    <a:lnTo>
                      <a:pt x="156" y="556"/>
                    </a:lnTo>
                    <a:lnTo>
                      <a:pt x="148" y="566"/>
                    </a:lnTo>
                    <a:lnTo>
                      <a:pt x="140" y="572"/>
                    </a:lnTo>
                    <a:lnTo>
                      <a:pt x="134" y="574"/>
                    </a:lnTo>
                    <a:lnTo>
                      <a:pt x="128" y="578"/>
                    </a:lnTo>
                    <a:lnTo>
                      <a:pt x="124" y="584"/>
                    </a:lnTo>
                    <a:lnTo>
                      <a:pt x="120" y="596"/>
                    </a:lnTo>
                    <a:lnTo>
                      <a:pt x="120" y="596"/>
                    </a:lnTo>
                    <a:lnTo>
                      <a:pt x="116" y="610"/>
                    </a:lnTo>
                    <a:lnTo>
                      <a:pt x="114" y="614"/>
                    </a:lnTo>
                    <a:lnTo>
                      <a:pt x="110" y="620"/>
                    </a:lnTo>
                    <a:lnTo>
                      <a:pt x="108" y="640"/>
                    </a:lnTo>
                    <a:lnTo>
                      <a:pt x="108" y="640"/>
                    </a:lnTo>
                    <a:lnTo>
                      <a:pt x="104" y="660"/>
                    </a:lnTo>
                    <a:lnTo>
                      <a:pt x="102" y="666"/>
                    </a:lnTo>
                    <a:lnTo>
                      <a:pt x="98" y="670"/>
                    </a:lnTo>
                    <a:lnTo>
                      <a:pt x="90" y="678"/>
                    </a:lnTo>
                    <a:lnTo>
                      <a:pt x="78" y="692"/>
                    </a:lnTo>
                    <a:lnTo>
                      <a:pt x="78" y="692"/>
                    </a:lnTo>
                    <a:lnTo>
                      <a:pt x="64" y="706"/>
                    </a:lnTo>
                    <a:lnTo>
                      <a:pt x="58" y="712"/>
                    </a:lnTo>
                    <a:lnTo>
                      <a:pt x="58" y="714"/>
                    </a:lnTo>
                    <a:lnTo>
                      <a:pt x="60" y="714"/>
                    </a:lnTo>
                    <a:lnTo>
                      <a:pt x="64" y="714"/>
                    </a:lnTo>
                    <a:lnTo>
                      <a:pt x="64" y="714"/>
                    </a:lnTo>
                    <a:lnTo>
                      <a:pt x="66" y="714"/>
                    </a:lnTo>
                    <a:lnTo>
                      <a:pt x="66" y="716"/>
                    </a:lnTo>
                    <a:lnTo>
                      <a:pt x="60" y="726"/>
                    </a:lnTo>
                    <a:lnTo>
                      <a:pt x="54" y="740"/>
                    </a:lnTo>
                    <a:lnTo>
                      <a:pt x="52" y="750"/>
                    </a:lnTo>
                    <a:lnTo>
                      <a:pt x="50" y="762"/>
                    </a:lnTo>
                    <a:lnTo>
                      <a:pt x="50" y="762"/>
                    </a:lnTo>
                    <a:lnTo>
                      <a:pt x="48" y="772"/>
                    </a:lnTo>
                    <a:lnTo>
                      <a:pt x="46" y="778"/>
                    </a:lnTo>
                    <a:lnTo>
                      <a:pt x="42" y="782"/>
                    </a:lnTo>
                    <a:lnTo>
                      <a:pt x="36" y="786"/>
                    </a:lnTo>
                    <a:lnTo>
                      <a:pt x="32" y="788"/>
                    </a:lnTo>
                    <a:lnTo>
                      <a:pt x="28" y="794"/>
                    </a:lnTo>
                    <a:lnTo>
                      <a:pt x="24" y="800"/>
                    </a:lnTo>
                    <a:lnTo>
                      <a:pt x="20" y="812"/>
                    </a:lnTo>
                    <a:lnTo>
                      <a:pt x="20" y="812"/>
                    </a:lnTo>
                    <a:lnTo>
                      <a:pt x="16" y="834"/>
                    </a:lnTo>
                    <a:lnTo>
                      <a:pt x="14" y="850"/>
                    </a:lnTo>
                    <a:lnTo>
                      <a:pt x="16" y="858"/>
                    </a:lnTo>
                    <a:lnTo>
                      <a:pt x="16" y="860"/>
                    </a:lnTo>
                    <a:lnTo>
                      <a:pt x="18" y="860"/>
                    </a:lnTo>
                    <a:lnTo>
                      <a:pt x="18" y="860"/>
                    </a:lnTo>
                    <a:lnTo>
                      <a:pt x="20" y="860"/>
                    </a:lnTo>
                    <a:lnTo>
                      <a:pt x="22" y="858"/>
                    </a:lnTo>
                    <a:lnTo>
                      <a:pt x="22" y="852"/>
                    </a:lnTo>
                    <a:lnTo>
                      <a:pt x="24" y="846"/>
                    </a:lnTo>
                    <a:lnTo>
                      <a:pt x="24" y="844"/>
                    </a:lnTo>
                    <a:lnTo>
                      <a:pt x="26" y="844"/>
                    </a:lnTo>
                    <a:lnTo>
                      <a:pt x="26" y="844"/>
                    </a:lnTo>
                    <a:lnTo>
                      <a:pt x="30" y="846"/>
                    </a:lnTo>
                    <a:lnTo>
                      <a:pt x="30" y="850"/>
                    </a:lnTo>
                    <a:lnTo>
                      <a:pt x="32" y="860"/>
                    </a:lnTo>
                    <a:lnTo>
                      <a:pt x="34" y="868"/>
                    </a:lnTo>
                    <a:lnTo>
                      <a:pt x="36" y="868"/>
                    </a:lnTo>
                    <a:lnTo>
                      <a:pt x="38" y="868"/>
                    </a:lnTo>
                    <a:lnTo>
                      <a:pt x="38" y="868"/>
                    </a:lnTo>
                    <a:lnTo>
                      <a:pt x="42" y="868"/>
                    </a:lnTo>
                    <a:lnTo>
                      <a:pt x="44" y="868"/>
                    </a:lnTo>
                    <a:lnTo>
                      <a:pt x="48" y="878"/>
                    </a:lnTo>
                    <a:lnTo>
                      <a:pt x="50" y="890"/>
                    </a:lnTo>
                    <a:lnTo>
                      <a:pt x="50" y="902"/>
                    </a:lnTo>
                    <a:lnTo>
                      <a:pt x="50" y="902"/>
                    </a:lnTo>
                    <a:lnTo>
                      <a:pt x="50" y="910"/>
                    </a:lnTo>
                    <a:lnTo>
                      <a:pt x="46" y="918"/>
                    </a:lnTo>
                    <a:lnTo>
                      <a:pt x="42" y="926"/>
                    </a:lnTo>
                    <a:lnTo>
                      <a:pt x="38" y="930"/>
                    </a:lnTo>
                    <a:lnTo>
                      <a:pt x="40" y="932"/>
                    </a:lnTo>
                    <a:lnTo>
                      <a:pt x="42" y="936"/>
                    </a:lnTo>
                    <a:lnTo>
                      <a:pt x="42" y="936"/>
                    </a:lnTo>
                    <a:lnTo>
                      <a:pt x="46" y="940"/>
                    </a:lnTo>
                    <a:lnTo>
                      <a:pt x="50" y="948"/>
                    </a:lnTo>
                    <a:lnTo>
                      <a:pt x="54" y="958"/>
                    </a:lnTo>
                    <a:lnTo>
                      <a:pt x="58" y="972"/>
                    </a:lnTo>
                    <a:lnTo>
                      <a:pt x="60" y="986"/>
                    </a:lnTo>
                    <a:lnTo>
                      <a:pt x="60" y="1002"/>
                    </a:lnTo>
                    <a:lnTo>
                      <a:pt x="58" y="1016"/>
                    </a:lnTo>
                    <a:lnTo>
                      <a:pt x="54" y="1030"/>
                    </a:lnTo>
                    <a:lnTo>
                      <a:pt x="54" y="1030"/>
                    </a:lnTo>
                    <a:lnTo>
                      <a:pt x="42" y="1066"/>
                    </a:lnTo>
                    <a:lnTo>
                      <a:pt x="40" y="1076"/>
                    </a:lnTo>
                    <a:lnTo>
                      <a:pt x="40" y="1086"/>
                    </a:lnTo>
                    <a:lnTo>
                      <a:pt x="40" y="1086"/>
                    </a:lnTo>
                    <a:lnTo>
                      <a:pt x="40" y="1102"/>
                    </a:lnTo>
                    <a:lnTo>
                      <a:pt x="34" y="1122"/>
                    </a:lnTo>
                    <a:lnTo>
                      <a:pt x="28" y="1132"/>
                    </a:lnTo>
                    <a:lnTo>
                      <a:pt x="22" y="1142"/>
                    </a:lnTo>
                    <a:lnTo>
                      <a:pt x="16" y="1150"/>
                    </a:lnTo>
                    <a:lnTo>
                      <a:pt x="6" y="1156"/>
                    </a:lnTo>
                    <a:lnTo>
                      <a:pt x="6" y="1156"/>
                    </a:lnTo>
                    <a:lnTo>
                      <a:pt x="2" y="1160"/>
                    </a:lnTo>
                    <a:lnTo>
                      <a:pt x="0" y="1162"/>
                    </a:lnTo>
                    <a:lnTo>
                      <a:pt x="2" y="1164"/>
                    </a:lnTo>
                    <a:lnTo>
                      <a:pt x="10" y="1164"/>
                    </a:lnTo>
                    <a:lnTo>
                      <a:pt x="10" y="1164"/>
                    </a:lnTo>
                    <a:lnTo>
                      <a:pt x="14" y="1164"/>
                    </a:lnTo>
                    <a:lnTo>
                      <a:pt x="16" y="1168"/>
                    </a:lnTo>
                    <a:lnTo>
                      <a:pt x="22" y="1184"/>
                    </a:lnTo>
                    <a:lnTo>
                      <a:pt x="30" y="1202"/>
                    </a:lnTo>
                    <a:lnTo>
                      <a:pt x="34" y="1210"/>
                    </a:lnTo>
                    <a:lnTo>
                      <a:pt x="38" y="1218"/>
                    </a:lnTo>
                    <a:lnTo>
                      <a:pt x="38" y="1218"/>
                    </a:lnTo>
                    <a:lnTo>
                      <a:pt x="40" y="1222"/>
                    </a:lnTo>
                    <a:lnTo>
                      <a:pt x="44" y="1224"/>
                    </a:lnTo>
                    <a:lnTo>
                      <a:pt x="46" y="1226"/>
                    </a:lnTo>
                    <a:lnTo>
                      <a:pt x="52" y="1226"/>
                    </a:lnTo>
                    <a:lnTo>
                      <a:pt x="64" y="1224"/>
                    </a:lnTo>
                    <a:lnTo>
                      <a:pt x="80" y="1224"/>
                    </a:lnTo>
                    <a:lnTo>
                      <a:pt x="80" y="1224"/>
                    </a:lnTo>
                    <a:lnTo>
                      <a:pt x="62" y="1228"/>
                    </a:lnTo>
                    <a:lnTo>
                      <a:pt x="50" y="1232"/>
                    </a:lnTo>
                    <a:lnTo>
                      <a:pt x="40" y="1232"/>
                    </a:lnTo>
                    <a:lnTo>
                      <a:pt x="38" y="1232"/>
                    </a:lnTo>
                    <a:lnTo>
                      <a:pt x="36" y="1228"/>
                    </a:lnTo>
                    <a:lnTo>
                      <a:pt x="36" y="1228"/>
                    </a:lnTo>
                    <a:lnTo>
                      <a:pt x="34" y="1226"/>
                    </a:lnTo>
                    <a:lnTo>
                      <a:pt x="32" y="1224"/>
                    </a:lnTo>
                    <a:lnTo>
                      <a:pt x="28" y="1228"/>
                    </a:lnTo>
                    <a:lnTo>
                      <a:pt x="26" y="1234"/>
                    </a:lnTo>
                    <a:lnTo>
                      <a:pt x="28" y="1242"/>
                    </a:lnTo>
                    <a:lnTo>
                      <a:pt x="28" y="1242"/>
                    </a:lnTo>
                    <a:lnTo>
                      <a:pt x="30" y="1252"/>
                    </a:lnTo>
                    <a:lnTo>
                      <a:pt x="30" y="1260"/>
                    </a:lnTo>
                    <a:lnTo>
                      <a:pt x="30" y="1264"/>
                    </a:lnTo>
                    <a:lnTo>
                      <a:pt x="32" y="1264"/>
                    </a:lnTo>
                    <a:lnTo>
                      <a:pt x="34" y="1264"/>
                    </a:lnTo>
                    <a:lnTo>
                      <a:pt x="34" y="1264"/>
                    </a:lnTo>
                    <a:lnTo>
                      <a:pt x="40" y="1262"/>
                    </a:lnTo>
                    <a:lnTo>
                      <a:pt x="44" y="1264"/>
                    </a:lnTo>
                    <a:lnTo>
                      <a:pt x="48" y="1266"/>
                    </a:lnTo>
                    <a:lnTo>
                      <a:pt x="54" y="1264"/>
                    </a:lnTo>
                    <a:lnTo>
                      <a:pt x="54" y="1264"/>
                    </a:lnTo>
                    <a:lnTo>
                      <a:pt x="60" y="1264"/>
                    </a:lnTo>
                    <a:lnTo>
                      <a:pt x="64" y="1264"/>
                    </a:lnTo>
                    <a:lnTo>
                      <a:pt x="70" y="1268"/>
                    </a:lnTo>
                    <a:lnTo>
                      <a:pt x="76" y="1268"/>
                    </a:lnTo>
                    <a:lnTo>
                      <a:pt x="76" y="1268"/>
                    </a:lnTo>
                    <a:lnTo>
                      <a:pt x="64" y="1270"/>
                    </a:lnTo>
                    <a:lnTo>
                      <a:pt x="54" y="1270"/>
                    </a:lnTo>
                    <a:lnTo>
                      <a:pt x="44" y="1268"/>
                    </a:lnTo>
                    <a:lnTo>
                      <a:pt x="38" y="1266"/>
                    </a:lnTo>
                    <a:lnTo>
                      <a:pt x="36" y="1268"/>
                    </a:lnTo>
                    <a:lnTo>
                      <a:pt x="32" y="1270"/>
                    </a:lnTo>
                    <a:lnTo>
                      <a:pt x="32" y="1270"/>
                    </a:lnTo>
                    <a:lnTo>
                      <a:pt x="30" y="1274"/>
                    </a:lnTo>
                    <a:lnTo>
                      <a:pt x="30" y="1276"/>
                    </a:lnTo>
                    <a:lnTo>
                      <a:pt x="34" y="1278"/>
                    </a:lnTo>
                    <a:lnTo>
                      <a:pt x="38" y="1282"/>
                    </a:lnTo>
                    <a:lnTo>
                      <a:pt x="38" y="1282"/>
                    </a:lnTo>
                    <a:lnTo>
                      <a:pt x="40" y="1286"/>
                    </a:lnTo>
                    <a:lnTo>
                      <a:pt x="42" y="1286"/>
                    </a:lnTo>
                    <a:lnTo>
                      <a:pt x="48" y="1284"/>
                    </a:lnTo>
                    <a:lnTo>
                      <a:pt x="52" y="1284"/>
                    </a:lnTo>
                    <a:lnTo>
                      <a:pt x="50" y="1290"/>
                    </a:lnTo>
                    <a:lnTo>
                      <a:pt x="50" y="1290"/>
                    </a:lnTo>
                    <a:lnTo>
                      <a:pt x="46" y="1296"/>
                    </a:lnTo>
                    <a:lnTo>
                      <a:pt x="48" y="1298"/>
                    </a:lnTo>
                    <a:lnTo>
                      <a:pt x="48" y="1300"/>
                    </a:lnTo>
                    <a:lnTo>
                      <a:pt x="54" y="1300"/>
                    </a:lnTo>
                    <a:lnTo>
                      <a:pt x="60" y="1300"/>
                    </a:lnTo>
                    <a:lnTo>
                      <a:pt x="60" y="1300"/>
                    </a:lnTo>
                    <a:lnTo>
                      <a:pt x="64" y="1298"/>
                    </a:lnTo>
                    <a:lnTo>
                      <a:pt x="64" y="1300"/>
                    </a:lnTo>
                    <a:lnTo>
                      <a:pt x="64" y="1306"/>
                    </a:lnTo>
                    <a:lnTo>
                      <a:pt x="64" y="1312"/>
                    </a:lnTo>
                    <a:lnTo>
                      <a:pt x="66" y="1312"/>
                    </a:lnTo>
                    <a:lnTo>
                      <a:pt x="70" y="1310"/>
                    </a:lnTo>
                    <a:lnTo>
                      <a:pt x="70" y="1310"/>
                    </a:lnTo>
                    <a:lnTo>
                      <a:pt x="78" y="1304"/>
                    </a:lnTo>
                    <a:lnTo>
                      <a:pt x="86" y="1300"/>
                    </a:lnTo>
                    <a:lnTo>
                      <a:pt x="88" y="1300"/>
                    </a:lnTo>
                    <a:lnTo>
                      <a:pt x="88" y="1302"/>
                    </a:lnTo>
                    <a:lnTo>
                      <a:pt x="82" y="1304"/>
                    </a:lnTo>
                    <a:lnTo>
                      <a:pt x="82" y="1304"/>
                    </a:lnTo>
                    <a:lnTo>
                      <a:pt x="80" y="1306"/>
                    </a:lnTo>
                    <a:lnTo>
                      <a:pt x="78" y="1308"/>
                    </a:lnTo>
                    <a:lnTo>
                      <a:pt x="80" y="1312"/>
                    </a:lnTo>
                    <a:lnTo>
                      <a:pt x="82" y="1318"/>
                    </a:lnTo>
                    <a:lnTo>
                      <a:pt x="84" y="1320"/>
                    </a:lnTo>
                    <a:lnTo>
                      <a:pt x="82" y="1324"/>
                    </a:lnTo>
                    <a:lnTo>
                      <a:pt x="82" y="1324"/>
                    </a:lnTo>
                    <a:lnTo>
                      <a:pt x="80" y="1328"/>
                    </a:lnTo>
                    <a:lnTo>
                      <a:pt x="82" y="1328"/>
                    </a:lnTo>
                    <a:lnTo>
                      <a:pt x="84" y="1328"/>
                    </a:lnTo>
                    <a:lnTo>
                      <a:pt x="86" y="1332"/>
                    </a:lnTo>
                    <a:lnTo>
                      <a:pt x="86" y="1332"/>
                    </a:lnTo>
                    <a:lnTo>
                      <a:pt x="86" y="1336"/>
                    </a:lnTo>
                    <a:lnTo>
                      <a:pt x="88" y="1336"/>
                    </a:lnTo>
                    <a:lnTo>
                      <a:pt x="90" y="1338"/>
                    </a:lnTo>
                    <a:lnTo>
                      <a:pt x="90" y="1342"/>
                    </a:lnTo>
                    <a:lnTo>
                      <a:pt x="90" y="1342"/>
                    </a:lnTo>
                    <a:lnTo>
                      <a:pt x="92" y="1346"/>
                    </a:lnTo>
                    <a:lnTo>
                      <a:pt x="94" y="1344"/>
                    </a:lnTo>
                    <a:lnTo>
                      <a:pt x="100" y="1336"/>
                    </a:lnTo>
                    <a:lnTo>
                      <a:pt x="100" y="1336"/>
                    </a:lnTo>
                    <a:lnTo>
                      <a:pt x="98" y="1344"/>
                    </a:lnTo>
                    <a:lnTo>
                      <a:pt x="100" y="1348"/>
                    </a:lnTo>
                    <a:lnTo>
                      <a:pt x="100" y="1348"/>
                    </a:lnTo>
                    <a:lnTo>
                      <a:pt x="98" y="1352"/>
                    </a:lnTo>
                    <a:lnTo>
                      <a:pt x="100" y="1356"/>
                    </a:lnTo>
                    <a:lnTo>
                      <a:pt x="100" y="1356"/>
                    </a:lnTo>
                    <a:lnTo>
                      <a:pt x="102" y="1356"/>
                    </a:lnTo>
                    <a:lnTo>
                      <a:pt x="102" y="1356"/>
                    </a:lnTo>
                    <a:lnTo>
                      <a:pt x="104" y="1352"/>
                    </a:lnTo>
                    <a:lnTo>
                      <a:pt x="108" y="1346"/>
                    </a:lnTo>
                    <a:lnTo>
                      <a:pt x="110" y="1344"/>
                    </a:lnTo>
                    <a:lnTo>
                      <a:pt x="114" y="1344"/>
                    </a:lnTo>
                    <a:lnTo>
                      <a:pt x="114" y="1344"/>
                    </a:lnTo>
                    <a:lnTo>
                      <a:pt x="116" y="1344"/>
                    </a:lnTo>
                    <a:lnTo>
                      <a:pt x="112" y="1346"/>
                    </a:lnTo>
                    <a:lnTo>
                      <a:pt x="110" y="1350"/>
                    </a:lnTo>
                    <a:lnTo>
                      <a:pt x="110" y="1354"/>
                    </a:lnTo>
                    <a:lnTo>
                      <a:pt x="110" y="1358"/>
                    </a:lnTo>
                    <a:lnTo>
                      <a:pt x="110" y="1358"/>
                    </a:lnTo>
                    <a:lnTo>
                      <a:pt x="112" y="1360"/>
                    </a:lnTo>
                    <a:lnTo>
                      <a:pt x="114" y="1360"/>
                    </a:lnTo>
                    <a:lnTo>
                      <a:pt x="118" y="1356"/>
                    </a:lnTo>
                    <a:lnTo>
                      <a:pt x="118" y="1354"/>
                    </a:lnTo>
                    <a:lnTo>
                      <a:pt x="118" y="1362"/>
                    </a:lnTo>
                    <a:lnTo>
                      <a:pt x="118" y="1362"/>
                    </a:lnTo>
                    <a:lnTo>
                      <a:pt x="118" y="1372"/>
                    </a:lnTo>
                    <a:lnTo>
                      <a:pt x="118" y="1372"/>
                    </a:lnTo>
                    <a:lnTo>
                      <a:pt x="120" y="1378"/>
                    </a:lnTo>
                    <a:lnTo>
                      <a:pt x="120" y="1378"/>
                    </a:lnTo>
                    <a:lnTo>
                      <a:pt x="124" y="1384"/>
                    </a:lnTo>
                    <a:lnTo>
                      <a:pt x="128" y="1386"/>
                    </a:lnTo>
                    <a:lnTo>
                      <a:pt x="134" y="1388"/>
                    </a:lnTo>
                    <a:lnTo>
                      <a:pt x="140" y="1392"/>
                    </a:lnTo>
                    <a:lnTo>
                      <a:pt x="140" y="1392"/>
                    </a:lnTo>
                    <a:lnTo>
                      <a:pt x="146" y="1398"/>
                    </a:lnTo>
                    <a:lnTo>
                      <a:pt x="154" y="1402"/>
                    </a:lnTo>
                    <a:lnTo>
                      <a:pt x="158" y="1404"/>
                    </a:lnTo>
                    <a:lnTo>
                      <a:pt x="158" y="1406"/>
                    </a:lnTo>
                    <a:lnTo>
                      <a:pt x="158" y="1408"/>
                    </a:lnTo>
                    <a:lnTo>
                      <a:pt x="158" y="1408"/>
                    </a:lnTo>
                    <a:lnTo>
                      <a:pt x="156" y="1414"/>
                    </a:lnTo>
                    <a:lnTo>
                      <a:pt x="154" y="1418"/>
                    </a:lnTo>
                    <a:lnTo>
                      <a:pt x="156" y="1420"/>
                    </a:lnTo>
                    <a:lnTo>
                      <a:pt x="162" y="1424"/>
                    </a:lnTo>
                    <a:lnTo>
                      <a:pt x="162" y="1424"/>
                    </a:lnTo>
                    <a:lnTo>
                      <a:pt x="166" y="1426"/>
                    </a:lnTo>
                    <a:lnTo>
                      <a:pt x="166" y="1430"/>
                    </a:lnTo>
                    <a:lnTo>
                      <a:pt x="168" y="1432"/>
                    </a:lnTo>
                    <a:lnTo>
                      <a:pt x="170" y="1434"/>
                    </a:lnTo>
                    <a:lnTo>
                      <a:pt x="170" y="1434"/>
                    </a:lnTo>
                    <a:lnTo>
                      <a:pt x="172" y="1436"/>
                    </a:lnTo>
                    <a:lnTo>
                      <a:pt x="170" y="1438"/>
                    </a:lnTo>
                    <a:lnTo>
                      <a:pt x="170" y="1440"/>
                    </a:lnTo>
                    <a:lnTo>
                      <a:pt x="170" y="1442"/>
                    </a:lnTo>
                    <a:lnTo>
                      <a:pt x="170" y="1442"/>
                    </a:lnTo>
                    <a:lnTo>
                      <a:pt x="176" y="1448"/>
                    </a:lnTo>
                    <a:lnTo>
                      <a:pt x="176" y="1450"/>
                    </a:lnTo>
                    <a:lnTo>
                      <a:pt x="174" y="1450"/>
                    </a:lnTo>
                    <a:lnTo>
                      <a:pt x="172" y="1452"/>
                    </a:lnTo>
                    <a:lnTo>
                      <a:pt x="170" y="1454"/>
                    </a:lnTo>
                    <a:lnTo>
                      <a:pt x="172" y="1458"/>
                    </a:lnTo>
                    <a:lnTo>
                      <a:pt x="172" y="1458"/>
                    </a:lnTo>
                    <a:lnTo>
                      <a:pt x="174" y="1462"/>
                    </a:lnTo>
                    <a:lnTo>
                      <a:pt x="176" y="1462"/>
                    </a:lnTo>
                    <a:lnTo>
                      <a:pt x="180" y="1462"/>
                    </a:lnTo>
                    <a:lnTo>
                      <a:pt x="186" y="1464"/>
                    </a:lnTo>
                    <a:lnTo>
                      <a:pt x="186" y="1464"/>
                    </a:lnTo>
                    <a:lnTo>
                      <a:pt x="182" y="1468"/>
                    </a:lnTo>
                    <a:lnTo>
                      <a:pt x="178" y="1470"/>
                    </a:lnTo>
                    <a:lnTo>
                      <a:pt x="172" y="1470"/>
                    </a:lnTo>
                    <a:lnTo>
                      <a:pt x="170" y="1468"/>
                    </a:lnTo>
                    <a:lnTo>
                      <a:pt x="170" y="1472"/>
                    </a:lnTo>
                    <a:lnTo>
                      <a:pt x="170" y="1472"/>
                    </a:lnTo>
                    <a:lnTo>
                      <a:pt x="174" y="1480"/>
                    </a:lnTo>
                    <a:lnTo>
                      <a:pt x="178" y="1482"/>
                    </a:lnTo>
                    <a:lnTo>
                      <a:pt x="182" y="1482"/>
                    </a:lnTo>
                    <a:lnTo>
                      <a:pt x="184" y="1486"/>
                    </a:lnTo>
                    <a:lnTo>
                      <a:pt x="184" y="1486"/>
                    </a:lnTo>
                    <a:lnTo>
                      <a:pt x="186" y="1492"/>
                    </a:lnTo>
                    <a:lnTo>
                      <a:pt x="184" y="1494"/>
                    </a:lnTo>
                    <a:lnTo>
                      <a:pt x="182" y="1496"/>
                    </a:lnTo>
                    <a:lnTo>
                      <a:pt x="182" y="1498"/>
                    </a:lnTo>
                    <a:lnTo>
                      <a:pt x="182" y="1498"/>
                    </a:lnTo>
                    <a:lnTo>
                      <a:pt x="186" y="1502"/>
                    </a:lnTo>
                    <a:lnTo>
                      <a:pt x="192" y="1504"/>
                    </a:lnTo>
                    <a:lnTo>
                      <a:pt x="196" y="1506"/>
                    </a:lnTo>
                    <a:lnTo>
                      <a:pt x="202" y="1510"/>
                    </a:lnTo>
                    <a:lnTo>
                      <a:pt x="202" y="1510"/>
                    </a:lnTo>
                    <a:lnTo>
                      <a:pt x="204" y="1512"/>
                    </a:lnTo>
                    <a:lnTo>
                      <a:pt x="204" y="1514"/>
                    </a:lnTo>
                    <a:lnTo>
                      <a:pt x="202" y="1518"/>
                    </a:lnTo>
                    <a:lnTo>
                      <a:pt x="200" y="1520"/>
                    </a:lnTo>
                    <a:lnTo>
                      <a:pt x="202" y="1520"/>
                    </a:lnTo>
                    <a:lnTo>
                      <a:pt x="208" y="1524"/>
                    </a:lnTo>
                    <a:lnTo>
                      <a:pt x="208" y="1524"/>
                    </a:lnTo>
                    <a:lnTo>
                      <a:pt x="228" y="1534"/>
                    </a:lnTo>
                    <a:lnTo>
                      <a:pt x="236" y="1538"/>
                    </a:lnTo>
                    <a:lnTo>
                      <a:pt x="242" y="1546"/>
                    </a:lnTo>
                    <a:lnTo>
                      <a:pt x="242" y="1546"/>
                    </a:lnTo>
                    <a:lnTo>
                      <a:pt x="246" y="1552"/>
                    </a:lnTo>
                    <a:lnTo>
                      <a:pt x="250" y="1556"/>
                    </a:lnTo>
                    <a:lnTo>
                      <a:pt x="260" y="1562"/>
                    </a:lnTo>
                    <a:lnTo>
                      <a:pt x="268" y="1566"/>
                    </a:lnTo>
                    <a:lnTo>
                      <a:pt x="270" y="1570"/>
                    </a:lnTo>
                    <a:lnTo>
                      <a:pt x="272" y="1574"/>
                    </a:lnTo>
                    <a:lnTo>
                      <a:pt x="272" y="1574"/>
                    </a:lnTo>
                    <a:lnTo>
                      <a:pt x="272" y="1576"/>
                    </a:lnTo>
                    <a:lnTo>
                      <a:pt x="274" y="1578"/>
                    </a:lnTo>
                    <a:lnTo>
                      <a:pt x="282" y="1582"/>
                    </a:lnTo>
                    <a:lnTo>
                      <a:pt x="294" y="1590"/>
                    </a:lnTo>
                    <a:lnTo>
                      <a:pt x="302" y="1596"/>
                    </a:lnTo>
                    <a:lnTo>
                      <a:pt x="310" y="1606"/>
                    </a:lnTo>
                    <a:lnTo>
                      <a:pt x="310" y="1606"/>
                    </a:lnTo>
                    <a:lnTo>
                      <a:pt x="328" y="1626"/>
                    </a:lnTo>
                    <a:lnTo>
                      <a:pt x="346" y="1644"/>
                    </a:lnTo>
                    <a:lnTo>
                      <a:pt x="364" y="1654"/>
                    </a:lnTo>
                    <a:lnTo>
                      <a:pt x="380" y="1660"/>
                    </a:lnTo>
                    <a:lnTo>
                      <a:pt x="380" y="1660"/>
                    </a:lnTo>
                    <a:lnTo>
                      <a:pt x="388" y="1664"/>
                    </a:lnTo>
                    <a:lnTo>
                      <a:pt x="392" y="1668"/>
                    </a:lnTo>
                    <a:lnTo>
                      <a:pt x="396" y="1670"/>
                    </a:lnTo>
                    <a:lnTo>
                      <a:pt x="402" y="1672"/>
                    </a:lnTo>
                    <a:lnTo>
                      <a:pt x="402" y="1672"/>
                    </a:lnTo>
                    <a:lnTo>
                      <a:pt x="408" y="1670"/>
                    </a:lnTo>
                    <a:lnTo>
                      <a:pt x="412" y="1666"/>
                    </a:lnTo>
                    <a:lnTo>
                      <a:pt x="422" y="1658"/>
                    </a:lnTo>
                    <a:lnTo>
                      <a:pt x="436" y="1648"/>
                    </a:lnTo>
                    <a:lnTo>
                      <a:pt x="448" y="1642"/>
                    </a:lnTo>
                    <a:lnTo>
                      <a:pt x="462" y="1638"/>
                    </a:lnTo>
                    <a:lnTo>
                      <a:pt x="462" y="1638"/>
                    </a:lnTo>
                    <a:lnTo>
                      <a:pt x="488" y="1634"/>
                    </a:lnTo>
                    <a:lnTo>
                      <a:pt x="504" y="1632"/>
                    </a:lnTo>
                    <a:lnTo>
                      <a:pt x="516" y="1632"/>
                    </a:lnTo>
                    <a:lnTo>
                      <a:pt x="530" y="1630"/>
                    </a:lnTo>
                    <a:lnTo>
                      <a:pt x="530" y="1630"/>
                    </a:lnTo>
                    <a:lnTo>
                      <a:pt x="540" y="1628"/>
                    </a:lnTo>
                    <a:lnTo>
                      <a:pt x="554" y="1630"/>
                    </a:lnTo>
                    <a:lnTo>
                      <a:pt x="554" y="1630"/>
                    </a:lnTo>
                    <a:lnTo>
                      <a:pt x="566" y="1630"/>
                    </a:lnTo>
                    <a:lnTo>
                      <a:pt x="572" y="1630"/>
                    </a:lnTo>
                    <a:lnTo>
                      <a:pt x="576" y="1630"/>
                    </a:lnTo>
                    <a:lnTo>
                      <a:pt x="580" y="1630"/>
                    </a:lnTo>
                    <a:lnTo>
                      <a:pt x="580" y="1630"/>
                    </a:lnTo>
                    <a:lnTo>
                      <a:pt x="590" y="1632"/>
                    </a:lnTo>
                    <a:lnTo>
                      <a:pt x="592" y="1632"/>
                    </a:lnTo>
                    <a:lnTo>
                      <a:pt x="590" y="1632"/>
                    </a:lnTo>
                    <a:lnTo>
                      <a:pt x="590" y="1632"/>
                    </a:lnTo>
                    <a:lnTo>
                      <a:pt x="582" y="1634"/>
                    </a:lnTo>
                    <a:lnTo>
                      <a:pt x="578" y="1634"/>
                    </a:lnTo>
                    <a:lnTo>
                      <a:pt x="576" y="1636"/>
                    </a:lnTo>
                    <a:lnTo>
                      <a:pt x="578" y="1636"/>
                    </a:lnTo>
                    <a:lnTo>
                      <a:pt x="578" y="1636"/>
                    </a:lnTo>
                    <a:lnTo>
                      <a:pt x="594" y="1640"/>
                    </a:lnTo>
                    <a:lnTo>
                      <a:pt x="606" y="1644"/>
                    </a:lnTo>
                    <a:lnTo>
                      <a:pt x="618" y="1650"/>
                    </a:lnTo>
                    <a:lnTo>
                      <a:pt x="618" y="1650"/>
                    </a:lnTo>
                    <a:lnTo>
                      <a:pt x="622" y="1652"/>
                    </a:lnTo>
                    <a:lnTo>
                      <a:pt x="626" y="1652"/>
                    </a:lnTo>
                    <a:lnTo>
                      <a:pt x="636" y="1644"/>
                    </a:lnTo>
                    <a:lnTo>
                      <a:pt x="648" y="1636"/>
                    </a:lnTo>
                    <a:lnTo>
                      <a:pt x="656" y="1632"/>
                    </a:lnTo>
                    <a:lnTo>
                      <a:pt x="664" y="1630"/>
                    </a:lnTo>
                    <a:lnTo>
                      <a:pt x="664" y="1630"/>
                    </a:lnTo>
                    <a:lnTo>
                      <a:pt x="674" y="1628"/>
                    </a:lnTo>
                    <a:lnTo>
                      <a:pt x="680" y="1624"/>
                    </a:lnTo>
                    <a:lnTo>
                      <a:pt x="690" y="1614"/>
                    </a:lnTo>
                    <a:lnTo>
                      <a:pt x="698" y="1610"/>
                    </a:lnTo>
                    <a:lnTo>
                      <a:pt x="706" y="1606"/>
                    </a:lnTo>
                    <a:lnTo>
                      <a:pt x="716" y="1602"/>
                    </a:lnTo>
                    <a:lnTo>
                      <a:pt x="730" y="1600"/>
                    </a:lnTo>
                    <a:lnTo>
                      <a:pt x="730" y="1600"/>
                    </a:lnTo>
                    <a:lnTo>
                      <a:pt x="742" y="1598"/>
                    </a:lnTo>
                    <a:lnTo>
                      <a:pt x="746" y="1596"/>
                    </a:lnTo>
                    <a:lnTo>
                      <a:pt x="746" y="1594"/>
                    </a:lnTo>
                    <a:lnTo>
                      <a:pt x="748" y="1590"/>
                    </a:lnTo>
                    <a:lnTo>
                      <a:pt x="754" y="1586"/>
                    </a:lnTo>
                    <a:lnTo>
                      <a:pt x="754" y="1586"/>
                    </a:lnTo>
                    <a:lnTo>
                      <a:pt x="760" y="1582"/>
                    </a:lnTo>
                    <a:lnTo>
                      <a:pt x="774" y="1578"/>
                    </a:lnTo>
                    <a:lnTo>
                      <a:pt x="774" y="1578"/>
                    </a:lnTo>
                    <a:lnTo>
                      <a:pt x="796" y="1574"/>
                    </a:lnTo>
                    <a:lnTo>
                      <a:pt x="814" y="1572"/>
                    </a:lnTo>
                    <a:lnTo>
                      <a:pt x="814" y="1572"/>
                    </a:lnTo>
                    <a:lnTo>
                      <a:pt x="832" y="1572"/>
                    </a:lnTo>
                    <a:lnTo>
                      <a:pt x="838" y="1570"/>
                    </a:lnTo>
                    <a:lnTo>
                      <a:pt x="840" y="1568"/>
                    </a:lnTo>
                    <a:lnTo>
                      <a:pt x="840" y="1568"/>
                    </a:lnTo>
                    <a:lnTo>
                      <a:pt x="844" y="1564"/>
                    </a:lnTo>
                    <a:lnTo>
                      <a:pt x="846" y="1566"/>
                    </a:lnTo>
                    <a:lnTo>
                      <a:pt x="850" y="1570"/>
                    </a:lnTo>
                    <a:lnTo>
                      <a:pt x="860" y="1570"/>
                    </a:lnTo>
                    <a:lnTo>
                      <a:pt x="860" y="1570"/>
                    </a:lnTo>
                    <a:lnTo>
                      <a:pt x="874" y="1570"/>
                    </a:lnTo>
                    <a:lnTo>
                      <a:pt x="884" y="1574"/>
                    </a:lnTo>
                    <a:lnTo>
                      <a:pt x="890" y="1578"/>
                    </a:lnTo>
                    <a:lnTo>
                      <a:pt x="896" y="1584"/>
                    </a:lnTo>
                    <a:lnTo>
                      <a:pt x="908" y="1600"/>
                    </a:lnTo>
                    <a:lnTo>
                      <a:pt x="908" y="1600"/>
                    </a:lnTo>
                    <a:lnTo>
                      <a:pt x="916" y="1616"/>
                    </a:lnTo>
                    <a:lnTo>
                      <a:pt x="924" y="1642"/>
                    </a:lnTo>
                    <a:lnTo>
                      <a:pt x="930" y="1654"/>
                    </a:lnTo>
                    <a:lnTo>
                      <a:pt x="936" y="1664"/>
                    </a:lnTo>
                    <a:lnTo>
                      <a:pt x="944" y="1670"/>
                    </a:lnTo>
                    <a:lnTo>
                      <a:pt x="948" y="1672"/>
                    </a:lnTo>
                    <a:lnTo>
                      <a:pt x="954" y="1672"/>
                    </a:lnTo>
                    <a:lnTo>
                      <a:pt x="954" y="1672"/>
                    </a:lnTo>
                    <a:lnTo>
                      <a:pt x="970" y="1672"/>
                    </a:lnTo>
                    <a:lnTo>
                      <a:pt x="976" y="1672"/>
                    </a:lnTo>
                    <a:lnTo>
                      <a:pt x="984" y="1670"/>
                    </a:lnTo>
                    <a:lnTo>
                      <a:pt x="984" y="1670"/>
                    </a:lnTo>
                    <a:lnTo>
                      <a:pt x="990" y="1668"/>
                    </a:lnTo>
                    <a:lnTo>
                      <a:pt x="992" y="1664"/>
                    </a:lnTo>
                    <a:lnTo>
                      <a:pt x="992" y="1662"/>
                    </a:lnTo>
                    <a:lnTo>
                      <a:pt x="992" y="1658"/>
                    </a:lnTo>
                    <a:lnTo>
                      <a:pt x="992" y="1656"/>
                    </a:lnTo>
                    <a:lnTo>
                      <a:pt x="996" y="1658"/>
                    </a:lnTo>
                    <a:lnTo>
                      <a:pt x="996" y="1658"/>
                    </a:lnTo>
                    <a:lnTo>
                      <a:pt x="1002" y="1660"/>
                    </a:lnTo>
                    <a:lnTo>
                      <a:pt x="1008" y="1662"/>
                    </a:lnTo>
                    <a:lnTo>
                      <a:pt x="1018" y="1662"/>
                    </a:lnTo>
                    <a:lnTo>
                      <a:pt x="1028" y="1662"/>
                    </a:lnTo>
                    <a:lnTo>
                      <a:pt x="1036" y="1660"/>
                    </a:lnTo>
                    <a:lnTo>
                      <a:pt x="1040" y="1656"/>
                    </a:lnTo>
                    <a:lnTo>
                      <a:pt x="1042" y="1654"/>
                    </a:lnTo>
                    <a:lnTo>
                      <a:pt x="1042" y="1650"/>
                    </a:lnTo>
                    <a:lnTo>
                      <a:pt x="1036" y="1640"/>
                    </a:lnTo>
                    <a:lnTo>
                      <a:pt x="1048" y="1650"/>
                    </a:lnTo>
                    <a:lnTo>
                      <a:pt x="1048" y="1650"/>
                    </a:lnTo>
                    <a:lnTo>
                      <a:pt x="1048" y="1658"/>
                    </a:lnTo>
                    <a:lnTo>
                      <a:pt x="1050" y="1662"/>
                    </a:lnTo>
                    <a:lnTo>
                      <a:pt x="1052" y="1662"/>
                    </a:lnTo>
                    <a:lnTo>
                      <a:pt x="1056" y="1662"/>
                    </a:lnTo>
                    <a:lnTo>
                      <a:pt x="1060" y="1660"/>
                    </a:lnTo>
                    <a:lnTo>
                      <a:pt x="1062" y="1662"/>
                    </a:lnTo>
                    <a:lnTo>
                      <a:pt x="1064" y="1666"/>
                    </a:lnTo>
                    <a:lnTo>
                      <a:pt x="1064" y="1666"/>
                    </a:lnTo>
                    <a:lnTo>
                      <a:pt x="1066" y="1682"/>
                    </a:lnTo>
                    <a:lnTo>
                      <a:pt x="1070" y="1684"/>
                    </a:lnTo>
                    <a:lnTo>
                      <a:pt x="1076" y="1688"/>
                    </a:lnTo>
                    <a:lnTo>
                      <a:pt x="1076" y="1688"/>
                    </a:lnTo>
                    <a:lnTo>
                      <a:pt x="1082" y="1690"/>
                    </a:lnTo>
                    <a:lnTo>
                      <a:pt x="1084" y="1690"/>
                    </a:lnTo>
                    <a:lnTo>
                      <a:pt x="1086" y="1686"/>
                    </a:lnTo>
                    <a:lnTo>
                      <a:pt x="1088" y="1684"/>
                    </a:lnTo>
                    <a:lnTo>
                      <a:pt x="1090" y="1684"/>
                    </a:lnTo>
                    <a:lnTo>
                      <a:pt x="1094" y="1684"/>
                    </a:lnTo>
                    <a:lnTo>
                      <a:pt x="1094" y="1684"/>
                    </a:lnTo>
                    <a:lnTo>
                      <a:pt x="1096" y="1688"/>
                    </a:lnTo>
                    <a:lnTo>
                      <a:pt x="1096" y="1690"/>
                    </a:lnTo>
                    <a:lnTo>
                      <a:pt x="1094" y="1694"/>
                    </a:lnTo>
                    <a:lnTo>
                      <a:pt x="1090" y="1698"/>
                    </a:lnTo>
                    <a:lnTo>
                      <a:pt x="1090" y="1700"/>
                    </a:lnTo>
                    <a:lnTo>
                      <a:pt x="1092" y="1704"/>
                    </a:lnTo>
                    <a:lnTo>
                      <a:pt x="1092" y="1704"/>
                    </a:lnTo>
                    <a:lnTo>
                      <a:pt x="1096" y="1708"/>
                    </a:lnTo>
                    <a:lnTo>
                      <a:pt x="1094" y="1708"/>
                    </a:lnTo>
                    <a:lnTo>
                      <a:pt x="1094" y="1712"/>
                    </a:lnTo>
                    <a:lnTo>
                      <a:pt x="1100" y="1718"/>
                    </a:lnTo>
                    <a:lnTo>
                      <a:pt x="1100" y="1718"/>
                    </a:lnTo>
                    <a:lnTo>
                      <a:pt x="1102" y="1724"/>
                    </a:lnTo>
                    <a:lnTo>
                      <a:pt x="1104" y="1730"/>
                    </a:lnTo>
                    <a:lnTo>
                      <a:pt x="1104" y="1742"/>
                    </a:lnTo>
                    <a:lnTo>
                      <a:pt x="1100" y="1756"/>
                    </a:lnTo>
                    <a:lnTo>
                      <a:pt x="1100" y="1770"/>
                    </a:lnTo>
                    <a:lnTo>
                      <a:pt x="1100" y="1770"/>
                    </a:lnTo>
                    <a:lnTo>
                      <a:pt x="1100" y="1782"/>
                    </a:lnTo>
                    <a:lnTo>
                      <a:pt x="1098" y="1790"/>
                    </a:lnTo>
                    <a:lnTo>
                      <a:pt x="1094" y="1798"/>
                    </a:lnTo>
                    <a:lnTo>
                      <a:pt x="1090" y="1804"/>
                    </a:lnTo>
                    <a:lnTo>
                      <a:pt x="1084" y="1814"/>
                    </a:lnTo>
                    <a:lnTo>
                      <a:pt x="1082" y="1820"/>
                    </a:lnTo>
                    <a:lnTo>
                      <a:pt x="1082" y="1824"/>
                    </a:lnTo>
                    <a:lnTo>
                      <a:pt x="1082" y="1824"/>
                    </a:lnTo>
                    <a:lnTo>
                      <a:pt x="1082" y="1828"/>
                    </a:lnTo>
                    <a:lnTo>
                      <a:pt x="1084" y="1828"/>
                    </a:lnTo>
                    <a:lnTo>
                      <a:pt x="1088" y="1828"/>
                    </a:lnTo>
                    <a:lnTo>
                      <a:pt x="1092" y="1828"/>
                    </a:lnTo>
                    <a:lnTo>
                      <a:pt x="1090" y="1834"/>
                    </a:lnTo>
                    <a:lnTo>
                      <a:pt x="1090" y="1834"/>
                    </a:lnTo>
                    <a:lnTo>
                      <a:pt x="1090" y="1838"/>
                    </a:lnTo>
                    <a:lnTo>
                      <a:pt x="1092" y="1844"/>
                    </a:lnTo>
                    <a:lnTo>
                      <a:pt x="1094" y="1848"/>
                    </a:lnTo>
                    <a:lnTo>
                      <a:pt x="1092" y="1852"/>
                    </a:lnTo>
                    <a:lnTo>
                      <a:pt x="1092" y="1852"/>
                    </a:lnTo>
                    <a:lnTo>
                      <a:pt x="1090" y="1852"/>
                    </a:lnTo>
                    <a:lnTo>
                      <a:pt x="1088" y="1850"/>
                    </a:lnTo>
                    <a:lnTo>
                      <a:pt x="1086" y="1848"/>
                    </a:lnTo>
                    <a:lnTo>
                      <a:pt x="1082" y="1852"/>
                    </a:lnTo>
                    <a:lnTo>
                      <a:pt x="1082" y="1852"/>
                    </a:lnTo>
                    <a:lnTo>
                      <a:pt x="1082" y="1854"/>
                    </a:lnTo>
                    <a:lnTo>
                      <a:pt x="1082" y="1858"/>
                    </a:lnTo>
                    <a:lnTo>
                      <a:pt x="1086" y="1864"/>
                    </a:lnTo>
                    <a:lnTo>
                      <a:pt x="1094" y="1868"/>
                    </a:lnTo>
                    <a:lnTo>
                      <a:pt x="1106" y="1872"/>
                    </a:lnTo>
                    <a:lnTo>
                      <a:pt x="1106" y="1872"/>
                    </a:lnTo>
                    <a:lnTo>
                      <a:pt x="1110" y="1872"/>
                    </a:lnTo>
                    <a:lnTo>
                      <a:pt x="1110" y="1874"/>
                    </a:lnTo>
                    <a:lnTo>
                      <a:pt x="1110" y="1876"/>
                    </a:lnTo>
                    <a:lnTo>
                      <a:pt x="1106" y="1878"/>
                    </a:lnTo>
                    <a:lnTo>
                      <a:pt x="1104" y="1880"/>
                    </a:lnTo>
                    <a:lnTo>
                      <a:pt x="1098" y="1880"/>
                    </a:lnTo>
                    <a:lnTo>
                      <a:pt x="1094" y="1878"/>
                    </a:lnTo>
                    <a:lnTo>
                      <a:pt x="1090" y="1874"/>
                    </a:lnTo>
                    <a:lnTo>
                      <a:pt x="1090" y="1874"/>
                    </a:lnTo>
                    <a:lnTo>
                      <a:pt x="1084" y="1868"/>
                    </a:lnTo>
                    <a:lnTo>
                      <a:pt x="1082" y="1866"/>
                    </a:lnTo>
                    <a:lnTo>
                      <a:pt x="1080" y="1866"/>
                    </a:lnTo>
                    <a:lnTo>
                      <a:pt x="1080" y="1872"/>
                    </a:lnTo>
                    <a:lnTo>
                      <a:pt x="1080" y="1882"/>
                    </a:lnTo>
                    <a:lnTo>
                      <a:pt x="1080" y="1882"/>
                    </a:lnTo>
                    <a:lnTo>
                      <a:pt x="1078" y="1898"/>
                    </a:lnTo>
                    <a:lnTo>
                      <a:pt x="1074" y="1910"/>
                    </a:lnTo>
                    <a:lnTo>
                      <a:pt x="1072" y="1914"/>
                    </a:lnTo>
                    <a:lnTo>
                      <a:pt x="1068" y="1918"/>
                    </a:lnTo>
                    <a:lnTo>
                      <a:pt x="1066" y="1918"/>
                    </a:lnTo>
                    <a:lnTo>
                      <a:pt x="1062" y="1914"/>
                    </a:lnTo>
                    <a:lnTo>
                      <a:pt x="1062" y="1914"/>
                    </a:lnTo>
                    <a:lnTo>
                      <a:pt x="1056" y="1910"/>
                    </a:lnTo>
                    <a:lnTo>
                      <a:pt x="1056" y="1910"/>
                    </a:lnTo>
                    <a:lnTo>
                      <a:pt x="1056" y="1912"/>
                    </a:lnTo>
                    <a:lnTo>
                      <a:pt x="1058" y="1922"/>
                    </a:lnTo>
                    <a:lnTo>
                      <a:pt x="1064" y="1936"/>
                    </a:lnTo>
                    <a:lnTo>
                      <a:pt x="1064" y="1936"/>
                    </a:lnTo>
                    <a:lnTo>
                      <a:pt x="1076" y="1964"/>
                    </a:lnTo>
                    <a:lnTo>
                      <a:pt x="1080" y="1974"/>
                    </a:lnTo>
                    <a:lnTo>
                      <a:pt x="1084" y="1982"/>
                    </a:lnTo>
                    <a:lnTo>
                      <a:pt x="1084" y="1982"/>
                    </a:lnTo>
                    <a:lnTo>
                      <a:pt x="1088" y="1988"/>
                    </a:lnTo>
                    <a:lnTo>
                      <a:pt x="1094" y="1996"/>
                    </a:lnTo>
                    <a:lnTo>
                      <a:pt x="1100" y="2006"/>
                    </a:lnTo>
                    <a:lnTo>
                      <a:pt x="1110" y="2018"/>
                    </a:lnTo>
                    <a:lnTo>
                      <a:pt x="1110" y="2018"/>
                    </a:lnTo>
                    <a:lnTo>
                      <a:pt x="1132" y="2042"/>
                    </a:lnTo>
                    <a:lnTo>
                      <a:pt x="1140" y="2052"/>
                    </a:lnTo>
                    <a:lnTo>
                      <a:pt x="1142" y="2058"/>
                    </a:lnTo>
                    <a:lnTo>
                      <a:pt x="1150" y="2070"/>
                    </a:lnTo>
                    <a:lnTo>
                      <a:pt x="1150" y="2070"/>
                    </a:lnTo>
                    <a:lnTo>
                      <a:pt x="1172" y="2092"/>
                    </a:lnTo>
                    <a:lnTo>
                      <a:pt x="1178" y="2100"/>
                    </a:lnTo>
                    <a:lnTo>
                      <a:pt x="1180" y="2110"/>
                    </a:lnTo>
                    <a:lnTo>
                      <a:pt x="1180" y="2110"/>
                    </a:lnTo>
                    <a:lnTo>
                      <a:pt x="1184" y="2118"/>
                    </a:lnTo>
                    <a:lnTo>
                      <a:pt x="1190" y="2128"/>
                    </a:lnTo>
                    <a:lnTo>
                      <a:pt x="1190" y="2128"/>
                    </a:lnTo>
                    <a:lnTo>
                      <a:pt x="1194" y="2136"/>
                    </a:lnTo>
                    <a:lnTo>
                      <a:pt x="1196" y="2142"/>
                    </a:lnTo>
                    <a:lnTo>
                      <a:pt x="1194" y="2148"/>
                    </a:lnTo>
                    <a:lnTo>
                      <a:pt x="1194" y="2148"/>
                    </a:lnTo>
                    <a:lnTo>
                      <a:pt x="1194" y="2156"/>
                    </a:lnTo>
                    <a:lnTo>
                      <a:pt x="1194" y="2158"/>
                    </a:lnTo>
                    <a:lnTo>
                      <a:pt x="1196" y="2160"/>
                    </a:lnTo>
                    <a:lnTo>
                      <a:pt x="1198" y="2164"/>
                    </a:lnTo>
                    <a:lnTo>
                      <a:pt x="1198" y="2164"/>
                    </a:lnTo>
                    <a:lnTo>
                      <a:pt x="1200" y="2168"/>
                    </a:lnTo>
                    <a:lnTo>
                      <a:pt x="1204" y="2170"/>
                    </a:lnTo>
                    <a:lnTo>
                      <a:pt x="1208" y="2168"/>
                    </a:lnTo>
                    <a:lnTo>
                      <a:pt x="1216" y="2164"/>
                    </a:lnTo>
                    <a:lnTo>
                      <a:pt x="1216" y="2164"/>
                    </a:lnTo>
                    <a:lnTo>
                      <a:pt x="1222" y="2162"/>
                    </a:lnTo>
                    <a:lnTo>
                      <a:pt x="1226" y="2162"/>
                    </a:lnTo>
                    <a:lnTo>
                      <a:pt x="1234" y="2162"/>
                    </a:lnTo>
                    <a:lnTo>
                      <a:pt x="1234" y="2162"/>
                    </a:lnTo>
                    <a:lnTo>
                      <a:pt x="1226" y="2168"/>
                    </a:lnTo>
                    <a:lnTo>
                      <a:pt x="1220" y="2172"/>
                    </a:lnTo>
                    <a:lnTo>
                      <a:pt x="1208" y="2174"/>
                    </a:lnTo>
                    <a:lnTo>
                      <a:pt x="1202" y="2176"/>
                    </a:lnTo>
                    <a:lnTo>
                      <a:pt x="1200" y="2178"/>
                    </a:lnTo>
                    <a:lnTo>
                      <a:pt x="1202" y="2182"/>
                    </a:lnTo>
                    <a:lnTo>
                      <a:pt x="1202" y="2182"/>
                    </a:lnTo>
                    <a:lnTo>
                      <a:pt x="1212" y="2202"/>
                    </a:lnTo>
                    <a:lnTo>
                      <a:pt x="1226" y="2240"/>
                    </a:lnTo>
                    <a:lnTo>
                      <a:pt x="1232" y="2260"/>
                    </a:lnTo>
                    <a:lnTo>
                      <a:pt x="1238" y="2278"/>
                    </a:lnTo>
                    <a:lnTo>
                      <a:pt x="1238" y="2294"/>
                    </a:lnTo>
                    <a:lnTo>
                      <a:pt x="1236" y="2300"/>
                    </a:lnTo>
                    <a:lnTo>
                      <a:pt x="1234" y="2306"/>
                    </a:lnTo>
                    <a:lnTo>
                      <a:pt x="1234" y="2306"/>
                    </a:lnTo>
                    <a:lnTo>
                      <a:pt x="1230" y="2314"/>
                    </a:lnTo>
                    <a:lnTo>
                      <a:pt x="1230" y="2324"/>
                    </a:lnTo>
                    <a:lnTo>
                      <a:pt x="1230" y="2336"/>
                    </a:lnTo>
                    <a:lnTo>
                      <a:pt x="1234" y="2346"/>
                    </a:lnTo>
                    <a:lnTo>
                      <a:pt x="1246" y="2372"/>
                    </a:lnTo>
                    <a:lnTo>
                      <a:pt x="1256" y="2396"/>
                    </a:lnTo>
                    <a:lnTo>
                      <a:pt x="1256" y="2396"/>
                    </a:lnTo>
                    <a:lnTo>
                      <a:pt x="1260" y="2408"/>
                    </a:lnTo>
                    <a:lnTo>
                      <a:pt x="1262" y="2422"/>
                    </a:lnTo>
                    <a:lnTo>
                      <a:pt x="1262" y="2436"/>
                    </a:lnTo>
                    <a:lnTo>
                      <a:pt x="1262" y="2450"/>
                    </a:lnTo>
                    <a:lnTo>
                      <a:pt x="1258" y="2464"/>
                    </a:lnTo>
                    <a:lnTo>
                      <a:pt x="1254" y="2476"/>
                    </a:lnTo>
                    <a:lnTo>
                      <a:pt x="1246" y="2486"/>
                    </a:lnTo>
                    <a:lnTo>
                      <a:pt x="1238" y="2494"/>
                    </a:lnTo>
                    <a:lnTo>
                      <a:pt x="1238" y="2494"/>
                    </a:lnTo>
                    <a:lnTo>
                      <a:pt x="1230" y="2502"/>
                    </a:lnTo>
                    <a:lnTo>
                      <a:pt x="1222" y="2510"/>
                    </a:lnTo>
                    <a:lnTo>
                      <a:pt x="1218" y="2518"/>
                    </a:lnTo>
                    <a:lnTo>
                      <a:pt x="1212" y="2528"/>
                    </a:lnTo>
                    <a:lnTo>
                      <a:pt x="1206" y="2548"/>
                    </a:lnTo>
                    <a:lnTo>
                      <a:pt x="1202" y="2570"/>
                    </a:lnTo>
                    <a:lnTo>
                      <a:pt x="1196" y="2610"/>
                    </a:lnTo>
                    <a:lnTo>
                      <a:pt x="1192" y="2626"/>
                    </a:lnTo>
                    <a:lnTo>
                      <a:pt x="1188" y="2640"/>
                    </a:lnTo>
                    <a:lnTo>
                      <a:pt x="1188" y="2640"/>
                    </a:lnTo>
                    <a:lnTo>
                      <a:pt x="1182" y="2652"/>
                    </a:lnTo>
                    <a:lnTo>
                      <a:pt x="1178" y="2662"/>
                    </a:lnTo>
                    <a:lnTo>
                      <a:pt x="1176" y="2670"/>
                    </a:lnTo>
                    <a:lnTo>
                      <a:pt x="1176" y="2680"/>
                    </a:lnTo>
                    <a:lnTo>
                      <a:pt x="1178" y="2700"/>
                    </a:lnTo>
                    <a:lnTo>
                      <a:pt x="1178" y="2712"/>
                    </a:lnTo>
                    <a:lnTo>
                      <a:pt x="1178" y="2726"/>
                    </a:lnTo>
                    <a:lnTo>
                      <a:pt x="1178" y="2726"/>
                    </a:lnTo>
                    <a:lnTo>
                      <a:pt x="1176" y="2736"/>
                    </a:lnTo>
                    <a:lnTo>
                      <a:pt x="1176" y="2746"/>
                    </a:lnTo>
                    <a:lnTo>
                      <a:pt x="1180" y="2764"/>
                    </a:lnTo>
                    <a:lnTo>
                      <a:pt x="1188" y="2784"/>
                    </a:lnTo>
                    <a:lnTo>
                      <a:pt x="1200" y="2804"/>
                    </a:lnTo>
                    <a:lnTo>
                      <a:pt x="1222" y="2850"/>
                    </a:lnTo>
                    <a:lnTo>
                      <a:pt x="1234" y="2876"/>
                    </a:lnTo>
                    <a:lnTo>
                      <a:pt x="1242" y="2904"/>
                    </a:lnTo>
                    <a:lnTo>
                      <a:pt x="1242" y="2904"/>
                    </a:lnTo>
                    <a:lnTo>
                      <a:pt x="1250" y="2930"/>
                    </a:lnTo>
                    <a:lnTo>
                      <a:pt x="1260" y="2946"/>
                    </a:lnTo>
                    <a:lnTo>
                      <a:pt x="1268" y="2958"/>
                    </a:lnTo>
                    <a:lnTo>
                      <a:pt x="1276" y="2966"/>
                    </a:lnTo>
                    <a:lnTo>
                      <a:pt x="1284" y="2976"/>
                    </a:lnTo>
                    <a:lnTo>
                      <a:pt x="1288" y="2990"/>
                    </a:lnTo>
                    <a:lnTo>
                      <a:pt x="1288" y="3008"/>
                    </a:lnTo>
                    <a:lnTo>
                      <a:pt x="1286" y="3038"/>
                    </a:lnTo>
                    <a:lnTo>
                      <a:pt x="1286" y="3038"/>
                    </a:lnTo>
                    <a:lnTo>
                      <a:pt x="1284" y="3052"/>
                    </a:lnTo>
                    <a:lnTo>
                      <a:pt x="1286" y="3070"/>
                    </a:lnTo>
                    <a:lnTo>
                      <a:pt x="1294" y="3112"/>
                    </a:lnTo>
                    <a:lnTo>
                      <a:pt x="1304" y="3156"/>
                    </a:lnTo>
                    <a:lnTo>
                      <a:pt x="1308" y="3178"/>
                    </a:lnTo>
                    <a:lnTo>
                      <a:pt x="1310" y="3200"/>
                    </a:lnTo>
                    <a:lnTo>
                      <a:pt x="1310" y="3200"/>
                    </a:lnTo>
                    <a:lnTo>
                      <a:pt x="1312" y="3220"/>
                    </a:lnTo>
                    <a:lnTo>
                      <a:pt x="1318" y="3238"/>
                    </a:lnTo>
                    <a:lnTo>
                      <a:pt x="1326" y="3254"/>
                    </a:lnTo>
                    <a:lnTo>
                      <a:pt x="1334" y="3266"/>
                    </a:lnTo>
                    <a:lnTo>
                      <a:pt x="1342" y="3278"/>
                    </a:lnTo>
                    <a:lnTo>
                      <a:pt x="1352" y="3286"/>
                    </a:lnTo>
                    <a:lnTo>
                      <a:pt x="1366" y="3302"/>
                    </a:lnTo>
                    <a:lnTo>
                      <a:pt x="1366" y="3302"/>
                    </a:lnTo>
                    <a:lnTo>
                      <a:pt x="1376" y="3316"/>
                    </a:lnTo>
                    <a:lnTo>
                      <a:pt x="1384" y="3330"/>
                    </a:lnTo>
                    <a:lnTo>
                      <a:pt x="1388" y="3344"/>
                    </a:lnTo>
                    <a:lnTo>
                      <a:pt x="1392" y="3358"/>
                    </a:lnTo>
                    <a:lnTo>
                      <a:pt x="1396" y="3374"/>
                    </a:lnTo>
                    <a:lnTo>
                      <a:pt x="1402" y="3392"/>
                    </a:lnTo>
                    <a:lnTo>
                      <a:pt x="1410" y="3414"/>
                    </a:lnTo>
                    <a:lnTo>
                      <a:pt x="1424" y="3436"/>
                    </a:lnTo>
                    <a:lnTo>
                      <a:pt x="1424" y="3436"/>
                    </a:lnTo>
                    <a:lnTo>
                      <a:pt x="1436" y="3458"/>
                    </a:lnTo>
                    <a:lnTo>
                      <a:pt x="1444" y="3474"/>
                    </a:lnTo>
                    <a:lnTo>
                      <a:pt x="1446" y="3490"/>
                    </a:lnTo>
                    <a:lnTo>
                      <a:pt x="1446" y="3502"/>
                    </a:lnTo>
                    <a:lnTo>
                      <a:pt x="1442" y="3510"/>
                    </a:lnTo>
                    <a:lnTo>
                      <a:pt x="1438" y="3516"/>
                    </a:lnTo>
                    <a:lnTo>
                      <a:pt x="1434" y="3518"/>
                    </a:lnTo>
                    <a:lnTo>
                      <a:pt x="1432" y="3518"/>
                    </a:lnTo>
                    <a:lnTo>
                      <a:pt x="1432" y="3518"/>
                    </a:lnTo>
                    <a:lnTo>
                      <a:pt x="1430" y="3516"/>
                    </a:lnTo>
                    <a:lnTo>
                      <a:pt x="1426" y="3518"/>
                    </a:lnTo>
                    <a:lnTo>
                      <a:pt x="1424" y="3518"/>
                    </a:lnTo>
                    <a:lnTo>
                      <a:pt x="1424" y="3522"/>
                    </a:lnTo>
                    <a:lnTo>
                      <a:pt x="1424" y="3526"/>
                    </a:lnTo>
                    <a:lnTo>
                      <a:pt x="1424" y="3532"/>
                    </a:lnTo>
                    <a:lnTo>
                      <a:pt x="1428" y="3538"/>
                    </a:lnTo>
                    <a:lnTo>
                      <a:pt x="1432" y="3546"/>
                    </a:lnTo>
                    <a:lnTo>
                      <a:pt x="1432" y="3546"/>
                    </a:lnTo>
                    <a:lnTo>
                      <a:pt x="1442" y="3558"/>
                    </a:lnTo>
                    <a:lnTo>
                      <a:pt x="1446" y="3568"/>
                    </a:lnTo>
                    <a:lnTo>
                      <a:pt x="1448" y="3574"/>
                    </a:lnTo>
                    <a:lnTo>
                      <a:pt x="1444" y="3580"/>
                    </a:lnTo>
                    <a:lnTo>
                      <a:pt x="1444" y="3580"/>
                    </a:lnTo>
                    <a:lnTo>
                      <a:pt x="1442" y="3582"/>
                    </a:lnTo>
                    <a:lnTo>
                      <a:pt x="1442" y="3588"/>
                    </a:lnTo>
                    <a:lnTo>
                      <a:pt x="1442" y="3596"/>
                    </a:lnTo>
                    <a:lnTo>
                      <a:pt x="1446" y="3602"/>
                    </a:lnTo>
                    <a:lnTo>
                      <a:pt x="1448" y="3602"/>
                    </a:lnTo>
                    <a:lnTo>
                      <a:pt x="1448" y="3598"/>
                    </a:lnTo>
                    <a:lnTo>
                      <a:pt x="1448" y="3598"/>
                    </a:lnTo>
                    <a:lnTo>
                      <a:pt x="1450" y="3594"/>
                    </a:lnTo>
                    <a:lnTo>
                      <a:pt x="1452" y="3590"/>
                    </a:lnTo>
                    <a:lnTo>
                      <a:pt x="1454" y="3588"/>
                    </a:lnTo>
                    <a:lnTo>
                      <a:pt x="1458" y="3588"/>
                    </a:lnTo>
                    <a:lnTo>
                      <a:pt x="1460" y="3588"/>
                    </a:lnTo>
                    <a:lnTo>
                      <a:pt x="1462" y="3590"/>
                    </a:lnTo>
                    <a:lnTo>
                      <a:pt x="1464" y="3592"/>
                    </a:lnTo>
                    <a:lnTo>
                      <a:pt x="1464" y="3596"/>
                    </a:lnTo>
                    <a:lnTo>
                      <a:pt x="1464" y="3596"/>
                    </a:lnTo>
                    <a:lnTo>
                      <a:pt x="1464" y="3602"/>
                    </a:lnTo>
                    <a:lnTo>
                      <a:pt x="1466" y="3604"/>
                    </a:lnTo>
                    <a:lnTo>
                      <a:pt x="1470" y="3606"/>
                    </a:lnTo>
                    <a:lnTo>
                      <a:pt x="1472" y="3606"/>
                    </a:lnTo>
                    <a:lnTo>
                      <a:pt x="1478" y="3606"/>
                    </a:lnTo>
                    <a:lnTo>
                      <a:pt x="1480" y="3608"/>
                    </a:lnTo>
                    <a:lnTo>
                      <a:pt x="1482" y="3612"/>
                    </a:lnTo>
                    <a:lnTo>
                      <a:pt x="1482" y="3612"/>
                    </a:lnTo>
                    <a:lnTo>
                      <a:pt x="1484" y="3618"/>
                    </a:lnTo>
                    <a:lnTo>
                      <a:pt x="1486" y="3620"/>
                    </a:lnTo>
                    <a:lnTo>
                      <a:pt x="1490" y="3620"/>
                    </a:lnTo>
                    <a:lnTo>
                      <a:pt x="1494" y="3624"/>
                    </a:lnTo>
                    <a:lnTo>
                      <a:pt x="1494" y="3624"/>
                    </a:lnTo>
                    <a:lnTo>
                      <a:pt x="1496" y="3628"/>
                    </a:lnTo>
                    <a:lnTo>
                      <a:pt x="1500" y="3626"/>
                    </a:lnTo>
                    <a:lnTo>
                      <a:pt x="1506" y="3626"/>
                    </a:lnTo>
                    <a:lnTo>
                      <a:pt x="1510" y="3626"/>
                    </a:lnTo>
                    <a:lnTo>
                      <a:pt x="1510" y="3626"/>
                    </a:lnTo>
                    <a:lnTo>
                      <a:pt x="1514" y="3628"/>
                    </a:lnTo>
                    <a:lnTo>
                      <a:pt x="1516" y="3626"/>
                    </a:lnTo>
                    <a:lnTo>
                      <a:pt x="1520" y="3620"/>
                    </a:lnTo>
                    <a:lnTo>
                      <a:pt x="1526" y="3612"/>
                    </a:lnTo>
                    <a:lnTo>
                      <a:pt x="1532" y="3610"/>
                    </a:lnTo>
                    <a:lnTo>
                      <a:pt x="1540" y="3608"/>
                    </a:lnTo>
                    <a:lnTo>
                      <a:pt x="1540" y="3608"/>
                    </a:lnTo>
                    <a:lnTo>
                      <a:pt x="1552" y="3606"/>
                    </a:lnTo>
                    <a:lnTo>
                      <a:pt x="1558" y="3608"/>
                    </a:lnTo>
                    <a:lnTo>
                      <a:pt x="1564" y="3608"/>
                    </a:lnTo>
                    <a:lnTo>
                      <a:pt x="1576" y="3604"/>
                    </a:lnTo>
                    <a:lnTo>
                      <a:pt x="1576" y="3604"/>
                    </a:lnTo>
                    <a:lnTo>
                      <a:pt x="1584" y="3602"/>
                    </a:lnTo>
                    <a:lnTo>
                      <a:pt x="1590" y="3598"/>
                    </a:lnTo>
                    <a:lnTo>
                      <a:pt x="1594" y="3592"/>
                    </a:lnTo>
                    <a:lnTo>
                      <a:pt x="1600" y="3586"/>
                    </a:lnTo>
                    <a:lnTo>
                      <a:pt x="1602" y="3586"/>
                    </a:lnTo>
                    <a:lnTo>
                      <a:pt x="1608" y="3584"/>
                    </a:lnTo>
                    <a:lnTo>
                      <a:pt x="1608" y="3584"/>
                    </a:lnTo>
                    <a:lnTo>
                      <a:pt x="1620" y="3584"/>
                    </a:lnTo>
                    <a:lnTo>
                      <a:pt x="1632" y="3588"/>
                    </a:lnTo>
                    <a:lnTo>
                      <a:pt x="1642" y="3590"/>
                    </a:lnTo>
                    <a:lnTo>
                      <a:pt x="1648" y="3590"/>
                    </a:lnTo>
                    <a:lnTo>
                      <a:pt x="1652" y="3586"/>
                    </a:lnTo>
                    <a:lnTo>
                      <a:pt x="1652" y="3586"/>
                    </a:lnTo>
                    <a:lnTo>
                      <a:pt x="1656" y="3586"/>
                    </a:lnTo>
                    <a:lnTo>
                      <a:pt x="1664" y="3586"/>
                    </a:lnTo>
                    <a:lnTo>
                      <a:pt x="1678" y="3592"/>
                    </a:lnTo>
                    <a:lnTo>
                      <a:pt x="1686" y="3594"/>
                    </a:lnTo>
                    <a:lnTo>
                      <a:pt x="1694" y="3594"/>
                    </a:lnTo>
                    <a:lnTo>
                      <a:pt x="1702" y="3594"/>
                    </a:lnTo>
                    <a:lnTo>
                      <a:pt x="1706" y="3590"/>
                    </a:lnTo>
                    <a:lnTo>
                      <a:pt x="1706" y="3590"/>
                    </a:lnTo>
                    <a:lnTo>
                      <a:pt x="1712" y="3584"/>
                    </a:lnTo>
                    <a:lnTo>
                      <a:pt x="1718" y="3582"/>
                    </a:lnTo>
                    <a:lnTo>
                      <a:pt x="1724" y="3584"/>
                    </a:lnTo>
                    <a:lnTo>
                      <a:pt x="1730" y="3584"/>
                    </a:lnTo>
                    <a:lnTo>
                      <a:pt x="1738" y="3586"/>
                    </a:lnTo>
                    <a:lnTo>
                      <a:pt x="1740" y="3584"/>
                    </a:lnTo>
                    <a:lnTo>
                      <a:pt x="1740" y="3580"/>
                    </a:lnTo>
                    <a:lnTo>
                      <a:pt x="1740" y="3580"/>
                    </a:lnTo>
                    <a:lnTo>
                      <a:pt x="1740" y="3574"/>
                    </a:lnTo>
                    <a:lnTo>
                      <a:pt x="1742" y="3572"/>
                    </a:lnTo>
                    <a:lnTo>
                      <a:pt x="1748" y="3572"/>
                    </a:lnTo>
                    <a:lnTo>
                      <a:pt x="1756" y="3572"/>
                    </a:lnTo>
                    <a:lnTo>
                      <a:pt x="1764" y="3572"/>
                    </a:lnTo>
                    <a:lnTo>
                      <a:pt x="1774" y="3570"/>
                    </a:lnTo>
                    <a:lnTo>
                      <a:pt x="1782" y="3568"/>
                    </a:lnTo>
                    <a:lnTo>
                      <a:pt x="1792" y="3562"/>
                    </a:lnTo>
                    <a:lnTo>
                      <a:pt x="1792" y="3562"/>
                    </a:lnTo>
                    <a:lnTo>
                      <a:pt x="1810" y="3550"/>
                    </a:lnTo>
                    <a:lnTo>
                      <a:pt x="1832" y="3532"/>
                    </a:lnTo>
                    <a:lnTo>
                      <a:pt x="1858" y="3506"/>
                    </a:lnTo>
                    <a:lnTo>
                      <a:pt x="1870" y="3490"/>
                    </a:lnTo>
                    <a:lnTo>
                      <a:pt x="1884" y="3472"/>
                    </a:lnTo>
                    <a:lnTo>
                      <a:pt x="1884" y="3472"/>
                    </a:lnTo>
                    <a:lnTo>
                      <a:pt x="1892" y="3462"/>
                    </a:lnTo>
                    <a:lnTo>
                      <a:pt x="1898" y="3456"/>
                    </a:lnTo>
                    <a:lnTo>
                      <a:pt x="1912" y="3442"/>
                    </a:lnTo>
                    <a:lnTo>
                      <a:pt x="1920" y="3432"/>
                    </a:lnTo>
                    <a:lnTo>
                      <a:pt x="1930" y="3418"/>
                    </a:lnTo>
                    <a:lnTo>
                      <a:pt x="1940" y="3398"/>
                    </a:lnTo>
                    <a:lnTo>
                      <a:pt x="1952" y="3372"/>
                    </a:lnTo>
                    <a:lnTo>
                      <a:pt x="1952" y="3372"/>
                    </a:lnTo>
                    <a:lnTo>
                      <a:pt x="1968" y="3344"/>
                    </a:lnTo>
                    <a:lnTo>
                      <a:pt x="1980" y="3324"/>
                    </a:lnTo>
                    <a:lnTo>
                      <a:pt x="1992" y="3314"/>
                    </a:lnTo>
                    <a:lnTo>
                      <a:pt x="2002" y="3304"/>
                    </a:lnTo>
                    <a:lnTo>
                      <a:pt x="2010" y="3294"/>
                    </a:lnTo>
                    <a:lnTo>
                      <a:pt x="2018" y="3276"/>
                    </a:lnTo>
                    <a:lnTo>
                      <a:pt x="2026" y="3250"/>
                    </a:lnTo>
                    <a:lnTo>
                      <a:pt x="2030" y="3210"/>
                    </a:lnTo>
                    <a:lnTo>
                      <a:pt x="2030" y="3210"/>
                    </a:lnTo>
                    <a:lnTo>
                      <a:pt x="2034" y="3182"/>
                    </a:lnTo>
                    <a:lnTo>
                      <a:pt x="2032" y="3176"/>
                    </a:lnTo>
                    <a:lnTo>
                      <a:pt x="2030" y="3176"/>
                    </a:lnTo>
                    <a:lnTo>
                      <a:pt x="2026" y="3176"/>
                    </a:lnTo>
                    <a:lnTo>
                      <a:pt x="2024" y="3176"/>
                    </a:lnTo>
                    <a:lnTo>
                      <a:pt x="2022" y="3170"/>
                    </a:lnTo>
                    <a:lnTo>
                      <a:pt x="2022" y="3170"/>
                    </a:lnTo>
                    <a:lnTo>
                      <a:pt x="2020" y="3164"/>
                    </a:lnTo>
                    <a:lnTo>
                      <a:pt x="2024" y="3156"/>
                    </a:lnTo>
                    <a:lnTo>
                      <a:pt x="2028" y="3148"/>
                    </a:lnTo>
                    <a:lnTo>
                      <a:pt x="2036" y="3140"/>
                    </a:lnTo>
                    <a:lnTo>
                      <a:pt x="2046" y="3132"/>
                    </a:lnTo>
                    <a:lnTo>
                      <a:pt x="2056" y="3126"/>
                    </a:lnTo>
                    <a:lnTo>
                      <a:pt x="2070" y="3118"/>
                    </a:lnTo>
                    <a:lnTo>
                      <a:pt x="2084" y="3114"/>
                    </a:lnTo>
                    <a:lnTo>
                      <a:pt x="2084" y="3114"/>
                    </a:lnTo>
                    <a:lnTo>
                      <a:pt x="2096" y="3108"/>
                    </a:lnTo>
                    <a:lnTo>
                      <a:pt x="2108" y="3100"/>
                    </a:lnTo>
                    <a:lnTo>
                      <a:pt x="2118" y="3094"/>
                    </a:lnTo>
                    <a:lnTo>
                      <a:pt x="2126" y="3086"/>
                    </a:lnTo>
                    <a:lnTo>
                      <a:pt x="2132" y="3078"/>
                    </a:lnTo>
                    <a:lnTo>
                      <a:pt x="2136" y="3070"/>
                    </a:lnTo>
                    <a:lnTo>
                      <a:pt x="2136" y="3062"/>
                    </a:lnTo>
                    <a:lnTo>
                      <a:pt x="2134" y="3056"/>
                    </a:lnTo>
                    <a:lnTo>
                      <a:pt x="2134" y="3056"/>
                    </a:lnTo>
                    <a:lnTo>
                      <a:pt x="2130" y="3050"/>
                    </a:lnTo>
                    <a:lnTo>
                      <a:pt x="2130" y="3044"/>
                    </a:lnTo>
                    <a:lnTo>
                      <a:pt x="2132" y="3034"/>
                    </a:lnTo>
                    <a:lnTo>
                      <a:pt x="2136" y="3016"/>
                    </a:lnTo>
                    <a:lnTo>
                      <a:pt x="2138" y="3006"/>
                    </a:lnTo>
                    <a:lnTo>
                      <a:pt x="2138" y="2990"/>
                    </a:lnTo>
                    <a:lnTo>
                      <a:pt x="2138" y="2990"/>
                    </a:lnTo>
                    <a:lnTo>
                      <a:pt x="2136" y="2972"/>
                    </a:lnTo>
                    <a:lnTo>
                      <a:pt x="2136" y="2970"/>
                    </a:lnTo>
                    <a:lnTo>
                      <a:pt x="2134" y="2972"/>
                    </a:lnTo>
                    <a:lnTo>
                      <a:pt x="2132" y="2974"/>
                    </a:lnTo>
                    <a:lnTo>
                      <a:pt x="2130" y="2974"/>
                    </a:lnTo>
                    <a:lnTo>
                      <a:pt x="2128" y="2972"/>
                    </a:lnTo>
                    <a:lnTo>
                      <a:pt x="2126" y="2962"/>
                    </a:lnTo>
                    <a:lnTo>
                      <a:pt x="2126" y="2962"/>
                    </a:lnTo>
                    <a:lnTo>
                      <a:pt x="2120" y="2934"/>
                    </a:lnTo>
                    <a:lnTo>
                      <a:pt x="2120" y="2920"/>
                    </a:lnTo>
                    <a:lnTo>
                      <a:pt x="2118" y="2910"/>
                    </a:lnTo>
                    <a:lnTo>
                      <a:pt x="2108" y="2896"/>
                    </a:lnTo>
                    <a:lnTo>
                      <a:pt x="2108" y="2896"/>
                    </a:lnTo>
                    <a:lnTo>
                      <a:pt x="2104" y="2890"/>
                    </a:lnTo>
                    <a:lnTo>
                      <a:pt x="2102" y="2886"/>
                    </a:lnTo>
                    <a:lnTo>
                      <a:pt x="2102" y="2878"/>
                    </a:lnTo>
                    <a:lnTo>
                      <a:pt x="2104" y="2870"/>
                    </a:lnTo>
                    <a:lnTo>
                      <a:pt x="2104" y="2860"/>
                    </a:lnTo>
                    <a:lnTo>
                      <a:pt x="2104" y="2860"/>
                    </a:lnTo>
                    <a:lnTo>
                      <a:pt x="2104" y="2854"/>
                    </a:lnTo>
                    <a:lnTo>
                      <a:pt x="2108" y="2854"/>
                    </a:lnTo>
                    <a:lnTo>
                      <a:pt x="2114" y="2852"/>
                    </a:lnTo>
                    <a:lnTo>
                      <a:pt x="2120" y="2848"/>
                    </a:lnTo>
                    <a:lnTo>
                      <a:pt x="2126" y="2842"/>
                    </a:lnTo>
                    <a:lnTo>
                      <a:pt x="2136" y="2832"/>
                    </a:lnTo>
                    <a:lnTo>
                      <a:pt x="2136" y="2832"/>
                    </a:lnTo>
                    <a:lnTo>
                      <a:pt x="2144" y="2822"/>
                    </a:lnTo>
                    <a:lnTo>
                      <a:pt x="2150" y="2816"/>
                    </a:lnTo>
                    <a:lnTo>
                      <a:pt x="2160" y="2812"/>
                    </a:lnTo>
                    <a:lnTo>
                      <a:pt x="2166" y="2808"/>
                    </a:lnTo>
                    <a:lnTo>
                      <a:pt x="2170" y="2804"/>
                    </a:lnTo>
                    <a:lnTo>
                      <a:pt x="2178" y="2794"/>
                    </a:lnTo>
                    <a:lnTo>
                      <a:pt x="2186" y="2780"/>
                    </a:lnTo>
                    <a:lnTo>
                      <a:pt x="2186" y="2780"/>
                    </a:lnTo>
                    <a:lnTo>
                      <a:pt x="2196" y="2764"/>
                    </a:lnTo>
                    <a:lnTo>
                      <a:pt x="2206" y="2750"/>
                    </a:lnTo>
                    <a:lnTo>
                      <a:pt x="2216" y="2740"/>
                    </a:lnTo>
                    <a:lnTo>
                      <a:pt x="2226" y="2734"/>
                    </a:lnTo>
                    <a:lnTo>
                      <a:pt x="2236" y="2728"/>
                    </a:lnTo>
                    <a:lnTo>
                      <a:pt x="2246" y="2724"/>
                    </a:lnTo>
                    <a:lnTo>
                      <a:pt x="2266" y="2718"/>
                    </a:lnTo>
                    <a:lnTo>
                      <a:pt x="2266" y="2718"/>
                    </a:lnTo>
                    <a:lnTo>
                      <a:pt x="2276" y="2714"/>
                    </a:lnTo>
                    <a:lnTo>
                      <a:pt x="2284" y="2708"/>
                    </a:lnTo>
                    <a:lnTo>
                      <a:pt x="2294" y="2700"/>
                    </a:lnTo>
                    <a:lnTo>
                      <a:pt x="2302" y="2690"/>
                    </a:lnTo>
                    <a:lnTo>
                      <a:pt x="2320" y="2666"/>
                    </a:lnTo>
                    <a:lnTo>
                      <a:pt x="2336" y="2636"/>
                    </a:lnTo>
                    <a:lnTo>
                      <a:pt x="2336" y="2636"/>
                    </a:lnTo>
                    <a:lnTo>
                      <a:pt x="2344" y="2622"/>
                    </a:lnTo>
                    <a:lnTo>
                      <a:pt x="2344" y="2620"/>
                    </a:lnTo>
                    <a:lnTo>
                      <a:pt x="2344" y="2616"/>
                    </a:lnTo>
                    <a:lnTo>
                      <a:pt x="2348" y="2606"/>
                    </a:lnTo>
                    <a:lnTo>
                      <a:pt x="2348" y="2606"/>
                    </a:lnTo>
                    <a:lnTo>
                      <a:pt x="2350" y="2598"/>
                    </a:lnTo>
                    <a:lnTo>
                      <a:pt x="2352" y="2594"/>
                    </a:lnTo>
                    <a:lnTo>
                      <a:pt x="2350" y="2590"/>
                    </a:lnTo>
                    <a:lnTo>
                      <a:pt x="2348" y="2586"/>
                    </a:lnTo>
                    <a:lnTo>
                      <a:pt x="2344" y="2582"/>
                    </a:lnTo>
                    <a:lnTo>
                      <a:pt x="2340" y="2576"/>
                    </a:lnTo>
                    <a:lnTo>
                      <a:pt x="2338" y="2566"/>
                    </a:lnTo>
                    <a:lnTo>
                      <a:pt x="2338" y="2552"/>
                    </a:lnTo>
                    <a:lnTo>
                      <a:pt x="2338" y="2552"/>
                    </a:lnTo>
                    <a:lnTo>
                      <a:pt x="2338" y="2500"/>
                    </a:lnTo>
                    <a:lnTo>
                      <a:pt x="2338" y="2478"/>
                    </a:lnTo>
                    <a:lnTo>
                      <a:pt x="2334" y="2454"/>
                    </a:lnTo>
                    <a:lnTo>
                      <a:pt x="2334" y="2454"/>
                    </a:lnTo>
                    <a:lnTo>
                      <a:pt x="2334" y="2440"/>
                    </a:lnTo>
                    <a:lnTo>
                      <a:pt x="2334" y="2432"/>
                    </a:lnTo>
                    <a:lnTo>
                      <a:pt x="2338" y="2426"/>
                    </a:lnTo>
                    <a:lnTo>
                      <a:pt x="2342" y="2424"/>
                    </a:lnTo>
                    <a:lnTo>
                      <a:pt x="2344" y="2420"/>
                    </a:lnTo>
                    <a:lnTo>
                      <a:pt x="2344" y="2414"/>
                    </a:lnTo>
                    <a:lnTo>
                      <a:pt x="2340" y="2406"/>
                    </a:lnTo>
                    <a:lnTo>
                      <a:pt x="2334" y="2394"/>
                    </a:lnTo>
                    <a:lnTo>
                      <a:pt x="2334" y="2394"/>
                    </a:lnTo>
                    <a:lnTo>
                      <a:pt x="2324" y="2384"/>
                    </a:lnTo>
                    <a:lnTo>
                      <a:pt x="2318" y="2380"/>
                    </a:lnTo>
                    <a:lnTo>
                      <a:pt x="2312" y="2376"/>
                    </a:lnTo>
                    <a:lnTo>
                      <a:pt x="2308" y="2368"/>
                    </a:lnTo>
                    <a:lnTo>
                      <a:pt x="2308" y="2368"/>
                    </a:lnTo>
                    <a:lnTo>
                      <a:pt x="2304" y="2358"/>
                    </a:lnTo>
                    <a:lnTo>
                      <a:pt x="2302" y="2348"/>
                    </a:lnTo>
                    <a:lnTo>
                      <a:pt x="2300" y="2334"/>
                    </a:lnTo>
                    <a:lnTo>
                      <a:pt x="2292" y="2310"/>
                    </a:lnTo>
                    <a:lnTo>
                      <a:pt x="2292" y="2310"/>
                    </a:lnTo>
                    <a:lnTo>
                      <a:pt x="2288" y="2298"/>
                    </a:lnTo>
                    <a:lnTo>
                      <a:pt x="2288" y="2290"/>
                    </a:lnTo>
                    <a:lnTo>
                      <a:pt x="2288" y="2286"/>
                    </a:lnTo>
                    <a:lnTo>
                      <a:pt x="2290" y="2280"/>
                    </a:lnTo>
                    <a:lnTo>
                      <a:pt x="2292" y="2278"/>
                    </a:lnTo>
                    <a:lnTo>
                      <a:pt x="2294" y="2274"/>
                    </a:lnTo>
                    <a:lnTo>
                      <a:pt x="2294" y="2268"/>
                    </a:lnTo>
                    <a:lnTo>
                      <a:pt x="2292" y="2258"/>
                    </a:lnTo>
                    <a:lnTo>
                      <a:pt x="2292" y="2258"/>
                    </a:lnTo>
                    <a:lnTo>
                      <a:pt x="2288" y="2248"/>
                    </a:lnTo>
                    <a:lnTo>
                      <a:pt x="2288" y="2240"/>
                    </a:lnTo>
                    <a:lnTo>
                      <a:pt x="2290" y="2236"/>
                    </a:lnTo>
                    <a:lnTo>
                      <a:pt x="2292" y="2232"/>
                    </a:lnTo>
                    <a:lnTo>
                      <a:pt x="2294" y="2230"/>
                    </a:lnTo>
                    <a:lnTo>
                      <a:pt x="2296" y="2228"/>
                    </a:lnTo>
                    <a:lnTo>
                      <a:pt x="2296" y="2226"/>
                    </a:lnTo>
                    <a:lnTo>
                      <a:pt x="2294" y="2220"/>
                    </a:lnTo>
                    <a:lnTo>
                      <a:pt x="2294" y="2220"/>
                    </a:lnTo>
                    <a:lnTo>
                      <a:pt x="2282" y="2206"/>
                    </a:lnTo>
                    <a:lnTo>
                      <a:pt x="2272" y="2192"/>
                    </a:lnTo>
                    <a:lnTo>
                      <a:pt x="2268" y="2184"/>
                    </a:lnTo>
                    <a:lnTo>
                      <a:pt x="2266" y="2174"/>
                    </a:lnTo>
                    <a:lnTo>
                      <a:pt x="2268" y="2164"/>
                    </a:lnTo>
                    <a:lnTo>
                      <a:pt x="2272" y="2150"/>
                    </a:lnTo>
                    <a:lnTo>
                      <a:pt x="2272" y="2150"/>
                    </a:lnTo>
                    <a:lnTo>
                      <a:pt x="2276" y="2138"/>
                    </a:lnTo>
                    <a:lnTo>
                      <a:pt x="2278" y="2130"/>
                    </a:lnTo>
                    <a:lnTo>
                      <a:pt x="2282" y="2122"/>
                    </a:lnTo>
                    <a:lnTo>
                      <a:pt x="2288" y="2108"/>
                    </a:lnTo>
                    <a:lnTo>
                      <a:pt x="2288" y="2108"/>
                    </a:lnTo>
                    <a:lnTo>
                      <a:pt x="2304" y="2084"/>
                    </a:lnTo>
                    <a:lnTo>
                      <a:pt x="2308" y="2074"/>
                    </a:lnTo>
                    <a:lnTo>
                      <a:pt x="2310" y="2058"/>
                    </a:lnTo>
                    <a:lnTo>
                      <a:pt x="2310" y="2058"/>
                    </a:lnTo>
                    <a:lnTo>
                      <a:pt x="2312" y="2052"/>
                    </a:lnTo>
                    <a:lnTo>
                      <a:pt x="2314" y="2048"/>
                    </a:lnTo>
                    <a:lnTo>
                      <a:pt x="2320" y="2046"/>
                    </a:lnTo>
                    <a:lnTo>
                      <a:pt x="2322" y="2044"/>
                    </a:lnTo>
                    <a:lnTo>
                      <a:pt x="2324" y="2042"/>
                    </a:lnTo>
                    <a:lnTo>
                      <a:pt x="2324" y="2036"/>
                    </a:lnTo>
                    <a:lnTo>
                      <a:pt x="2322" y="2026"/>
                    </a:lnTo>
                    <a:lnTo>
                      <a:pt x="2322" y="2026"/>
                    </a:lnTo>
                    <a:lnTo>
                      <a:pt x="2324" y="2016"/>
                    </a:lnTo>
                    <a:lnTo>
                      <a:pt x="2326" y="2008"/>
                    </a:lnTo>
                    <a:lnTo>
                      <a:pt x="2332" y="2004"/>
                    </a:lnTo>
                    <a:lnTo>
                      <a:pt x="2338" y="2002"/>
                    </a:lnTo>
                    <a:lnTo>
                      <a:pt x="2350" y="1998"/>
                    </a:lnTo>
                    <a:lnTo>
                      <a:pt x="2354" y="1994"/>
                    </a:lnTo>
                    <a:lnTo>
                      <a:pt x="2354" y="1988"/>
                    </a:lnTo>
                    <a:lnTo>
                      <a:pt x="2354" y="1988"/>
                    </a:lnTo>
                    <a:lnTo>
                      <a:pt x="2352" y="1980"/>
                    </a:lnTo>
                    <a:lnTo>
                      <a:pt x="2356" y="1980"/>
                    </a:lnTo>
                    <a:lnTo>
                      <a:pt x="2360" y="1980"/>
                    </a:lnTo>
                    <a:lnTo>
                      <a:pt x="2366" y="1978"/>
                    </a:lnTo>
                    <a:lnTo>
                      <a:pt x="2372" y="1972"/>
                    </a:lnTo>
                    <a:lnTo>
                      <a:pt x="2380" y="1962"/>
                    </a:lnTo>
                    <a:lnTo>
                      <a:pt x="2380" y="1962"/>
                    </a:lnTo>
                    <a:lnTo>
                      <a:pt x="2388" y="1950"/>
                    </a:lnTo>
                    <a:lnTo>
                      <a:pt x="2390" y="1944"/>
                    </a:lnTo>
                    <a:lnTo>
                      <a:pt x="2394" y="1932"/>
                    </a:lnTo>
                    <a:lnTo>
                      <a:pt x="2396" y="1926"/>
                    </a:lnTo>
                    <a:lnTo>
                      <a:pt x="2400" y="1918"/>
                    </a:lnTo>
                    <a:lnTo>
                      <a:pt x="2408" y="1908"/>
                    </a:lnTo>
                    <a:lnTo>
                      <a:pt x="2422" y="1892"/>
                    </a:lnTo>
                    <a:lnTo>
                      <a:pt x="2422" y="1892"/>
                    </a:lnTo>
                    <a:lnTo>
                      <a:pt x="2450" y="1860"/>
                    </a:lnTo>
                    <a:lnTo>
                      <a:pt x="2470" y="1836"/>
                    </a:lnTo>
                    <a:lnTo>
                      <a:pt x="2494" y="1812"/>
                    </a:lnTo>
                    <a:lnTo>
                      <a:pt x="2532" y="1780"/>
                    </a:lnTo>
                    <a:lnTo>
                      <a:pt x="2532" y="1780"/>
                    </a:lnTo>
                    <a:lnTo>
                      <a:pt x="2556" y="1760"/>
                    </a:lnTo>
                    <a:lnTo>
                      <a:pt x="2580" y="1736"/>
                    </a:lnTo>
                    <a:lnTo>
                      <a:pt x="2604" y="1710"/>
                    </a:lnTo>
                    <a:lnTo>
                      <a:pt x="2626" y="1680"/>
                    </a:lnTo>
                    <a:lnTo>
                      <a:pt x="2646" y="1646"/>
                    </a:lnTo>
                    <a:lnTo>
                      <a:pt x="2666" y="1610"/>
                    </a:lnTo>
                    <a:lnTo>
                      <a:pt x="2686" y="1570"/>
                    </a:lnTo>
                    <a:lnTo>
                      <a:pt x="2702" y="1526"/>
                    </a:lnTo>
                    <a:lnTo>
                      <a:pt x="2702" y="1526"/>
                    </a:lnTo>
                    <a:lnTo>
                      <a:pt x="2712" y="1502"/>
                    </a:lnTo>
                    <a:lnTo>
                      <a:pt x="2722" y="1482"/>
                    </a:lnTo>
                    <a:lnTo>
                      <a:pt x="2738" y="1452"/>
                    </a:lnTo>
                    <a:lnTo>
                      <a:pt x="2750" y="1426"/>
                    </a:lnTo>
                    <a:lnTo>
                      <a:pt x="2752" y="1416"/>
                    </a:lnTo>
                    <a:lnTo>
                      <a:pt x="2754" y="1404"/>
                    </a:lnTo>
                    <a:lnTo>
                      <a:pt x="2754" y="1404"/>
                    </a:lnTo>
                    <a:lnTo>
                      <a:pt x="2758" y="1388"/>
                    </a:lnTo>
                    <a:lnTo>
                      <a:pt x="2762" y="1378"/>
                    </a:lnTo>
                    <a:lnTo>
                      <a:pt x="2768" y="1376"/>
                    </a:lnTo>
                    <a:lnTo>
                      <a:pt x="2772" y="1376"/>
                    </a:lnTo>
                    <a:lnTo>
                      <a:pt x="2776" y="1376"/>
                    </a:lnTo>
                    <a:lnTo>
                      <a:pt x="2776" y="1376"/>
                    </a:lnTo>
                    <a:lnTo>
                      <a:pt x="2770" y="1364"/>
                    </a:lnTo>
                    <a:lnTo>
                      <a:pt x="2770" y="136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sp>
            <p:nvSpPr>
              <p:cNvPr id="90" name="Freeform 6155"/>
              <p:cNvSpPr>
                <a:spLocks noEditPoints="1"/>
              </p:cNvSpPr>
              <p:nvPr/>
            </p:nvSpPr>
            <p:spPr bwMode="auto">
              <a:xfrm>
                <a:off x="3769201" y="1348638"/>
                <a:ext cx="1621117" cy="2352394"/>
              </a:xfrm>
              <a:custGeom>
                <a:avLst/>
                <a:gdLst/>
                <a:ahLst/>
                <a:cxnLst>
                  <a:cxn ang="0">
                    <a:pos x="1252" y="182"/>
                  </a:cxn>
                  <a:cxn ang="0">
                    <a:pos x="1182" y="102"/>
                  </a:cxn>
                  <a:cxn ang="0">
                    <a:pos x="1170" y="832"/>
                  </a:cxn>
                  <a:cxn ang="0">
                    <a:pos x="1328" y="260"/>
                  </a:cxn>
                  <a:cxn ang="0">
                    <a:pos x="1116" y="888"/>
                  </a:cxn>
                  <a:cxn ang="0">
                    <a:pos x="1002" y="938"/>
                  </a:cxn>
                  <a:cxn ang="0">
                    <a:pos x="1078" y="890"/>
                  </a:cxn>
                  <a:cxn ang="0">
                    <a:pos x="1318" y="40"/>
                  </a:cxn>
                  <a:cxn ang="0">
                    <a:pos x="144" y="1644"/>
                  </a:cxn>
                  <a:cxn ang="0">
                    <a:pos x="70" y="1866"/>
                  </a:cxn>
                  <a:cxn ang="0">
                    <a:pos x="170" y="1652"/>
                  </a:cxn>
                  <a:cxn ang="0">
                    <a:pos x="188" y="1758"/>
                  </a:cxn>
                  <a:cxn ang="0">
                    <a:pos x="270" y="1632"/>
                  </a:cxn>
                  <a:cxn ang="0">
                    <a:pos x="204" y="1758"/>
                  </a:cxn>
                  <a:cxn ang="0">
                    <a:pos x="234" y="1954"/>
                  </a:cxn>
                  <a:cxn ang="0">
                    <a:pos x="316" y="2084"/>
                  </a:cxn>
                  <a:cxn ang="0">
                    <a:pos x="626" y="1382"/>
                  </a:cxn>
                  <a:cxn ang="0">
                    <a:pos x="354" y="1486"/>
                  </a:cxn>
                  <a:cxn ang="0">
                    <a:pos x="522" y="1136"/>
                  </a:cxn>
                  <a:cxn ang="0">
                    <a:pos x="180" y="1048"/>
                  </a:cxn>
                  <a:cxn ang="0">
                    <a:pos x="238" y="1920"/>
                  </a:cxn>
                  <a:cxn ang="0">
                    <a:pos x="908" y="1824"/>
                  </a:cxn>
                  <a:cxn ang="0">
                    <a:pos x="914" y="1826"/>
                  </a:cxn>
                  <a:cxn ang="0">
                    <a:pos x="1094" y="1700"/>
                  </a:cxn>
                  <a:cxn ang="0">
                    <a:pos x="632" y="1514"/>
                  </a:cxn>
                  <a:cxn ang="0">
                    <a:pos x="1324" y="1592"/>
                  </a:cxn>
                  <a:cxn ang="0">
                    <a:pos x="954" y="2790"/>
                  </a:cxn>
                  <a:cxn ang="0">
                    <a:pos x="1260" y="2818"/>
                  </a:cxn>
                  <a:cxn ang="0">
                    <a:pos x="1352" y="2902"/>
                  </a:cxn>
                  <a:cxn ang="0">
                    <a:pos x="2500" y="3468"/>
                  </a:cxn>
                  <a:cxn ang="0">
                    <a:pos x="2346" y="3260"/>
                  </a:cxn>
                  <a:cxn ang="0">
                    <a:pos x="2192" y="978"/>
                  </a:cxn>
                  <a:cxn ang="0">
                    <a:pos x="1910" y="896"/>
                  </a:cxn>
                  <a:cxn ang="0">
                    <a:pos x="1536" y="738"/>
                  </a:cxn>
                  <a:cxn ang="0">
                    <a:pos x="1350" y="810"/>
                  </a:cxn>
                  <a:cxn ang="0">
                    <a:pos x="1154" y="858"/>
                  </a:cxn>
                  <a:cxn ang="0">
                    <a:pos x="1036" y="1012"/>
                  </a:cxn>
                  <a:cxn ang="0">
                    <a:pos x="886" y="1194"/>
                  </a:cxn>
                  <a:cxn ang="0">
                    <a:pos x="704" y="1308"/>
                  </a:cxn>
                  <a:cxn ang="0">
                    <a:pos x="624" y="1436"/>
                  </a:cxn>
                  <a:cxn ang="0">
                    <a:pos x="760" y="1618"/>
                  </a:cxn>
                  <a:cxn ang="0">
                    <a:pos x="1070" y="1736"/>
                  </a:cxn>
                  <a:cxn ang="0">
                    <a:pos x="1148" y="1332"/>
                  </a:cxn>
                  <a:cxn ang="0">
                    <a:pos x="1290" y="1300"/>
                  </a:cxn>
                  <a:cxn ang="0">
                    <a:pos x="1552" y="1536"/>
                  </a:cxn>
                  <a:cxn ang="0">
                    <a:pos x="1180" y="1840"/>
                  </a:cxn>
                  <a:cxn ang="0">
                    <a:pos x="810" y="1824"/>
                  </a:cxn>
                  <a:cxn ang="0">
                    <a:pos x="766" y="1806"/>
                  </a:cxn>
                  <a:cxn ang="0">
                    <a:pos x="618" y="1946"/>
                  </a:cxn>
                  <a:cxn ang="0">
                    <a:pos x="292" y="2188"/>
                  </a:cxn>
                  <a:cxn ang="0">
                    <a:pos x="270" y="2496"/>
                  </a:cxn>
                  <a:cxn ang="0">
                    <a:pos x="284" y="2872"/>
                  </a:cxn>
                  <a:cxn ang="0">
                    <a:pos x="854" y="2536"/>
                  </a:cxn>
                  <a:cxn ang="0">
                    <a:pos x="990" y="2544"/>
                  </a:cxn>
                  <a:cxn ang="0">
                    <a:pos x="1240" y="2726"/>
                  </a:cxn>
                  <a:cxn ang="0">
                    <a:pos x="1394" y="2818"/>
                  </a:cxn>
                  <a:cxn ang="0">
                    <a:pos x="1532" y="2638"/>
                  </a:cxn>
                  <a:cxn ang="0">
                    <a:pos x="1772" y="2410"/>
                  </a:cxn>
                  <a:cxn ang="0">
                    <a:pos x="1912" y="2410"/>
                  </a:cxn>
                  <a:cxn ang="0">
                    <a:pos x="1538" y="2666"/>
                  </a:cxn>
                  <a:cxn ang="0">
                    <a:pos x="1642" y="2896"/>
                  </a:cxn>
                  <a:cxn ang="0">
                    <a:pos x="1818" y="3330"/>
                  </a:cxn>
                  <a:cxn ang="0">
                    <a:pos x="2248" y="4088"/>
                  </a:cxn>
                </a:cxnLst>
                <a:rect l="0" t="0" r="r" b="b"/>
                <a:pathLst>
                  <a:path w="2834" h="4108">
                    <a:moveTo>
                      <a:pt x="1216" y="808"/>
                    </a:moveTo>
                    <a:lnTo>
                      <a:pt x="1216" y="808"/>
                    </a:lnTo>
                    <a:lnTo>
                      <a:pt x="1216" y="806"/>
                    </a:lnTo>
                    <a:lnTo>
                      <a:pt x="1212" y="804"/>
                    </a:lnTo>
                    <a:lnTo>
                      <a:pt x="1208" y="804"/>
                    </a:lnTo>
                    <a:lnTo>
                      <a:pt x="1206" y="804"/>
                    </a:lnTo>
                    <a:lnTo>
                      <a:pt x="1206" y="804"/>
                    </a:lnTo>
                    <a:lnTo>
                      <a:pt x="1206" y="806"/>
                    </a:lnTo>
                    <a:lnTo>
                      <a:pt x="1210" y="808"/>
                    </a:lnTo>
                    <a:lnTo>
                      <a:pt x="1214" y="808"/>
                    </a:lnTo>
                    <a:lnTo>
                      <a:pt x="1216" y="808"/>
                    </a:lnTo>
                    <a:lnTo>
                      <a:pt x="1216" y="808"/>
                    </a:lnTo>
                    <a:close/>
                    <a:moveTo>
                      <a:pt x="1202" y="798"/>
                    </a:moveTo>
                    <a:lnTo>
                      <a:pt x="1202" y="798"/>
                    </a:lnTo>
                    <a:lnTo>
                      <a:pt x="1198" y="798"/>
                    </a:lnTo>
                    <a:lnTo>
                      <a:pt x="1194" y="802"/>
                    </a:lnTo>
                    <a:lnTo>
                      <a:pt x="1194" y="806"/>
                    </a:lnTo>
                    <a:lnTo>
                      <a:pt x="1194" y="806"/>
                    </a:lnTo>
                    <a:lnTo>
                      <a:pt x="1196" y="806"/>
                    </a:lnTo>
                    <a:lnTo>
                      <a:pt x="1196" y="806"/>
                    </a:lnTo>
                    <a:lnTo>
                      <a:pt x="1200" y="806"/>
                    </a:lnTo>
                    <a:lnTo>
                      <a:pt x="1202" y="802"/>
                    </a:lnTo>
                    <a:lnTo>
                      <a:pt x="1202" y="800"/>
                    </a:lnTo>
                    <a:lnTo>
                      <a:pt x="1202" y="798"/>
                    </a:lnTo>
                    <a:lnTo>
                      <a:pt x="1202" y="798"/>
                    </a:lnTo>
                    <a:close/>
                    <a:moveTo>
                      <a:pt x="1082" y="898"/>
                    </a:moveTo>
                    <a:lnTo>
                      <a:pt x="1082" y="898"/>
                    </a:lnTo>
                    <a:lnTo>
                      <a:pt x="1078" y="896"/>
                    </a:lnTo>
                    <a:lnTo>
                      <a:pt x="1074" y="900"/>
                    </a:lnTo>
                    <a:lnTo>
                      <a:pt x="1074" y="900"/>
                    </a:lnTo>
                    <a:lnTo>
                      <a:pt x="1072" y="902"/>
                    </a:lnTo>
                    <a:lnTo>
                      <a:pt x="1072" y="906"/>
                    </a:lnTo>
                    <a:lnTo>
                      <a:pt x="1072" y="910"/>
                    </a:lnTo>
                    <a:lnTo>
                      <a:pt x="1066" y="914"/>
                    </a:lnTo>
                    <a:lnTo>
                      <a:pt x="1066" y="914"/>
                    </a:lnTo>
                    <a:lnTo>
                      <a:pt x="1062" y="916"/>
                    </a:lnTo>
                    <a:lnTo>
                      <a:pt x="1064" y="914"/>
                    </a:lnTo>
                    <a:lnTo>
                      <a:pt x="1066" y="910"/>
                    </a:lnTo>
                    <a:lnTo>
                      <a:pt x="1064" y="908"/>
                    </a:lnTo>
                    <a:lnTo>
                      <a:pt x="1062" y="908"/>
                    </a:lnTo>
                    <a:lnTo>
                      <a:pt x="1062" y="908"/>
                    </a:lnTo>
                    <a:lnTo>
                      <a:pt x="1060" y="908"/>
                    </a:lnTo>
                    <a:lnTo>
                      <a:pt x="1060" y="906"/>
                    </a:lnTo>
                    <a:lnTo>
                      <a:pt x="1062" y="902"/>
                    </a:lnTo>
                    <a:lnTo>
                      <a:pt x="1066" y="896"/>
                    </a:lnTo>
                    <a:lnTo>
                      <a:pt x="1066" y="894"/>
                    </a:lnTo>
                    <a:lnTo>
                      <a:pt x="1064" y="892"/>
                    </a:lnTo>
                    <a:lnTo>
                      <a:pt x="1064" y="892"/>
                    </a:lnTo>
                    <a:lnTo>
                      <a:pt x="1058" y="892"/>
                    </a:lnTo>
                    <a:lnTo>
                      <a:pt x="1054" y="896"/>
                    </a:lnTo>
                    <a:lnTo>
                      <a:pt x="1048" y="900"/>
                    </a:lnTo>
                    <a:lnTo>
                      <a:pt x="1046" y="906"/>
                    </a:lnTo>
                    <a:lnTo>
                      <a:pt x="1046" y="906"/>
                    </a:lnTo>
                    <a:lnTo>
                      <a:pt x="1046" y="912"/>
                    </a:lnTo>
                    <a:lnTo>
                      <a:pt x="1046" y="916"/>
                    </a:lnTo>
                    <a:lnTo>
                      <a:pt x="1046" y="918"/>
                    </a:lnTo>
                    <a:lnTo>
                      <a:pt x="1042" y="920"/>
                    </a:lnTo>
                    <a:lnTo>
                      <a:pt x="1042" y="920"/>
                    </a:lnTo>
                    <a:lnTo>
                      <a:pt x="1036" y="922"/>
                    </a:lnTo>
                    <a:lnTo>
                      <a:pt x="1036" y="924"/>
                    </a:lnTo>
                    <a:lnTo>
                      <a:pt x="1036" y="928"/>
                    </a:lnTo>
                    <a:lnTo>
                      <a:pt x="1032" y="938"/>
                    </a:lnTo>
                    <a:lnTo>
                      <a:pt x="1032" y="938"/>
                    </a:lnTo>
                    <a:lnTo>
                      <a:pt x="1030" y="942"/>
                    </a:lnTo>
                    <a:lnTo>
                      <a:pt x="1034" y="940"/>
                    </a:lnTo>
                    <a:lnTo>
                      <a:pt x="1040" y="938"/>
                    </a:lnTo>
                    <a:lnTo>
                      <a:pt x="1044" y="938"/>
                    </a:lnTo>
                    <a:lnTo>
                      <a:pt x="1048" y="940"/>
                    </a:lnTo>
                    <a:lnTo>
                      <a:pt x="1048" y="940"/>
                    </a:lnTo>
                    <a:lnTo>
                      <a:pt x="1050" y="940"/>
                    </a:lnTo>
                    <a:lnTo>
                      <a:pt x="1052" y="940"/>
                    </a:lnTo>
                    <a:lnTo>
                      <a:pt x="1054" y="936"/>
                    </a:lnTo>
                    <a:lnTo>
                      <a:pt x="1056" y="934"/>
                    </a:lnTo>
                    <a:lnTo>
                      <a:pt x="1058" y="932"/>
                    </a:lnTo>
                    <a:lnTo>
                      <a:pt x="1060" y="934"/>
                    </a:lnTo>
                    <a:lnTo>
                      <a:pt x="1060" y="934"/>
                    </a:lnTo>
                    <a:lnTo>
                      <a:pt x="1062" y="936"/>
                    </a:lnTo>
                    <a:lnTo>
                      <a:pt x="1064" y="936"/>
                    </a:lnTo>
                    <a:lnTo>
                      <a:pt x="1068" y="930"/>
                    </a:lnTo>
                    <a:lnTo>
                      <a:pt x="1068" y="930"/>
                    </a:lnTo>
                    <a:lnTo>
                      <a:pt x="1070" y="926"/>
                    </a:lnTo>
                    <a:lnTo>
                      <a:pt x="1072" y="924"/>
                    </a:lnTo>
                    <a:lnTo>
                      <a:pt x="1076" y="920"/>
                    </a:lnTo>
                    <a:lnTo>
                      <a:pt x="1084" y="920"/>
                    </a:lnTo>
                    <a:lnTo>
                      <a:pt x="1084" y="920"/>
                    </a:lnTo>
                    <a:lnTo>
                      <a:pt x="1088" y="918"/>
                    </a:lnTo>
                    <a:lnTo>
                      <a:pt x="1090" y="916"/>
                    </a:lnTo>
                    <a:lnTo>
                      <a:pt x="1090" y="914"/>
                    </a:lnTo>
                    <a:lnTo>
                      <a:pt x="1090" y="910"/>
                    </a:lnTo>
                    <a:lnTo>
                      <a:pt x="1086" y="904"/>
                    </a:lnTo>
                    <a:lnTo>
                      <a:pt x="1082" y="898"/>
                    </a:lnTo>
                    <a:lnTo>
                      <a:pt x="1082" y="898"/>
                    </a:lnTo>
                    <a:close/>
                    <a:moveTo>
                      <a:pt x="1190" y="808"/>
                    </a:moveTo>
                    <a:lnTo>
                      <a:pt x="1190" y="808"/>
                    </a:lnTo>
                    <a:lnTo>
                      <a:pt x="1188" y="808"/>
                    </a:lnTo>
                    <a:lnTo>
                      <a:pt x="1186" y="808"/>
                    </a:lnTo>
                    <a:lnTo>
                      <a:pt x="1184" y="808"/>
                    </a:lnTo>
                    <a:lnTo>
                      <a:pt x="1182" y="808"/>
                    </a:lnTo>
                    <a:lnTo>
                      <a:pt x="1182" y="808"/>
                    </a:lnTo>
                    <a:lnTo>
                      <a:pt x="1180" y="808"/>
                    </a:lnTo>
                    <a:lnTo>
                      <a:pt x="1178" y="810"/>
                    </a:lnTo>
                    <a:lnTo>
                      <a:pt x="1176" y="814"/>
                    </a:lnTo>
                    <a:lnTo>
                      <a:pt x="1176" y="814"/>
                    </a:lnTo>
                    <a:lnTo>
                      <a:pt x="1178" y="814"/>
                    </a:lnTo>
                    <a:lnTo>
                      <a:pt x="1178" y="816"/>
                    </a:lnTo>
                    <a:lnTo>
                      <a:pt x="1184" y="814"/>
                    </a:lnTo>
                    <a:lnTo>
                      <a:pt x="1188" y="810"/>
                    </a:lnTo>
                    <a:lnTo>
                      <a:pt x="1190" y="808"/>
                    </a:lnTo>
                    <a:lnTo>
                      <a:pt x="1190" y="808"/>
                    </a:lnTo>
                    <a:close/>
                    <a:moveTo>
                      <a:pt x="1400" y="746"/>
                    </a:moveTo>
                    <a:lnTo>
                      <a:pt x="1400" y="746"/>
                    </a:lnTo>
                    <a:lnTo>
                      <a:pt x="1394" y="744"/>
                    </a:lnTo>
                    <a:lnTo>
                      <a:pt x="1390" y="744"/>
                    </a:lnTo>
                    <a:lnTo>
                      <a:pt x="1388" y="744"/>
                    </a:lnTo>
                    <a:lnTo>
                      <a:pt x="1390" y="748"/>
                    </a:lnTo>
                    <a:lnTo>
                      <a:pt x="1390" y="748"/>
                    </a:lnTo>
                    <a:lnTo>
                      <a:pt x="1394" y="750"/>
                    </a:lnTo>
                    <a:lnTo>
                      <a:pt x="1398" y="750"/>
                    </a:lnTo>
                    <a:lnTo>
                      <a:pt x="1400" y="748"/>
                    </a:lnTo>
                    <a:lnTo>
                      <a:pt x="1400" y="746"/>
                    </a:lnTo>
                    <a:lnTo>
                      <a:pt x="1400" y="746"/>
                    </a:lnTo>
                    <a:close/>
                    <a:moveTo>
                      <a:pt x="1252" y="182"/>
                    </a:moveTo>
                    <a:lnTo>
                      <a:pt x="1252" y="182"/>
                    </a:lnTo>
                    <a:lnTo>
                      <a:pt x="1256" y="186"/>
                    </a:lnTo>
                    <a:lnTo>
                      <a:pt x="1256" y="188"/>
                    </a:lnTo>
                    <a:lnTo>
                      <a:pt x="1258" y="190"/>
                    </a:lnTo>
                    <a:lnTo>
                      <a:pt x="1258" y="192"/>
                    </a:lnTo>
                    <a:lnTo>
                      <a:pt x="1262" y="192"/>
                    </a:lnTo>
                    <a:lnTo>
                      <a:pt x="1272" y="190"/>
                    </a:lnTo>
                    <a:lnTo>
                      <a:pt x="1272" y="190"/>
                    </a:lnTo>
                    <a:lnTo>
                      <a:pt x="1290" y="186"/>
                    </a:lnTo>
                    <a:lnTo>
                      <a:pt x="1306" y="186"/>
                    </a:lnTo>
                    <a:lnTo>
                      <a:pt x="1312" y="184"/>
                    </a:lnTo>
                    <a:lnTo>
                      <a:pt x="1316" y="182"/>
                    </a:lnTo>
                    <a:lnTo>
                      <a:pt x="1318" y="178"/>
                    </a:lnTo>
                    <a:lnTo>
                      <a:pt x="1318" y="172"/>
                    </a:lnTo>
                    <a:lnTo>
                      <a:pt x="1318" y="172"/>
                    </a:lnTo>
                    <a:lnTo>
                      <a:pt x="1316" y="166"/>
                    </a:lnTo>
                    <a:lnTo>
                      <a:pt x="1312" y="162"/>
                    </a:lnTo>
                    <a:lnTo>
                      <a:pt x="1306" y="160"/>
                    </a:lnTo>
                    <a:lnTo>
                      <a:pt x="1300" y="158"/>
                    </a:lnTo>
                    <a:lnTo>
                      <a:pt x="1284" y="158"/>
                    </a:lnTo>
                    <a:lnTo>
                      <a:pt x="1266" y="162"/>
                    </a:lnTo>
                    <a:lnTo>
                      <a:pt x="1266" y="162"/>
                    </a:lnTo>
                    <a:lnTo>
                      <a:pt x="1250" y="166"/>
                    </a:lnTo>
                    <a:lnTo>
                      <a:pt x="1238" y="168"/>
                    </a:lnTo>
                    <a:lnTo>
                      <a:pt x="1238" y="170"/>
                    </a:lnTo>
                    <a:lnTo>
                      <a:pt x="1238" y="174"/>
                    </a:lnTo>
                    <a:lnTo>
                      <a:pt x="1252" y="182"/>
                    </a:lnTo>
                    <a:lnTo>
                      <a:pt x="1252" y="182"/>
                    </a:lnTo>
                    <a:close/>
                    <a:moveTo>
                      <a:pt x="1236" y="808"/>
                    </a:moveTo>
                    <a:lnTo>
                      <a:pt x="1236" y="808"/>
                    </a:lnTo>
                    <a:lnTo>
                      <a:pt x="1238" y="806"/>
                    </a:lnTo>
                    <a:lnTo>
                      <a:pt x="1236" y="804"/>
                    </a:lnTo>
                    <a:lnTo>
                      <a:pt x="1228" y="802"/>
                    </a:lnTo>
                    <a:lnTo>
                      <a:pt x="1228" y="802"/>
                    </a:lnTo>
                    <a:lnTo>
                      <a:pt x="1224" y="798"/>
                    </a:lnTo>
                    <a:lnTo>
                      <a:pt x="1220" y="796"/>
                    </a:lnTo>
                    <a:lnTo>
                      <a:pt x="1216" y="794"/>
                    </a:lnTo>
                    <a:lnTo>
                      <a:pt x="1216" y="798"/>
                    </a:lnTo>
                    <a:lnTo>
                      <a:pt x="1216" y="798"/>
                    </a:lnTo>
                    <a:lnTo>
                      <a:pt x="1216" y="802"/>
                    </a:lnTo>
                    <a:lnTo>
                      <a:pt x="1220" y="806"/>
                    </a:lnTo>
                    <a:lnTo>
                      <a:pt x="1228" y="810"/>
                    </a:lnTo>
                    <a:lnTo>
                      <a:pt x="1236" y="808"/>
                    </a:lnTo>
                    <a:lnTo>
                      <a:pt x="1236" y="808"/>
                    </a:lnTo>
                    <a:close/>
                    <a:moveTo>
                      <a:pt x="902" y="108"/>
                    </a:moveTo>
                    <a:lnTo>
                      <a:pt x="902" y="108"/>
                    </a:lnTo>
                    <a:lnTo>
                      <a:pt x="902" y="114"/>
                    </a:lnTo>
                    <a:lnTo>
                      <a:pt x="904" y="120"/>
                    </a:lnTo>
                    <a:lnTo>
                      <a:pt x="906" y="124"/>
                    </a:lnTo>
                    <a:lnTo>
                      <a:pt x="910" y="126"/>
                    </a:lnTo>
                    <a:lnTo>
                      <a:pt x="912" y="128"/>
                    </a:lnTo>
                    <a:lnTo>
                      <a:pt x="910" y="128"/>
                    </a:lnTo>
                    <a:lnTo>
                      <a:pt x="900" y="130"/>
                    </a:lnTo>
                    <a:lnTo>
                      <a:pt x="900" y="130"/>
                    </a:lnTo>
                    <a:lnTo>
                      <a:pt x="886" y="130"/>
                    </a:lnTo>
                    <a:lnTo>
                      <a:pt x="884" y="132"/>
                    </a:lnTo>
                    <a:lnTo>
                      <a:pt x="886" y="136"/>
                    </a:lnTo>
                    <a:lnTo>
                      <a:pt x="898" y="148"/>
                    </a:lnTo>
                    <a:lnTo>
                      <a:pt x="922" y="172"/>
                    </a:lnTo>
                    <a:lnTo>
                      <a:pt x="922" y="172"/>
                    </a:lnTo>
                    <a:lnTo>
                      <a:pt x="936" y="184"/>
                    </a:lnTo>
                    <a:lnTo>
                      <a:pt x="948" y="192"/>
                    </a:lnTo>
                    <a:lnTo>
                      <a:pt x="960" y="194"/>
                    </a:lnTo>
                    <a:lnTo>
                      <a:pt x="970" y="192"/>
                    </a:lnTo>
                    <a:lnTo>
                      <a:pt x="980" y="188"/>
                    </a:lnTo>
                    <a:lnTo>
                      <a:pt x="990" y="182"/>
                    </a:lnTo>
                    <a:lnTo>
                      <a:pt x="1018" y="164"/>
                    </a:lnTo>
                    <a:lnTo>
                      <a:pt x="1018" y="164"/>
                    </a:lnTo>
                    <a:lnTo>
                      <a:pt x="1038" y="152"/>
                    </a:lnTo>
                    <a:lnTo>
                      <a:pt x="1040" y="152"/>
                    </a:lnTo>
                    <a:lnTo>
                      <a:pt x="1042" y="154"/>
                    </a:lnTo>
                    <a:lnTo>
                      <a:pt x="1042" y="158"/>
                    </a:lnTo>
                    <a:lnTo>
                      <a:pt x="1048" y="160"/>
                    </a:lnTo>
                    <a:lnTo>
                      <a:pt x="1056" y="164"/>
                    </a:lnTo>
                    <a:lnTo>
                      <a:pt x="1072" y="166"/>
                    </a:lnTo>
                    <a:lnTo>
                      <a:pt x="1072" y="166"/>
                    </a:lnTo>
                    <a:lnTo>
                      <a:pt x="1088" y="168"/>
                    </a:lnTo>
                    <a:lnTo>
                      <a:pt x="1096" y="170"/>
                    </a:lnTo>
                    <a:lnTo>
                      <a:pt x="1096" y="170"/>
                    </a:lnTo>
                    <a:lnTo>
                      <a:pt x="1094" y="172"/>
                    </a:lnTo>
                    <a:lnTo>
                      <a:pt x="1088" y="176"/>
                    </a:lnTo>
                    <a:lnTo>
                      <a:pt x="1058" y="186"/>
                    </a:lnTo>
                    <a:lnTo>
                      <a:pt x="1014" y="198"/>
                    </a:lnTo>
                    <a:lnTo>
                      <a:pt x="1014" y="198"/>
                    </a:lnTo>
                    <a:lnTo>
                      <a:pt x="994" y="206"/>
                    </a:lnTo>
                    <a:lnTo>
                      <a:pt x="980" y="210"/>
                    </a:lnTo>
                    <a:lnTo>
                      <a:pt x="972" y="216"/>
                    </a:lnTo>
                    <a:lnTo>
                      <a:pt x="970" y="218"/>
                    </a:lnTo>
                    <a:lnTo>
                      <a:pt x="970" y="220"/>
                    </a:lnTo>
                    <a:lnTo>
                      <a:pt x="976" y="222"/>
                    </a:lnTo>
                    <a:lnTo>
                      <a:pt x="988" y="224"/>
                    </a:lnTo>
                    <a:lnTo>
                      <a:pt x="1008" y="224"/>
                    </a:lnTo>
                    <a:lnTo>
                      <a:pt x="1034" y="222"/>
                    </a:lnTo>
                    <a:lnTo>
                      <a:pt x="1034" y="222"/>
                    </a:lnTo>
                    <a:lnTo>
                      <a:pt x="1058" y="220"/>
                    </a:lnTo>
                    <a:lnTo>
                      <a:pt x="1072" y="220"/>
                    </a:lnTo>
                    <a:lnTo>
                      <a:pt x="1074" y="222"/>
                    </a:lnTo>
                    <a:lnTo>
                      <a:pt x="1076" y="222"/>
                    </a:lnTo>
                    <a:lnTo>
                      <a:pt x="1072" y="226"/>
                    </a:lnTo>
                    <a:lnTo>
                      <a:pt x="1064" y="232"/>
                    </a:lnTo>
                    <a:lnTo>
                      <a:pt x="1050" y="236"/>
                    </a:lnTo>
                    <a:lnTo>
                      <a:pt x="1036" y="242"/>
                    </a:lnTo>
                    <a:lnTo>
                      <a:pt x="1018" y="244"/>
                    </a:lnTo>
                    <a:lnTo>
                      <a:pt x="1018" y="244"/>
                    </a:lnTo>
                    <a:lnTo>
                      <a:pt x="994" y="250"/>
                    </a:lnTo>
                    <a:lnTo>
                      <a:pt x="988" y="252"/>
                    </a:lnTo>
                    <a:lnTo>
                      <a:pt x="984" y="256"/>
                    </a:lnTo>
                    <a:lnTo>
                      <a:pt x="986" y="260"/>
                    </a:lnTo>
                    <a:lnTo>
                      <a:pt x="990" y="264"/>
                    </a:lnTo>
                    <a:lnTo>
                      <a:pt x="1014" y="274"/>
                    </a:lnTo>
                    <a:lnTo>
                      <a:pt x="1014" y="274"/>
                    </a:lnTo>
                    <a:lnTo>
                      <a:pt x="1028" y="280"/>
                    </a:lnTo>
                    <a:lnTo>
                      <a:pt x="1036" y="286"/>
                    </a:lnTo>
                    <a:lnTo>
                      <a:pt x="1048" y="296"/>
                    </a:lnTo>
                    <a:lnTo>
                      <a:pt x="1052" y="302"/>
                    </a:lnTo>
                    <a:lnTo>
                      <a:pt x="1060" y="308"/>
                    </a:lnTo>
                    <a:lnTo>
                      <a:pt x="1072" y="312"/>
                    </a:lnTo>
                    <a:lnTo>
                      <a:pt x="1090" y="318"/>
                    </a:lnTo>
                    <a:lnTo>
                      <a:pt x="1090" y="318"/>
                    </a:lnTo>
                    <a:lnTo>
                      <a:pt x="1098" y="320"/>
                    </a:lnTo>
                    <a:lnTo>
                      <a:pt x="1104" y="320"/>
                    </a:lnTo>
                    <a:lnTo>
                      <a:pt x="1110" y="318"/>
                    </a:lnTo>
                    <a:lnTo>
                      <a:pt x="1114" y="316"/>
                    </a:lnTo>
                    <a:lnTo>
                      <a:pt x="1116" y="312"/>
                    </a:lnTo>
                    <a:lnTo>
                      <a:pt x="1116" y="306"/>
                    </a:lnTo>
                    <a:lnTo>
                      <a:pt x="1118" y="294"/>
                    </a:lnTo>
                    <a:lnTo>
                      <a:pt x="1120" y="282"/>
                    </a:lnTo>
                    <a:lnTo>
                      <a:pt x="1124" y="268"/>
                    </a:lnTo>
                    <a:lnTo>
                      <a:pt x="1128" y="262"/>
                    </a:lnTo>
                    <a:lnTo>
                      <a:pt x="1132" y="256"/>
                    </a:lnTo>
                    <a:lnTo>
                      <a:pt x="1138" y="252"/>
                    </a:lnTo>
                    <a:lnTo>
                      <a:pt x="1146" y="248"/>
                    </a:lnTo>
                    <a:lnTo>
                      <a:pt x="1146" y="248"/>
                    </a:lnTo>
                    <a:lnTo>
                      <a:pt x="1160" y="242"/>
                    </a:lnTo>
                    <a:lnTo>
                      <a:pt x="1166" y="236"/>
                    </a:lnTo>
                    <a:lnTo>
                      <a:pt x="1166" y="230"/>
                    </a:lnTo>
                    <a:lnTo>
                      <a:pt x="1164" y="224"/>
                    </a:lnTo>
                    <a:lnTo>
                      <a:pt x="1162" y="218"/>
                    </a:lnTo>
                    <a:lnTo>
                      <a:pt x="1162" y="214"/>
                    </a:lnTo>
                    <a:lnTo>
                      <a:pt x="1162" y="212"/>
                    </a:lnTo>
                    <a:lnTo>
                      <a:pt x="1166" y="208"/>
                    </a:lnTo>
                    <a:lnTo>
                      <a:pt x="1176" y="204"/>
                    </a:lnTo>
                    <a:lnTo>
                      <a:pt x="1176" y="204"/>
                    </a:lnTo>
                    <a:lnTo>
                      <a:pt x="1182" y="202"/>
                    </a:lnTo>
                    <a:lnTo>
                      <a:pt x="1188" y="200"/>
                    </a:lnTo>
                    <a:lnTo>
                      <a:pt x="1190" y="196"/>
                    </a:lnTo>
                    <a:lnTo>
                      <a:pt x="1192" y="192"/>
                    </a:lnTo>
                    <a:lnTo>
                      <a:pt x="1194" y="186"/>
                    </a:lnTo>
                    <a:lnTo>
                      <a:pt x="1194" y="178"/>
                    </a:lnTo>
                    <a:lnTo>
                      <a:pt x="1196" y="170"/>
                    </a:lnTo>
                    <a:lnTo>
                      <a:pt x="1198" y="166"/>
                    </a:lnTo>
                    <a:lnTo>
                      <a:pt x="1202" y="164"/>
                    </a:lnTo>
                    <a:lnTo>
                      <a:pt x="1206" y="160"/>
                    </a:lnTo>
                    <a:lnTo>
                      <a:pt x="1212" y="158"/>
                    </a:lnTo>
                    <a:lnTo>
                      <a:pt x="1234" y="156"/>
                    </a:lnTo>
                    <a:lnTo>
                      <a:pt x="1234" y="156"/>
                    </a:lnTo>
                    <a:lnTo>
                      <a:pt x="1272" y="152"/>
                    </a:lnTo>
                    <a:lnTo>
                      <a:pt x="1284" y="148"/>
                    </a:lnTo>
                    <a:lnTo>
                      <a:pt x="1290" y="146"/>
                    </a:lnTo>
                    <a:lnTo>
                      <a:pt x="1290" y="144"/>
                    </a:lnTo>
                    <a:lnTo>
                      <a:pt x="1290" y="142"/>
                    </a:lnTo>
                    <a:lnTo>
                      <a:pt x="1284" y="138"/>
                    </a:lnTo>
                    <a:lnTo>
                      <a:pt x="1274" y="136"/>
                    </a:lnTo>
                    <a:lnTo>
                      <a:pt x="1260" y="130"/>
                    </a:lnTo>
                    <a:lnTo>
                      <a:pt x="1260" y="130"/>
                    </a:lnTo>
                    <a:lnTo>
                      <a:pt x="1244" y="126"/>
                    </a:lnTo>
                    <a:lnTo>
                      <a:pt x="1236" y="124"/>
                    </a:lnTo>
                    <a:lnTo>
                      <a:pt x="1226" y="118"/>
                    </a:lnTo>
                    <a:lnTo>
                      <a:pt x="1224" y="116"/>
                    </a:lnTo>
                    <a:lnTo>
                      <a:pt x="1220" y="114"/>
                    </a:lnTo>
                    <a:lnTo>
                      <a:pt x="1202" y="114"/>
                    </a:lnTo>
                    <a:lnTo>
                      <a:pt x="1202" y="114"/>
                    </a:lnTo>
                    <a:lnTo>
                      <a:pt x="1190" y="112"/>
                    </a:lnTo>
                    <a:lnTo>
                      <a:pt x="1186" y="110"/>
                    </a:lnTo>
                    <a:lnTo>
                      <a:pt x="1184" y="106"/>
                    </a:lnTo>
                    <a:lnTo>
                      <a:pt x="1182" y="102"/>
                    </a:lnTo>
                    <a:lnTo>
                      <a:pt x="1182" y="96"/>
                    </a:lnTo>
                    <a:lnTo>
                      <a:pt x="1182" y="90"/>
                    </a:lnTo>
                    <a:lnTo>
                      <a:pt x="1178" y="84"/>
                    </a:lnTo>
                    <a:lnTo>
                      <a:pt x="1170" y="78"/>
                    </a:lnTo>
                    <a:lnTo>
                      <a:pt x="1170" y="78"/>
                    </a:lnTo>
                    <a:lnTo>
                      <a:pt x="1162" y="74"/>
                    </a:lnTo>
                    <a:lnTo>
                      <a:pt x="1156" y="76"/>
                    </a:lnTo>
                    <a:lnTo>
                      <a:pt x="1152" y="82"/>
                    </a:lnTo>
                    <a:lnTo>
                      <a:pt x="1148" y="88"/>
                    </a:lnTo>
                    <a:lnTo>
                      <a:pt x="1144" y="96"/>
                    </a:lnTo>
                    <a:lnTo>
                      <a:pt x="1144" y="98"/>
                    </a:lnTo>
                    <a:lnTo>
                      <a:pt x="1142" y="94"/>
                    </a:lnTo>
                    <a:lnTo>
                      <a:pt x="1142" y="94"/>
                    </a:lnTo>
                    <a:lnTo>
                      <a:pt x="1140" y="84"/>
                    </a:lnTo>
                    <a:lnTo>
                      <a:pt x="1140" y="78"/>
                    </a:lnTo>
                    <a:lnTo>
                      <a:pt x="1142" y="74"/>
                    </a:lnTo>
                    <a:lnTo>
                      <a:pt x="1144" y="70"/>
                    </a:lnTo>
                    <a:lnTo>
                      <a:pt x="1150" y="66"/>
                    </a:lnTo>
                    <a:lnTo>
                      <a:pt x="1152" y="64"/>
                    </a:lnTo>
                    <a:lnTo>
                      <a:pt x="1152" y="64"/>
                    </a:lnTo>
                    <a:lnTo>
                      <a:pt x="1152" y="64"/>
                    </a:lnTo>
                    <a:lnTo>
                      <a:pt x="1132" y="54"/>
                    </a:lnTo>
                    <a:lnTo>
                      <a:pt x="1124" y="50"/>
                    </a:lnTo>
                    <a:lnTo>
                      <a:pt x="1108" y="50"/>
                    </a:lnTo>
                    <a:lnTo>
                      <a:pt x="1108" y="50"/>
                    </a:lnTo>
                    <a:lnTo>
                      <a:pt x="1100" y="50"/>
                    </a:lnTo>
                    <a:lnTo>
                      <a:pt x="1092" y="48"/>
                    </a:lnTo>
                    <a:lnTo>
                      <a:pt x="1084" y="42"/>
                    </a:lnTo>
                    <a:lnTo>
                      <a:pt x="1080" y="40"/>
                    </a:lnTo>
                    <a:lnTo>
                      <a:pt x="1076" y="40"/>
                    </a:lnTo>
                    <a:lnTo>
                      <a:pt x="1070" y="40"/>
                    </a:lnTo>
                    <a:lnTo>
                      <a:pt x="1062" y="44"/>
                    </a:lnTo>
                    <a:lnTo>
                      <a:pt x="1062" y="44"/>
                    </a:lnTo>
                    <a:lnTo>
                      <a:pt x="1058" y="48"/>
                    </a:lnTo>
                    <a:lnTo>
                      <a:pt x="1056" y="54"/>
                    </a:lnTo>
                    <a:lnTo>
                      <a:pt x="1054" y="58"/>
                    </a:lnTo>
                    <a:lnTo>
                      <a:pt x="1056" y="66"/>
                    </a:lnTo>
                    <a:lnTo>
                      <a:pt x="1060" y="80"/>
                    </a:lnTo>
                    <a:lnTo>
                      <a:pt x="1068" y="94"/>
                    </a:lnTo>
                    <a:lnTo>
                      <a:pt x="1084" y="120"/>
                    </a:lnTo>
                    <a:lnTo>
                      <a:pt x="1086" y="130"/>
                    </a:lnTo>
                    <a:lnTo>
                      <a:pt x="1086" y="132"/>
                    </a:lnTo>
                    <a:lnTo>
                      <a:pt x="1084" y="132"/>
                    </a:lnTo>
                    <a:lnTo>
                      <a:pt x="1084" y="132"/>
                    </a:lnTo>
                    <a:lnTo>
                      <a:pt x="1080" y="132"/>
                    </a:lnTo>
                    <a:lnTo>
                      <a:pt x="1076" y="130"/>
                    </a:lnTo>
                    <a:lnTo>
                      <a:pt x="1068" y="122"/>
                    </a:lnTo>
                    <a:lnTo>
                      <a:pt x="1048" y="96"/>
                    </a:lnTo>
                    <a:lnTo>
                      <a:pt x="1036" y="82"/>
                    </a:lnTo>
                    <a:lnTo>
                      <a:pt x="1026" y="72"/>
                    </a:lnTo>
                    <a:lnTo>
                      <a:pt x="1020" y="68"/>
                    </a:lnTo>
                    <a:lnTo>
                      <a:pt x="1014" y="66"/>
                    </a:lnTo>
                    <a:lnTo>
                      <a:pt x="1008" y="64"/>
                    </a:lnTo>
                    <a:lnTo>
                      <a:pt x="1004" y="66"/>
                    </a:lnTo>
                    <a:lnTo>
                      <a:pt x="1004" y="66"/>
                    </a:lnTo>
                    <a:lnTo>
                      <a:pt x="998" y="68"/>
                    </a:lnTo>
                    <a:lnTo>
                      <a:pt x="994" y="70"/>
                    </a:lnTo>
                    <a:lnTo>
                      <a:pt x="990" y="78"/>
                    </a:lnTo>
                    <a:lnTo>
                      <a:pt x="988" y="88"/>
                    </a:lnTo>
                    <a:lnTo>
                      <a:pt x="986" y="96"/>
                    </a:lnTo>
                    <a:lnTo>
                      <a:pt x="986" y="108"/>
                    </a:lnTo>
                    <a:lnTo>
                      <a:pt x="984" y="106"/>
                    </a:lnTo>
                    <a:lnTo>
                      <a:pt x="980" y="100"/>
                    </a:lnTo>
                    <a:lnTo>
                      <a:pt x="980" y="100"/>
                    </a:lnTo>
                    <a:lnTo>
                      <a:pt x="974" y="90"/>
                    </a:lnTo>
                    <a:lnTo>
                      <a:pt x="968" y="84"/>
                    </a:lnTo>
                    <a:lnTo>
                      <a:pt x="960" y="80"/>
                    </a:lnTo>
                    <a:lnTo>
                      <a:pt x="954" y="78"/>
                    </a:lnTo>
                    <a:lnTo>
                      <a:pt x="950" y="76"/>
                    </a:lnTo>
                    <a:lnTo>
                      <a:pt x="948" y="76"/>
                    </a:lnTo>
                    <a:lnTo>
                      <a:pt x="960" y="72"/>
                    </a:lnTo>
                    <a:lnTo>
                      <a:pt x="960" y="72"/>
                    </a:lnTo>
                    <a:lnTo>
                      <a:pt x="972" y="70"/>
                    </a:lnTo>
                    <a:lnTo>
                      <a:pt x="978" y="66"/>
                    </a:lnTo>
                    <a:lnTo>
                      <a:pt x="984" y="62"/>
                    </a:lnTo>
                    <a:lnTo>
                      <a:pt x="984" y="60"/>
                    </a:lnTo>
                    <a:lnTo>
                      <a:pt x="982" y="56"/>
                    </a:lnTo>
                    <a:lnTo>
                      <a:pt x="978" y="56"/>
                    </a:lnTo>
                    <a:lnTo>
                      <a:pt x="970" y="56"/>
                    </a:lnTo>
                    <a:lnTo>
                      <a:pt x="958" y="60"/>
                    </a:lnTo>
                    <a:lnTo>
                      <a:pt x="958" y="60"/>
                    </a:lnTo>
                    <a:lnTo>
                      <a:pt x="946" y="62"/>
                    </a:lnTo>
                    <a:lnTo>
                      <a:pt x="938" y="62"/>
                    </a:lnTo>
                    <a:lnTo>
                      <a:pt x="934" y="62"/>
                    </a:lnTo>
                    <a:lnTo>
                      <a:pt x="930" y="58"/>
                    </a:lnTo>
                    <a:lnTo>
                      <a:pt x="928" y="56"/>
                    </a:lnTo>
                    <a:lnTo>
                      <a:pt x="926" y="56"/>
                    </a:lnTo>
                    <a:lnTo>
                      <a:pt x="922" y="58"/>
                    </a:lnTo>
                    <a:lnTo>
                      <a:pt x="916" y="60"/>
                    </a:lnTo>
                    <a:lnTo>
                      <a:pt x="916" y="60"/>
                    </a:lnTo>
                    <a:lnTo>
                      <a:pt x="908" y="64"/>
                    </a:lnTo>
                    <a:lnTo>
                      <a:pt x="904" y="64"/>
                    </a:lnTo>
                    <a:lnTo>
                      <a:pt x="902" y="64"/>
                    </a:lnTo>
                    <a:lnTo>
                      <a:pt x="900" y="60"/>
                    </a:lnTo>
                    <a:lnTo>
                      <a:pt x="896" y="58"/>
                    </a:lnTo>
                    <a:lnTo>
                      <a:pt x="892" y="58"/>
                    </a:lnTo>
                    <a:lnTo>
                      <a:pt x="884" y="60"/>
                    </a:lnTo>
                    <a:lnTo>
                      <a:pt x="874" y="64"/>
                    </a:lnTo>
                    <a:lnTo>
                      <a:pt x="874" y="64"/>
                    </a:lnTo>
                    <a:lnTo>
                      <a:pt x="862" y="72"/>
                    </a:lnTo>
                    <a:lnTo>
                      <a:pt x="856" y="78"/>
                    </a:lnTo>
                    <a:lnTo>
                      <a:pt x="854" y="82"/>
                    </a:lnTo>
                    <a:lnTo>
                      <a:pt x="854" y="88"/>
                    </a:lnTo>
                    <a:lnTo>
                      <a:pt x="858" y="92"/>
                    </a:lnTo>
                    <a:lnTo>
                      <a:pt x="862" y="98"/>
                    </a:lnTo>
                    <a:lnTo>
                      <a:pt x="872" y="112"/>
                    </a:lnTo>
                    <a:lnTo>
                      <a:pt x="872" y="112"/>
                    </a:lnTo>
                    <a:lnTo>
                      <a:pt x="878" y="116"/>
                    </a:lnTo>
                    <a:lnTo>
                      <a:pt x="884" y="118"/>
                    </a:lnTo>
                    <a:lnTo>
                      <a:pt x="890" y="114"/>
                    </a:lnTo>
                    <a:lnTo>
                      <a:pt x="894" y="110"/>
                    </a:lnTo>
                    <a:lnTo>
                      <a:pt x="902" y="104"/>
                    </a:lnTo>
                    <a:lnTo>
                      <a:pt x="902" y="104"/>
                    </a:lnTo>
                    <a:lnTo>
                      <a:pt x="902" y="108"/>
                    </a:lnTo>
                    <a:lnTo>
                      <a:pt x="902" y="108"/>
                    </a:lnTo>
                    <a:close/>
                    <a:moveTo>
                      <a:pt x="1272" y="818"/>
                    </a:moveTo>
                    <a:lnTo>
                      <a:pt x="1272" y="818"/>
                    </a:lnTo>
                    <a:lnTo>
                      <a:pt x="1272" y="818"/>
                    </a:lnTo>
                    <a:lnTo>
                      <a:pt x="1272" y="816"/>
                    </a:lnTo>
                    <a:lnTo>
                      <a:pt x="1270" y="814"/>
                    </a:lnTo>
                    <a:lnTo>
                      <a:pt x="1266" y="812"/>
                    </a:lnTo>
                    <a:lnTo>
                      <a:pt x="1264" y="814"/>
                    </a:lnTo>
                    <a:lnTo>
                      <a:pt x="1264" y="814"/>
                    </a:lnTo>
                    <a:lnTo>
                      <a:pt x="1264" y="818"/>
                    </a:lnTo>
                    <a:lnTo>
                      <a:pt x="1264" y="820"/>
                    </a:lnTo>
                    <a:lnTo>
                      <a:pt x="1272" y="818"/>
                    </a:lnTo>
                    <a:lnTo>
                      <a:pt x="1272" y="818"/>
                    </a:lnTo>
                    <a:close/>
                    <a:moveTo>
                      <a:pt x="1168" y="848"/>
                    </a:moveTo>
                    <a:lnTo>
                      <a:pt x="1168" y="848"/>
                    </a:lnTo>
                    <a:lnTo>
                      <a:pt x="1176" y="848"/>
                    </a:lnTo>
                    <a:lnTo>
                      <a:pt x="1180" y="848"/>
                    </a:lnTo>
                    <a:lnTo>
                      <a:pt x="1182" y="844"/>
                    </a:lnTo>
                    <a:lnTo>
                      <a:pt x="1182" y="844"/>
                    </a:lnTo>
                    <a:lnTo>
                      <a:pt x="1184" y="840"/>
                    </a:lnTo>
                    <a:lnTo>
                      <a:pt x="1190" y="836"/>
                    </a:lnTo>
                    <a:lnTo>
                      <a:pt x="1192" y="834"/>
                    </a:lnTo>
                    <a:lnTo>
                      <a:pt x="1192" y="832"/>
                    </a:lnTo>
                    <a:lnTo>
                      <a:pt x="1192" y="830"/>
                    </a:lnTo>
                    <a:lnTo>
                      <a:pt x="1188" y="828"/>
                    </a:lnTo>
                    <a:lnTo>
                      <a:pt x="1188" y="828"/>
                    </a:lnTo>
                    <a:lnTo>
                      <a:pt x="1182" y="826"/>
                    </a:lnTo>
                    <a:lnTo>
                      <a:pt x="1180" y="826"/>
                    </a:lnTo>
                    <a:lnTo>
                      <a:pt x="1180" y="828"/>
                    </a:lnTo>
                    <a:lnTo>
                      <a:pt x="1176" y="830"/>
                    </a:lnTo>
                    <a:lnTo>
                      <a:pt x="1176" y="830"/>
                    </a:lnTo>
                    <a:lnTo>
                      <a:pt x="1174" y="830"/>
                    </a:lnTo>
                    <a:lnTo>
                      <a:pt x="1172" y="832"/>
                    </a:lnTo>
                    <a:lnTo>
                      <a:pt x="1172" y="832"/>
                    </a:lnTo>
                    <a:lnTo>
                      <a:pt x="1170" y="832"/>
                    </a:lnTo>
                    <a:lnTo>
                      <a:pt x="1170" y="832"/>
                    </a:lnTo>
                    <a:lnTo>
                      <a:pt x="1166" y="832"/>
                    </a:lnTo>
                    <a:lnTo>
                      <a:pt x="1164" y="832"/>
                    </a:lnTo>
                    <a:lnTo>
                      <a:pt x="1162" y="834"/>
                    </a:lnTo>
                    <a:lnTo>
                      <a:pt x="1162" y="838"/>
                    </a:lnTo>
                    <a:lnTo>
                      <a:pt x="1162" y="838"/>
                    </a:lnTo>
                    <a:lnTo>
                      <a:pt x="1160" y="842"/>
                    </a:lnTo>
                    <a:lnTo>
                      <a:pt x="1156" y="842"/>
                    </a:lnTo>
                    <a:lnTo>
                      <a:pt x="1154" y="842"/>
                    </a:lnTo>
                    <a:lnTo>
                      <a:pt x="1152" y="844"/>
                    </a:lnTo>
                    <a:lnTo>
                      <a:pt x="1152" y="844"/>
                    </a:lnTo>
                    <a:lnTo>
                      <a:pt x="1152" y="846"/>
                    </a:lnTo>
                    <a:lnTo>
                      <a:pt x="1154" y="848"/>
                    </a:lnTo>
                    <a:lnTo>
                      <a:pt x="1168" y="848"/>
                    </a:lnTo>
                    <a:lnTo>
                      <a:pt x="1168" y="848"/>
                    </a:lnTo>
                    <a:close/>
                    <a:moveTo>
                      <a:pt x="1214" y="822"/>
                    </a:moveTo>
                    <a:lnTo>
                      <a:pt x="1214" y="822"/>
                    </a:lnTo>
                    <a:lnTo>
                      <a:pt x="1218" y="816"/>
                    </a:lnTo>
                    <a:lnTo>
                      <a:pt x="1218" y="814"/>
                    </a:lnTo>
                    <a:lnTo>
                      <a:pt x="1216" y="814"/>
                    </a:lnTo>
                    <a:lnTo>
                      <a:pt x="1216" y="814"/>
                    </a:lnTo>
                    <a:lnTo>
                      <a:pt x="1212" y="812"/>
                    </a:lnTo>
                    <a:lnTo>
                      <a:pt x="1208" y="814"/>
                    </a:lnTo>
                    <a:lnTo>
                      <a:pt x="1206" y="814"/>
                    </a:lnTo>
                    <a:lnTo>
                      <a:pt x="1202" y="812"/>
                    </a:lnTo>
                    <a:lnTo>
                      <a:pt x="1202" y="812"/>
                    </a:lnTo>
                    <a:lnTo>
                      <a:pt x="1198" y="810"/>
                    </a:lnTo>
                    <a:lnTo>
                      <a:pt x="1198" y="810"/>
                    </a:lnTo>
                    <a:lnTo>
                      <a:pt x="1196" y="812"/>
                    </a:lnTo>
                    <a:lnTo>
                      <a:pt x="1192" y="814"/>
                    </a:lnTo>
                    <a:lnTo>
                      <a:pt x="1192" y="814"/>
                    </a:lnTo>
                    <a:lnTo>
                      <a:pt x="1190" y="814"/>
                    </a:lnTo>
                    <a:lnTo>
                      <a:pt x="1188" y="814"/>
                    </a:lnTo>
                    <a:lnTo>
                      <a:pt x="1188" y="816"/>
                    </a:lnTo>
                    <a:lnTo>
                      <a:pt x="1184" y="820"/>
                    </a:lnTo>
                    <a:lnTo>
                      <a:pt x="1184" y="820"/>
                    </a:lnTo>
                    <a:lnTo>
                      <a:pt x="1182" y="822"/>
                    </a:lnTo>
                    <a:lnTo>
                      <a:pt x="1184" y="824"/>
                    </a:lnTo>
                    <a:lnTo>
                      <a:pt x="1190" y="824"/>
                    </a:lnTo>
                    <a:lnTo>
                      <a:pt x="1196" y="828"/>
                    </a:lnTo>
                    <a:lnTo>
                      <a:pt x="1196" y="828"/>
                    </a:lnTo>
                    <a:lnTo>
                      <a:pt x="1200" y="830"/>
                    </a:lnTo>
                    <a:lnTo>
                      <a:pt x="1204" y="830"/>
                    </a:lnTo>
                    <a:lnTo>
                      <a:pt x="1214" y="822"/>
                    </a:lnTo>
                    <a:lnTo>
                      <a:pt x="1214" y="822"/>
                    </a:lnTo>
                    <a:close/>
                    <a:moveTo>
                      <a:pt x="1352" y="792"/>
                    </a:moveTo>
                    <a:lnTo>
                      <a:pt x="1352" y="792"/>
                    </a:lnTo>
                    <a:lnTo>
                      <a:pt x="1348" y="790"/>
                    </a:lnTo>
                    <a:lnTo>
                      <a:pt x="1344" y="788"/>
                    </a:lnTo>
                    <a:lnTo>
                      <a:pt x="1338" y="788"/>
                    </a:lnTo>
                    <a:lnTo>
                      <a:pt x="1330" y="790"/>
                    </a:lnTo>
                    <a:lnTo>
                      <a:pt x="1330" y="790"/>
                    </a:lnTo>
                    <a:lnTo>
                      <a:pt x="1328" y="792"/>
                    </a:lnTo>
                    <a:lnTo>
                      <a:pt x="1330" y="794"/>
                    </a:lnTo>
                    <a:lnTo>
                      <a:pt x="1340" y="798"/>
                    </a:lnTo>
                    <a:lnTo>
                      <a:pt x="1350" y="796"/>
                    </a:lnTo>
                    <a:lnTo>
                      <a:pt x="1352" y="796"/>
                    </a:lnTo>
                    <a:lnTo>
                      <a:pt x="1352" y="792"/>
                    </a:lnTo>
                    <a:lnTo>
                      <a:pt x="1352" y="792"/>
                    </a:lnTo>
                    <a:close/>
                    <a:moveTo>
                      <a:pt x="1326" y="780"/>
                    </a:moveTo>
                    <a:lnTo>
                      <a:pt x="1326" y="780"/>
                    </a:lnTo>
                    <a:lnTo>
                      <a:pt x="1330" y="778"/>
                    </a:lnTo>
                    <a:lnTo>
                      <a:pt x="1334" y="776"/>
                    </a:lnTo>
                    <a:lnTo>
                      <a:pt x="1338" y="776"/>
                    </a:lnTo>
                    <a:lnTo>
                      <a:pt x="1342" y="776"/>
                    </a:lnTo>
                    <a:lnTo>
                      <a:pt x="1342" y="776"/>
                    </a:lnTo>
                    <a:lnTo>
                      <a:pt x="1346" y="778"/>
                    </a:lnTo>
                    <a:lnTo>
                      <a:pt x="1350" y="776"/>
                    </a:lnTo>
                    <a:lnTo>
                      <a:pt x="1364" y="766"/>
                    </a:lnTo>
                    <a:lnTo>
                      <a:pt x="1364" y="766"/>
                    </a:lnTo>
                    <a:lnTo>
                      <a:pt x="1372" y="760"/>
                    </a:lnTo>
                    <a:lnTo>
                      <a:pt x="1372" y="758"/>
                    </a:lnTo>
                    <a:lnTo>
                      <a:pt x="1372" y="756"/>
                    </a:lnTo>
                    <a:lnTo>
                      <a:pt x="1368" y="756"/>
                    </a:lnTo>
                    <a:lnTo>
                      <a:pt x="1362" y="756"/>
                    </a:lnTo>
                    <a:lnTo>
                      <a:pt x="1362" y="756"/>
                    </a:lnTo>
                    <a:lnTo>
                      <a:pt x="1356" y="758"/>
                    </a:lnTo>
                    <a:lnTo>
                      <a:pt x="1358" y="760"/>
                    </a:lnTo>
                    <a:lnTo>
                      <a:pt x="1358" y="762"/>
                    </a:lnTo>
                    <a:lnTo>
                      <a:pt x="1356" y="764"/>
                    </a:lnTo>
                    <a:lnTo>
                      <a:pt x="1356" y="764"/>
                    </a:lnTo>
                    <a:lnTo>
                      <a:pt x="1350" y="762"/>
                    </a:lnTo>
                    <a:lnTo>
                      <a:pt x="1348" y="762"/>
                    </a:lnTo>
                    <a:lnTo>
                      <a:pt x="1346" y="762"/>
                    </a:lnTo>
                    <a:lnTo>
                      <a:pt x="1342" y="766"/>
                    </a:lnTo>
                    <a:lnTo>
                      <a:pt x="1342" y="766"/>
                    </a:lnTo>
                    <a:lnTo>
                      <a:pt x="1342" y="770"/>
                    </a:lnTo>
                    <a:lnTo>
                      <a:pt x="1340" y="768"/>
                    </a:lnTo>
                    <a:lnTo>
                      <a:pt x="1338" y="766"/>
                    </a:lnTo>
                    <a:lnTo>
                      <a:pt x="1332" y="766"/>
                    </a:lnTo>
                    <a:lnTo>
                      <a:pt x="1332" y="766"/>
                    </a:lnTo>
                    <a:lnTo>
                      <a:pt x="1318" y="770"/>
                    </a:lnTo>
                    <a:lnTo>
                      <a:pt x="1314" y="774"/>
                    </a:lnTo>
                    <a:lnTo>
                      <a:pt x="1318" y="776"/>
                    </a:lnTo>
                    <a:lnTo>
                      <a:pt x="1318" y="776"/>
                    </a:lnTo>
                    <a:lnTo>
                      <a:pt x="1320" y="776"/>
                    </a:lnTo>
                    <a:lnTo>
                      <a:pt x="1322" y="778"/>
                    </a:lnTo>
                    <a:lnTo>
                      <a:pt x="1320" y="780"/>
                    </a:lnTo>
                    <a:lnTo>
                      <a:pt x="1320" y="780"/>
                    </a:lnTo>
                    <a:lnTo>
                      <a:pt x="1326" y="780"/>
                    </a:lnTo>
                    <a:lnTo>
                      <a:pt x="1326" y="780"/>
                    </a:lnTo>
                    <a:close/>
                    <a:moveTo>
                      <a:pt x="1414" y="220"/>
                    </a:moveTo>
                    <a:lnTo>
                      <a:pt x="1414" y="220"/>
                    </a:lnTo>
                    <a:lnTo>
                      <a:pt x="1408" y="216"/>
                    </a:lnTo>
                    <a:lnTo>
                      <a:pt x="1402" y="216"/>
                    </a:lnTo>
                    <a:lnTo>
                      <a:pt x="1392" y="218"/>
                    </a:lnTo>
                    <a:lnTo>
                      <a:pt x="1388" y="220"/>
                    </a:lnTo>
                    <a:lnTo>
                      <a:pt x="1382" y="220"/>
                    </a:lnTo>
                    <a:lnTo>
                      <a:pt x="1374" y="218"/>
                    </a:lnTo>
                    <a:lnTo>
                      <a:pt x="1364" y="214"/>
                    </a:lnTo>
                    <a:lnTo>
                      <a:pt x="1364" y="214"/>
                    </a:lnTo>
                    <a:lnTo>
                      <a:pt x="1356" y="208"/>
                    </a:lnTo>
                    <a:lnTo>
                      <a:pt x="1354" y="204"/>
                    </a:lnTo>
                    <a:lnTo>
                      <a:pt x="1356" y="200"/>
                    </a:lnTo>
                    <a:lnTo>
                      <a:pt x="1360" y="198"/>
                    </a:lnTo>
                    <a:lnTo>
                      <a:pt x="1370" y="194"/>
                    </a:lnTo>
                    <a:lnTo>
                      <a:pt x="1370" y="192"/>
                    </a:lnTo>
                    <a:lnTo>
                      <a:pt x="1366" y="190"/>
                    </a:lnTo>
                    <a:lnTo>
                      <a:pt x="1366" y="190"/>
                    </a:lnTo>
                    <a:lnTo>
                      <a:pt x="1354" y="188"/>
                    </a:lnTo>
                    <a:lnTo>
                      <a:pt x="1336" y="188"/>
                    </a:lnTo>
                    <a:lnTo>
                      <a:pt x="1316" y="188"/>
                    </a:lnTo>
                    <a:lnTo>
                      <a:pt x="1296" y="190"/>
                    </a:lnTo>
                    <a:lnTo>
                      <a:pt x="1280" y="194"/>
                    </a:lnTo>
                    <a:lnTo>
                      <a:pt x="1274" y="196"/>
                    </a:lnTo>
                    <a:lnTo>
                      <a:pt x="1270" y="198"/>
                    </a:lnTo>
                    <a:lnTo>
                      <a:pt x="1270" y="202"/>
                    </a:lnTo>
                    <a:lnTo>
                      <a:pt x="1272" y="204"/>
                    </a:lnTo>
                    <a:lnTo>
                      <a:pt x="1276" y="208"/>
                    </a:lnTo>
                    <a:lnTo>
                      <a:pt x="1286" y="212"/>
                    </a:lnTo>
                    <a:lnTo>
                      <a:pt x="1286" y="212"/>
                    </a:lnTo>
                    <a:lnTo>
                      <a:pt x="1292" y="214"/>
                    </a:lnTo>
                    <a:lnTo>
                      <a:pt x="1292" y="216"/>
                    </a:lnTo>
                    <a:lnTo>
                      <a:pt x="1292" y="218"/>
                    </a:lnTo>
                    <a:lnTo>
                      <a:pt x="1286" y="224"/>
                    </a:lnTo>
                    <a:lnTo>
                      <a:pt x="1272" y="236"/>
                    </a:lnTo>
                    <a:lnTo>
                      <a:pt x="1272" y="236"/>
                    </a:lnTo>
                    <a:lnTo>
                      <a:pt x="1264" y="242"/>
                    </a:lnTo>
                    <a:lnTo>
                      <a:pt x="1262" y="246"/>
                    </a:lnTo>
                    <a:lnTo>
                      <a:pt x="1264" y="248"/>
                    </a:lnTo>
                    <a:lnTo>
                      <a:pt x="1270" y="250"/>
                    </a:lnTo>
                    <a:lnTo>
                      <a:pt x="1288" y="250"/>
                    </a:lnTo>
                    <a:lnTo>
                      <a:pt x="1314" y="246"/>
                    </a:lnTo>
                    <a:lnTo>
                      <a:pt x="1314" y="246"/>
                    </a:lnTo>
                    <a:lnTo>
                      <a:pt x="1324" y="248"/>
                    </a:lnTo>
                    <a:lnTo>
                      <a:pt x="1328" y="248"/>
                    </a:lnTo>
                    <a:lnTo>
                      <a:pt x="1328" y="250"/>
                    </a:lnTo>
                    <a:lnTo>
                      <a:pt x="1328" y="256"/>
                    </a:lnTo>
                    <a:lnTo>
                      <a:pt x="1328" y="260"/>
                    </a:lnTo>
                    <a:lnTo>
                      <a:pt x="1326" y="264"/>
                    </a:lnTo>
                    <a:lnTo>
                      <a:pt x="1326" y="266"/>
                    </a:lnTo>
                    <a:lnTo>
                      <a:pt x="1328" y="266"/>
                    </a:lnTo>
                    <a:lnTo>
                      <a:pt x="1336" y="266"/>
                    </a:lnTo>
                    <a:lnTo>
                      <a:pt x="1350" y="260"/>
                    </a:lnTo>
                    <a:lnTo>
                      <a:pt x="1350" y="260"/>
                    </a:lnTo>
                    <a:lnTo>
                      <a:pt x="1376" y="250"/>
                    </a:lnTo>
                    <a:lnTo>
                      <a:pt x="1402" y="238"/>
                    </a:lnTo>
                    <a:lnTo>
                      <a:pt x="1412" y="234"/>
                    </a:lnTo>
                    <a:lnTo>
                      <a:pt x="1418" y="228"/>
                    </a:lnTo>
                    <a:lnTo>
                      <a:pt x="1420" y="226"/>
                    </a:lnTo>
                    <a:lnTo>
                      <a:pt x="1420" y="224"/>
                    </a:lnTo>
                    <a:lnTo>
                      <a:pt x="1418" y="222"/>
                    </a:lnTo>
                    <a:lnTo>
                      <a:pt x="1414" y="220"/>
                    </a:lnTo>
                    <a:lnTo>
                      <a:pt x="1414" y="220"/>
                    </a:lnTo>
                    <a:close/>
                    <a:moveTo>
                      <a:pt x="1370" y="792"/>
                    </a:moveTo>
                    <a:lnTo>
                      <a:pt x="1370" y="792"/>
                    </a:lnTo>
                    <a:lnTo>
                      <a:pt x="1378" y="782"/>
                    </a:lnTo>
                    <a:lnTo>
                      <a:pt x="1380" y="776"/>
                    </a:lnTo>
                    <a:lnTo>
                      <a:pt x="1378" y="774"/>
                    </a:lnTo>
                    <a:lnTo>
                      <a:pt x="1376" y="772"/>
                    </a:lnTo>
                    <a:lnTo>
                      <a:pt x="1376" y="772"/>
                    </a:lnTo>
                    <a:lnTo>
                      <a:pt x="1372" y="770"/>
                    </a:lnTo>
                    <a:lnTo>
                      <a:pt x="1372" y="770"/>
                    </a:lnTo>
                    <a:lnTo>
                      <a:pt x="1370" y="774"/>
                    </a:lnTo>
                    <a:lnTo>
                      <a:pt x="1362" y="776"/>
                    </a:lnTo>
                    <a:lnTo>
                      <a:pt x="1362" y="776"/>
                    </a:lnTo>
                    <a:lnTo>
                      <a:pt x="1354" y="780"/>
                    </a:lnTo>
                    <a:lnTo>
                      <a:pt x="1350" y="784"/>
                    </a:lnTo>
                    <a:lnTo>
                      <a:pt x="1350" y="786"/>
                    </a:lnTo>
                    <a:lnTo>
                      <a:pt x="1350" y="788"/>
                    </a:lnTo>
                    <a:lnTo>
                      <a:pt x="1356" y="792"/>
                    </a:lnTo>
                    <a:lnTo>
                      <a:pt x="1356" y="792"/>
                    </a:lnTo>
                    <a:lnTo>
                      <a:pt x="1364" y="794"/>
                    </a:lnTo>
                    <a:lnTo>
                      <a:pt x="1366" y="794"/>
                    </a:lnTo>
                    <a:lnTo>
                      <a:pt x="1370" y="792"/>
                    </a:lnTo>
                    <a:lnTo>
                      <a:pt x="1370" y="792"/>
                    </a:lnTo>
                    <a:close/>
                    <a:moveTo>
                      <a:pt x="1388" y="762"/>
                    </a:moveTo>
                    <a:lnTo>
                      <a:pt x="1388" y="762"/>
                    </a:lnTo>
                    <a:lnTo>
                      <a:pt x="1384" y="762"/>
                    </a:lnTo>
                    <a:lnTo>
                      <a:pt x="1380" y="764"/>
                    </a:lnTo>
                    <a:lnTo>
                      <a:pt x="1380" y="766"/>
                    </a:lnTo>
                    <a:lnTo>
                      <a:pt x="1380" y="770"/>
                    </a:lnTo>
                    <a:lnTo>
                      <a:pt x="1384" y="776"/>
                    </a:lnTo>
                    <a:lnTo>
                      <a:pt x="1386" y="778"/>
                    </a:lnTo>
                    <a:lnTo>
                      <a:pt x="1388" y="778"/>
                    </a:lnTo>
                    <a:lnTo>
                      <a:pt x="1388" y="778"/>
                    </a:lnTo>
                    <a:lnTo>
                      <a:pt x="1394" y="776"/>
                    </a:lnTo>
                    <a:lnTo>
                      <a:pt x="1396" y="772"/>
                    </a:lnTo>
                    <a:lnTo>
                      <a:pt x="1396" y="770"/>
                    </a:lnTo>
                    <a:lnTo>
                      <a:pt x="1396" y="766"/>
                    </a:lnTo>
                    <a:lnTo>
                      <a:pt x="1392" y="764"/>
                    </a:lnTo>
                    <a:lnTo>
                      <a:pt x="1388" y="762"/>
                    </a:lnTo>
                    <a:lnTo>
                      <a:pt x="1388" y="762"/>
                    </a:lnTo>
                    <a:close/>
                    <a:moveTo>
                      <a:pt x="1264" y="804"/>
                    </a:moveTo>
                    <a:lnTo>
                      <a:pt x="1264" y="804"/>
                    </a:lnTo>
                    <a:lnTo>
                      <a:pt x="1264" y="800"/>
                    </a:lnTo>
                    <a:lnTo>
                      <a:pt x="1262" y="798"/>
                    </a:lnTo>
                    <a:lnTo>
                      <a:pt x="1258" y="798"/>
                    </a:lnTo>
                    <a:lnTo>
                      <a:pt x="1252" y="802"/>
                    </a:lnTo>
                    <a:lnTo>
                      <a:pt x="1252" y="802"/>
                    </a:lnTo>
                    <a:lnTo>
                      <a:pt x="1248" y="804"/>
                    </a:lnTo>
                    <a:lnTo>
                      <a:pt x="1248" y="808"/>
                    </a:lnTo>
                    <a:lnTo>
                      <a:pt x="1250" y="810"/>
                    </a:lnTo>
                    <a:lnTo>
                      <a:pt x="1254" y="812"/>
                    </a:lnTo>
                    <a:lnTo>
                      <a:pt x="1254" y="812"/>
                    </a:lnTo>
                    <a:lnTo>
                      <a:pt x="1260" y="814"/>
                    </a:lnTo>
                    <a:lnTo>
                      <a:pt x="1262" y="812"/>
                    </a:lnTo>
                    <a:lnTo>
                      <a:pt x="1264" y="804"/>
                    </a:lnTo>
                    <a:lnTo>
                      <a:pt x="1264" y="804"/>
                    </a:lnTo>
                    <a:close/>
                    <a:moveTo>
                      <a:pt x="1102" y="904"/>
                    </a:moveTo>
                    <a:lnTo>
                      <a:pt x="1102" y="904"/>
                    </a:lnTo>
                    <a:lnTo>
                      <a:pt x="1102" y="908"/>
                    </a:lnTo>
                    <a:lnTo>
                      <a:pt x="1104" y="908"/>
                    </a:lnTo>
                    <a:lnTo>
                      <a:pt x="1112" y="908"/>
                    </a:lnTo>
                    <a:lnTo>
                      <a:pt x="1112" y="908"/>
                    </a:lnTo>
                    <a:lnTo>
                      <a:pt x="1114" y="906"/>
                    </a:lnTo>
                    <a:lnTo>
                      <a:pt x="1114" y="906"/>
                    </a:lnTo>
                    <a:lnTo>
                      <a:pt x="1112" y="902"/>
                    </a:lnTo>
                    <a:lnTo>
                      <a:pt x="1106" y="902"/>
                    </a:lnTo>
                    <a:lnTo>
                      <a:pt x="1104" y="902"/>
                    </a:lnTo>
                    <a:lnTo>
                      <a:pt x="1102" y="904"/>
                    </a:lnTo>
                    <a:lnTo>
                      <a:pt x="1102" y="904"/>
                    </a:lnTo>
                    <a:close/>
                    <a:moveTo>
                      <a:pt x="1116" y="898"/>
                    </a:moveTo>
                    <a:lnTo>
                      <a:pt x="1116" y="898"/>
                    </a:lnTo>
                    <a:lnTo>
                      <a:pt x="1120" y="900"/>
                    </a:lnTo>
                    <a:lnTo>
                      <a:pt x="1122" y="898"/>
                    </a:lnTo>
                    <a:lnTo>
                      <a:pt x="1124" y="896"/>
                    </a:lnTo>
                    <a:lnTo>
                      <a:pt x="1124" y="894"/>
                    </a:lnTo>
                    <a:lnTo>
                      <a:pt x="1124" y="894"/>
                    </a:lnTo>
                    <a:lnTo>
                      <a:pt x="1120" y="892"/>
                    </a:lnTo>
                    <a:lnTo>
                      <a:pt x="1116" y="894"/>
                    </a:lnTo>
                    <a:lnTo>
                      <a:pt x="1114" y="896"/>
                    </a:lnTo>
                    <a:lnTo>
                      <a:pt x="1116" y="898"/>
                    </a:lnTo>
                    <a:lnTo>
                      <a:pt x="1116" y="898"/>
                    </a:lnTo>
                    <a:close/>
                    <a:moveTo>
                      <a:pt x="1150" y="850"/>
                    </a:moveTo>
                    <a:lnTo>
                      <a:pt x="1150" y="850"/>
                    </a:lnTo>
                    <a:lnTo>
                      <a:pt x="1148" y="850"/>
                    </a:lnTo>
                    <a:lnTo>
                      <a:pt x="1148" y="848"/>
                    </a:lnTo>
                    <a:lnTo>
                      <a:pt x="1146" y="846"/>
                    </a:lnTo>
                    <a:lnTo>
                      <a:pt x="1144" y="846"/>
                    </a:lnTo>
                    <a:lnTo>
                      <a:pt x="1144" y="846"/>
                    </a:lnTo>
                    <a:lnTo>
                      <a:pt x="1142" y="848"/>
                    </a:lnTo>
                    <a:lnTo>
                      <a:pt x="1140" y="846"/>
                    </a:lnTo>
                    <a:lnTo>
                      <a:pt x="1138" y="844"/>
                    </a:lnTo>
                    <a:lnTo>
                      <a:pt x="1136" y="846"/>
                    </a:lnTo>
                    <a:lnTo>
                      <a:pt x="1136" y="846"/>
                    </a:lnTo>
                    <a:lnTo>
                      <a:pt x="1136" y="848"/>
                    </a:lnTo>
                    <a:lnTo>
                      <a:pt x="1132" y="848"/>
                    </a:lnTo>
                    <a:lnTo>
                      <a:pt x="1130" y="846"/>
                    </a:lnTo>
                    <a:lnTo>
                      <a:pt x="1130" y="850"/>
                    </a:lnTo>
                    <a:lnTo>
                      <a:pt x="1130" y="850"/>
                    </a:lnTo>
                    <a:lnTo>
                      <a:pt x="1130" y="852"/>
                    </a:lnTo>
                    <a:lnTo>
                      <a:pt x="1128" y="850"/>
                    </a:lnTo>
                    <a:lnTo>
                      <a:pt x="1124" y="850"/>
                    </a:lnTo>
                    <a:lnTo>
                      <a:pt x="1120" y="850"/>
                    </a:lnTo>
                    <a:lnTo>
                      <a:pt x="1120" y="850"/>
                    </a:lnTo>
                    <a:lnTo>
                      <a:pt x="1118" y="854"/>
                    </a:lnTo>
                    <a:lnTo>
                      <a:pt x="1120" y="856"/>
                    </a:lnTo>
                    <a:lnTo>
                      <a:pt x="1124" y="856"/>
                    </a:lnTo>
                    <a:lnTo>
                      <a:pt x="1124" y="858"/>
                    </a:lnTo>
                    <a:lnTo>
                      <a:pt x="1124" y="858"/>
                    </a:lnTo>
                    <a:lnTo>
                      <a:pt x="1120" y="860"/>
                    </a:lnTo>
                    <a:lnTo>
                      <a:pt x="1114" y="860"/>
                    </a:lnTo>
                    <a:lnTo>
                      <a:pt x="1108" y="860"/>
                    </a:lnTo>
                    <a:lnTo>
                      <a:pt x="1108" y="862"/>
                    </a:lnTo>
                    <a:lnTo>
                      <a:pt x="1110" y="862"/>
                    </a:lnTo>
                    <a:lnTo>
                      <a:pt x="1110" y="862"/>
                    </a:lnTo>
                    <a:lnTo>
                      <a:pt x="1110" y="864"/>
                    </a:lnTo>
                    <a:lnTo>
                      <a:pt x="1108" y="866"/>
                    </a:lnTo>
                    <a:lnTo>
                      <a:pt x="1106" y="866"/>
                    </a:lnTo>
                    <a:lnTo>
                      <a:pt x="1108" y="868"/>
                    </a:lnTo>
                    <a:lnTo>
                      <a:pt x="1108" y="868"/>
                    </a:lnTo>
                    <a:lnTo>
                      <a:pt x="1110" y="870"/>
                    </a:lnTo>
                    <a:lnTo>
                      <a:pt x="1108" y="870"/>
                    </a:lnTo>
                    <a:lnTo>
                      <a:pt x="1108" y="872"/>
                    </a:lnTo>
                    <a:lnTo>
                      <a:pt x="1108" y="874"/>
                    </a:lnTo>
                    <a:lnTo>
                      <a:pt x="1108" y="874"/>
                    </a:lnTo>
                    <a:lnTo>
                      <a:pt x="1108" y="876"/>
                    </a:lnTo>
                    <a:lnTo>
                      <a:pt x="1108" y="878"/>
                    </a:lnTo>
                    <a:lnTo>
                      <a:pt x="1106" y="880"/>
                    </a:lnTo>
                    <a:lnTo>
                      <a:pt x="1104" y="882"/>
                    </a:lnTo>
                    <a:lnTo>
                      <a:pt x="1108" y="884"/>
                    </a:lnTo>
                    <a:lnTo>
                      <a:pt x="1108" y="884"/>
                    </a:lnTo>
                    <a:lnTo>
                      <a:pt x="1114" y="884"/>
                    </a:lnTo>
                    <a:lnTo>
                      <a:pt x="1114" y="886"/>
                    </a:lnTo>
                    <a:lnTo>
                      <a:pt x="1114" y="888"/>
                    </a:lnTo>
                    <a:lnTo>
                      <a:pt x="1116" y="888"/>
                    </a:lnTo>
                    <a:lnTo>
                      <a:pt x="1116" y="888"/>
                    </a:lnTo>
                    <a:lnTo>
                      <a:pt x="1120" y="884"/>
                    </a:lnTo>
                    <a:lnTo>
                      <a:pt x="1122" y="880"/>
                    </a:lnTo>
                    <a:lnTo>
                      <a:pt x="1126" y="876"/>
                    </a:lnTo>
                    <a:lnTo>
                      <a:pt x="1130" y="874"/>
                    </a:lnTo>
                    <a:lnTo>
                      <a:pt x="1130" y="874"/>
                    </a:lnTo>
                    <a:lnTo>
                      <a:pt x="1132" y="876"/>
                    </a:lnTo>
                    <a:lnTo>
                      <a:pt x="1132" y="878"/>
                    </a:lnTo>
                    <a:lnTo>
                      <a:pt x="1134" y="878"/>
                    </a:lnTo>
                    <a:lnTo>
                      <a:pt x="1142" y="878"/>
                    </a:lnTo>
                    <a:lnTo>
                      <a:pt x="1142" y="878"/>
                    </a:lnTo>
                    <a:lnTo>
                      <a:pt x="1146" y="876"/>
                    </a:lnTo>
                    <a:lnTo>
                      <a:pt x="1148" y="874"/>
                    </a:lnTo>
                    <a:lnTo>
                      <a:pt x="1146" y="870"/>
                    </a:lnTo>
                    <a:lnTo>
                      <a:pt x="1146" y="870"/>
                    </a:lnTo>
                    <a:lnTo>
                      <a:pt x="1146" y="866"/>
                    </a:lnTo>
                    <a:lnTo>
                      <a:pt x="1148" y="864"/>
                    </a:lnTo>
                    <a:lnTo>
                      <a:pt x="1150" y="862"/>
                    </a:lnTo>
                    <a:lnTo>
                      <a:pt x="1150" y="860"/>
                    </a:lnTo>
                    <a:lnTo>
                      <a:pt x="1150" y="860"/>
                    </a:lnTo>
                    <a:lnTo>
                      <a:pt x="1152" y="852"/>
                    </a:lnTo>
                    <a:lnTo>
                      <a:pt x="1152" y="850"/>
                    </a:lnTo>
                    <a:lnTo>
                      <a:pt x="1150" y="850"/>
                    </a:lnTo>
                    <a:lnTo>
                      <a:pt x="1150" y="850"/>
                    </a:lnTo>
                    <a:close/>
                    <a:moveTo>
                      <a:pt x="1254" y="830"/>
                    </a:moveTo>
                    <a:lnTo>
                      <a:pt x="1254" y="830"/>
                    </a:lnTo>
                    <a:lnTo>
                      <a:pt x="1260" y="826"/>
                    </a:lnTo>
                    <a:lnTo>
                      <a:pt x="1262" y="824"/>
                    </a:lnTo>
                    <a:lnTo>
                      <a:pt x="1260" y="820"/>
                    </a:lnTo>
                    <a:lnTo>
                      <a:pt x="1260" y="820"/>
                    </a:lnTo>
                    <a:lnTo>
                      <a:pt x="1258" y="822"/>
                    </a:lnTo>
                    <a:lnTo>
                      <a:pt x="1256" y="826"/>
                    </a:lnTo>
                    <a:lnTo>
                      <a:pt x="1254" y="830"/>
                    </a:lnTo>
                    <a:lnTo>
                      <a:pt x="1254" y="830"/>
                    </a:lnTo>
                    <a:lnTo>
                      <a:pt x="1254" y="830"/>
                    </a:lnTo>
                    <a:lnTo>
                      <a:pt x="1254" y="830"/>
                    </a:lnTo>
                    <a:close/>
                    <a:moveTo>
                      <a:pt x="1226" y="818"/>
                    </a:moveTo>
                    <a:lnTo>
                      <a:pt x="1226" y="818"/>
                    </a:lnTo>
                    <a:lnTo>
                      <a:pt x="1226" y="818"/>
                    </a:lnTo>
                    <a:lnTo>
                      <a:pt x="1222" y="818"/>
                    </a:lnTo>
                    <a:lnTo>
                      <a:pt x="1218" y="820"/>
                    </a:lnTo>
                    <a:lnTo>
                      <a:pt x="1214" y="826"/>
                    </a:lnTo>
                    <a:lnTo>
                      <a:pt x="1214" y="826"/>
                    </a:lnTo>
                    <a:lnTo>
                      <a:pt x="1214" y="826"/>
                    </a:lnTo>
                    <a:lnTo>
                      <a:pt x="1216" y="826"/>
                    </a:lnTo>
                    <a:lnTo>
                      <a:pt x="1220" y="824"/>
                    </a:lnTo>
                    <a:lnTo>
                      <a:pt x="1224" y="822"/>
                    </a:lnTo>
                    <a:lnTo>
                      <a:pt x="1226" y="818"/>
                    </a:lnTo>
                    <a:lnTo>
                      <a:pt x="1226" y="818"/>
                    </a:lnTo>
                    <a:close/>
                    <a:moveTo>
                      <a:pt x="1074" y="928"/>
                    </a:moveTo>
                    <a:lnTo>
                      <a:pt x="1074" y="928"/>
                    </a:lnTo>
                    <a:lnTo>
                      <a:pt x="1074" y="930"/>
                    </a:lnTo>
                    <a:lnTo>
                      <a:pt x="1074" y="932"/>
                    </a:lnTo>
                    <a:lnTo>
                      <a:pt x="1078" y="932"/>
                    </a:lnTo>
                    <a:lnTo>
                      <a:pt x="1082" y="930"/>
                    </a:lnTo>
                    <a:lnTo>
                      <a:pt x="1084" y="926"/>
                    </a:lnTo>
                    <a:lnTo>
                      <a:pt x="1084" y="926"/>
                    </a:lnTo>
                    <a:lnTo>
                      <a:pt x="1084" y="924"/>
                    </a:lnTo>
                    <a:lnTo>
                      <a:pt x="1080" y="924"/>
                    </a:lnTo>
                    <a:lnTo>
                      <a:pt x="1076" y="924"/>
                    </a:lnTo>
                    <a:lnTo>
                      <a:pt x="1074" y="928"/>
                    </a:lnTo>
                    <a:lnTo>
                      <a:pt x="1074" y="928"/>
                    </a:lnTo>
                    <a:close/>
                    <a:moveTo>
                      <a:pt x="772" y="1274"/>
                    </a:moveTo>
                    <a:lnTo>
                      <a:pt x="772" y="1274"/>
                    </a:lnTo>
                    <a:lnTo>
                      <a:pt x="784" y="1270"/>
                    </a:lnTo>
                    <a:lnTo>
                      <a:pt x="788" y="1270"/>
                    </a:lnTo>
                    <a:lnTo>
                      <a:pt x="790" y="1268"/>
                    </a:lnTo>
                    <a:lnTo>
                      <a:pt x="790" y="1268"/>
                    </a:lnTo>
                    <a:lnTo>
                      <a:pt x="790" y="1266"/>
                    </a:lnTo>
                    <a:lnTo>
                      <a:pt x="788" y="1264"/>
                    </a:lnTo>
                    <a:lnTo>
                      <a:pt x="786" y="1264"/>
                    </a:lnTo>
                    <a:lnTo>
                      <a:pt x="784" y="1262"/>
                    </a:lnTo>
                    <a:lnTo>
                      <a:pt x="784" y="1262"/>
                    </a:lnTo>
                    <a:lnTo>
                      <a:pt x="784" y="1260"/>
                    </a:lnTo>
                    <a:lnTo>
                      <a:pt x="784" y="1260"/>
                    </a:lnTo>
                    <a:lnTo>
                      <a:pt x="778" y="1262"/>
                    </a:lnTo>
                    <a:lnTo>
                      <a:pt x="768" y="1266"/>
                    </a:lnTo>
                    <a:lnTo>
                      <a:pt x="768" y="1266"/>
                    </a:lnTo>
                    <a:lnTo>
                      <a:pt x="760" y="1268"/>
                    </a:lnTo>
                    <a:lnTo>
                      <a:pt x="758" y="1270"/>
                    </a:lnTo>
                    <a:lnTo>
                      <a:pt x="756" y="1274"/>
                    </a:lnTo>
                    <a:lnTo>
                      <a:pt x="756" y="1274"/>
                    </a:lnTo>
                    <a:lnTo>
                      <a:pt x="758" y="1276"/>
                    </a:lnTo>
                    <a:lnTo>
                      <a:pt x="760" y="1276"/>
                    </a:lnTo>
                    <a:lnTo>
                      <a:pt x="772" y="1274"/>
                    </a:lnTo>
                    <a:lnTo>
                      <a:pt x="772" y="1274"/>
                    </a:lnTo>
                    <a:close/>
                    <a:moveTo>
                      <a:pt x="776" y="1258"/>
                    </a:moveTo>
                    <a:lnTo>
                      <a:pt x="776" y="1258"/>
                    </a:lnTo>
                    <a:lnTo>
                      <a:pt x="780" y="1256"/>
                    </a:lnTo>
                    <a:lnTo>
                      <a:pt x="778" y="1252"/>
                    </a:lnTo>
                    <a:lnTo>
                      <a:pt x="776" y="1250"/>
                    </a:lnTo>
                    <a:lnTo>
                      <a:pt x="774" y="1252"/>
                    </a:lnTo>
                    <a:lnTo>
                      <a:pt x="774" y="1252"/>
                    </a:lnTo>
                    <a:lnTo>
                      <a:pt x="772" y="1254"/>
                    </a:lnTo>
                    <a:lnTo>
                      <a:pt x="764" y="1256"/>
                    </a:lnTo>
                    <a:lnTo>
                      <a:pt x="760" y="1258"/>
                    </a:lnTo>
                    <a:lnTo>
                      <a:pt x="758" y="1258"/>
                    </a:lnTo>
                    <a:lnTo>
                      <a:pt x="758" y="1260"/>
                    </a:lnTo>
                    <a:lnTo>
                      <a:pt x="758" y="1260"/>
                    </a:lnTo>
                    <a:lnTo>
                      <a:pt x="764" y="1260"/>
                    </a:lnTo>
                    <a:lnTo>
                      <a:pt x="776" y="1258"/>
                    </a:lnTo>
                    <a:lnTo>
                      <a:pt x="776" y="1258"/>
                    </a:lnTo>
                    <a:close/>
                    <a:moveTo>
                      <a:pt x="892" y="180"/>
                    </a:moveTo>
                    <a:lnTo>
                      <a:pt x="892" y="180"/>
                    </a:lnTo>
                    <a:lnTo>
                      <a:pt x="904" y="186"/>
                    </a:lnTo>
                    <a:lnTo>
                      <a:pt x="912" y="188"/>
                    </a:lnTo>
                    <a:lnTo>
                      <a:pt x="912" y="188"/>
                    </a:lnTo>
                    <a:lnTo>
                      <a:pt x="912" y="186"/>
                    </a:lnTo>
                    <a:lnTo>
                      <a:pt x="910" y="182"/>
                    </a:lnTo>
                    <a:lnTo>
                      <a:pt x="906" y="176"/>
                    </a:lnTo>
                    <a:lnTo>
                      <a:pt x="900" y="170"/>
                    </a:lnTo>
                    <a:lnTo>
                      <a:pt x="894" y="164"/>
                    </a:lnTo>
                    <a:lnTo>
                      <a:pt x="888" y="164"/>
                    </a:lnTo>
                    <a:lnTo>
                      <a:pt x="888" y="164"/>
                    </a:lnTo>
                    <a:lnTo>
                      <a:pt x="882" y="162"/>
                    </a:lnTo>
                    <a:lnTo>
                      <a:pt x="878" y="158"/>
                    </a:lnTo>
                    <a:lnTo>
                      <a:pt x="870" y="144"/>
                    </a:lnTo>
                    <a:lnTo>
                      <a:pt x="866" y="138"/>
                    </a:lnTo>
                    <a:lnTo>
                      <a:pt x="860" y="134"/>
                    </a:lnTo>
                    <a:lnTo>
                      <a:pt x="856" y="132"/>
                    </a:lnTo>
                    <a:lnTo>
                      <a:pt x="850" y="132"/>
                    </a:lnTo>
                    <a:lnTo>
                      <a:pt x="850" y="132"/>
                    </a:lnTo>
                    <a:lnTo>
                      <a:pt x="846" y="136"/>
                    </a:lnTo>
                    <a:lnTo>
                      <a:pt x="846" y="142"/>
                    </a:lnTo>
                    <a:lnTo>
                      <a:pt x="860" y="164"/>
                    </a:lnTo>
                    <a:lnTo>
                      <a:pt x="860" y="164"/>
                    </a:lnTo>
                    <a:lnTo>
                      <a:pt x="866" y="174"/>
                    </a:lnTo>
                    <a:lnTo>
                      <a:pt x="868" y="174"/>
                    </a:lnTo>
                    <a:lnTo>
                      <a:pt x="870" y="174"/>
                    </a:lnTo>
                    <a:lnTo>
                      <a:pt x="872" y="172"/>
                    </a:lnTo>
                    <a:lnTo>
                      <a:pt x="876" y="172"/>
                    </a:lnTo>
                    <a:lnTo>
                      <a:pt x="884" y="174"/>
                    </a:lnTo>
                    <a:lnTo>
                      <a:pt x="892" y="180"/>
                    </a:lnTo>
                    <a:lnTo>
                      <a:pt x="892" y="180"/>
                    </a:lnTo>
                    <a:close/>
                    <a:moveTo>
                      <a:pt x="1006" y="948"/>
                    </a:moveTo>
                    <a:lnTo>
                      <a:pt x="1006" y="948"/>
                    </a:lnTo>
                    <a:lnTo>
                      <a:pt x="1016" y="944"/>
                    </a:lnTo>
                    <a:lnTo>
                      <a:pt x="1026" y="934"/>
                    </a:lnTo>
                    <a:lnTo>
                      <a:pt x="1026" y="934"/>
                    </a:lnTo>
                    <a:lnTo>
                      <a:pt x="1030" y="932"/>
                    </a:lnTo>
                    <a:lnTo>
                      <a:pt x="1030" y="930"/>
                    </a:lnTo>
                    <a:lnTo>
                      <a:pt x="1026" y="930"/>
                    </a:lnTo>
                    <a:lnTo>
                      <a:pt x="1026" y="930"/>
                    </a:lnTo>
                    <a:lnTo>
                      <a:pt x="1018" y="930"/>
                    </a:lnTo>
                    <a:lnTo>
                      <a:pt x="1008" y="932"/>
                    </a:lnTo>
                    <a:lnTo>
                      <a:pt x="1008" y="932"/>
                    </a:lnTo>
                    <a:lnTo>
                      <a:pt x="1004" y="934"/>
                    </a:lnTo>
                    <a:lnTo>
                      <a:pt x="1006" y="936"/>
                    </a:lnTo>
                    <a:lnTo>
                      <a:pt x="1006" y="938"/>
                    </a:lnTo>
                    <a:lnTo>
                      <a:pt x="1002" y="938"/>
                    </a:lnTo>
                    <a:lnTo>
                      <a:pt x="1002" y="938"/>
                    </a:lnTo>
                    <a:lnTo>
                      <a:pt x="998" y="938"/>
                    </a:lnTo>
                    <a:lnTo>
                      <a:pt x="998" y="940"/>
                    </a:lnTo>
                    <a:lnTo>
                      <a:pt x="1000" y="942"/>
                    </a:lnTo>
                    <a:lnTo>
                      <a:pt x="998" y="946"/>
                    </a:lnTo>
                    <a:lnTo>
                      <a:pt x="998" y="946"/>
                    </a:lnTo>
                    <a:lnTo>
                      <a:pt x="996" y="948"/>
                    </a:lnTo>
                    <a:lnTo>
                      <a:pt x="996" y="948"/>
                    </a:lnTo>
                    <a:lnTo>
                      <a:pt x="1000" y="948"/>
                    </a:lnTo>
                    <a:lnTo>
                      <a:pt x="1006" y="948"/>
                    </a:lnTo>
                    <a:lnTo>
                      <a:pt x="1006" y="948"/>
                    </a:lnTo>
                    <a:close/>
                    <a:moveTo>
                      <a:pt x="1028" y="900"/>
                    </a:moveTo>
                    <a:lnTo>
                      <a:pt x="1028" y="900"/>
                    </a:lnTo>
                    <a:lnTo>
                      <a:pt x="1024" y="900"/>
                    </a:lnTo>
                    <a:lnTo>
                      <a:pt x="1022" y="902"/>
                    </a:lnTo>
                    <a:lnTo>
                      <a:pt x="1022" y="904"/>
                    </a:lnTo>
                    <a:lnTo>
                      <a:pt x="1018" y="906"/>
                    </a:lnTo>
                    <a:lnTo>
                      <a:pt x="1018" y="906"/>
                    </a:lnTo>
                    <a:lnTo>
                      <a:pt x="1016" y="904"/>
                    </a:lnTo>
                    <a:lnTo>
                      <a:pt x="1014" y="902"/>
                    </a:lnTo>
                    <a:lnTo>
                      <a:pt x="1014" y="902"/>
                    </a:lnTo>
                    <a:lnTo>
                      <a:pt x="1012" y="902"/>
                    </a:lnTo>
                    <a:lnTo>
                      <a:pt x="1012" y="902"/>
                    </a:lnTo>
                    <a:lnTo>
                      <a:pt x="1010" y="904"/>
                    </a:lnTo>
                    <a:lnTo>
                      <a:pt x="1008" y="904"/>
                    </a:lnTo>
                    <a:lnTo>
                      <a:pt x="1006" y="904"/>
                    </a:lnTo>
                    <a:lnTo>
                      <a:pt x="1004" y="906"/>
                    </a:lnTo>
                    <a:lnTo>
                      <a:pt x="1004" y="906"/>
                    </a:lnTo>
                    <a:lnTo>
                      <a:pt x="1004" y="910"/>
                    </a:lnTo>
                    <a:lnTo>
                      <a:pt x="1002" y="912"/>
                    </a:lnTo>
                    <a:lnTo>
                      <a:pt x="1002" y="914"/>
                    </a:lnTo>
                    <a:lnTo>
                      <a:pt x="1004" y="916"/>
                    </a:lnTo>
                    <a:lnTo>
                      <a:pt x="1004" y="916"/>
                    </a:lnTo>
                    <a:lnTo>
                      <a:pt x="1008" y="918"/>
                    </a:lnTo>
                    <a:lnTo>
                      <a:pt x="1012" y="916"/>
                    </a:lnTo>
                    <a:lnTo>
                      <a:pt x="1016" y="914"/>
                    </a:lnTo>
                    <a:lnTo>
                      <a:pt x="1026" y="910"/>
                    </a:lnTo>
                    <a:lnTo>
                      <a:pt x="1026" y="910"/>
                    </a:lnTo>
                    <a:lnTo>
                      <a:pt x="1030" y="910"/>
                    </a:lnTo>
                    <a:lnTo>
                      <a:pt x="1026" y="914"/>
                    </a:lnTo>
                    <a:lnTo>
                      <a:pt x="1020" y="918"/>
                    </a:lnTo>
                    <a:lnTo>
                      <a:pt x="1020" y="918"/>
                    </a:lnTo>
                    <a:lnTo>
                      <a:pt x="1020" y="920"/>
                    </a:lnTo>
                    <a:lnTo>
                      <a:pt x="1020" y="920"/>
                    </a:lnTo>
                    <a:lnTo>
                      <a:pt x="1030" y="918"/>
                    </a:lnTo>
                    <a:lnTo>
                      <a:pt x="1040" y="916"/>
                    </a:lnTo>
                    <a:lnTo>
                      <a:pt x="1040" y="916"/>
                    </a:lnTo>
                    <a:lnTo>
                      <a:pt x="1042" y="914"/>
                    </a:lnTo>
                    <a:lnTo>
                      <a:pt x="1042" y="912"/>
                    </a:lnTo>
                    <a:lnTo>
                      <a:pt x="1042" y="910"/>
                    </a:lnTo>
                    <a:lnTo>
                      <a:pt x="1040" y="906"/>
                    </a:lnTo>
                    <a:lnTo>
                      <a:pt x="1040" y="904"/>
                    </a:lnTo>
                    <a:lnTo>
                      <a:pt x="1040" y="904"/>
                    </a:lnTo>
                    <a:lnTo>
                      <a:pt x="1040" y="904"/>
                    </a:lnTo>
                    <a:lnTo>
                      <a:pt x="1042" y="902"/>
                    </a:lnTo>
                    <a:lnTo>
                      <a:pt x="1042" y="900"/>
                    </a:lnTo>
                    <a:lnTo>
                      <a:pt x="1038" y="896"/>
                    </a:lnTo>
                    <a:lnTo>
                      <a:pt x="1034" y="890"/>
                    </a:lnTo>
                    <a:lnTo>
                      <a:pt x="1032" y="890"/>
                    </a:lnTo>
                    <a:lnTo>
                      <a:pt x="1030" y="890"/>
                    </a:lnTo>
                    <a:lnTo>
                      <a:pt x="1030" y="890"/>
                    </a:lnTo>
                    <a:lnTo>
                      <a:pt x="1028" y="890"/>
                    </a:lnTo>
                    <a:lnTo>
                      <a:pt x="1028" y="892"/>
                    </a:lnTo>
                    <a:lnTo>
                      <a:pt x="1030" y="896"/>
                    </a:lnTo>
                    <a:lnTo>
                      <a:pt x="1032" y="900"/>
                    </a:lnTo>
                    <a:lnTo>
                      <a:pt x="1028" y="900"/>
                    </a:lnTo>
                    <a:lnTo>
                      <a:pt x="1028" y="900"/>
                    </a:lnTo>
                    <a:close/>
                    <a:moveTo>
                      <a:pt x="996" y="942"/>
                    </a:moveTo>
                    <a:lnTo>
                      <a:pt x="996" y="942"/>
                    </a:lnTo>
                    <a:lnTo>
                      <a:pt x="996" y="940"/>
                    </a:lnTo>
                    <a:lnTo>
                      <a:pt x="994" y="938"/>
                    </a:lnTo>
                    <a:lnTo>
                      <a:pt x="990" y="938"/>
                    </a:lnTo>
                    <a:lnTo>
                      <a:pt x="988" y="938"/>
                    </a:lnTo>
                    <a:lnTo>
                      <a:pt x="988" y="938"/>
                    </a:lnTo>
                    <a:lnTo>
                      <a:pt x="990" y="940"/>
                    </a:lnTo>
                    <a:lnTo>
                      <a:pt x="992" y="942"/>
                    </a:lnTo>
                    <a:lnTo>
                      <a:pt x="994" y="942"/>
                    </a:lnTo>
                    <a:lnTo>
                      <a:pt x="996" y="942"/>
                    </a:lnTo>
                    <a:lnTo>
                      <a:pt x="996" y="942"/>
                    </a:lnTo>
                    <a:close/>
                    <a:moveTo>
                      <a:pt x="942" y="966"/>
                    </a:moveTo>
                    <a:lnTo>
                      <a:pt x="942" y="966"/>
                    </a:lnTo>
                    <a:lnTo>
                      <a:pt x="940" y="974"/>
                    </a:lnTo>
                    <a:lnTo>
                      <a:pt x="946" y="970"/>
                    </a:lnTo>
                    <a:lnTo>
                      <a:pt x="946" y="970"/>
                    </a:lnTo>
                    <a:lnTo>
                      <a:pt x="948" y="968"/>
                    </a:lnTo>
                    <a:lnTo>
                      <a:pt x="950" y="964"/>
                    </a:lnTo>
                    <a:lnTo>
                      <a:pt x="950" y="958"/>
                    </a:lnTo>
                    <a:lnTo>
                      <a:pt x="950" y="958"/>
                    </a:lnTo>
                    <a:lnTo>
                      <a:pt x="950" y="956"/>
                    </a:lnTo>
                    <a:lnTo>
                      <a:pt x="948" y="956"/>
                    </a:lnTo>
                    <a:lnTo>
                      <a:pt x="942" y="966"/>
                    </a:lnTo>
                    <a:lnTo>
                      <a:pt x="942" y="966"/>
                    </a:lnTo>
                    <a:close/>
                    <a:moveTo>
                      <a:pt x="970" y="956"/>
                    </a:moveTo>
                    <a:lnTo>
                      <a:pt x="970" y="956"/>
                    </a:lnTo>
                    <a:lnTo>
                      <a:pt x="972" y="956"/>
                    </a:lnTo>
                    <a:lnTo>
                      <a:pt x="974" y="956"/>
                    </a:lnTo>
                    <a:lnTo>
                      <a:pt x="976" y="956"/>
                    </a:lnTo>
                    <a:lnTo>
                      <a:pt x="976" y="956"/>
                    </a:lnTo>
                    <a:lnTo>
                      <a:pt x="978" y="954"/>
                    </a:lnTo>
                    <a:lnTo>
                      <a:pt x="982" y="952"/>
                    </a:lnTo>
                    <a:lnTo>
                      <a:pt x="984" y="950"/>
                    </a:lnTo>
                    <a:lnTo>
                      <a:pt x="988" y="946"/>
                    </a:lnTo>
                    <a:lnTo>
                      <a:pt x="988" y="946"/>
                    </a:lnTo>
                    <a:lnTo>
                      <a:pt x="992" y="946"/>
                    </a:lnTo>
                    <a:lnTo>
                      <a:pt x="990" y="944"/>
                    </a:lnTo>
                    <a:lnTo>
                      <a:pt x="980" y="942"/>
                    </a:lnTo>
                    <a:lnTo>
                      <a:pt x="980" y="942"/>
                    </a:lnTo>
                    <a:lnTo>
                      <a:pt x="976" y="940"/>
                    </a:lnTo>
                    <a:lnTo>
                      <a:pt x="972" y="942"/>
                    </a:lnTo>
                    <a:lnTo>
                      <a:pt x="970" y="944"/>
                    </a:lnTo>
                    <a:lnTo>
                      <a:pt x="966" y="948"/>
                    </a:lnTo>
                    <a:lnTo>
                      <a:pt x="966" y="948"/>
                    </a:lnTo>
                    <a:lnTo>
                      <a:pt x="966" y="952"/>
                    </a:lnTo>
                    <a:lnTo>
                      <a:pt x="966" y="954"/>
                    </a:lnTo>
                    <a:lnTo>
                      <a:pt x="966" y="954"/>
                    </a:lnTo>
                    <a:lnTo>
                      <a:pt x="964" y="956"/>
                    </a:lnTo>
                    <a:lnTo>
                      <a:pt x="966" y="958"/>
                    </a:lnTo>
                    <a:lnTo>
                      <a:pt x="968" y="958"/>
                    </a:lnTo>
                    <a:lnTo>
                      <a:pt x="970" y="956"/>
                    </a:lnTo>
                    <a:lnTo>
                      <a:pt x="970" y="956"/>
                    </a:lnTo>
                    <a:close/>
                    <a:moveTo>
                      <a:pt x="958" y="954"/>
                    </a:moveTo>
                    <a:lnTo>
                      <a:pt x="958" y="954"/>
                    </a:lnTo>
                    <a:lnTo>
                      <a:pt x="958" y="956"/>
                    </a:lnTo>
                    <a:lnTo>
                      <a:pt x="956" y="956"/>
                    </a:lnTo>
                    <a:lnTo>
                      <a:pt x="954" y="956"/>
                    </a:lnTo>
                    <a:lnTo>
                      <a:pt x="954" y="960"/>
                    </a:lnTo>
                    <a:lnTo>
                      <a:pt x="954" y="960"/>
                    </a:lnTo>
                    <a:lnTo>
                      <a:pt x="956" y="962"/>
                    </a:lnTo>
                    <a:lnTo>
                      <a:pt x="956" y="962"/>
                    </a:lnTo>
                    <a:lnTo>
                      <a:pt x="962" y="958"/>
                    </a:lnTo>
                    <a:lnTo>
                      <a:pt x="962" y="958"/>
                    </a:lnTo>
                    <a:lnTo>
                      <a:pt x="964" y="954"/>
                    </a:lnTo>
                    <a:lnTo>
                      <a:pt x="962" y="950"/>
                    </a:lnTo>
                    <a:lnTo>
                      <a:pt x="960" y="950"/>
                    </a:lnTo>
                    <a:lnTo>
                      <a:pt x="958" y="954"/>
                    </a:lnTo>
                    <a:lnTo>
                      <a:pt x="958" y="954"/>
                    </a:lnTo>
                    <a:close/>
                    <a:moveTo>
                      <a:pt x="1028" y="966"/>
                    </a:moveTo>
                    <a:lnTo>
                      <a:pt x="1028" y="966"/>
                    </a:lnTo>
                    <a:lnTo>
                      <a:pt x="1032" y="966"/>
                    </a:lnTo>
                    <a:lnTo>
                      <a:pt x="1034" y="964"/>
                    </a:lnTo>
                    <a:lnTo>
                      <a:pt x="1030" y="962"/>
                    </a:lnTo>
                    <a:lnTo>
                      <a:pt x="1030" y="962"/>
                    </a:lnTo>
                    <a:lnTo>
                      <a:pt x="1028" y="962"/>
                    </a:lnTo>
                    <a:lnTo>
                      <a:pt x="1026" y="964"/>
                    </a:lnTo>
                    <a:lnTo>
                      <a:pt x="1026" y="966"/>
                    </a:lnTo>
                    <a:lnTo>
                      <a:pt x="1028" y="966"/>
                    </a:lnTo>
                    <a:lnTo>
                      <a:pt x="1028" y="966"/>
                    </a:lnTo>
                    <a:close/>
                    <a:moveTo>
                      <a:pt x="1078" y="890"/>
                    </a:moveTo>
                    <a:lnTo>
                      <a:pt x="1078" y="890"/>
                    </a:lnTo>
                    <a:lnTo>
                      <a:pt x="1080" y="892"/>
                    </a:lnTo>
                    <a:lnTo>
                      <a:pt x="1082" y="894"/>
                    </a:lnTo>
                    <a:lnTo>
                      <a:pt x="1088" y="896"/>
                    </a:lnTo>
                    <a:lnTo>
                      <a:pt x="1092" y="896"/>
                    </a:lnTo>
                    <a:lnTo>
                      <a:pt x="1092" y="896"/>
                    </a:lnTo>
                    <a:lnTo>
                      <a:pt x="1092" y="894"/>
                    </a:lnTo>
                    <a:lnTo>
                      <a:pt x="1092" y="894"/>
                    </a:lnTo>
                    <a:lnTo>
                      <a:pt x="1088" y="892"/>
                    </a:lnTo>
                    <a:lnTo>
                      <a:pt x="1082" y="890"/>
                    </a:lnTo>
                    <a:lnTo>
                      <a:pt x="1078" y="890"/>
                    </a:lnTo>
                    <a:lnTo>
                      <a:pt x="1078" y="890"/>
                    </a:lnTo>
                    <a:close/>
                    <a:moveTo>
                      <a:pt x="1054" y="890"/>
                    </a:moveTo>
                    <a:lnTo>
                      <a:pt x="1054" y="890"/>
                    </a:lnTo>
                    <a:lnTo>
                      <a:pt x="1060" y="890"/>
                    </a:lnTo>
                    <a:lnTo>
                      <a:pt x="1062" y="888"/>
                    </a:lnTo>
                    <a:lnTo>
                      <a:pt x="1068" y="878"/>
                    </a:lnTo>
                    <a:lnTo>
                      <a:pt x="1068" y="878"/>
                    </a:lnTo>
                    <a:lnTo>
                      <a:pt x="1072" y="872"/>
                    </a:lnTo>
                    <a:lnTo>
                      <a:pt x="1074" y="868"/>
                    </a:lnTo>
                    <a:lnTo>
                      <a:pt x="1072" y="868"/>
                    </a:lnTo>
                    <a:lnTo>
                      <a:pt x="1066" y="870"/>
                    </a:lnTo>
                    <a:lnTo>
                      <a:pt x="1066" y="870"/>
                    </a:lnTo>
                    <a:lnTo>
                      <a:pt x="1054" y="878"/>
                    </a:lnTo>
                    <a:lnTo>
                      <a:pt x="1050" y="882"/>
                    </a:lnTo>
                    <a:lnTo>
                      <a:pt x="1046" y="890"/>
                    </a:lnTo>
                    <a:lnTo>
                      <a:pt x="1046" y="890"/>
                    </a:lnTo>
                    <a:lnTo>
                      <a:pt x="1044" y="894"/>
                    </a:lnTo>
                    <a:lnTo>
                      <a:pt x="1044" y="896"/>
                    </a:lnTo>
                    <a:lnTo>
                      <a:pt x="1046" y="898"/>
                    </a:lnTo>
                    <a:lnTo>
                      <a:pt x="1046" y="898"/>
                    </a:lnTo>
                    <a:lnTo>
                      <a:pt x="1048" y="898"/>
                    </a:lnTo>
                    <a:lnTo>
                      <a:pt x="1048" y="894"/>
                    </a:lnTo>
                    <a:lnTo>
                      <a:pt x="1050" y="892"/>
                    </a:lnTo>
                    <a:lnTo>
                      <a:pt x="1054" y="890"/>
                    </a:lnTo>
                    <a:lnTo>
                      <a:pt x="1054" y="890"/>
                    </a:lnTo>
                    <a:close/>
                    <a:moveTo>
                      <a:pt x="752" y="1276"/>
                    </a:moveTo>
                    <a:lnTo>
                      <a:pt x="752" y="1276"/>
                    </a:lnTo>
                    <a:lnTo>
                      <a:pt x="750" y="1274"/>
                    </a:lnTo>
                    <a:lnTo>
                      <a:pt x="742" y="1274"/>
                    </a:lnTo>
                    <a:lnTo>
                      <a:pt x="738" y="1276"/>
                    </a:lnTo>
                    <a:lnTo>
                      <a:pt x="736" y="1278"/>
                    </a:lnTo>
                    <a:lnTo>
                      <a:pt x="736" y="1278"/>
                    </a:lnTo>
                    <a:lnTo>
                      <a:pt x="736" y="1278"/>
                    </a:lnTo>
                    <a:lnTo>
                      <a:pt x="742" y="1282"/>
                    </a:lnTo>
                    <a:lnTo>
                      <a:pt x="748" y="1282"/>
                    </a:lnTo>
                    <a:lnTo>
                      <a:pt x="750" y="1278"/>
                    </a:lnTo>
                    <a:lnTo>
                      <a:pt x="752" y="1276"/>
                    </a:lnTo>
                    <a:lnTo>
                      <a:pt x="752" y="1276"/>
                    </a:lnTo>
                    <a:close/>
                    <a:moveTo>
                      <a:pt x="1156" y="42"/>
                    </a:moveTo>
                    <a:lnTo>
                      <a:pt x="1156" y="42"/>
                    </a:lnTo>
                    <a:lnTo>
                      <a:pt x="1164" y="44"/>
                    </a:lnTo>
                    <a:lnTo>
                      <a:pt x="1166" y="46"/>
                    </a:lnTo>
                    <a:lnTo>
                      <a:pt x="1164" y="48"/>
                    </a:lnTo>
                    <a:lnTo>
                      <a:pt x="1162" y="48"/>
                    </a:lnTo>
                    <a:lnTo>
                      <a:pt x="1160" y="50"/>
                    </a:lnTo>
                    <a:lnTo>
                      <a:pt x="1162" y="52"/>
                    </a:lnTo>
                    <a:lnTo>
                      <a:pt x="1166" y="56"/>
                    </a:lnTo>
                    <a:lnTo>
                      <a:pt x="1176" y="62"/>
                    </a:lnTo>
                    <a:lnTo>
                      <a:pt x="1176" y="62"/>
                    </a:lnTo>
                    <a:lnTo>
                      <a:pt x="1186" y="66"/>
                    </a:lnTo>
                    <a:lnTo>
                      <a:pt x="1194" y="68"/>
                    </a:lnTo>
                    <a:lnTo>
                      <a:pt x="1204" y="68"/>
                    </a:lnTo>
                    <a:lnTo>
                      <a:pt x="1214" y="66"/>
                    </a:lnTo>
                    <a:lnTo>
                      <a:pt x="1238" y="62"/>
                    </a:lnTo>
                    <a:lnTo>
                      <a:pt x="1252" y="60"/>
                    </a:lnTo>
                    <a:lnTo>
                      <a:pt x="1270" y="58"/>
                    </a:lnTo>
                    <a:lnTo>
                      <a:pt x="1270" y="58"/>
                    </a:lnTo>
                    <a:lnTo>
                      <a:pt x="1296" y="58"/>
                    </a:lnTo>
                    <a:lnTo>
                      <a:pt x="1298" y="60"/>
                    </a:lnTo>
                    <a:lnTo>
                      <a:pt x="1294" y="62"/>
                    </a:lnTo>
                    <a:lnTo>
                      <a:pt x="1274" y="66"/>
                    </a:lnTo>
                    <a:lnTo>
                      <a:pt x="1236" y="74"/>
                    </a:lnTo>
                    <a:lnTo>
                      <a:pt x="1236" y="74"/>
                    </a:lnTo>
                    <a:lnTo>
                      <a:pt x="1220" y="78"/>
                    </a:lnTo>
                    <a:lnTo>
                      <a:pt x="1216" y="80"/>
                    </a:lnTo>
                    <a:lnTo>
                      <a:pt x="1216" y="82"/>
                    </a:lnTo>
                    <a:lnTo>
                      <a:pt x="1216" y="84"/>
                    </a:lnTo>
                    <a:lnTo>
                      <a:pt x="1220" y="86"/>
                    </a:lnTo>
                    <a:lnTo>
                      <a:pt x="1232" y="88"/>
                    </a:lnTo>
                    <a:lnTo>
                      <a:pt x="1270" y="92"/>
                    </a:lnTo>
                    <a:lnTo>
                      <a:pt x="1308" y="94"/>
                    </a:lnTo>
                    <a:lnTo>
                      <a:pt x="1308" y="94"/>
                    </a:lnTo>
                    <a:lnTo>
                      <a:pt x="1324" y="96"/>
                    </a:lnTo>
                    <a:lnTo>
                      <a:pt x="1336" y="100"/>
                    </a:lnTo>
                    <a:lnTo>
                      <a:pt x="1360" y="110"/>
                    </a:lnTo>
                    <a:lnTo>
                      <a:pt x="1370" y="114"/>
                    </a:lnTo>
                    <a:lnTo>
                      <a:pt x="1380" y="114"/>
                    </a:lnTo>
                    <a:lnTo>
                      <a:pt x="1390" y="112"/>
                    </a:lnTo>
                    <a:lnTo>
                      <a:pt x="1402" y="106"/>
                    </a:lnTo>
                    <a:lnTo>
                      <a:pt x="1402" y="106"/>
                    </a:lnTo>
                    <a:lnTo>
                      <a:pt x="1412" y="98"/>
                    </a:lnTo>
                    <a:lnTo>
                      <a:pt x="1420" y="96"/>
                    </a:lnTo>
                    <a:lnTo>
                      <a:pt x="1424" y="94"/>
                    </a:lnTo>
                    <a:lnTo>
                      <a:pt x="1430" y="96"/>
                    </a:lnTo>
                    <a:lnTo>
                      <a:pt x="1438" y="98"/>
                    </a:lnTo>
                    <a:lnTo>
                      <a:pt x="1446" y="98"/>
                    </a:lnTo>
                    <a:lnTo>
                      <a:pt x="1456" y="96"/>
                    </a:lnTo>
                    <a:lnTo>
                      <a:pt x="1456" y="96"/>
                    </a:lnTo>
                    <a:lnTo>
                      <a:pt x="1464" y="92"/>
                    </a:lnTo>
                    <a:lnTo>
                      <a:pt x="1468" y="88"/>
                    </a:lnTo>
                    <a:lnTo>
                      <a:pt x="1468" y="84"/>
                    </a:lnTo>
                    <a:lnTo>
                      <a:pt x="1468" y="80"/>
                    </a:lnTo>
                    <a:lnTo>
                      <a:pt x="1470" y="76"/>
                    </a:lnTo>
                    <a:lnTo>
                      <a:pt x="1476" y="72"/>
                    </a:lnTo>
                    <a:lnTo>
                      <a:pt x="1488" y="66"/>
                    </a:lnTo>
                    <a:lnTo>
                      <a:pt x="1506" y="58"/>
                    </a:lnTo>
                    <a:lnTo>
                      <a:pt x="1506" y="58"/>
                    </a:lnTo>
                    <a:lnTo>
                      <a:pt x="1516" y="54"/>
                    </a:lnTo>
                    <a:lnTo>
                      <a:pt x="1522" y="48"/>
                    </a:lnTo>
                    <a:lnTo>
                      <a:pt x="1520" y="42"/>
                    </a:lnTo>
                    <a:lnTo>
                      <a:pt x="1516" y="38"/>
                    </a:lnTo>
                    <a:lnTo>
                      <a:pt x="1510" y="34"/>
                    </a:lnTo>
                    <a:lnTo>
                      <a:pt x="1502" y="30"/>
                    </a:lnTo>
                    <a:lnTo>
                      <a:pt x="1492" y="28"/>
                    </a:lnTo>
                    <a:lnTo>
                      <a:pt x="1484" y="28"/>
                    </a:lnTo>
                    <a:lnTo>
                      <a:pt x="1484" y="28"/>
                    </a:lnTo>
                    <a:lnTo>
                      <a:pt x="1468" y="28"/>
                    </a:lnTo>
                    <a:lnTo>
                      <a:pt x="1450" y="24"/>
                    </a:lnTo>
                    <a:lnTo>
                      <a:pt x="1430" y="18"/>
                    </a:lnTo>
                    <a:lnTo>
                      <a:pt x="1406" y="14"/>
                    </a:lnTo>
                    <a:lnTo>
                      <a:pt x="1406" y="14"/>
                    </a:lnTo>
                    <a:lnTo>
                      <a:pt x="1394" y="12"/>
                    </a:lnTo>
                    <a:lnTo>
                      <a:pt x="1388" y="14"/>
                    </a:lnTo>
                    <a:lnTo>
                      <a:pt x="1384" y="16"/>
                    </a:lnTo>
                    <a:lnTo>
                      <a:pt x="1382" y="20"/>
                    </a:lnTo>
                    <a:lnTo>
                      <a:pt x="1378" y="28"/>
                    </a:lnTo>
                    <a:lnTo>
                      <a:pt x="1374" y="30"/>
                    </a:lnTo>
                    <a:lnTo>
                      <a:pt x="1366" y="30"/>
                    </a:lnTo>
                    <a:lnTo>
                      <a:pt x="1366" y="30"/>
                    </a:lnTo>
                    <a:lnTo>
                      <a:pt x="1360" y="28"/>
                    </a:lnTo>
                    <a:lnTo>
                      <a:pt x="1358" y="24"/>
                    </a:lnTo>
                    <a:lnTo>
                      <a:pt x="1358" y="20"/>
                    </a:lnTo>
                    <a:lnTo>
                      <a:pt x="1360" y="16"/>
                    </a:lnTo>
                    <a:lnTo>
                      <a:pt x="1362" y="10"/>
                    </a:lnTo>
                    <a:lnTo>
                      <a:pt x="1362" y="6"/>
                    </a:lnTo>
                    <a:lnTo>
                      <a:pt x="1360" y="4"/>
                    </a:lnTo>
                    <a:lnTo>
                      <a:pt x="1360" y="4"/>
                    </a:lnTo>
                    <a:lnTo>
                      <a:pt x="1350" y="0"/>
                    </a:lnTo>
                    <a:lnTo>
                      <a:pt x="1344" y="0"/>
                    </a:lnTo>
                    <a:lnTo>
                      <a:pt x="1340" y="2"/>
                    </a:lnTo>
                    <a:lnTo>
                      <a:pt x="1334" y="4"/>
                    </a:lnTo>
                    <a:lnTo>
                      <a:pt x="1332" y="8"/>
                    </a:lnTo>
                    <a:lnTo>
                      <a:pt x="1328" y="14"/>
                    </a:lnTo>
                    <a:lnTo>
                      <a:pt x="1326" y="22"/>
                    </a:lnTo>
                    <a:lnTo>
                      <a:pt x="1326" y="22"/>
                    </a:lnTo>
                    <a:lnTo>
                      <a:pt x="1324" y="36"/>
                    </a:lnTo>
                    <a:lnTo>
                      <a:pt x="1322" y="40"/>
                    </a:lnTo>
                    <a:lnTo>
                      <a:pt x="1320" y="40"/>
                    </a:lnTo>
                    <a:lnTo>
                      <a:pt x="1318" y="40"/>
                    </a:lnTo>
                    <a:lnTo>
                      <a:pt x="1314" y="36"/>
                    </a:lnTo>
                    <a:lnTo>
                      <a:pt x="1306" y="24"/>
                    </a:lnTo>
                    <a:lnTo>
                      <a:pt x="1306" y="24"/>
                    </a:lnTo>
                    <a:lnTo>
                      <a:pt x="1300" y="20"/>
                    </a:lnTo>
                    <a:lnTo>
                      <a:pt x="1296" y="18"/>
                    </a:lnTo>
                    <a:lnTo>
                      <a:pt x="1292" y="18"/>
                    </a:lnTo>
                    <a:lnTo>
                      <a:pt x="1286" y="18"/>
                    </a:lnTo>
                    <a:lnTo>
                      <a:pt x="1278" y="20"/>
                    </a:lnTo>
                    <a:lnTo>
                      <a:pt x="1268" y="18"/>
                    </a:lnTo>
                    <a:lnTo>
                      <a:pt x="1252" y="16"/>
                    </a:lnTo>
                    <a:lnTo>
                      <a:pt x="1232" y="8"/>
                    </a:lnTo>
                    <a:lnTo>
                      <a:pt x="1232" y="8"/>
                    </a:lnTo>
                    <a:lnTo>
                      <a:pt x="1216" y="2"/>
                    </a:lnTo>
                    <a:lnTo>
                      <a:pt x="1208" y="2"/>
                    </a:lnTo>
                    <a:lnTo>
                      <a:pt x="1208" y="2"/>
                    </a:lnTo>
                    <a:lnTo>
                      <a:pt x="1208" y="4"/>
                    </a:lnTo>
                    <a:lnTo>
                      <a:pt x="1212" y="10"/>
                    </a:lnTo>
                    <a:lnTo>
                      <a:pt x="1216" y="16"/>
                    </a:lnTo>
                    <a:lnTo>
                      <a:pt x="1216" y="20"/>
                    </a:lnTo>
                    <a:lnTo>
                      <a:pt x="1216" y="22"/>
                    </a:lnTo>
                    <a:lnTo>
                      <a:pt x="1212" y="22"/>
                    </a:lnTo>
                    <a:lnTo>
                      <a:pt x="1200" y="16"/>
                    </a:lnTo>
                    <a:lnTo>
                      <a:pt x="1200" y="16"/>
                    </a:lnTo>
                    <a:lnTo>
                      <a:pt x="1188" y="12"/>
                    </a:lnTo>
                    <a:lnTo>
                      <a:pt x="1182" y="12"/>
                    </a:lnTo>
                    <a:lnTo>
                      <a:pt x="1184" y="14"/>
                    </a:lnTo>
                    <a:lnTo>
                      <a:pt x="1188" y="18"/>
                    </a:lnTo>
                    <a:lnTo>
                      <a:pt x="1192" y="24"/>
                    </a:lnTo>
                    <a:lnTo>
                      <a:pt x="1194" y="28"/>
                    </a:lnTo>
                    <a:lnTo>
                      <a:pt x="1194" y="30"/>
                    </a:lnTo>
                    <a:lnTo>
                      <a:pt x="1190" y="30"/>
                    </a:lnTo>
                    <a:lnTo>
                      <a:pt x="1180" y="28"/>
                    </a:lnTo>
                    <a:lnTo>
                      <a:pt x="1180" y="28"/>
                    </a:lnTo>
                    <a:lnTo>
                      <a:pt x="1166" y="26"/>
                    </a:lnTo>
                    <a:lnTo>
                      <a:pt x="1154" y="24"/>
                    </a:lnTo>
                    <a:lnTo>
                      <a:pt x="1148" y="24"/>
                    </a:lnTo>
                    <a:lnTo>
                      <a:pt x="1142" y="26"/>
                    </a:lnTo>
                    <a:lnTo>
                      <a:pt x="1142" y="30"/>
                    </a:lnTo>
                    <a:lnTo>
                      <a:pt x="1144" y="34"/>
                    </a:lnTo>
                    <a:lnTo>
                      <a:pt x="1148" y="38"/>
                    </a:lnTo>
                    <a:lnTo>
                      <a:pt x="1156" y="42"/>
                    </a:lnTo>
                    <a:lnTo>
                      <a:pt x="1156" y="42"/>
                    </a:lnTo>
                    <a:close/>
                    <a:moveTo>
                      <a:pt x="388" y="1446"/>
                    </a:moveTo>
                    <a:lnTo>
                      <a:pt x="388" y="1446"/>
                    </a:lnTo>
                    <a:lnTo>
                      <a:pt x="384" y="1448"/>
                    </a:lnTo>
                    <a:lnTo>
                      <a:pt x="384" y="1450"/>
                    </a:lnTo>
                    <a:lnTo>
                      <a:pt x="384" y="1452"/>
                    </a:lnTo>
                    <a:lnTo>
                      <a:pt x="386" y="1456"/>
                    </a:lnTo>
                    <a:lnTo>
                      <a:pt x="386" y="1456"/>
                    </a:lnTo>
                    <a:lnTo>
                      <a:pt x="388" y="1454"/>
                    </a:lnTo>
                    <a:lnTo>
                      <a:pt x="390" y="1452"/>
                    </a:lnTo>
                    <a:lnTo>
                      <a:pt x="390" y="1448"/>
                    </a:lnTo>
                    <a:lnTo>
                      <a:pt x="388" y="1446"/>
                    </a:lnTo>
                    <a:lnTo>
                      <a:pt x="388" y="1446"/>
                    </a:lnTo>
                    <a:close/>
                    <a:moveTo>
                      <a:pt x="164" y="1358"/>
                    </a:moveTo>
                    <a:lnTo>
                      <a:pt x="164" y="1358"/>
                    </a:lnTo>
                    <a:lnTo>
                      <a:pt x="164" y="1358"/>
                    </a:lnTo>
                    <a:lnTo>
                      <a:pt x="166" y="1356"/>
                    </a:lnTo>
                    <a:lnTo>
                      <a:pt x="168" y="1358"/>
                    </a:lnTo>
                    <a:lnTo>
                      <a:pt x="168" y="1358"/>
                    </a:lnTo>
                    <a:lnTo>
                      <a:pt x="170" y="1356"/>
                    </a:lnTo>
                    <a:lnTo>
                      <a:pt x="170" y="1356"/>
                    </a:lnTo>
                    <a:lnTo>
                      <a:pt x="172" y="1354"/>
                    </a:lnTo>
                    <a:lnTo>
                      <a:pt x="170" y="1354"/>
                    </a:lnTo>
                    <a:lnTo>
                      <a:pt x="168" y="1350"/>
                    </a:lnTo>
                    <a:lnTo>
                      <a:pt x="168" y="1350"/>
                    </a:lnTo>
                    <a:lnTo>
                      <a:pt x="164" y="1346"/>
                    </a:lnTo>
                    <a:lnTo>
                      <a:pt x="164" y="1346"/>
                    </a:lnTo>
                    <a:lnTo>
                      <a:pt x="164" y="1348"/>
                    </a:lnTo>
                    <a:lnTo>
                      <a:pt x="164" y="1348"/>
                    </a:lnTo>
                    <a:lnTo>
                      <a:pt x="164" y="1350"/>
                    </a:lnTo>
                    <a:lnTo>
                      <a:pt x="164" y="1352"/>
                    </a:lnTo>
                    <a:lnTo>
                      <a:pt x="164" y="1354"/>
                    </a:lnTo>
                    <a:lnTo>
                      <a:pt x="164" y="1358"/>
                    </a:lnTo>
                    <a:lnTo>
                      <a:pt x="164" y="1358"/>
                    </a:lnTo>
                    <a:close/>
                    <a:moveTo>
                      <a:pt x="148" y="1644"/>
                    </a:moveTo>
                    <a:lnTo>
                      <a:pt x="148" y="1644"/>
                    </a:lnTo>
                    <a:lnTo>
                      <a:pt x="150" y="1642"/>
                    </a:lnTo>
                    <a:lnTo>
                      <a:pt x="150" y="1642"/>
                    </a:lnTo>
                    <a:lnTo>
                      <a:pt x="150" y="1640"/>
                    </a:lnTo>
                    <a:lnTo>
                      <a:pt x="152" y="1636"/>
                    </a:lnTo>
                    <a:lnTo>
                      <a:pt x="152" y="1636"/>
                    </a:lnTo>
                    <a:lnTo>
                      <a:pt x="156" y="1634"/>
                    </a:lnTo>
                    <a:lnTo>
                      <a:pt x="160" y="1634"/>
                    </a:lnTo>
                    <a:lnTo>
                      <a:pt x="162" y="1634"/>
                    </a:lnTo>
                    <a:lnTo>
                      <a:pt x="162" y="1632"/>
                    </a:lnTo>
                    <a:lnTo>
                      <a:pt x="162" y="1632"/>
                    </a:lnTo>
                    <a:lnTo>
                      <a:pt x="162" y="1630"/>
                    </a:lnTo>
                    <a:lnTo>
                      <a:pt x="164" y="1630"/>
                    </a:lnTo>
                    <a:lnTo>
                      <a:pt x="166" y="1628"/>
                    </a:lnTo>
                    <a:lnTo>
                      <a:pt x="166" y="1626"/>
                    </a:lnTo>
                    <a:lnTo>
                      <a:pt x="166" y="1626"/>
                    </a:lnTo>
                    <a:lnTo>
                      <a:pt x="164" y="1624"/>
                    </a:lnTo>
                    <a:lnTo>
                      <a:pt x="164" y="1624"/>
                    </a:lnTo>
                    <a:lnTo>
                      <a:pt x="166" y="1622"/>
                    </a:lnTo>
                    <a:lnTo>
                      <a:pt x="164" y="1620"/>
                    </a:lnTo>
                    <a:lnTo>
                      <a:pt x="164" y="1620"/>
                    </a:lnTo>
                    <a:lnTo>
                      <a:pt x="166" y="1618"/>
                    </a:lnTo>
                    <a:lnTo>
                      <a:pt x="168" y="1618"/>
                    </a:lnTo>
                    <a:lnTo>
                      <a:pt x="170" y="1618"/>
                    </a:lnTo>
                    <a:lnTo>
                      <a:pt x="174" y="1616"/>
                    </a:lnTo>
                    <a:lnTo>
                      <a:pt x="174" y="1616"/>
                    </a:lnTo>
                    <a:lnTo>
                      <a:pt x="176" y="1614"/>
                    </a:lnTo>
                    <a:lnTo>
                      <a:pt x="172" y="1614"/>
                    </a:lnTo>
                    <a:lnTo>
                      <a:pt x="168" y="1614"/>
                    </a:lnTo>
                    <a:lnTo>
                      <a:pt x="168" y="1614"/>
                    </a:lnTo>
                    <a:lnTo>
                      <a:pt x="168" y="1614"/>
                    </a:lnTo>
                    <a:lnTo>
                      <a:pt x="168" y="1614"/>
                    </a:lnTo>
                    <a:lnTo>
                      <a:pt x="172" y="1610"/>
                    </a:lnTo>
                    <a:lnTo>
                      <a:pt x="174" y="1606"/>
                    </a:lnTo>
                    <a:lnTo>
                      <a:pt x="174" y="1600"/>
                    </a:lnTo>
                    <a:lnTo>
                      <a:pt x="172" y="1598"/>
                    </a:lnTo>
                    <a:lnTo>
                      <a:pt x="172" y="1598"/>
                    </a:lnTo>
                    <a:lnTo>
                      <a:pt x="170" y="1598"/>
                    </a:lnTo>
                    <a:lnTo>
                      <a:pt x="164" y="1602"/>
                    </a:lnTo>
                    <a:lnTo>
                      <a:pt x="158" y="1606"/>
                    </a:lnTo>
                    <a:lnTo>
                      <a:pt x="150" y="1610"/>
                    </a:lnTo>
                    <a:lnTo>
                      <a:pt x="150" y="1610"/>
                    </a:lnTo>
                    <a:lnTo>
                      <a:pt x="148" y="1612"/>
                    </a:lnTo>
                    <a:lnTo>
                      <a:pt x="148" y="1614"/>
                    </a:lnTo>
                    <a:lnTo>
                      <a:pt x="148" y="1616"/>
                    </a:lnTo>
                    <a:lnTo>
                      <a:pt x="148" y="1620"/>
                    </a:lnTo>
                    <a:lnTo>
                      <a:pt x="148" y="1620"/>
                    </a:lnTo>
                    <a:lnTo>
                      <a:pt x="146" y="1620"/>
                    </a:lnTo>
                    <a:lnTo>
                      <a:pt x="144" y="1618"/>
                    </a:lnTo>
                    <a:lnTo>
                      <a:pt x="142" y="1616"/>
                    </a:lnTo>
                    <a:lnTo>
                      <a:pt x="140" y="1616"/>
                    </a:lnTo>
                    <a:lnTo>
                      <a:pt x="140" y="1616"/>
                    </a:lnTo>
                    <a:lnTo>
                      <a:pt x="136" y="1622"/>
                    </a:lnTo>
                    <a:lnTo>
                      <a:pt x="136" y="1624"/>
                    </a:lnTo>
                    <a:lnTo>
                      <a:pt x="138" y="1628"/>
                    </a:lnTo>
                    <a:lnTo>
                      <a:pt x="138" y="1628"/>
                    </a:lnTo>
                    <a:lnTo>
                      <a:pt x="140" y="1630"/>
                    </a:lnTo>
                    <a:lnTo>
                      <a:pt x="140" y="1630"/>
                    </a:lnTo>
                    <a:lnTo>
                      <a:pt x="138" y="1632"/>
                    </a:lnTo>
                    <a:lnTo>
                      <a:pt x="138" y="1632"/>
                    </a:lnTo>
                    <a:lnTo>
                      <a:pt x="138" y="1632"/>
                    </a:lnTo>
                    <a:lnTo>
                      <a:pt x="144" y="1636"/>
                    </a:lnTo>
                    <a:lnTo>
                      <a:pt x="144" y="1636"/>
                    </a:lnTo>
                    <a:lnTo>
                      <a:pt x="146" y="1636"/>
                    </a:lnTo>
                    <a:lnTo>
                      <a:pt x="146" y="1636"/>
                    </a:lnTo>
                    <a:lnTo>
                      <a:pt x="142" y="1638"/>
                    </a:lnTo>
                    <a:lnTo>
                      <a:pt x="138" y="1642"/>
                    </a:lnTo>
                    <a:lnTo>
                      <a:pt x="136" y="1644"/>
                    </a:lnTo>
                    <a:lnTo>
                      <a:pt x="138" y="1646"/>
                    </a:lnTo>
                    <a:lnTo>
                      <a:pt x="138" y="1646"/>
                    </a:lnTo>
                    <a:lnTo>
                      <a:pt x="140" y="1648"/>
                    </a:lnTo>
                    <a:lnTo>
                      <a:pt x="142" y="1648"/>
                    </a:lnTo>
                    <a:lnTo>
                      <a:pt x="144" y="1644"/>
                    </a:lnTo>
                    <a:lnTo>
                      <a:pt x="148" y="1644"/>
                    </a:lnTo>
                    <a:lnTo>
                      <a:pt x="148" y="1644"/>
                    </a:lnTo>
                    <a:close/>
                    <a:moveTo>
                      <a:pt x="84" y="2020"/>
                    </a:moveTo>
                    <a:lnTo>
                      <a:pt x="84" y="2020"/>
                    </a:lnTo>
                    <a:lnTo>
                      <a:pt x="88" y="2008"/>
                    </a:lnTo>
                    <a:lnTo>
                      <a:pt x="90" y="2008"/>
                    </a:lnTo>
                    <a:lnTo>
                      <a:pt x="92" y="2012"/>
                    </a:lnTo>
                    <a:lnTo>
                      <a:pt x="92" y="2012"/>
                    </a:lnTo>
                    <a:lnTo>
                      <a:pt x="94" y="2014"/>
                    </a:lnTo>
                    <a:lnTo>
                      <a:pt x="96" y="2014"/>
                    </a:lnTo>
                    <a:lnTo>
                      <a:pt x="106" y="2008"/>
                    </a:lnTo>
                    <a:lnTo>
                      <a:pt x="120" y="2000"/>
                    </a:lnTo>
                    <a:lnTo>
                      <a:pt x="126" y="1996"/>
                    </a:lnTo>
                    <a:lnTo>
                      <a:pt x="132" y="1994"/>
                    </a:lnTo>
                    <a:lnTo>
                      <a:pt x="132" y="1994"/>
                    </a:lnTo>
                    <a:lnTo>
                      <a:pt x="142" y="1992"/>
                    </a:lnTo>
                    <a:lnTo>
                      <a:pt x="148" y="1990"/>
                    </a:lnTo>
                    <a:lnTo>
                      <a:pt x="152" y="1990"/>
                    </a:lnTo>
                    <a:lnTo>
                      <a:pt x="160" y="1990"/>
                    </a:lnTo>
                    <a:lnTo>
                      <a:pt x="160" y="1990"/>
                    </a:lnTo>
                    <a:lnTo>
                      <a:pt x="166" y="1992"/>
                    </a:lnTo>
                    <a:lnTo>
                      <a:pt x="168" y="1988"/>
                    </a:lnTo>
                    <a:lnTo>
                      <a:pt x="168" y="1980"/>
                    </a:lnTo>
                    <a:lnTo>
                      <a:pt x="168" y="1974"/>
                    </a:lnTo>
                    <a:lnTo>
                      <a:pt x="172" y="1966"/>
                    </a:lnTo>
                    <a:lnTo>
                      <a:pt x="172" y="1966"/>
                    </a:lnTo>
                    <a:lnTo>
                      <a:pt x="176" y="1958"/>
                    </a:lnTo>
                    <a:lnTo>
                      <a:pt x="178" y="1950"/>
                    </a:lnTo>
                    <a:lnTo>
                      <a:pt x="180" y="1934"/>
                    </a:lnTo>
                    <a:lnTo>
                      <a:pt x="178" y="1920"/>
                    </a:lnTo>
                    <a:lnTo>
                      <a:pt x="174" y="1906"/>
                    </a:lnTo>
                    <a:lnTo>
                      <a:pt x="174" y="1906"/>
                    </a:lnTo>
                    <a:lnTo>
                      <a:pt x="168" y="1888"/>
                    </a:lnTo>
                    <a:lnTo>
                      <a:pt x="166" y="1884"/>
                    </a:lnTo>
                    <a:lnTo>
                      <a:pt x="170" y="1884"/>
                    </a:lnTo>
                    <a:lnTo>
                      <a:pt x="170" y="1884"/>
                    </a:lnTo>
                    <a:lnTo>
                      <a:pt x="172" y="1882"/>
                    </a:lnTo>
                    <a:lnTo>
                      <a:pt x="172" y="1880"/>
                    </a:lnTo>
                    <a:lnTo>
                      <a:pt x="168" y="1874"/>
                    </a:lnTo>
                    <a:lnTo>
                      <a:pt x="168" y="1874"/>
                    </a:lnTo>
                    <a:lnTo>
                      <a:pt x="172" y="1874"/>
                    </a:lnTo>
                    <a:lnTo>
                      <a:pt x="176" y="1876"/>
                    </a:lnTo>
                    <a:lnTo>
                      <a:pt x="178" y="1878"/>
                    </a:lnTo>
                    <a:lnTo>
                      <a:pt x="178" y="1878"/>
                    </a:lnTo>
                    <a:lnTo>
                      <a:pt x="180" y="1878"/>
                    </a:lnTo>
                    <a:lnTo>
                      <a:pt x="186" y="1870"/>
                    </a:lnTo>
                    <a:lnTo>
                      <a:pt x="186" y="1870"/>
                    </a:lnTo>
                    <a:lnTo>
                      <a:pt x="190" y="1866"/>
                    </a:lnTo>
                    <a:lnTo>
                      <a:pt x="194" y="1866"/>
                    </a:lnTo>
                    <a:lnTo>
                      <a:pt x="196" y="1864"/>
                    </a:lnTo>
                    <a:lnTo>
                      <a:pt x="198" y="1862"/>
                    </a:lnTo>
                    <a:lnTo>
                      <a:pt x="198" y="1862"/>
                    </a:lnTo>
                    <a:lnTo>
                      <a:pt x="196" y="1858"/>
                    </a:lnTo>
                    <a:lnTo>
                      <a:pt x="194" y="1858"/>
                    </a:lnTo>
                    <a:lnTo>
                      <a:pt x="192" y="1858"/>
                    </a:lnTo>
                    <a:lnTo>
                      <a:pt x="192" y="1858"/>
                    </a:lnTo>
                    <a:lnTo>
                      <a:pt x="192" y="1858"/>
                    </a:lnTo>
                    <a:lnTo>
                      <a:pt x="194" y="1854"/>
                    </a:lnTo>
                    <a:lnTo>
                      <a:pt x="196" y="1850"/>
                    </a:lnTo>
                    <a:lnTo>
                      <a:pt x="196" y="1848"/>
                    </a:lnTo>
                    <a:lnTo>
                      <a:pt x="196" y="1850"/>
                    </a:lnTo>
                    <a:lnTo>
                      <a:pt x="196" y="1850"/>
                    </a:lnTo>
                    <a:lnTo>
                      <a:pt x="200" y="1858"/>
                    </a:lnTo>
                    <a:lnTo>
                      <a:pt x="202" y="1858"/>
                    </a:lnTo>
                    <a:lnTo>
                      <a:pt x="204" y="1856"/>
                    </a:lnTo>
                    <a:lnTo>
                      <a:pt x="204" y="1856"/>
                    </a:lnTo>
                    <a:lnTo>
                      <a:pt x="204" y="1850"/>
                    </a:lnTo>
                    <a:lnTo>
                      <a:pt x="202" y="1844"/>
                    </a:lnTo>
                    <a:lnTo>
                      <a:pt x="198" y="1840"/>
                    </a:lnTo>
                    <a:lnTo>
                      <a:pt x="196" y="1838"/>
                    </a:lnTo>
                    <a:lnTo>
                      <a:pt x="194" y="1838"/>
                    </a:lnTo>
                    <a:lnTo>
                      <a:pt x="194" y="1838"/>
                    </a:lnTo>
                    <a:lnTo>
                      <a:pt x="186" y="1840"/>
                    </a:lnTo>
                    <a:lnTo>
                      <a:pt x="184" y="1840"/>
                    </a:lnTo>
                    <a:lnTo>
                      <a:pt x="186" y="1838"/>
                    </a:lnTo>
                    <a:lnTo>
                      <a:pt x="186" y="1838"/>
                    </a:lnTo>
                    <a:lnTo>
                      <a:pt x="192" y="1834"/>
                    </a:lnTo>
                    <a:lnTo>
                      <a:pt x="194" y="1832"/>
                    </a:lnTo>
                    <a:lnTo>
                      <a:pt x="192" y="1828"/>
                    </a:lnTo>
                    <a:lnTo>
                      <a:pt x="190" y="1828"/>
                    </a:lnTo>
                    <a:lnTo>
                      <a:pt x="190" y="1828"/>
                    </a:lnTo>
                    <a:lnTo>
                      <a:pt x="186" y="1826"/>
                    </a:lnTo>
                    <a:lnTo>
                      <a:pt x="182" y="1820"/>
                    </a:lnTo>
                    <a:lnTo>
                      <a:pt x="176" y="1808"/>
                    </a:lnTo>
                    <a:lnTo>
                      <a:pt x="176" y="1808"/>
                    </a:lnTo>
                    <a:lnTo>
                      <a:pt x="174" y="1806"/>
                    </a:lnTo>
                    <a:lnTo>
                      <a:pt x="172" y="1804"/>
                    </a:lnTo>
                    <a:lnTo>
                      <a:pt x="164" y="1806"/>
                    </a:lnTo>
                    <a:lnTo>
                      <a:pt x="156" y="1808"/>
                    </a:lnTo>
                    <a:lnTo>
                      <a:pt x="148" y="1808"/>
                    </a:lnTo>
                    <a:lnTo>
                      <a:pt x="148" y="1808"/>
                    </a:lnTo>
                    <a:lnTo>
                      <a:pt x="142" y="1810"/>
                    </a:lnTo>
                    <a:lnTo>
                      <a:pt x="140" y="1812"/>
                    </a:lnTo>
                    <a:lnTo>
                      <a:pt x="138" y="1814"/>
                    </a:lnTo>
                    <a:lnTo>
                      <a:pt x="130" y="1816"/>
                    </a:lnTo>
                    <a:lnTo>
                      <a:pt x="130" y="1816"/>
                    </a:lnTo>
                    <a:lnTo>
                      <a:pt x="126" y="1818"/>
                    </a:lnTo>
                    <a:lnTo>
                      <a:pt x="124" y="1822"/>
                    </a:lnTo>
                    <a:lnTo>
                      <a:pt x="122" y="1828"/>
                    </a:lnTo>
                    <a:lnTo>
                      <a:pt x="120" y="1834"/>
                    </a:lnTo>
                    <a:lnTo>
                      <a:pt x="116" y="1836"/>
                    </a:lnTo>
                    <a:lnTo>
                      <a:pt x="112" y="1836"/>
                    </a:lnTo>
                    <a:lnTo>
                      <a:pt x="112" y="1836"/>
                    </a:lnTo>
                    <a:lnTo>
                      <a:pt x="116" y="1836"/>
                    </a:lnTo>
                    <a:lnTo>
                      <a:pt x="120" y="1832"/>
                    </a:lnTo>
                    <a:lnTo>
                      <a:pt x="122" y="1826"/>
                    </a:lnTo>
                    <a:lnTo>
                      <a:pt x="124" y="1818"/>
                    </a:lnTo>
                    <a:lnTo>
                      <a:pt x="128" y="1816"/>
                    </a:lnTo>
                    <a:lnTo>
                      <a:pt x="132" y="1814"/>
                    </a:lnTo>
                    <a:lnTo>
                      <a:pt x="132" y="1814"/>
                    </a:lnTo>
                    <a:lnTo>
                      <a:pt x="132" y="1810"/>
                    </a:lnTo>
                    <a:lnTo>
                      <a:pt x="134" y="1808"/>
                    </a:lnTo>
                    <a:lnTo>
                      <a:pt x="138" y="1806"/>
                    </a:lnTo>
                    <a:lnTo>
                      <a:pt x="140" y="1804"/>
                    </a:lnTo>
                    <a:lnTo>
                      <a:pt x="140" y="1804"/>
                    </a:lnTo>
                    <a:lnTo>
                      <a:pt x="134" y="1798"/>
                    </a:lnTo>
                    <a:lnTo>
                      <a:pt x="134" y="1798"/>
                    </a:lnTo>
                    <a:lnTo>
                      <a:pt x="130" y="1796"/>
                    </a:lnTo>
                    <a:lnTo>
                      <a:pt x="126" y="1796"/>
                    </a:lnTo>
                    <a:lnTo>
                      <a:pt x="124" y="1798"/>
                    </a:lnTo>
                    <a:lnTo>
                      <a:pt x="122" y="1800"/>
                    </a:lnTo>
                    <a:lnTo>
                      <a:pt x="118" y="1804"/>
                    </a:lnTo>
                    <a:lnTo>
                      <a:pt x="116" y="1804"/>
                    </a:lnTo>
                    <a:lnTo>
                      <a:pt x="112" y="1804"/>
                    </a:lnTo>
                    <a:lnTo>
                      <a:pt x="112" y="1804"/>
                    </a:lnTo>
                    <a:lnTo>
                      <a:pt x="104" y="1806"/>
                    </a:lnTo>
                    <a:lnTo>
                      <a:pt x="94" y="1810"/>
                    </a:lnTo>
                    <a:lnTo>
                      <a:pt x="86" y="1816"/>
                    </a:lnTo>
                    <a:lnTo>
                      <a:pt x="84" y="1820"/>
                    </a:lnTo>
                    <a:lnTo>
                      <a:pt x="84" y="1824"/>
                    </a:lnTo>
                    <a:lnTo>
                      <a:pt x="84" y="1824"/>
                    </a:lnTo>
                    <a:lnTo>
                      <a:pt x="84" y="1828"/>
                    </a:lnTo>
                    <a:lnTo>
                      <a:pt x="82" y="1830"/>
                    </a:lnTo>
                    <a:lnTo>
                      <a:pt x="76" y="1834"/>
                    </a:lnTo>
                    <a:lnTo>
                      <a:pt x="70" y="1836"/>
                    </a:lnTo>
                    <a:lnTo>
                      <a:pt x="68" y="1838"/>
                    </a:lnTo>
                    <a:lnTo>
                      <a:pt x="68" y="1840"/>
                    </a:lnTo>
                    <a:lnTo>
                      <a:pt x="68" y="1840"/>
                    </a:lnTo>
                    <a:lnTo>
                      <a:pt x="70" y="1842"/>
                    </a:lnTo>
                    <a:lnTo>
                      <a:pt x="76" y="1842"/>
                    </a:lnTo>
                    <a:lnTo>
                      <a:pt x="86" y="1842"/>
                    </a:lnTo>
                    <a:lnTo>
                      <a:pt x="94" y="1844"/>
                    </a:lnTo>
                    <a:lnTo>
                      <a:pt x="94" y="1846"/>
                    </a:lnTo>
                    <a:lnTo>
                      <a:pt x="90" y="1848"/>
                    </a:lnTo>
                    <a:lnTo>
                      <a:pt x="90" y="1848"/>
                    </a:lnTo>
                    <a:lnTo>
                      <a:pt x="82" y="1856"/>
                    </a:lnTo>
                    <a:lnTo>
                      <a:pt x="78" y="1862"/>
                    </a:lnTo>
                    <a:lnTo>
                      <a:pt x="74" y="1866"/>
                    </a:lnTo>
                    <a:lnTo>
                      <a:pt x="70" y="1866"/>
                    </a:lnTo>
                    <a:lnTo>
                      <a:pt x="70" y="1866"/>
                    </a:lnTo>
                    <a:lnTo>
                      <a:pt x="62" y="1864"/>
                    </a:lnTo>
                    <a:lnTo>
                      <a:pt x="58" y="1866"/>
                    </a:lnTo>
                    <a:lnTo>
                      <a:pt x="54" y="1866"/>
                    </a:lnTo>
                    <a:lnTo>
                      <a:pt x="48" y="1864"/>
                    </a:lnTo>
                    <a:lnTo>
                      <a:pt x="48" y="1864"/>
                    </a:lnTo>
                    <a:lnTo>
                      <a:pt x="40" y="1860"/>
                    </a:lnTo>
                    <a:lnTo>
                      <a:pt x="30" y="1860"/>
                    </a:lnTo>
                    <a:lnTo>
                      <a:pt x="22" y="1862"/>
                    </a:lnTo>
                    <a:lnTo>
                      <a:pt x="14" y="1868"/>
                    </a:lnTo>
                    <a:lnTo>
                      <a:pt x="14" y="1868"/>
                    </a:lnTo>
                    <a:lnTo>
                      <a:pt x="14" y="1870"/>
                    </a:lnTo>
                    <a:lnTo>
                      <a:pt x="14" y="1870"/>
                    </a:lnTo>
                    <a:lnTo>
                      <a:pt x="18" y="1870"/>
                    </a:lnTo>
                    <a:lnTo>
                      <a:pt x="20" y="1870"/>
                    </a:lnTo>
                    <a:lnTo>
                      <a:pt x="20" y="1872"/>
                    </a:lnTo>
                    <a:lnTo>
                      <a:pt x="20" y="1874"/>
                    </a:lnTo>
                    <a:lnTo>
                      <a:pt x="18" y="1878"/>
                    </a:lnTo>
                    <a:lnTo>
                      <a:pt x="18" y="1878"/>
                    </a:lnTo>
                    <a:lnTo>
                      <a:pt x="16" y="1884"/>
                    </a:lnTo>
                    <a:lnTo>
                      <a:pt x="18" y="1886"/>
                    </a:lnTo>
                    <a:lnTo>
                      <a:pt x="22" y="1888"/>
                    </a:lnTo>
                    <a:lnTo>
                      <a:pt x="28" y="1888"/>
                    </a:lnTo>
                    <a:lnTo>
                      <a:pt x="38" y="1888"/>
                    </a:lnTo>
                    <a:lnTo>
                      <a:pt x="38" y="1890"/>
                    </a:lnTo>
                    <a:lnTo>
                      <a:pt x="34" y="1892"/>
                    </a:lnTo>
                    <a:lnTo>
                      <a:pt x="34" y="1892"/>
                    </a:lnTo>
                    <a:lnTo>
                      <a:pt x="24" y="1898"/>
                    </a:lnTo>
                    <a:lnTo>
                      <a:pt x="22" y="1900"/>
                    </a:lnTo>
                    <a:lnTo>
                      <a:pt x="20" y="1904"/>
                    </a:lnTo>
                    <a:lnTo>
                      <a:pt x="16" y="1908"/>
                    </a:lnTo>
                    <a:lnTo>
                      <a:pt x="16" y="1908"/>
                    </a:lnTo>
                    <a:lnTo>
                      <a:pt x="14" y="1912"/>
                    </a:lnTo>
                    <a:lnTo>
                      <a:pt x="16" y="1914"/>
                    </a:lnTo>
                    <a:lnTo>
                      <a:pt x="24" y="1922"/>
                    </a:lnTo>
                    <a:lnTo>
                      <a:pt x="36" y="1928"/>
                    </a:lnTo>
                    <a:lnTo>
                      <a:pt x="40" y="1928"/>
                    </a:lnTo>
                    <a:lnTo>
                      <a:pt x="44" y="1928"/>
                    </a:lnTo>
                    <a:lnTo>
                      <a:pt x="44" y="1928"/>
                    </a:lnTo>
                    <a:lnTo>
                      <a:pt x="52" y="1926"/>
                    </a:lnTo>
                    <a:lnTo>
                      <a:pt x="58" y="1928"/>
                    </a:lnTo>
                    <a:lnTo>
                      <a:pt x="60" y="1928"/>
                    </a:lnTo>
                    <a:lnTo>
                      <a:pt x="60" y="1930"/>
                    </a:lnTo>
                    <a:lnTo>
                      <a:pt x="50" y="1934"/>
                    </a:lnTo>
                    <a:lnTo>
                      <a:pt x="50" y="1934"/>
                    </a:lnTo>
                    <a:lnTo>
                      <a:pt x="44" y="1936"/>
                    </a:lnTo>
                    <a:lnTo>
                      <a:pt x="42" y="1938"/>
                    </a:lnTo>
                    <a:lnTo>
                      <a:pt x="42" y="1940"/>
                    </a:lnTo>
                    <a:lnTo>
                      <a:pt x="42" y="1944"/>
                    </a:lnTo>
                    <a:lnTo>
                      <a:pt x="42" y="1948"/>
                    </a:lnTo>
                    <a:lnTo>
                      <a:pt x="40" y="1952"/>
                    </a:lnTo>
                    <a:lnTo>
                      <a:pt x="36" y="1956"/>
                    </a:lnTo>
                    <a:lnTo>
                      <a:pt x="28" y="1962"/>
                    </a:lnTo>
                    <a:lnTo>
                      <a:pt x="28" y="1962"/>
                    </a:lnTo>
                    <a:lnTo>
                      <a:pt x="22" y="1966"/>
                    </a:lnTo>
                    <a:lnTo>
                      <a:pt x="22" y="1968"/>
                    </a:lnTo>
                    <a:lnTo>
                      <a:pt x="26" y="1968"/>
                    </a:lnTo>
                    <a:lnTo>
                      <a:pt x="30" y="1968"/>
                    </a:lnTo>
                    <a:lnTo>
                      <a:pt x="58" y="1960"/>
                    </a:lnTo>
                    <a:lnTo>
                      <a:pt x="58" y="1960"/>
                    </a:lnTo>
                    <a:lnTo>
                      <a:pt x="64" y="1960"/>
                    </a:lnTo>
                    <a:lnTo>
                      <a:pt x="66" y="1960"/>
                    </a:lnTo>
                    <a:lnTo>
                      <a:pt x="66" y="1962"/>
                    </a:lnTo>
                    <a:lnTo>
                      <a:pt x="66" y="1964"/>
                    </a:lnTo>
                    <a:lnTo>
                      <a:pt x="62" y="1966"/>
                    </a:lnTo>
                    <a:lnTo>
                      <a:pt x="50" y="1968"/>
                    </a:lnTo>
                    <a:lnTo>
                      <a:pt x="50" y="1968"/>
                    </a:lnTo>
                    <a:lnTo>
                      <a:pt x="36" y="1970"/>
                    </a:lnTo>
                    <a:lnTo>
                      <a:pt x="28" y="1974"/>
                    </a:lnTo>
                    <a:lnTo>
                      <a:pt x="24" y="1978"/>
                    </a:lnTo>
                    <a:lnTo>
                      <a:pt x="26" y="1982"/>
                    </a:lnTo>
                    <a:lnTo>
                      <a:pt x="26" y="1982"/>
                    </a:lnTo>
                    <a:lnTo>
                      <a:pt x="28" y="1984"/>
                    </a:lnTo>
                    <a:lnTo>
                      <a:pt x="26" y="1986"/>
                    </a:lnTo>
                    <a:lnTo>
                      <a:pt x="22" y="1984"/>
                    </a:lnTo>
                    <a:lnTo>
                      <a:pt x="14" y="1984"/>
                    </a:lnTo>
                    <a:lnTo>
                      <a:pt x="10" y="1986"/>
                    </a:lnTo>
                    <a:lnTo>
                      <a:pt x="4" y="1988"/>
                    </a:lnTo>
                    <a:lnTo>
                      <a:pt x="4" y="1988"/>
                    </a:lnTo>
                    <a:lnTo>
                      <a:pt x="0" y="1994"/>
                    </a:lnTo>
                    <a:lnTo>
                      <a:pt x="0" y="1996"/>
                    </a:lnTo>
                    <a:lnTo>
                      <a:pt x="2" y="1996"/>
                    </a:lnTo>
                    <a:lnTo>
                      <a:pt x="6" y="1996"/>
                    </a:lnTo>
                    <a:lnTo>
                      <a:pt x="10" y="1996"/>
                    </a:lnTo>
                    <a:lnTo>
                      <a:pt x="14" y="1996"/>
                    </a:lnTo>
                    <a:lnTo>
                      <a:pt x="14" y="2000"/>
                    </a:lnTo>
                    <a:lnTo>
                      <a:pt x="10" y="2004"/>
                    </a:lnTo>
                    <a:lnTo>
                      <a:pt x="10" y="2004"/>
                    </a:lnTo>
                    <a:lnTo>
                      <a:pt x="6" y="2010"/>
                    </a:lnTo>
                    <a:lnTo>
                      <a:pt x="4" y="2012"/>
                    </a:lnTo>
                    <a:lnTo>
                      <a:pt x="8" y="2014"/>
                    </a:lnTo>
                    <a:lnTo>
                      <a:pt x="12" y="2016"/>
                    </a:lnTo>
                    <a:lnTo>
                      <a:pt x="18" y="2018"/>
                    </a:lnTo>
                    <a:lnTo>
                      <a:pt x="20" y="2020"/>
                    </a:lnTo>
                    <a:lnTo>
                      <a:pt x="16" y="2024"/>
                    </a:lnTo>
                    <a:lnTo>
                      <a:pt x="16" y="2024"/>
                    </a:lnTo>
                    <a:lnTo>
                      <a:pt x="14" y="2026"/>
                    </a:lnTo>
                    <a:lnTo>
                      <a:pt x="16" y="2026"/>
                    </a:lnTo>
                    <a:lnTo>
                      <a:pt x="28" y="2022"/>
                    </a:lnTo>
                    <a:lnTo>
                      <a:pt x="36" y="2020"/>
                    </a:lnTo>
                    <a:lnTo>
                      <a:pt x="36" y="2022"/>
                    </a:lnTo>
                    <a:lnTo>
                      <a:pt x="30" y="2026"/>
                    </a:lnTo>
                    <a:lnTo>
                      <a:pt x="30" y="2026"/>
                    </a:lnTo>
                    <a:lnTo>
                      <a:pt x="28" y="2030"/>
                    </a:lnTo>
                    <a:lnTo>
                      <a:pt x="28" y="2032"/>
                    </a:lnTo>
                    <a:lnTo>
                      <a:pt x="30" y="2034"/>
                    </a:lnTo>
                    <a:lnTo>
                      <a:pt x="38" y="2034"/>
                    </a:lnTo>
                    <a:lnTo>
                      <a:pt x="48" y="2032"/>
                    </a:lnTo>
                    <a:lnTo>
                      <a:pt x="70" y="2028"/>
                    </a:lnTo>
                    <a:lnTo>
                      <a:pt x="78" y="2024"/>
                    </a:lnTo>
                    <a:lnTo>
                      <a:pt x="84" y="2020"/>
                    </a:lnTo>
                    <a:lnTo>
                      <a:pt x="84" y="2020"/>
                    </a:lnTo>
                    <a:close/>
                    <a:moveTo>
                      <a:pt x="154" y="1672"/>
                    </a:moveTo>
                    <a:lnTo>
                      <a:pt x="154" y="1672"/>
                    </a:lnTo>
                    <a:lnTo>
                      <a:pt x="156" y="1672"/>
                    </a:lnTo>
                    <a:lnTo>
                      <a:pt x="156" y="1672"/>
                    </a:lnTo>
                    <a:lnTo>
                      <a:pt x="158" y="1670"/>
                    </a:lnTo>
                    <a:lnTo>
                      <a:pt x="162" y="1672"/>
                    </a:lnTo>
                    <a:lnTo>
                      <a:pt x="162" y="1672"/>
                    </a:lnTo>
                    <a:lnTo>
                      <a:pt x="162" y="1674"/>
                    </a:lnTo>
                    <a:lnTo>
                      <a:pt x="162" y="1676"/>
                    </a:lnTo>
                    <a:lnTo>
                      <a:pt x="162" y="1678"/>
                    </a:lnTo>
                    <a:lnTo>
                      <a:pt x="164" y="1682"/>
                    </a:lnTo>
                    <a:lnTo>
                      <a:pt x="164" y="1682"/>
                    </a:lnTo>
                    <a:lnTo>
                      <a:pt x="168" y="1684"/>
                    </a:lnTo>
                    <a:lnTo>
                      <a:pt x="170" y="1684"/>
                    </a:lnTo>
                    <a:lnTo>
                      <a:pt x="174" y="1682"/>
                    </a:lnTo>
                    <a:lnTo>
                      <a:pt x="180" y="1682"/>
                    </a:lnTo>
                    <a:lnTo>
                      <a:pt x="180" y="1682"/>
                    </a:lnTo>
                    <a:lnTo>
                      <a:pt x="182" y="1684"/>
                    </a:lnTo>
                    <a:lnTo>
                      <a:pt x="182" y="1684"/>
                    </a:lnTo>
                    <a:lnTo>
                      <a:pt x="182" y="1688"/>
                    </a:lnTo>
                    <a:lnTo>
                      <a:pt x="180" y="1692"/>
                    </a:lnTo>
                    <a:lnTo>
                      <a:pt x="180" y="1694"/>
                    </a:lnTo>
                    <a:lnTo>
                      <a:pt x="180" y="1694"/>
                    </a:lnTo>
                    <a:lnTo>
                      <a:pt x="182" y="1692"/>
                    </a:lnTo>
                    <a:lnTo>
                      <a:pt x="186" y="1688"/>
                    </a:lnTo>
                    <a:lnTo>
                      <a:pt x="192" y="1678"/>
                    </a:lnTo>
                    <a:lnTo>
                      <a:pt x="192" y="1678"/>
                    </a:lnTo>
                    <a:lnTo>
                      <a:pt x="192" y="1676"/>
                    </a:lnTo>
                    <a:lnTo>
                      <a:pt x="190" y="1676"/>
                    </a:lnTo>
                    <a:lnTo>
                      <a:pt x="184" y="1678"/>
                    </a:lnTo>
                    <a:lnTo>
                      <a:pt x="180" y="1676"/>
                    </a:lnTo>
                    <a:lnTo>
                      <a:pt x="180" y="1676"/>
                    </a:lnTo>
                    <a:lnTo>
                      <a:pt x="178" y="1674"/>
                    </a:lnTo>
                    <a:lnTo>
                      <a:pt x="176" y="1672"/>
                    </a:lnTo>
                    <a:lnTo>
                      <a:pt x="174" y="1662"/>
                    </a:lnTo>
                    <a:lnTo>
                      <a:pt x="172" y="1654"/>
                    </a:lnTo>
                    <a:lnTo>
                      <a:pt x="170" y="1652"/>
                    </a:lnTo>
                    <a:lnTo>
                      <a:pt x="168" y="1650"/>
                    </a:lnTo>
                    <a:lnTo>
                      <a:pt x="168" y="1650"/>
                    </a:lnTo>
                    <a:lnTo>
                      <a:pt x="166" y="1650"/>
                    </a:lnTo>
                    <a:lnTo>
                      <a:pt x="166" y="1652"/>
                    </a:lnTo>
                    <a:lnTo>
                      <a:pt x="166" y="1656"/>
                    </a:lnTo>
                    <a:lnTo>
                      <a:pt x="166" y="1662"/>
                    </a:lnTo>
                    <a:lnTo>
                      <a:pt x="166" y="1664"/>
                    </a:lnTo>
                    <a:lnTo>
                      <a:pt x="166" y="1664"/>
                    </a:lnTo>
                    <a:lnTo>
                      <a:pt x="162" y="1664"/>
                    </a:lnTo>
                    <a:lnTo>
                      <a:pt x="160" y="1660"/>
                    </a:lnTo>
                    <a:lnTo>
                      <a:pt x="158" y="1658"/>
                    </a:lnTo>
                    <a:lnTo>
                      <a:pt x="154" y="1656"/>
                    </a:lnTo>
                    <a:lnTo>
                      <a:pt x="154" y="1656"/>
                    </a:lnTo>
                    <a:lnTo>
                      <a:pt x="154" y="1658"/>
                    </a:lnTo>
                    <a:lnTo>
                      <a:pt x="154" y="1660"/>
                    </a:lnTo>
                    <a:lnTo>
                      <a:pt x="156" y="1664"/>
                    </a:lnTo>
                    <a:lnTo>
                      <a:pt x="156" y="1664"/>
                    </a:lnTo>
                    <a:lnTo>
                      <a:pt x="154" y="1666"/>
                    </a:lnTo>
                    <a:lnTo>
                      <a:pt x="150" y="1666"/>
                    </a:lnTo>
                    <a:lnTo>
                      <a:pt x="150" y="1668"/>
                    </a:lnTo>
                    <a:lnTo>
                      <a:pt x="154" y="1672"/>
                    </a:lnTo>
                    <a:lnTo>
                      <a:pt x="154" y="1672"/>
                    </a:lnTo>
                    <a:close/>
                    <a:moveTo>
                      <a:pt x="146" y="1346"/>
                    </a:moveTo>
                    <a:lnTo>
                      <a:pt x="146" y="1346"/>
                    </a:lnTo>
                    <a:lnTo>
                      <a:pt x="142" y="1346"/>
                    </a:lnTo>
                    <a:lnTo>
                      <a:pt x="144" y="1352"/>
                    </a:lnTo>
                    <a:lnTo>
                      <a:pt x="144" y="1352"/>
                    </a:lnTo>
                    <a:lnTo>
                      <a:pt x="148" y="1358"/>
                    </a:lnTo>
                    <a:lnTo>
                      <a:pt x="154" y="1362"/>
                    </a:lnTo>
                    <a:lnTo>
                      <a:pt x="154" y="1362"/>
                    </a:lnTo>
                    <a:lnTo>
                      <a:pt x="158" y="1364"/>
                    </a:lnTo>
                    <a:lnTo>
                      <a:pt x="160" y="1364"/>
                    </a:lnTo>
                    <a:lnTo>
                      <a:pt x="162" y="1362"/>
                    </a:lnTo>
                    <a:lnTo>
                      <a:pt x="160" y="1360"/>
                    </a:lnTo>
                    <a:lnTo>
                      <a:pt x="160" y="1360"/>
                    </a:lnTo>
                    <a:lnTo>
                      <a:pt x="158" y="1358"/>
                    </a:lnTo>
                    <a:lnTo>
                      <a:pt x="160" y="1358"/>
                    </a:lnTo>
                    <a:lnTo>
                      <a:pt x="160" y="1356"/>
                    </a:lnTo>
                    <a:lnTo>
                      <a:pt x="158" y="1356"/>
                    </a:lnTo>
                    <a:lnTo>
                      <a:pt x="158" y="1356"/>
                    </a:lnTo>
                    <a:lnTo>
                      <a:pt x="154" y="1354"/>
                    </a:lnTo>
                    <a:lnTo>
                      <a:pt x="154" y="1352"/>
                    </a:lnTo>
                    <a:lnTo>
                      <a:pt x="154" y="1350"/>
                    </a:lnTo>
                    <a:lnTo>
                      <a:pt x="152" y="1350"/>
                    </a:lnTo>
                    <a:lnTo>
                      <a:pt x="152" y="1350"/>
                    </a:lnTo>
                    <a:lnTo>
                      <a:pt x="148" y="1350"/>
                    </a:lnTo>
                    <a:lnTo>
                      <a:pt x="148" y="1348"/>
                    </a:lnTo>
                    <a:lnTo>
                      <a:pt x="148" y="1346"/>
                    </a:lnTo>
                    <a:lnTo>
                      <a:pt x="146" y="1346"/>
                    </a:lnTo>
                    <a:lnTo>
                      <a:pt x="146" y="1346"/>
                    </a:lnTo>
                    <a:close/>
                    <a:moveTo>
                      <a:pt x="166" y="1740"/>
                    </a:moveTo>
                    <a:lnTo>
                      <a:pt x="166" y="1740"/>
                    </a:lnTo>
                    <a:lnTo>
                      <a:pt x="166" y="1742"/>
                    </a:lnTo>
                    <a:lnTo>
                      <a:pt x="168" y="1742"/>
                    </a:lnTo>
                    <a:lnTo>
                      <a:pt x="174" y="1740"/>
                    </a:lnTo>
                    <a:lnTo>
                      <a:pt x="188" y="1736"/>
                    </a:lnTo>
                    <a:lnTo>
                      <a:pt x="188" y="1736"/>
                    </a:lnTo>
                    <a:lnTo>
                      <a:pt x="194" y="1734"/>
                    </a:lnTo>
                    <a:lnTo>
                      <a:pt x="192" y="1732"/>
                    </a:lnTo>
                    <a:lnTo>
                      <a:pt x="190" y="1728"/>
                    </a:lnTo>
                    <a:lnTo>
                      <a:pt x="184" y="1724"/>
                    </a:lnTo>
                    <a:lnTo>
                      <a:pt x="184" y="1724"/>
                    </a:lnTo>
                    <a:lnTo>
                      <a:pt x="178" y="1722"/>
                    </a:lnTo>
                    <a:lnTo>
                      <a:pt x="176" y="1718"/>
                    </a:lnTo>
                    <a:lnTo>
                      <a:pt x="174" y="1718"/>
                    </a:lnTo>
                    <a:lnTo>
                      <a:pt x="170" y="1720"/>
                    </a:lnTo>
                    <a:lnTo>
                      <a:pt x="170" y="1720"/>
                    </a:lnTo>
                    <a:lnTo>
                      <a:pt x="168" y="1722"/>
                    </a:lnTo>
                    <a:lnTo>
                      <a:pt x="166" y="1724"/>
                    </a:lnTo>
                    <a:lnTo>
                      <a:pt x="174" y="1728"/>
                    </a:lnTo>
                    <a:lnTo>
                      <a:pt x="174" y="1728"/>
                    </a:lnTo>
                    <a:lnTo>
                      <a:pt x="176" y="1730"/>
                    </a:lnTo>
                    <a:lnTo>
                      <a:pt x="174" y="1730"/>
                    </a:lnTo>
                    <a:lnTo>
                      <a:pt x="172" y="1732"/>
                    </a:lnTo>
                    <a:lnTo>
                      <a:pt x="172" y="1734"/>
                    </a:lnTo>
                    <a:lnTo>
                      <a:pt x="172" y="1734"/>
                    </a:lnTo>
                    <a:lnTo>
                      <a:pt x="172" y="1736"/>
                    </a:lnTo>
                    <a:lnTo>
                      <a:pt x="170" y="1736"/>
                    </a:lnTo>
                    <a:lnTo>
                      <a:pt x="168" y="1738"/>
                    </a:lnTo>
                    <a:lnTo>
                      <a:pt x="166" y="1740"/>
                    </a:lnTo>
                    <a:lnTo>
                      <a:pt x="166" y="1740"/>
                    </a:lnTo>
                    <a:close/>
                    <a:moveTo>
                      <a:pt x="362" y="2084"/>
                    </a:moveTo>
                    <a:lnTo>
                      <a:pt x="362" y="2084"/>
                    </a:lnTo>
                    <a:lnTo>
                      <a:pt x="370" y="2088"/>
                    </a:lnTo>
                    <a:lnTo>
                      <a:pt x="376" y="2088"/>
                    </a:lnTo>
                    <a:lnTo>
                      <a:pt x="380" y="2086"/>
                    </a:lnTo>
                    <a:lnTo>
                      <a:pt x="378" y="2082"/>
                    </a:lnTo>
                    <a:lnTo>
                      <a:pt x="378" y="2082"/>
                    </a:lnTo>
                    <a:lnTo>
                      <a:pt x="376" y="2080"/>
                    </a:lnTo>
                    <a:lnTo>
                      <a:pt x="372" y="2078"/>
                    </a:lnTo>
                    <a:lnTo>
                      <a:pt x="366" y="2080"/>
                    </a:lnTo>
                    <a:lnTo>
                      <a:pt x="362" y="2084"/>
                    </a:lnTo>
                    <a:lnTo>
                      <a:pt x="362" y="2084"/>
                    </a:lnTo>
                    <a:close/>
                    <a:moveTo>
                      <a:pt x="174" y="1354"/>
                    </a:moveTo>
                    <a:lnTo>
                      <a:pt x="174" y="1354"/>
                    </a:lnTo>
                    <a:lnTo>
                      <a:pt x="176" y="1352"/>
                    </a:lnTo>
                    <a:lnTo>
                      <a:pt x="176" y="1350"/>
                    </a:lnTo>
                    <a:lnTo>
                      <a:pt x="174" y="1348"/>
                    </a:lnTo>
                    <a:lnTo>
                      <a:pt x="174" y="1348"/>
                    </a:lnTo>
                    <a:lnTo>
                      <a:pt x="174" y="1350"/>
                    </a:lnTo>
                    <a:lnTo>
                      <a:pt x="172" y="1350"/>
                    </a:lnTo>
                    <a:lnTo>
                      <a:pt x="172" y="1352"/>
                    </a:lnTo>
                    <a:lnTo>
                      <a:pt x="174" y="1354"/>
                    </a:lnTo>
                    <a:lnTo>
                      <a:pt x="174" y="1354"/>
                    </a:lnTo>
                    <a:close/>
                    <a:moveTo>
                      <a:pt x="168" y="1784"/>
                    </a:moveTo>
                    <a:lnTo>
                      <a:pt x="168" y="1784"/>
                    </a:lnTo>
                    <a:lnTo>
                      <a:pt x="168" y="1784"/>
                    </a:lnTo>
                    <a:lnTo>
                      <a:pt x="170" y="1784"/>
                    </a:lnTo>
                    <a:lnTo>
                      <a:pt x="176" y="1780"/>
                    </a:lnTo>
                    <a:lnTo>
                      <a:pt x="176" y="1780"/>
                    </a:lnTo>
                    <a:lnTo>
                      <a:pt x="178" y="1776"/>
                    </a:lnTo>
                    <a:lnTo>
                      <a:pt x="178" y="1772"/>
                    </a:lnTo>
                    <a:lnTo>
                      <a:pt x="176" y="1768"/>
                    </a:lnTo>
                    <a:lnTo>
                      <a:pt x="176" y="1764"/>
                    </a:lnTo>
                    <a:lnTo>
                      <a:pt x="176" y="1764"/>
                    </a:lnTo>
                    <a:lnTo>
                      <a:pt x="176" y="1762"/>
                    </a:lnTo>
                    <a:lnTo>
                      <a:pt x="174" y="1762"/>
                    </a:lnTo>
                    <a:lnTo>
                      <a:pt x="172" y="1764"/>
                    </a:lnTo>
                    <a:lnTo>
                      <a:pt x="170" y="1766"/>
                    </a:lnTo>
                    <a:lnTo>
                      <a:pt x="168" y="1766"/>
                    </a:lnTo>
                    <a:lnTo>
                      <a:pt x="168" y="1766"/>
                    </a:lnTo>
                    <a:lnTo>
                      <a:pt x="168" y="1766"/>
                    </a:lnTo>
                    <a:lnTo>
                      <a:pt x="166" y="1764"/>
                    </a:lnTo>
                    <a:lnTo>
                      <a:pt x="166" y="1766"/>
                    </a:lnTo>
                    <a:lnTo>
                      <a:pt x="162" y="1768"/>
                    </a:lnTo>
                    <a:lnTo>
                      <a:pt x="158" y="1772"/>
                    </a:lnTo>
                    <a:lnTo>
                      <a:pt x="158" y="1774"/>
                    </a:lnTo>
                    <a:lnTo>
                      <a:pt x="160" y="1776"/>
                    </a:lnTo>
                    <a:lnTo>
                      <a:pt x="160" y="1776"/>
                    </a:lnTo>
                    <a:lnTo>
                      <a:pt x="162" y="1776"/>
                    </a:lnTo>
                    <a:lnTo>
                      <a:pt x="166" y="1774"/>
                    </a:lnTo>
                    <a:lnTo>
                      <a:pt x="168" y="1774"/>
                    </a:lnTo>
                    <a:lnTo>
                      <a:pt x="170" y="1776"/>
                    </a:lnTo>
                    <a:lnTo>
                      <a:pt x="170" y="1776"/>
                    </a:lnTo>
                    <a:lnTo>
                      <a:pt x="170" y="1778"/>
                    </a:lnTo>
                    <a:lnTo>
                      <a:pt x="168" y="1780"/>
                    </a:lnTo>
                    <a:lnTo>
                      <a:pt x="166" y="1782"/>
                    </a:lnTo>
                    <a:lnTo>
                      <a:pt x="168" y="1784"/>
                    </a:lnTo>
                    <a:lnTo>
                      <a:pt x="168" y="1784"/>
                    </a:lnTo>
                    <a:close/>
                    <a:moveTo>
                      <a:pt x="190" y="1748"/>
                    </a:moveTo>
                    <a:lnTo>
                      <a:pt x="190" y="1748"/>
                    </a:lnTo>
                    <a:lnTo>
                      <a:pt x="186" y="1752"/>
                    </a:lnTo>
                    <a:lnTo>
                      <a:pt x="182" y="1756"/>
                    </a:lnTo>
                    <a:lnTo>
                      <a:pt x="178" y="1762"/>
                    </a:lnTo>
                    <a:lnTo>
                      <a:pt x="178" y="1768"/>
                    </a:lnTo>
                    <a:lnTo>
                      <a:pt x="178" y="1768"/>
                    </a:lnTo>
                    <a:lnTo>
                      <a:pt x="180" y="1768"/>
                    </a:lnTo>
                    <a:lnTo>
                      <a:pt x="182" y="1766"/>
                    </a:lnTo>
                    <a:lnTo>
                      <a:pt x="188" y="1758"/>
                    </a:lnTo>
                    <a:lnTo>
                      <a:pt x="192" y="1750"/>
                    </a:lnTo>
                    <a:lnTo>
                      <a:pt x="192" y="1748"/>
                    </a:lnTo>
                    <a:lnTo>
                      <a:pt x="190" y="1748"/>
                    </a:lnTo>
                    <a:lnTo>
                      <a:pt x="190" y="1748"/>
                    </a:lnTo>
                    <a:close/>
                    <a:moveTo>
                      <a:pt x="700" y="1324"/>
                    </a:moveTo>
                    <a:lnTo>
                      <a:pt x="700" y="1324"/>
                    </a:lnTo>
                    <a:lnTo>
                      <a:pt x="698" y="1322"/>
                    </a:lnTo>
                    <a:lnTo>
                      <a:pt x="694" y="1322"/>
                    </a:lnTo>
                    <a:lnTo>
                      <a:pt x="690" y="1324"/>
                    </a:lnTo>
                    <a:lnTo>
                      <a:pt x="690" y="1326"/>
                    </a:lnTo>
                    <a:lnTo>
                      <a:pt x="690" y="1326"/>
                    </a:lnTo>
                    <a:lnTo>
                      <a:pt x="692" y="1326"/>
                    </a:lnTo>
                    <a:lnTo>
                      <a:pt x="696" y="1326"/>
                    </a:lnTo>
                    <a:lnTo>
                      <a:pt x="700" y="1326"/>
                    </a:lnTo>
                    <a:lnTo>
                      <a:pt x="700" y="1324"/>
                    </a:lnTo>
                    <a:lnTo>
                      <a:pt x="700" y="1324"/>
                    </a:lnTo>
                    <a:lnTo>
                      <a:pt x="700" y="1324"/>
                    </a:lnTo>
                    <a:close/>
                    <a:moveTo>
                      <a:pt x="494" y="1970"/>
                    </a:moveTo>
                    <a:lnTo>
                      <a:pt x="494" y="1970"/>
                    </a:lnTo>
                    <a:lnTo>
                      <a:pt x="492" y="1962"/>
                    </a:lnTo>
                    <a:lnTo>
                      <a:pt x="486" y="1954"/>
                    </a:lnTo>
                    <a:lnTo>
                      <a:pt x="478" y="1948"/>
                    </a:lnTo>
                    <a:lnTo>
                      <a:pt x="470" y="1944"/>
                    </a:lnTo>
                    <a:lnTo>
                      <a:pt x="460" y="1942"/>
                    </a:lnTo>
                    <a:lnTo>
                      <a:pt x="452" y="1942"/>
                    </a:lnTo>
                    <a:lnTo>
                      <a:pt x="446" y="1944"/>
                    </a:lnTo>
                    <a:lnTo>
                      <a:pt x="442" y="1948"/>
                    </a:lnTo>
                    <a:lnTo>
                      <a:pt x="442" y="1948"/>
                    </a:lnTo>
                    <a:lnTo>
                      <a:pt x="438" y="1954"/>
                    </a:lnTo>
                    <a:lnTo>
                      <a:pt x="434" y="1954"/>
                    </a:lnTo>
                    <a:lnTo>
                      <a:pt x="432" y="1952"/>
                    </a:lnTo>
                    <a:lnTo>
                      <a:pt x="428" y="1950"/>
                    </a:lnTo>
                    <a:lnTo>
                      <a:pt x="428" y="1950"/>
                    </a:lnTo>
                    <a:lnTo>
                      <a:pt x="424" y="1948"/>
                    </a:lnTo>
                    <a:lnTo>
                      <a:pt x="424" y="1946"/>
                    </a:lnTo>
                    <a:lnTo>
                      <a:pt x="428" y="1942"/>
                    </a:lnTo>
                    <a:lnTo>
                      <a:pt x="434" y="1938"/>
                    </a:lnTo>
                    <a:lnTo>
                      <a:pt x="434" y="1938"/>
                    </a:lnTo>
                    <a:lnTo>
                      <a:pt x="436" y="1936"/>
                    </a:lnTo>
                    <a:lnTo>
                      <a:pt x="438" y="1932"/>
                    </a:lnTo>
                    <a:lnTo>
                      <a:pt x="434" y="1924"/>
                    </a:lnTo>
                    <a:lnTo>
                      <a:pt x="428" y="1914"/>
                    </a:lnTo>
                    <a:lnTo>
                      <a:pt x="418" y="1906"/>
                    </a:lnTo>
                    <a:lnTo>
                      <a:pt x="418" y="1906"/>
                    </a:lnTo>
                    <a:lnTo>
                      <a:pt x="410" y="1902"/>
                    </a:lnTo>
                    <a:lnTo>
                      <a:pt x="408" y="1898"/>
                    </a:lnTo>
                    <a:lnTo>
                      <a:pt x="410" y="1898"/>
                    </a:lnTo>
                    <a:lnTo>
                      <a:pt x="418" y="1902"/>
                    </a:lnTo>
                    <a:lnTo>
                      <a:pt x="418" y="1902"/>
                    </a:lnTo>
                    <a:lnTo>
                      <a:pt x="424" y="1906"/>
                    </a:lnTo>
                    <a:lnTo>
                      <a:pt x="428" y="1906"/>
                    </a:lnTo>
                    <a:lnTo>
                      <a:pt x="430" y="1904"/>
                    </a:lnTo>
                    <a:lnTo>
                      <a:pt x="428" y="1902"/>
                    </a:lnTo>
                    <a:lnTo>
                      <a:pt x="422" y="1894"/>
                    </a:lnTo>
                    <a:lnTo>
                      <a:pt x="422" y="1894"/>
                    </a:lnTo>
                    <a:lnTo>
                      <a:pt x="418" y="1888"/>
                    </a:lnTo>
                    <a:lnTo>
                      <a:pt x="416" y="1884"/>
                    </a:lnTo>
                    <a:lnTo>
                      <a:pt x="416" y="1876"/>
                    </a:lnTo>
                    <a:lnTo>
                      <a:pt x="416" y="1872"/>
                    </a:lnTo>
                    <a:lnTo>
                      <a:pt x="416" y="1870"/>
                    </a:lnTo>
                    <a:lnTo>
                      <a:pt x="412" y="1868"/>
                    </a:lnTo>
                    <a:lnTo>
                      <a:pt x="412" y="1868"/>
                    </a:lnTo>
                    <a:lnTo>
                      <a:pt x="408" y="1866"/>
                    </a:lnTo>
                    <a:lnTo>
                      <a:pt x="406" y="1864"/>
                    </a:lnTo>
                    <a:lnTo>
                      <a:pt x="404" y="1858"/>
                    </a:lnTo>
                    <a:lnTo>
                      <a:pt x="400" y="1852"/>
                    </a:lnTo>
                    <a:lnTo>
                      <a:pt x="396" y="1850"/>
                    </a:lnTo>
                    <a:lnTo>
                      <a:pt x="390" y="1848"/>
                    </a:lnTo>
                    <a:lnTo>
                      <a:pt x="390" y="1848"/>
                    </a:lnTo>
                    <a:lnTo>
                      <a:pt x="380" y="1844"/>
                    </a:lnTo>
                    <a:lnTo>
                      <a:pt x="376" y="1842"/>
                    </a:lnTo>
                    <a:lnTo>
                      <a:pt x="372" y="1836"/>
                    </a:lnTo>
                    <a:lnTo>
                      <a:pt x="366" y="1822"/>
                    </a:lnTo>
                    <a:lnTo>
                      <a:pt x="366" y="1822"/>
                    </a:lnTo>
                    <a:lnTo>
                      <a:pt x="360" y="1806"/>
                    </a:lnTo>
                    <a:lnTo>
                      <a:pt x="358" y="1794"/>
                    </a:lnTo>
                    <a:lnTo>
                      <a:pt x="356" y="1786"/>
                    </a:lnTo>
                    <a:lnTo>
                      <a:pt x="354" y="1782"/>
                    </a:lnTo>
                    <a:lnTo>
                      <a:pt x="352" y="1780"/>
                    </a:lnTo>
                    <a:lnTo>
                      <a:pt x="352" y="1780"/>
                    </a:lnTo>
                    <a:lnTo>
                      <a:pt x="346" y="1774"/>
                    </a:lnTo>
                    <a:lnTo>
                      <a:pt x="342" y="1768"/>
                    </a:lnTo>
                    <a:lnTo>
                      <a:pt x="336" y="1762"/>
                    </a:lnTo>
                    <a:lnTo>
                      <a:pt x="322" y="1756"/>
                    </a:lnTo>
                    <a:lnTo>
                      <a:pt x="322" y="1756"/>
                    </a:lnTo>
                    <a:lnTo>
                      <a:pt x="314" y="1754"/>
                    </a:lnTo>
                    <a:lnTo>
                      <a:pt x="310" y="1754"/>
                    </a:lnTo>
                    <a:lnTo>
                      <a:pt x="308" y="1754"/>
                    </a:lnTo>
                    <a:lnTo>
                      <a:pt x="306" y="1756"/>
                    </a:lnTo>
                    <a:lnTo>
                      <a:pt x="302" y="1758"/>
                    </a:lnTo>
                    <a:lnTo>
                      <a:pt x="298" y="1760"/>
                    </a:lnTo>
                    <a:lnTo>
                      <a:pt x="290" y="1758"/>
                    </a:lnTo>
                    <a:lnTo>
                      <a:pt x="290" y="1758"/>
                    </a:lnTo>
                    <a:lnTo>
                      <a:pt x="286" y="1758"/>
                    </a:lnTo>
                    <a:lnTo>
                      <a:pt x="288" y="1756"/>
                    </a:lnTo>
                    <a:lnTo>
                      <a:pt x="294" y="1754"/>
                    </a:lnTo>
                    <a:lnTo>
                      <a:pt x="300" y="1748"/>
                    </a:lnTo>
                    <a:lnTo>
                      <a:pt x="300" y="1748"/>
                    </a:lnTo>
                    <a:lnTo>
                      <a:pt x="302" y="1746"/>
                    </a:lnTo>
                    <a:lnTo>
                      <a:pt x="304" y="1746"/>
                    </a:lnTo>
                    <a:lnTo>
                      <a:pt x="308" y="1746"/>
                    </a:lnTo>
                    <a:lnTo>
                      <a:pt x="316" y="1742"/>
                    </a:lnTo>
                    <a:lnTo>
                      <a:pt x="316" y="1742"/>
                    </a:lnTo>
                    <a:lnTo>
                      <a:pt x="318" y="1742"/>
                    </a:lnTo>
                    <a:lnTo>
                      <a:pt x="318" y="1740"/>
                    </a:lnTo>
                    <a:lnTo>
                      <a:pt x="316" y="1738"/>
                    </a:lnTo>
                    <a:lnTo>
                      <a:pt x="310" y="1736"/>
                    </a:lnTo>
                    <a:lnTo>
                      <a:pt x="308" y="1734"/>
                    </a:lnTo>
                    <a:lnTo>
                      <a:pt x="308" y="1734"/>
                    </a:lnTo>
                    <a:lnTo>
                      <a:pt x="308" y="1734"/>
                    </a:lnTo>
                    <a:lnTo>
                      <a:pt x="308" y="1730"/>
                    </a:lnTo>
                    <a:lnTo>
                      <a:pt x="304" y="1728"/>
                    </a:lnTo>
                    <a:lnTo>
                      <a:pt x="304" y="1726"/>
                    </a:lnTo>
                    <a:lnTo>
                      <a:pt x="306" y="1728"/>
                    </a:lnTo>
                    <a:lnTo>
                      <a:pt x="306" y="1728"/>
                    </a:lnTo>
                    <a:lnTo>
                      <a:pt x="312" y="1728"/>
                    </a:lnTo>
                    <a:lnTo>
                      <a:pt x="314" y="1728"/>
                    </a:lnTo>
                    <a:lnTo>
                      <a:pt x="318" y="1726"/>
                    </a:lnTo>
                    <a:lnTo>
                      <a:pt x="326" y="1716"/>
                    </a:lnTo>
                    <a:lnTo>
                      <a:pt x="334" y="1696"/>
                    </a:lnTo>
                    <a:lnTo>
                      <a:pt x="334" y="1696"/>
                    </a:lnTo>
                    <a:lnTo>
                      <a:pt x="342" y="1678"/>
                    </a:lnTo>
                    <a:lnTo>
                      <a:pt x="348" y="1668"/>
                    </a:lnTo>
                    <a:lnTo>
                      <a:pt x="350" y="1664"/>
                    </a:lnTo>
                    <a:lnTo>
                      <a:pt x="348" y="1656"/>
                    </a:lnTo>
                    <a:lnTo>
                      <a:pt x="348" y="1656"/>
                    </a:lnTo>
                    <a:lnTo>
                      <a:pt x="346" y="1652"/>
                    </a:lnTo>
                    <a:lnTo>
                      <a:pt x="342" y="1650"/>
                    </a:lnTo>
                    <a:lnTo>
                      <a:pt x="332" y="1650"/>
                    </a:lnTo>
                    <a:lnTo>
                      <a:pt x="320" y="1650"/>
                    </a:lnTo>
                    <a:lnTo>
                      <a:pt x="302" y="1650"/>
                    </a:lnTo>
                    <a:lnTo>
                      <a:pt x="302" y="1650"/>
                    </a:lnTo>
                    <a:lnTo>
                      <a:pt x="286" y="1650"/>
                    </a:lnTo>
                    <a:lnTo>
                      <a:pt x="274" y="1652"/>
                    </a:lnTo>
                    <a:lnTo>
                      <a:pt x="268" y="1656"/>
                    </a:lnTo>
                    <a:lnTo>
                      <a:pt x="262" y="1658"/>
                    </a:lnTo>
                    <a:lnTo>
                      <a:pt x="262" y="1658"/>
                    </a:lnTo>
                    <a:lnTo>
                      <a:pt x="258" y="1658"/>
                    </a:lnTo>
                    <a:lnTo>
                      <a:pt x="258" y="1654"/>
                    </a:lnTo>
                    <a:lnTo>
                      <a:pt x="268" y="1644"/>
                    </a:lnTo>
                    <a:lnTo>
                      <a:pt x="268" y="1644"/>
                    </a:lnTo>
                    <a:lnTo>
                      <a:pt x="270" y="1642"/>
                    </a:lnTo>
                    <a:lnTo>
                      <a:pt x="268" y="1642"/>
                    </a:lnTo>
                    <a:lnTo>
                      <a:pt x="264" y="1642"/>
                    </a:lnTo>
                    <a:lnTo>
                      <a:pt x="258" y="1642"/>
                    </a:lnTo>
                    <a:lnTo>
                      <a:pt x="258" y="1642"/>
                    </a:lnTo>
                    <a:lnTo>
                      <a:pt x="260" y="1640"/>
                    </a:lnTo>
                    <a:lnTo>
                      <a:pt x="260" y="1640"/>
                    </a:lnTo>
                    <a:lnTo>
                      <a:pt x="270" y="1632"/>
                    </a:lnTo>
                    <a:lnTo>
                      <a:pt x="284" y="1620"/>
                    </a:lnTo>
                    <a:lnTo>
                      <a:pt x="296" y="1608"/>
                    </a:lnTo>
                    <a:lnTo>
                      <a:pt x="300" y="1604"/>
                    </a:lnTo>
                    <a:lnTo>
                      <a:pt x="300" y="1600"/>
                    </a:lnTo>
                    <a:lnTo>
                      <a:pt x="300" y="1600"/>
                    </a:lnTo>
                    <a:lnTo>
                      <a:pt x="298" y="1598"/>
                    </a:lnTo>
                    <a:lnTo>
                      <a:pt x="298" y="1596"/>
                    </a:lnTo>
                    <a:lnTo>
                      <a:pt x="300" y="1592"/>
                    </a:lnTo>
                    <a:lnTo>
                      <a:pt x="300" y="1590"/>
                    </a:lnTo>
                    <a:lnTo>
                      <a:pt x="300" y="1590"/>
                    </a:lnTo>
                    <a:lnTo>
                      <a:pt x="292" y="1588"/>
                    </a:lnTo>
                    <a:lnTo>
                      <a:pt x="292" y="1588"/>
                    </a:lnTo>
                    <a:lnTo>
                      <a:pt x="286" y="1588"/>
                    </a:lnTo>
                    <a:lnTo>
                      <a:pt x="284" y="1590"/>
                    </a:lnTo>
                    <a:lnTo>
                      <a:pt x="284" y="1592"/>
                    </a:lnTo>
                    <a:lnTo>
                      <a:pt x="280" y="1592"/>
                    </a:lnTo>
                    <a:lnTo>
                      <a:pt x="280" y="1592"/>
                    </a:lnTo>
                    <a:lnTo>
                      <a:pt x="272" y="1592"/>
                    </a:lnTo>
                    <a:lnTo>
                      <a:pt x="262" y="1594"/>
                    </a:lnTo>
                    <a:lnTo>
                      <a:pt x="254" y="1596"/>
                    </a:lnTo>
                    <a:lnTo>
                      <a:pt x="246" y="1596"/>
                    </a:lnTo>
                    <a:lnTo>
                      <a:pt x="246" y="1596"/>
                    </a:lnTo>
                    <a:lnTo>
                      <a:pt x="242" y="1594"/>
                    </a:lnTo>
                    <a:lnTo>
                      <a:pt x="238" y="1596"/>
                    </a:lnTo>
                    <a:lnTo>
                      <a:pt x="236" y="1596"/>
                    </a:lnTo>
                    <a:lnTo>
                      <a:pt x="232" y="1594"/>
                    </a:lnTo>
                    <a:lnTo>
                      <a:pt x="232" y="1594"/>
                    </a:lnTo>
                    <a:lnTo>
                      <a:pt x="226" y="1592"/>
                    </a:lnTo>
                    <a:lnTo>
                      <a:pt x="222" y="1590"/>
                    </a:lnTo>
                    <a:lnTo>
                      <a:pt x="218" y="1594"/>
                    </a:lnTo>
                    <a:lnTo>
                      <a:pt x="218" y="1600"/>
                    </a:lnTo>
                    <a:lnTo>
                      <a:pt x="218" y="1600"/>
                    </a:lnTo>
                    <a:lnTo>
                      <a:pt x="218" y="1602"/>
                    </a:lnTo>
                    <a:lnTo>
                      <a:pt x="218" y="1604"/>
                    </a:lnTo>
                    <a:lnTo>
                      <a:pt x="214" y="1606"/>
                    </a:lnTo>
                    <a:lnTo>
                      <a:pt x="212" y="1606"/>
                    </a:lnTo>
                    <a:lnTo>
                      <a:pt x="216" y="1612"/>
                    </a:lnTo>
                    <a:lnTo>
                      <a:pt x="216" y="1612"/>
                    </a:lnTo>
                    <a:lnTo>
                      <a:pt x="218" y="1616"/>
                    </a:lnTo>
                    <a:lnTo>
                      <a:pt x="218" y="1616"/>
                    </a:lnTo>
                    <a:lnTo>
                      <a:pt x="212" y="1616"/>
                    </a:lnTo>
                    <a:lnTo>
                      <a:pt x="206" y="1614"/>
                    </a:lnTo>
                    <a:lnTo>
                      <a:pt x="206" y="1614"/>
                    </a:lnTo>
                    <a:lnTo>
                      <a:pt x="206" y="1618"/>
                    </a:lnTo>
                    <a:lnTo>
                      <a:pt x="206" y="1618"/>
                    </a:lnTo>
                    <a:lnTo>
                      <a:pt x="210" y="1622"/>
                    </a:lnTo>
                    <a:lnTo>
                      <a:pt x="210" y="1624"/>
                    </a:lnTo>
                    <a:lnTo>
                      <a:pt x="210" y="1626"/>
                    </a:lnTo>
                    <a:lnTo>
                      <a:pt x="208" y="1626"/>
                    </a:lnTo>
                    <a:lnTo>
                      <a:pt x="204" y="1626"/>
                    </a:lnTo>
                    <a:lnTo>
                      <a:pt x="202" y="1626"/>
                    </a:lnTo>
                    <a:lnTo>
                      <a:pt x="204" y="1628"/>
                    </a:lnTo>
                    <a:lnTo>
                      <a:pt x="204" y="1628"/>
                    </a:lnTo>
                    <a:lnTo>
                      <a:pt x="206" y="1632"/>
                    </a:lnTo>
                    <a:lnTo>
                      <a:pt x="206" y="1636"/>
                    </a:lnTo>
                    <a:lnTo>
                      <a:pt x="206" y="1638"/>
                    </a:lnTo>
                    <a:lnTo>
                      <a:pt x="202" y="1638"/>
                    </a:lnTo>
                    <a:lnTo>
                      <a:pt x="202" y="1638"/>
                    </a:lnTo>
                    <a:lnTo>
                      <a:pt x="190" y="1638"/>
                    </a:lnTo>
                    <a:lnTo>
                      <a:pt x="188" y="1640"/>
                    </a:lnTo>
                    <a:lnTo>
                      <a:pt x="188" y="1646"/>
                    </a:lnTo>
                    <a:lnTo>
                      <a:pt x="188" y="1646"/>
                    </a:lnTo>
                    <a:lnTo>
                      <a:pt x="190" y="1650"/>
                    </a:lnTo>
                    <a:lnTo>
                      <a:pt x="190" y="1654"/>
                    </a:lnTo>
                    <a:lnTo>
                      <a:pt x="188" y="1660"/>
                    </a:lnTo>
                    <a:lnTo>
                      <a:pt x="188" y="1668"/>
                    </a:lnTo>
                    <a:lnTo>
                      <a:pt x="188" y="1668"/>
                    </a:lnTo>
                    <a:lnTo>
                      <a:pt x="188" y="1672"/>
                    </a:lnTo>
                    <a:lnTo>
                      <a:pt x="190" y="1674"/>
                    </a:lnTo>
                    <a:lnTo>
                      <a:pt x="194" y="1674"/>
                    </a:lnTo>
                    <a:lnTo>
                      <a:pt x="196" y="1676"/>
                    </a:lnTo>
                    <a:lnTo>
                      <a:pt x="194" y="1682"/>
                    </a:lnTo>
                    <a:lnTo>
                      <a:pt x="194" y="1682"/>
                    </a:lnTo>
                    <a:lnTo>
                      <a:pt x="192" y="1686"/>
                    </a:lnTo>
                    <a:lnTo>
                      <a:pt x="190" y="1690"/>
                    </a:lnTo>
                    <a:lnTo>
                      <a:pt x="188" y="1690"/>
                    </a:lnTo>
                    <a:lnTo>
                      <a:pt x="190" y="1692"/>
                    </a:lnTo>
                    <a:lnTo>
                      <a:pt x="190" y="1692"/>
                    </a:lnTo>
                    <a:lnTo>
                      <a:pt x="190" y="1694"/>
                    </a:lnTo>
                    <a:lnTo>
                      <a:pt x="190" y="1696"/>
                    </a:lnTo>
                    <a:lnTo>
                      <a:pt x="186" y="1698"/>
                    </a:lnTo>
                    <a:lnTo>
                      <a:pt x="184" y="1700"/>
                    </a:lnTo>
                    <a:lnTo>
                      <a:pt x="188" y="1702"/>
                    </a:lnTo>
                    <a:lnTo>
                      <a:pt x="188" y="1702"/>
                    </a:lnTo>
                    <a:lnTo>
                      <a:pt x="188" y="1704"/>
                    </a:lnTo>
                    <a:lnTo>
                      <a:pt x="186" y="1706"/>
                    </a:lnTo>
                    <a:lnTo>
                      <a:pt x="182" y="1708"/>
                    </a:lnTo>
                    <a:lnTo>
                      <a:pt x="178" y="1708"/>
                    </a:lnTo>
                    <a:lnTo>
                      <a:pt x="178" y="1708"/>
                    </a:lnTo>
                    <a:lnTo>
                      <a:pt x="174" y="1708"/>
                    </a:lnTo>
                    <a:lnTo>
                      <a:pt x="172" y="1710"/>
                    </a:lnTo>
                    <a:lnTo>
                      <a:pt x="172" y="1712"/>
                    </a:lnTo>
                    <a:lnTo>
                      <a:pt x="174" y="1714"/>
                    </a:lnTo>
                    <a:lnTo>
                      <a:pt x="182" y="1714"/>
                    </a:lnTo>
                    <a:lnTo>
                      <a:pt x="182" y="1714"/>
                    </a:lnTo>
                    <a:lnTo>
                      <a:pt x="190" y="1712"/>
                    </a:lnTo>
                    <a:lnTo>
                      <a:pt x="192" y="1714"/>
                    </a:lnTo>
                    <a:lnTo>
                      <a:pt x="184" y="1716"/>
                    </a:lnTo>
                    <a:lnTo>
                      <a:pt x="184" y="1716"/>
                    </a:lnTo>
                    <a:lnTo>
                      <a:pt x="180" y="1718"/>
                    </a:lnTo>
                    <a:lnTo>
                      <a:pt x="180" y="1720"/>
                    </a:lnTo>
                    <a:lnTo>
                      <a:pt x="184" y="1722"/>
                    </a:lnTo>
                    <a:lnTo>
                      <a:pt x="188" y="1722"/>
                    </a:lnTo>
                    <a:lnTo>
                      <a:pt x="188" y="1722"/>
                    </a:lnTo>
                    <a:lnTo>
                      <a:pt x="190" y="1722"/>
                    </a:lnTo>
                    <a:lnTo>
                      <a:pt x="192" y="1724"/>
                    </a:lnTo>
                    <a:lnTo>
                      <a:pt x="196" y="1724"/>
                    </a:lnTo>
                    <a:lnTo>
                      <a:pt x="200" y="1720"/>
                    </a:lnTo>
                    <a:lnTo>
                      <a:pt x="200" y="1720"/>
                    </a:lnTo>
                    <a:lnTo>
                      <a:pt x="208" y="1714"/>
                    </a:lnTo>
                    <a:lnTo>
                      <a:pt x="206" y="1720"/>
                    </a:lnTo>
                    <a:lnTo>
                      <a:pt x="206" y="1720"/>
                    </a:lnTo>
                    <a:lnTo>
                      <a:pt x="202" y="1726"/>
                    </a:lnTo>
                    <a:lnTo>
                      <a:pt x="202" y="1730"/>
                    </a:lnTo>
                    <a:lnTo>
                      <a:pt x="202" y="1734"/>
                    </a:lnTo>
                    <a:lnTo>
                      <a:pt x="198" y="1738"/>
                    </a:lnTo>
                    <a:lnTo>
                      <a:pt x="198" y="1738"/>
                    </a:lnTo>
                    <a:lnTo>
                      <a:pt x="196" y="1740"/>
                    </a:lnTo>
                    <a:lnTo>
                      <a:pt x="196" y="1744"/>
                    </a:lnTo>
                    <a:lnTo>
                      <a:pt x="198" y="1748"/>
                    </a:lnTo>
                    <a:lnTo>
                      <a:pt x="194" y="1754"/>
                    </a:lnTo>
                    <a:lnTo>
                      <a:pt x="194" y="1754"/>
                    </a:lnTo>
                    <a:lnTo>
                      <a:pt x="192" y="1758"/>
                    </a:lnTo>
                    <a:lnTo>
                      <a:pt x="192" y="1762"/>
                    </a:lnTo>
                    <a:lnTo>
                      <a:pt x="194" y="1764"/>
                    </a:lnTo>
                    <a:lnTo>
                      <a:pt x="194" y="1768"/>
                    </a:lnTo>
                    <a:lnTo>
                      <a:pt x="194" y="1768"/>
                    </a:lnTo>
                    <a:lnTo>
                      <a:pt x="194" y="1772"/>
                    </a:lnTo>
                    <a:lnTo>
                      <a:pt x="194" y="1774"/>
                    </a:lnTo>
                    <a:lnTo>
                      <a:pt x="200" y="1770"/>
                    </a:lnTo>
                    <a:lnTo>
                      <a:pt x="200" y="1770"/>
                    </a:lnTo>
                    <a:lnTo>
                      <a:pt x="198" y="1774"/>
                    </a:lnTo>
                    <a:lnTo>
                      <a:pt x="194" y="1784"/>
                    </a:lnTo>
                    <a:lnTo>
                      <a:pt x="188" y="1794"/>
                    </a:lnTo>
                    <a:lnTo>
                      <a:pt x="188" y="1800"/>
                    </a:lnTo>
                    <a:lnTo>
                      <a:pt x="192" y="1802"/>
                    </a:lnTo>
                    <a:lnTo>
                      <a:pt x="192" y="1802"/>
                    </a:lnTo>
                    <a:lnTo>
                      <a:pt x="194" y="1802"/>
                    </a:lnTo>
                    <a:lnTo>
                      <a:pt x="196" y="1800"/>
                    </a:lnTo>
                    <a:lnTo>
                      <a:pt x="198" y="1792"/>
                    </a:lnTo>
                    <a:lnTo>
                      <a:pt x="202" y="1780"/>
                    </a:lnTo>
                    <a:lnTo>
                      <a:pt x="204" y="1776"/>
                    </a:lnTo>
                    <a:lnTo>
                      <a:pt x="206" y="1772"/>
                    </a:lnTo>
                    <a:lnTo>
                      <a:pt x="206" y="1772"/>
                    </a:lnTo>
                    <a:lnTo>
                      <a:pt x="208" y="1770"/>
                    </a:lnTo>
                    <a:lnTo>
                      <a:pt x="208" y="1768"/>
                    </a:lnTo>
                    <a:lnTo>
                      <a:pt x="204" y="1764"/>
                    </a:lnTo>
                    <a:lnTo>
                      <a:pt x="202" y="1760"/>
                    </a:lnTo>
                    <a:lnTo>
                      <a:pt x="204" y="1758"/>
                    </a:lnTo>
                    <a:lnTo>
                      <a:pt x="206" y="1756"/>
                    </a:lnTo>
                    <a:lnTo>
                      <a:pt x="206" y="1756"/>
                    </a:lnTo>
                    <a:lnTo>
                      <a:pt x="210" y="1754"/>
                    </a:lnTo>
                    <a:lnTo>
                      <a:pt x="208" y="1756"/>
                    </a:lnTo>
                    <a:lnTo>
                      <a:pt x="208" y="1762"/>
                    </a:lnTo>
                    <a:lnTo>
                      <a:pt x="208" y="1764"/>
                    </a:lnTo>
                    <a:lnTo>
                      <a:pt x="210" y="1766"/>
                    </a:lnTo>
                    <a:lnTo>
                      <a:pt x="210" y="1766"/>
                    </a:lnTo>
                    <a:lnTo>
                      <a:pt x="214" y="1766"/>
                    </a:lnTo>
                    <a:lnTo>
                      <a:pt x="216" y="1764"/>
                    </a:lnTo>
                    <a:lnTo>
                      <a:pt x="216" y="1762"/>
                    </a:lnTo>
                    <a:lnTo>
                      <a:pt x="220" y="1764"/>
                    </a:lnTo>
                    <a:lnTo>
                      <a:pt x="220" y="1764"/>
                    </a:lnTo>
                    <a:lnTo>
                      <a:pt x="222" y="1764"/>
                    </a:lnTo>
                    <a:lnTo>
                      <a:pt x="222" y="1764"/>
                    </a:lnTo>
                    <a:lnTo>
                      <a:pt x="224" y="1758"/>
                    </a:lnTo>
                    <a:lnTo>
                      <a:pt x="224" y="1756"/>
                    </a:lnTo>
                    <a:lnTo>
                      <a:pt x="228" y="1756"/>
                    </a:lnTo>
                    <a:lnTo>
                      <a:pt x="232" y="1758"/>
                    </a:lnTo>
                    <a:lnTo>
                      <a:pt x="238" y="1762"/>
                    </a:lnTo>
                    <a:lnTo>
                      <a:pt x="238" y="1762"/>
                    </a:lnTo>
                    <a:lnTo>
                      <a:pt x="230" y="1764"/>
                    </a:lnTo>
                    <a:lnTo>
                      <a:pt x="224" y="1766"/>
                    </a:lnTo>
                    <a:lnTo>
                      <a:pt x="224" y="1768"/>
                    </a:lnTo>
                    <a:lnTo>
                      <a:pt x="224" y="1772"/>
                    </a:lnTo>
                    <a:lnTo>
                      <a:pt x="230" y="1780"/>
                    </a:lnTo>
                    <a:lnTo>
                      <a:pt x="230" y="1780"/>
                    </a:lnTo>
                    <a:lnTo>
                      <a:pt x="234" y="1786"/>
                    </a:lnTo>
                    <a:lnTo>
                      <a:pt x="234" y="1790"/>
                    </a:lnTo>
                    <a:lnTo>
                      <a:pt x="234" y="1794"/>
                    </a:lnTo>
                    <a:lnTo>
                      <a:pt x="230" y="1798"/>
                    </a:lnTo>
                    <a:lnTo>
                      <a:pt x="224" y="1806"/>
                    </a:lnTo>
                    <a:lnTo>
                      <a:pt x="222" y="1810"/>
                    </a:lnTo>
                    <a:lnTo>
                      <a:pt x="220" y="1816"/>
                    </a:lnTo>
                    <a:lnTo>
                      <a:pt x="220" y="1816"/>
                    </a:lnTo>
                    <a:lnTo>
                      <a:pt x="222" y="1822"/>
                    </a:lnTo>
                    <a:lnTo>
                      <a:pt x="220" y="1822"/>
                    </a:lnTo>
                    <a:lnTo>
                      <a:pt x="216" y="1818"/>
                    </a:lnTo>
                    <a:lnTo>
                      <a:pt x="216" y="1818"/>
                    </a:lnTo>
                    <a:lnTo>
                      <a:pt x="214" y="1820"/>
                    </a:lnTo>
                    <a:lnTo>
                      <a:pt x="214" y="1820"/>
                    </a:lnTo>
                    <a:lnTo>
                      <a:pt x="214" y="1822"/>
                    </a:lnTo>
                    <a:lnTo>
                      <a:pt x="214" y="1826"/>
                    </a:lnTo>
                    <a:lnTo>
                      <a:pt x="220" y="1834"/>
                    </a:lnTo>
                    <a:lnTo>
                      <a:pt x="224" y="1840"/>
                    </a:lnTo>
                    <a:lnTo>
                      <a:pt x="224" y="1838"/>
                    </a:lnTo>
                    <a:lnTo>
                      <a:pt x="224" y="1836"/>
                    </a:lnTo>
                    <a:lnTo>
                      <a:pt x="224" y="1836"/>
                    </a:lnTo>
                    <a:lnTo>
                      <a:pt x="222" y="1830"/>
                    </a:lnTo>
                    <a:lnTo>
                      <a:pt x="224" y="1828"/>
                    </a:lnTo>
                    <a:lnTo>
                      <a:pt x="224" y="1828"/>
                    </a:lnTo>
                    <a:lnTo>
                      <a:pt x="228" y="1828"/>
                    </a:lnTo>
                    <a:lnTo>
                      <a:pt x="234" y="1832"/>
                    </a:lnTo>
                    <a:lnTo>
                      <a:pt x="240" y="1838"/>
                    </a:lnTo>
                    <a:lnTo>
                      <a:pt x="240" y="1838"/>
                    </a:lnTo>
                    <a:lnTo>
                      <a:pt x="244" y="1840"/>
                    </a:lnTo>
                    <a:lnTo>
                      <a:pt x="246" y="1838"/>
                    </a:lnTo>
                    <a:lnTo>
                      <a:pt x="246" y="1834"/>
                    </a:lnTo>
                    <a:lnTo>
                      <a:pt x="246" y="1828"/>
                    </a:lnTo>
                    <a:lnTo>
                      <a:pt x="246" y="1828"/>
                    </a:lnTo>
                    <a:lnTo>
                      <a:pt x="246" y="1826"/>
                    </a:lnTo>
                    <a:lnTo>
                      <a:pt x="246" y="1828"/>
                    </a:lnTo>
                    <a:lnTo>
                      <a:pt x="252" y="1830"/>
                    </a:lnTo>
                    <a:lnTo>
                      <a:pt x="260" y="1834"/>
                    </a:lnTo>
                    <a:lnTo>
                      <a:pt x="264" y="1834"/>
                    </a:lnTo>
                    <a:lnTo>
                      <a:pt x="266" y="1830"/>
                    </a:lnTo>
                    <a:lnTo>
                      <a:pt x="266" y="1830"/>
                    </a:lnTo>
                    <a:lnTo>
                      <a:pt x="270" y="1826"/>
                    </a:lnTo>
                    <a:lnTo>
                      <a:pt x="274" y="1826"/>
                    </a:lnTo>
                    <a:lnTo>
                      <a:pt x="276" y="1828"/>
                    </a:lnTo>
                    <a:lnTo>
                      <a:pt x="278" y="1824"/>
                    </a:lnTo>
                    <a:lnTo>
                      <a:pt x="278" y="1824"/>
                    </a:lnTo>
                    <a:lnTo>
                      <a:pt x="282" y="1822"/>
                    </a:lnTo>
                    <a:lnTo>
                      <a:pt x="286" y="1820"/>
                    </a:lnTo>
                    <a:lnTo>
                      <a:pt x="292" y="1820"/>
                    </a:lnTo>
                    <a:lnTo>
                      <a:pt x="292" y="1822"/>
                    </a:lnTo>
                    <a:lnTo>
                      <a:pt x="292" y="1822"/>
                    </a:lnTo>
                    <a:lnTo>
                      <a:pt x="292" y="1822"/>
                    </a:lnTo>
                    <a:lnTo>
                      <a:pt x="288" y="1826"/>
                    </a:lnTo>
                    <a:lnTo>
                      <a:pt x="280" y="1838"/>
                    </a:lnTo>
                    <a:lnTo>
                      <a:pt x="280" y="1838"/>
                    </a:lnTo>
                    <a:lnTo>
                      <a:pt x="276" y="1844"/>
                    </a:lnTo>
                    <a:lnTo>
                      <a:pt x="276" y="1850"/>
                    </a:lnTo>
                    <a:lnTo>
                      <a:pt x="276" y="1854"/>
                    </a:lnTo>
                    <a:lnTo>
                      <a:pt x="278" y="1858"/>
                    </a:lnTo>
                    <a:lnTo>
                      <a:pt x="286" y="1866"/>
                    </a:lnTo>
                    <a:lnTo>
                      <a:pt x="292" y="1872"/>
                    </a:lnTo>
                    <a:lnTo>
                      <a:pt x="292" y="1872"/>
                    </a:lnTo>
                    <a:lnTo>
                      <a:pt x="294" y="1876"/>
                    </a:lnTo>
                    <a:lnTo>
                      <a:pt x="296" y="1874"/>
                    </a:lnTo>
                    <a:lnTo>
                      <a:pt x="300" y="1872"/>
                    </a:lnTo>
                    <a:lnTo>
                      <a:pt x="302" y="1870"/>
                    </a:lnTo>
                    <a:lnTo>
                      <a:pt x="304" y="1870"/>
                    </a:lnTo>
                    <a:lnTo>
                      <a:pt x="304" y="1870"/>
                    </a:lnTo>
                    <a:lnTo>
                      <a:pt x="308" y="1870"/>
                    </a:lnTo>
                    <a:lnTo>
                      <a:pt x="308" y="1872"/>
                    </a:lnTo>
                    <a:lnTo>
                      <a:pt x="308" y="1874"/>
                    </a:lnTo>
                    <a:lnTo>
                      <a:pt x="306" y="1878"/>
                    </a:lnTo>
                    <a:lnTo>
                      <a:pt x="306" y="1880"/>
                    </a:lnTo>
                    <a:lnTo>
                      <a:pt x="306" y="1882"/>
                    </a:lnTo>
                    <a:lnTo>
                      <a:pt x="306" y="1882"/>
                    </a:lnTo>
                    <a:lnTo>
                      <a:pt x="308" y="1882"/>
                    </a:lnTo>
                    <a:lnTo>
                      <a:pt x="306" y="1884"/>
                    </a:lnTo>
                    <a:lnTo>
                      <a:pt x="300" y="1888"/>
                    </a:lnTo>
                    <a:lnTo>
                      <a:pt x="298" y="1890"/>
                    </a:lnTo>
                    <a:lnTo>
                      <a:pt x="298" y="1892"/>
                    </a:lnTo>
                    <a:lnTo>
                      <a:pt x="298" y="1894"/>
                    </a:lnTo>
                    <a:lnTo>
                      <a:pt x="302" y="1896"/>
                    </a:lnTo>
                    <a:lnTo>
                      <a:pt x="302" y="1896"/>
                    </a:lnTo>
                    <a:lnTo>
                      <a:pt x="304" y="1898"/>
                    </a:lnTo>
                    <a:lnTo>
                      <a:pt x="304" y="1898"/>
                    </a:lnTo>
                    <a:lnTo>
                      <a:pt x="302" y="1900"/>
                    </a:lnTo>
                    <a:lnTo>
                      <a:pt x="300" y="1902"/>
                    </a:lnTo>
                    <a:lnTo>
                      <a:pt x="300" y="1906"/>
                    </a:lnTo>
                    <a:lnTo>
                      <a:pt x="300" y="1910"/>
                    </a:lnTo>
                    <a:lnTo>
                      <a:pt x="302" y="1916"/>
                    </a:lnTo>
                    <a:lnTo>
                      <a:pt x="302" y="1916"/>
                    </a:lnTo>
                    <a:lnTo>
                      <a:pt x="308" y="1924"/>
                    </a:lnTo>
                    <a:lnTo>
                      <a:pt x="304" y="1922"/>
                    </a:lnTo>
                    <a:lnTo>
                      <a:pt x="304" y="1922"/>
                    </a:lnTo>
                    <a:lnTo>
                      <a:pt x="300" y="1918"/>
                    </a:lnTo>
                    <a:lnTo>
                      <a:pt x="296" y="1916"/>
                    </a:lnTo>
                    <a:lnTo>
                      <a:pt x="294" y="1918"/>
                    </a:lnTo>
                    <a:lnTo>
                      <a:pt x="296" y="1922"/>
                    </a:lnTo>
                    <a:lnTo>
                      <a:pt x="296" y="1922"/>
                    </a:lnTo>
                    <a:lnTo>
                      <a:pt x="298" y="1926"/>
                    </a:lnTo>
                    <a:lnTo>
                      <a:pt x="294" y="1924"/>
                    </a:lnTo>
                    <a:lnTo>
                      <a:pt x="290" y="1922"/>
                    </a:lnTo>
                    <a:lnTo>
                      <a:pt x="286" y="1922"/>
                    </a:lnTo>
                    <a:lnTo>
                      <a:pt x="282" y="1922"/>
                    </a:lnTo>
                    <a:lnTo>
                      <a:pt x="282" y="1922"/>
                    </a:lnTo>
                    <a:lnTo>
                      <a:pt x="276" y="1924"/>
                    </a:lnTo>
                    <a:lnTo>
                      <a:pt x="272" y="1924"/>
                    </a:lnTo>
                    <a:lnTo>
                      <a:pt x="270" y="1922"/>
                    </a:lnTo>
                    <a:lnTo>
                      <a:pt x="266" y="1924"/>
                    </a:lnTo>
                    <a:lnTo>
                      <a:pt x="266" y="1924"/>
                    </a:lnTo>
                    <a:lnTo>
                      <a:pt x="264" y="1926"/>
                    </a:lnTo>
                    <a:lnTo>
                      <a:pt x="260" y="1926"/>
                    </a:lnTo>
                    <a:lnTo>
                      <a:pt x="256" y="1928"/>
                    </a:lnTo>
                    <a:lnTo>
                      <a:pt x="252" y="1932"/>
                    </a:lnTo>
                    <a:lnTo>
                      <a:pt x="252" y="1932"/>
                    </a:lnTo>
                    <a:lnTo>
                      <a:pt x="246" y="1940"/>
                    </a:lnTo>
                    <a:lnTo>
                      <a:pt x="240" y="1944"/>
                    </a:lnTo>
                    <a:lnTo>
                      <a:pt x="236" y="1946"/>
                    </a:lnTo>
                    <a:lnTo>
                      <a:pt x="232" y="1950"/>
                    </a:lnTo>
                    <a:lnTo>
                      <a:pt x="232" y="1950"/>
                    </a:lnTo>
                    <a:lnTo>
                      <a:pt x="230" y="1956"/>
                    </a:lnTo>
                    <a:lnTo>
                      <a:pt x="230" y="1956"/>
                    </a:lnTo>
                    <a:lnTo>
                      <a:pt x="234" y="1954"/>
                    </a:lnTo>
                    <a:lnTo>
                      <a:pt x="238" y="1954"/>
                    </a:lnTo>
                    <a:lnTo>
                      <a:pt x="238" y="1954"/>
                    </a:lnTo>
                    <a:lnTo>
                      <a:pt x="240" y="1954"/>
                    </a:lnTo>
                    <a:lnTo>
                      <a:pt x="244" y="1952"/>
                    </a:lnTo>
                    <a:lnTo>
                      <a:pt x="252" y="1948"/>
                    </a:lnTo>
                    <a:lnTo>
                      <a:pt x="256" y="1946"/>
                    </a:lnTo>
                    <a:lnTo>
                      <a:pt x="258" y="1946"/>
                    </a:lnTo>
                    <a:lnTo>
                      <a:pt x="256" y="1948"/>
                    </a:lnTo>
                    <a:lnTo>
                      <a:pt x="256" y="1948"/>
                    </a:lnTo>
                    <a:lnTo>
                      <a:pt x="256" y="1954"/>
                    </a:lnTo>
                    <a:lnTo>
                      <a:pt x="258" y="1954"/>
                    </a:lnTo>
                    <a:lnTo>
                      <a:pt x="260" y="1956"/>
                    </a:lnTo>
                    <a:lnTo>
                      <a:pt x="258" y="1960"/>
                    </a:lnTo>
                    <a:lnTo>
                      <a:pt x="258" y="1960"/>
                    </a:lnTo>
                    <a:lnTo>
                      <a:pt x="256" y="1964"/>
                    </a:lnTo>
                    <a:lnTo>
                      <a:pt x="256" y="1968"/>
                    </a:lnTo>
                    <a:lnTo>
                      <a:pt x="258" y="1974"/>
                    </a:lnTo>
                    <a:lnTo>
                      <a:pt x="258" y="1978"/>
                    </a:lnTo>
                    <a:lnTo>
                      <a:pt x="256" y="1982"/>
                    </a:lnTo>
                    <a:lnTo>
                      <a:pt x="252" y="1986"/>
                    </a:lnTo>
                    <a:lnTo>
                      <a:pt x="246" y="1990"/>
                    </a:lnTo>
                    <a:lnTo>
                      <a:pt x="246" y="1990"/>
                    </a:lnTo>
                    <a:lnTo>
                      <a:pt x="232" y="1998"/>
                    </a:lnTo>
                    <a:lnTo>
                      <a:pt x="222" y="2000"/>
                    </a:lnTo>
                    <a:lnTo>
                      <a:pt x="216" y="2000"/>
                    </a:lnTo>
                    <a:lnTo>
                      <a:pt x="210" y="2006"/>
                    </a:lnTo>
                    <a:lnTo>
                      <a:pt x="210" y="2006"/>
                    </a:lnTo>
                    <a:lnTo>
                      <a:pt x="208" y="2008"/>
                    </a:lnTo>
                    <a:lnTo>
                      <a:pt x="208" y="2010"/>
                    </a:lnTo>
                    <a:lnTo>
                      <a:pt x="212" y="2012"/>
                    </a:lnTo>
                    <a:lnTo>
                      <a:pt x="216" y="2012"/>
                    </a:lnTo>
                    <a:lnTo>
                      <a:pt x="216" y="2014"/>
                    </a:lnTo>
                    <a:lnTo>
                      <a:pt x="214" y="2016"/>
                    </a:lnTo>
                    <a:lnTo>
                      <a:pt x="214" y="2016"/>
                    </a:lnTo>
                    <a:lnTo>
                      <a:pt x="214" y="2020"/>
                    </a:lnTo>
                    <a:lnTo>
                      <a:pt x="216" y="2024"/>
                    </a:lnTo>
                    <a:lnTo>
                      <a:pt x="224" y="2024"/>
                    </a:lnTo>
                    <a:lnTo>
                      <a:pt x="232" y="2022"/>
                    </a:lnTo>
                    <a:lnTo>
                      <a:pt x="232" y="2022"/>
                    </a:lnTo>
                    <a:lnTo>
                      <a:pt x="240" y="2018"/>
                    </a:lnTo>
                    <a:lnTo>
                      <a:pt x="246" y="2018"/>
                    </a:lnTo>
                    <a:lnTo>
                      <a:pt x="250" y="2022"/>
                    </a:lnTo>
                    <a:lnTo>
                      <a:pt x="250" y="2026"/>
                    </a:lnTo>
                    <a:lnTo>
                      <a:pt x="250" y="2026"/>
                    </a:lnTo>
                    <a:lnTo>
                      <a:pt x="248" y="2028"/>
                    </a:lnTo>
                    <a:lnTo>
                      <a:pt x="250" y="2030"/>
                    </a:lnTo>
                    <a:lnTo>
                      <a:pt x="256" y="2028"/>
                    </a:lnTo>
                    <a:lnTo>
                      <a:pt x="260" y="2028"/>
                    </a:lnTo>
                    <a:lnTo>
                      <a:pt x="264" y="2028"/>
                    </a:lnTo>
                    <a:lnTo>
                      <a:pt x="270" y="2030"/>
                    </a:lnTo>
                    <a:lnTo>
                      <a:pt x="274" y="2034"/>
                    </a:lnTo>
                    <a:lnTo>
                      <a:pt x="274" y="2034"/>
                    </a:lnTo>
                    <a:lnTo>
                      <a:pt x="280" y="2038"/>
                    </a:lnTo>
                    <a:lnTo>
                      <a:pt x="284" y="2040"/>
                    </a:lnTo>
                    <a:lnTo>
                      <a:pt x="288" y="2040"/>
                    </a:lnTo>
                    <a:lnTo>
                      <a:pt x="292" y="2038"/>
                    </a:lnTo>
                    <a:lnTo>
                      <a:pt x="298" y="2032"/>
                    </a:lnTo>
                    <a:lnTo>
                      <a:pt x="302" y="2030"/>
                    </a:lnTo>
                    <a:lnTo>
                      <a:pt x="304" y="2028"/>
                    </a:lnTo>
                    <a:lnTo>
                      <a:pt x="304" y="2028"/>
                    </a:lnTo>
                    <a:lnTo>
                      <a:pt x="310" y="2026"/>
                    </a:lnTo>
                    <a:lnTo>
                      <a:pt x="314" y="2024"/>
                    </a:lnTo>
                    <a:lnTo>
                      <a:pt x="320" y="2020"/>
                    </a:lnTo>
                    <a:lnTo>
                      <a:pt x="326" y="2016"/>
                    </a:lnTo>
                    <a:lnTo>
                      <a:pt x="326" y="2016"/>
                    </a:lnTo>
                    <a:lnTo>
                      <a:pt x="322" y="2022"/>
                    </a:lnTo>
                    <a:lnTo>
                      <a:pt x="318" y="2026"/>
                    </a:lnTo>
                    <a:lnTo>
                      <a:pt x="318" y="2026"/>
                    </a:lnTo>
                    <a:lnTo>
                      <a:pt x="312" y="2032"/>
                    </a:lnTo>
                    <a:lnTo>
                      <a:pt x="306" y="2036"/>
                    </a:lnTo>
                    <a:lnTo>
                      <a:pt x="304" y="2044"/>
                    </a:lnTo>
                    <a:lnTo>
                      <a:pt x="302" y="2048"/>
                    </a:lnTo>
                    <a:lnTo>
                      <a:pt x="294" y="2050"/>
                    </a:lnTo>
                    <a:lnTo>
                      <a:pt x="294" y="2050"/>
                    </a:lnTo>
                    <a:lnTo>
                      <a:pt x="284" y="2050"/>
                    </a:lnTo>
                    <a:lnTo>
                      <a:pt x="280" y="2050"/>
                    </a:lnTo>
                    <a:lnTo>
                      <a:pt x="274" y="2048"/>
                    </a:lnTo>
                    <a:lnTo>
                      <a:pt x="262" y="2048"/>
                    </a:lnTo>
                    <a:lnTo>
                      <a:pt x="262" y="2048"/>
                    </a:lnTo>
                    <a:lnTo>
                      <a:pt x="256" y="2048"/>
                    </a:lnTo>
                    <a:lnTo>
                      <a:pt x="252" y="2050"/>
                    </a:lnTo>
                    <a:lnTo>
                      <a:pt x="252" y="2052"/>
                    </a:lnTo>
                    <a:lnTo>
                      <a:pt x="252" y="2054"/>
                    </a:lnTo>
                    <a:lnTo>
                      <a:pt x="252" y="2058"/>
                    </a:lnTo>
                    <a:lnTo>
                      <a:pt x="250" y="2058"/>
                    </a:lnTo>
                    <a:lnTo>
                      <a:pt x="246" y="2060"/>
                    </a:lnTo>
                    <a:lnTo>
                      <a:pt x="246" y="2060"/>
                    </a:lnTo>
                    <a:lnTo>
                      <a:pt x="242" y="2060"/>
                    </a:lnTo>
                    <a:lnTo>
                      <a:pt x="238" y="2062"/>
                    </a:lnTo>
                    <a:lnTo>
                      <a:pt x="238" y="2066"/>
                    </a:lnTo>
                    <a:lnTo>
                      <a:pt x="238" y="2070"/>
                    </a:lnTo>
                    <a:lnTo>
                      <a:pt x="238" y="2074"/>
                    </a:lnTo>
                    <a:lnTo>
                      <a:pt x="236" y="2076"/>
                    </a:lnTo>
                    <a:lnTo>
                      <a:pt x="236" y="2076"/>
                    </a:lnTo>
                    <a:lnTo>
                      <a:pt x="232" y="2078"/>
                    </a:lnTo>
                    <a:lnTo>
                      <a:pt x="230" y="2082"/>
                    </a:lnTo>
                    <a:lnTo>
                      <a:pt x="230" y="2084"/>
                    </a:lnTo>
                    <a:lnTo>
                      <a:pt x="226" y="2086"/>
                    </a:lnTo>
                    <a:lnTo>
                      <a:pt x="226" y="2086"/>
                    </a:lnTo>
                    <a:lnTo>
                      <a:pt x="220" y="2092"/>
                    </a:lnTo>
                    <a:lnTo>
                      <a:pt x="214" y="2100"/>
                    </a:lnTo>
                    <a:lnTo>
                      <a:pt x="210" y="2106"/>
                    </a:lnTo>
                    <a:lnTo>
                      <a:pt x="206" y="2106"/>
                    </a:lnTo>
                    <a:lnTo>
                      <a:pt x="202" y="2108"/>
                    </a:lnTo>
                    <a:lnTo>
                      <a:pt x="202" y="2108"/>
                    </a:lnTo>
                    <a:lnTo>
                      <a:pt x="198" y="2108"/>
                    </a:lnTo>
                    <a:lnTo>
                      <a:pt x="194" y="2108"/>
                    </a:lnTo>
                    <a:lnTo>
                      <a:pt x="192" y="2112"/>
                    </a:lnTo>
                    <a:lnTo>
                      <a:pt x="192" y="2114"/>
                    </a:lnTo>
                    <a:lnTo>
                      <a:pt x="192" y="2118"/>
                    </a:lnTo>
                    <a:lnTo>
                      <a:pt x="194" y="2118"/>
                    </a:lnTo>
                    <a:lnTo>
                      <a:pt x="196" y="2118"/>
                    </a:lnTo>
                    <a:lnTo>
                      <a:pt x="196" y="2118"/>
                    </a:lnTo>
                    <a:lnTo>
                      <a:pt x="200" y="2116"/>
                    </a:lnTo>
                    <a:lnTo>
                      <a:pt x="202" y="2116"/>
                    </a:lnTo>
                    <a:lnTo>
                      <a:pt x="206" y="2118"/>
                    </a:lnTo>
                    <a:lnTo>
                      <a:pt x="210" y="2122"/>
                    </a:lnTo>
                    <a:lnTo>
                      <a:pt x="212" y="2122"/>
                    </a:lnTo>
                    <a:lnTo>
                      <a:pt x="214" y="2122"/>
                    </a:lnTo>
                    <a:lnTo>
                      <a:pt x="214" y="2122"/>
                    </a:lnTo>
                    <a:lnTo>
                      <a:pt x="216" y="2120"/>
                    </a:lnTo>
                    <a:lnTo>
                      <a:pt x="216" y="2118"/>
                    </a:lnTo>
                    <a:lnTo>
                      <a:pt x="218" y="2116"/>
                    </a:lnTo>
                    <a:lnTo>
                      <a:pt x="222" y="2112"/>
                    </a:lnTo>
                    <a:lnTo>
                      <a:pt x="222" y="2112"/>
                    </a:lnTo>
                    <a:lnTo>
                      <a:pt x="226" y="2110"/>
                    </a:lnTo>
                    <a:lnTo>
                      <a:pt x="230" y="2106"/>
                    </a:lnTo>
                    <a:lnTo>
                      <a:pt x="234" y="2102"/>
                    </a:lnTo>
                    <a:lnTo>
                      <a:pt x="244" y="2100"/>
                    </a:lnTo>
                    <a:lnTo>
                      <a:pt x="244" y="2100"/>
                    </a:lnTo>
                    <a:lnTo>
                      <a:pt x="252" y="2100"/>
                    </a:lnTo>
                    <a:lnTo>
                      <a:pt x="258" y="2102"/>
                    </a:lnTo>
                    <a:lnTo>
                      <a:pt x="270" y="2108"/>
                    </a:lnTo>
                    <a:lnTo>
                      <a:pt x="270" y="2108"/>
                    </a:lnTo>
                    <a:lnTo>
                      <a:pt x="274" y="2110"/>
                    </a:lnTo>
                    <a:lnTo>
                      <a:pt x="276" y="2108"/>
                    </a:lnTo>
                    <a:lnTo>
                      <a:pt x="280" y="2098"/>
                    </a:lnTo>
                    <a:lnTo>
                      <a:pt x="282" y="2088"/>
                    </a:lnTo>
                    <a:lnTo>
                      <a:pt x="284" y="2086"/>
                    </a:lnTo>
                    <a:lnTo>
                      <a:pt x="286" y="2084"/>
                    </a:lnTo>
                    <a:lnTo>
                      <a:pt x="286" y="2084"/>
                    </a:lnTo>
                    <a:lnTo>
                      <a:pt x="288" y="2086"/>
                    </a:lnTo>
                    <a:lnTo>
                      <a:pt x="290" y="2084"/>
                    </a:lnTo>
                    <a:lnTo>
                      <a:pt x="298" y="2080"/>
                    </a:lnTo>
                    <a:lnTo>
                      <a:pt x="302" y="2078"/>
                    </a:lnTo>
                    <a:lnTo>
                      <a:pt x="306" y="2078"/>
                    </a:lnTo>
                    <a:lnTo>
                      <a:pt x="312" y="2080"/>
                    </a:lnTo>
                    <a:lnTo>
                      <a:pt x="316" y="2084"/>
                    </a:lnTo>
                    <a:lnTo>
                      <a:pt x="316" y="2084"/>
                    </a:lnTo>
                    <a:lnTo>
                      <a:pt x="322" y="2088"/>
                    </a:lnTo>
                    <a:lnTo>
                      <a:pt x="324" y="2088"/>
                    </a:lnTo>
                    <a:lnTo>
                      <a:pt x="324" y="2088"/>
                    </a:lnTo>
                    <a:lnTo>
                      <a:pt x="328" y="2086"/>
                    </a:lnTo>
                    <a:lnTo>
                      <a:pt x="330" y="2086"/>
                    </a:lnTo>
                    <a:lnTo>
                      <a:pt x="334" y="2086"/>
                    </a:lnTo>
                    <a:lnTo>
                      <a:pt x="334" y="2086"/>
                    </a:lnTo>
                    <a:lnTo>
                      <a:pt x="342" y="2086"/>
                    </a:lnTo>
                    <a:lnTo>
                      <a:pt x="344" y="2084"/>
                    </a:lnTo>
                    <a:lnTo>
                      <a:pt x="346" y="2082"/>
                    </a:lnTo>
                    <a:lnTo>
                      <a:pt x="356" y="2078"/>
                    </a:lnTo>
                    <a:lnTo>
                      <a:pt x="356" y="2078"/>
                    </a:lnTo>
                    <a:lnTo>
                      <a:pt x="366" y="2076"/>
                    </a:lnTo>
                    <a:lnTo>
                      <a:pt x="368" y="2074"/>
                    </a:lnTo>
                    <a:lnTo>
                      <a:pt x="368" y="2072"/>
                    </a:lnTo>
                    <a:lnTo>
                      <a:pt x="374" y="2074"/>
                    </a:lnTo>
                    <a:lnTo>
                      <a:pt x="374" y="2074"/>
                    </a:lnTo>
                    <a:lnTo>
                      <a:pt x="380" y="2076"/>
                    </a:lnTo>
                    <a:lnTo>
                      <a:pt x="382" y="2076"/>
                    </a:lnTo>
                    <a:lnTo>
                      <a:pt x="384" y="2074"/>
                    </a:lnTo>
                    <a:lnTo>
                      <a:pt x="386" y="2076"/>
                    </a:lnTo>
                    <a:lnTo>
                      <a:pt x="386" y="2076"/>
                    </a:lnTo>
                    <a:lnTo>
                      <a:pt x="388" y="2078"/>
                    </a:lnTo>
                    <a:lnTo>
                      <a:pt x="392" y="2078"/>
                    </a:lnTo>
                    <a:lnTo>
                      <a:pt x="400" y="2074"/>
                    </a:lnTo>
                    <a:lnTo>
                      <a:pt x="410" y="2072"/>
                    </a:lnTo>
                    <a:lnTo>
                      <a:pt x="416" y="2074"/>
                    </a:lnTo>
                    <a:lnTo>
                      <a:pt x="422" y="2074"/>
                    </a:lnTo>
                    <a:lnTo>
                      <a:pt x="422" y="2074"/>
                    </a:lnTo>
                    <a:lnTo>
                      <a:pt x="428" y="2076"/>
                    </a:lnTo>
                    <a:lnTo>
                      <a:pt x="432" y="2076"/>
                    </a:lnTo>
                    <a:lnTo>
                      <a:pt x="440" y="2074"/>
                    </a:lnTo>
                    <a:lnTo>
                      <a:pt x="448" y="2070"/>
                    </a:lnTo>
                    <a:lnTo>
                      <a:pt x="456" y="2068"/>
                    </a:lnTo>
                    <a:lnTo>
                      <a:pt x="456" y="2068"/>
                    </a:lnTo>
                    <a:lnTo>
                      <a:pt x="460" y="2068"/>
                    </a:lnTo>
                    <a:lnTo>
                      <a:pt x="462" y="2064"/>
                    </a:lnTo>
                    <a:lnTo>
                      <a:pt x="464" y="2060"/>
                    </a:lnTo>
                    <a:lnTo>
                      <a:pt x="470" y="2056"/>
                    </a:lnTo>
                    <a:lnTo>
                      <a:pt x="470" y="2056"/>
                    </a:lnTo>
                    <a:lnTo>
                      <a:pt x="478" y="2052"/>
                    </a:lnTo>
                    <a:lnTo>
                      <a:pt x="480" y="2048"/>
                    </a:lnTo>
                    <a:lnTo>
                      <a:pt x="480" y="2044"/>
                    </a:lnTo>
                    <a:lnTo>
                      <a:pt x="480" y="2040"/>
                    </a:lnTo>
                    <a:lnTo>
                      <a:pt x="480" y="2040"/>
                    </a:lnTo>
                    <a:lnTo>
                      <a:pt x="480" y="2038"/>
                    </a:lnTo>
                    <a:lnTo>
                      <a:pt x="478" y="2038"/>
                    </a:lnTo>
                    <a:lnTo>
                      <a:pt x="472" y="2038"/>
                    </a:lnTo>
                    <a:lnTo>
                      <a:pt x="462" y="2040"/>
                    </a:lnTo>
                    <a:lnTo>
                      <a:pt x="456" y="2040"/>
                    </a:lnTo>
                    <a:lnTo>
                      <a:pt x="456" y="2040"/>
                    </a:lnTo>
                    <a:lnTo>
                      <a:pt x="450" y="2038"/>
                    </a:lnTo>
                    <a:lnTo>
                      <a:pt x="448" y="2036"/>
                    </a:lnTo>
                    <a:lnTo>
                      <a:pt x="450" y="2036"/>
                    </a:lnTo>
                    <a:lnTo>
                      <a:pt x="446" y="2034"/>
                    </a:lnTo>
                    <a:lnTo>
                      <a:pt x="446" y="2034"/>
                    </a:lnTo>
                    <a:lnTo>
                      <a:pt x="444" y="2032"/>
                    </a:lnTo>
                    <a:lnTo>
                      <a:pt x="444" y="2032"/>
                    </a:lnTo>
                    <a:lnTo>
                      <a:pt x="448" y="2030"/>
                    </a:lnTo>
                    <a:lnTo>
                      <a:pt x="456" y="2030"/>
                    </a:lnTo>
                    <a:lnTo>
                      <a:pt x="458" y="2028"/>
                    </a:lnTo>
                    <a:lnTo>
                      <a:pt x="460" y="2026"/>
                    </a:lnTo>
                    <a:lnTo>
                      <a:pt x="460" y="2026"/>
                    </a:lnTo>
                    <a:lnTo>
                      <a:pt x="460" y="2020"/>
                    </a:lnTo>
                    <a:lnTo>
                      <a:pt x="458" y="2020"/>
                    </a:lnTo>
                    <a:lnTo>
                      <a:pt x="456" y="2020"/>
                    </a:lnTo>
                    <a:lnTo>
                      <a:pt x="458" y="2016"/>
                    </a:lnTo>
                    <a:lnTo>
                      <a:pt x="458" y="2016"/>
                    </a:lnTo>
                    <a:lnTo>
                      <a:pt x="462" y="2014"/>
                    </a:lnTo>
                    <a:lnTo>
                      <a:pt x="464" y="2014"/>
                    </a:lnTo>
                    <a:lnTo>
                      <a:pt x="472" y="2014"/>
                    </a:lnTo>
                    <a:lnTo>
                      <a:pt x="476" y="2014"/>
                    </a:lnTo>
                    <a:lnTo>
                      <a:pt x="476" y="2012"/>
                    </a:lnTo>
                    <a:lnTo>
                      <a:pt x="474" y="2010"/>
                    </a:lnTo>
                    <a:lnTo>
                      <a:pt x="474" y="2010"/>
                    </a:lnTo>
                    <a:lnTo>
                      <a:pt x="474" y="2008"/>
                    </a:lnTo>
                    <a:lnTo>
                      <a:pt x="474" y="2006"/>
                    </a:lnTo>
                    <a:lnTo>
                      <a:pt x="482" y="2000"/>
                    </a:lnTo>
                    <a:lnTo>
                      <a:pt x="486" y="1996"/>
                    </a:lnTo>
                    <a:lnTo>
                      <a:pt x="490" y="1990"/>
                    </a:lnTo>
                    <a:lnTo>
                      <a:pt x="494" y="1982"/>
                    </a:lnTo>
                    <a:lnTo>
                      <a:pt x="494" y="1970"/>
                    </a:lnTo>
                    <a:lnTo>
                      <a:pt x="494" y="1970"/>
                    </a:lnTo>
                    <a:close/>
                    <a:moveTo>
                      <a:pt x="662" y="1344"/>
                    </a:moveTo>
                    <a:lnTo>
                      <a:pt x="662" y="1344"/>
                    </a:lnTo>
                    <a:lnTo>
                      <a:pt x="660" y="1344"/>
                    </a:lnTo>
                    <a:lnTo>
                      <a:pt x="656" y="1346"/>
                    </a:lnTo>
                    <a:lnTo>
                      <a:pt x="656" y="1350"/>
                    </a:lnTo>
                    <a:lnTo>
                      <a:pt x="656" y="1354"/>
                    </a:lnTo>
                    <a:lnTo>
                      <a:pt x="656" y="1354"/>
                    </a:lnTo>
                    <a:lnTo>
                      <a:pt x="660" y="1354"/>
                    </a:lnTo>
                    <a:lnTo>
                      <a:pt x="662" y="1352"/>
                    </a:lnTo>
                    <a:lnTo>
                      <a:pt x="664" y="1348"/>
                    </a:lnTo>
                    <a:lnTo>
                      <a:pt x="664" y="1346"/>
                    </a:lnTo>
                    <a:lnTo>
                      <a:pt x="662" y="1344"/>
                    </a:lnTo>
                    <a:lnTo>
                      <a:pt x="662" y="1344"/>
                    </a:lnTo>
                    <a:close/>
                    <a:moveTo>
                      <a:pt x="652" y="1354"/>
                    </a:moveTo>
                    <a:lnTo>
                      <a:pt x="652" y="1354"/>
                    </a:lnTo>
                    <a:lnTo>
                      <a:pt x="650" y="1352"/>
                    </a:lnTo>
                    <a:lnTo>
                      <a:pt x="648" y="1352"/>
                    </a:lnTo>
                    <a:lnTo>
                      <a:pt x="646" y="1352"/>
                    </a:lnTo>
                    <a:lnTo>
                      <a:pt x="644" y="1356"/>
                    </a:lnTo>
                    <a:lnTo>
                      <a:pt x="644" y="1356"/>
                    </a:lnTo>
                    <a:lnTo>
                      <a:pt x="646" y="1358"/>
                    </a:lnTo>
                    <a:lnTo>
                      <a:pt x="648" y="1358"/>
                    </a:lnTo>
                    <a:lnTo>
                      <a:pt x="652" y="1356"/>
                    </a:lnTo>
                    <a:lnTo>
                      <a:pt x="652" y="1354"/>
                    </a:lnTo>
                    <a:lnTo>
                      <a:pt x="652" y="1354"/>
                    </a:lnTo>
                    <a:close/>
                    <a:moveTo>
                      <a:pt x="150" y="1398"/>
                    </a:moveTo>
                    <a:lnTo>
                      <a:pt x="150" y="1398"/>
                    </a:lnTo>
                    <a:lnTo>
                      <a:pt x="148" y="1396"/>
                    </a:lnTo>
                    <a:lnTo>
                      <a:pt x="148" y="1396"/>
                    </a:lnTo>
                    <a:lnTo>
                      <a:pt x="146" y="1394"/>
                    </a:lnTo>
                    <a:lnTo>
                      <a:pt x="146" y="1396"/>
                    </a:lnTo>
                    <a:lnTo>
                      <a:pt x="146" y="1396"/>
                    </a:lnTo>
                    <a:lnTo>
                      <a:pt x="144" y="1398"/>
                    </a:lnTo>
                    <a:lnTo>
                      <a:pt x="146" y="1402"/>
                    </a:lnTo>
                    <a:lnTo>
                      <a:pt x="152" y="1410"/>
                    </a:lnTo>
                    <a:lnTo>
                      <a:pt x="152" y="1410"/>
                    </a:lnTo>
                    <a:lnTo>
                      <a:pt x="154" y="1412"/>
                    </a:lnTo>
                    <a:lnTo>
                      <a:pt x="156" y="1412"/>
                    </a:lnTo>
                    <a:lnTo>
                      <a:pt x="158" y="1412"/>
                    </a:lnTo>
                    <a:lnTo>
                      <a:pt x="156" y="1410"/>
                    </a:lnTo>
                    <a:lnTo>
                      <a:pt x="156" y="1410"/>
                    </a:lnTo>
                    <a:lnTo>
                      <a:pt x="154" y="1404"/>
                    </a:lnTo>
                    <a:lnTo>
                      <a:pt x="154" y="1400"/>
                    </a:lnTo>
                    <a:lnTo>
                      <a:pt x="150" y="1398"/>
                    </a:lnTo>
                    <a:lnTo>
                      <a:pt x="150" y="1398"/>
                    </a:lnTo>
                    <a:close/>
                    <a:moveTo>
                      <a:pt x="732" y="1304"/>
                    </a:moveTo>
                    <a:lnTo>
                      <a:pt x="732" y="1304"/>
                    </a:lnTo>
                    <a:lnTo>
                      <a:pt x="734" y="1302"/>
                    </a:lnTo>
                    <a:lnTo>
                      <a:pt x="732" y="1300"/>
                    </a:lnTo>
                    <a:lnTo>
                      <a:pt x="730" y="1298"/>
                    </a:lnTo>
                    <a:lnTo>
                      <a:pt x="728" y="1300"/>
                    </a:lnTo>
                    <a:lnTo>
                      <a:pt x="728" y="1300"/>
                    </a:lnTo>
                    <a:lnTo>
                      <a:pt x="726" y="1302"/>
                    </a:lnTo>
                    <a:lnTo>
                      <a:pt x="724" y="1302"/>
                    </a:lnTo>
                    <a:lnTo>
                      <a:pt x="722" y="1300"/>
                    </a:lnTo>
                    <a:lnTo>
                      <a:pt x="720" y="1302"/>
                    </a:lnTo>
                    <a:lnTo>
                      <a:pt x="720" y="1302"/>
                    </a:lnTo>
                    <a:lnTo>
                      <a:pt x="720" y="1304"/>
                    </a:lnTo>
                    <a:lnTo>
                      <a:pt x="720" y="1304"/>
                    </a:lnTo>
                    <a:lnTo>
                      <a:pt x="724" y="1306"/>
                    </a:lnTo>
                    <a:lnTo>
                      <a:pt x="732" y="1304"/>
                    </a:lnTo>
                    <a:lnTo>
                      <a:pt x="732" y="1304"/>
                    </a:lnTo>
                    <a:close/>
                    <a:moveTo>
                      <a:pt x="618" y="1384"/>
                    </a:moveTo>
                    <a:lnTo>
                      <a:pt x="618" y="1384"/>
                    </a:lnTo>
                    <a:lnTo>
                      <a:pt x="622" y="1384"/>
                    </a:lnTo>
                    <a:lnTo>
                      <a:pt x="626" y="1382"/>
                    </a:lnTo>
                    <a:lnTo>
                      <a:pt x="628" y="1380"/>
                    </a:lnTo>
                    <a:lnTo>
                      <a:pt x="628" y="1378"/>
                    </a:lnTo>
                    <a:lnTo>
                      <a:pt x="628" y="1378"/>
                    </a:lnTo>
                    <a:lnTo>
                      <a:pt x="622" y="1378"/>
                    </a:lnTo>
                    <a:lnTo>
                      <a:pt x="618" y="1378"/>
                    </a:lnTo>
                    <a:lnTo>
                      <a:pt x="616" y="1380"/>
                    </a:lnTo>
                    <a:lnTo>
                      <a:pt x="618" y="1384"/>
                    </a:lnTo>
                    <a:lnTo>
                      <a:pt x="618" y="1384"/>
                    </a:lnTo>
                    <a:close/>
                    <a:moveTo>
                      <a:pt x="620" y="1456"/>
                    </a:moveTo>
                    <a:lnTo>
                      <a:pt x="620" y="1456"/>
                    </a:lnTo>
                    <a:lnTo>
                      <a:pt x="616" y="1454"/>
                    </a:lnTo>
                    <a:lnTo>
                      <a:pt x="618" y="1456"/>
                    </a:lnTo>
                    <a:lnTo>
                      <a:pt x="622" y="1462"/>
                    </a:lnTo>
                    <a:lnTo>
                      <a:pt x="624" y="1462"/>
                    </a:lnTo>
                    <a:lnTo>
                      <a:pt x="624" y="1462"/>
                    </a:lnTo>
                    <a:lnTo>
                      <a:pt x="626" y="1464"/>
                    </a:lnTo>
                    <a:lnTo>
                      <a:pt x="624" y="1462"/>
                    </a:lnTo>
                    <a:lnTo>
                      <a:pt x="622" y="1458"/>
                    </a:lnTo>
                    <a:lnTo>
                      <a:pt x="620" y="1456"/>
                    </a:lnTo>
                    <a:lnTo>
                      <a:pt x="620" y="1456"/>
                    </a:lnTo>
                    <a:close/>
                    <a:moveTo>
                      <a:pt x="630" y="1474"/>
                    </a:moveTo>
                    <a:lnTo>
                      <a:pt x="630" y="1474"/>
                    </a:lnTo>
                    <a:lnTo>
                      <a:pt x="626" y="1468"/>
                    </a:lnTo>
                    <a:lnTo>
                      <a:pt x="622" y="1466"/>
                    </a:lnTo>
                    <a:lnTo>
                      <a:pt x="622" y="1466"/>
                    </a:lnTo>
                    <a:lnTo>
                      <a:pt x="622" y="1468"/>
                    </a:lnTo>
                    <a:lnTo>
                      <a:pt x="622" y="1468"/>
                    </a:lnTo>
                    <a:lnTo>
                      <a:pt x="626" y="1474"/>
                    </a:lnTo>
                    <a:lnTo>
                      <a:pt x="628" y="1476"/>
                    </a:lnTo>
                    <a:lnTo>
                      <a:pt x="630" y="1474"/>
                    </a:lnTo>
                    <a:lnTo>
                      <a:pt x="630" y="1474"/>
                    </a:lnTo>
                    <a:close/>
                    <a:moveTo>
                      <a:pt x="624" y="1490"/>
                    </a:moveTo>
                    <a:lnTo>
                      <a:pt x="624" y="1490"/>
                    </a:lnTo>
                    <a:lnTo>
                      <a:pt x="626" y="1490"/>
                    </a:lnTo>
                    <a:lnTo>
                      <a:pt x="626" y="1490"/>
                    </a:lnTo>
                    <a:lnTo>
                      <a:pt x="626" y="1486"/>
                    </a:lnTo>
                    <a:lnTo>
                      <a:pt x="624" y="1476"/>
                    </a:lnTo>
                    <a:lnTo>
                      <a:pt x="624" y="1476"/>
                    </a:lnTo>
                    <a:lnTo>
                      <a:pt x="622" y="1474"/>
                    </a:lnTo>
                    <a:lnTo>
                      <a:pt x="622" y="1476"/>
                    </a:lnTo>
                    <a:lnTo>
                      <a:pt x="622" y="1480"/>
                    </a:lnTo>
                    <a:lnTo>
                      <a:pt x="622" y="1486"/>
                    </a:lnTo>
                    <a:lnTo>
                      <a:pt x="622" y="1490"/>
                    </a:lnTo>
                    <a:lnTo>
                      <a:pt x="624" y="1490"/>
                    </a:lnTo>
                    <a:lnTo>
                      <a:pt x="624" y="1490"/>
                    </a:lnTo>
                    <a:close/>
                    <a:moveTo>
                      <a:pt x="302" y="1578"/>
                    </a:moveTo>
                    <a:lnTo>
                      <a:pt x="302" y="1578"/>
                    </a:lnTo>
                    <a:lnTo>
                      <a:pt x="300" y="1580"/>
                    </a:lnTo>
                    <a:lnTo>
                      <a:pt x="300" y="1582"/>
                    </a:lnTo>
                    <a:lnTo>
                      <a:pt x="302" y="1582"/>
                    </a:lnTo>
                    <a:lnTo>
                      <a:pt x="304" y="1584"/>
                    </a:lnTo>
                    <a:lnTo>
                      <a:pt x="304" y="1584"/>
                    </a:lnTo>
                    <a:lnTo>
                      <a:pt x="306" y="1582"/>
                    </a:lnTo>
                    <a:lnTo>
                      <a:pt x="306" y="1580"/>
                    </a:lnTo>
                    <a:lnTo>
                      <a:pt x="304" y="1578"/>
                    </a:lnTo>
                    <a:lnTo>
                      <a:pt x="302" y="1578"/>
                    </a:lnTo>
                    <a:lnTo>
                      <a:pt x="302" y="1578"/>
                    </a:lnTo>
                    <a:close/>
                    <a:moveTo>
                      <a:pt x="160" y="1386"/>
                    </a:moveTo>
                    <a:lnTo>
                      <a:pt x="160" y="1386"/>
                    </a:lnTo>
                    <a:lnTo>
                      <a:pt x="158" y="1382"/>
                    </a:lnTo>
                    <a:lnTo>
                      <a:pt x="154" y="1378"/>
                    </a:lnTo>
                    <a:lnTo>
                      <a:pt x="150" y="1378"/>
                    </a:lnTo>
                    <a:lnTo>
                      <a:pt x="148" y="1378"/>
                    </a:lnTo>
                    <a:lnTo>
                      <a:pt x="148" y="1380"/>
                    </a:lnTo>
                    <a:lnTo>
                      <a:pt x="148" y="1380"/>
                    </a:lnTo>
                    <a:lnTo>
                      <a:pt x="148" y="1382"/>
                    </a:lnTo>
                    <a:lnTo>
                      <a:pt x="152" y="1384"/>
                    </a:lnTo>
                    <a:lnTo>
                      <a:pt x="152" y="1384"/>
                    </a:lnTo>
                    <a:lnTo>
                      <a:pt x="156" y="1386"/>
                    </a:lnTo>
                    <a:lnTo>
                      <a:pt x="160" y="1386"/>
                    </a:lnTo>
                    <a:lnTo>
                      <a:pt x="160" y="1386"/>
                    </a:lnTo>
                    <a:close/>
                    <a:moveTo>
                      <a:pt x="320" y="1546"/>
                    </a:moveTo>
                    <a:lnTo>
                      <a:pt x="320" y="1546"/>
                    </a:lnTo>
                    <a:lnTo>
                      <a:pt x="318" y="1546"/>
                    </a:lnTo>
                    <a:lnTo>
                      <a:pt x="316" y="1546"/>
                    </a:lnTo>
                    <a:lnTo>
                      <a:pt x="314" y="1548"/>
                    </a:lnTo>
                    <a:lnTo>
                      <a:pt x="312" y="1552"/>
                    </a:lnTo>
                    <a:lnTo>
                      <a:pt x="312" y="1552"/>
                    </a:lnTo>
                    <a:lnTo>
                      <a:pt x="312" y="1552"/>
                    </a:lnTo>
                    <a:lnTo>
                      <a:pt x="314" y="1552"/>
                    </a:lnTo>
                    <a:lnTo>
                      <a:pt x="318" y="1552"/>
                    </a:lnTo>
                    <a:lnTo>
                      <a:pt x="318" y="1552"/>
                    </a:lnTo>
                    <a:lnTo>
                      <a:pt x="318" y="1550"/>
                    </a:lnTo>
                    <a:lnTo>
                      <a:pt x="320" y="1548"/>
                    </a:lnTo>
                    <a:lnTo>
                      <a:pt x="322" y="1546"/>
                    </a:lnTo>
                    <a:lnTo>
                      <a:pt x="320" y="1546"/>
                    </a:lnTo>
                    <a:lnTo>
                      <a:pt x="320" y="1546"/>
                    </a:lnTo>
                    <a:close/>
                    <a:moveTo>
                      <a:pt x="354" y="1486"/>
                    </a:moveTo>
                    <a:lnTo>
                      <a:pt x="354" y="1486"/>
                    </a:lnTo>
                    <a:lnTo>
                      <a:pt x="356" y="1488"/>
                    </a:lnTo>
                    <a:lnTo>
                      <a:pt x="356" y="1490"/>
                    </a:lnTo>
                    <a:lnTo>
                      <a:pt x="358" y="1488"/>
                    </a:lnTo>
                    <a:lnTo>
                      <a:pt x="362" y="1490"/>
                    </a:lnTo>
                    <a:lnTo>
                      <a:pt x="362" y="1490"/>
                    </a:lnTo>
                    <a:lnTo>
                      <a:pt x="364" y="1492"/>
                    </a:lnTo>
                    <a:lnTo>
                      <a:pt x="364" y="1490"/>
                    </a:lnTo>
                    <a:lnTo>
                      <a:pt x="366" y="1488"/>
                    </a:lnTo>
                    <a:lnTo>
                      <a:pt x="370" y="1490"/>
                    </a:lnTo>
                    <a:lnTo>
                      <a:pt x="370" y="1490"/>
                    </a:lnTo>
                    <a:lnTo>
                      <a:pt x="372" y="1492"/>
                    </a:lnTo>
                    <a:lnTo>
                      <a:pt x="372" y="1494"/>
                    </a:lnTo>
                    <a:lnTo>
                      <a:pt x="370" y="1500"/>
                    </a:lnTo>
                    <a:lnTo>
                      <a:pt x="368" y="1506"/>
                    </a:lnTo>
                    <a:lnTo>
                      <a:pt x="368" y="1508"/>
                    </a:lnTo>
                    <a:lnTo>
                      <a:pt x="370" y="1512"/>
                    </a:lnTo>
                    <a:lnTo>
                      <a:pt x="370" y="1512"/>
                    </a:lnTo>
                    <a:lnTo>
                      <a:pt x="372" y="1512"/>
                    </a:lnTo>
                    <a:lnTo>
                      <a:pt x="372" y="1510"/>
                    </a:lnTo>
                    <a:lnTo>
                      <a:pt x="374" y="1502"/>
                    </a:lnTo>
                    <a:lnTo>
                      <a:pt x="374" y="1502"/>
                    </a:lnTo>
                    <a:lnTo>
                      <a:pt x="376" y="1496"/>
                    </a:lnTo>
                    <a:lnTo>
                      <a:pt x="374" y="1490"/>
                    </a:lnTo>
                    <a:lnTo>
                      <a:pt x="374" y="1490"/>
                    </a:lnTo>
                    <a:lnTo>
                      <a:pt x="374" y="1488"/>
                    </a:lnTo>
                    <a:lnTo>
                      <a:pt x="376" y="1484"/>
                    </a:lnTo>
                    <a:lnTo>
                      <a:pt x="380" y="1476"/>
                    </a:lnTo>
                    <a:lnTo>
                      <a:pt x="380" y="1476"/>
                    </a:lnTo>
                    <a:lnTo>
                      <a:pt x="380" y="1472"/>
                    </a:lnTo>
                    <a:lnTo>
                      <a:pt x="378" y="1474"/>
                    </a:lnTo>
                    <a:lnTo>
                      <a:pt x="376" y="1476"/>
                    </a:lnTo>
                    <a:lnTo>
                      <a:pt x="376" y="1476"/>
                    </a:lnTo>
                    <a:lnTo>
                      <a:pt x="376" y="1474"/>
                    </a:lnTo>
                    <a:lnTo>
                      <a:pt x="376" y="1474"/>
                    </a:lnTo>
                    <a:lnTo>
                      <a:pt x="376" y="1472"/>
                    </a:lnTo>
                    <a:lnTo>
                      <a:pt x="374" y="1470"/>
                    </a:lnTo>
                    <a:lnTo>
                      <a:pt x="372" y="1470"/>
                    </a:lnTo>
                    <a:lnTo>
                      <a:pt x="372" y="1472"/>
                    </a:lnTo>
                    <a:lnTo>
                      <a:pt x="372" y="1472"/>
                    </a:lnTo>
                    <a:lnTo>
                      <a:pt x="370" y="1474"/>
                    </a:lnTo>
                    <a:lnTo>
                      <a:pt x="370" y="1472"/>
                    </a:lnTo>
                    <a:lnTo>
                      <a:pt x="370" y="1462"/>
                    </a:lnTo>
                    <a:lnTo>
                      <a:pt x="370" y="1462"/>
                    </a:lnTo>
                    <a:lnTo>
                      <a:pt x="370" y="1460"/>
                    </a:lnTo>
                    <a:lnTo>
                      <a:pt x="368" y="1460"/>
                    </a:lnTo>
                    <a:lnTo>
                      <a:pt x="364" y="1464"/>
                    </a:lnTo>
                    <a:lnTo>
                      <a:pt x="358" y="1468"/>
                    </a:lnTo>
                    <a:lnTo>
                      <a:pt x="358" y="1470"/>
                    </a:lnTo>
                    <a:lnTo>
                      <a:pt x="358" y="1470"/>
                    </a:lnTo>
                    <a:lnTo>
                      <a:pt x="358" y="1470"/>
                    </a:lnTo>
                    <a:lnTo>
                      <a:pt x="364" y="1474"/>
                    </a:lnTo>
                    <a:lnTo>
                      <a:pt x="368" y="1476"/>
                    </a:lnTo>
                    <a:lnTo>
                      <a:pt x="368" y="1480"/>
                    </a:lnTo>
                    <a:lnTo>
                      <a:pt x="368" y="1480"/>
                    </a:lnTo>
                    <a:lnTo>
                      <a:pt x="366" y="1482"/>
                    </a:lnTo>
                    <a:lnTo>
                      <a:pt x="360" y="1482"/>
                    </a:lnTo>
                    <a:lnTo>
                      <a:pt x="356" y="1482"/>
                    </a:lnTo>
                    <a:lnTo>
                      <a:pt x="356" y="1484"/>
                    </a:lnTo>
                    <a:lnTo>
                      <a:pt x="354" y="1486"/>
                    </a:lnTo>
                    <a:lnTo>
                      <a:pt x="354" y="1486"/>
                    </a:lnTo>
                    <a:close/>
                    <a:moveTo>
                      <a:pt x="312" y="1560"/>
                    </a:moveTo>
                    <a:lnTo>
                      <a:pt x="312" y="1560"/>
                    </a:lnTo>
                    <a:lnTo>
                      <a:pt x="312" y="1562"/>
                    </a:lnTo>
                    <a:lnTo>
                      <a:pt x="314" y="1562"/>
                    </a:lnTo>
                    <a:lnTo>
                      <a:pt x="318" y="1560"/>
                    </a:lnTo>
                    <a:lnTo>
                      <a:pt x="318" y="1560"/>
                    </a:lnTo>
                    <a:lnTo>
                      <a:pt x="316" y="1558"/>
                    </a:lnTo>
                    <a:lnTo>
                      <a:pt x="314" y="1556"/>
                    </a:lnTo>
                    <a:lnTo>
                      <a:pt x="312" y="1560"/>
                    </a:lnTo>
                    <a:lnTo>
                      <a:pt x="312" y="1560"/>
                    </a:lnTo>
                    <a:close/>
                    <a:moveTo>
                      <a:pt x="744" y="1294"/>
                    </a:moveTo>
                    <a:lnTo>
                      <a:pt x="744" y="1294"/>
                    </a:lnTo>
                    <a:lnTo>
                      <a:pt x="746" y="1296"/>
                    </a:lnTo>
                    <a:lnTo>
                      <a:pt x="748" y="1296"/>
                    </a:lnTo>
                    <a:lnTo>
                      <a:pt x="750" y="1294"/>
                    </a:lnTo>
                    <a:lnTo>
                      <a:pt x="752" y="1292"/>
                    </a:lnTo>
                    <a:lnTo>
                      <a:pt x="752" y="1292"/>
                    </a:lnTo>
                    <a:lnTo>
                      <a:pt x="748" y="1288"/>
                    </a:lnTo>
                    <a:lnTo>
                      <a:pt x="746" y="1288"/>
                    </a:lnTo>
                    <a:lnTo>
                      <a:pt x="744" y="1290"/>
                    </a:lnTo>
                    <a:lnTo>
                      <a:pt x="744" y="1294"/>
                    </a:lnTo>
                    <a:lnTo>
                      <a:pt x="744" y="1294"/>
                    </a:lnTo>
                    <a:close/>
                    <a:moveTo>
                      <a:pt x="380" y="1462"/>
                    </a:moveTo>
                    <a:lnTo>
                      <a:pt x="380" y="1462"/>
                    </a:lnTo>
                    <a:lnTo>
                      <a:pt x="382" y="1460"/>
                    </a:lnTo>
                    <a:lnTo>
                      <a:pt x="382" y="1456"/>
                    </a:lnTo>
                    <a:lnTo>
                      <a:pt x="382" y="1454"/>
                    </a:lnTo>
                    <a:lnTo>
                      <a:pt x="380" y="1454"/>
                    </a:lnTo>
                    <a:lnTo>
                      <a:pt x="380" y="1454"/>
                    </a:lnTo>
                    <a:lnTo>
                      <a:pt x="378" y="1454"/>
                    </a:lnTo>
                    <a:lnTo>
                      <a:pt x="378" y="1456"/>
                    </a:lnTo>
                    <a:lnTo>
                      <a:pt x="376" y="1460"/>
                    </a:lnTo>
                    <a:lnTo>
                      <a:pt x="376" y="1460"/>
                    </a:lnTo>
                    <a:lnTo>
                      <a:pt x="374" y="1462"/>
                    </a:lnTo>
                    <a:lnTo>
                      <a:pt x="376" y="1468"/>
                    </a:lnTo>
                    <a:lnTo>
                      <a:pt x="376" y="1468"/>
                    </a:lnTo>
                    <a:lnTo>
                      <a:pt x="378" y="1468"/>
                    </a:lnTo>
                    <a:lnTo>
                      <a:pt x="378" y="1466"/>
                    </a:lnTo>
                    <a:lnTo>
                      <a:pt x="380" y="1464"/>
                    </a:lnTo>
                    <a:lnTo>
                      <a:pt x="380" y="1462"/>
                    </a:lnTo>
                    <a:lnTo>
                      <a:pt x="380" y="1462"/>
                    </a:lnTo>
                    <a:close/>
                    <a:moveTo>
                      <a:pt x="134" y="1090"/>
                    </a:moveTo>
                    <a:lnTo>
                      <a:pt x="134" y="1090"/>
                    </a:lnTo>
                    <a:lnTo>
                      <a:pt x="148" y="1086"/>
                    </a:lnTo>
                    <a:lnTo>
                      <a:pt x="158" y="1086"/>
                    </a:lnTo>
                    <a:lnTo>
                      <a:pt x="190" y="1088"/>
                    </a:lnTo>
                    <a:lnTo>
                      <a:pt x="190" y="1088"/>
                    </a:lnTo>
                    <a:lnTo>
                      <a:pt x="200" y="1088"/>
                    </a:lnTo>
                    <a:lnTo>
                      <a:pt x="202" y="1090"/>
                    </a:lnTo>
                    <a:lnTo>
                      <a:pt x="202" y="1092"/>
                    </a:lnTo>
                    <a:lnTo>
                      <a:pt x="198" y="1094"/>
                    </a:lnTo>
                    <a:lnTo>
                      <a:pt x="186" y="1100"/>
                    </a:lnTo>
                    <a:lnTo>
                      <a:pt x="182" y="1104"/>
                    </a:lnTo>
                    <a:lnTo>
                      <a:pt x="180" y="1108"/>
                    </a:lnTo>
                    <a:lnTo>
                      <a:pt x="180" y="1108"/>
                    </a:lnTo>
                    <a:lnTo>
                      <a:pt x="182" y="1110"/>
                    </a:lnTo>
                    <a:lnTo>
                      <a:pt x="186" y="1112"/>
                    </a:lnTo>
                    <a:lnTo>
                      <a:pt x="196" y="1112"/>
                    </a:lnTo>
                    <a:lnTo>
                      <a:pt x="204" y="1114"/>
                    </a:lnTo>
                    <a:lnTo>
                      <a:pt x="204" y="1114"/>
                    </a:lnTo>
                    <a:lnTo>
                      <a:pt x="198" y="1118"/>
                    </a:lnTo>
                    <a:lnTo>
                      <a:pt x="198" y="1118"/>
                    </a:lnTo>
                    <a:lnTo>
                      <a:pt x="190" y="1120"/>
                    </a:lnTo>
                    <a:lnTo>
                      <a:pt x="182" y="1120"/>
                    </a:lnTo>
                    <a:lnTo>
                      <a:pt x="174" y="1118"/>
                    </a:lnTo>
                    <a:lnTo>
                      <a:pt x="166" y="1116"/>
                    </a:lnTo>
                    <a:lnTo>
                      <a:pt x="162" y="1116"/>
                    </a:lnTo>
                    <a:lnTo>
                      <a:pt x="156" y="1120"/>
                    </a:lnTo>
                    <a:lnTo>
                      <a:pt x="156" y="1120"/>
                    </a:lnTo>
                    <a:lnTo>
                      <a:pt x="150" y="1122"/>
                    </a:lnTo>
                    <a:lnTo>
                      <a:pt x="144" y="1124"/>
                    </a:lnTo>
                    <a:lnTo>
                      <a:pt x="132" y="1124"/>
                    </a:lnTo>
                    <a:lnTo>
                      <a:pt x="122" y="1126"/>
                    </a:lnTo>
                    <a:lnTo>
                      <a:pt x="120" y="1130"/>
                    </a:lnTo>
                    <a:lnTo>
                      <a:pt x="120" y="1132"/>
                    </a:lnTo>
                    <a:lnTo>
                      <a:pt x="120" y="1132"/>
                    </a:lnTo>
                    <a:lnTo>
                      <a:pt x="122" y="1136"/>
                    </a:lnTo>
                    <a:lnTo>
                      <a:pt x="124" y="1138"/>
                    </a:lnTo>
                    <a:lnTo>
                      <a:pt x="134" y="1136"/>
                    </a:lnTo>
                    <a:lnTo>
                      <a:pt x="152" y="1134"/>
                    </a:lnTo>
                    <a:lnTo>
                      <a:pt x="162" y="1134"/>
                    </a:lnTo>
                    <a:lnTo>
                      <a:pt x="174" y="1136"/>
                    </a:lnTo>
                    <a:lnTo>
                      <a:pt x="174" y="1136"/>
                    </a:lnTo>
                    <a:lnTo>
                      <a:pt x="180" y="1138"/>
                    </a:lnTo>
                    <a:lnTo>
                      <a:pt x="184" y="1140"/>
                    </a:lnTo>
                    <a:lnTo>
                      <a:pt x="186" y="1142"/>
                    </a:lnTo>
                    <a:lnTo>
                      <a:pt x="186" y="1146"/>
                    </a:lnTo>
                    <a:lnTo>
                      <a:pt x="186" y="1152"/>
                    </a:lnTo>
                    <a:lnTo>
                      <a:pt x="188" y="1154"/>
                    </a:lnTo>
                    <a:lnTo>
                      <a:pt x="190" y="1156"/>
                    </a:lnTo>
                    <a:lnTo>
                      <a:pt x="190" y="1156"/>
                    </a:lnTo>
                    <a:lnTo>
                      <a:pt x="198" y="1160"/>
                    </a:lnTo>
                    <a:lnTo>
                      <a:pt x="202" y="1166"/>
                    </a:lnTo>
                    <a:lnTo>
                      <a:pt x="202" y="1174"/>
                    </a:lnTo>
                    <a:lnTo>
                      <a:pt x="198" y="1184"/>
                    </a:lnTo>
                    <a:lnTo>
                      <a:pt x="198" y="1184"/>
                    </a:lnTo>
                    <a:lnTo>
                      <a:pt x="196" y="1186"/>
                    </a:lnTo>
                    <a:lnTo>
                      <a:pt x="190" y="1186"/>
                    </a:lnTo>
                    <a:lnTo>
                      <a:pt x="180" y="1184"/>
                    </a:lnTo>
                    <a:lnTo>
                      <a:pt x="172" y="1184"/>
                    </a:lnTo>
                    <a:lnTo>
                      <a:pt x="170" y="1186"/>
                    </a:lnTo>
                    <a:lnTo>
                      <a:pt x="170" y="1190"/>
                    </a:lnTo>
                    <a:lnTo>
                      <a:pt x="170" y="1190"/>
                    </a:lnTo>
                    <a:lnTo>
                      <a:pt x="172" y="1196"/>
                    </a:lnTo>
                    <a:lnTo>
                      <a:pt x="174" y="1198"/>
                    </a:lnTo>
                    <a:lnTo>
                      <a:pt x="176" y="1200"/>
                    </a:lnTo>
                    <a:lnTo>
                      <a:pt x="182" y="1202"/>
                    </a:lnTo>
                    <a:lnTo>
                      <a:pt x="196" y="1202"/>
                    </a:lnTo>
                    <a:lnTo>
                      <a:pt x="220" y="1200"/>
                    </a:lnTo>
                    <a:lnTo>
                      <a:pt x="220" y="1200"/>
                    </a:lnTo>
                    <a:lnTo>
                      <a:pt x="232" y="1200"/>
                    </a:lnTo>
                    <a:lnTo>
                      <a:pt x="242" y="1202"/>
                    </a:lnTo>
                    <a:lnTo>
                      <a:pt x="252" y="1206"/>
                    </a:lnTo>
                    <a:lnTo>
                      <a:pt x="260" y="1208"/>
                    </a:lnTo>
                    <a:lnTo>
                      <a:pt x="274" y="1216"/>
                    </a:lnTo>
                    <a:lnTo>
                      <a:pt x="282" y="1218"/>
                    </a:lnTo>
                    <a:lnTo>
                      <a:pt x="292" y="1220"/>
                    </a:lnTo>
                    <a:lnTo>
                      <a:pt x="292" y="1220"/>
                    </a:lnTo>
                    <a:lnTo>
                      <a:pt x="300" y="1220"/>
                    </a:lnTo>
                    <a:lnTo>
                      <a:pt x="308" y="1224"/>
                    </a:lnTo>
                    <a:lnTo>
                      <a:pt x="318" y="1228"/>
                    </a:lnTo>
                    <a:lnTo>
                      <a:pt x="322" y="1230"/>
                    </a:lnTo>
                    <a:lnTo>
                      <a:pt x="328" y="1232"/>
                    </a:lnTo>
                    <a:lnTo>
                      <a:pt x="336" y="1232"/>
                    </a:lnTo>
                    <a:lnTo>
                      <a:pt x="346" y="1230"/>
                    </a:lnTo>
                    <a:lnTo>
                      <a:pt x="346" y="1230"/>
                    </a:lnTo>
                    <a:lnTo>
                      <a:pt x="356" y="1226"/>
                    </a:lnTo>
                    <a:lnTo>
                      <a:pt x="362" y="1222"/>
                    </a:lnTo>
                    <a:lnTo>
                      <a:pt x="368" y="1214"/>
                    </a:lnTo>
                    <a:lnTo>
                      <a:pt x="370" y="1210"/>
                    </a:lnTo>
                    <a:lnTo>
                      <a:pt x="374" y="1206"/>
                    </a:lnTo>
                    <a:lnTo>
                      <a:pt x="380" y="1206"/>
                    </a:lnTo>
                    <a:lnTo>
                      <a:pt x="388" y="1206"/>
                    </a:lnTo>
                    <a:lnTo>
                      <a:pt x="388" y="1206"/>
                    </a:lnTo>
                    <a:lnTo>
                      <a:pt x="396" y="1204"/>
                    </a:lnTo>
                    <a:lnTo>
                      <a:pt x="404" y="1204"/>
                    </a:lnTo>
                    <a:lnTo>
                      <a:pt x="418" y="1198"/>
                    </a:lnTo>
                    <a:lnTo>
                      <a:pt x="452" y="1176"/>
                    </a:lnTo>
                    <a:lnTo>
                      <a:pt x="452" y="1176"/>
                    </a:lnTo>
                    <a:lnTo>
                      <a:pt x="462" y="1172"/>
                    </a:lnTo>
                    <a:lnTo>
                      <a:pt x="470" y="1170"/>
                    </a:lnTo>
                    <a:lnTo>
                      <a:pt x="484" y="1168"/>
                    </a:lnTo>
                    <a:lnTo>
                      <a:pt x="488" y="1166"/>
                    </a:lnTo>
                    <a:lnTo>
                      <a:pt x="494" y="1164"/>
                    </a:lnTo>
                    <a:lnTo>
                      <a:pt x="500" y="1160"/>
                    </a:lnTo>
                    <a:lnTo>
                      <a:pt x="504" y="1154"/>
                    </a:lnTo>
                    <a:lnTo>
                      <a:pt x="504" y="1154"/>
                    </a:lnTo>
                    <a:lnTo>
                      <a:pt x="514" y="1142"/>
                    </a:lnTo>
                    <a:lnTo>
                      <a:pt x="522" y="1136"/>
                    </a:lnTo>
                    <a:lnTo>
                      <a:pt x="528" y="1134"/>
                    </a:lnTo>
                    <a:lnTo>
                      <a:pt x="534" y="1126"/>
                    </a:lnTo>
                    <a:lnTo>
                      <a:pt x="534" y="1126"/>
                    </a:lnTo>
                    <a:lnTo>
                      <a:pt x="540" y="1112"/>
                    </a:lnTo>
                    <a:lnTo>
                      <a:pt x="542" y="1104"/>
                    </a:lnTo>
                    <a:lnTo>
                      <a:pt x="542" y="1098"/>
                    </a:lnTo>
                    <a:lnTo>
                      <a:pt x="542" y="1090"/>
                    </a:lnTo>
                    <a:lnTo>
                      <a:pt x="538" y="1086"/>
                    </a:lnTo>
                    <a:lnTo>
                      <a:pt x="532" y="1082"/>
                    </a:lnTo>
                    <a:lnTo>
                      <a:pt x="526" y="1080"/>
                    </a:lnTo>
                    <a:lnTo>
                      <a:pt x="526" y="1080"/>
                    </a:lnTo>
                    <a:lnTo>
                      <a:pt x="518" y="1078"/>
                    </a:lnTo>
                    <a:lnTo>
                      <a:pt x="514" y="1076"/>
                    </a:lnTo>
                    <a:lnTo>
                      <a:pt x="510" y="1072"/>
                    </a:lnTo>
                    <a:lnTo>
                      <a:pt x="506" y="1068"/>
                    </a:lnTo>
                    <a:lnTo>
                      <a:pt x="502" y="1066"/>
                    </a:lnTo>
                    <a:lnTo>
                      <a:pt x="496" y="1068"/>
                    </a:lnTo>
                    <a:lnTo>
                      <a:pt x="496" y="1068"/>
                    </a:lnTo>
                    <a:lnTo>
                      <a:pt x="494" y="1066"/>
                    </a:lnTo>
                    <a:lnTo>
                      <a:pt x="492" y="1064"/>
                    </a:lnTo>
                    <a:lnTo>
                      <a:pt x="496" y="1058"/>
                    </a:lnTo>
                    <a:lnTo>
                      <a:pt x="496" y="1058"/>
                    </a:lnTo>
                    <a:lnTo>
                      <a:pt x="500" y="1052"/>
                    </a:lnTo>
                    <a:lnTo>
                      <a:pt x="500" y="1048"/>
                    </a:lnTo>
                    <a:lnTo>
                      <a:pt x="496" y="1046"/>
                    </a:lnTo>
                    <a:lnTo>
                      <a:pt x="492" y="1046"/>
                    </a:lnTo>
                    <a:lnTo>
                      <a:pt x="486" y="1044"/>
                    </a:lnTo>
                    <a:lnTo>
                      <a:pt x="484" y="1044"/>
                    </a:lnTo>
                    <a:lnTo>
                      <a:pt x="484" y="1040"/>
                    </a:lnTo>
                    <a:lnTo>
                      <a:pt x="488" y="1036"/>
                    </a:lnTo>
                    <a:lnTo>
                      <a:pt x="488" y="1036"/>
                    </a:lnTo>
                    <a:lnTo>
                      <a:pt x="500" y="1028"/>
                    </a:lnTo>
                    <a:lnTo>
                      <a:pt x="500" y="1024"/>
                    </a:lnTo>
                    <a:lnTo>
                      <a:pt x="500" y="1022"/>
                    </a:lnTo>
                    <a:lnTo>
                      <a:pt x="494" y="1022"/>
                    </a:lnTo>
                    <a:lnTo>
                      <a:pt x="484" y="1026"/>
                    </a:lnTo>
                    <a:lnTo>
                      <a:pt x="484" y="1026"/>
                    </a:lnTo>
                    <a:lnTo>
                      <a:pt x="474" y="1032"/>
                    </a:lnTo>
                    <a:lnTo>
                      <a:pt x="466" y="1036"/>
                    </a:lnTo>
                    <a:lnTo>
                      <a:pt x="462" y="1036"/>
                    </a:lnTo>
                    <a:lnTo>
                      <a:pt x="460" y="1034"/>
                    </a:lnTo>
                    <a:lnTo>
                      <a:pt x="456" y="1028"/>
                    </a:lnTo>
                    <a:lnTo>
                      <a:pt x="450" y="1020"/>
                    </a:lnTo>
                    <a:lnTo>
                      <a:pt x="450" y="1020"/>
                    </a:lnTo>
                    <a:lnTo>
                      <a:pt x="446" y="1016"/>
                    </a:lnTo>
                    <a:lnTo>
                      <a:pt x="442" y="1012"/>
                    </a:lnTo>
                    <a:lnTo>
                      <a:pt x="436" y="1012"/>
                    </a:lnTo>
                    <a:lnTo>
                      <a:pt x="430" y="1012"/>
                    </a:lnTo>
                    <a:lnTo>
                      <a:pt x="424" y="1014"/>
                    </a:lnTo>
                    <a:lnTo>
                      <a:pt x="420" y="1018"/>
                    </a:lnTo>
                    <a:lnTo>
                      <a:pt x="418" y="1022"/>
                    </a:lnTo>
                    <a:lnTo>
                      <a:pt x="420" y="1026"/>
                    </a:lnTo>
                    <a:lnTo>
                      <a:pt x="420" y="1026"/>
                    </a:lnTo>
                    <a:lnTo>
                      <a:pt x="424" y="1034"/>
                    </a:lnTo>
                    <a:lnTo>
                      <a:pt x="424" y="1038"/>
                    </a:lnTo>
                    <a:lnTo>
                      <a:pt x="424" y="1040"/>
                    </a:lnTo>
                    <a:lnTo>
                      <a:pt x="420" y="1042"/>
                    </a:lnTo>
                    <a:lnTo>
                      <a:pt x="418" y="1042"/>
                    </a:lnTo>
                    <a:lnTo>
                      <a:pt x="406" y="1038"/>
                    </a:lnTo>
                    <a:lnTo>
                      <a:pt x="406" y="1038"/>
                    </a:lnTo>
                    <a:lnTo>
                      <a:pt x="402" y="1036"/>
                    </a:lnTo>
                    <a:lnTo>
                      <a:pt x="396" y="1038"/>
                    </a:lnTo>
                    <a:lnTo>
                      <a:pt x="390" y="1046"/>
                    </a:lnTo>
                    <a:lnTo>
                      <a:pt x="386" y="1050"/>
                    </a:lnTo>
                    <a:lnTo>
                      <a:pt x="382" y="1052"/>
                    </a:lnTo>
                    <a:lnTo>
                      <a:pt x="378" y="1052"/>
                    </a:lnTo>
                    <a:lnTo>
                      <a:pt x="374" y="1048"/>
                    </a:lnTo>
                    <a:lnTo>
                      <a:pt x="374" y="1048"/>
                    </a:lnTo>
                    <a:lnTo>
                      <a:pt x="362" y="1038"/>
                    </a:lnTo>
                    <a:lnTo>
                      <a:pt x="358" y="1038"/>
                    </a:lnTo>
                    <a:lnTo>
                      <a:pt x="356" y="1038"/>
                    </a:lnTo>
                    <a:lnTo>
                      <a:pt x="354" y="1038"/>
                    </a:lnTo>
                    <a:lnTo>
                      <a:pt x="352" y="1042"/>
                    </a:lnTo>
                    <a:lnTo>
                      <a:pt x="352" y="1052"/>
                    </a:lnTo>
                    <a:lnTo>
                      <a:pt x="352" y="1052"/>
                    </a:lnTo>
                    <a:lnTo>
                      <a:pt x="352" y="1056"/>
                    </a:lnTo>
                    <a:lnTo>
                      <a:pt x="350" y="1058"/>
                    </a:lnTo>
                    <a:lnTo>
                      <a:pt x="350" y="1060"/>
                    </a:lnTo>
                    <a:lnTo>
                      <a:pt x="346" y="1058"/>
                    </a:lnTo>
                    <a:lnTo>
                      <a:pt x="342" y="1052"/>
                    </a:lnTo>
                    <a:lnTo>
                      <a:pt x="338" y="1042"/>
                    </a:lnTo>
                    <a:lnTo>
                      <a:pt x="338" y="1042"/>
                    </a:lnTo>
                    <a:lnTo>
                      <a:pt x="336" y="1038"/>
                    </a:lnTo>
                    <a:lnTo>
                      <a:pt x="330" y="1036"/>
                    </a:lnTo>
                    <a:lnTo>
                      <a:pt x="326" y="1036"/>
                    </a:lnTo>
                    <a:lnTo>
                      <a:pt x="320" y="1038"/>
                    </a:lnTo>
                    <a:lnTo>
                      <a:pt x="314" y="1042"/>
                    </a:lnTo>
                    <a:lnTo>
                      <a:pt x="308" y="1048"/>
                    </a:lnTo>
                    <a:lnTo>
                      <a:pt x="306" y="1054"/>
                    </a:lnTo>
                    <a:lnTo>
                      <a:pt x="306" y="1060"/>
                    </a:lnTo>
                    <a:lnTo>
                      <a:pt x="306" y="1060"/>
                    </a:lnTo>
                    <a:lnTo>
                      <a:pt x="304" y="1070"/>
                    </a:lnTo>
                    <a:lnTo>
                      <a:pt x="304" y="1072"/>
                    </a:lnTo>
                    <a:lnTo>
                      <a:pt x="302" y="1072"/>
                    </a:lnTo>
                    <a:lnTo>
                      <a:pt x="294" y="1066"/>
                    </a:lnTo>
                    <a:lnTo>
                      <a:pt x="286" y="1052"/>
                    </a:lnTo>
                    <a:lnTo>
                      <a:pt x="286" y="1052"/>
                    </a:lnTo>
                    <a:lnTo>
                      <a:pt x="280" y="1044"/>
                    </a:lnTo>
                    <a:lnTo>
                      <a:pt x="276" y="1042"/>
                    </a:lnTo>
                    <a:lnTo>
                      <a:pt x="272" y="1040"/>
                    </a:lnTo>
                    <a:lnTo>
                      <a:pt x="268" y="1042"/>
                    </a:lnTo>
                    <a:lnTo>
                      <a:pt x="266" y="1046"/>
                    </a:lnTo>
                    <a:lnTo>
                      <a:pt x="266" y="1052"/>
                    </a:lnTo>
                    <a:lnTo>
                      <a:pt x="266" y="1056"/>
                    </a:lnTo>
                    <a:lnTo>
                      <a:pt x="268" y="1062"/>
                    </a:lnTo>
                    <a:lnTo>
                      <a:pt x="268" y="1062"/>
                    </a:lnTo>
                    <a:lnTo>
                      <a:pt x="270" y="1074"/>
                    </a:lnTo>
                    <a:lnTo>
                      <a:pt x="270" y="1078"/>
                    </a:lnTo>
                    <a:lnTo>
                      <a:pt x="270" y="1080"/>
                    </a:lnTo>
                    <a:lnTo>
                      <a:pt x="266" y="1082"/>
                    </a:lnTo>
                    <a:lnTo>
                      <a:pt x="264" y="1082"/>
                    </a:lnTo>
                    <a:lnTo>
                      <a:pt x="260" y="1080"/>
                    </a:lnTo>
                    <a:lnTo>
                      <a:pt x="256" y="1074"/>
                    </a:lnTo>
                    <a:lnTo>
                      <a:pt x="256" y="1074"/>
                    </a:lnTo>
                    <a:lnTo>
                      <a:pt x="252" y="1070"/>
                    </a:lnTo>
                    <a:lnTo>
                      <a:pt x="248" y="1072"/>
                    </a:lnTo>
                    <a:lnTo>
                      <a:pt x="246" y="1076"/>
                    </a:lnTo>
                    <a:lnTo>
                      <a:pt x="242" y="1082"/>
                    </a:lnTo>
                    <a:lnTo>
                      <a:pt x="240" y="1088"/>
                    </a:lnTo>
                    <a:lnTo>
                      <a:pt x="236" y="1090"/>
                    </a:lnTo>
                    <a:lnTo>
                      <a:pt x="234" y="1092"/>
                    </a:lnTo>
                    <a:lnTo>
                      <a:pt x="232" y="1090"/>
                    </a:lnTo>
                    <a:lnTo>
                      <a:pt x="228" y="1084"/>
                    </a:lnTo>
                    <a:lnTo>
                      <a:pt x="228" y="1084"/>
                    </a:lnTo>
                    <a:lnTo>
                      <a:pt x="226" y="1076"/>
                    </a:lnTo>
                    <a:lnTo>
                      <a:pt x="226" y="1070"/>
                    </a:lnTo>
                    <a:lnTo>
                      <a:pt x="228" y="1060"/>
                    </a:lnTo>
                    <a:lnTo>
                      <a:pt x="228" y="1058"/>
                    </a:lnTo>
                    <a:lnTo>
                      <a:pt x="228" y="1054"/>
                    </a:lnTo>
                    <a:lnTo>
                      <a:pt x="224" y="1050"/>
                    </a:lnTo>
                    <a:lnTo>
                      <a:pt x="216" y="1046"/>
                    </a:lnTo>
                    <a:lnTo>
                      <a:pt x="216" y="1046"/>
                    </a:lnTo>
                    <a:lnTo>
                      <a:pt x="204" y="1036"/>
                    </a:lnTo>
                    <a:lnTo>
                      <a:pt x="200" y="1030"/>
                    </a:lnTo>
                    <a:lnTo>
                      <a:pt x="194" y="1026"/>
                    </a:lnTo>
                    <a:lnTo>
                      <a:pt x="184" y="1020"/>
                    </a:lnTo>
                    <a:lnTo>
                      <a:pt x="184" y="1020"/>
                    </a:lnTo>
                    <a:lnTo>
                      <a:pt x="174" y="1018"/>
                    </a:lnTo>
                    <a:lnTo>
                      <a:pt x="168" y="1018"/>
                    </a:lnTo>
                    <a:lnTo>
                      <a:pt x="162" y="1018"/>
                    </a:lnTo>
                    <a:lnTo>
                      <a:pt x="158" y="1020"/>
                    </a:lnTo>
                    <a:lnTo>
                      <a:pt x="154" y="1024"/>
                    </a:lnTo>
                    <a:lnTo>
                      <a:pt x="152" y="1026"/>
                    </a:lnTo>
                    <a:lnTo>
                      <a:pt x="152" y="1030"/>
                    </a:lnTo>
                    <a:lnTo>
                      <a:pt x="154" y="1032"/>
                    </a:lnTo>
                    <a:lnTo>
                      <a:pt x="154" y="1032"/>
                    </a:lnTo>
                    <a:lnTo>
                      <a:pt x="162" y="1038"/>
                    </a:lnTo>
                    <a:lnTo>
                      <a:pt x="170" y="1042"/>
                    </a:lnTo>
                    <a:lnTo>
                      <a:pt x="180" y="1048"/>
                    </a:lnTo>
                    <a:lnTo>
                      <a:pt x="186" y="1054"/>
                    </a:lnTo>
                    <a:lnTo>
                      <a:pt x="186" y="1054"/>
                    </a:lnTo>
                    <a:lnTo>
                      <a:pt x="188" y="1058"/>
                    </a:lnTo>
                    <a:lnTo>
                      <a:pt x="186" y="1058"/>
                    </a:lnTo>
                    <a:lnTo>
                      <a:pt x="178" y="1056"/>
                    </a:lnTo>
                    <a:lnTo>
                      <a:pt x="166" y="1048"/>
                    </a:lnTo>
                    <a:lnTo>
                      <a:pt x="154" y="1040"/>
                    </a:lnTo>
                    <a:lnTo>
                      <a:pt x="154" y="1040"/>
                    </a:lnTo>
                    <a:lnTo>
                      <a:pt x="148" y="1038"/>
                    </a:lnTo>
                    <a:lnTo>
                      <a:pt x="144" y="1036"/>
                    </a:lnTo>
                    <a:lnTo>
                      <a:pt x="140" y="1038"/>
                    </a:lnTo>
                    <a:lnTo>
                      <a:pt x="136" y="1040"/>
                    </a:lnTo>
                    <a:lnTo>
                      <a:pt x="130" y="1048"/>
                    </a:lnTo>
                    <a:lnTo>
                      <a:pt x="128" y="1058"/>
                    </a:lnTo>
                    <a:lnTo>
                      <a:pt x="128" y="1058"/>
                    </a:lnTo>
                    <a:lnTo>
                      <a:pt x="128" y="1064"/>
                    </a:lnTo>
                    <a:lnTo>
                      <a:pt x="126" y="1066"/>
                    </a:lnTo>
                    <a:lnTo>
                      <a:pt x="122" y="1068"/>
                    </a:lnTo>
                    <a:lnTo>
                      <a:pt x="118" y="1068"/>
                    </a:lnTo>
                    <a:lnTo>
                      <a:pt x="116" y="1070"/>
                    </a:lnTo>
                    <a:lnTo>
                      <a:pt x="116" y="1074"/>
                    </a:lnTo>
                    <a:lnTo>
                      <a:pt x="116" y="1074"/>
                    </a:lnTo>
                    <a:lnTo>
                      <a:pt x="114" y="1080"/>
                    </a:lnTo>
                    <a:lnTo>
                      <a:pt x="112" y="1080"/>
                    </a:lnTo>
                    <a:lnTo>
                      <a:pt x="106" y="1078"/>
                    </a:lnTo>
                    <a:lnTo>
                      <a:pt x="102" y="1078"/>
                    </a:lnTo>
                    <a:lnTo>
                      <a:pt x="98" y="1080"/>
                    </a:lnTo>
                    <a:lnTo>
                      <a:pt x="98" y="1080"/>
                    </a:lnTo>
                    <a:lnTo>
                      <a:pt x="96" y="1082"/>
                    </a:lnTo>
                    <a:lnTo>
                      <a:pt x="96" y="1084"/>
                    </a:lnTo>
                    <a:lnTo>
                      <a:pt x="100" y="1086"/>
                    </a:lnTo>
                    <a:lnTo>
                      <a:pt x="104" y="1090"/>
                    </a:lnTo>
                    <a:lnTo>
                      <a:pt x="118" y="1092"/>
                    </a:lnTo>
                    <a:lnTo>
                      <a:pt x="126" y="1092"/>
                    </a:lnTo>
                    <a:lnTo>
                      <a:pt x="134" y="1090"/>
                    </a:lnTo>
                    <a:lnTo>
                      <a:pt x="134" y="1090"/>
                    </a:lnTo>
                    <a:close/>
                    <a:moveTo>
                      <a:pt x="306" y="1550"/>
                    </a:moveTo>
                    <a:lnTo>
                      <a:pt x="306" y="1550"/>
                    </a:lnTo>
                    <a:lnTo>
                      <a:pt x="304" y="1546"/>
                    </a:lnTo>
                    <a:lnTo>
                      <a:pt x="302" y="1544"/>
                    </a:lnTo>
                    <a:lnTo>
                      <a:pt x="300" y="1544"/>
                    </a:lnTo>
                    <a:lnTo>
                      <a:pt x="300" y="1544"/>
                    </a:lnTo>
                    <a:lnTo>
                      <a:pt x="300" y="1546"/>
                    </a:lnTo>
                    <a:lnTo>
                      <a:pt x="302" y="1548"/>
                    </a:lnTo>
                    <a:lnTo>
                      <a:pt x="306" y="1550"/>
                    </a:lnTo>
                    <a:lnTo>
                      <a:pt x="306" y="1550"/>
                    </a:lnTo>
                    <a:close/>
                    <a:moveTo>
                      <a:pt x="294" y="1582"/>
                    </a:moveTo>
                    <a:lnTo>
                      <a:pt x="294" y="1582"/>
                    </a:lnTo>
                    <a:lnTo>
                      <a:pt x="294" y="1582"/>
                    </a:lnTo>
                    <a:lnTo>
                      <a:pt x="296" y="1580"/>
                    </a:lnTo>
                    <a:lnTo>
                      <a:pt x="294" y="1576"/>
                    </a:lnTo>
                    <a:lnTo>
                      <a:pt x="290" y="1572"/>
                    </a:lnTo>
                    <a:lnTo>
                      <a:pt x="288" y="1572"/>
                    </a:lnTo>
                    <a:lnTo>
                      <a:pt x="288" y="1572"/>
                    </a:lnTo>
                    <a:lnTo>
                      <a:pt x="286" y="1574"/>
                    </a:lnTo>
                    <a:lnTo>
                      <a:pt x="286" y="1576"/>
                    </a:lnTo>
                    <a:lnTo>
                      <a:pt x="290" y="1580"/>
                    </a:lnTo>
                    <a:lnTo>
                      <a:pt x="294" y="1582"/>
                    </a:lnTo>
                    <a:lnTo>
                      <a:pt x="294" y="1582"/>
                    </a:lnTo>
                    <a:close/>
                    <a:moveTo>
                      <a:pt x="134" y="1350"/>
                    </a:moveTo>
                    <a:lnTo>
                      <a:pt x="134" y="1350"/>
                    </a:lnTo>
                    <a:lnTo>
                      <a:pt x="134" y="1354"/>
                    </a:lnTo>
                    <a:lnTo>
                      <a:pt x="134" y="1354"/>
                    </a:lnTo>
                    <a:lnTo>
                      <a:pt x="134" y="1356"/>
                    </a:lnTo>
                    <a:lnTo>
                      <a:pt x="138" y="1360"/>
                    </a:lnTo>
                    <a:lnTo>
                      <a:pt x="138" y="1360"/>
                    </a:lnTo>
                    <a:lnTo>
                      <a:pt x="140" y="1362"/>
                    </a:lnTo>
                    <a:lnTo>
                      <a:pt x="140" y="1362"/>
                    </a:lnTo>
                    <a:lnTo>
                      <a:pt x="144" y="1364"/>
                    </a:lnTo>
                    <a:lnTo>
                      <a:pt x="150" y="1372"/>
                    </a:lnTo>
                    <a:lnTo>
                      <a:pt x="150" y="1372"/>
                    </a:lnTo>
                    <a:lnTo>
                      <a:pt x="154" y="1374"/>
                    </a:lnTo>
                    <a:lnTo>
                      <a:pt x="154" y="1374"/>
                    </a:lnTo>
                    <a:lnTo>
                      <a:pt x="154" y="1370"/>
                    </a:lnTo>
                    <a:lnTo>
                      <a:pt x="152" y="1364"/>
                    </a:lnTo>
                    <a:lnTo>
                      <a:pt x="152" y="1364"/>
                    </a:lnTo>
                    <a:lnTo>
                      <a:pt x="148" y="1360"/>
                    </a:lnTo>
                    <a:lnTo>
                      <a:pt x="146" y="1358"/>
                    </a:lnTo>
                    <a:lnTo>
                      <a:pt x="144" y="1358"/>
                    </a:lnTo>
                    <a:lnTo>
                      <a:pt x="142" y="1354"/>
                    </a:lnTo>
                    <a:lnTo>
                      <a:pt x="142" y="1354"/>
                    </a:lnTo>
                    <a:lnTo>
                      <a:pt x="140" y="1350"/>
                    </a:lnTo>
                    <a:lnTo>
                      <a:pt x="136" y="1348"/>
                    </a:lnTo>
                    <a:lnTo>
                      <a:pt x="134" y="1348"/>
                    </a:lnTo>
                    <a:lnTo>
                      <a:pt x="134" y="1350"/>
                    </a:lnTo>
                    <a:lnTo>
                      <a:pt x="134" y="1350"/>
                    </a:lnTo>
                    <a:close/>
                    <a:moveTo>
                      <a:pt x="138" y="1658"/>
                    </a:moveTo>
                    <a:lnTo>
                      <a:pt x="138" y="1658"/>
                    </a:lnTo>
                    <a:lnTo>
                      <a:pt x="140" y="1652"/>
                    </a:lnTo>
                    <a:lnTo>
                      <a:pt x="138" y="1650"/>
                    </a:lnTo>
                    <a:lnTo>
                      <a:pt x="136" y="1650"/>
                    </a:lnTo>
                    <a:lnTo>
                      <a:pt x="132" y="1652"/>
                    </a:lnTo>
                    <a:lnTo>
                      <a:pt x="132" y="1652"/>
                    </a:lnTo>
                    <a:lnTo>
                      <a:pt x="128" y="1652"/>
                    </a:lnTo>
                    <a:lnTo>
                      <a:pt x="124" y="1652"/>
                    </a:lnTo>
                    <a:lnTo>
                      <a:pt x="122" y="1654"/>
                    </a:lnTo>
                    <a:lnTo>
                      <a:pt x="122" y="1654"/>
                    </a:lnTo>
                    <a:lnTo>
                      <a:pt x="120" y="1656"/>
                    </a:lnTo>
                    <a:lnTo>
                      <a:pt x="122" y="1656"/>
                    </a:lnTo>
                    <a:lnTo>
                      <a:pt x="126" y="1660"/>
                    </a:lnTo>
                    <a:lnTo>
                      <a:pt x="134" y="1660"/>
                    </a:lnTo>
                    <a:lnTo>
                      <a:pt x="136" y="1660"/>
                    </a:lnTo>
                    <a:lnTo>
                      <a:pt x="138" y="1658"/>
                    </a:lnTo>
                    <a:lnTo>
                      <a:pt x="138" y="1658"/>
                    </a:lnTo>
                    <a:close/>
                    <a:moveTo>
                      <a:pt x="124" y="1360"/>
                    </a:moveTo>
                    <a:lnTo>
                      <a:pt x="124" y="1360"/>
                    </a:lnTo>
                    <a:lnTo>
                      <a:pt x="122" y="1360"/>
                    </a:lnTo>
                    <a:lnTo>
                      <a:pt x="124" y="1362"/>
                    </a:lnTo>
                    <a:lnTo>
                      <a:pt x="132" y="1368"/>
                    </a:lnTo>
                    <a:lnTo>
                      <a:pt x="132" y="1368"/>
                    </a:lnTo>
                    <a:lnTo>
                      <a:pt x="134" y="1370"/>
                    </a:lnTo>
                    <a:lnTo>
                      <a:pt x="138" y="1368"/>
                    </a:lnTo>
                    <a:lnTo>
                      <a:pt x="138" y="1366"/>
                    </a:lnTo>
                    <a:lnTo>
                      <a:pt x="136" y="1362"/>
                    </a:lnTo>
                    <a:lnTo>
                      <a:pt x="136" y="1362"/>
                    </a:lnTo>
                    <a:lnTo>
                      <a:pt x="132" y="1358"/>
                    </a:lnTo>
                    <a:lnTo>
                      <a:pt x="130" y="1358"/>
                    </a:lnTo>
                    <a:lnTo>
                      <a:pt x="124" y="1360"/>
                    </a:lnTo>
                    <a:lnTo>
                      <a:pt x="124" y="1360"/>
                    </a:lnTo>
                    <a:close/>
                    <a:moveTo>
                      <a:pt x="162" y="1352"/>
                    </a:moveTo>
                    <a:lnTo>
                      <a:pt x="162" y="1352"/>
                    </a:lnTo>
                    <a:lnTo>
                      <a:pt x="162" y="1348"/>
                    </a:lnTo>
                    <a:lnTo>
                      <a:pt x="160" y="1344"/>
                    </a:lnTo>
                    <a:lnTo>
                      <a:pt x="160" y="1344"/>
                    </a:lnTo>
                    <a:lnTo>
                      <a:pt x="160" y="1350"/>
                    </a:lnTo>
                    <a:lnTo>
                      <a:pt x="160" y="1352"/>
                    </a:lnTo>
                    <a:lnTo>
                      <a:pt x="162" y="1352"/>
                    </a:lnTo>
                    <a:lnTo>
                      <a:pt x="162" y="1352"/>
                    </a:lnTo>
                    <a:close/>
                    <a:moveTo>
                      <a:pt x="128" y="1670"/>
                    </a:moveTo>
                    <a:lnTo>
                      <a:pt x="128" y="1670"/>
                    </a:lnTo>
                    <a:lnTo>
                      <a:pt x="126" y="1670"/>
                    </a:lnTo>
                    <a:lnTo>
                      <a:pt x="124" y="1672"/>
                    </a:lnTo>
                    <a:lnTo>
                      <a:pt x="122" y="1678"/>
                    </a:lnTo>
                    <a:lnTo>
                      <a:pt x="124" y="1686"/>
                    </a:lnTo>
                    <a:lnTo>
                      <a:pt x="126" y="1688"/>
                    </a:lnTo>
                    <a:lnTo>
                      <a:pt x="128" y="1688"/>
                    </a:lnTo>
                    <a:lnTo>
                      <a:pt x="128" y="1688"/>
                    </a:lnTo>
                    <a:lnTo>
                      <a:pt x="130" y="1688"/>
                    </a:lnTo>
                    <a:lnTo>
                      <a:pt x="130" y="1684"/>
                    </a:lnTo>
                    <a:lnTo>
                      <a:pt x="128" y="1682"/>
                    </a:lnTo>
                    <a:lnTo>
                      <a:pt x="128" y="1680"/>
                    </a:lnTo>
                    <a:lnTo>
                      <a:pt x="128" y="1680"/>
                    </a:lnTo>
                    <a:lnTo>
                      <a:pt x="130" y="1678"/>
                    </a:lnTo>
                    <a:lnTo>
                      <a:pt x="132" y="1674"/>
                    </a:lnTo>
                    <a:lnTo>
                      <a:pt x="130" y="1672"/>
                    </a:lnTo>
                    <a:lnTo>
                      <a:pt x="128" y="1670"/>
                    </a:lnTo>
                    <a:lnTo>
                      <a:pt x="128" y="1670"/>
                    </a:lnTo>
                    <a:close/>
                    <a:moveTo>
                      <a:pt x="238" y="1920"/>
                    </a:moveTo>
                    <a:lnTo>
                      <a:pt x="238" y="1920"/>
                    </a:lnTo>
                    <a:lnTo>
                      <a:pt x="236" y="1924"/>
                    </a:lnTo>
                    <a:lnTo>
                      <a:pt x="238" y="1926"/>
                    </a:lnTo>
                    <a:lnTo>
                      <a:pt x="240" y="1930"/>
                    </a:lnTo>
                    <a:lnTo>
                      <a:pt x="246" y="1930"/>
                    </a:lnTo>
                    <a:lnTo>
                      <a:pt x="248" y="1930"/>
                    </a:lnTo>
                    <a:lnTo>
                      <a:pt x="252" y="1926"/>
                    </a:lnTo>
                    <a:lnTo>
                      <a:pt x="252" y="1926"/>
                    </a:lnTo>
                    <a:lnTo>
                      <a:pt x="252" y="1924"/>
                    </a:lnTo>
                    <a:lnTo>
                      <a:pt x="254" y="1920"/>
                    </a:lnTo>
                    <a:lnTo>
                      <a:pt x="252" y="1918"/>
                    </a:lnTo>
                    <a:lnTo>
                      <a:pt x="250" y="1916"/>
                    </a:lnTo>
                    <a:lnTo>
                      <a:pt x="248" y="1914"/>
                    </a:lnTo>
                    <a:lnTo>
                      <a:pt x="244" y="1916"/>
                    </a:lnTo>
                    <a:lnTo>
                      <a:pt x="240" y="1916"/>
                    </a:lnTo>
                    <a:lnTo>
                      <a:pt x="238" y="1920"/>
                    </a:lnTo>
                    <a:lnTo>
                      <a:pt x="238" y="1920"/>
                    </a:lnTo>
                    <a:close/>
                    <a:moveTo>
                      <a:pt x="232" y="1878"/>
                    </a:moveTo>
                    <a:lnTo>
                      <a:pt x="232" y="1878"/>
                    </a:lnTo>
                    <a:lnTo>
                      <a:pt x="236" y="1878"/>
                    </a:lnTo>
                    <a:lnTo>
                      <a:pt x="240" y="1876"/>
                    </a:lnTo>
                    <a:lnTo>
                      <a:pt x="246" y="1870"/>
                    </a:lnTo>
                    <a:lnTo>
                      <a:pt x="248" y="1862"/>
                    </a:lnTo>
                    <a:lnTo>
                      <a:pt x="246" y="1858"/>
                    </a:lnTo>
                    <a:lnTo>
                      <a:pt x="244" y="1856"/>
                    </a:lnTo>
                    <a:lnTo>
                      <a:pt x="244" y="1856"/>
                    </a:lnTo>
                    <a:lnTo>
                      <a:pt x="240" y="1858"/>
                    </a:lnTo>
                    <a:lnTo>
                      <a:pt x="234" y="1866"/>
                    </a:lnTo>
                    <a:lnTo>
                      <a:pt x="230" y="1874"/>
                    </a:lnTo>
                    <a:lnTo>
                      <a:pt x="230" y="1876"/>
                    </a:lnTo>
                    <a:lnTo>
                      <a:pt x="232" y="1878"/>
                    </a:lnTo>
                    <a:lnTo>
                      <a:pt x="232" y="1878"/>
                    </a:lnTo>
                    <a:close/>
                    <a:moveTo>
                      <a:pt x="290" y="1568"/>
                    </a:moveTo>
                    <a:lnTo>
                      <a:pt x="290" y="1568"/>
                    </a:lnTo>
                    <a:lnTo>
                      <a:pt x="294" y="1572"/>
                    </a:lnTo>
                    <a:lnTo>
                      <a:pt x="298" y="1572"/>
                    </a:lnTo>
                    <a:lnTo>
                      <a:pt x="302" y="1572"/>
                    </a:lnTo>
                    <a:lnTo>
                      <a:pt x="304" y="1572"/>
                    </a:lnTo>
                    <a:lnTo>
                      <a:pt x="304" y="1572"/>
                    </a:lnTo>
                    <a:lnTo>
                      <a:pt x="306" y="1574"/>
                    </a:lnTo>
                    <a:lnTo>
                      <a:pt x="310" y="1574"/>
                    </a:lnTo>
                    <a:lnTo>
                      <a:pt x="312" y="1572"/>
                    </a:lnTo>
                    <a:lnTo>
                      <a:pt x="312" y="1570"/>
                    </a:lnTo>
                    <a:lnTo>
                      <a:pt x="312" y="1570"/>
                    </a:lnTo>
                    <a:lnTo>
                      <a:pt x="310" y="1568"/>
                    </a:lnTo>
                    <a:lnTo>
                      <a:pt x="310" y="1570"/>
                    </a:lnTo>
                    <a:lnTo>
                      <a:pt x="308" y="1570"/>
                    </a:lnTo>
                    <a:lnTo>
                      <a:pt x="308" y="1568"/>
                    </a:lnTo>
                    <a:lnTo>
                      <a:pt x="308" y="1568"/>
                    </a:lnTo>
                    <a:lnTo>
                      <a:pt x="304" y="1566"/>
                    </a:lnTo>
                    <a:lnTo>
                      <a:pt x="302" y="1566"/>
                    </a:lnTo>
                    <a:lnTo>
                      <a:pt x="300" y="1566"/>
                    </a:lnTo>
                    <a:lnTo>
                      <a:pt x="300" y="1564"/>
                    </a:lnTo>
                    <a:lnTo>
                      <a:pt x="300" y="1564"/>
                    </a:lnTo>
                    <a:lnTo>
                      <a:pt x="302" y="1560"/>
                    </a:lnTo>
                    <a:lnTo>
                      <a:pt x="300" y="1560"/>
                    </a:lnTo>
                    <a:lnTo>
                      <a:pt x="296" y="1556"/>
                    </a:lnTo>
                    <a:lnTo>
                      <a:pt x="296" y="1556"/>
                    </a:lnTo>
                    <a:lnTo>
                      <a:pt x="292" y="1556"/>
                    </a:lnTo>
                    <a:lnTo>
                      <a:pt x="290" y="1560"/>
                    </a:lnTo>
                    <a:lnTo>
                      <a:pt x="288" y="1564"/>
                    </a:lnTo>
                    <a:lnTo>
                      <a:pt x="290" y="1568"/>
                    </a:lnTo>
                    <a:lnTo>
                      <a:pt x="290" y="1568"/>
                    </a:lnTo>
                    <a:close/>
                    <a:moveTo>
                      <a:pt x="208" y="1778"/>
                    </a:moveTo>
                    <a:lnTo>
                      <a:pt x="208" y="1778"/>
                    </a:lnTo>
                    <a:lnTo>
                      <a:pt x="206" y="1784"/>
                    </a:lnTo>
                    <a:lnTo>
                      <a:pt x="206" y="1788"/>
                    </a:lnTo>
                    <a:lnTo>
                      <a:pt x="210" y="1792"/>
                    </a:lnTo>
                    <a:lnTo>
                      <a:pt x="214" y="1792"/>
                    </a:lnTo>
                    <a:lnTo>
                      <a:pt x="214" y="1792"/>
                    </a:lnTo>
                    <a:lnTo>
                      <a:pt x="216" y="1792"/>
                    </a:lnTo>
                    <a:lnTo>
                      <a:pt x="218" y="1788"/>
                    </a:lnTo>
                    <a:lnTo>
                      <a:pt x="216" y="1782"/>
                    </a:lnTo>
                    <a:lnTo>
                      <a:pt x="212" y="1776"/>
                    </a:lnTo>
                    <a:lnTo>
                      <a:pt x="210" y="1776"/>
                    </a:lnTo>
                    <a:lnTo>
                      <a:pt x="208" y="1778"/>
                    </a:lnTo>
                    <a:lnTo>
                      <a:pt x="208" y="1778"/>
                    </a:lnTo>
                    <a:close/>
                    <a:moveTo>
                      <a:pt x="618" y="1434"/>
                    </a:moveTo>
                    <a:lnTo>
                      <a:pt x="618" y="1434"/>
                    </a:lnTo>
                    <a:lnTo>
                      <a:pt x="620" y="1434"/>
                    </a:lnTo>
                    <a:lnTo>
                      <a:pt x="622" y="1430"/>
                    </a:lnTo>
                    <a:lnTo>
                      <a:pt x="622" y="1428"/>
                    </a:lnTo>
                    <a:lnTo>
                      <a:pt x="620" y="1426"/>
                    </a:lnTo>
                    <a:lnTo>
                      <a:pt x="620" y="1426"/>
                    </a:lnTo>
                    <a:lnTo>
                      <a:pt x="616" y="1430"/>
                    </a:lnTo>
                    <a:lnTo>
                      <a:pt x="616" y="1432"/>
                    </a:lnTo>
                    <a:lnTo>
                      <a:pt x="618" y="1434"/>
                    </a:lnTo>
                    <a:lnTo>
                      <a:pt x="618" y="1434"/>
                    </a:lnTo>
                    <a:close/>
                    <a:moveTo>
                      <a:pt x="882" y="1770"/>
                    </a:moveTo>
                    <a:lnTo>
                      <a:pt x="882" y="1770"/>
                    </a:lnTo>
                    <a:lnTo>
                      <a:pt x="876" y="1774"/>
                    </a:lnTo>
                    <a:lnTo>
                      <a:pt x="870" y="1774"/>
                    </a:lnTo>
                    <a:lnTo>
                      <a:pt x="866" y="1772"/>
                    </a:lnTo>
                    <a:lnTo>
                      <a:pt x="860" y="1774"/>
                    </a:lnTo>
                    <a:lnTo>
                      <a:pt x="860" y="1774"/>
                    </a:lnTo>
                    <a:lnTo>
                      <a:pt x="860" y="1774"/>
                    </a:lnTo>
                    <a:lnTo>
                      <a:pt x="860" y="1776"/>
                    </a:lnTo>
                    <a:lnTo>
                      <a:pt x="864" y="1778"/>
                    </a:lnTo>
                    <a:lnTo>
                      <a:pt x="870" y="1782"/>
                    </a:lnTo>
                    <a:lnTo>
                      <a:pt x="870" y="1784"/>
                    </a:lnTo>
                    <a:lnTo>
                      <a:pt x="870" y="1786"/>
                    </a:lnTo>
                    <a:lnTo>
                      <a:pt x="870" y="1786"/>
                    </a:lnTo>
                    <a:lnTo>
                      <a:pt x="870" y="1788"/>
                    </a:lnTo>
                    <a:lnTo>
                      <a:pt x="872" y="1790"/>
                    </a:lnTo>
                    <a:lnTo>
                      <a:pt x="874" y="1792"/>
                    </a:lnTo>
                    <a:lnTo>
                      <a:pt x="872" y="1796"/>
                    </a:lnTo>
                    <a:lnTo>
                      <a:pt x="872" y="1796"/>
                    </a:lnTo>
                    <a:lnTo>
                      <a:pt x="870" y="1798"/>
                    </a:lnTo>
                    <a:lnTo>
                      <a:pt x="872" y="1800"/>
                    </a:lnTo>
                    <a:lnTo>
                      <a:pt x="874" y="1800"/>
                    </a:lnTo>
                    <a:lnTo>
                      <a:pt x="876" y="1804"/>
                    </a:lnTo>
                    <a:lnTo>
                      <a:pt x="876" y="1804"/>
                    </a:lnTo>
                    <a:lnTo>
                      <a:pt x="876" y="1806"/>
                    </a:lnTo>
                    <a:lnTo>
                      <a:pt x="878" y="1806"/>
                    </a:lnTo>
                    <a:lnTo>
                      <a:pt x="882" y="1806"/>
                    </a:lnTo>
                    <a:lnTo>
                      <a:pt x="886" y="1806"/>
                    </a:lnTo>
                    <a:lnTo>
                      <a:pt x="886" y="1806"/>
                    </a:lnTo>
                    <a:lnTo>
                      <a:pt x="888" y="1808"/>
                    </a:lnTo>
                    <a:lnTo>
                      <a:pt x="892" y="1806"/>
                    </a:lnTo>
                    <a:lnTo>
                      <a:pt x="894" y="1808"/>
                    </a:lnTo>
                    <a:lnTo>
                      <a:pt x="896" y="1810"/>
                    </a:lnTo>
                    <a:lnTo>
                      <a:pt x="896" y="1810"/>
                    </a:lnTo>
                    <a:lnTo>
                      <a:pt x="896" y="1814"/>
                    </a:lnTo>
                    <a:lnTo>
                      <a:pt x="894" y="1814"/>
                    </a:lnTo>
                    <a:lnTo>
                      <a:pt x="892" y="1814"/>
                    </a:lnTo>
                    <a:lnTo>
                      <a:pt x="890" y="1816"/>
                    </a:lnTo>
                    <a:lnTo>
                      <a:pt x="890" y="1816"/>
                    </a:lnTo>
                    <a:lnTo>
                      <a:pt x="892" y="1816"/>
                    </a:lnTo>
                    <a:lnTo>
                      <a:pt x="894" y="1818"/>
                    </a:lnTo>
                    <a:lnTo>
                      <a:pt x="898" y="1820"/>
                    </a:lnTo>
                    <a:lnTo>
                      <a:pt x="898" y="1822"/>
                    </a:lnTo>
                    <a:lnTo>
                      <a:pt x="898" y="1822"/>
                    </a:lnTo>
                    <a:lnTo>
                      <a:pt x="896" y="1824"/>
                    </a:lnTo>
                    <a:lnTo>
                      <a:pt x="896" y="1826"/>
                    </a:lnTo>
                    <a:lnTo>
                      <a:pt x="900" y="1832"/>
                    </a:lnTo>
                    <a:lnTo>
                      <a:pt x="900" y="1832"/>
                    </a:lnTo>
                    <a:lnTo>
                      <a:pt x="902" y="1836"/>
                    </a:lnTo>
                    <a:lnTo>
                      <a:pt x="904" y="1840"/>
                    </a:lnTo>
                    <a:lnTo>
                      <a:pt x="904" y="1844"/>
                    </a:lnTo>
                    <a:lnTo>
                      <a:pt x="906" y="1846"/>
                    </a:lnTo>
                    <a:lnTo>
                      <a:pt x="906" y="1846"/>
                    </a:lnTo>
                    <a:lnTo>
                      <a:pt x="906" y="1848"/>
                    </a:lnTo>
                    <a:lnTo>
                      <a:pt x="908" y="1848"/>
                    </a:lnTo>
                    <a:lnTo>
                      <a:pt x="908" y="1844"/>
                    </a:lnTo>
                    <a:lnTo>
                      <a:pt x="908" y="1838"/>
                    </a:lnTo>
                    <a:lnTo>
                      <a:pt x="910" y="1834"/>
                    </a:lnTo>
                    <a:lnTo>
                      <a:pt x="910" y="1834"/>
                    </a:lnTo>
                    <a:lnTo>
                      <a:pt x="912" y="1832"/>
                    </a:lnTo>
                    <a:lnTo>
                      <a:pt x="912" y="1828"/>
                    </a:lnTo>
                    <a:lnTo>
                      <a:pt x="908" y="1824"/>
                    </a:lnTo>
                    <a:lnTo>
                      <a:pt x="908" y="1824"/>
                    </a:lnTo>
                    <a:lnTo>
                      <a:pt x="902" y="1822"/>
                    </a:lnTo>
                    <a:lnTo>
                      <a:pt x="904" y="1822"/>
                    </a:lnTo>
                    <a:lnTo>
                      <a:pt x="906" y="1820"/>
                    </a:lnTo>
                    <a:lnTo>
                      <a:pt x="906" y="1820"/>
                    </a:lnTo>
                    <a:lnTo>
                      <a:pt x="910" y="1820"/>
                    </a:lnTo>
                    <a:lnTo>
                      <a:pt x="912" y="1818"/>
                    </a:lnTo>
                    <a:lnTo>
                      <a:pt x="912" y="1816"/>
                    </a:lnTo>
                    <a:lnTo>
                      <a:pt x="912" y="1812"/>
                    </a:lnTo>
                    <a:lnTo>
                      <a:pt x="912" y="1812"/>
                    </a:lnTo>
                    <a:lnTo>
                      <a:pt x="912" y="1810"/>
                    </a:lnTo>
                    <a:lnTo>
                      <a:pt x="912" y="1808"/>
                    </a:lnTo>
                    <a:lnTo>
                      <a:pt x="918" y="1804"/>
                    </a:lnTo>
                    <a:lnTo>
                      <a:pt x="918" y="1804"/>
                    </a:lnTo>
                    <a:lnTo>
                      <a:pt x="924" y="1802"/>
                    </a:lnTo>
                    <a:lnTo>
                      <a:pt x="926" y="1800"/>
                    </a:lnTo>
                    <a:lnTo>
                      <a:pt x="924" y="1798"/>
                    </a:lnTo>
                    <a:lnTo>
                      <a:pt x="918" y="1794"/>
                    </a:lnTo>
                    <a:lnTo>
                      <a:pt x="918" y="1794"/>
                    </a:lnTo>
                    <a:lnTo>
                      <a:pt x="914" y="1790"/>
                    </a:lnTo>
                    <a:lnTo>
                      <a:pt x="914" y="1788"/>
                    </a:lnTo>
                    <a:lnTo>
                      <a:pt x="916" y="1784"/>
                    </a:lnTo>
                    <a:lnTo>
                      <a:pt x="922" y="1782"/>
                    </a:lnTo>
                    <a:lnTo>
                      <a:pt x="922" y="1782"/>
                    </a:lnTo>
                    <a:lnTo>
                      <a:pt x="926" y="1782"/>
                    </a:lnTo>
                    <a:lnTo>
                      <a:pt x="928" y="1778"/>
                    </a:lnTo>
                    <a:lnTo>
                      <a:pt x="928" y="1772"/>
                    </a:lnTo>
                    <a:lnTo>
                      <a:pt x="928" y="1764"/>
                    </a:lnTo>
                    <a:lnTo>
                      <a:pt x="930" y="1758"/>
                    </a:lnTo>
                    <a:lnTo>
                      <a:pt x="930" y="1758"/>
                    </a:lnTo>
                    <a:lnTo>
                      <a:pt x="932" y="1754"/>
                    </a:lnTo>
                    <a:lnTo>
                      <a:pt x="930" y="1752"/>
                    </a:lnTo>
                    <a:lnTo>
                      <a:pt x="920" y="1750"/>
                    </a:lnTo>
                    <a:lnTo>
                      <a:pt x="920" y="1750"/>
                    </a:lnTo>
                    <a:lnTo>
                      <a:pt x="914" y="1750"/>
                    </a:lnTo>
                    <a:lnTo>
                      <a:pt x="908" y="1752"/>
                    </a:lnTo>
                    <a:lnTo>
                      <a:pt x="904" y="1756"/>
                    </a:lnTo>
                    <a:lnTo>
                      <a:pt x="902" y="1760"/>
                    </a:lnTo>
                    <a:lnTo>
                      <a:pt x="902" y="1760"/>
                    </a:lnTo>
                    <a:lnTo>
                      <a:pt x="904" y="1762"/>
                    </a:lnTo>
                    <a:lnTo>
                      <a:pt x="904" y="1764"/>
                    </a:lnTo>
                    <a:lnTo>
                      <a:pt x="900" y="1772"/>
                    </a:lnTo>
                    <a:lnTo>
                      <a:pt x="900" y="1772"/>
                    </a:lnTo>
                    <a:lnTo>
                      <a:pt x="898" y="1776"/>
                    </a:lnTo>
                    <a:lnTo>
                      <a:pt x="898" y="1776"/>
                    </a:lnTo>
                    <a:lnTo>
                      <a:pt x="896" y="1774"/>
                    </a:lnTo>
                    <a:lnTo>
                      <a:pt x="896" y="1770"/>
                    </a:lnTo>
                    <a:lnTo>
                      <a:pt x="896" y="1770"/>
                    </a:lnTo>
                    <a:lnTo>
                      <a:pt x="898" y="1762"/>
                    </a:lnTo>
                    <a:lnTo>
                      <a:pt x="896" y="1760"/>
                    </a:lnTo>
                    <a:lnTo>
                      <a:pt x="894" y="1760"/>
                    </a:lnTo>
                    <a:lnTo>
                      <a:pt x="894" y="1760"/>
                    </a:lnTo>
                    <a:lnTo>
                      <a:pt x="890" y="1760"/>
                    </a:lnTo>
                    <a:lnTo>
                      <a:pt x="884" y="1758"/>
                    </a:lnTo>
                    <a:lnTo>
                      <a:pt x="880" y="1758"/>
                    </a:lnTo>
                    <a:lnTo>
                      <a:pt x="876" y="1758"/>
                    </a:lnTo>
                    <a:lnTo>
                      <a:pt x="876" y="1758"/>
                    </a:lnTo>
                    <a:lnTo>
                      <a:pt x="876" y="1758"/>
                    </a:lnTo>
                    <a:lnTo>
                      <a:pt x="878" y="1760"/>
                    </a:lnTo>
                    <a:lnTo>
                      <a:pt x="882" y="1762"/>
                    </a:lnTo>
                    <a:lnTo>
                      <a:pt x="886" y="1764"/>
                    </a:lnTo>
                    <a:lnTo>
                      <a:pt x="884" y="1768"/>
                    </a:lnTo>
                    <a:lnTo>
                      <a:pt x="882" y="1770"/>
                    </a:lnTo>
                    <a:lnTo>
                      <a:pt x="882" y="1770"/>
                    </a:lnTo>
                    <a:close/>
                    <a:moveTo>
                      <a:pt x="850" y="1762"/>
                    </a:moveTo>
                    <a:lnTo>
                      <a:pt x="850" y="1762"/>
                    </a:lnTo>
                    <a:lnTo>
                      <a:pt x="848" y="1760"/>
                    </a:lnTo>
                    <a:lnTo>
                      <a:pt x="848" y="1760"/>
                    </a:lnTo>
                    <a:lnTo>
                      <a:pt x="846" y="1764"/>
                    </a:lnTo>
                    <a:lnTo>
                      <a:pt x="848" y="1768"/>
                    </a:lnTo>
                    <a:lnTo>
                      <a:pt x="848" y="1772"/>
                    </a:lnTo>
                    <a:lnTo>
                      <a:pt x="848" y="1772"/>
                    </a:lnTo>
                    <a:lnTo>
                      <a:pt x="850" y="1772"/>
                    </a:lnTo>
                    <a:lnTo>
                      <a:pt x="850" y="1770"/>
                    </a:lnTo>
                    <a:lnTo>
                      <a:pt x="852" y="1766"/>
                    </a:lnTo>
                    <a:lnTo>
                      <a:pt x="850" y="1762"/>
                    </a:lnTo>
                    <a:lnTo>
                      <a:pt x="850" y="1762"/>
                    </a:lnTo>
                    <a:close/>
                    <a:moveTo>
                      <a:pt x="834" y="1814"/>
                    </a:moveTo>
                    <a:lnTo>
                      <a:pt x="834" y="1814"/>
                    </a:lnTo>
                    <a:lnTo>
                      <a:pt x="846" y="1816"/>
                    </a:lnTo>
                    <a:lnTo>
                      <a:pt x="852" y="1814"/>
                    </a:lnTo>
                    <a:lnTo>
                      <a:pt x="856" y="1812"/>
                    </a:lnTo>
                    <a:lnTo>
                      <a:pt x="856" y="1812"/>
                    </a:lnTo>
                    <a:lnTo>
                      <a:pt x="858" y="1808"/>
                    </a:lnTo>
                    <a:lnTo>
                      <a:pt x="858" y="1806"/>
                    </a:lnTo>
                    <a:lnTo>
                      <a:pt x="858" y="1800"/>
                    </a:lnTo>
                    <a:lnTo>
                      <a:pt x="856" y="1794"/>
                    </a:lnTo>
                    <a:lnTo>
                      <a:pt x="856" y="1790"/>
                    </a:lnTo>
                    <a:lnTo>
                      <a:pt x="856" y="1790"/>
                    </a:lnTo>
                    <a:lnTo>
                      <a:pt x="856" y="1788"/>
                    </a:lnTo>
                    <a:lnTo>
                      <a:pt x="852" y="1784"/>
                    </a:lnTo>
                    <a:lnTo>
                      <a:pt x="850" y="1782"/>
                    </a:lnTo>
                    <a:lnTo>
                      <a:pt x="850" y="1784"/>
                    </a:lnTo>
                    <a:lnTo>
                      <a:pt x="850" y="1784"/>
                    </a:lnTo>
                    <a:lnTo>
                      <a:pt x="848" y="1786"/>
                    </a:lnTo>
                    <a:lnTo>
                      <a:pt x="848" y="1786"/>
                    </a:lnTo>
                    <a:lnTo>
                      <a:pt x="840" y="1782"/>
                    </a:lnTo>
                    <a:lnTo>
                      <a:pt x="840" y="1782"/>
                    </a:lnTo>
                    <a:lnTo>
                      <a:pt x="836" y="1782"/>
                    </a:lnTo>
                    <a:lnTo>
                      <a:pt x="830" y="1784"/>
                    </a:lnTo>
                    <a:lnTo>
                      <a:pt x="824" y="1786"/>
                    </a:lnTo>
                    <a:lnTo>
                      <a:pt x="818" y="1786"/>
                    </a:lnTo>
                    <a:lnTo>
                      <a:pt x="818" y="1786"/>
                    </a:lnTo>
                    <a:lnTo>
                      <a:pt x="816" y="1786"/>
                    </a:lnTo>
                    <a:lnTo>
                      <a:pt x="814" y="1788"/>
                    </a:lnTo>
                    <a:lnTo>
                      <a:pt x="814" y="1790"/>
                    </a:lnTo>
                    <a:lnTo>
                      <a:pt x="816" y="1792"/>
                    </a:lnTo>
                    <a:lnTo>
                      <a:pt x="816" y="1792"/>
                    </a:lnTo>
                    <a:lnTo>
                      <a:pt x="820" y="1798"/>
                    </a:lnTo>
                    <a:lnTo>
                      <a:pt x="824" y="1806"/>
                    </a:lnTo>
                    <a:lnTo>
                      <a:pt x="824" y="1806"/>
                    </a:lnTo>
                    <a:lnTo>
                      <a:pt x="824" y="1810"/>
                    </a:lnTo>
                    <a:lnTo>
                      <a:pt x="826" y="1808"/>
                    </a:lnTo>
                    <a:lnTo>
                      <a:pt x="828" y="1808"/>
                    </a:lnTo>
                    <a:lnTo>
                      <a:pt x="830" y="1808"/>
                    </a:lnTo>
                    <a:lnTo>
                      <a:pt x="830" y="1808"/>
                    </a:lnTo>
                    <a:lnTo>
                      <a:pt x="830" y="1810"/>
                    </a:lnTo>
                    <a:lnTo>
                      <a:pt x="830" y="1812"/>
                    </a:lnTo>
                    <a:lnTo>
                      <a:pt x="830" y="1814"/>
                    </a:lnTo>
                    <a:lnTo>
                      <a:pt x="834" y="1814"/>
                    </a:lnTo>
                    <a:lnTo>
                      <a:pt x="834" y="1814"/>
                    </a:lnTo>
                    <a:close/>
                    <a:moveTo>
                      <a:pt x="898" y="1832"/>
                    </a:moveTo>
                    <a:lnTo>
                      <a:pt x="898" y="1832"/>
                    </a:lnTo>
                    <a:lnTo>
                      <a:pt x="894" y="1826"/>
                    </a:lnTo>
                    <a:lnTo>
                      <a:pt x="892" y="1826"/>
                    </a:lnTo>
                    <a:lnTo>
                      <a:pt x="890" y="1828"/>
                    </a:lnTo>
                    <a:lnTo>
                      <a:pt x="890" y="1828"/>
                    </a:lnTo>
                    <a:lnTo>
                      <a:pt x="890" y="1830"/>
                    </a:lnTo>
                    <a:lnTo>
                      <a:pt x="888" y="1830"/>
                    </a:lnTo>
                    <a:lnTo>
                      <a:pt x="878" y="1824"/>
                    </a:lnTo>
                    <a:lnTo>
                      <a:pt x="878" y="1824"/>
                    </a:lnTo>
                    <a:lnTo>
                      <a:pt x="872" y="1822"/>
                    </a:lnTo>
                    <a:lnTo>
                      <a:pt x="868" y="1822"/>
                    </a:lnTo>
                    <a:lnTo>
                      <a:pt x="866" y="1826"/>
                    </a:lnTo>
                    <a:lnTo>
                      <a:pt x="866" y="1830"/>
                    </a:lnTo>
                    <a:lnTo>
                      <a:pt x="866" y="1830"/>
                    </a:lnTo>
                    <a:lnTo>
                      <a:pt x="870" y="1834"/>
                    </a:lnTo>
                    <a:lnTo>
                      <a:pt x="876" y="1838"/>
                    </a:lnTo>
                    <a:lnTo>
                      <a:pt x="886" y="1840"/>
                    </a:lnTo>
                    <a:lnTo>
                      <a:pt x="894" y="1842"/>
                    </a:lnTo>
                    <a:lnTo>
                      <a:pt x="894" y="1842"/>
                    </a:lnTo>
                    <a:lnTo>
                      <a:pt x="898" y="1842"/>
                    </a:lnTo>
                    <a:lnTo>
                      <a:pt x="900" y="1840"/>
                    </a:lnTo>
                    <a:lnTo>
                      <a:pt x="898" y="1832"/>
                    </a:lnTo>
                    <a:lnTo>
                      <a:pt x="898" y="1832"/>
                    </a:lnTo>
                    <a:close/>
                    <a:moveTo>
                      <a:pt x="914" y="1822"/>
                    </a:moveTo>
                    <a:lnTo>
                      <a:pt x="914" y="1822"/>
                    </a:lnTo>
                    <a:lnTo>
                      <a:pt x="912" y="1824"/>
                    </a:lnTo>
                    <a:lnTo>
                      <a:pt x="914" y="1826"/>
                    </a:lnTo>
                    <a:lnTo>
                      <a:pt x="918" y="1824"/>
                    </a:lnTo>
                    <a:lnTo>
                      <a:pt x="924" y="1820"/>
                    </a:lnTo>
                    <a:lnTo>
                      <a:pt x="926" y="1820"/>
                    </a:lnTo>
                    <a:lnTo>
                      <a:pt x="926" y="1818"/>
                    </a:lnTo>
                    <a:lnTo>
                      <a:pt x="926" y="1818"/>
                    </a:lnTo>
                    <a:lnTo>
                      <a:pt x="922" y="1816"/>
                    </a:lnTo>
                    <a:lnTo>
                      <a:pt x="918" y="1816"/>
                    </a:lnTo>
                    <a:lnTo>
                      <a:pt x="914" y="1822"/>
                    </a:lnTo>
                    <a:lnTo>
                      <a:pt x="914" y="1822"/>
                    </a:lnTo>
                    <a:close/>
                    <a:moveTo>
                      <a:pt x="868" y="1848"/>
                    </a:moveTo>
                    <a:lnTo>
                      <a:pt x="868" y="1848"/>
                    </a:lnTo>
                    <a:lnTo>
                      <a:pt x="866" y="1850"/>
                    </a:lnTo>
                    <a:lnTo>
                      <a:pt x="868" y="1852"/>
                    </a:lnTo>
                    <a:lnTo>
                      <a:pt x="872" y="1854"/>
                    </a:lnTo>
                    <a:lnTo>
                      <a:pt x="876" y="1854"/>
                    </a:lnTo>
                    <a:lnTo>
                      <a:pt x="880" y="1854"/>
                    </a:lnTo>
                    <a:lnTo>
                      <a:pt x="880" y="1854"/>
                    </a:lnTo>
                    <a:lnTo>
                      <a:pt x="878" y="1852"/>
                    </a:lnTo>
                    <a:lnTo>
                      <a:pt x="876" y="1848"/>
                    </a:lnTo>
                    <a:lnTo>
                      <a:pt x="872" y="1848"/>
                    </a:lnTo>
                    <a:lnTo>
                      <a:pt x="868" y="1848"/>
                    </a:lnTo>
                    <a:lnTo>
                      <a:pt x="868" y="1848"/>
                    </a:lnTo>
                    <a:close/>
                    <a:moveTo>
                      <a:pt x="1030" y="1820"/>
                    </a:moveTo>
                    <a:lnTo>
                      <a:pt x="1030" y="1820"/>
                    </a:lnTo>
                    <a:lnTo>
                      <a:pt x="1032" y="1818"/>
                    </a:lnTo>
                    <a:lnTo>
                      <a:pt x="1034" y="1814"/>
                    </a:lnTo>
                    <a:lnTo>
                      <a:pt x="1032" y="1810"/>
                    </a:lnTo>
                    <a:lnTo>
                      <a:pt x="1030" y="1808"/>
                    </a:lnTo>
                    <a:lnTo>
                      <a:pt x="1022" y="1802"/>
                    </a:lnTo>
                    <a:lnTo>
                      <a:pt x="1018" y="1800"/>
                    </a:lnTo>
                    <a:lnTo>
                      <a:pt x="1016" y="1802"/>
                    </a:lnTo>
                    <a:lnTo>
                      <a:pt x="1016" y="1802"/>
                    </a:lnTo>
                    <a:lnTo>
                      <a:pt x="1014" y="1806"/>
                    </a:lnTo>
                    <a:lnTo>
                      <a:pt x="1016" y="1812"/>
                    </a:lnTo>
                    <a:lnTo>
                      <a:pt x="1022" y="1818"/>
                    </a:lnTo>
                    <a:lnTo>
                      <a:pt x="1026" y="1820"/>
                    </a:lnTo>
                    <a:lnTo>
                      <a:pt x="1030" y="1820"/>
                    </a:lnTo>
                    <a:lnTo>
                      <a:pt x="1030" y="1820"/>
                    </a:lnTo>
                    <a:close/>
                    <a:moveTo>
                      <a:pt x="952" y="1846"/>
                    </a:moveTo>
                    <a:lnTo>
                      <a:pt x="952" y="1846"/>
                    </a:lnTo>
                    <a:lnTo>
                      <a:pt x="952" y="1848"/>
                    </a:lnTo>
                    <a:lnTo>
                      <a:pt x="954" y="1850"/>
                    </a:lnTo>
                    <a:lnTo>
                      <a:pt x="954" y="1854"/>
                    </a:lnTo>
                    <a:lnTo>
                      <a:pt x="954" y="1856"/>
                    </a:lnTo>
                    <a:lnTo>
                      <a:pt x="954" y="1856"/>
                    </a:lnTo>
                    <a:lnTo>
                      <a:pt x="952" y="1858"/>
                    </a:lnTo>
                    <a:lnTo>
                      <a:pt x="952" y="1860"/>
                    </a:lnTo>
                    <a:lnTo>
                      <a:pt x="960" y="1866"/>
                    </a:lnTo>
                    <a:lnTo>
                      <a:pt x="960" y="1866"/>
                    </a:lnTo>
                    <a:lnTo>
                      <a:pt x="962" y="1866"/>
                    </a:lnTo>
                    <a:lnTo>
                      <a:pt x="964" y="1866"/>
                    </a:lnTo>
                    <a:lnTo>
                      <a:pt x="964" y="1866"/>
                    </a:lnTo>
                    <a:lnTo>
                      <a:pt x="964" y="1864"/>
                    </a:lnTo>
                    <a:lnTo>
                      <a:pt x="964" y="1864"/>
                    </a:lnTo>
                    <a:lnTo>
                      <a:pt x="964" y="1862"/>
                    </a:lnTo>
                    <a:lnTo>
                      <a:pt x="966" y="1860"/>
                    </a:lnTo>
                    <a:lnTo>
                      <a:pt x="968" y="1858"/>
                    </a:lnTo>
                    <a:lnTo>
                      <a:pt x="972" y="1862"/>
                    </a:lnTo>
                    <a:lnTo>
                      <a:pt x="972" y="1862"/>
                    </a:lnTo>
                    <a:lnTo>
                      <a:pt x="976" y="1864"/>
                    </a:lnTo>
                    <a:lnTo>
                      <a:pt x="976" y="1862"/>
                    </a:lnTo>
                    <a:lnTo>
                      <a:pt x="976" y="1860"/>
                    </a:lnTo>
                    <a:lnTo>
                      <a:pt x="972" y="1858"/>
                    </a:lnTo>
                    <a:lnTo>
                      <a:pt x="972" y="1858"/>
                    </a:lnTo>
                    <a:lnTo>
                      <a:pt x="972" y="1856"/>
                    </a:lnTo>
                    <a:lnTo>
                      <a:pt x="972" y="1854"/>
                    </a:lnTo>
                    <a:lnTo>
                      <a:pt x="974" y="1850"/>
                    </a:lnTo>
                    <a:lnTo>
                      <a:pt x="974" y="1846"/>
                    </a:lnTo>
                    <a:lnTo>
                      <a:pt x="972" y="1846"/>
                    </a:lnTo>
                    <a:lnTo>
                      <a:pt x="970" y="1844"/>
                    </a:lnTo>
                    <a:lnTo>
                      <a:pt x="970" y="1844"/>
                    </a:lnTo>
                    <a:lnTo>
                      <a:pt x="966" y="1842"/>
                    </a:lnTo>
                    <a:lnTo>
                      <a:pt x="964" y="1840"/>
                    </a:lnTo>
                    <a:lnTo>
                      <a:pt x="960" y="1838"/>
                    </a:lnTo>
                    <a:lnTo>
                      <a:pt x="956" y="1840"/>
                    </a:lnTo>
                    <a:lnTo>
                      <a:pt x="956" y="1840"/>
                    </a:lnTo>
                    <a:lnTo>
                      <a:pt x="954" y="1842"/>
                    </a:lnTo>
                    <a:lnTo>
                      <a:pt x="954" y="1842"/>
                    </a:lnTo>
                    <a:lnTo>
                      <a:pt x="958" y="1844"/>
                    </a:lnTo>
                    <a:lnTo>
                      <a:pt x="964" y="1846"/>
                    </a:lnTo>
                    <a:lnTo>
                      <a:pt x="966" y="1848"/>
                    </a:lnTo>
                    <a:lnTo>
                      <a:pt x="966" y="1848"/>
                    </a:lnTo>
                    <a:lnTo>
                      <a:pt x="964" y="1850"/>
                    </a:lnTo>
                    <a:lnTo>
                      <a:pt x="960" y="1850"/>
                    </a:lnTo>
                    <a:lnTo>
                      <a:pt x="952" y="1846"/>
                    </a:lnTo>
                    <a:lnTo>
                      <a:pt x="952" y="1846"/>
                    </a:lnTo>
                    <a:close/>
                    <a:moveTo>
                      <a:pt x="862" y="1678"/>
                    </a:moveTo>
                    <a:lnTo>
                      <a:pt x="862" y="1678"/>
                    </a:lnTo>
                    <a:lnTo>
                      <a:pt x="862" y="1678"/>
                    </a:lnTo>
                    <a:lnTo>
                      <a:pt x="864" y="1678"/>
                    </a:lnTo>
                    <a:lnTo>
                      <a:pt x="868" y="1678"/>
                    </a:lnTo>
                    <a:lnTo>
                      <a:pt x="872" y="1674"/>
                    </a:lnTo>
                    <a:lnTo>
                      <a:pt x="872" y="1674"/>
                    </a:lnTo>
                    <a:lnTo>
                      <a:pt x="872" y="1674"/>
                    </a:lnTo>
                    <a:lnTo>
                      <a:pt x="872" y="1672"/>
                    </a:lnTo>
                    <a:lnTo>
                      <a:pt x="868" y="1672"/>
                    </a:lnTo>
                    <a:lnTo>
                      <a:pt x="864" y="1674"/>
                    </a:lnTo>
                    <a:lnTo>
                      <a:pt x="862" y="1678"/>
                    </a:lnTo>
                    <a:lnTo>
                      <a:pt x="862" y="1678"/>
                    </a:lnTo>
                    <a:close/>
                    <a:moveTo>
                      <a:pt x="860" y="1816"/>
                    </a:moveTo>
                    <a:lnTo>
                      <a:pt x="860" y="1816"/>
                    </a:lnTo>
                    <a:lnTo>
                      <a:pt x="860" y="1814"/>
                    </a:lnTo>
                    <a:lnTo>
                      <a:pt x="860" y="1812"/>
                    </a:lnTo>
                    <a:lnTo>
                      <a:pt x="858" y="1814"/>
                    </a:lnTo>
                    <a:lnTo>
                      <a:pt x="856" y="1818"/>
                    </a:lnTo>
                    <a:lnTo>
                      <a:pt x="856" y="1818"/>
                    </a:lnTo>
                    <a:lnTo>
                      <a:pt x="850" y="1826"/>
                    </a:lnTo>
                    <a:lnTo>
                      <a:pt x="848" y="1830"/>
                    </a:lnTo>
                    <a:lnTo>
                      <a:pt x="848" y="1834"/>
                    </a:lnTo>
                    <a:lnTo>
                      <a:pt x="848" y="1834"/>
                    </a:lnTo>
                    <a:lnTo>
                      <a:pt x="850" y="1836"/>
                    </a:lnTo>
                    <a:lnTo>
                      <a:pt x="852" y="1836"/>
                    </a:lnTo>
                    <a:lnTo>
                      <a:pt x="854" y="1830"/>
                    </a:lnTo>
                    <a:lnTo>
                      <a:pt x="860" y="1816"/>
                    </a:lnTo>
                    <a:lnTo>
                      <a:pt x="860" y="1816"/>
                    </a:lnTo>
                    <a:close/>
                    <a:moveTo>
                      <a:pt x="1100" y="2508"/>
                    </a:moveTo>
                    <a:lnTo>
                      <a:pt x="1100" y="2508"/>
                    </a:lnTo>
                    <a:lnTo>
                      <a:pt x="1102" y="2508"/>
                    </a:lnTo>
                    <a:lnTo>
                      <a:pt x="1100" y="2506"/>
                    </a:lnTo>
                    <a:lnTo>
                      <a:pt x="1094" y="2504"/>
                    </a:lnTo>
                    <a:lnTo>
                      <a:pt x="1086" y="2504"/>
                    </a:lnTo>
                    <a:lnTo>
                      <a:pt x="1084" y="2504"/>
                    </a:lnTo>
                    <a:lnTo>
                      <a:pt x="1084" y="2506"/>
                    </a:lnTo>
                    <a:lnTo>
                      <a:pt x="1084" y="2506"/>
                    </a:lnTo>
                    <a:lnTo>
                      <a:pt x="1086" y="2508"/>
                    </a:lnTo>
                    <a:lnTo>
                      <a:pt x="1092" y="2510"/>
                    </a:lnTo>
                    <a:lnTo>
                      <a:pt x="1096" y="2510"/>
                    </a:lnTo>
                    <a:lnTo>
                      <a:pt x="1100" y="2508"/>
                    </a:lnTo>
                    <a:lnTo>
                      <a:pt x="1100" y="2508"/>
                    </a:lnTo>
                    <a:close/>
                    <a:moveTo>
                      <a:pt x="1092" y="2518"/>
                    </a:moveTo>
                    <a:lnTo>
                      <a:pt x="1092" y="2518"/>
                    </a:lnTo>
                    <a:lnTo>
                      <a:pt x="1108" y="2520"/>
                    </a:lnTo>
                    <a:lnTo>
                      <a:pt x="1110" y="2518"/>
                    </a:lnTo>
                    <a:lnTo>
                      <a:pt x="1108" y="2516"/>
                    </a:lnTo>
                    <a:lnTo>
                      <a:pt x="1108" y="2516"/>
                    </a:lnTo>
                    <a:lnTo>
                      <a:pt x="1100" y="2514"/>
                    </a:lnTo>
                    <a:lnTo>
                      <a:pt x="1086" y="2514"/>
                    </a:lnTo>
                    <a:lnTo>
                      <a:pt x="1086" y="2514"/>
                    </a:lnTo>
                    <a:lnTo>
                      <a:pt x="1084" y="2514"/>
                    </a:lnTo>
                    <a:lnTo>
                      <a:pt x="1082" y="2516"/>
                    </a:lnTo>
                    <a:lnTo>
                      <a:pt x="1092" y="2518"/>
                    </a:lnTo>
                    <a:lnTo>
                      <a:pt x="1092" y="2518"/>
                    </a:lnTo>
                    <a:close/>
                    <a:moveTo>
                      <a:pt x="1108" y="1672"/>
                    </a:moveTo>
                    <a:lnTo>
                      <a:pt x="1108" y="1672"/>
                    </a:lnTo>
                    <a:lnTo>
                      <a:pt x="1106" y="1672"/>
                    </a:lnTo>
                    <a:lnTo>
                      <a:pt x="1104" y="1674"/>
                    </a:lnTo>
                    <a:lnTo>
                      <a:pt x="1102" y="1682"/>
                    </a:lnTo>
                    <a:lnTo>
                      <a:pt x="1100" y="1692"/>
                    </a:lnTo>
                    <a:lnTo>
                      <a:pt x="1094" y="1700"/>
                    </a:lnTo>
                    <a:lnTo>
                      <a:pt x="1094" y="1700"/>
                    </a:lnTo>
                    <a:lnTo>
                      <a:pt x="1090" y="1710"/>
                    </a:lnTo>
                    <a:lnTo>
                      <a:pt x="1086" y="1722"/>
                    </a:lnTo>
                    <a:lnTo>
                      <a:pt x="1084" y="1734"/>
                    </a:lnTo>
                    <a:lnTo>
                      <a:pt x="1084" y="1740"/>
                    </a:lnTo>
                    <a:lnTo>
                      <a:pt x="1086" y="1744"/>
                    </a:lnTo>
                    <a:lnTo>
                      <a:pt x="1086" y="1744"/>
                    </a:lnTo>
                    <a:lnTo>
                      <a:pt x="1090" y="1734"/>
                    </a:lnTo>
                    <a:lnTo>
                      <a:pt x="1100" y="1708"/>
                    </a:lnTo>
                    <a:lnTo>
                      <a:pt x="1108" y="1684"/>
                    </a:lnTo>
                    <a:lnTo>
                      <a:pt x="1110" y="1676"/>
                    </a:lnTo>
                    <a:lnTo>
                      <a:pt x="1110" y="1674"/>
                    </a:lnTo>
                    <a:lnTo>
                      <a:pt x="1108" y="1672"/>
                    </a:lnTo>
                    <a:lnTo>
                      <a:pt x="1108" y="1672"/>
                    </a:lnTo>
                    <a:close/>
                    <a:moveTo>
                      <a:pt x="1804" y="2938"/>
                    </a:moveTo>
                    <a:lnTo>
                      <a:pt x="1804" y="2938"/>
                    </a:lnTo>
                    <a:lnTo>
                      <a:pt x="1810" y="2932"/>
                    </a:lnTo>
                    <a:lnTo>
                      <a:pt x="1812" y="2928"/>
                    </a:lnTo>
                    <a:lnTo>
                      <a:pt x="1812" y="2928"/>
                    </a:lnTo>
                    <a:lnTo>
                      <a:pt x="1808" y="2930"/>
                    </a:lnTo>
                    <a:lnTo>
                      <a:pt x="1808" y="2930"/>
                    </a:lnTo>
                    <a:lnTo>
                      <a:pt x="1800" y="2934"/>
                    </a:lnTo>
                    <a:lnTo>
                      <a:pt x="1790" y="2940"/>
                    </a:lnTo>
                    <a:lnTo>
                      <a:pt x="1776" y="2946"/>
                    </a:lnTo>
                    <a:lnTo>
                      <a:pt x="1768" y="2946"/>
                    </a:lnTo>
                    <a:lnTo>
                      <a:pt x="1760" y="2944"/>
                    </a:lnTo>
                    <a:lnTo>
                      <a:pt x="1760" y="2944"/>
                    </a:lnTo>
                    <a:lnTo>
                      <a:pt x="1754" y="2944"/>
                    </a:lnTo>
                    <a:lnTo>
                      <a:pt x="1750" y="2944"/>
                    </a:lnTo>
                    <a:lnTo>
                      <a:pt x="1748" y="2946"/>
                    </a:lnTo>
                    <a:lnTo>
                      <a:pt x="1748" y="2948"/>
                    </a:lnTo>
                    <a:lnTo>
                      <a:pt x="1748" y="2954"/>
                    </a:lnTo>
                    <a:lnTo>
                      <a:pt x="1746" y="2954"/>
                    </a:lnTo>
                    <a:lnTo>
                      <a:pt x="1742" y="2954"/>
                    </a:lnTo>
                    <a:lnTo>
                      <a:pt x="1742" y="2954"/>
                    </a:lnTo>
                    <a:lnTo>
                      <a:pt x="1736" y="2954"/>
                    </a:lnTo>
                    <a:lnTo>
                      <a:pt x="1732" y="2958"/>
                    </a:lnTo>
                    <a:lnTo>
                      <a:pt x="1730" y="2960"/>
                    </a:lnTo>
                    <a:lnTo>
                      <a:pt x="1726" y="2960"/>
                    </a:lnTo>
                    <a:lnTo>
                      <a:pt x="1726" y="2960"/>
                    </a:lnTo>
                    <a:lnTo>
                      <a:pt x="1722" y="2960"/>
                    </a:lnTo>
                    <a:lnTo>
                      <a:pt x="1722" y="2962"/>
                    </a:lnTo>
                    <a:lnTo>
                      <a:pt x="1726" y="2974"/>
                    </a:lnTo>
                    <a:lnTo>
                      <a:pt x="1726" y="2974"/>
                    </a:lnTo>
                    <a:lnTo>
                      <a:pt x="1728" y="2978"/>
                    </a:lnTo>
                    <a:lnTo>
                      <a:pt x="1732" y="2980"/>
                    </a:lnTo>
                    <a:lnTo>
                      <a:pt x="1736" y="2982"/>
                    </a:lnTo>
                    <a:lnTo>
                      <a:pt x="1742" y="2982"/>
                    </a:lnTo>
                    <a:lnTo>
                      <a:pt x="1742" y="2982"/>
                    </a:lnTo>
                    <a:lnTo>
                      <a:pt x="1748" y="2982"/>
                    </a:lnTo>
                    <a:lnTo>
                      <a:pt x="1750" y="2984"/>
                    </a:lnTo>
                    <a:lnTo>
                      <a:pt x="1752" y="2986"/>
                    </a:lnTo>
                    <a:lnTo>
                      <a:pt x="1754" y="2984"/>
                    </a:lnTo>
                    <a:lnTo>
                      <a:pt x="1754" y="2984"/>
                    </a:lnTo>
                    <a:lnTo>
                      <a:pt x="1754" y="2982"/>
                    </a:lnTo>
                    <a:lnTo>
                      <a:pt x="1756" y="2980"/>
                    </a:lnTo>
                    <a:lnTo>
                      <a:pt x="1764" y="2978"/>
                    </a:lnTo>
                    <a:lnTo>
                      <a:pt x="1770" y="2976"/>
                    </a:lnTo>
                    <a:lnTo>
                      <a:pt x="1774" y="2974"/>
                    </a:lnTo>
                    <a:lnTo>
                      <a:pt x="1776" y="2970"/>
                    </a:lnTo>
                    <a:lnTo>
                      <a:pt x="1776" y="2970"/>
                    </a:lnTo>
                    <a:lnTo>
                      <a:pt x="1780" y="2966"/>
                    </a:lnTo>
                    <a:lnTo>
                      <a:pt x="1782" y="2964"/>
                    </a:lnTo>
                    <a:lnTo>
                      <a:pt x="1790" y="2964"/>
                    </a:lnTo>
                    <a:lnTo>
                      <a:pt x="1794" y="2964"/>
                    </a:lnTo>
                    <a:lnTo>
                      <a:pt x="1796" y="2962"/>
                    </a:lnTo>
                    <a:lnTo>
                      <a:pt x="1794" y="2960"/>
                    </a:lnTo>
                    <a:lnTo>
                      <a:pt x="1794" y="2960"/>
                    </a:lnTo>
                    <a:lnTo>
                      <a:pt x="1790" y="2954"/>
                    </a:lnTo>
                    <a:lnTo>
                      <a:pt x="1790" y="2950"/>
                    </a:lnTo>
                    <a:lnTo>
                      <a:pt x="1796" y="2944"/>
                    </a:lnTo>
                    <a:lnTo>
                      <a:pt x="1804" y="2938"/>
                    </a:lnTo>
                    <a:lnTo>
                      <a:pt x="1804" y="2938"/>
                    </a:lnTo>
                    <a:close/>
                    <a:moveTo>
                      <a:pt x="1538" y="2902"/>
                    </a:moveTo>
                    <a:lnTo>
                      <a:pt x="1538" y="2902"/>
                    </a:lnTo>
                    <a:lnTo>
                      <a:pt x="1540" y="2906"/>
                    </a:lnTo>
                    <a:lnTo>
                      <a:pt x="1538" y="2910"/>
                    </a:lnTo>
                    <a:lnTo>
                      <a:pt x="1538" y="2914"/>
                    </a:lnTo>
                    <a:lnTo>
                      <a:pt x="1542" y="2918"/>
                    </a:lnTo>
                    <a:lnTo>
                      <a:pt x="1542" y="2918"/>
                    </a:lnTo>
                    <a:lnTo>
                      <a:pt x="1544" y="2918"/>
                    </a:lnTo>
                    <a:lnTo>
                      <a:pt x="1548" y="2914"/>
                    </a:lnTo>
                    <a:lnTo>
                      <a:pt x="1554" y="2904"/>
                    </a:lnTo>
                    <a:lnTo>
                      <a:pt x="1558" y="2894"/>
                    </a:lnTo>
                    <a:lnTo>
                      <a:pt x="1560" y="2888"/>
                    </a:lnTo>
                    <a:lnTo>
                      <a:pt x="1560" y="2886"/>
                    </a:lnTo>
                    <a:lnTo>
                      <a:pt x="1560" y="2886"/>
                    </a:lnTo>
                    <a:lnTo>
                      <a:pt x="1558" y="2886"/>
                    </a:lnTo>
                    <a:lnTo>
                      <a:pt x="1554" y="2886"/>
                    </a:lnTo>
                    <a:lnTo>
                      <a:pt x="1546" y="2892"/>
                    </a:lnTo>
                    <a:lnTo>
                      <a:pt x="1540" y="2898"/>
                    </a:lnTo>
                    <a:lnTo>
                      <a:pt x="1538" y="2900"/>
                    </a:lnTo>
                    <a:lnTo>
                      <a:pt x="1538" y="2902"/>
                    </a:lnTo>
                    <a:lnTo>
                      <a:pt x="1538" y="2902"/>
                    </a:lnTo>
                    <a:close/>
                    <a:moveTo>
                      <a:pt x="644" y="1508"/>
                    </a:moveTo>
                    <a:lnTo>
                      <a:pt x="644" y="1508"/>
                    </a:lnTo>
                    <a:lnTo>
                      <a:pt x="646" y="1510"/>
                    </a:lnTo>
                    <a:lnTo>
                      <a:pt x="648" y="1508"/>
                    </a:lnTo>
                    <a:lnTo>
                      <a:pt x="650" y="1500"/>
                    </a:lnTo>
                    <a:lnTo>
                      <a:pt x="650" y="1500"/>
                    </a:lnTo>
                    <a:lnTo>
                      <a:pt x="650" y="1498"/>
                    </a:lnTo>
                    <a:lnTo>
                      <a:pt x="650" y="1498"/>
                    </a:lnTo>
                    <a:lnTo>
                      <a:pt x="646" y="1498"/>
                    </a:lnTo>
                    <a:lnTo>
                      <a:pt x="640" y="1500"/>
                    </a:lnTo>
                    <a:lnTo>
                      <a:pt x="636" y="1504"/>
                    </a:lnTo>
                    <a:lnTo>
                      <a:pt x="636" y="1504"/>
                    </a:lnTo>
                    <a:lnTo>
                      <a:pt x="634" y="1510"/>
                    </a:lnTo>
                    <a:lnTo>
                      <a:pt x="636" y="1514"/>
                    </a:lnTo>
                    <a:lnTo>
                      <a:pt x="638" y="1516"/>
                    </a:lnTo>
                    <a:lnTo>
                      <a:pt x="642" y="1518"/>
                    </a:lnTo>
                    <a:lnTo>
                      <a:pt x="642" y="1518"/>
                    </a:lnTo>
                    <a:lnTo>
                      <a:pt x="644" y="1516"/>
                    </a:lnTo>
                    <a:lnTo>
                      <a:pt x="644" y="1514"/>
                    </a:lnTo>
                    <a:lnTo>
                      <a:pt x="642" y="1508"/>
                    </a:lnTo>
                    <a:lnTo>
                      <a:pt x="642" y="1508"/>
                    </a:lnTo>
                    <a:lnTo>
                      <a:pt x="640" y="1506"/>
                    </a:lnTo>
                    <a:lnTo>
                      <a:pt x="640" y="1506"/>
                    </a:lnTo>
                    <a:lnTo>
                      <a:pt x="644" y="1508"/>
                    </a:lnTo>
                    <a:lnTo>
                      <a:pt x="644" y="1508"/>
                    </a:lnTo>
                    <a:close/>
                    <a:moveTo>
                      <a:pt x="632" y="1558"/>
                    </a:moveTo>
                    <a:lnTo>
                      <a:pt x="632" y="1558"/>
                    </a:lnTo>
                    <a:lnTo>
                      <a:pt x="632" y="1558"/>
                    </a:lnTo>
                    <a:lnTo>
                      <a:pt x="634" y="1556"/>
                    </a:lnTo>
                    <a:lnTo>
                      <a:pt x="634" y="1554"/>
                    </a:lnTo>
                    <a:lnTo>
                      <a:pt x="634" y="1548"/>
                    </a:lnTo>
                    <a:lnTo>
                      <a:pt x="630" y="1544"/>
                    </a:lnTo>
                    <a:lnTo>
                      <a:pt x="630" y="1544"/>
                    </a:lnTo>
                    <a:lnTo>
                      <a:pt x="630" y="1546"/>
                    </a:lnTo>
                    <a:lnTo>
                      <a:pt x="630" y="1546"/>
                    </a:lnTo>
                    <a:lnTo>
                      <a:pt x="630" y="1554"/>
                    </a:lnTo>
                    <a:lnTo>
                      <a:pt x="630" y="1558"/>
                    </a:lnTo>
                    <a:lnTo>
                      <a:pt x="632" y="1558"/>
                    </a:lnTo>
                    <a:lnTo>
                      <a:pt x="632" y="1558"/>
                    </a:lnTo>
                    <a:close/>
                    <a:moveTo>
                      <a:pt x="628" y="1528"/>
                    </a:moveTo>
                    <a:lnTo>
                      <a:pt x="628" y="1528"/>
                    </a:lnTo>
                    <a:lnTo>
                      <a:pt x="628" y="1528"/>
                    </a:lnTo>
                    <a:lnTo>
                      <a:pt x="630" y="1528"/>
                    </a:lnTo>
                    <a:lnTo>
                      <a:pt x="630" y="1526"/>
                    </a:lnTo>
                    <a:lnTo>
                      <a:pt x="632" y="1522"/>
                    </a:lnTo>
                    <a:lnTo>
                      <a:pt x="632" y="1520"/>
                    </a:lnTo>
                    <a:lnTo>
                      <a:pt x="632" y="1520"/>
                    </a:lnTo>
                    <a:lnTo>
                      <a:pt x="634" y="1520"/>
                    </a:lnTo>
                    <a:lnTo>
                      <a:pt x="634" y="1522"/>
                    </a:lnTo>
                    <a:lnTo>
                      <a:pt x="636" y="1522"/>
                    </a:lnTo>
                    <a:lnTo>
                      <a:pt x="638" y="1522"/>
                    </a:lnTo>
                    <a:lnTo>
                      <a:pt x="638" y="1522"/>
                    </a:lnTo>
                    <a:lnTo>
                      <a:pt x="638" y="1520"/>
                    </a:lnTo>
                    <a:lnTo>
                      <a:pt x="636" y="1518"/>
                    </a:lnTo>
                    <a:lnTo>
                      <a:pt x="632" y="1514"/>
                    </a:lnTo>
                    <a:lnTo>
                      <a:pt x="632" y="1514"/>
                    </a:lnTo>
                    <a:lnTo>
                      <a:pt x="628" y="1512"/>
                    </a:lnTo>
                    <a:lnTo>
                      <a:pt x="628" y="1516"/>
                    </a:lnTo>
                    <a:lnTo>
                      <a:pt x="628" y="1528"/>
                    </a:lnTo>
                    <a:lnTo>
                      <a:pt x="628" y="1528"/>
                    </a:lnTo>
                    <a:close/>
                    <a:moveTo>
                      <a:pt x="1186" y="1636"/>
                    </a:moveTo>
                    <a:lnTo>
                      <a:pt x="1186" y="1636"/>
                    </a:lnTo>
                    <a:lnTo>
                      <a:pt x="1180" y="1640"/>
                    </a:lnTo>
                    <a:lnTo>
                      <a:pt x="1176" y="1638"/>
                    </a:lnTo>
                    <a:lnTo>
                      <a:pt x="1174" y="1638"/>
                    </a:lnTo>
                    <a:lnTo>
                      <a:pt x="1164" y="1646"/>
                    </a:lnTo>
                    <a:lnTo>
                      <a:pt x="1164" y="1646"/>
                    </a:lnTo>
                    <a:lnTo>
                      <a:pt x="1156" y="1656"/>
                    </a:lnTo>
                    <a:lnTo>
                      <a:pt x="1150" y="1666"/>
                    </a:lnTo>
                    <a:lnTo>
                      <a:pt x="1150" y="1676"/>
                    </a:lnTo>
                    <a:lnTo>
                      <a:pt x="1154" y="1682"/>
                    </a:lnTo>
                    <a:lnTo>
                      <a:pt x="1154" y="1682"/>
                    </a:lnTo>
                    <a:lnTo>
                      <a:pt x="1154" y="1686"/>
                    </a:lnTo>
                    <a:lnTo>
                      <a:pt x="1154" y="1690"/>
                    </a:lnTo>
                    <a:lnTo>
                      <a:pt x="1154" y="1696"/>
                    </a:lnTo>
                    <a:lnTo>
                      <a:pt x="1154" y="1700"/>
                    </a:lnTo>
                    <a:lnTo>
                      <a:pt x="1154" y="1700"/>
                    </a:lnTo>
                    <a:lnTo>
                      <a:pt x="1158" y="1700"/>
                    </a:lnTo>
                    <a:lnTo>
                      <a:pt x="1158" y="1700"/>
                    </a:lnTo>
                    <a:lnTo>
                      <a:pt x="1162" y="1696"/>
                    </a:lnTo>
                    <a:lnTo>
                      <a:pt x="1166" y="1690"/>
                    </a:lnTo>
                    <a:lnTo>
                      <a:pt x="1170" y="1682"/>
                    </a:lnTo>
                    <a:lnTo>
                      <a:pt x="1178" y="1674"/>
                    </a:lnTo>
                    <a:lnTo>
                      <a:pt x="1178" y="1674"/>
                    </a:lnTo>
                    <a:lnTo>
                      <a:pt x="1182" y="1670"/>
                    </a:lnTo>
                    <a:lnTo>
                      <a:pt x="1184" y="1666"/>
                    </a:lnTo>
                    <a:lnTo>
                      <a:pt x="1182" y="1662"/>
                    </a:lnTo>
                    <a:lnTo>
                      <a:pt x="1180" y="1658"/>
                    </a:lnTo>
                    <a:lnTo>
                      <a:pt x="1180" y="1656"/>
                    </a:lnTo>
                    <a:lnTo>
                      <a:pt x="1182" y="1652"/>
                    </a:lnTo>
                    <a:lnTo>
                      <a:pt x="1186" y="1646"/>
                    </a:lnTo>
                    <a:lnTo>
                      <a:pt x="1186" y="1646"/>
                    </a:lnTo>
                    <a:lnTo>
                      <a:pt x="1194" y="1638"/>
                    </a:lnTo>
                    <a:lnTo>
                      <a:pt x="1198" y="1632"/>
                    </a:lnTo>
                    <a:lnTo>
                      <a:pt x="1196" y="1630"/>
                    </a:lnTo>
                    <a:lnTo>
                      <a:pt x="1194" y="1632"/>
                    </a:lnTo>
                    <a:lnTo>
                      <a:pt x="1186" y="1636"/>
                    </a:lnTo>
                    <a:lnTo>
                      <a:pt x="1186" y="1636"/>
                    </a:lnTo>
                    <a:close/>
                    <a:moveTo>
                      <a:pt x="1058" y="962"/>
                    </a:moveTo>
                    <a:lnTo>
                      <a:pt x="1058" y="962"/>
                    </a:lnTo>
                    <a:lnTo>
                      <a:pt x="1050" y="960"/>
                    </a:lnTo>
                    <a:lnTo>
                      <a:pt x="1048" y="962"/>
                    </a:lnTo>
                    <a:lnTo>
                      <a:pt x="1046" y="964"/>
                    </a:lnTo>
                    <a:lnTo>
                      <a:pt x="1046" y="964"/>
                    </a:lnTo>
                    <a:lnTo>
                      <a:pt x="1048" y="964"/>
                    </a:lnTo>
                    <a:lnTo>
                      <a:pt x="1054" y="964"/>
                    </a:lnTo>
                    <a:lnTo>
                      <a:pt x="1058" y="962"/>
                    </a:lnTo>
                    <a:lnTo>
                      <a:pt x="1058" y="962"/>
                    </a:lnTo>
                    <a:lnTo>
                      <a:pt x="1058" y="962"/>
                    </a:lnTo>
                    <a:lnTo>
                      <a:pt x="1058" y="962"/>
                    </a:lnTo>
                    <a:close/>
                    <a:moveTo>
                      <a:pt x="1366" y="1568"/>
                    </a:moveTo>
                    <a:lnTo>
                      <a:pt x="1366" y="1568"/>
                    </a:lnTo>
                    <a:lnTo>
                      <a:pt x="1364" y="1566"/>
                    </a:lnTo>
                    <a:lnTo>
                      <a:pt x="1360" y="1564"/>
                    </a:lnTo>
                    <a:lnTo>
                      <a:pt x="1356" y="1564"/>
                    </a:lnTo>
                    <a:lnTo>
                      <a:pt x="1354" y="1566"/>
                    </a:lnTo>
                    <a:lnTo>
                      <a:pt x="1354" y="1566"/>
                    </a:lnTo>
                    <a:lnTo>
                      <a:pt x="1356" y="1568"/>
                    </a:lnTo>
                    <a:lnTo>
                      <a:pt x="1360" y="1570"/>
                    </a:lnTo>
                    <a:lnTo>
                      <a:pt x="1364" y="1570"/>
                    </a:lnTo>
                    <a:lnTo>
                      <a:pt x="1366" y="1568"/>
                    </a:lnTo>
                    <a:lnTo>
                      <a:pt x="1366" y="1568"/>
                    </a:lnTo>
                    <a:close/>
                    <a:moveTo>
                      <a:pt x="1332" y="1588"/>
                    </a:moveTo>
                    <a:lnTo>
                      <a:pt x="1332" y="1588"/>
                    </a:lnTo>
                    <a:lnTo>
                      <a:pt x="1336" y="1586"/>
                    </a:lnTo>
                    <a:lnTo>
                      <a:pt x="1338" y="1584"/>
                    </a:lnTo>
                    <a:lnTo>
                      <a:pt x="1338" y="1582"/>
                    </a:lnTo>
                    <a:lnTo>
                      <a:pt x="1342" y="1580"/>
                    </a:lnTo>
                    <a:lnTo>
                      <a:pt x="1342" y="1580"/>
                    </a:lnTo>
                    <a:lnTo>
                      <a:pt x="1344" y="1582"/>
                    </a:lnTo>
                    <a:lnTo>
                      <a:pt x="1346" y="1580"/>
                    </a:lnTo>
                    <a:lnTo>
                      <a:pt x="1346" y="1578"/>
                    </a:lnTo>
                    <a:lnTo>
                      <a:pt x="1348" y="1578"/>
                    </a:lnTo>
                    <a:lnTo>
                      <a:pt x="1348" y="1578"/>
                    </a:lnTo>
                    <a:lnTo>
                      <a:pt x="1350" y="1578"/>
                    </a:lnTo>
                    <a:lnTo>
                      <a:pt x="1352" y="1576"/>
                    </a:lnTo>
                    <a:lnTo>
                      <a:pt x="1350" y="1574"/>
                    </a:lnTo>
                    <a:lnTo>
                      <a:pt x="1346" y="1570"/>
                    </a:lnTo>
                    <a:lnTo>
                      <a:pt x="1346" y="1570"/>
                    </a:lnTo>
                    <a:lnTo>
                      <a:pt x="1336" y="1562"/>
                    </a:lnTo>
                    <a:lnTo>
                      <a:pt x="1334" y="1562"/>
                    </a:lnTo>
                    <a:lnTo>
                      <a:pt x="1330" y="1566"/>
                    </a:lnTo>
                    <a:lnTo>
                      <a:pt x="1330" y="1566"/>
                    </a:lnTo>
                    <a:lnTo>
                      <a:pt x="1326" y="1568"/>
                    </a:lnTo>
                    <a:lnTo>
                      <a:pt x="1320" y="1570"/>
                    </a:lnTo>
                    <a:lnTo>
                      <a:pt x="1316" y="1570"/>
                    </a:lnTo>
                    <a:lnTo>
                      <a:pt x="1312" y="1570"/>
                    </a:lnTo>
                    <a:lnTo>
                      <a:pt x="1312" y="1570"/>
                    </a:lnTo>
                    <a:lnTo>
                      <a:pt x="1310" y="1572"/>
                    </a:lnTo>
                    <a:lnTo>
                      <a:pt x="1312" y="1574"/>
                    </a:lnTo>
                    <a:lnTo>
                      <a:pt x="1322" y="1574"/>
                    </a:lnTo>
                    <a:lnTo>
                      <a:pt x="1322" y="1574"/>
                    </a:lnTo>
                    <a:lnTo>
                      <a:pt x="1324" y="1574"/>
                    </a:lnTo>
                    <a:lnTo>
                      <a:pt x="1326" y="1576"/>
                    </a:lnTo>
                    <a:lnTo>
                      <a:pt x="1326" y="1580"/>
                    </a:lnTo>
                    <a:lnTo>
                      <a:pt x="1328" y="1584"/>
                    </a:lnTo>
                    <a:lnTo>
                      <a:pt x="1330" y="1586"/>
                    </a:lnTo>
                    <a:lnTo>
                      <a:pt x="1332" y="1588"/>
                    </a:lnTo>
                    <a:lnTo>
                      <a:pt x="1332" y="1588"/>
                    </a:lnTo>
                    <a:close/>
                    <a:moveTo>
                      <a:pt x="1306" y="1608"/>
                    </a:moveTo>
                    <a:lnTo>
                      <a:pt x="1306" y="1608"/>
                    </a:lnTo>
                    <a:lnTo>
                      <a:pt x="1304" y="1610"/>
                    </a:lnTo>
                    <a:lnTo>
                      <a:pt x="1302" y="1612"/>
                    </a:lnTo>
                    <a:lnTo>
                      <a:pt x="1304" y="1616"/>
                    </a:lnTo>
                    <a:lnTo>
                      <a:pt x="1310" y="1618"/>
                    </a:lnTo>
                    <a:lnTo>
                      <a:pt x="1310" y="1618"/>
                    </a:lnTo>
                    <a:lnTo>
                      <a:pt x="1316" y="1622"/>
                    </a:lnTo>
                    <a:lnTo>
                      <a:pt x="1316" y="1624"/>
                    </a:lnTo>
                    <a:lnTo>
                      <a:pt x="1312" y="1628"/>
                    </a:lnTo>
                    <a:lnTo>
                      <a:pt x="1312" y="1628"/>
                    </a:lnTo>
                    <a:lnTo>
                      <a:pt x="1308" y="1630"/>
                    </a:lnTo>
                    <a:lnTo>
                      <a:pt x="1308" y="1634"/>
                    </a:lnTo>
                    <a:lnTo>
                      <a:pt x="1308" y="1636"/>
                    </a:lnTo>
                    <a:lnTo>
                      <a:pt x="1314" y="1636"/>
                    </a:lnTo>
                    <a:lnTo>
                      <a:pt x="1314" y="1636"/>
                    </a:lnTo>
                    <a:lnTo>
                      <a:pt x="1316" y="1634"/>
                    </a:lnTo>
                    <a:lnTo>
                      <a:pt x="1318" y="1630"/>
                    </a:lnTo>
                    <a:lnTo>
                      <a:pt x="1318" y="1630"/>
                    </a:lnTo>
                    <a:lnTo>
                      <a:pt x="1322" y="1620"/>
                    </a:lnTo>
                    <a:lnTo>
                      <a:pt x="1326" y="1618"/>
                    </a:lnTo>
                    <a:lnTo>
                      <a:pt x="1328" y="1616"/>
                    </a:lnTo>
                    <a:lnTo>
                      <a:pt x="1330" y="1616"/>
                    </a:lnTo>
                    <a:lnTo>
                      <a:pt x="1330" y="1616"/>
                    </a:lnTo>
                    <a:lnTo>
                      <a:pt x="1334" y="1618"/>
                    </a:lnTo>
                    <a:lnTo>
                      <a:pt x="1340" y="1614"/>
                    </a:lnTo>
                    <a:lnTo>
                      <a:pt x="1348" y="1610"/>
                    </a:lnTo>
                    <a:lnTo>
                      <a:pt x="1352" y="1604"/>
                    </a:lnTo>
                    <a:lnTo>
                      <a:pt x="1352" y="1604"/>
                    </a:lnTo>
                    <a:lnTo>
                      <a:pt x="1356" y="1602"/>
                    </a:lnTo>
                    <a:lnTo>
                      <a:pt x="1358" y="1602"/>
                    </a:lnTo>
                    <a:lnTo>
                      <a:pt x="1358" y="1604"/>
                    </a:lnTo>
                    <a:lnTo>
                      <a:pt x="1362" y="1604"/>
                    </a:lnTo>
                    <a:lnTo>
                      <a:pt x="1362" y="1604"/>
                    </a:lnTo>
                    <a:lnTo>
                      <a:pt x="1364" y="1602"/>
                    </a:lnTo>
                    <a:lnTo>
                      <a:pt x="1362" y="1602"/>
                    </a:lnTo>
                    <a:lnTo>
                      <a:pt x="1354" y="1596"/>
                    </a:lnTo>
                    <a:lnTo>
                      <a:pt x="1354" y="1596"/>
                    </a:lnTo>
                    <a:lnTo>
                      <a:pt x="1348" y="1594"/>
                    </a:lnTo>
                    <a:lnTo>
                      <a:pt x="1342" y="1594"/>
                    </a:lnTo>
                    <a:lnTo>
                      <a:pt x="1338" y="1594"/>
                    </a:lnTo>
                    <a:lnTo>
                      <a:pt x="1334" y="1592"/>
                    </a:lnTo>
                    <a:lnTo>
                      <a:pt x="1334" y="1592"/>
                    </a:lnTo>
                    <a:lnTo>
                      <a:pt x="1330" y="1590"/>
                    </a:lnTo>
                    <a:lnTo>
                      <a:pt x="1324" y="1592"/>
                    </a:lnTo>
                    <a:lnTo>
                      <a:pt x="1318" y="1594"/>
                    </a:lnTo>
                    <a:lnTo>
                      <a:pt x="1314" y="1600"/>
                    </a:lnTo>
                    <a:lnTo>
                      <a:pt x="1314" y="1600"/>
                    </a:lnTo>
                    <a:lnTo>
                      <a:pt x="1312" y="1602"/>
                    </a:lnTo>
                    <a:lnTo>
                      <a:pt x="1310" y="1602"/>
                    </a:lnTo>
                    <a:lnTo>
                      <a:pt x="1308" y="1598"/>
                    </a:lnTo>
                    <a:lnTo>
                      <a:pt x="1304" y="1598"/>
                    </a:lnTo>
                    <a:lnTo>
                      <a:pt x="1304" y="1598"/>
                    </a:lnTo>
                    <a:lnTo>
                      <a:pt x="1304" y="1598"/>
                    </a:lnTo>
                    <a:lnTo>
                      <a:pt x="1304" y="1600"/>
                    </a:lnTo>
                    <a:lnTo>
                      <a:pt x="1306" y="1604"/>
                    </a:lnTo>
                    <a:lnTo>
                      <a:pt x="1308" y="1606"/>
                    </a:lnTo>
                    <a:lnTo>
                      <a:pt x="1308" y="1608"/>
                    </a:lnTo>
                    <a:lnTo>
                      <a:pt x="1306" y="1608"/>
                    </a:lnTo>
                    <a:lnTo>
                      <a:pt x="1306" y="1608"/>
                    </a:lnTo>
                    <a:close/>
                    <a:moveTo>
                      <a:pt x="1364" y="1596"/>
                    </a:moveTo>
                    <a:lnTo>
                      <a:pt x="1364" y="1596"/>
                    </a:lnTo>
                    <a:lnTo>
                      <a:pt x="1364" y="1592"/>
                    </a:lnTo>
                    <a:lnTo>
                      <a:pt x="1360" y="1590"/>
                    </a:lnTo>
                    <a:lnTo>
                      <a:pt x="1356" y="1588"/>
                    </a:lnTo>
                    <a:lnTo>
                      <a:pt x="1354" y="1588"/>
                    </a:lnTo>
                    <a:lnTo>
                      <a:pt x="1354" y="1588"/>
                    </a:lnTo>
                    <a:lnTo>
                      <a:pt x="1354" y="1592"/>
                    </a:lnTo>
                    <a:lnTo>
                      <a:pt x="1356" y="1596"/>
                    </a:lnTo>
                    <a:lnTo>
                      <a:pt x="1360" y="1598"/>
                    </a:lnTo>
                    <a:lnTo>
                      <a:pt x="1364" y="1596"/>
                    </a:lnTo>
                    <a:lnTo>
                      <a:pt x="1364" y="1596"/>
                    </a:lnTo>
                    <a:close/>
                    <a:moveTo>
                      <a:pt x="1102" y="2532"/>
                    </a:moveTo>
                    <a:lnTo>
                      <a:pt x="1102" y="2532"/>
                    </a:lnTo>
                    <a:lnTo>
                      <a:pt x="1110" y="2530"/>
                    </a:lnTo>
                    <a:lnTo>
                      <a:pt x="1112" y="2530"/>
                    </a:lnTo>
                    <a:lnTo>
                      <a:pt x="1110" y="2528"/>
                    </a:lnTo>
                    <a:lnTo>
                      <a:pt x="1110" y="2528"/>
                    </a:lnTo>
                    <a:lnTo>
                      <a:pt x="1098" y="2526"/>
                    </a:lnTo>
                    <a:lnTo>
                      <a:pt x="1092" y="2528"/>
                    </a:lnTo>
                    <a:lnTo>
                      <a:pt x="1092" y="2528"/>
                    </a:lnTo>
                    <a:lnTo>
                      <a:pt x="1094" y="2530"/>
                    </a:lnTo>
                    <a:lnTo>
                      <a:pt x="1094" y="2530"/>
                    </a:lnTo>
                    <a:lnTo>
                      <a:pt x="1096" y="2532"/>
                    </a:lnTo>
                    <a:lnTo>
                      <a:pt x="1102" y="2532"/>
                    </a:lnTo>
                    <a:lnTo>
                      <a:pt x="1102" y="2532"/>
                    </a:lnTo>
                    <a:close/>
                    <a:moveTo>
                      <a:pt x="470" y="2754"/>
                    </a:moveTo>
                    <a:lnTo>
                      <a:pt x="470" y="2754"/>
                    </a:lnTo>
                    <a:lnTo>
                      <a:pt x="472" y="2756"/>
                    </a:lnTo>
                    <a:lnTo>
                      <a:pt x="476" y="2756"/>
                    </a:lnTo>
                    <a:lnTo>
                      <a:pt x="482" y="2752"/>
                    </a:lnTo>
                    <a:lnTo>
                      <a:pt x="486" y="2746"/>
                    </a:lnTo>
                    <a:lnTo>
                      <a:pt x="486" y="2744"/>
                    </a:lnTo>
                    <a:lnTo>
                      <a:pt x="484" y="2740"/>
                    </a:lnTo>
                    <a:lnTo>
                      <a:pt x="484" y="2740"/>
                    </a:lnTo>
                    <a:lnTo>
                      <a:pt x="482" y="2740"/>
                    </a:lnTo>
                    <a:lnTo>
                      <a:pt x="480" y="2740"/>
                    </a:lnTo>
                    <a:lnTo>
                      <a:pt x="474" y="2744"/>
                    </a:lnTo>
                    <a:lnTo>
                      <a:pt x="470" y="2750"/>
                    </a:lnTo>
                    <a:lnTo>
                      <a:pt x="470" y="2752"/>
                    </a:lnTo>
                    <a:lnTo>
                      <a:pt x="470" y="2754"/>
                    </a:lnTo>
                    <a:lnTo>
                      <a:pt x="470" y="2754"/>
                    </a:lnTo>
                    <a:close/>
                    <a:moveTo>
                      <a:pt x="808" y="2632"/>
                    </a:moveTo>
                    <a:lnTo>
                      <a:pt x="808" y="2632"/>
                    </a:lnTo>
                    <a:lnTo>
                      <a:pt x="804" y="2628"/>
                    </a:lnTo>
                    <a:lnTo>
                      <a:pt x="802" y="2626"/>
                    </a:lnTo>
                    <a:lnTo>
                      <a:pt x="798" y="2624"/>
                    </a:lnTo>
                    <a:lnTo>
                      <a:pt x="794" y="2626"/>
                    </a:lnTo>
                    <a:lnTo>
                      <a:pt x="790" y="2628"/>
                    </a:lnTo>
                    <a:lnTo>
                      <a:pt x="776" y="2638"/>
                    </a:lnTo>
                    <a:lnTo>
                      <a:pt x="776" y="2638"/>
                    </a:lnTo>
                    <a:lnTo>
                      <a:pt x="768" y="2644"/>
                    </a:lnTo>
                    <a:lnTo>
                      <a:pt x="762" y="2646"/>
                    </a:lnTo>
                    <a:lnTo>
                      <a:pt x="758" y="2644"/>
                    </a:lnTo>
                    <a:lnTo>
                      <a:pt x="756" y="2642"/>
                    </a:lnTo>
                    <a:lnTo>
                      <a:pt x="752" y="2640"/>
                    </a:lnTo>
                    <a:lnTo>
                      <a:pt x="752" y="2640"/>
                    </a:lnTo>
                    <a:lnTo>
                      <a:pt x="750" y="2650"/>
                    </a:lnTo>
                    <a:lnTo>
                      <a:pt x="750" y="2650"/>
                    </a:lnTo>
                    <a:lnTo>
                      <a:pt x="752" y="2654"/>
                    </a:lnTo>
                    <a:lnTo>
                      <a:pt x="752" y="2658"/>
                    </a:lnTo>
                    <a:lnTo>
                      <a:pt x="756" y="2664"/>
                    </a:lnTo>
                    <a:lnTo>
                      <a:pt x="760" y="2672"/>
                    </a:lnTo>
                    <a:lnTo>
                      <a:pt x="762" y="2678"/>
                    </a:lnTo>
                    <a:lnTo>
                      <a:pt x="762" y="2686"/>
                    </a:lnTo>
                    <a:lnTo>
                      <a:pt x="762" y="2686"/>
                    </a:lnTo>
                    <a:lnTo>
                      <a:pt x="762" y="2694"/>
                    </a:lnTo>
                    <a:lnTo>
                      <a:pt x="764" y="2698"/>
                    </a:lnTo>
                    <a:lnTo>
                      <a:pt x="764" y="2702"/>
                    </a:lnTo>
                    <a:lnTo>
                      <a:pt x="762" y="2714"/>
                    </a:lnTo>
                    <a:lnTo>
                      <a:pt x="762" y="2714"/>
                    </a:lnTo>
                    <a:lnTo>
                      <a:pt x="760" y="2728"/>
                    </a:lnTo>
                    <a:lnTo>
                      <a:pt x="764" y="2742"/>
                    </a:lnTo>
                    <a:lnTo>
                      <a:pt x="766" y="2746"/>
                    </a:lnTo>
                    <a:lnTo>
                      <a:pt x="770" y="2750"/>
                    </a:lnTo>
                    <a:lnTo>
                      <a:pt x="774" y="2752"/>
                    </a:lnTo>
                    <a:lnTo>
                      <a:pt x="778" y="2752"/>
                    </a:lnTo>
                    <a:lnTo>
                      <a:pt x="778" y="2752"/>
                    </a:lnTo>
                    <a:lnTo>
                      <a:pt x="782" y="2752"/>
                    </a:lnTo>
                    <a:lnTo>
                      <a:pt x="784" y="2748"/>
                    </a:lnTo>
                    <a:lnTo>
                      <a:pt x="788" y="2742"/>
                    </a:lnTo>
                    <a:lnTo>
                      <a:pt x="790" y="2738"/>
                    </a:lnTo>
                    <a:lnTo>
                      <a:pt x="792" y="2736"/>
                    </a:lnTo>
                    <a:lnTo>
                      <a:pt x="796" y="2738"/>
                    </a:lnTo>
                    <a:lnTo>
                      <a:pt x="796" y="2738"/>
                    </a:lnTo>
                    <a:lnTo>
                      <a:pt x="802" y="2740"/>
                    </a:lnTo>
                    <a:lnTo>
                      <a:pt x="806" y="2740"/>
                    </a:lnTo>
                    <a:lnTo>
                      <a:pt x="808" y="2736"/>
                    </a:lnTo>
                    <a:lnTo>
                      <a:pt x="810" y="2726"/>
                    </a:lnTo>
                    <a:lnTo>
                      <a:pt x="814" y="2708"/>
                    </a:lnTo>
                    <a:lnTo>
                      <a:pt x="814" y="2708"/>
                    </a:lnTo>
                    <a:lnTo>
                      <a:pt x="816" y="2698"/>
                    </a:lnTo>
                    <a:lnTo>
                      <a:pt x="814" y="2690"/>
                    </a:lnTo>
                    <a:lnTo>
                      <a:pt x="812" y="2682"/>
                    </a:lnTo>
                    <a:lnTo>
                      <a:pt x="810" y="2678"/>
                    </a:lnTo>
                    <a:lnTo>
                      <a:pt x="814" y="2672"/>
                    </a:lnTo>
                    <a:lnTo>
                      <a:pt x="814" y="2672"/>
                    </a:lnTo>
                    <a:lnTo>
                      <a:pt x="818" y="2668"/>
                    </a:lnTo>
                    <a:lnTo>
                      <a:pt x="818" y="2662"/>
                    </a:lnTo>
                    <a:lnTo>
                      <a:pt x="818" y="2652"/>
                    </a:lnTo>
                    <a:lnTo>
                      <a:pt x="814" y="2642"/>
                    </a:lnTo>
                    <a:lnTo>
                      <a:pt x="808" y="2632"/>
                    </a:lnTo>
                    <a:lnTo>
                      <a:pt x="808" y="2632"/>
                    </a:lnTo>
                    <a:close/>
                    <a:moveTo>
                      <a:pt x="576" y="2694"/>
                    </a:moveTo>
                    <a:lnTo>
                      <a:pt x="576" y="2694"/>
                    </a:lnTo>
                    <a:lnTo>
                      <a:pt x="578" y="2696"/>
                    </a:lnTo>
                    <a:lnTo>
                      <a:pt x="580" y="2696"/>
                    </a:lnTo>
                    <a:lnTo>
                      <a:pt x="584" y="2696"/>
                    </a:lnTo>
                    <a:lnTo>
                      <a:pt x="588" y="2698"/>
                    </a:lnTo>
                    <a:lnTo>
                      <a:pt x="588" y="2698"/>
                    </a:lnTo>
                    <a:lnTo>
                      <a:pt x="592" y="2702"/>
                    </a:lnTo>
                    <a:lnTo>
                      <a:pt x="594" y="2700"/>
                    </a:lnTo>
                    <a:lnTo>
                      <a:pt x="596" y="2698"/>
                    </a:lnTo>
                    <a:lnTo>
                      <a:pt x="594" y="2692"/>
                    </a:lnTo>
                    <a:lnTo>
                      <a:pt x="594" y="2692"/>
                    </a:lnTo>
                    <a:lnTo>
                      <a:pt x="594" y="2690"/>
                    </a:lnTo>
                    <a:lnTo>
                      <a:pt x="590" y="2688"/>
                    </a:lnTo>
                    <a:lnTo>
                      <a:pt x="584" y="2686"/>
                    </a:lnTo>
                    <a:lnTo>
                      <a:pt x="578" y="2688"/>
                    </a:lnTo>
                    <a:lnTo>
                      <a:pt x="576" y="2690"/>
                    </a:lnTo>
                    <a:lnTo>
                      <a:pt x="576" y="2694"/>
                    </a:lnTo>
                    <a:lnTo>
                      <a:pt x="576" y="2694"/>
                    </a:lnTo>
                    <a:close/>
                    <a:moveTo>
                      <a:pt x="1022" y="2792"/>
                    </a:moveTo>
                    <a:lnTo>
                      <a:pt x="1022" y="2792"/>
                    </a:lnTo>
                    <a:lnTo>
                      <a:pt x="1016" y="2792"/>
                    </a:lnTo>
                    <a:lnTo>
                      <a:pt x="1010" y="2794"/>
                    </a:lnTo>
                    <a:lnTo>
                      <a:pt x="998" y="2800"/>
                    </a:lnTo>
                    <a:lnTo>
                      <a:pt x="990" y="2802"/>
                    </a:lnTo>
                    <a:lnTo>
                      <a:pt x="982" y="2802"/>
                    </a:lnTo>
                    <a:lnTo>
                      <a:pt x="974" y="2800"/>
                    </a:lnTo>
                    <a:lnTo>
                      <a:pt x="966" y="2796"/>
                    </a:lnTo>
                    <a:lnTo>
                      <a:pt x="966" y="2796"/>
                    </a:lnTo>
                    <a:lnTo>
                      <a:pt x="960" y="2790"/>
                    </a:lnTo>
                    <a:lnTo>
                      <a:pt x="954" y="2790"/>
                    </a:lnTo>
                    <a:lnTo>
                      <a:pt x="950" y="2792"/>
                    </a:lnTo>
                    <a:lnTo>
                      <a:pt x="948" y="2794"/>
                    </a:lnTo>
                    <a:lnTo>
                      <a:pt x="944" y="2800"/>
                    </a:lnTo>
                    <a:lnTo>
                      <a:pt x="942" y="2800"/>
                    </a:lnTo>
                    <a:lnTo>
                      <a:pt x="938" y="2794"/>
                    </a:lnTo>
                    <a:lnTo>
                      <a:pt x="938" y="2794"/>
                    </a:lnTo>
                    <a:lnTo>
                      <a:pt x="936" y="2794"/>
                    </a:lnTo>
                    <a:lnTo>
                      <a:pt x="934" y="2792"/>
                    </a:lnTo>
                    <a:lnTo>
                      <a:pt x="930" y="2796"/>
                    </a:lnTo>
                    <a:lnTo>
                      <a:pt x="926" y="2802"/>
                    </a:lnTo>
                    <a:lnTo>
                      <a:pt x="924" y="2814"/>
                    </a:lnTo>
                    <a:lnTo>
                      <a:pt x="924" y="2814"/>
                    </a:lnTo>
                    <a:lnTo>
                      <a:pt x="926" y="2820"/>
                    </a:lnTo>
                    <a:lnTo>
                      <a:pt x="930" y="2822"/>
                    </a:lnTo>
                    <a:lnTo>
                      <a:pt x="944" y="2828"/>
                    </a:lnTo>
                    <a:lnTo>
                      <a:pt x="944" y="2828"/>
                    </a:lnTo>
                    <a:lnTo>
                      <a:pt x="954" y="2832"/>
                    </a:lnTo>
                    <a:lnTo>
                      <a:pt x="966" y="2840"/>
                    </a:lnTo>
                    <a:lnTo>
                      <a:pt x="976" y="2848"/>
                    </a:lnTo>
                    <a:lnTo>
                      <a:pt x="982" y="2850"/>
                    </a:lnTo>
                    <a:lnTo>
                      <a:pt x="986" y="2850"/>
                    </a:lnTo>
                    <a:lnTo>
                      <a:pt x="986" y="2850"/>
                    </a:lnTo>
                    <a:lnTo>
                      <a:pt x="994" y="2852"/>
                    </a:lnTo>
                    <a:lnTo>
                      <a:pt x="1000" y="2858"/>
                    </a:lnTo>
                    <a:lnTo>
                      <a:pt x="1008" y="2864"/>
                    </a:lnTo>
                    <a:lnTo>
                      <a:pt x="1016" y="2870"/>
                    </a:lnTo>
                    <a:lnTo>
                      <a:pt x="1016" y="2870"/>
                    </a:lnTo>
                    <a:lnTo>
                      <a:pt x="1030" y="2874"/>
                    </a:lnTo>
                    <a:lnTo>
                      <a:pt x="1032" y="2874"/>
                    </a:lnTo>
                    <a:lnTo>
                      <a:pt x="1032" y="2870"/>
                    </a:lnTo>
                    <a:lnTo>
                      <a:pt x="1032" y="2870"/>
                    </a:lnTo>
                    <a:lnTo>
                      <a:pt x="1034" y="2862"/>
                    </a:lnTo>
                    <a:lnTo>
                      <a:pt x="1036" y="2852"/>
                    </a:lnTo>
                    <a:lnTo>
                      <a:pt x="1036" y="2844"/>
                    </a:lnTo>
                    <a:lnTo>
                      <a:pt x="1034" y="2840"/>
                    </a:lnTo>
                    <a:lnTo>
                      <a:pt x="1032" y="2838"/>
                    </a:lnTo>
                    <a:lnTo>
                      <a:pt x="1032" y="2838"/>
                    </a:lnTo>
                    <a:lnTo>
                      <a:pt x="1030" y="2834"/>
                    </a:lnTo>
                    <a:lnTo>
                      <a:pt x="1030" y="2828"/>
                    </a:lnTo>
                    <a:lnTo>
                      <a:pt x="1036" y="2814"/>
                    </a:lnTo>
                    <a:lnTo>
                      <a:pt x="1050" y="2788"/>
                    </a:lnTo>
                    <a:lnTo>
                      <a:pt x="1050" y="2788"/>
                    </a:lnTo>
                    <a:lnTo>
                      <a:pt x="1052" y="2786"/>
                    </a:lnTo>
                    <a:lnTo>
                      <a:pt x="1050" y="2784"/>
                    </a:lnTo>
                    <a:lnTo>
                      <a:pt x="1042" y="2788"/>
                    </a:lnTo>
                    <a:lnTo>
                      <a:pt x="1032" y="2792"/>
                    </a:lnTo>
                    <a:lnTo>
                      <a:pt x="1026" y="2792"/>
                    </a:lnTo>
                    <a:lnTo>
                      <a:pt x="1022" y="2792"/>
                    </a:lnTo>
                    <a:lnTo>
                      <a:pt x="1022" y="2792"/>
                    </a:lnTo>
                    <a:close/>
                    <a:moveTo>
                      <a:pt x="802" y="2526"/>
                    </a:moveTo>
                    <a:lnTo>
                      <a:pt x="802" y="2526"/>
                    </a:lnTo>
                    <a:lnTo>
                      <a:pt x="800" y="2524"/>
                    </a:lnTo>
                    <a:lnTo>
                      <a:pt x="800" y="2526"/>
                    </a:lnTo>
                    <a:lnTo>
                      <a:pt x="798" y="2534"/>
                    </a:lnTo>
                    <a:lnTo>
                      <a:pt x="798" y="2540"/>
                    </a:lnTo>
                    <a:lnTo>
                      <a:pt x="798" y="2542"/>
                    </a:lnTo>
                    <a:lnTo>
                      <a:pt x="794" y="2542"/>
                    </a:lnTo>
                    <a:lnTo>
                      <a:pt x="794" y="2542"/>
                    </a:lnTo>
                    <a:lnTo>
                      <a:pt x="790" y="2542"/>
                    </a:lnTo>
                    <a:lnTo>
                      <a:pt x="788" y="2542"/>
                    </a:lnTo>
                    <a:lnTo>
                      <a:pt x="782" y="2546"/>
                    </a:lnTo>
                    <a:lnTo>
                      <a:pt x="778" y="2548"/>
                    </a:lnTo>
                    <a:lnTo>
                      <a:pt x="774" y="2550"/>
                    </a:lnTo>
                    <a:lnTo>
                      <a:pt x="774" y="2550"/>
                    </a:lnTo>
                    <a:lnTo>
                      <a:pt x="772" y="2550"/>
                    </a:lnTo>
                    <a:lnTo>
                      <a:pt x="772" y="2554"/>
                    </a:lnTo>
                    <a:lnTo>
                      <a:pt x="770" y="2568"/>
                    </a:lnTo>
                    <a:lnTo>
                      <a:pt x="770" y="2580"/>
                    </a:lnTo>
                    <a:lnTo>
                      <a:pt x="770" y="2584"/>
                    </a:lnTo>
                    <a:lnTo>
                      <a:pt x="772" y="2586"/>
                    </a:lnTo>
                    <a:lnTo>
                      <a:pt x="772" y="2586"/>
                    </a:lnTo>
                    <a:lnTo>
                      <a:pt x="776" y="2586"/>
                    </a:lnTo>
                    <a:lnTo>
                      <a:pt x="776" y="2588"/>
                    </a:lnTo>
                    <a:lnTo>
                      <a:pt x="774" y="2592"/>
                    </a:lnTo>
                    <a:lnTo>
                      <a:pt x="774" y="2592"/>
                    </a:lnTo>
                    <a:lnTo>
                      <a:pt x="772" y="2594"/>
                    </a:lnTo>
                    <a:lnTo>
                      <a:pt x="772" y="2596"/>
                    </a:lnTo>
                    <a:lnTo>
                      <a:pt x="778" y="2596"/>
                    </a:lnTo>
                    <a:lnTo>
                      <a:pt x="778" y="2596"/>
                    </a:lnTo>
                    <a:lnTo>
                      <a:pt x="780" y="2598"/>
                    </a:lnTo>
                    <a:lnTo>
                      <a:pt x="780" y="2598"/>
                    </a:lnTo>
                    <a:lnTo>
                      <a:pt x="778" y="2602"/>
                    </a:lnTo>
                    <a:lnTo>
                      <a:pt x="776" y="2604"/>
                    </a:lnTo>
                    <a:lnTo>
                      <a:pt x="776" y="2606"/>
                    </a:lnTo>
                    <a:lnTo>
                      <a:pt x="778" y="2608"/>
                    </a:lnTo>
                    <a:lnTo>
                      <a:pt x="778" y="2608"/>
                    </a:lnTo>
                    <a:lnTo>
                      <a:pt x="786" y="2612"/>
                    </a:lnTo>
                    <a:lnTo>
                      <a:pt x="788" y="2614"/>
                    </a:lnTo>
                    <a:lnTo>
                      <a:pt x="790" y="2616"/>
                    </a:lnTo>
                    <a:lnTo>
                      <a:pt x="792" y="2616"/>
                    </a:lnTo>
                    <a:lnTo>
                      <a:pt x="792" y="2616"/>
                    </a:lnTo>
                    <a:lnTo>
                      <a:pt x="794" y="2616"/>
                    </a:lnTo>
                    <a:lnTo>
                      <a:pt x="794" y="2612"/>
                    </a:lnTo>
                    <a:lnTo>
                      <a:pt x="794" y="2610"/>
                    </a:lnTo>
                    <a:lnTo>
                      <a:pt x="796" y="2606"/>
                    </a:lnTo>
                    <a:lnTo>
                      <a:pt x="796" y="2606"/>
                    </a:lnTo>
                    <a:lnTo>
                      <a:pt x="800" y="2604"/>
                    </a:lnTo>
                    <a:lnTo>
                      <a:pt x="800" y="2600"/>
                    </a:lnTo>
                    <a:lnTo>
                      <a:pt x="802" y="2588"/>
                    </a:lnTo>
                    <a:lnTo>
                      <a:pt x="802" y="2588"/>
                    </a:lnTo>
                    <a:lnTo>
                      <a:pt x="802" y="2582"/>
                    </a:lnTo>
                    <a:lnTo>
                      <a:pt x="804" y="2578"/>
                    </a:lnTo>
                    <a:lnTo>
                      <a:pt x="808" y="2574"/>
                    </a:lnTo>
                    <a:lnTo>
                      <a:pt x="808" y="2562"/>
                    </a:lnTo>
                    <a:lnTo>
                      <a:pt x="808" y="2562"/>
                    </a:lnTo>
                    <a:lnTo>
                      <a:pt x="806" y="2552"/>
                    </a:lnTo>
                    <a:lnTo>
                      <a:pt x="804" y="2546"/>
                    </a:lnTo>
                    <a:lnTo>
                      <a:pt x="804" y="2544"/>
                    </a:lnTo>
                    <a:lnTo>
                      <a:pt x="804" y="2540"/>
                    </a:lnTo>
                    <a:lnTo>
                      <a:pt x="804" y="2540"/>
                    </a:lnTo>
                    <a:lnTo>
                      <a:pt x="804" y="2530"/>
                    </a:lnTo>
                    <a:lnTo>
                      <a:pt x="804" y="2528"/>
                    </a:lnTo>
                    <a:lnTo>
                      <a:pt x="802" y="2526"/>
                    </a:lnTo>
                    <a:lnTo>
                      <a:pt x="802" y="2526"/>
                    </a:lnTo>
                    <a:close/>
                    <a:moveTo>
                      <a:pt x="550" y="2700"/>
                    </a:moveTo>
                    <a:lnTo>
                      <a:pt x="550" y="2700"/>
                    </a:lnTo>
                    <a:lnTo>
                      <a:pt x="548" y="2696"/>
                    </a:lnTo>
                    <a:lnTo>
                      <a:pt x="544" y="2696"/>
                    </a:lnTo>
                    <a:lnTo>
                      <a:pt x="538" y="2698"/>
                    </a:lnTo>
                    <a:lnTo>
                      <a:pt x="532" y="2702"/>
                    </a:lnTo>
                    <a:lnTo>
                      <a:pt x="520" y="2712"/>
                    </a:lnTo>
                    <a:lnTo>
                      <a:pt x="518" y="2716"/>
                    </a:lnTo>
                    <a:lnTo>
                      <a:pt x="520" y="2718"/>
                    </a:lnTo>
                    <a:lnTo>
                      <a:pt x="520" y="2718"/>
                    </a:lnTo>
                    <a:lnTo>
                      <a:pt x="520" y="2720"/>
                    </a:lnTo>
                    <a:lnTo>
                      <a:pt x="526" y="2718"/>
                    </a:lnTo>
                    <a:lnTo>
                      <a:pt x="526" y="2718"/>
                    </a:lnTo>
                    <a:lnTo>
                      <a:pt x="530" y="2718"/>
                    </a:lnTo>
                    <a:lnTo>
                      <a:pt x="532" y="2720"/>
                    </a:lnTo>
                    <a:lnTo>
                      <a:pt x="536" y="2726"/>
                    </a:lnTo>
                    <a:lnTo>
                      <a:pt x="542" y="2730"/>
                    </a:lnTo>
                    <a:lnTo>
                      <a:pt x="542" y="2730"/>
                    </a:lnTo>
                    <a:lnTo>
                      <a:pt x="546" y="2732"/>
                    </a:lnTo>
                    <a:lnTo>
                      <a:pt x="548" y="2732"/>
                    </a:lnTo>
                    <a:lnTo>
                      <a:pt x="554" y="2726"/>
                    </a:lnTo>
                    <a:lnTo>
                      <a:pt x="562" y="2708"/>
                    </a:lnTo>
                    <a:lnTo>
                      <a:pt x="562" y="2708"/>
                    </a:lnTo>
                    <a:lnTo>
                      <a:pt x="564" y="2706"/>
                    </a:lnTo>
                    <a:lnTo>
                      <a:pt x="564" y="2704"/>
                    </a:lnTo>
                    <a:lnTo>
                      <a:pt x="558" y="2704"/>
                    </a:lnTo>
                    <a:lnTo>
                      <a:pt x="552" y="2706"/>
                    </a:lnTo>
                    <a:lnTo>
                      <a:pt x="550" y="2704"/>
                    </a:lnTo>
                    <a:lnTo>
                      <a:pt x="550" y="2700"/>
                    </a:lnTo>
                    <a:lnTo>
                      <a:pt x="550" y="2700"/>
                    </a:lnTo>
                    <a:close/>
                    <a:moveTo>
                      <a:pt x="1254" y="2806"/>
                    </a:moveTo>
                    <a:lnTo>
                      <a:pt x="1254" y="2806"/>
                    </a:lnTo>
                    <a:lnTo>
                      <a:pt x="1252" y="2810"/>
                    </a:lnTo>
                    <a:lnTo>
                      <a:pt x="1254" y="2814"/>
                    </a:lnTo>
                    <a:lnTo>
                      <a:pt x="1260" y="2818"/>
                    </a:lnTo>
                    <a:lnTo>
                      <a:pt x="1264" y="2820"/>
                    </a:lnTo>
                    <a:lnTo>
                      <a:pt x="1264" y="2820"/>
                    </a:lnTo>
                    <a:lnTo>
                      <a:pt x="1266" y="2818"/>
                    </a:lnTo>
                    <a:lnTo>
                      <a:pt x="1266" y="2816"/>
                    </a:lnTo>
                    <a:lnTo>
                      <a:pt x="1264" y="2812"/>
                    </a:lnTo>
                    <a:lnTo>
                      <a:pt x="1258" y="2808"/>
                    </a:lnTo>
                    <a:lnTo>
                      <a:pt x="1254" y="2806"/>
                    </a:lnTo>
                    <a:lnTo>
                      <a:pt x="1254" y="2806"/>
                    </a:lnTo>
                    <a:close/>
                    <a:moveTo>
                      <a:pt x="1410" y="2874"/>
                    </a:moveTo>
                    <a:lnTo>
                      <a:pt x="1410" y="2874"/>
                    </a:lnTo>
                    <a:lnTo>
                      <a:pt x="1412" y="2870"/>
                    </a:lnTo>
                    <a:lnTo>
                      <a:pt x="1410" y="2868"/>
                    </a:lnTo>
                    <a:lnTo>
                      <a:pt x="1408" y="2868"/>
                    </a:lnTo>
                    <a:lnTo>
                      <a:pt x="1402" y="2870"/>
                    </a:lnTo>
                    <a:lnTo>
                      <a:pt x="1402" y="2872"/>
                    </a:lnTo>
                    <a:lnTo>
                      <a:pt x="1402" y="2872"/>
                    </a:lnTo>
                    <a:lnTo>
                      <a:pt x="1400" y="2874"/>
                    </a:lnTo>
                    <a:lnTo>
                      <a:pt x="1402" y="2876"/>
                    </a:lnTo>
                    <a:lnTo>
                      <a:pt x="1406" y="2876"/>
                    </a:lnTo>
                    <a:lnTo>
                      <a:pt x="1410" y="2874"/>
                    </a:lnTo>
                    <a:lnTo>
                      <a:pt x="1410" y="2874"/>
                    </a:lnTo>
                    <a:close/>
                    <a:moveTo>
                      <a:pt x="1214" y="2706"/>
                    </a:moveTo>
                    <a:lnTo>
                      <a:pt x="1214" y="2706"/>
                    </a:lnTo>
                    <a:lnTo>
                      <a:pt x="1214" y="2712"/>
                    </a:lnTo>
                    <a:lnTo>
                      <a:pt x="1218" y="2718"/>
                    </a:lnTo>
                    <a:lnTo>
                      <a:pt x="1224" y="2722"/>
                    </a:lnTo>
                    <a:lnTo>
                      <a:pt x="1230" y="2726"/>
                    </a:lnTo>
                    <a:lnTo>
                      <a:pt x="1230" y="2726"/>
                    </a:lnTo>
                    <a:lnTo>
                      <a:pt x="1232" y="2726"/>
                    </a:lnTo>
                    <a:lnTo>
                      <a:pt x="1230" y="2724"/>
                    </a:lnTo>
                    <a:lnTo>
                      <a:pt x="1228" y="2720"/>
                    </a:lnTo>
                    <a:lnTo>
                      <a:pt x="1224" y="2714"/>
                    </a:lnTo>
                    <a:lnTo>
                      <a:pt x="1222" y="2708"/>
                    </a:lnTo>
                    <a:lnTo>
                      <a:pt x="1222" y="2708"/>
                    </a:lnTo>
                    <a:lnTo>
                      <a:pt x="1222" y="2704"/>
                    </a:lnTo>
                    <a:lnTo>
                      <a:pt x="1218" y="2702"/>
                    </a:lnTo>
                    <a:lnTo>
                      <a:pt x="1216" y="2702"/>
                    </a:lnTo>
                    <a:lnTo>
                      <a:pt x="1214" y="2706"/>
                    </a:lnTo>
                    <a:lnTo>
                      <a:pt x="1214" y="2706"/>
                    </a:lnTo>
                    <a:close/>
                    <a:moveTo>
                      <a:pt x="1468" y="2954"/>
                    </a:moveTo>
                    <a:lnTo>
                      <a:pt x="1468" y="2954"/>
                    </a:lnTo>
                    <a:lnTo>
                      <a:pt x="1464" y="2956"/>
                    </a:lnTo>
                    <a:lnTo>
                      <a:pt x="1462" y="2956"/>
                    </a:lnTo>
                    <a:lnTo>
                      <a:pt x="1460" y="2952"/>
                    </a:lnTo>
                    <a:lnTo>
                      <a:pt x="1460" y="2948"/>
                    </a:lnTo>
                    <a:lnTo>
                      <a:pt x="1456" y="2946"/>
                    </a:lnTo>
                    <a:lnTo>
                      <a:pt x="1452" y="2946"/>
                    </a:lnTo>
                    <a:lnTo>
                      <a:pt x="1452" y="2946"/>
                    </a:lnTo>
                    <a:lnTo>
                      <a:pt x="1446" y="2948"/>
                    </a:lnTo>
                    <a:lnTo>
                      <a:pt x="1442" y="2946"/>
                    </a:lnTo>
                    <a:lnTo>
                      <a:pt x="1434" y="2944"/>
                    </a:lnTo>
                    <a:lnTo>
                      <a:pt x="1424" y="2942"/>
                    </a:lnTo>
                    <a:lnTo>
                      <a:pt x="1418" y="2942"/>
                    </a:lnTo>
                    <a:lnTo>
                      <a:pt x="1410" y="2944"/>
                    </a:lnTo>
                    <a:lnTo>
                      <a:pt x="1410" y="2944"/>
                    </a:lnTo>
                    <a:lnTo>
                      <a:pt x="1406" y="2944"/>
                    </a:lnTo>
                    <a:lnTo>
                      <a:pt x="1402" y="2942"/>
                    </a:lnTo>
                    <a:lnTo>
                      <a:pt x="1398" y="2938"/>
                    </a:lnTo>
                    <a:lnTo>
                      <a:pt x="1396" y="2934"/>
                    </a:lnTo>
                    <a:lnTo>
                      <a:pt x="1394" y="2932"/>
                    </a:lnTo>
                    <a:lnTo>
                      <a:pt x="1392" y="2934"/>
                    </a:lnTo>
                    <a:lnTo>
                      <a:pt x="1392" y="2934"/>
                    </a:lnTo>
                    <a:lnTo>
                      <a:pt x="1390" y="2934"/>
                    </a:lnTo>
                    <a:lnTo>
                      <a:pt x="1386" y="2934"/>
                    </a:lnTo>
                    <a:lnTo>
                      <a:pt x="1382" y="2932"/>
                    </a:lnTo>
                    <a:lnTo>
                      <a:pt x="1380" y="2928"/>
                    </a:lnTo>
                    <a:lnTo>
                      <a:pt x="1378" y="2928"/>
                    </a:lnTo>
                    <a:lnTo>
                      <a:pt x="1378" y="2930"/>
                    </a:lnTo>
                    <a:lnTo>
                      <a:pt x="1378" y="2930"/>
                    </a:lnTo>
                    <a:lnTo>
                      <a:pt x="1376" y="2934"/>
                    </a:lnTo>
                    <a:lnTo>
                      <a:pt x="1374" y="2936"/>
                    </a:lnTo>
                    <a:lnTo>
                      <a:pt x="1372" y="2938"/>
                    </a:lnTo>
                    <a:lnTo>
                      <a:pt x="1372" y="2946"/>
                    </a:lnTo>
                    <a:lnTo>
                      <a:pt x="1372" y="2946"/>
                    </a:lnTo>
                    <a:lnTo>
                      <a:pt x="1372" y="2950"/>
                    </a:lnTo>
                    <a:lnTo>
                      <a:pt x="1376" y="2952"/>
                    </a:lnTo>
                    <a:lnTo>
                      <a:pt x="1388" y="2952"/>
                    </a:lnTo>
                    <a:lnTo>
                      <a:pt x="1402" y="2954"/>
                    </a:lnTo>
                    <a:lnTo>
                      <a:pt x="1410" y="2958"/>
                    </a:lnTo>
                    <a:lnTo>
                      <a:pt x="1418" y="2962"/>
                    </a:lnTo>
                    <a:lnTo>
                      <a:pt x="1418" y="2962"/>
                    </a:lnTo>
                    <a:lnTo>
                      <a:pt x="1422" y="2964"/>
                    </a:lnTo>
                    <a:lnTo>
                      <a:pt x="1428" y="2966"/>
                    </a:lnTo>
                    <a:lnTo>
                      <a:pt x="1440" y="2966"/>
                    </a:lnTo>
                    <a:lnTo>
                      <a:pt x="1452" y="2964"/>
                    </a:lnTo>
                    <a:lnTo>
                      <a:pt x="1468" y="2964"/>
                    </a:lnTo>
                    <a:lnTo>
                      <a:pt x="1468" y="2964"/>
                    </a:lnTo>
                    <a:lnTo>
                      <a:pt x="1476" y="2962"/>
                    </a:lnTo>
                    <a:lnTo>
                      <a:pt x="1480" y="2960"/>
                    </a:lnTo>
                    <a:lnTo>
                      <a:pt x="1482" y="2958"/>
                    </a:lnTo>
                    <a:lnTo>
                      <a:pt x="1484" y="2954"/>
                    </a:lnTo>
                    <a:lnTo>
                      <a:pt x="1482" y="2952"/>
                    </a:lnTo>
                    <a:lnTo>
                      <a:pt x="1478" y="2950"/>
                    </a:lnTo>
                    <a:lnTo>
                      <a:pt x="1474" y="2950"/>
                    </a:lnTo>
                    <a:lnTo>
                      <a:pt x="1468" y="2954"/>
                    </a:lnTo>
                    <a:lnTo>
                      <a:pt x="1468" y="2954"/>
                    </a:lnTo>
                    <a:close/>
                    <a:moveTo>
                      <a:pt x="1518" y="2942"/>
                    </a:moveTo>
                    <a:lnTo>
                      <a:pt x="1518" y="2942"/>
                    </a:lnTo>
                    <a:lnTo>
                      <a:pt x="1520" y="2940"/>
                    </a:lnTo>
                    <a:lnTo>
                      <a:pt x="1520" y="2938"/>
                    </a:lnTo>
                    <a:lnTo>
                      <a:pt x="1518" y="2926"/>
                    </a:lnTo>
                    <a:lnTo>
                      <a:pt x="1518" y="2926"/>
                    </a:lnTo>
                    <a:lnTo>
                      <a:pt x="1516" y="2924"/>
                    </a:lnTo>
                    <a:lnTo>
                      <a:pt x="1516" y="2926"/>
                    </a:lnTo>
                    <a:lnTo>
                      <a:pt x="1514" y="2932"/>
                    </a:lnTo>
                    <a:lnTo>
                      <a:pt x="1514" y="2938"/>
                    </a:lnTo>
                    <a:lnTo>
                      <a:pt x="1516" y="2940"/>
                    </a:lnTo>
                    <a:lnTo>
                      <a:pt x="1518" y="2942"/>
                    </a:lnTo>
                    <a:lnTo>
                      <a:pt x="1518" y="2942"/>
                    </a:lnTo>
                    <a:close/>
                    <a:moveTo>
                      <a:pt x="1252" y="2768"/>
                    </a:moveTo>
                    <a:lnTo>
                      <a:pt x="1252" y="2768"/>
                    </a:lnTo>
                    <a:lnTo>
                      <a:pt x="1254" y="2768"/>
                    </a:lnTo>
                    <a:lnTo>
                      <a:pt x="1256" y="2766"/>
                    </a:lnTo>
                    <a:lnTo>
                      <a:pt x="1256" y="2764"/>
                    </a:lnTo>
                    <a:lnTo>
                      <a:pt x="1254" y="2760"/>
                    </a:lnTo>
                    <a:lnTo>
                      <a:pt x="1254" y="2760"/>
                    </a:lnTo>
                    <a:lnTo>
                      <a:pt x="1254" y="2758"/>
                    </a:lnTo>
                    <a:lnTo>
                      <a:pt x="1252" y="2758"/>
                    </a:lnTo>
                    <a:lnTo>
                      <a:pt x="1250" y="2762"/>
                    </a:lnTo>
                    <a:lnTo>
                      <a:pt x="1248" y="2766"/>
                    </a:lnTo>
                    <a:lnTo>
                      <a:pt x="1250" y="2768"/>
                    </a:lnTo>
                    <a:lnTo>
                      <a:pt x="1252" y="2768"/>
                    </a:lnTo>
                    <a:lnTo>
                      <a:pt x="1252" y="2768"/>
                    </a:lnTo>
                    <a:close/>
                    <a:moveTo>
                      <a:pt x="1256" y="2790"/>
                    </a:moveTo>
                    <a:lnTo>
                      <a:pt x="1256" y="2790"/>
                    </a:lnTo>
                    <a:lnTo>
                      <a:pt x="1254" y="2786"/>
                    </a:lnTo>
                    <a:lnTo>
                      <a:pt x="1252" y="2782"/>
                    </a:lnTo>
                    <a:lnTo>
                      <a:pt x="1252" y="2780"/>
                    </a:lnTo>
                    <a:lnTo>
                      <a:pt x="1250" y="2780"/>
                    </a:lnTo>
                    <a:lnTo>
                      <a:pt x="1250" y="2780"/>
                    </a:lnTo>
                    <a:lnTo>
                      <a:pt x="1248" y="2782"/>
                    </a:lnTo>
                    <a:lnTo>
                      <a:pt x="1244" y="2782"/>
                    </a:lnTo>
                    <a:lnTo>
                      <a:pt x="1242" y="2784"/>
                    </a:lnTo>
                    <a:lnTo>
                      <a:pt x="1242" y="2790"/>
                    </a:lnTo>
                    <a:lnTo>
                      <a:pt x="1242" y="2790"/>
                    </a:lnTo>
                    <a:lnTo>
                      <a:pt x="1244" y="2794"/>
                    </a:lnTo>
                    <a:lnTo>
                      <a:pt x="1246" y="2794"/>
                    </a:lnTo>
                    <a:lnTo>
                      <a:pt x="1250" y="2794"/>
                    </a:lnTo>
                    <a:lnTo>
                      <a:pt x="1256" y="2796"/>
                    </a:lnTo>
                    <a:lnTo>
                      <a:pt x="1256" y="2796"/>
                    </a:lnTo>
                    <a:lnTo>
                      <a:pt x="1260" y="2798"/>
                    </a:lnTo>
                    <a:lnTo>
                      <a:pt x="1260" y="2798"/>
                    </a:lnTo>
                    <a:lnTo>
                      <a:pt x="1260" y="2794"/>
                    </a:lnTo>
                    <a:lnTo>
                      <a:pt x="1256" y="2790"/>
                    </a:lnTo>
                    <a:lnTo>
                      <a:pt x="1256" y="2790"/>
                    </a:lnTo>
                    <a:close/>
                    <a:moveTo>
                      <a:pt x="1348" y="2902"/>
                    </a:moveTo>
                    <a:lnTo>
                      <a:pt x="1348" y="2902"/>
                    </a:lnTo>
                    <a:lnTo>
                      <a:pt x="1352" y="2904"/>
                    </a:lnTo>
                    <a:lnTo>
                      <a:pt x="1352" y="2902"/>
                    </a:lnTo>
                    <a:lnTo>
                      <a:pt x="1352" y="2898"/>
                    </a:lnTo>
                    <a:lnTo>
                      <a:pt x="1350" y="2892"/>
                    </a:lnTo>
                    <a:lnTo>
                      <a:pt x="1350" y="2892"/>
                    </a:lnTo>
                    <a:lnTo>
                      <a:pt x="1346" y="2890"/>
                    </a:lnTo>
                    <a:lnTo>
                      <a:pt x="1344" y="2892"/>
                    </a:lnTo>
                    <a:lnTo>
                      <a:pt x="1346" y="2896"/>
                    </a:lnTo>
                    <a:lnTo>
                      <a:pt x="1348" y="2902"/>
                    </a:lnTo>
                    <a:lnTo>
                      <a:pt x="1348" y="2902"/>
                    </a:lnTo>
                    <a:close/>
                    <a:moveTo>
                      <a:pt x="1448" y="2860"/>
                    </a:moveTo>
                    <a:lnTo>
                      <a:pt x="1448" y="2860"/>
                    </a:lnTo>
                    <a:lnTo>
                      <a:pt x="1450" y="2860"/>
                    </a:lnTo>
                    <a:lnTo>
                      <a:pt x="1452" y="2860"/>
                    </a:lnTo>
                    <a:lnTo>
                      <a:pt x="1454" y="2854"/>
                    </a:lnTo>
                    <a:lnTo>
                      <a:pt x="1452" y="2848"/>
                    </a:lnTo>
                    <a:lnTo>
                      <a:pt x="1452" y="2846"/>
                    </a:lnTo>
                    <a:lnTo>
                      <a:pt x="1448" y="2846"/>
                    </a:lnTo>
                    <a:lnTo>
                      <a:pt x="1448" y="2846"/>
                    </a:lnTo>
                    <a:lnTo>
                      <a:pt x="1446" y="2850"/>
                    </a:lnTo>
                    <a:lnTo>
                      <a:pt x="1444" y="2852"/>
                    </a:lnTo>
                    <a:lnTo>
                      <a:pt x="1446" y="2856"/>
                    </a:lnTo>
                    <a:lnTo>
                      <a:pt x="1448" y="2860"/>
                    </a:lnTo>
                    <a:lnTo>
                      <a:pt x="1448" y="2860"/>
                    </a:lnTo>
                    <a:close/>
                    <a:moveTo>
                      <a:pt x="1440" y="2848"/>
                    </a:moveTo>
                    <a:lnTo>
                      <a:pt x="1440" y="2848"/>
                    </a:lnTo>
                    <a:lnTo>
                      <a:pt x="1438" y="2848"/>
                    </a:lnTo>
                    <a:lnTo>
                      <a:pt x="1434" y="2850"/>
                    </a:lnTo>
                    <a:lnTo>
                      <a:pt x="1434" y="2854"/>
                    </a:lnTo>
                    <a:lnTo>
                      <a:pt x="1436" y="2856"/>
                    </a:lnTo>
                    <a:lnTo>
                      <a:pt x="1436" y="2856"/>
                    </a:lnTo>
                    <a:lnTo>
                      <a:pt x="1438" y="2856"/>
                    </a:lnTo>
                    <a:lnTo>
                      <a:pt x="1440" y="2854"/>
                    </a:lnTo>
                    <a:lnTo>
                      <a:pt x="1440" y="2850"/>
                    </a:lnTo>
                    <a:lnTo>
                      <a:pt x="1440" y="2848"/>
                    </a:lnTo>
                    <a:lnTo>
                      <a:pt x="1440" y="2848"/>
                    </a:lnTo>
                    <a:close/>
                    <a:moveTo>
                      <a:pt x="2822" y="3608"/>
                    </a:moveTo>
                    <a:lnTo>
                      <a:pt x="2822" y="3608"/>
                    </a:lnTo>
                    <a:lnTo>
                      <a:pt x="2818" y="3606"/>
                    </a:lnTo>
                    <a:lnTo>
                      <a:pt x="2814" y="3598"/>
                    </a:lnTo>
                    <a:lnTo>
                      <a:pt x="2802" y="3578"/>
                    </a:lnTo>
                    <a:lnTo>
                      <a:pt x="2798" y="3570"/>
                    </a:lnTo>
                    <a:lnTo>
                      <a:pt x="2792" y="3562"/>
                    </a:lnTo>
                    <a:lnTo>
                      <a:pt x="2786" y="3558"/>
                    </a:lnTo>
                    <a:lnTo>
                      <a:pt x="2782" y="3556"/>
                    </a:lnTo>
                    <a:lnTo>
                      <a:pt x="2780" y="3558"/>
                    </a:lnTo>
                    <a:lnTo>
                      <a:pt x="2780" y="3558"/>
                    </a:lnTo>
                    <a:lnTo>
                      <a:pt x="2776" y="3558"/>
                    </a:lnTo>
                    <a:lnTo>
                      <a:pt x="2774" y="3558"/>
                    </a:lnTo>
                    <a:lnTo>
                      <a:pt x="2768" y="3554"/>
                    </a:lnTo>
                    <a:lnTo>
                      <a:pt x="2762" y="3550"/>
                    </a:lnTo>
                    <a:lnTo>
                      <a:pt x="2756" y="3548"/>
                    </a:lnTo>
                    <a:lnTo>
                      <a:pt x="2746" y="3546"/>
                    </a:lnTo>
                    <a:lnTo>
                      <a:pt x="2746" y="3546"/>
                    </a:lnTo>
                    <a:lnTo>
                      <a:pt x="2738" y="3544"/>
                    </a:lnTo>
                    <a:lnTo>
                      <a:pt x="2728" y="3540"/>
                    </a:lnTo>
                    <a:lnTo>
                      <a:pt x="2720" y="3532"/>
                    </a:lnTo>
                    <a:lnTo>
                      <a:pt x="2712" y="3524"/>
                    </a:lnTo>
                    <a:lnTo>
                      <a:pt x="2706" y="3516"/>
                    </a:lnTo>
                    <a:lnTo>
                      <a:pt x="2700" y="3506"/>
                    </a:lnTo>
                    <a:lnTo>
                      <a:pt x="2696" y="3496"/>
                    </a:lnTo>
                    <a:lnTo>
                      <a:pt x="2694" y="3488"/>
                    </a:lnTo>
                    <a:lnTo>
                      <a:pt x="2694" y="3488"/>
                    </a:lnTo>
                    <a:lnTo>
                      <a:pt x="2694" y="3464"/>
                    </a:lnTo>
                    <a:lnTo>
                      <a:pt x="2694" y="3458"/>
                    </a:lnTo>
                    <a:lnTo>
                      <a:pt x="2692" y="3454"/>
                    </a:lnTo>
                    <a:lnTo>
                      <a:pt x="2692" y="3454"/>
                    </a:lnTo>
                    <a:lnTo>
                      <a:pt x="2692" y="3448"/>
                    </a:lnTo>
                    <a:lnTo>
                      <a:pt x="2694" y="3442"/>
                    </a:lnTo>
                    <a:lnTo>
                      <a:pt x="2696" y="3438"/>
                    </a:lnTo>
                    <a:lnTo>
                      <a:pt x="2696" y="3434"/>
                    </a:lnTo>
                    <a:lnTo>
                      <a:pt x="2696" y="3434"/>
                    </a:lnTo>
                    <a:lnTo>
                      <a:pt x="2696" y="3430"/>
                    </a:lnTo>
                    <a:lnTo>
                      <a:pt x="2698" y="3422"/>
                    </a:lnTo>
                    <a:lnTo>
                      <a:pt x="2700" y="3418"/>
                    </a:lnTo>
                    <a:lnTo>
                      <a:pt x="2698" y="3416"/>
                    </a:lnTo>
                    <a:lnTo>
                      <a:pt x="2696" y="3414"/>
                    </a:lnTo>
                    <a:lnTo>
                      <a:pt x="2696" y="3414"/>
                    </a:lnTo>
                    <a:lnTo>
                      <a:pt x="2694" y="3416"/>
                    </a:lnTo>
                    <a:lnTo>
                      <a:pt x="2692" y="3416"/>
                    </a:lnTo>
                    <a:lnTo>
                      <a:pt x="2692" y="3420"/>
                    </a:lnTo>
                    <a:lnTo>
                      <a:pt x="2694" y="3424"/>
                    </a:lnTo>
                    <a:lnTo>
                      <a:pt x="2692" y="3424"/>
                    </a:lnTo>
                    <a:lnTo>
                      <a:pt x="2692" y="3424"/>
                    </a:lnTo>
                    <a:lnTo>
                      <a:pt x="2692" y="3424"/>
                    </a:lnTo>
                    <a:lnTo>
                      <a:pt x="2688" y="3422"/>
                    </a:lnTo>
                    <a:lnTo>
                      <a:pt x="2686" y="3422"/>
                    </a:lnTo>
                    <a:lnTo>
                      <a:pt x="2684" y="3432"/>
                    </a:lnTo>
                    <a:lnTo>
                      <a:pt x="2684" y="3432"/>
                    </a:lnTo>
                    <a:lnTo>
                      <a:pt x="2680" y="3444"/>
                    </a:lnTo>
                    <a:lnTo>
                      <a:pt x="2678" y="3444"/>
                    </a:lnTo>
                    <a:lnTo>
                      <a:pt x="2678" y="3444"/>
                    </a:lnTo>
                    <a:lnTo>
                      <a:pt x="2676" y="3444"/>
                    </a:lnTo>
                    <a:lnTo>
                      <a:pt x="2674" y="3444"/>
                    </a:lnTo>
                    <a:lnTo>
                      <a:pt x="2670" y="3452"/>
                    </a:lnTo>
                    <a:lnTo>
                      <a:pt x="2670" y="3452"/>
                    </a:lnTo>
                    <a:lnTo>
                      <a:pt x="2666" y="3458"/>
                    </a:lnTo>
                    <a:lnTo>
                      <a:pt x="2660" y="3462"/>
                    </a:lnTo>
                    <a:lnTo>
                      <a:pt x="2654" y="3468"/>
                    </a:lnTo>
                    <a:lnTo>
                      <a:pt x="2646" y="3476"/>
                    </a:lnTo>
                    <a:lnTo>
                      <a:pt x="2646" y="3476"/>
                    </a:lnTo>
                    <a:lnTo>
                      <a:pt x="2638" y="3488"/>
                    </a:lnTo>
                    <a:lnTo>
                      <a:pt x="2628" y="3496"/>
                    </a:lnTo>
                    <a:lnTo>
                      <a:pt x="2614" y="3508"/>
                    </a:lnTo>
                    <a:lnTo>
                      <a:pt x="2614" y="3508"/>
                    </a:lnTo>
                    <a:lnTo>
                      <a:pt x="2616" y="3510"/>
                    </a:lnTo>
                    <a:lnTo>
                      <a:pt x="2618" y="3512"/>
                    </a:lnTo>
                    <a:lnTo>
                      <a:pt x="2618" y="3516"/>
                    </a:lnTo>
                    <a:lnTo>
                      <a:pt x="2614" y="3524"/>
                    </a:lnTo>
                    <a:lnTo>
                      <a:pt x="2614" y="3524"/>
                    </a:lnTo>
                    <a:lnTo>
                      <a:pt x="2606" y="3530"/>
                    </a:lnTo>
                    <a:lnTo>
                      <a:pt x="2598" y="3532"/>
                    </a:lnTo>
                    <a:lnTo>
                      <a:pt x="2588" y="3534"/>
                    </a:lnTo>
                    <a:lnTo>
                      <a:pt x="2578" y="3532"/>
                    </a:lnTo>
                    <a:lnTo>
                      <a:pt x="2558" y="3528"/>
                    </a:lnTo>
                    <a:lnTo>
                      <a:pt x="2546" y="3528"/>
                    </a:lnTo>
                    <a:lnTo>
                      <a:pt x="2538" y="3532"/>
                    </a:lnTo>
                    <a:lnTo>
                      <a:pt x="2538" y="3532"/>
                    </a:lnTo>
                    <a:lnTo>
                      <a:pt x="2522" y="3538"/>
                    </a:lnTo>
                    <a:lnTo>
                      <a:pt x="2514" y="3538"/>
                    </a:lnTo>
                    <a:lnTo>
                      <a:pt x="2512" y="3538"/>
                    </a:lnTo>
                    <a:lnTo>
                      <a:pt x="2510" y="3536"/>
                    </a:lnTo>
                    <a:lnTo>
                      <a:pt x="2510" y="3528"/>
                    </a:lnTo>
                    <a:lnTo>
                      <a:pt x="2510" y="3528"/>
                    </a:lnTo>
                    <a:lnTo>
                      <a:pt x="2510" y="3522"/>
                    </a:lnTo>
                    <a:lnTo>
                      <a:pt x="2506" y="3522"/>
                    </a:lnTo>
                    <a:lnTo>
                      <a:pt x="2502" y="3522"/>
                    </a:lnTo>
                    <a:lnTo>
                      <a:pt x="2496" y="3522"/>
                    </a:lnTo>
                    <a:lnTo>
                      <a:pt x="2496" y="3522"/>
                    </a:lnTo>
                    <a:lnTo>
                      <a:pt x="2492" y="3520"/>
                    </a:lnTo>
                    <a:lnTo>
                      <a:pt x="2490" y="3518"/>
                    </a:lnTo>
                    <a:lnTo>
                      <a:pt x="2492" y="3514"/>
                    </a:lnTo>
                    <a:lnTo>
                      <a:pt x="2496" y="3510"/>
                    </a:lnTo>
                    <a:lnTo>
                      <a:pt x="2496" y="3506"/>
                    </a:lnTo>
                    <a:lnTo>
                      <a:pt x="2496" y="3506"/>
                    </a:lnTo>
                    <a:lnTo>
                      <a:pt x="2496" y="3506"/>
                    </a:lnTo>
                    <a:lnTo>
                      <a:pt x="2492" y="3508"/>
                    </a:lnTo>
                    <a:lnTo>
                      <a:pt x="2490" y="3508"/>
                    </a:lnTo>
                    <a:lnTo>
                      <a:pt x="2488" y="3508"/>
                    </a:lnTo>
                    <a:lnTo>
                      <a:pt x="2488" y="3508"/>
                    </a:lnTo>
                    <a:lnTo>
                      <a:pt x="2486" y="3506"/>
                    </a:lnTo>
                    <a:lnTo>
                      <a:pt x="2488" y="3504"/>
                    </a:lnTo>
                    <a:lnTo>
                      <a:pt x="2490" y="3504"/>
                    </a:lnTo>
                    <a:lnTo>
                      <a:pt x="2490" y="3504"/>
                    </a:lnTo>
                    <a:lnTo>
                      <a:pt x="2494" y="3504"/>
                    </a:lnTo>
                    <a:lnTo>
                      <a:pt x="2496" y="3502"/>
                    </a:lnTo>
                    <a:lnTo>
                      <a:pt x="2498" y="3496"/>
                    </a:lnTo>
                    <a:lnTo>
                      <a:pt x="2502" y="3480"/>
                    </a:lnTo>
                    <a:lnTo>
                      <a:pt x="2502" y="3480"/>
                    </a:lnTo>
                    <a:lnTo>
                      <a:pt x="2502" y="3474"/>
                    </a:lnTo>
                    <a:lnTo>
                      <a:pt x="2500" y="3468"/>
                    </a:lnTo>
                    <a:lnTo>
                      <a:pt x="2496" y="3462"/>
                    </a:lnTo>
                    <a:lnTo>
                      <a:pt x="2496" y="3458"/>
                    </a:lnTo>
                    <a:lnTo>
                      <a:pt x="2498" y="3454"/>
                    </a:lnTo>
                    <a:lnTo>
                      <a:pt x="2498" y="3454"/>
                    </a:lnTo>
                    <a:lnTo>
                      <a:pt x="2500" y="3448"/>
                    </a:lnTo>
                    <a:lnTo>
                      <a:pt x="2498" y="3440"/>
                    </a:lnTo>
                    <a:lnTo>
                      <a:pt x="2494" y="3434"/>
                    </a:lnTo>
                    <a:lnTo>
                      <a:pt x="2490" y="3428"/>
                    </a:lnTo>
                    <a:lnTo>
                      <a:pt x="2490" y="3428"/>
                    </a:lnTo>
                    <a:lnTo>
                      <a:pt x="2486" y="3426"/>
                    </a:lnTo>
                    <a:lnTo>
                      <a:pt x="2484" y="3426"/>
                    </a:lnTo>
                    <a:lnTo>
                      <a:pt x="2480" y="3430"/>
                    </a:lnTo>
                    <a:lnTo>
                      <a:pt x="2476" y="3444"/>
                    </a:lnTo>
                    <a:lnTo>
                      <a:pt x="2476" y="3444"/>
                    </a:lnTo>
                    <a:lnTo>
                      <a:pt x="2470" y="3456"/>
                    </a:lnTo>
                    <a:lnTo>
                      <a:pt x="2470" y="3466"/>
                    </a:lnTo>
                    <a:lnTo>
                      <a:pt x="2468" y="3498"/>
                    </a:lnTo>
                    <a:lnTo>
                      <a:pt x="2468" y="3498"/>
                    </a:lnTo>
                    <a:lnTo>
                      <a:pt x="2464" y="3486"/>
                    </a:lnTo>
                    <a:lnTo>
                      <a:pt x="2460" y="3478"/>
                    </a:lnTo>
                    <a:lnTo>
                      <a:pt x="2458" y="3468"/>
                    </a:lnTo>
                    <a:lnTo>
                      <a:pt x="2452" y="3462"/>
                    </a:lnTo>
                    <a:lnTo>
                      <a:pt x="2452" y="3462"/>
                    </a:lnTo>
                    <a:lnTo>
                      <a:pt x="2448" y="3456"/>
                    </a:lnTo>
                    <a:lnTo>
                      <a:pt x="2448" y="3454"/>
                    </a:lnTo>
                    <a:lnTo>
                      <a:pt x="2448" y="3450"/>
                    </a:lnTo>
                    <a:lnTo>
                      <a:pt x="2444" y="3444"/>
                    </a:lnTo>
                    <a:lnTo>
                      <a:pt x="2444" y="3444"/>
                    </a:lnTo>
                    <a:lnTo>
                      <a:pt x="2442" y="3438"/>
                    </a:lnTo>
                    <a:lnTo>
                      <a:pt x="2442" y="3434"/>
                    </a:lnTo>
                    <a:lnTo>
                      <a:pt x="2442" y="3428"/>
                    </a:lnTo>
                    <a:lnTo>
                      <a:pt x="2444" y="3420"/>
                    </a:lnTo>
                    <a:lnTo>
                      <a:pt x="2442" y="3414"/>
                    </a:lnTo>
                    <a:lnTo>
                      <a:pt x="2440" y="3408"/>
                    </a:lnTo>
                    <a:lnTo>
                      <a:pt x="2440" y="3408"/>
                    </a:lnTo>
                    <a:lnTo>
                      <a:pt x="2438" y="3402"/>
                    </a:lnTo>
                    <a:lnTo>
                      <a:pt x="2438" y="3400"/>
                    </a:lnTo>
                    <a:lnTo>
                      <a:pt x="2442" y="3400"/>
                    </a:lnTo>
                    <a:lnTo>
                      <a:pt x="2442" y="3400"/>
                    </a:lnTo>
                    <a:lnTo>
                      <a:pt x="2444" y="3404"/>
                    </a:lnTo>
                    <a:lnTo>
                      <a:pt x="2444" y="3404"/>
                    </a:lnTo>
                    <a:lnTo>
                      <a:pt x="2444" y="3404"/>
                    </a:lnTo>
                    <a:lnTo>
                      <a:pt x="2448" y="3404"/>
                    </a:lnTo>
                    <a:lnTo>
                      <a:pt x="2448" y="3406"/>
                    </a:lnTo>
                    <a:lnTo>
                      <a:pt x="2446" y="3408"/>
                    </a:lnTo>
                    <a:lnTo>
                      <a:pt x="2446" y="3408"/>
                    </a:lnTo>
                    <a:lnTo>
                      <a:pt x="2444" y="3410"/>
                    </a:lnTo>
                    <a:lnTo>
                      <a:pt x="2448" y="3410"/>
                    </a:lnTo>
                    <a:lnTo>
                      <a:pt x="2448" y="3410"/>
                    </a:lnTo>
                    <a:lnTo>
                      <a:pt x="2450" y="3412"/>
                    </a:lnTo>
                    <a:lnTo>
                      <a:pt x="2448" y="3414"/>
                    </a:lnTo>
                    <a:lnTo>
                      <a:pt x="2448" y="3414"/>
                    </a:lnTo>
                    <a:lnTo>
                      <a:pt x="2450" y="3416"/>
                    </a:lnTo>
                    <a:lnTo>
                      <a:pt x="2450" y="3416"/>
                    </a:lnTo>
                    <a:lnTo>
                      <a:pt x="2454" y="3420"/>
                    </a:lnTo>
                    <a:lnTo>
                      <a:pt x="2456" y="3422"/>
                    </a:lnTo>
                    <a:lnTo>
                      <a:pt x="2458" y="3422"/>
                    </a:lnTo>
                    <a:lnTo>
                      <a:pt x="2458" y="3422"/>
                    </a:lnTo>
                    <a:lnTo>
                      <a:pt x="2458" y="3422"/>
                    </a:lnTo>
                    <a:lnTo>
                      <a:pt x="2460" y="3422"/>
                    </a:lnTo>
                    <a:lnTo>
                      <a:pt x="2460" y="3420"/>
                    </a:lnTo>
                    <a:lnTo>
                      <a:pt x="2460" y="3418"/>
                    </a:lnTo>
                    <a:lnTo>
                      <a:pt x="2462" y="3416"/>
                    </a:lnTo>
                    <a:lnTo>
                      <a:pt x="2462" y="3416"/>
                    </a:lnTo>
                    <a:lnTo>
                      <a:pt x="2464" y="3412"/>
                    </a:lnTo>
                    <a:lnTo>
                      <a:pt x="2466" y="3406"/>
                    </a:lnTo>
                    <a:lnTo>
                      <a:pt x="2466" y="3406"/>
                    </a:lnTo>
                    <a:lnTo>
                      <a:pt x="2466" y="3402"/>
                    </a:lnTo>
                    <a:lnTo>
                      <a:pt x="2468" y="3400"/>
                    </a:lnTo>
                    <a:lnTo>
                      <a:pt x="2468" y="3400"/>
                    </a:lnTo>
                    <a:lnTo>
                      <a:pt x="2468" y="3402"/>
                    </a:lnTo>
                    <a:lnTo>
                      <a:pt x="2468" y="3402"/>
                    </a:lnTo>
                    <a:lnTo>
                      <a:pt x="2474" y="3404"/>
                    </a:lnTo>
                    <a:lnTo>
                      <a:pt x="2476" y="3404"/>
                    </a:lnTo>
                    <a:lnTo>
                      <a:pt x="2476" y="3404"/>
                    </a:lnTo>
                    <a:lnTo>
                      <a:pt x="2476" y="3402"/>
                    </a:lnTo>
                    <a:lnTo>
                      <a:pt x="2478" y="3402"/>
                    </a:lnTo>
                    <a:lnTo>
                      <a:pt x="2478" y="3402"/>
                    </a:lnTo>
                    <a:lnTo>
                      <a:pt x="2480" y="3400"/>
                    </a:lnTo>
                    <a:lnTo>
                      <a:pt x="2480" y="3398"/>
                    </a:lnTo>
                    <a:lnTo>
                      <a:pt x="2480" y="3398"/>
                    </a:lnTo>
                    <a:lnTo>
                      <a:pt x="2482" y="3396"/>
                    </a:lnTo>
                    <a:lnTo>
                      <a:pt x="2482" y="3394"/>
                    </a:lnTo>
                    <a:lnTo>
                      <a:pt x="2482" y="3392"/>
                    </a:lnTo>
                    <a:lnTo>
                      <a:pt x="2482" y="3392"/>
                    </a:lnTo>
                    <a:lnTo>
                      <a:pt x="2482" y="3388"/>
                    </a:lnTo>
                    <a:lnTo>
                      <a:pt x="2480" y="3386"/>
                    </a:lnTo>
                    <a:lnTo>
                      <a:pt x="2480" y="3386"/>
                    </a:lnTo>
                    <a:lnTo>
                      <a:pt x="2482" y="3384"/>
                    </a:lnTo>
                    <a:lnTo>
                      <a:pt x="2480" y="3384"/>
                    </a:lnTo>
                    <a:lnTo>
                      <a:pt x="2480" y="3384"/>
                    </a:lnTo>
                    <a:lnTo>
                      <a:pt x="2478" y="3384"/>
                    </a:lnTo>
                    <a:lnTo>
                      <a:pt x="2478" y="3386"/>
                    </a:lnTo>
                    <a:lnTo>
                      <a:pt x="2478" y="3386"/>
                    </a:lnTo>
                    <a:lnTo>
                      <a:pt x="2476" y="3388"/>
                    </a:lnTo>
                    <a:lnTo>
                      <a:pt x="2476" y="3388"/>
                    </a:lnTo>
                    <a:lnTo>
                      <a:pt x="2472" y="3388"/>
                    </a:lnTo>
                    <a:lnTo>
                      <a:pt x="2470" y="3388"/>
                    </a:lnTo>
                    <a:lnTo>
                      <a:pt x="2470" y="3388"/>
                    </a:lnTo>
                    <a:lnTo>
                      <a:pt x="2468" y="3382"/>
                    </a:lnTo>
                    <a:lnTo>
                      <a:pt x="2466" y="3378"/>
                    </a:lnTo>
                    <a:lnTo>
                      <a:pt x="2466" y="3378"/>
                    </a:lnTo>
                    <a:lnTo>
                      <a:pt x="2468" y="3374"/>
                    </a:lnTo>
                    <a:lnTo>
                      <a:pt x="2468" y="3372"/>
                    </a:lnTo>
                    <a:lnTo>
                      <a:pt x="2466" y="3370"/>
                    </a:lnTo>
                    <a:lnTo>
                      <a:pt x="2466" y="3370"/>
                    </a:lnTo>
                    <a:lnTo>
                      <a:pt x="2464" y="3370"/>
                    </a:lnTo>
                    <a:lnTo>
                      <a:pt x="2464" y="3370"/>
                    </a:lnTo>
                    <a:lnTo>
                      <a:pt x="2464" y="3374"/>
                    </a:lnTo>
                    <a:lnTo>
                      <a:pt x="2462" y="3378"/>
                    </a:lnTo>
                    <a:lnTo>
                      <a:pt x="2462" y="3380"/>
                    </a:lnTo>
                    <a:lnTo>
                      <a:pt x="2460" y="3380"/>
                    </a:lnTo>
                    <a:lnTo>
                      <a:pt x="2460" y="3380"/>
                    </a:lnTo>
                    <a:lnTo>
                      <a:pt x="2456" y="3380"/>
                    </a:lnTo>
                    <a:lnTo>
                      <a:pt x="2452" y="3382"/>
                    </a:lnTo>
                    <a:lnTo>
                      <a:pt x="2450" y="3384"/>
                    </a:lnTo>
                    <a:lnTo>
                      <a:pt x="2446" y="3384"/>
                    </a:lnTo>
                    <a:lnTo>
                      <a:pt x="2446" y="3384"/>
                    </a:lnTo>
                    <a:lnTo>
                      <a:pt x="2444" y="3384"/>
                    </a:lnTo>
                    <a:lnTo>
                      <a:pt x="2444" y="3388"/>
                    </a:lnTo>
                    <a:lnTo>
                      <a:pt x="2442" y="3394"/>
                    </a:lnTo>
                    <a:lnTo>
                      <a:pt x="2442" y="3394"/>
                    </a:lnTo>
                    <a:lnTo>
                      <a:pt x="2434" y="3388"/>
                    </a:lnTo>
                    <a:lnTo>
                      <a:pt x="2422" y="3378"/>
                    </a:lnTo>
                    <a:lnTo>
                      <a:pt x="2414" y="3368"/>
                    </a:lnTo>
                    <a:lnTo>
                      <a:pt x="2410" y="3364"/>
                    </a:lnTo>
                    <a:lnTo>
                      <a:pt x="2410" y="3358"/>
                    </a:lnTo>
                    <a:lnTo>
                      <a:pt x="2410" y="3358"/>
                    </a:lnTo>
                    <a:lnTo>
                      <a:pt x="2410" y="3354"/>
                    </a:lnTo>
                    <a:lnTo>
                      <a:pt x="2408" y="3352"/>
                    </a:lnTo>
                    <a:lnTo>
                      <a:pt x="2402" y="3350"/>
                    </a:lnTo>
                    <a:lnTo>
                      <a:pt x="2394" y="3350"/>
                    </a:lnTo>
                    <a:lnTo>
                      <a:pt x="2392" y="3348"/>
                    </a:lnTo>
                    <a:lnTo>
                      <a:pt x="2392" y="3344"/>
                    </a:lnTo>
                    <a:lnTo>
                      <a:pt x="2392" y="3344"/>
                    </a:lnTo>
                    <a:lnTo>
                      <a:pt x="2390" y="3338"/>
                    </a:lnTo>
                    <a:lnTo>
                      <a:pt x="2386" y="3330"/>
                    </a:lnTo>
                    <a:lnTo>
                      <a:pt x="2382" y="3320"/>
                    </a:lnTo>
                    <a:lnTo>
                      <a:pt x="2376" y="3302"/>
                    </a:lnTo>
                    <a:lnTo>
                      <a:pt x="2376" y="3302"/>
                    </a:lnTo>
                    <a:lnTo>
                      <a:pt x="2370" y="3290"/>
                    </a:lnTo>
                    <a:lnTo>
                      <a:pt x="2366" y="3284"/>
                    </a:lnTo>
                    <a:lnTo>
                      <a:pt x="2364" y="3280"/>
                    </a:lnTo>
                    <a:lnTo>
                      <a:pt x="2362" y="3270"/>
                    </a:lnTo>
                    <a:lnTo>
                      <a:pt x="2362" y="3270"/>
                    </a:lnTo>
                    <a:lnTo>
                      <a:pt x="2360" y="3266"/>
                    </a:lnTo>
                    <a:lnTo>
                      <a:pt x="2358" y="3264"/>
                    </a:lnTo>
                    <a:lnTo>
                      <a:pt x="2352" y="3262"/>
                    </a:lnTo>
                    <a:lnTo>
                      <a:pt x="2346" y="3260"/>
                    </a:lnTo>
                    <a:lnTo>
                      <a:pt x="2346" y="3258"/>
                    </a:lnTo>
                    <a:lnTo>
                      <a:pt x="2346" y="3254"/>
                    </a:lnTo>
                    <a:lnTo>
                      <a:pt x="2346" y="3254"/>
                    </a:lnTo>
                    <a:lnTo>
                      <a:pt x="2350" y="3250"/>
                    </a:lnTo>
                    <a:lnTo>
                      <a:pt x="2354" y="3248"/>
                    </a:lnTo>
                    <a:lnTo>
                      <a:pt x="2360" y="3250"/>
                    </a:lnTo>
                    <a:lnTo>
                      <a:pt x="2362" y="3248"/>
                    </a:lnTo>
                    <a:lnTo>
                      <a:pt x="2362" y="3246"/>
                    </a:lnTo>
                    <a:lnTo>
                      <a:pt x="2354" y="3228"/>
                    </a:lnTo>
                    <a:lnTo>
                      <a:pt x="2354" y="3228"/>
                    </a:lnTo>
                    <a:lnTo>
                      <a:pt x="2354" y="3224"/>
                    </a:lnTo>
                    <a:lnTo>
                      <a:pt x="2356" y="3224"/>
                    </a:lnTo>
                    <a:lnTo>
                      <a:pt x="2364" y="3226"/>
                    </a:lnTo>
                    <a:lnTo>
                      <a:pt x="2372" y="3230"/>
                    </a:lnTo>
                    <a:lnTo>
                      <a:pt x="2376" y="3232"/>
                    </a:lnTo>
                    <a:lnTo>
                      <a:pt x="2378" y="3230"/>
                    </a:lnTo>
                    <a:lnTo>
                      <a:pt x="2378" y="3230"/>
                    </a:lnTo>
                    <a:lnTo>
                      <a:pt x="2384" y="3226"/>
                    </a:lnTo>
                    <a:lnTo>
                      <a:pt x="2390" y="3226"/>
                    </a:lnTo>
                    <a:lnTo>
                      <a:pt x="2392" y="3224"/>
                    </a:lnTo>
                    <a:lnTo>
                      <a:pt x="2394" y="3216"/>
                    </a:lnTo>
                    <a:lnTo>
                      <a:pt x="2394" y="3216"/>
                    </a:lnTo>
                    <a:lnTo>
                      <a:pt x="2396" y="3212"/>
                    </a:lnTo>
                    <a:lnTo>
                      <a:pt x="2398" y="3212"/>
                    </a:lnTo>
                    <a:lnTo>
                      <a:pt x="2406" y="3218"/>
                    </a:lnTo>
                    <a:lnTo>
                      <a:pt x="2412" y="3222"/>
                    </a:lnTo>
                    <a:lnTo>
                      <a:pt x="2416" y="3224"/>
                    </a:lnTo>
                    <a:lnTo>
                      <a:pt x="2424" y="3224"/>
                    </a:lnTo>
                    <a:lnTo>
                      <a:pt x="2430" y="3222"/>
                    </a:lnTo>
                    <a:lnTo>
                      <a:pt x="2430" y="3222"/>
                    </a:lnTo>
                    <a:lnTo>
                      <a:pt x="2436" y="3218"/>
                    </a:lnTo>
                    <a:lnTo>
                      <a:pt x="2438" y="3218"/>
                    </a:lnTo>
                    <a:lnTo>
                      <a:pt x="2440" y="3220"/>
                    </a:lnTo>
                    <a:lnTo>
                      <a:pt x="2442" y="3222"/>
                    </a:lnTo>
                    <a:lnTo>
                      <a:pt x="2444" y="3232"/>
                    </a:lnTo>
                    <a:lnTo>
                      <a:pt x="2448" y="3238"/>
                    </a:lnTo>
                    <a:lnTo>
                      <a:pt x="2452" y="3244"/>
                    </a:lnTo>
                    <a:lnTo>
                      <a:pt x="2452" y="3220"/>
                    </a:lnTo>
                    <a:lnTo>
                      <a:pt x="2414" y="3146"/>
                    </a:lnTo>
                    <a:lnTo>
                      <a:pt x="2378" y="3050"/>
                    </a:lnTo>
                    <a:lnTo>
                      <a:pt x="2372" y="3006"/>
                    </a:lnTo>
                    <a:lnTo>
                      <a:pt x="2378" y="2910"/>
                    </a:lnTo>
                    <a:lnTo>
                      <a:pt x="2378" y="2868"/>
                    </a:lnTo>
                    <a:lnTo>
                      <a:pt x="2392" y="2778"/>
                    </a:lnTo>
                    <a:lnTo>
                      <a:pt x="2392" y="2778"/>
                    </a:lnTo>
                    <a:lnTo>
                      <a:pt x="2386" y="2780"/>
                    </a:lnTo>
                    <a:lnTo>
                      <a:pt x="2382" y="2780"/>
                    </a:lnTo>
                    <a:lnTo>
                      <a:pt x="2380" y="2778"/>
                    </a:lnTo>
                    <a:lnTo>
                      <a:pt x="2380" y="2776"/>
                    </a:lnTo>
                    <a:lnTo>
                      <a:pt x="2378" y="2770"/>
                    </a:lnTo>
                    <a:lnTo>
                      <a:pt x="2376" y="2768"/>
                    </a:lnTo>
                    <a:lnTo>
                      <a:pt x="2374" y="2768"/>
                    </a:lnTo>
                    <a:lnTo>
                      <a:pt x="2374" y="2768"/>
                    </a:lnTo>
                    <a:lnTo>
                      <a:pt x="2376" y="2768"/>
                    </a:lnTo>
                    <a:lnTo>
                      <a:pt x="2378" y="2770"/>
                    </a:lnTo>
                    <a:lnTo>
                      <a:pt x="2380" y="2776"/>
                    </a:lnTo>
                    <a:lnTo>
                      <a:pt x="2380" y="2778"/>
                    </a:lnTo>
                    <a:lnTo>
                      <a:pt x="2382" y="2780"/>
                    </a:lnTo>
                    <a:lnTo>
                      <a:pt x="2386" y="2780"/>
                    </a:lnTo>
                    <a:lnTo>
                      <a:pt x="2392" y="2778"/>
                    </a:lnTo>
                    <a:lnTo>
                      <a:pt x="2392" y="2778"/>
                    </a:lnTo>
                    <a:lnTo>
                      <a:pt x="2390" y="2764"/>
                    </a:lnTo>
                    <a:lnTo>
                      <a:pt x="2394" y="2746"/>
                    </a:lnTo>
                    <a:lnTo>
                      <a:pt x="2390" y="2726"/>
                    </a:lnTo>
                    <a:lnTo>
                      <a:pt x="2386" y="2674"/>
                    </a:lnTo>
                    <a:lnTo>
                      <a:pt x="2384" y="2658"/>
                    </a:lnTo>
                    <a:lnTo>
                      <a:pt x="2386" y="2626"/>
                    </a:lnTo>
                    <a:lnTo>
                      <a:pt x="2360" y="2586"/>
                    </a:lnTo>
                    <a:lnTo>
                      <a:pt x="2336" y="2534"/>
                    </a:lnTo>
                    <a:lnTo>
                      <a:pt x="2284" y="2470"/>
                    </a:lnTo>
                    <a:lnTo>
                      <a:pt x="2274" y="2434"/>
                    </a:lnTo>
                    <a:lnTo>
                      <a:pt x="2302" y="2390"/>
                    </a:lnTo>
                    <a:lnTo>
                      <a:pt x="2334" y="2368"/>
                    </a:lnTo>
                    <a:lnTo>
                      <a:pt x="2352" y="2336"/>
                    </a:lnTo>
                    <a:lnTo>
                      <a:pt x="2346" y="2304"/>
                    </a:lnTo>
                    <a:lnTo>
                      <a:pt x="2318" y="2270"/>
                    </a:lnTo>
                    <a:lnTo>
                      <a:pt x="2280" y="2246"/>
                    </a:lnTo>
                    <a:lnTo>
                      <a:pt x="2264" y="2186"/>
                    </a:lnTo>
                    <a:lnTo>
                      <a:pt x="2274" y="2140"/>
                    </a:lnTo>
                    <a:lnTo>
                      <a:pt x="2274" y="2140"/>
                    </a:lnTo>
                    <a:lnTo>
                      <a:pt x="2288" y="2090"/>
                    </a:lnTo>
                    <a:lnTo>
                      <a:pt x="2288" y="2090"/>
                    </a:lnTo>
                    <a:lnTo>
                      <a:pt x="2290" y="2086"/>
                    </a:lnTo>
                    <a:lnTo>
                      <a:pt x="2296" y="2086"/>
                    </a:lnTo>
                    <a:lnTo>
                      <a:pt x="2308" y="2088"/>
                    </a:lnTo>
                    <a:lnTo>
                      <a:pt x="2328" y="2096"/>
                    </a:lnTo>
                    <a:lnTo>
                      <a:pt x="2370" y="2082"/>
                    </a:lnTo>
                    <a:lnTo>
                      <a:pt x="2376" y="2058"/>
                    </a:lnTo>
                    <a:lnTo>
                      <a:pt x="2440" y="2024"/>
                    </a:lnTo>
                    <a:lnTo>
                      <a:pt x="2384" y="1780"/>
                    </a:lnTo>
                    <a:lnTo>
                      <a:pt x="2264" y="1588"/>
                    </a:lnTo>
                    <a:lnTo>
                      <a:pt x="2204" y="1444"/>
                    </a:lnTo>
                    <a:lnTo>
                      <a:pt x="2204" y="1264"/>
                    </a:lnTo>
                    <a:lnTo>
                      <a:pt x="2204" y="1264"/>
                    </a:lnTo>
                    <a:lnTo>
                      <a:pt x="2212" y="1228"/>
                    </a:lnTo>
                    <a:lnTo>
                      <a:pt x="2224" y="1194"/>
                    </a:lnTo>
                    <a:lnTo>
                      <a:pt x="2232" y="1174"/>
                    </a:lnTo>
                    <a:lnTo>
                      <a:pt x="2240" y="1156"/>
                    </a:lnTo>
                    <a:lnTo>
                      <a:pt x="2240" y="1156"/>
                    </a:lnTo>
                    <a:lnTo>
                      <a:pt x="2248" y="1138"/>
                    </a:lnTo>
                    <a:lnTo>
                      <a:pt x="2258" y="1112"/>
                    </a:lnTo>
                    <a:lnTo>
                      <a:pt x="2282" y="1046"/>
                    </a:lnTo>
                    <a:lnTo>
                      <a:pt x="2282" y="1046"/>
                    </a:lnTo>
                    <a:lnTo>
                      <a:pt x="2276" y="1048"/>
                    </a:lnTo>
                    <a:lnTo>
                      <a:pt x="2274" y="1046"/>
                    </a:lnTo>
                    <a:lnTo>
                      <a:pt x="2270" y="1038"/>
                    </a:lnTo>
                    <a:lnTo>
                      <a:pt x="2266" y="1032"/>
                    </a:lnTo>
                    <a:lnTo>
                      <a:pt x="2262" y="1026"/>
                    </a:lnTo>
                    <a:lnTo>
                      <a:pt x="2256" y="1018"/>
                    </a:lnTo>
                    <a:lnTo>
                      <a:pt x="2246" y="1014"/>
                    </a:lnTo>
                    <a:lnTo>
                      <a:pt x="2246" y="1014"/>
                    </a:lnTo>
                    <a:lnTo>
                      <a:pt x="2236" y="1006"/>
                    </a:lnTo>
                    <a:lnTo>
                      <a:pt x="2234" y="1004"/>
                    </a:lnTo>
                    <a:lnTo>
                      <a:pt x="2232" y="1000"/>
                    </a:lnTo>
                    <a:lnTo>
                      <a:pt x="2234" y="998"/>
                    </a:lnTo>
                    <a:lnTo>
                      <a:pt x="2234" y="994"/>
                    </a:lnTo>
                    <a:lnTo>
                      <a:pt x="2242" y="988"/>
                    </a:lnTo>
                    <a:lnTo>
                      <a:pt x="2250" y="982"/>
                    </a:lnTo>
                    <a:lnTo>
                      <a:pt x="2262" y="978"/>
                    </a:lnTo>
                    <a:lnTo>
                      <a:pt x="2274" y="974"/>
                    </a:lnTo>
                    <a:lnTo>
                      <a:pt x="2286" y="974"/>
                    </a:lnTo>
                    <a:lnTo>
                      <a:pt x="2286" y="974"/>
                    </a:lnTo>
                    <a:lnTo>
                      <a:pt x="2292" y="974"/>
                    </a:lnTo>
                    <a:lnTo>
                      <a:pt x="2296" y="972"/>
                    </a:lnTo>
                    <a:lnTo>
                      <a:pt x="2298" y="968"/>
                    </a:lnTo>
                    <a:lnTo>
                      <a:pt x="2300" y="966"/>
                    </a:lnTo>
                    <a:lnTo>
                      <a:pt x="2298" y="956"/>
                    </a:lnTo>
                    <a:lnTo>
                      <a:pt x="2294" y="946"/>
                    </a:lnTo>
                    <a:lnTo>
                      <a:pt x="2284" y="936"/>
                    </a:lnTo>
                    <a:lnTo>
                      <a:pt x="2272" y="928"/>
                    </a:lnTo>
                    <a:lnTo>
                      <a:pt x="2258" y="922"/>
                    </a:lnTo>
                    <a:lnTo>
                      <a:pt x="2250" y="922"/>
                    </a:lnTo>
                    <a:lnTo>
                      <a:pt x="2242" y="920"/>
                    </a:lnTo>
                    <a:lnTo>
                      <a:pt x="2242" y="920"/>
                    </a:lnTo>
                    <a:lnTo>
                      <a:pt x="2224" y="920"/>
                    </a:lnTo>
                    <a:lnTo>
                      <a:pt x="2208" y="918"/>
                    </a:lnTo>
                    <a:lnTo>
                      <a:pt x="2182" y="912"/>
                    </a:lnTo>
                    <a:lnTo>
                      <a:pt x="2174" y="912"/>
                    </a:lnTo>
                    <a:lnTo>
                      <a:pt x="2172" y="912"/>
                    </a:lnTo>
                    <a:lnTo>
                      <a:pt x="2172" y="914"/>
                    </a:lnTo>
                    <a:lnTo>
                      <a:pt x="2174" y="918"/>
                    </a:lnTo>
                    <a:lnTo>
                      <a:pt x="2186" y="928"/>
                    </a:lnTo>
                    <a:lnTo>
                      <a:pt x="2186" y="928"/>
                    </a:lnTo>
                    <a:lnTo>
                      <a:pt x="2192" y="934"/>
                    </a:lnTo>
                    <a:lnTo>
                      <a:pt x="2196" y="942"/>
                    </a:lnTo>
                    <a:lnTo>
                      <a:pt x="2198" y="948"/>
                    </a:lnTo>
                    <a:lnTo>
                      <a:pt x="2200" y="954"/>
                    </a:lnTo>
                    <a:lnTo>
                      <a:pt x="2196" y="966"/>
                    </a:lnTo>
                    <a:lnTo>
                      <a:pt x="2192" y="978"/>
                    </a:lnTo>
                    <a:lnTo>
                      <a:pt x="2188" y="990"/>
                    </a:lnTo>
                    <a:lnTo>
                      <a:pt x="2186" y="1000"/>
                    </a:lnTo>
                    <a:lnTo>
                      <a:pt x="2186" y="1006"/>
                    </a:lnTo>
                    <a:lnTo>
                      <a:pt x="2188" y="1012"/>
                    </a:lnTo>
                    <a:lnTo>
                      <a:pt x="2194" y="1016"/>
                    </a:lnTo>
                    <a:lnTo>
                      <a:pt x="2200" y="1022"/>
                    </a:lnTo>
                    <a:lnTo>
                      <a:pt x="2200" y="1022"/>
                    </a:lnTo>
                    <a:lnTo>
                      <a:pt x="2212" y="1032"/>
                    </a:lnTo>
                    <a:lnTo>
                      <a:pt x="2216" y="1036"/>
                    </a:lnTo>
                    <a:lnTo>
                      <a:pt x="2218" y="1040"/>
                    </a:lnTo>
                    <a:lnTo>
                      <a:pt x="2216" y="1046"/>
                    </a:lnTo>
                    <a:lnTo>
                      <a:pt x="2214" y="1054"/>
                    </a:lnTo>
                    <a:lnTo>
                      <a:pt x="2208" y="1062"/>
                    </a:lnTo>
                    <a:lnTo>
                      <a:pt x="2204" y="1072"/>
                    </a:lnTo>
                    <a:lnTo>
                      <a:pt x="2200" y="1084"/>
                    </a:lnTo>
                    <a:lnTo>
                      <a:pt x="2202" y="1098"/>
                    </a:lnTo>
                    <a:lnTo>
                      <a:pt x="2202" y="1098"/>
                    </a:lnTo>
                    <a:lnTo>
                      <a:pt x="2202" y="1106"/>
                    </a:lnTo>
                    <a:lnTo>
                      <a:pt x="2202" y="1106"/>
                    </a:lnTo>
                    <a:lnTo>
                      <a:pt x="2200" y="1104"/>
                    </a:lnTo>
                    <a:lnTo>
                      <a:pt x="2192" y="1096"/>
                    </a:lnTo>
                    <a:lnTo>
                      <a:pt x="2180" y="1084"/>
                    </a:lnTo>
                    <a:lnTo>
                      <a:pt x="2166" y="1072"/>
                    </a:lnTo>
                    <a:lnTo>
                      <a:pt x="2156" y="1068"/>
                    </a:lnTo>
                    <a:lnTo>
                      <a:pt x="2148" y="1066"/>
                    </a:lnTo>
                    <a:lnTo>
                      <a:pt x="2136" y="1064"/>
                    </a:lnTo>
                    <a:lnTo>
                      <a:pt x="2126" y="1066"/>
                    </a:lnTo>
                    <a:lnTo>
                      <a:pt x="2114" y="1070"/>
                    </a:lnTo>
                    <a:lnTo>
                      <a:pt x="2102" y="1076"/>
                    </a:lnTo>
                    <a:lnTo>
                      <a:pt x="2102" y="1076"/>
                    </a:lnTo>
                    <a:lnTo>
                      <a:pt x="2078" y="1092"/>
                    </a:lnTo>
                    <a:lnTo>
                      <a:pt x="2056" y="1104"/>
                    </a:lnTo>
                    <a:lnTo>
                      <a:pt x="2040" y="1114"/>
                    </a:lnTo>
                    <a:lnTo>
                      <a:pt x="2028" y="1122"/>
                    </a:lnTo>
                    <a:lnTo>
                      <a:pt x="2022" y="1130"/>
                    </a:lnTo>
                    <a:lnTo>
                      <a:pt x="2020" y="1134"/>
                    </a:lnTo>
                    <a:lnTo>
                      <a:pt x="2022" y="1140"/>
                    </a:lnTo>
                    <a:lnTo>
                      <a:pt x="2026" y="1150"/>
                    </a:lnTo>
                    <a:lnTo>
                      <a:pt x="2040" y="1166"/>
                    </a:lnTo>
                    <a:lnTo>
                      <a:pt x="2040" y="1166"/>
                    </a:lnTo>
                    <a:lnTo>
                      <a:pt x="2052" y="1180"/>
                    </a:lnTo>
                    <a:lnTo>
                      <a:pt x="2054" y="1186"/>
                    </a:lnTo>
                    <a:lnTo>
                      <a:pt x="2054" y="1192"/>
                    </a:lnTo>
                    <a:lnTo>
                      <a:pt x="2054" y="1196"/>
                    </a:lnTo>
                    <a:lnTo>
                      <a:pt x="2050" y="1198"/>
                    </a:lnTo>
                    <a:lnTo>
                      <a:pt x="2046" y="1200"/>
                    </a:lnTo>
                    <a:lnTo>
                      <a:pt x="2040" y="1202"/>
                    </a:lnTo>
                    <a:lnTo>
                      <a:pt x="2026" y="1202"/>
                    </a:lnTo>
                    <a:lnTo>
                      <a:pt x="2006" y="1198"/>
                    </a:lnTo>
                    <a:lnTo>
                      <a:pt x="1984" y="1190"/>
                    </a:lnTo>
                    <a:lnTo>
                      <a:pt x="1958" y="1180"/>
                    </a:lnTo>
                    <a:lnTo>
                      <a:pt x="1958" y="1180"/>
                    </a:lnTo>
                    <a:lnTo>
                      <a:pt x="1934" y="1170"/>
                    </a:lnTo>
                    <a:lnTo>
                      <a:pt x="1916" y="1164"/>
                    </a:lnTo>
                    <a:lnTo>
                      <a:pt x="1900" y="1162"/>
                    </a:lnTo>
                    <a:lnTo>
                      <a:pt x="1892" y="1164"/>
                    </a:lnTo>
                    <a:lnTo>
                      <a:pt x="1888" y="1166"/>
                    </a:lnTo>
                    <a:lnTo>
                      <a:pt x="1886" y="1170"/>
                    </a:lnTo>
                    <a:lnTo>
                      <a:pt x="1886" y="1176"/>
                    </a:lnTo>
                    <a:lnTo>
                      <a:pt x="1892" y="1186"/>
                    </a:lnTo>
                    <a:lnTo>
                      <a:pt x="1900" y="1196"/>
                    </a:lnTo>
                    <a:lnTo>
                      <a:pt x="1900" y="1196"/>
                    </a:lnTo>
                    <a:lnTo>
                      <a:pt x="1912" y="1206"/>
                    </a:lnTo>
                    <a:lnTo>
                      <a:pt x="1924" y="1214"/>
                    </a:lnTo>
                    <a:lnTo>
                      <a:pt x="1946" y="1222"/>
                    </a:lnTo>
                    <a:lnTo>
                      <a:pt x="1954" y="1226"/>
                    </a:lnTo>
                    <a:lnTo>
                      <a:pt x="1956" y="1228"/>
                    </a:lnTo>
                    <a:lnTo>
                      <a:pt x="1956" y="1232"/>
                    </a:lnTo>
                    <a:lnTo>
                      <a:pt x="1952" y="1238"/>
                    </a:lnTo>
                    <a:lnTo>
                      <a:pt x="1940" y="1246"/>
                    </a:lnTo>
                    <a:lnTo>
                      <a:pt x="1940" y="1246"/>
                    </a:lnTo>
                    <a:lnTo>
                      <a:pt x="1926" y="1252"/>
                    </a:lnTo>
                    <a:lnTo>
                      <a:pt x="1920" y="1252"/>
                    </a:lnTo>
                    <a:lnTo>
                      <a:pt x="1916" y="1252"/>
                    </a:lnTo>
                    <a:lnTo>
                      <a:pt x="1908" y="1248"/>
                    </a:lnTo>
                    <a:lnTo>
                      <a:pt x="1902" y="1240"/>
                    </a:lnTo>
                    <a:lnTo>
                      <a:pt x="1894" y="1232"/>
                    </a:lnTo>
                    <a:lnTo>
                      <a:pt x="1886" y="1224"/>
                    </a:lnTo>
                    <a:lnTo>
                      <a:pt x="1874" y="1216"/>
                    </a:lnTo>
                    <a:lnTo>
                      <a:pt x="1868" y="1212"/>
                    </a:lnTo>
                    <a:lnTo>
                      <a:pt x="1858" y="1210"/>
                    </a:lnTo>
                    <a:lnTo>
                      <a:pt x="1858" y="1210"/>
                    </a:lnTo>
                    <a:lnTo>
                      <a:pt x="1844" y="1206"/>
                    </a:lnTo>
                    <a:lnTo>
                      <a:pt x="1836" y="1202"/>
                    </a:lnTo>
                    <a:lnTo>
                      <a:pt x="1832" y="1196"/>
                    </a:lnTo>
                    <a:lnTo>
                      <a:pt x="1832" y="1188"/>
                    </a:lnTo>
                    <a:lnTo>
                      <a:pt x="1832" y="1182"/>
                    </a:lnTo>
                    <a:lnTo>
                      <a:pt x="1830" y="1174"/>
                    </a:lnTo>
                    <a:lnTo>
                      <a:pt x="1826" y="1164"/>
                    </a:lnTo>
                    <a:lnTo>
                      <a:pt x="1818" y="1156"/>
                    </a:lnTo>
                    <a:lnTo>
                      <a:pt x="1818" y="1156"/>
                    </a:lnTo>
                    <a:lnTo>
                      <a:pt x="1814" y="1152"/>
                    </a:lnTo>
                    <a:lnTo>
                      <a:pt x="1812" y="1148"/>
                    </a:lnTo>
                    <a:lnTo>
                      <a:pt x="1812" y="1144"/>
                    </a:lnTo>
                    <a:lnTo>
                      <a:pt x="1812" y="1140"/>
                    </a:lnTo>
                    <a:lnTo>
                      <a:pt x="1816" y="1134"/>
                    </a:lnTo>
                    <a:lnTo>
                      <a:pt x="1822" y="1128"/>
                    </a:lnTo>
                    <a:lnTo>
                      <a:pt x="1826" y="1122"/>
                    </a:lnTo>
                    <a:lnTo>
                      <a:pt x="1830" y="1114"/>
                    </a:lnTo>
                    <a:lnTo>
                      <a:pt x="1828" y="1110"/>
                    </a:lnTo>
                    <a:lnTo>
                      <a:pt x="1826" y="1106"/>
                    </a:lnTo>
                    <a:lnTo>
                      <a:pt x="1822" y="1100"/>
                    </a:lnTo>
                    <a:lnTo>
                      <a:pt x="1816" y="1096"/>
                    </a:lnTo>
                    <a:lnTo>
                      <a:pt x="1816" y="1096"/>
                    </a:lnTo>
                    <a:lnTo>
                      <a:pt x="1800" y="1084"/>
                    </a:lnTo>
                    <a:lnTo>
                      <a:pt x="1784" y="1076"/>
                    </a:lnTo>
                    <a:lnTo>
                      <a:pt x="1758" y="1060"/>
                    </a:lnTo>
                    <a:lnTo>
                      <a:pt x="1746" y="1054"/>
                    </a:lnTo>
                    <a:lnTo>
                      <a:pt x="1738" y="1046"/>
                    </a:lnTo>
                    <a:lnTo>
                      <a:pt x="1730" y="1036"/>
                    </a:lnTo>
                    <a:lnTo>
                      <a:pt x="1726" y="1026"/>
                    </a:lnTo>
                    <a:lnTo>
                      <a:pt x="1726" y="1026"/>
                    </a:lnTo>
                    <a:lnTo>
                      <a:pt x="1724" y="1018"/>
                    </a:lnTo>
                    <a:lnTo>
                      <a:pt x="1726" y="1016"/>
                    </a:lnTo>
                    <a:lnTo>
                      <a:pt x="1736" y="1026"/>
                    </a:lnTo>
                    <a:lnTo>
                      <a:pt x="1746" y="1036"/>
                    </a:lnTo>
                    <a:lnTo>
                      <a:pt x="1762" y="1044"/>
                    </a:lnTo>
                    <a:lnTo>
                      <a:pt x="1782" y="1054"/>
                    </a:lnTo>
                    <a:lnTo>
                      <a:pt x="1808" y="1060"/>
                    </a:lnTo>
                    <a:lnTo>
                      <a:pt x="1808" y="1060"/>
                    </a:lnTo>
                    <a:lnTo>
                      <a:pt x="1836" y="1066"/>
                    </a:lnTo>
                    <a:lnTo>
                      <a:pt x="1864" y="1074"/>
                    </a:lnTo>
                    <a:lnTo>
                      <a:pt x="1920" y="1092"/>
                    </a:lnTo>
                    <a:lnTo>
                      <a:pt x="1948" y="1098"/>
                    </a:lnTo>
                    <a:lnTo>
                      <a:pt x="1962" y="1100"/>
                    </a:lnTo>
                    <a:lnTo>
                      <a:pt x="1976" y="1100"/>
                    </a:lnTo>
                    <a:lnTo>
                      <a:pt x="1990" y="1098"/>
                    </a:lnTo>
                    <a:lnTo>
                      <a:pt x="2002" y="1096"/>
                    </a:lnTo>
                    <a:lnTo>
                      <a:pt x="2016" y="1092"/>
                    </a:lnTo>
                    <a:lnTo>
                      <a:pt x="2030" y="1084"/>
                    </a:lnTo>
                    <a:lnTo>
                      <a:pt x="2030" y="1084"/>
                    </a:lnTo>
                    <a:lnTo>
                      <a:pt x="2052" y="1070"/>
                    </a:lnTo>
                    <a:lnTo>
                      <a:pt x="2072" y="1056"/>
                    </a:lnTo>
                    <a:lnTo>
                      <a:pt x="2084" y="1042"/>
                    </a:lnTo>
                    <a:lnTo>
                      <a:pt x="2090" y="1036"/>
                    </a:lnTo>
                    <a:lnTo>
                      <a:pt x="2092" y="1030"/>
                    </a:lnTo>
                    <a:lnTo>
                      <a:pt x="2094" y="1022"/>
                    </a:lnTo>
                    <a:lnTo>
                      <a:pt x="2092" y="1016"/>
                    </a:lnTo>
                    <a:lnTo>
                      <a:pt x="2090" y="1010"/>
                    </a:lnTo>
                    <a:lnTo>
                      <a:pt x="2086" y="1002"/>
                    </a:lnTo>
                    <a:lnTo>
                      <a:pt x="2080" y="994"/>
                    </a:lnTo>
                    <a:lnTo>
                      <a:pt x="2072" y="988"/>
                    </a:lnTo>
                    <a:lnTo>
                      <a:pt x="2050" y="970"/>
                    </a:lnTo>
                    <a:lnTo>
                      <a:pt x="2050" y="970"/>
                    </a:lnTo>
                    <a:lnTo>
                      <a:pt x="2010" y="946"/>
                    </a:lnTo>
                    <a:lnTo>
                      <a:pt x="1982" y="934"/>
                    </a:lnTo>
                    <a:lnTo>
                      <a:pt x="1954" y="920"/>
                    </a:lnTo>
                    <a:lnTo>
                      <a:pt x="1910" y="896"/>
                    </a:lnTo>
                    <a:lnTo>
                      <a:pt x="1910" y="896"/>
                    </a:lnTo>
                    <a:lnTo>
                      <a:pt x="1884" y="882"/>
                    </a:lnTo>
                    <a:lnTo>
                      <a:pt x="1868" y="874"/>
                    </a:lnTo>
                    <a:lnTo>
                      <a:pt x="1854" y="870"/>
                    </a:lnTo>
                    <a:lnTo>
                      <a:pt x="1844" y="870"/>
                    </a:lnTo>
                    <a:lnTo>
                      <a:pt x="1834" y="872"/>
                    </a:lnTo>
                    <a:lnTo>
                      <a:pt x="1822" y="872"/>
                    </a:lnTo>
                    <a:lnTo>
                      <a:pt x="1808" y="870"/>
                    </a:lnTo>
                    <a:lnTo>
                      <a:pt x="1786" y="866"/>
                    </a:lnTo>
                    <a:lnTo>
                      <a:pt x="1786" y="866"/>
                    </a:lnTo>
                    <a:lnTo>
                      <a:pt x="1768" y="858"/>
                    </a:lnTo>
                    <a:lnTo>
                      <a:pt x="1758" y="852"/>
                    </a:lnTo>
                    <a:lnTo>
                      <a:pt x="1756" y="850"/>
                    </a:lnTo>
                    <a:lnTo>
                      <a:pt x="1756" y="846"/>
                    </a:lnTo>
                    <a:lnTo>
                      <a:pt x="1758" y="844"/>
                    </a:lnTo>
                    <a:lnTo>
                      <a:pt x="1758" y="840"/>
                    </a:lnTo>
                    <a:lnTo>
                      <a:pt x="1752" y="834"/>
                    </a:lnTo>
                    <a:lnTo>
                      <a:pt x="1740" y="828"/>
                    </a:lnTo>
                    <a:lnTo>
                      <a:pt x="1740" y="828"/>
                    </a:lnTo>
                    <a:lnTo>
                      <a:pt x="1726" y="824"/>
                    </a:lnTo>
                    <a:lnTo>
                      <a:pt x="1718" y="824"/>
                    </a:lnTo>
                    <a:lnTo>
                      <a:pt x="1712" y="826"/>
                    </a:lnTo>
                    <a:lnTo>
                      <a:pt x="1710" y="830"/>
                    </a:lnTo>
                    <a:lnTo>
                      <a:pt x="1706" y="834"/>
                    </a:lnTo>
                    <a:lnTo>
                      <a:pt x="1698" y="838"/>
                    </a:lnTo>
                    <a:lnTo>
                      <a:pt x="1686" y="838"/>
                    </a:lnTo>
                    <a:lnTo>
                      <a:pt x="1666" y="834"/>
                    </a:lnTo>
                    <a:lnTo>
                      <a:pt x="1666" y="834"/>
                    </a:lnTo>
                    <a:lnTo>
                      <a:pt x="1658" y="832"/>
                    </a:lnTo>
                    <a:lnTo>
                      <a:pt x="1652" y="832"/>
                    </a:lnTo>
                    <a:lnTo>
                      <a:pt x="1648" y="832"/>
                    </a:lnTo>
                    <a:lnTo>
                      <a:pt x="1644" y="828"/>
                    </a:lnTo>
                    <a:lnTo>
                      <a:pt x="1644" y="828"/>
                    </a:lnTo>
                    <a:lnTo>
                      <a:pt x="1640" y="828"/>
                    </a:lnTo>
                    <a:lnTo>
                      <a:pt x="1638" y="830"/>
                    </a:lnTo>
                    <a:lnTo>
                      <a:pt x="1636" y="834"/>
                    </a:lnTo>
                    <a:lnTo>
                      <a:pt x="1630" y="836"/>
                    </a:lnTo>
                    <a:lnTo>
                      <a:pt x="1630" y="836"/>
                    </a:lnTo>
                    <a:lnTo>
                      <a:pt x="1620" y="838"/>
                    </a:lnTo>
                    <a:lnTo>
                      <a:pt x="1618" y="838"/>
                    </a:lnTo>
                    <a:lnTo>
                      <a:pt x="1618" y="834"/>
                    </a:lnTo>
                    <a:lnTo>
                      <a:pt x="1618" y="834"/>
                    </a:lnTo>
                    <a:lnTo>
                      <a:pt x="1622" y="830"/>
                    </a:lnTo>
                    <a:lnTo>
                      <a:pt x="1622" y="826"/>
                    </a:lnTo>
                    <a:lnTo>
                      <a:pt x="1620" y="822"/>
                    </a:lnTo>
                    <a:lnTo>
                      <a:pt x="1618" y="820"/>
                    </a:lnTo>
                    <a:lnTo>
                      <a:pt x="1614" y="818"/>
                    </a:lnTo>
                    <a:lnTo>
                      <a:pt x="1608" y="818"/>
                    </a:lnTo>
                    <a:lnTo>
                      <a:pt x="1608" y="818"/>
                    </a:lnTo>
                    <a:lnTo>
                      <a:pt x="1598" y="816"/>
                    </a:lnTo>
                    <a:lnTo>
                      <a:pt x="1590" y="814"/>
                    </a:lnTo>
                    <a:lnTo>
                      <a:pt x="1586" y="812"/>
                    </a:lnTo>
                    <a:lnTo>
                      <a:pt x="1580" y="810"/>
                    </a:lnTo>
                    <a:lnTo>
                      <a:pt x="1580" y="810"/>
                    </a:lnTo>
                    <a:lnTo>
                      <a:pt x="1576" y="810"/>
                    </a:lnTo>
                    <a:lnTo>
                      <a:pt x="1580" y="808"/>
                    </a:lnTo>
                    <a:lnTo>
                      <a:pt x="1592" y="808"/>
                    </a:lnTo>
                    <a:lnTo>
                      <a:pt x="1612" y="812"/>
                    </a:lnTo>
                    <a:lnTo>
                      <a:pt x="1612" y="812"/>
                    </a:lnTo>
                    <a:lnTo>
                      <a:pt x="1624" y="812"/>
                    </a:lnTo>
                    <a:lnTo>
                      <a:pt x="1634" y="812"/>
                    </a:lnTo>
                    <a:lnTo>
                      <a:pt x="1640" y="810"/>
                    </a:lnTo>
                    <a:lnTo>
                      <a:pt x="1646" y="808"/>
                    </a:lnTo>
                    <a:lnTo>
                      <a:pt x="1654" y="800"/>
                    </a:lnTo>
                    <a:lnTo>
                      <a:pt x="1658" y="800"/>
                    </a:lnTo>
                    <a:lnTo>
                      <a:pt x="1662" y="800"/>
                    </a:lnTo>
                    <a:lnTo>
                      <a:pt x="1662" y="800"/>
                    </a:lnTo>
                    <a:lnTo>
                      <a:pt x="1668" y="800"/>
                    </a:lnTo>
                    <a:lnTo>
                      <a:pt x="1672" y="798"/>
                    </a:lnTo>
                    <a:lnTo>
                      <a:pt x="1674" y="796"/>
                    </a:lnTo>
                    <a:lnTo>
                      <a:pt x="1676" y="794"/>
                    </a:lnTo>
                    <a:lnTo>
                      <a:pt x="1676" y="790"/>
                    </a:lnTo>
                    <a:lnTo>
                      <a:pt x="1674" y="788"/>
                    </a:lnTo>
                    <a:lnTo>
                      <a:pt x="1672" y="786"/>
                    </a:lnTo>
                    <a:lnTo>
                      <a:pt x="1668" y="786"/>
                    </a:lnTo>
                    <a:lnTo>
                      <a:pt x="1668" y="786"/>
                    </a:lnTo>
                    <a:lnTo>
                      <a:pt x="1660" y="786"/>
                    </a:lnTo>
                    <a:lnTo>
                      <a:pt x="1658" y="782"/>
                    </a:lnTo>
                    <a:lnTo>
                      <a:pt x="1656" y="780"/>
                    </a:lnTo>
                    <a:lnTo>
                      <a:pt x="1650" y="778"/>
                    </a:lnTo>
                    <a:lnTo>
                      <a:pt x="1650" y="778"/>
                    </a:lnTo>
                    <a:lnTo>
                      <a:pt x="1648" y="776"/>
                    </a:lnTo>
                    <a:lnTo>
                      <a:pt x="1644" y="774"/>
                    </a:lnTo>
                    <a:lnTo>
                      <a:pt x="1640" y="770"/>
                    </a:lnTo>
                    <a:lnTo>
                      <a:pt x="1636" y="766"/>
                    </a:lnTo>
                    <a:lnTo>
                      <a:pt x="1634" y="766"/>
                    </a:lnTo>
                    <a:lnTo>
                      <a:pt x="1630" y="768"/>
                    </a:lnTo>
                    <a:lnTo>
                      <a:pt x="1630" y="768"/>
                    </a:lnTo>
                    <a:lnTo>
                      <a:pt x="1624" y="768"/>
                    </a:lnTo>
                    <a:lnTo>
                      <a:pt x="1624" y="766"/>
                    </a:lnTo>
                    <a:lnTo>
                      <a:pt x="1620" y="764"/>
                    </a:lnTo>
                    <a:lnTo>
                      <a:pt x="1614" y="766"/>
                    </a:lnTo>
                    <a:lnTo>
                      <a:pt x="1614" y="766"/>
                    </a:lnTo>
                    <a:lnTo>
                      <a:pt x="1606" y="768"/>
                    </a:lnTo>
                    <a:lnTo>
                      <a:pt x="1606" y="764"/>
                    </a:lnTo>
                    <a:lnTo>
                      <a:pt x="1606" y="762"/>
                    </a:lnTo>
                    <a:lnTo>
                      <a:pt x="1606" y="760"/>
                    </a:lnTo>
                    <a:lnTo>
                      <a:pt x="1602" y="758"/>
                    </a:lnTo>
                    <a:lnTo>
                      <a:pt x="1596" y="756"/>
                    </a:lnTo>
                    <a:lnTo>
                      <a:pt x="1596" y="756"/>
                    </a:lnTo>
                    <a:lnTo>
                      <a:pt x="1588" y="754"/>
                    </a:lnTo>
                    <a:lnTo>
                      <a:pt x="1582" y="754"/>
                    </a:lnTo>
                    <a:lnTo>
                      <a:pt x="1578" y="758"/>
                    </a:lnTo>
                    <a:lnTo>
                      <a:pt x="1574" y="760"/>
                    </a:lnTo>
                    <a:lnTo>
                      <a:pt x="1572" y="766"/>
                    </a:lnTo>
                    <a:lnTo>
                      <a:pt x="1570" y="770"/>
                    </a:lnTo>
                    <a:lnTo>
                      <a:pt x="1570" y="780"/>
                    </a:lnTo>
                    <a:lnTo>
                      <a:pt x="1570" y="780"/>
                    </a:lnTo>
                    <a:lnTo>
                      <a:pt x="1572" y="786"/>
                    </a:lnTo>
                    <a:lnTo>
                      <a:pt x="1568" y="786"/>
                    </a:lnTo>
                    <a:lnTo>
                      <a:pt x="1564" y="782"/>
                    </a:lnTo>
                    <a:lnTo>
                      <a:pt x="1560" y="782"/>
                    </a:lnTo>
                    <a:lnTo>
                      <a:pt x="1558" y="782"/>
                    </a:lnTo>
                    <a:lnTo>
                      <a:pt x="1558" y="782"/>
                    </a:lnTo>
                    <a:lnTo>
                      <a:pt x="1550" y="784"/>
                    </a:lnTo>
                    <a:lnTo>
                      <a:pt x="1548" y="784"/>
                    </a:lnTo>
                    <a:lnTo>
                      <a:pt x="1548" y="782"/>
                    </a:lnTo>
                    <a:lnTo>
                      <a:pt x="1554" y="778"/>
                    </a:lnTo>
                    <a:lnTo>
                      <a:pt x="1554" y="778"/>
                    </a:lnTo>
                    <a:lnTo>
                      <a:pt x="1560" y="772"/>
                    </a:lnTo>
                    <a:lnTo>
                      <a:pt x="1564" y="768"/>
                    </a:lnTo>
                    <a:lnTo>
                      <a:pt x="1564" y="766"/>
                    </a:lnTo>
                    <a:lnTo>
                      <a:pt x="1562" y="766"/>
                    </a:lnTo>
                    <a:lnTo>
                      <a:pt x="1562" y="766"/>
                    </a:lnTo>
                    <a:lnTo>
                      <a:pt x="1556" y="766"/>
                    </a:lnTo>
                    <a:lnTo>
                      <a:pt x="1554" y="766"/>
                    </a:lnTo>
                    <a:lnTo>
                      <a:pt x="1554" y="762"/>
                    </a:lnTo>
                    <a:lnTo>
                      <a:pt x="1554" y="762"/>
                    </a:lnTo>
                    <a:lnTo>
                      <a:pt x="1558" y="758"/>
                    </a:lnTo>
                    <a:lnTo>
                      <a:pt x="1564" y="756"/>
                    </a:lnTo>
                    <a:lnTo>
                      <a:pt x="1572" y="752"/>
                    </a:lnTo>
                    <a:lnTo>
                      <a:pt x="1574" y="750"/>
                    </a:lnTo>
                    <a:lnTo>
                      <a:pt x="1574" y="748"/>
                    </a:lnTo>
                    <a:lnTo>
                      <a:pt x="1574" y="748"/>
                    </a:lnTo>
                    <a:lnTo>
                      <a:pt x="1572" y="746"/>
                    </a:lnTo>
                    <a:lnTo>
                      <a:pt x="1570" y="746"/>
                    </a:lnTo>
                    <a:lnTo>
                      <a:pt x="1566" y="746"/>
                    </a:lnTo>
                    <a:lnTo>
                      <a:pt x="1562" y="746"/>
                    </a:lnTo>
                    <a:lnTo>
                      <a:pt x="1560" y="746"/>
                    </a:lnTo>
                    <a:lnTo>
                      <a:pt x="1560" y="742"/>
                    </a:lnTo>
                    <a:lnTo>
                      <a:pt x="1560" y="742"/>
                    </a:lnTo>
                    <a:lnTo>
                      <a:pt x="1560" y="740"/>
                    </a:lnTo>
                    <a:lnTo>
                      <a:pt x="1558" y="740"/>
                    </a:lnTo>
                    <a:lnTo>
                      <a:pt x="1554" y="740"/>
                    </a:lnTo>
                    <a:lnTo>
                      <a:pt x="1548" y="742"/>
                    </a:lnTo>
                    <a:lnTo>
                      <a:pt x="1544" y="742"/>
                    </a:lnTo>
                    <a:lnTo>
                      <a:pt x="1540" y="740"/>
                    </a:lnTo>
                    <a:lnTo>
                      <a:pt x="1540" y="740"/>
                    </a:lnTo>
                    <a:lnTo>
                      <a:pt x="1538" y="738"/>
                    </a:lnTo>
                    <a:lnTo>
                      <a:pt x="1536" y="738"/>
                    </a:lnTo>
                    <a:lnTo>
                      <a:pt x="1534" y="740"/>
                    </a:lnTo>
                    <a:lnTo>
                      <a:pt x="1532" y="744"/>
                    </a:lnTo>
                    <a:lnTo>
                      <a:pt x="1530" y="744"/>
                    </a:lnTo>
                    <a:lnTo>
                      <a:pt x="1528" y="744"/>
                    </a:lnTo>
                    <a:lnTo>
                      <a:pt x="1528" y="744"/>
                    </a:lnTo>
                    <a:lnTo>
                      <a:pt x="1524" y="742"/>
                    </a:lnTo>
                    <a:lnTo>
                      <a:pt x="1522" y="744"/>
                    </a:lnTo>
                    <a:lnTo>
                      <a:pt x="1518" y="746"/>
                    </a:lnTo>
                    <a:lnTo>
                      <a:pt x="1518" y="750"/>
                    </a:lnTo>
                    <a:lnTo>
                      <a:pt x="1518" y="752"/>
                    </a:lnTo>
                    <a:lnTo>
                      <a:pt x="1520" y="752"/>
                    </a:lnTo>
                    <a:lnTo>
                      <a:pt x="1524" y="754"/>
                    </a:lnTo>
                    <a:lnTo>
                      <a:pt x="1524" y="754"/>
                    </a:lnTo>
                    <a:lnTo>
                      <a:pt x="1530" y="754"/>
                    </a:lnTo>
                    <a:lnTo>
                      <a:pt x="1528" y="756"/>
                    </a:lnTo>
                    <a:lnTo>
                      <a:pt x="1522" y="760"/>
                    </a:lnTo>
                    <a:lnTo>
                      <a:pt x="1522" y="760"/>
                    </a:lnTo>
                    <a:lnTo>
                      <a:pt x="1522" y="762"/>
                    </a:lnTo>
                    <a:lnTo>
                      <a:pt x="1520" y="764"/>
                    </a:lnTo>
                    <a:lnTo>
                      <a:pt x="1516" y="766"/>
                    </a:lnTo>
                    <a:lnTo>
                      <a:pt x="1516" y="768"/>
                    </a:lnTo>
                    <a:lnTo>
                      <a:pt x="1516" y="768"/>
                    </a:lnTo>
                    <a:lnTo>
                      <a:pt x="1514" y="772"/>
                    </a:lnTo>
                    <a:lnTo>
                      <a:pt x="1512" y="772"/>
                    </a:lnTo>
                    <a:lnTo>
                      <a:pt x="1510" y="774"/>
                    </a:lnTo>
                    <a:lnTo>
                      <a:pt x="1510" y="780"/>
                    </a:lnTo>
                    <a:lnTo>
                      <a:pt x="1510" y="780"/>
                    </a:lnTo>
                    <a:lnTo>
                      <a:pt x="1510" y="782"/>
                    </a:lnTo>
                    <a:lnTo>
                      <a:pt x="1510" y="784"/>
                    </a:lnTo>
                    <a:lnTo>
                      <a:pt x="1504" y="786"/>
                    </a:lnTo>
                    <a:lnTo>
                      <a:pt x="1496" y="790"/>
                    </a:lnTo>
                    <a:lnTo>
                      <a:pt x="1496" y="790"/>
                    </a:lnTo>
                    <a:lnTo>
                      <a:pt x="1492" y="792"/>
                    </a:lnTo>
                    <a:lnTo>
                      <a:pt x="1490" y="790"/>
                    </a:lnTo>
                    <a:lnTo>
                      <a:pt x="1492" y="784"/>
                    </a:lnTo>
                    <a:lnTo>
                      <a:pt x="1494" y="776"/>
                    </a:lnTo>
                    <a:lnTo>
                      <a:pt x="1496" y="770"/>
                    </a:lnTo>
                    <a:lnTo>
                      <a:pt x="1496" y="770"/>
                    </a:lnTo>
                    <a:lnTo>
                      <a:pt x="1496" y="766"/>
                    </a:lnTo>
                    <a:lnTo>
                      <a:pt x="1498" y="760"/>
                    </a:lnTo>
                    <a:lnTo>
                      <a:pt x="1500" y="754"/>
                    </a:lnTo>
                    <a:lnTo>
                      <a:pt x="1498" y="750"/>
                    </a:lnTo>
                    <a:lnTo>
                      <a:pt x="1498" y="750"/>
                    </a:lnTo>
                    <a:lnTo>
                      <a:pt x="1498" y="750"/>
                    </a:lnTo>
                    <a:lnTo>
                      <a:pt x="1494" y="750"/>
                    </a:lnTo>
                    <a:lnTo>
                      <a:pt x="1490" y="752"/>
                    </a:lnTo>
                    <a:lnTo>
                      <a:pt x="1480" y="762"/>
                    </a:lnTo>
                    <a:lnTo>
                      <a:pt x="1456" y="784"/>
                    </a:lnTo>
                    <a:lnTo>
                      <a:pt x="1456" y="784"/>
                    </a:lnTo>
                    <a:lnTo>
                      <a:pt x="1450" y="790"/>
                    </a:lnTo>
                    <a:lnTo>
                      <a:pt x="1450" y="794"/>
                    </a:lnTo>
                    <a:lnTo>
                      <a:pt x="1450" y="798"/>
                    </a:lnTo>
                    <a:lnTo>
                      <a:pt x="1446" y="804"/>
                    </a:lnTo>
                    <a:lnTo>
                      <a:pt x="1446" y="804"/>
                    </a:lnTo>
                    <a:lnTo>
                      <a:pt x="1440" y="810"/>
                    </a:lnTo>
                    <a:lnTo>
                      <a:pt x="1436" y="810"/>
                    </a:lnTo>
                    <a:lnTo>
                      <a:pt x="1434" y="810"/>
                    </a:lnTo>
                    <a:lnTo>
                      <a:pt x="1432" y="810"/>
                    </a:lnTo>
                    <a:lnTo>
                      <a:pt x="1432" y="810"/>
                    </a:lnTo>
                    <a:lnTo>
                      <a:pt x="1428" y="812"/>
                    </a:lnTo>
                    <a:lnTo>
                      <a:pt x="1426" y="812"/>
                    </a:lnTo>
                    <a:lnTo>
                      <a:pt x="1428" y="808"/>
                    </a:lnTo>
                    <a:lnTo>
                      <a:pt x="1432" y="802"/>
                    </a:lnTo>
                    <a:lnTo>
                      <a:pt x="1432" y="802"/>
                    </a:lnTo>
                    <a:lnTo>
                      <a:pt x="1436" y="798"/>
                    </a:lnTo>
                    <a:lnTo>
                      <a:pt x="1436" y="794"/>
                    </a:lnTo>
                    <a:lnTo>
                      <a:pt x="1436" y="792"/>
                    </a:lnTo>
                    <a:lnTo>
                      <a:pt x="1438" y="790"/>
                    </a:lnTo>
                    <a:lnTo>
                      <a:pt x="1438" y="790"/>
                    </a:lnTo>
                    <a:lnTo>
                      <a:pt x="1442" y="784"/>
                    </a:lnTo>
                    <a:lnTo>
                      <a:pt x="1440" y="782"/>
                    </a:lnTo>
                    <a:lnTo>
                      <a:pt x="1440" y="782"/>
                    </a:lnTo>
                    <a:lnTo>
                      <a:pt x="1440" y="778"/>
                    </a:lnTo>
                    <a:lnTo>
                      <a:pt x="1448" y="770"/>
                    </a:lnTo>
                    <a:lnTo>
                      <a:pt x="1448" y="770"/>
                    </a:lnTo>
                    <a:lnTo>
                      <a:pt x="1466" y="756"/>
                    </a:lnTo>
                    <a:lnTo>
                      <a:pt x="1466" y="754"/>
                    </a:lnTo>
                    <a:lnTo>
                      <a:pt x="1466" y="754"/>
                    </a:lnTo>
                    <a:lnTo>
                      <a:pt x="1458" y="754"/>
                    </a:lnTo>
                    <a:lnTo>
                      <a:pt x="1458" y="754"/>
                    </a:lnTo>
                    <a:lnTo>
                      <a:pt x="1454" y="752"/>
                    </a:lnTo>
                    <a:lnTo>
                      <a:pt x="1450" y="752"/>
                    </a:lnTo>
                    <a:lnTo>
                      <a:pt x="1446" y="748"/>
                    </a:lnTo>
                    <a:lnTo>
                      <a:pt x="1446" y="746"/>
                    </a:lnTo>
                    <a:lnTo>
                      <a:pt x="1444" y="752"/>
                    </a:lnTo>
                    <a:lnTo>
                      <a:pt x="1444" y="752"/>
                    </a:lnTo>
                    <a:lnTo>
                      <a:pt x="1442" y="758"/>
                    </a:lnTo>
                    <a:lnTo>
                      <a:pt x="1442" y="760"/>
                    </a:lnTo>
                    <a:lnTo>
                      <a:pt x="1440" y="758"/>
                    </a:lnTo>
                    <a:lnTo>
                      <a:pt x="1438" y="754"/>
                    </a:lnTo>
                    <a:lnTo>
                      <a:pt x="1434" y="750"/>
                    </a:lnTo>
                    <a:lnTo>
                      <a:pt x="1434" y="750"/>
                    </a:lnTo>
                    <a:lnTo>
                      <a:pt x="1430" y="748"/>
                    </a:lnTo>
                    <a:lnTo>
                      <a:pt x="1426" y="750"/>
                    </a:lnTo>
                    <a:lnTo>
                      <a:pt x="1424" y="750"/>
                    </a:lnTo>
                    <a:lnTo>
                      <a:pt x="1420" y="748"/>
                    </a:lnTo>
                    <a:lnTo>
                      <a:pt x="1420" y="748"/>
                    </a:lnTo>
                    <a:lnTo>
                      <a:pt x="1418" y="746"/>
                    </a:lnTo>
                    <a:lnTo>
                      <a:pt x="1414" y="746"/>
                    </a:lnTo>
                    <a:lnTo>
                      <a:pt x="1412" y="748"/>
                    </a:lnTo>
                    <a:lnTo>
                      <a:pt x="1414" y="752"/>
                    </a:lnTo>
                    <a:lnTo>
                      <a:pt x="1414" y="752"/>
                    </a:lnTo>
                    <a:lnTo>
                      <a:pt x="1416" y="754"/>
                    </a:lnTo>
                    <a:lnTo>
                      <a:pt x="1416" y="758"/>
                    </a:lnTo>
                    <a:lnTo>
                      <a:pt x="1414" y="760"/>
                    </a:lnTo>
                    <a:lnTo>
                      <a:pt x="1408" y="758"/>
                    </a:lnTo>
                    <a:lnTo>
                      <a:pt x="1408" y="758"/>
                    </a:lnTo>
                    <a:lnTo>
                      <a:pt x="1402" y="754"/>
                    </a:lnTo>
                    <a:lnTo>
                      <a:pt x="1400" y="756"/>
                    </a:lnTo>
                    <a:lnTo>
                      <a:pt x="1402" y="760"/>
                    </a:lnTo>
                    <a:lnTo>
                      <a:pt x="1410" y="764"/>
                    </a:lnTo>
                    <a:lnTo>
                      <a:pt x="1410" y="764"/>
                    </a:lnTo>
                    <a:lnTo>
                      <a:pt x="1418" y="768"/>
                    </a:lnTo>
                    <a:lnTo>
                      <a:pt x="1422" y="770"/>
                    </a:lnTo>
                    <a:lnTo>
                      <a:pt x="1418" y="772"/>
                    </a:lnTo>
                    <a:lnTo>
                      <a:pt x="1410" y="770"/>
                    </a:lnTo>
                    <a:lnTo>
                      <a:pt x="1410" y="770"/>
                    </a:lnTo>
                    <a:lnTo>
                      <a:pt x="1404" y="768"/>
                    </a:lnTo>
                    <a:lnTo>
                      <a:pt x="1402" y="768"/>
                    </a:lnTo>
                    <a:lnTo>
                      <a:pt x="1402" y="770"/>
                    </a:lnTo>
                    <a:lnTo>
                      <a:pt x="1400" y="774"/>
                    </a:lnTo>
                    <a:lnTo>
                      <a:pt x="1396" y="778"/>
                    </a:lnTo>
                    <a:lnTo>
                      <a:pt x="1388" y="782"/>
                    </a:lnTo>
                    <a:lnTo>
                      <a:pt x="1388" y="782"/>
                    </a:lnTo>
                    <a:lnTo>
                      <a:pt x="1376" y="790"/>
                    </a:lnTo>
                    <a:lnTo>
                      <a:pt x="1372" y="792"/>
                    </a:lnTo>
                    <a:lnTo>
                      <a:pt x="1372" y="794"/>
                    </a:lnTo>
                    <a:lnTo>
                      <a:pt x="1366" y="798"/>
                    </a:lnTo>
                    <a:lnTo>
                      <a:pt x="1366" y="798"/>
                    </a:lnTo>
                    <a:lnTo>
                      <a:pt x="1362" y="800"/>
                    </a:lnTo>
                    <a:lnTo>
                      <a:pt x="1360" y="802"/>
                    </a:lnTo>
                    <a:lnTo>
                      <a:pt x="1360" y="804"/>
                    </a:lnTo>
                    <a:lnTo>
                      <a:pt x="1360" y="804"/>
                    </a:lnTo>
                    <a:lnTo>
                      <a:pt x="1362" y="808"/>
                    </a:lnTo>
                    <a:lnTo>
                      <a:pt x="1362" y="808"/>
                    </a:lnTo>
                    <a:lnTo>
                      <a:pt x="1360" y="810"/>
                    </a:lnTo>
                    <a:lnTo>
                      <a:pt x="1360" y="810"/>
                    </a:lnTo>
                    <a:lnTo>
                      <a:pt x="1358" y="810"/>
                    </a:lnTo>
                    <a:lnTo>
                      <a:pt x="1358" y="812"/>
                    </a:lnTo>
                    <a:lnTo>
                      <a:pt x="1362" y="816"/>
                    </a:lnTo>
                    <a:lnTo>
                      <a:pt x="1368" y="818"/>
                    </a:lnTo>
                    <a:lnTo>
                      <a:pt x="1370" y="818"/>
                    </a:lnTo>
                    <a:lnTo>
                      <a:pt x="1368" y="818"/>
                    </a:lnTo>
                    <a:lnTo>
                      <a:pt x="1368" y="818"/>
                    </a:lnTo>
                    <a:lnTo>
                      <a:pt x="1362" y="818"/>
                    </a:lnTo>
                    <a:lnTo>
                      <a:pt x="1356" y="818"/>
                    </a:lnTo>
                    <a:lnTo>
                      <a:pt x="1350" y="816"/>
                    </a:lnTo>
                    <a:lnTo>
                      <a:pt x="1350" y="814"/>
                    </a:lnTo>
                    <a:lnTo>
                      <a:pt x="1350" y="810"/>
                    </a:lnTo>
                    <a:lnTo>
                      <a:pt x="1350" y="810"/>
                    </a:lnTo>
                    <a:lnTo>
                      <a:pt x="1350" y="806"/>
                    </a:lnTo>
                    <a:lnTo>
                      <a:pt x="1350" y="804"/>
                    </a:lnTo>
                    <a:lnTo>
                      <a:pt x="1342" y="802"/>
                    </a:lnTo>
                    <a:lnTo>
                      <a:pt x="1334" y="800"/>
                    </a:lnTo>
                    <a:lnTo>
                      <a:pt x="1326" y="800"/>
                    </a:lnTo>
                    <a:lnTo>
                      <a:pt x="1326" y="800"/>
                    </a:lnTo>
                    <a:lnTo>
                      <a:pt x="1324" y="798"/>
                    </a:lnTo>
                    <a:lnTo>
                      <a:pt x="1322" y="798"/>
                    </a:lnTo>
                    <a:lnTo>
                      <a:pt x="1320" y="796"/>
                    </a:lnTo>
                    <a:lnTo>
                      <a:pt x="1318" y="798"/>
                    </a:lnTo>
                    <a:lnTo>
                      <a:pt x="1318" y="798"/>
                    </a:lnTo>
                    <a:lnTo>
                      <a:pt x="1312" y="796"/>
                    </a:lnTo>
                    <a:lnTo>
                      <a:pt x="1308" y="794"/>
                    </a:lnTo>
                    <a:lnTo>
                      <a:pt x="1306" y="794"/>
                    </a:lnTo>
                    <a:lnTo>
                      <a:pt x="1306" y="796"/>
                    </a:lnTo>
                    <a:lnTo>
                      <a:pt x="1304" y="802"/>
                    </a:lnTo>
                    <a:lnTo>
                      <a:pt x="1304" y="802"/>
                    </a:lnTo>
                    <a:lnTo>
                      <a:pt x="1302" y="808"/>
                    </a:lnTo>
                    <a:lnTo>
                      <a:pt x="1300" y="802"/>
                    </a:lnTo>
                    <a:lnTo>
                      <a:pt x="1298" y="800"/>
                    </a:lnTo>
                    <a:lnTo>
                      <a:pt x="1294" y="796"/>
                    </a:lnTo>
                    <a:lnTo>
                      <a:pt x="1290" y="796"/>
                    </a:lnTo>
                    <a:lnTo>
                      <a:pt x="1284" y="798"/>
                    </a:lnTo>
                    <a:lnTo>
                      <a:pt x="1284" y="798"/>
                    </a:lnTo>
                    <a:lnTo>
                      <a:pt x="1278" y="802"/>
                    </a:lnTo>
                    <a:lnTo>
                      <a:pt x="1280" y="804"/>
                    </a:lnTo>
                    <a:lnTo>
                      <a:pt x="1280" y="804"/>
                    </a:lnTo>
                    <a:lnTo>
                      <a:pt x="1286" y="806"/>
                    </a:lnTo>
                    <a:lnTo>
                      <a:pt x="1288" y="808"/>
                    </a:lnTo>
                    <a:lnTo>
                      <a:pt x="1288" y="808"/>
                    </a:lnTo>
                    <a:lnTo>
                      <a:pt x="1288" y="808"/>
                    </a:lnTo>
                    <a:lnTo>
                      <a:pt x="1290" y="810"/>
                    </a:lnTo>
                    <a:lnTo>
                      <a:pt x="1294" y="812"/>
                    </a:lnTo>
                    <a:lnTo>
                      <a:pt x="1298" y="812"/>
                    </a:lnTo>
                    <a:lnTo>
                      <a:pt x="1302" y="814"/>
                    </a:lnTo>
                    <a:lnTo>
                      <a:pt x="1302" y="814"/>
                    </a:lnTo>
                    <a:lnTo>
                      <a:pt x="1304" y="816"/>
                    </a:lnTo>
                    <a:lnTo>
                      <a:pt x="1308" y="816"/>
                    </a:lnTo>
                    <a:lnTo>
                      <a:pt x="1310" y="818"/>
                    </a:lnTo>
                    <a:lnTo>
                      <a:pt x="1308" y="820"/>
                    </a:lnTo>
                    <a:lnTo>
                      <a:pt x="1308" y="820"/>
                    </a:lnTo>
                    <a:lnTo>
                      <a:pt x="1306" y="822"/>
                    </a:lnTo>
                    <a:lnTo>
                      <a:pt x="1306" y="824"/>
                    </a:lnTo>
                    <a:lnTo>
                      <a:pt x="1312" y="832"/>
                    </a:lnTo>
                    <a:lnTo>
                      <a:pt x="1312" y="832"/>
                    </a:lnTo>
                    <a:lnTo>
                      <a:pt x="1314" y="836"/>
                    </a:lnTo>
                    <a:lnTo>
                      <a:pt x="1312" y="836"/>
                    </a:lnTo>
                    <a:lnTo>
                      <a:pt x="1296" y="824"/>
                    </a:lnTo>
                    <a:lnTo>
                      <a:pt x="1296" y="824"/>
                    </a:lnTo>
                    <a:lnTo>
                      <a:pt x="1286" y="818"/>
                    </a:lnTo>
                    <a:lnTo>
                      <a:pt x="1280" y="816"/>
                    </a:lnTo>
                    <a:lnTo>
                      <a:pt x="1278" y="818"/>
                    </a:lnTo>
                    <a:lnTo>
                      <a:pt x="1278" y="822"/>
                    </a:lnTo>
                    <a:lnTo>
                      <a:pt x="1278" y="822"/>
                    </a:lnTo>
                    <a:lnTo>
                      <a:pt x="1280" y="822"/>
                    </a:lnTo>
                    <a:lnTo>
                      <a:pt x="1280" y="824"/>
                    </a:lnTo>
                    <a:lnTo>
                      <a:pt x="1276" y="826"/>
                    </a:lnTo>
                    <a:lnTo>
                      <a:pt x="1274" y="826"/>
                    </a:lnTo>
                    <a:lnTo>
                      <a:pt x="1272" y="826"/>
                    </a:lnTo>
                    <a:lnTo>
                      <a:pt x="1272" y="824"/>
                    </a:lnTo>
                    <a:lnTo>
                      <a:pt x="1272" y="824"/>
                    </a:lnTo>
                    <a:lnTo>
                      <a:pt x="1274" y="822"/>
                    </a:lnTo>
                    <a:lnTo>
                      <a:pt x="1272" y="822"/>
                    </a:lnTo>
                    <a:lnTo>
                      <a:pt x="1266" y="824"/>
                    </a:lnTo>
                    <a:lnTo>
                      <a:pt x="1252" y="834"/>
                    </a:lnTo>
                    <a:lnTo>
                      <a:pt x="1252" y="834"/>
                    </a:lnTo>
                    <a:lnTo>
                      <a:pt x="1252" y="836"/>
                    </a:lnTo>
                    <a:lnTo>
                      <a:pt x="1250" y="838"/>
                    </a:lnTo>
                    <a:lnTo>
                      <a:pt x="1248" y="846"/>
                    </a:lnTo>
                    <a:lnTo>
                      <a:pt x="1246" y="850"/>
                    </a:lnTo>
                    <a:lnTo>
                      <a:pt x="1244" y="856"/>
                    </a:lnTo>
                    <a:lnTo>
                      <a:pt x="1238" y="862"/>
                    </a:lnTo>
                    <a:lnTo>
                      <a:pt x="1228" y="868"/>
                    </a:lnTo>
                    <a:lnTo>
                      <a:pt x="1228" y="868"/>
                    </a:lnTo>
                    <a:lnTo>
                      <a:pt x="1238" y="856"/>
                    </a:lnTo>
                    <a:lnTo>
                      <a:pt x="1242" y="844"/>
                    </a:lnTo>
                    <a:lnTo>
                      <a:pt x="1244" y="832"/>
                    </a:lnTo>
                    <a:lnTo>
                      <a:pt x="1244" y="824"/>
                    </a:lnTo>
                    <a:lnTo>
                      <a:pt x="1244" y="824"/>
                    </a:lnTo>
                    <a:lnTo>
                      <a:pt x="1242" y="820"/>
                    </a:lnTo>
                    <a:lnTo>
                      <a:pt x="1240" y="822"/>
                    </a:lnTo>
                    <a:lnTo>
                      <a:pt x="1238" y="824"/>
                    </a:lnTo>
                    <a:lnTo>
                      <a:pt x="1236" y="826"/>
                    </a:lnTo>
                    <a:lnTo>
                      <a:pt x="1236" y="824"/>
                    </a:lnTo>
                    <a:lnTo>
                      <a:pt x="1236" y="824"/>
                    </a:lnTo>
                    <a:lnTo>
                      <a:pt x="1232" y="822"/>
                    </a:lnTo>
                    <a:lnTo>
                      <a:pt x="1230" y="822"/>
                    </a:lnTo>
                    <a:lnTo>
                      <a:pt x="1224" y="834"/>
                    </a:lnTo>
                    <a:lnTo>
                      <a:pt x="1224" y="834"/>
                    </a:lnTo>
                    <a:lnTo>
                      <a:pt x="1222" y="840"/>
                    </a:lnTo>
                    <a:lnTo>
                      <a:pt x="1222" y="842"/>
                    </a:lnTo>
                    <a:lnTo>
                      <a:pt x="1222" y="844"/>
                    </a:lnTo>
                    <a:lnTo>
                      <a:pt x="1220" y="846"/>
                    </a:lnTo>
                    <a:lnTo>
                      <a:pt x="1220" y="846"/>
                    </a:lnTo>
                    <a:lnTo>
                      <a:pt x="1216" y="848"/>
                    </a:lnTo>
                    <a:lnTo>
                      <a:pt x="1214" y="848"/>
                    </a:lnTo>
                    <a:lnTo>
                      <a:pt x="1214" y="846"/>
                    </a:lnTo>
                    <a:lnTo>
                      <a:pt x="1216" y="840"/>
                    </a:lnTo>
                    <a:lnTo>
                      <a:pt x="1216" y="840"/>
                    </a:lnTo>
                    <a:lnTo>
                      <a:pt x="1218" y="836"/>
                    </a:lnTo>
                    <a:lnTo>
                      <a:pt x="1216" y="832"/>
                    </a:lnTo>
                    <a:lnTo>
                      <a:pt x="1214" y="830"/>
                    </a:lnTo>
                    <a:lnTo>
                      <a:pt x="1212" y="830"/>
                    </a:lnTo>
                    <a:lnTo>
                      <a:pt x="1204" y="832"/>
                    </a:lnTo>
                    <a:lnTo>
                      <a:pt x="1198" y="836"/>
                    </a:lnTo>
                    <a:lnTo>
                      <a:pt x="1198" y="836"/>
                    </a:lnTo>
                    <a:lnTo>
                      <a:pt x="1186" y="844"/>
                    </a:lnTo>
                    <a:lnTo>
                      <a:pt x="1184" y="846"/>
                    </a:lnTo>
                    <a:lnTo>
                      <a:pt x="1184" y="846"/>
                    </a:lnTo>
                    <a:lnTo>
                      <a:pt x="1188" y="848"/>
                    </a:lnTo>
                    <a:lnTo>
                      <a:pt x="1188" y="850"/>
                    </a:lnTo>
                    <a:lnTo>
                      <a:pt x="1188" y="854"/>
                    </a:lnTo>
                    <a:lnTo>
                      <a:pt x="1188" y="854"/>
                    </a:lnTo>
                    <a:lnTo>
                      <a:pt x="1188" y="856"/>
                    </a:lnTo>
                    <a:lnTo>
                      <a:pt x="1190" y="858"/>
                    </a:lnTo>
                    <a:lnTo>
                      <a:pt x="1196" y="860"/>
                    </a:lnTo>
                    <a:lnTo>
                      <a:pt x="1200" y="862"/>
                    </a:lnTo>
                    <a:lnTo>
                      <a:pt x="1204" y="864"/>
                    </a:lnTo>
                    <a:lnTo>
                      <a:pt x="1208" y="868"/>
                    </a:lnTo>
                    <a:lnTo>
                      <a:pt x="1210" y="876"/>
                    </a:lnTo>
                    <a:lnTo>
                      <a:pt x="1210" y="876"/>
                    </a:lnTo>
                    <a:lnTo>
                      <a:pt x="1200" y="872"/>
                    </a:lnTo>
                    <a:lnTo>
                      <a:pt x="1198" y="870"/>
                    </a:lnTo>
                    <a:lnTo>
                      <a:pt x="1200" y="868"/>
                    </a:lnTo>
                    <a:lnTo>
                      <a:pt x="1202" y="868"/>
                    </a:lnTo>
                    <a:lnTo>
                      <a:pt x="1196" y="864"/>
                    </a:lnTo>
                    <a:lnTo>
                      <a:pt x="1196" y="864"/>
                    </a:lnTo>
                    <a:lnTo>
                      <a:pt x="1190" y="862"/>
                    </a:lnTo>
                    <a:lnTo>
                      <a:pt x="1186" y="860"/>
                    </a:lnTo>
                    <a:lnTo>
                      <a:pt x="1182" y="854"/>
                    </a:lnTo>
                    <a:lnTo>
                      <a:pt x="1180" y="852"/>
                    </a:lnTo>
                    <a:lnTo>
                      <a:pt x="1174" y="852"/>
                    </a:lnTo>
                    <a:lnTo>
                      <a:pt x="1174" y="852"/>
                    </a:lnTo>
                    <a:lnTo>
                      <a:pt x="1166" y="854"/>
                    </a:lnTo>
                    <a:lnTo>
                      <a:pt x="1166" y="854"/>
                    </a:lnTo>
                    <a:lnTo>
                      <a:pt x="1166" y="856"/>
                    </a:lnTo>
                    <a:lnTo>
                      <a:pt x="1174" y="862"/>
                    </a:lnTo>
                    <a:lnTo>
                      <a:pt x="1174" y="862"/>
                    </a:lnTo>
                    <a:lnTo>
                      <a:pt x="1178" y="866"/>
                    </a:lnTo>
                    <a:lnTo>
                      <a:pt x="1176" y="868"/>
                    </a:lnTo>
                    <a:lnTo>
                      <a:pt x="1172" y="868"/>
                    </a:lnTo>
                    <a:lnTo>
                      <a:pt x="1168" y="862"/>
                    </a:lnTo>
                    <a:lnTo>
                      <a:pt x="1168" y="862"/>
                    </a:lnTo>
                    <a:lnTo>
                      <a:pt x="1158" y="854"/>
                    </a:lnTo>
                    <a:lnTo>
                      <a:pt x="1154" y="854"/>
                    </a:lnTo>
                    <a:lnTo>
                      <a:pt x="1154" y="854"/>
                    </a:lnTo>
                    <a:lnTo>
                      <a:pt x="1154" y="858"/>
                    </a:lnTo>
                    <a:lnTo>
                      <a:pt x="1154" y="858"/>
                    </a:lnTo>
                    <a:lnTo>
                      <a:pt x="1154" y="860"/>
                    </a:lnTo>
                    <a:lnTo>
                      <a:pt x="1154" y="862"/>
                    </a:lnTo>
                    <a:lnTo>
                      <a:pt x="1152" y="864"/>
                    </a:lnTo>
                    <a:lnTo>
                      <a:pt x="1150" y="868"/>
                    </a:lnTo>
                    <a:lnTo>
                      <a:pt x="1150" y="872"/>
                    </a:lnTo>
                    <a:lnTo>
                      <a:pt x="1150" y="872"/>
                    </a:lnTo>
                    <a:lnTo>
                      <a:pt x="1152" y="876"/>
                    </a:lnTo>
                    <a:lnTo>
                      <a:pt x="1152" y="878"/>
                    </a:lnTo>
                    <a:lnTo>
                      <a:pt x="1146" y="880"/>
                    </a:lnTo>
                    <a:lnTo>
                      <a:pt x="1138" y="884"/>
                    </a:lnTo>
                    <a:lnTo>
                      <a:pt x="1134" y="886"/>
                    </a:lnTo>
                    <a:lnTo>
                      <a:pt x="1130" y="888"/>
                    </a:lnTo>
                    <a:lnTo>
                      <a:pt x="1130" y="888"/>
                    </a:lnTo>
                    <a:lnTo>
                      <a:pt x="1128" y="892"/>
                    </a:lnTo>
                    <a:lnTo>
                      <a:pt x="1128" y="894"/>
                    </a:lnTo>
                    <a:lnTo>
                      <a:pt x="1134" y="896"/>
                    </a:lnTo>
                    <a:lnTo>
                      <a:pt x="1138" y="898"/>
                    </a:lnTo>
                    <a:lnTo>
                      <a:pt x="1132" y="900"/>
                    </a:lnTo>
                    <a:lnTo>
                      <a:pt x="1132" y="900"/>
                    </a:lnTo>
                    <a:lnTo>
                      <a:pt x="1122" y="902"/>
                    </a:lnTo>
                    <a:lnTo>
                      <a:pt x="1120" y="906"/>
                    </a:lnTo>
                    <a:lnTo>
                      <a:pt x="1118" y="908"/>
                    </a:lnTo>
                    <a:lnTo>
                      <a:pt x="1114" y="912"/>
                    </a:lnTo>
                    <a:lnTo>
                      <a:pt x="1114" y="912"/>
                    </a:lnTo>
                    <a:lnTo>
                      <a:pt x="1108" y="912"/>
                    </a:lnTo>
                    <a:lnTo>
                      <a:pt x="1102" y="912"/>
                    </a:lnTo>
                    <a:lnTo>
                      <a:pt x="1096" y="916"/>
                    </a:lnTo>
                    <a:lnTo>
                      <a:pt x="1090" y="924"/>
                    </a:lnTo>
                    <a:lnTo>
                      <a:pt x="1090" y="924"/>
                    </a:lnTo>
                    <a:lnTo>
                      <a:pt x="1088" y="928"/>
                    </a:lnTo>
                    <a:lnTo>
                      <a:pt x="1088" y="930"/>
                    </a:lnTo>
                    <a:lnTo>
                      <a:pt x="1092" y="930"/>
                    </a:lnTo>
                    <a:lnTo>
                      <a:pt x="1096" y="928"/>
                    </a:lnTo>
                    <a:lnTo>
                      <a:pt x="1106" y="926"/>
                    </a:lnTo>
                    <a:lnTo>
                      <a:pt x="1108" y="926"/>
                    </a:lnTo>
                    <a:lnTo>
                      <a:pt x="1108" y="926"/>
                    </a:lnTo>
                    <a:lnTo>
                      <a:pt x="1108" y="926"/>
                    </a:lnTo>
                    <a:lnTo>
                      <a:pt x="1108" y="930"/>
                    </a:lnTo>
                    <a:lnTo>
                      <a:pt x="1112" y="930"/>
                    </a:lnTo>
                    <a:lnTo>
                      <a:pt x="1124" y="924"/>
                    </a:lnTo>
                    <a:lnTo>
                      <a:pt x="1124" y="924"/>
                    </a:lnTo>
                    <a:lnTo>
                      <a:pt x="1128" y="924"/>
                    </a:lnTo>
                    <a:lnTo>
                      <a:pt x="1130" y="924"/>
                    </a:lnTo>
                    <a:lnTo>
                      <a:pt x="1128" y="928"/>
                    </a:lnTo>
                    <a:lnTo>
                      <a:pt x="1120" y="932"/>
                    </a:lnTo>
                    <a:lnTo>
                      <a:pt x="1110" y="936"/>
                    </a:lnTo>
                    <a:lnTo>
                      <a:pt x="1110" y="936"/>
                    </a:lnTo>
                    <a:lnTo>
                      <a:pt x="1102" y="936"/>
                    </a:lnTo>
                    <a:lnTo>
                      <a:pt x="1100" y="936"/>
                    </a:lnTo>
                    <a:lnTo>
                      <a:pt x="1096" y="934"/>
                    </a:lnTo>
                    <a:lnTo>
                      <a:pt x="1088" y="934"/>
                    </a:lnTo>
                    <a:lnTo>
                      <a:pt x="1088" y="934"/>
                    </a:lnTo>
                    <a:lnTo>
                      <a:pt x="1078" y="936"/>
                    </a:lnTo>
                    <a:lnTo>
                      <a:pt x="1072" y="938"/>
                    </a:lnTo>
                    <a:lnTo>
                      <a:pt x="1070" y="940"/>
                    </a:lnTo>
                    <a:lnTo>
                      <a:pt x="1074" y="942"/>
                    </a:lnTo>
                    <a:lnTo>
                      <a:pt x="1074" y="942"/>
                    </a:lnTo>
                    <a:lnTo>
                      <a:pt x="1076" y="944"/>
                    </a:lnTo>
                    <a:lnTo>
                      <a:pt x="1076" y="946"/>
                    </a:lnTo>
                    <a:lnTo>
                      <a:pt x="1076" y="946"/>
                    </a:lnTo>
                    <a:lnTo>
                      <a:pt x="1080" y="948"/>
                    </a:lnTo>
                    <a:lnTo>
                      <a:pt x="1080" y="948"/>
                    </a:lnTo>
                    <a:lnTo>
                      <a:pt x="1086" y="948"/>
                    </a:lnTo>
                    <a:lnTo>
                      <a:pt x="1084" y="952"/>
                    </a:lnTo>
                    <a:lnTo>
                      <a:pt x="1080" y="958"/>
                    </a:lnTo>
                    <a:lnTo>
                      <a:pt x="1078" y="960"/>
                    </a:lnTo>
                    <a:lnTo>
                      <a:pt x="1076" y="964"/>
                    </a:lnTo>
                    <a:lnTo>
                      <a:pt x="1076" y="964"/>
                    </a:lnTo>
                    <a:lnTo>
                      <a:pt x="1076" y="968"/>
                    </a:lnTo>
                    <a:lnTo>
                      <a:pt x="1074" y="966"/>
                    </a:lnTo>
                    <a:lnTo>
                      <a:pt x="1070" y="960"/>
                    </a:lnTo>
                    <a:lnTo>
                      <a:pt x="1070" y="954"/>
                    </a:lnTo>
                    <a:lnTo>
                      <a:pt x="1070" y="954"/>
                    </a:lnTo>
                    <a:lnTo>
                      <a:pt x="1070" y="948"/>
                    </a:lnTo>
                    <a:lnTo>
                      <a:pt x="1068" y="944"/>
                    </a:lnTo>
                    <a:lnTo>
                      <a:pt x="1066" y="944"/>
                    </a:lnTo>
                    <a:lnTo>
                      <a:pt x="1064" y="948"/>
                    </a:lnTo>
                    <a:lnTo>
                      <a:pt x="1064" y="948"/>
                    </a:lnTo>
                    <a:lnTo>
                      <a:pt x="1060" y="954"/>
                    </a:lnTo>
                    <a:lnTo>
                      <a:pt x="1058" y="954"/>
                    </a:lnTo>
                    <a:lnTo>
                      <a:pt x="1056" y="954"/>
                    </a:lnTo>
                    <a:lnTo>
                      <a:pt x="1056" y="952"/>
                    </a:lnTo>
                    <a:lnTo>
                      <a:pt x="1056" y="952"/>
                    </a:lnTo>
                    <a:lnTo>
                      <a:pt x="1052" y="950"/>
                    </a:lnTo>
                    <a:lnTo>
                      <a:pt x="1046" y="952"/>
                    </a:lnTo>
                    <a:lnTo>
                      <a:pt x="1042" y="956"/>
                    </a:lnTo>
                    <a:lnTo>
                      <a:pt x="1040" y="956"/>
                    </a:lnTo>
                    <a:lnTo>
                      <a:pt x="1040" y="958"/>
                    </a:lnTo>
                    <a:lnTo>
                      <a:pt x="1040" y="958"/>
                    </a:lnTo>
                    <a:lnTo>
                      <a:pt x="1042" y="960"/>
                    </a:lnTo>
                    <a:lnTo>
                      <a:pt x="1044" y="960"/>
                    </a:lnTo>
                    <a:lnTo>
                      <a:pt x="1048" y="958"/>
                    </a:lnTo>
                    <a:lnTo>
                      <a:pt x="1054" y="958"/>
                    </a:lnTo>
                    <a:lnTo>
                      <a:pt x="1054" y="958"/>
                    </a:lnTo>
                    <a:lnTo>
                      <a:pt x="1062" y="960"/>
                    </a:lnTo>
                    <a:lnTo>
                      <a:pt x="1064" y="962"/>
                    </a:lnTo>
                    <a:lnTo>
                      <a:pt x="1064" y="964"/>
                    </a:lnTo>
                    <a:lnTo>
                      <a:pt x="1060" y="966"/>
                    </a:lnTo>
                    <a:lnTo>
                      <a:pt x="1060" y="966"/>
                    </a:lnTo>
                    <a:lnTo>
                      <a:pt x="1050" y="966"/>
                    </a:lnTo>
                    <a:lnTo>
                      <a:pt x="1032" y="970"/>
                    </a:lnTo>
                    <a:lnTo>
                      <a:pt x="1020" y="974"/>
                    </a:lnTo>
                    <a:lnTo>
                      <a:pt x="1018" y="976"/>
                    </a:lnTo>
                    <a:lnTo>
                      <a:pt x="1020" y="978"/>
                    </a:lnTo>
                    <a:lnTo>
                      <a:pt x="1020" y="978"/>
                    </a:lnTo>
                    <a:lnTo>
                      <a:pt x="1022" y="980"/>
                    </a:lnTo>
                    <a:lnTo>
                      <a:pt x="1022" y="980"/>
                    </a:lnTo>
                    <a:lnTo>
                      <a:pt x="1018" y="984"/>
                    </a:lnTo>
                    <a:lnTo>
                      <a:pt x="1016" y="986"/>
                    </a:lnTo>
                    <a:lnTo>
                      <a:pt x="1020" y="988"/>
                    </a:lnTo>
                    <a:lnTo>
                      <a:pt x="1020" y="988"/>
                    </a:lnTo>
                    <a:lnTo>
                      <a:pt x="1026" y="988"/>
                    </a:lnTo>
                    <a:lnTo>
                      <a:pt x="1030" y="986"/>
                    </a:lnTo>
                    <a:lnTo>
                      <a:pt x="1036" y="980"/>
                    </a:lnTo>
                    <a:lnTo>
                      <a:pt x="1042" y="976"/>
                    </a:lnTo>
                    <a:lnTo>
                      <a:pt x="1046" y="976"/>
                    </a:lnTo>
                    <a:lnTo>
                      <a:pt x="1052" y="976"/>
                    </a:lnTo>
                    <a:lnTo>
                      <a:pt x="1052" y="976"/>
                    </a:lnTo>
                    <a:lnTo>
                      <a:pt x="1060" y="980"/>
                    </a:lnTo>
                    <a:lnTo>
                      <a:pt x="1058" y="980"/>
                    </a:lnTo>
                    <a:lnTo>
                      <a:pt x="1050" y="980"/>
                    </a:lnTo>
                    <a:lnTo>
                      <a:pt x="1040" y="982"/>
                    </a:lnTo>
                    <a:lnTo>
                      <a:pt x="1040" y="982"/>
                    </a:lnTo>
                    <a:lnTo>
                      <a:pt x="1034" y="986"/>
                    </a:lnTo>
                    <a:lnTo>
                      <a:pt x="1034" y="988"/>
                    </a:lnTo>
                    <a:lnTo>
                      <a:pt x="1036" y="990"/>
                    </a:lnTo>
                    <a:lnTo>
                      <a:pt x="1034" y="990"/>
                    </a:lnTo>
                    <a:lnTo>
                      <a:pt x="1026" y="992"/>
                    </a:lnTo>
                    <a:lnTo>
                      <a:pt x="1026" y="992"/>
                    </a:lnTo>
                    <a:lnTo>
                      <a:pt x="1016" y="996"/>
                    </a:lnTo>
                    <a:lnTo>
                      <a:pt x="1016" y="996"/>
                    </a:lnTo>
                    <a:lnTo>
                      <a:pt x="1016" y="998"/>
                    </a:lnTo>
                    <a:lnTo>
                      <a:pt x="1020" y="1002"/>
                    </a:lnTo>
                    <a:lnTo>
                      <a:pt x="1022" y="1002"/>
                    </a:lnTo>
                    <a:lnTo>
                      <a:pt x="1022" y="1004"/>
                    </a:lnTo>
                    <a:lnTo>
                      <a:pt x="1022" y="1004"/>
                    </a:lnTo>
                    <a:lnTo>
                      <a:pt x="1020" y="1006"/>
                    </a:lnTo>
                    <a:lnTo>
                      <a:pt x="1016" y="1004"/>
                    </a:lnTo>
                    <a:lnTo>
                      <a:pt x="1014" y="1002"/>
                    </a:lnTo>
                    <a:lnTo>
                      <a:pt x="1010" y="1004"/>
                    </a:lnTo>
                    <a:lnTo>
                      <a:pt x="1010" y="1004"/>
                    </a:lnTo>
                    <a:lnTo>
                      <a:pt x="1004" y="1012"/>
                    </a:lnTo>
                    <a:lnTo>
                      <a:pt x="1004" y="1012"/>
                    </a:lnTo>
                    <a:lnTo>
                      <a:pt x="1008" y="1014"/>
                    </a:lnTo>
                    <a:lnTo>
                      <a:pt x="1008" y="1014"/>
                    </a:lnTo>
                    <a:lnTo>
                      <a:pt x="1012" y="1014"/>
                    </a:lnTo>
                    <a:lnTo>
                      <a:pt x="1016" y="1012"/>
                    </a:lnTo>
                    <a:lnTo>
                      <a:pt x="1024" y="1012"/>
                    </a:lnTo>
                    <a:lnTo>
                      <a:pt x="1036" y="1012"/>
                    </a:lnTo>
                    <a:lnTo>
                      <a:pt x="1036" y="1012"/>
                    </a:lnTo>
                    <a:lnTo>
                      <a:pt x="1050" y="1016"/>
                    </a:lnTo>
                    <a:lnTo>
                      <a:pt x="1048" y="1016"/>
                    </a:lnTo>
                    <a:lnTo>
                      <a:pt x="1046" y="1018"/>
                    </a:lnTo>
                    <a:lnTo>
                      <a:pt x="1046" y="1022"/>
                    </a:lnTo>
                    <a:lnTo>
                      <a:pt x="1046" y="1022"/>
                    </a:lnTo>
                    <a:lnTo>
                      <a:pt x="1046" y="1024"/>
                    </a:lnTo>
                    <a:lnTo>
                      <a:pt x="1044" y="1022"/>
                    </a:lnTo>
                    <a:lnTo>
                      <a:pt x="1038" y="1018"/>
                    </a:lnTo>
                    <a:lnTo>
                      <a:pt x="1034" y="1016"/>
                    </a:lnTo>
                    <a:lnTo>
                      <a:pt x="1028" y="1016"/>
                    </a:lnTo>
                    <a:lnTo>
                      <a:pt x="1028" y="1016"/>
                    </a:lnTo>
                    <a:lnTo>
                      <a:pt x="1020" y="1016"/>
                    </a:lnTo>
                    <a:lnTo>
                      <a:pt x="1014" y="1018"/>
                    </a:lnTo>
                    <a:lnTo>
                      <a:pt x="1008" y="1020"/>
                    </a:lnTo>
                    <a:lnTo>
                      <a:pt x="1002" y="1020"/>
                    </a:lnTo>
                    <a:lnTo>
                      <a:pt x="1002" y="1020"/>
                    </a:lnTo>
                    <a:lnTo>
                      <a:pt x="998" y="1020"/>
                    </a:lnTo>
                    <a:lnTo>
                      <a:pt x="996" y="1020"/>
                    </a:lnTo>
                    <a:lnTo>
                      <a:pt x="994" y="1022"/>
                    </a:lnTo>
                    <a:lnTo>
                      <a:pt x="990" y="1022"/>
                    </a:lnTo>
                    <a:lnTo>
                      <a:pt x="990" y="1022"/>
                    </a:lnTo>
                    <a:lnTo>
                      <a:pt x="988" y="1024"/>
                    </a:lnTo>
                    <a:lnTo>
                      <a:pt x="988" y="1026"/>
                    </a:lnTo>
                    <a:lnTo>
                      <a:pt x="988" y="1028"/>
                    </a:lnTo>
                    <a:lnTo>
                      <a:pt x="988" y="1030"/>
                    </a:lnTo>
                    <a:lnTo>
                      <a:pt x="986" y="1032"/>
                    </a:lnTo>
                    <a:lnTo>
                      <a:pt x="982" y="1034"/>
                    </a:lnTo>
                    <a:lnTo>
                      <a:pt x="976" y="1034"/>
                    </a:lnTo>
                    <a:lnTo>
                      <a:pt x="976" y="1034"/>
                    </a:lnTo>
                    <a:lnTo>
                      <a:pt x="968" y="1036"/>
                    </a:lnTo>
                    <a:lnTo>
                      <a:pt x="970" y="1038"/>
                    </a:lnTo>
                    <a:lnTo>
                      <a:pt x="974" y="1042"/>
                    </a:lnTo>
                    <a:lnTo>
                      <a:pt x="974" y="1044"/>
                    </a:lnTo>
                    <a:lnTo>
                      <a:pt x="972" y="1046"/>
                    </a:lnTo>
                    <a:lnTo>
                      <a:pt x="972" y="1046"/>
                    </a:lnTo>
                    <a:lnTo>
                      <a:pt x="966" y="1050"/>
                    </a:lnTo>
                    <a:lnTo>
                      <a:pt x="964" y="1050"/>
                    </a:lnTo>
                    <a:lnTo>
                      <a:pt x="962" y="1050"/>
                    </a:lnTo>
                    <a:lnTo>
                      <a:pt x="956" y="1052"/>
                    </a:lnTo>
                    <a:lnTo>
                      <a:pt x="956" y="1052"/>
                    </a:lnTo>
                    <a:lnTo>
                      <a:pt x="954" y="1056"/>
                    </a:lnTo>
                    <a:lnTo>
                      <a:pt x="956" y="1058"/>
                    </a:lnTo>
                    <a:lnTo>
                      <a:pt x="958" y="1058"/>
                    </a:lnTo>
                    <a:lnTo>
                      <a:pt x="958" y="1060"/>
                    </a:lnTo>
                    <a:lnTo>
                      <a:pt x="958" y="1060"/>
                    </a:lnTo>
                    <a:lnTo>
                      <a:pt x="954" y="1062"/>
                    </a:lnTo>
                    <a:lnTo>
                      <a:pt x="954" y="1064"/>
                    </a:lnTo>
                    <a:lnTo>
                      <a:pt x="956" y="1066"/>
                    </a:lnTo>
                    <a:lnTo>
                      <a:pt x="954" y="1064"/>
                    </a:lnTo>
                    <a:lnTo>
                      <a:pt x="954" y="1064"/>
                    </a:lnTo>
                    <a:lnTo>
                      <a:pt x="950" y="1064"/>
                    </a:lnTo>
                    <a:lnTo>
                      <a:pt x="946" y="1064"/>
                    </a:lnTo>
                    <a:lnTo>
                      <a:pt x="946" y="1066"/>
                    </a:lnTo>
                    <a:lnTo>
                      <a:pt x="948" y="1068"/>
                    </a:lnTo>
                    <a:lnTo>
                      <a:pt x="948" y="1068"/>
                    </a:lnTo>
                    <a:lnTo>
                      <a:pt x="950" y="1070"/>
                    </a:lnTo>
                    <a:lnTo>
                      <a:pt x="950" y="1072"/>
                    </a:lnTo>
                    <a:lnTo>
                      <a:pt x="948" y="1076"/>
                    </a:lnTo>
                    <a:lnTo>
                      <a:pt x="948" y="1080"/>
                    </a:lnTo>
                    <a:lnTo>
                      <a:pt x="954" y="1080"/>
                    </a:lnTo>
                    <a:lnTo>
                      <a:pt x="954" y="1080"/>
                    </a:lnTo>
                    <a:lnTo>
                      <a:pt x="958" y="1080"/>
                    </a:lnTo>
                    <a:lnTo>
                      <a:pt x="954" y="1082"/>
                    </a:lnTo>
                    <a:lnTo>
                      <a:pt x="948" y="1084"/>
                    </a:lnTo>
                    <a:lnTo>
                      <a:pt x="946" y="1086"/>
                    </a:lnTo>
                    <a:lnTo>
                      <a:pt x="946" y="1086"/>
                    </a:lnTo>
                    <a:lnTo>
                      <a:pt x="946" y="1086"/>
                    </a:lnTo>
                    <a:lnTo>
                      <a:pt x="954" y="1086"/>
                    </a:lnTo>
                    <a:lnTo>
                      <a:pt x="964" y="1084"/>
                    </a:lnTo>
                    <a:lnTo>
                      <a:pt x="988" y="1078"/>
                    </a:lnTo>
                    <a:lnTo>
                      <a:pt x="988" y="1078"/>
                    </a:lnTo>
                    <a:lnTo>
                      <a:pt x="994" y="1078"/>
                    </a:lnTo>
                    <a:lnTo>
                      <a:pt x="990" y="1080"/>
                    </a:lnTo>
                    <a:lnTo>
                      <a:pt x="982" y="1084"/>
                    </a:lnTo>
                    <a:lnTo>
                      <a:pt x="972" y="1086"/>
                    </a:lnTo>
                    <a:lnTo>
                      <a:pt x="972" y="1086"/>
                    </a:lnTo>
                    <a:lnTo>
                      <a:pt x="954" y="1090"/>
                    </a:lnTo>
                    <a:lnTo>
                      <a:pt x="946" y="1092"/>
                    </a:lnTo>
                    <a:lnTo>
                      <a:pt x="936" y="1094"/>
                    </a:lnTo>
                    <a:lnTo>
                      <a:pt x="936" y="1094"/>
                    </a:lnTo>
                    <a:lnTo>
                      <a:pt x="932" y="1096"/>
                    </a:lnTo>
                    <a:lnTo>
                      <a:pt x="936" y="1096"/>
                    </a:lnTo>
                    <a:lnTo>
                      <a:pt x="942" y="1098"/>
                    </a:lnTo>
                    <a:lnTo>
                      <a:pt x="944" y="1098"/>
                    </a:lnTo>
                    <a:lnTo>
                      <a:pt x="946" y="1100"/>
                    </a:lnTo>
                    <a:lnTo>
                      <a:pt x="946" y="1100"/>
                    </a:lnTo>
                    <a:lnTo>
                      <a:pt x="944" y="1104"/>
                    </a:lnTo>
                    <a:lnTo>
                      <a:pt x="940" y="1106"/>
                    </a:lnTo>
                    <a:lnTo>
                      <a:pt x="934" y="1108"/>
                    </a:lnTo>
                    <a:lnTo>
                      <a:pt x="932" y="1114"/>
                    </a:lnTo>
                    <a:lnTo>
                      <a:pt x="932" y="1114"/>
                    </a:lnTo>
                    <a:lnTo>
                      <a:pt x="930" y="1118"/>
                    </a:lnTo>
                    <a:lnTo>
                      <a:pt x="928" y="1120"/>
                    </a:lnTo>
                    <a:lnTo>
                      <a:pt x="924" y="1122"/>
                    </a:lnTo>
                    <a:lnTo>
                      <a:pt x="920" y="1122"/>
                    </a:lnTo>
                    <a:lnTo>
                      <a:pt x="920" y="1128"/>
                    </a:lnTo>
                    <a:lnTo>
                      <a:pt x="920" y="1128"/>
                    </a:lnTo>
                    <a:lnTo>
                      <a:pt x="922" y="1132"/>
                    </a:lnTo>
                    <a:lnTo>
                      <a:pt x="924" y="1134"/>
                    </a:lnTo>
                    <a:lnTo>
                      <a:pt x="926" y="1134"/>
                    </a:lnTo>
                    <a:lnTo>
                      <a:pt x="928" y="1138"/>
                    </a:lnTo>
                    <a:lnTo>
                      <a:pt x="928" y="1138"/>
                    </a:lnTo>
                    <a:lnTo>
                      <a:pt x="928" y="1140"/>
                    </a:lnTo>
                    <a:lnTo>
                      <a:pt x="928" y="1142"/>
                    </a:lnTo>
                    <a:lnTo>
                      <a:pt x="922" y="1146"/>
                    </a:lnTo>
                    <a:lnTo>
                      <a:pt x="918" y="1150"/>
                    </a:lnTo>
                    <a:lnTo>
                      <a:pt x="918" y="1152"/>
                    </a:lnTo>
                    <a:lnTo>
                      <a:pt x="920" y="1152"/>
                    </a:lnTo>
                    <a:lnTo>
                      <a:pt x="920" y="1152"/>
                    </a:lnTo>
                    <a:lnTo>
                      <a:pt x="922" y="1156"/>
                    </a:lnTo>
                    <a:lnTo>
                      <a:pt x="922" y="1160"/>
                    </a:lnTo>
                    <a:lnTo>
                      <a:pt x="918" y="1164"/>
                    </a:lnTo>
                    <a:lnTo>
                      <a:pt x="910" y="1166"/>
                    </a:lnTo>
                    <a:lnTo>
                      <a:pt x="910" y="1166"/>
                    </a:lnTo>
                    <a:lnTo>
                      <a:pt x="904" y="1168"/>
                    </a:lnTo>
                    <a:lnTo>
                      <a:pt x="900" y="1168"/>
                    </a:lnTo>
                    <a:lnTo>
                      <a:pt x="898" y="1170"/>
                    </a:lnTo>
                    <a:lnTo>
                      <a:pt x="892" y="1172"/>
                    </a:lnTo>
                    <a:lnTo>
                      <a:pt x="892" y="1172"/>
                    </a:lnTo>
                    <a:lnTo>
                      <a:pt x="888" y="1174"/>
                    </a:lnTo>
                    <a:lnTo>
                      <a:pt x="884" y="1174"/>
                    </a:lnTo>
                    <a:lnTo>
                      <a:pt x="880" y="1176"/>
                    </a:lnTo>
                    <a:lnTo>
                      <a:pt x="876" y="1176"/>
                    </a:lnTo>
                    <a:lnTo>
                      <a:pt x="876" y="1176"/>
                    </a:lnTo>
                    <a:lnTo>
                      <a:pt x="866" y="1176"/>
                    </a:lnTo>
                    <a:lnTo>
                      <a:pt x="862" y="1176"/>
                    </a:lnTo>
                    <a:lnTo>
                      <a:pt x="860" y="1178"/>
                    </a:lnTo>
                    <a:lnTo>
                      <a:pt x="860" y="1178"/>
                    </a:lnTo>
                    <a:lnTo>
                      <a:pt x="860" y="1180"/>
                    </a:lnTo>
                    <a:lnTo>
                      <a:pt x="864" y="1180"/>
                    </a:lnTo>
                    <a:lnTo>
                      <a:pt x="868" y="1180"/>
                    </a:lnTo>
                    <a:lnTo>
                      <a:pt x="876" y="1180"/>
                    </a:lnTo>
                    <a:lnTo>
                      <a:pt x="876" y="1180"/>
                    </a:lnTo>
                    <a:lnTo>
                      <a:pt x="878" y="1182"/>
                    </a:lnTo>
                    <a:lnTo>
                      <a:pt x="880" y="1184"/>
                    </a:lnTo>
                    <a:lnTo>
                      <a:pt x="878" y="1186"/>
                    </a:lnTo>
                    <a:lnTo>
                      <a:pt x="878" y="1188"/>
                    </a:lnTo>
                    <a:lnTo>
                      <a:pt x="878" y="1188"/>
                    </a:lnTo>
                    <a:lnTo>
                      <a:pt x="886" y="1184"/>
                    </a:lnTo>
                    <a:lnTo>
                      <a:pt x="886" y="1184"/>
                    </a:lnTo>
                    <a:lnTo>
                      <a:pt x="892" y="1182"/>
                    </a:lnTo>
                    <a:lnTo>
                      <a:pt x="892" y="1184"/>
                    </a:lnTo>
                    <a:lnTo>
                      <a:pt x="890" y="1186"/>
                    </a:lnTo>
                    <a:lnTo>
                      <a:pt x="886" y="1190"/>
                    </a:lnTo>
                    <a:lnTo>
                      <a:pt x="886" y="1190"/>
                    </a:lnTo>
                    <a:lnTo>
                      <a:pt x="884" y="1190"/>
                    </a:lnTo>
                    <a:lnTo>
                      <a:pt x="882" y="1192"/>
                    </a:lnTo>
                    <a:lnTo>
                      <a:pt x="886" y="1194"/>
                    </a:lnTo>
                    <a:lnTo>
                      <a:pt x="890" y="1196"/>
                    </a:lnTo>
                    <a:lnTo>
                      <a:pt x="890" y="1198"/>
                    </a:lnTo>
                    <a:lnTo>
                      <a:pt x="890" y="1200"/>
                    </a:lnTo>
                    <a:lnTo>
                      <a:pt x="890" y="1200"/>
                    </a:lnTo>
                    <a:lnTo>
                      <a:pt x="886" y="1204"/>
                    </a:lnTo>
                    <a:lnTo>
                      <a:pt x="886" y="1206"/>
                    </a:lnTo>
                    <a:lnTo>
                      <a:pt x="884" y="1208"/>
                    </a:lnTo>
                    <a:lnTo>
                      <a:pt x="878" y="1208"/>
                    </a:lnTo>
                    <a:lnTo>
                      <a:pt x="878" y="1208"/>
                    </a:lnTo>
                    <a:lnTo>
                      <a:pt x="874" y="1208"/>
                    </a:lnTo>
                    <a:lnTo>
                      <a:pt x="872" y="1208"/>
                    </a:lnTo>
                    <a:lnTo>
                      <a:pt x="870" y="1204"/>
                    </a:lnTo>
                    <a:lnTo>
                      <a:pt x="868" y="1198"/>
                    </a:lnTo>
                    <a:lnTo>
                      <a:pt x="866" y="1198"/>
                    </a:lnTo>
                    <a:lnTo>
                      <a:pt x="864" y="1198"/>
                    </a:lnTo>
                    <a:lnTo>
                      <a:pt x="864" y="1198"/>
                    </a:lnTo>
                    <a:lnTo>
                      <a:pt x="862" y="1198"/>
                    </a:lnTo>
                    <a:lnTo>
                      <a:pt x="862" y="1200"/>
                    </a:lnTo>
                    <a:lnTo>
                      <a:pt x="862" y="1202"/>
                    </a:lnTo>
                    <a:lnTo>
                      <a:pt x="860" y="1204"/>
                    </a:lnTo>
                    <a:lnTo>
                      <a:pt x="860" y="1204"/>
                    </a:lnTo>
                    <a:lnTo>
                      <a:pt x="852" y="1204"/>
                    </a:lnTo>
                    <a:lnTo>
                      <a:pt x="848" y="1208"/>
                    </a:lnTo>
                    <a:lnTo>
                      <a:pt x="846" y="1210"/>
                    </a:lnTo>
                    <a:lnTo>
                      <a:pt x="846" y="1214"/>
                    </a:lnTo>
                    <a:lnTo>
                      <a:pt x="846" y="1214"/>
                    </a:lnTo>
                    <a:lnTo>
                      <a:pt x="846" y="1216"/>
                    </a:lnTo>
                    <a:lnTo>
                      <a:pt x="844" y="1218"/>
                    </a:lnTo>
                    <a:lnTo>
                      <a:pt x="840" y="1220"/>
                    </a:lnTo>
                    <a:lnTo>
                      <a:pt x="834" y="1222"/>
                    </a:lnTo>
                    <a:lnTo>
                      <a:pt x="832" y="1224"/>
                    </a:lnTo>
                    <a:lnTo>
                      <a:pt x="830" y="1228"/>
                    </a:lnTo>
                    <a:lnTo>
                      <a:pt x="830" y="1228"/>
                    </a:lnTo>
                    <a:lnTo>
                      <a:pt x="828" y="1234"/>
                    </a:lnTo>
                    <a:lnTo>
                      <a:pt x="824" y="1240"/>
                    </a:lnTo>
                    <a:lnTo>
                      <a:pt x="818" y="1246"/>
                    </a:lnTo>
                    <a:lnTo>
                      <a:pt x="812" y="1250"/>
                    </a:lnTo>
                    <a:lnTo>
                      <a:pt x="808" y="1252"/>
                    </a:lnTo>
                    <a:lnTo>
                      <a:pt x="806" y="1256"/>
                    </a:lnTo>
                    <a:lnTo>
                      <a:pt x="806" y="1256"/>
                    </a:lnTo>
                    <a:lnTo>
                      <a:pt x="806" y="1258"/>
                    </a:lnTo>
                    <a:lnTo>
                      <a:pt x="806" y="1260"/>
                    </a:lnTo>
                    <a:lnTo>
                      <a:pt x="810" y="1260"/>
                    </a:lnTo>
                    <a:lnTo>
                      <a:pt x="816" y="1258"/>
                    </a:lnTo>
                    <a:lnTo>
                      <a:pt x="816" y="1258"/>
                    </a:lnTo>
                    <a:lnTo>
                      <a:pt x="818" y="1258"/>
                    </a:lnTo>
                    <a:lnTo>
                      <a:pt x="818" y="1258"/>
                    </a:lnTo>
                    <a:lnTo>
                      <a:pt x="818" y="1262"/>
                    </a:lnTo>
                    <a:lnTo>
                      <a:pt x="820" y="1262"/>
                    </a:lnTo>
                    <a:lnTo>
                      <a:pt x="822" y="1264"/>
                    </a:lnTo>
                    <a:lnTo>
                      <a:pt x="822" y="1268"/>
                    </a:lnTo>
                    <a:lnTo>
                      <a:pt x="822" y="1268"/>
                    </a:lnTo>
                    <a:lnTo>
                      <a:pt x="824" y="1270"/>
                    </a:lnTo>
                    <a:lnTo>
                      <a:pt x="826" y="1270"/>
                    </a:lnTo>
                    <a:lnTo>
                      <a:pt x="834" y="1270"/>
                    </a:lnTo>
                    <a:lnTo>
                      <a:pt x="848" y="1264"/>
                    </a:lnTo>
                    <a:lnTo>
                      <a:pt x="862" y="1254"/>
                    </a:lnTo>
                    <a:lnTo>
                      <a:pt x="862" y="1254"/>
                    </a:lnTo>
                    <a:lnTo>
                      <a:pt x="868" y="1250"/>
                    </a:lnTo>
                    <a:lnTo>
                      <a:pt x="868" y="1246"/>
                    </a:lnTo>
                    <a:lnTo>
                      <a:pt x="868" y="1246"/>
                    </a:lnTo>
                    <a:lnTo>
                      <a:pt x="864" y="1244"/>
                    </a:lnTo>
                    <a:lnTo>
                      <a:pt x="858" y="1244"/>
                    </a:lnTo>
                    <a:lnTo>
                      <a:pt x="858" y="1244"/>
                    </a:lnTo>
                    <a:lnTo>
                      <a:pt x="862" y="1242"/>
                    </a:lnTo>
                    <a:lnTo>
                      <a:pt x="862" y="1242"/>
                    </a:lnTo>
                    <a:lnTo>
                      <a:pt x="870" y="1238"/>
                    </a:lnTo>
                    <a:lnTo>
                      <a:pt x="874" y="1236"/>
                    </a:lnTo>
                    <a:lnTo>
                      <a:pt x="876" y="1234"/>
                    </a:lnTo>
                    <a:lnTo>
                      <a:pt x="880" y="1236"/>
                    </a:lnTo>
                    <a:lnTo>
                      <a:pt x="880" y="1236"/>
                    </a:lnTo>
                    <a:lnTo>
                      <a:pt x="884" y="1236"/>
                    </a:lnTo>
                    <a:lnTo>
                      <a:pt x="884" y="1238"/>
                    </a:lnTo>
                    <a:lnTo>
                      <a:pt x="878" y="1240"/>
                    </a:lnTo>
                    <a:lnTo>
                      <a:pt x="874" y="1242"/>
                    </a:lnTo>
                    <a:lnTo>
                      <a:pt x="872" y="1244"/>
                    </a:lnTo>
                    <a:lnTo>
                      <a:pt x="874" y="1246"/>
                    </a:lnTo>
                    <a:lnTo>
                      <a:pt x="880" y="1248"/>
                    </a:lnTo>
                    <a:lnTo>
                      <a:pt x="880" y="1248"/>
                    </a:lnTo>
                    <a:lnTo>
                      <a:pt x="884" y="1250"/>
                    </a:lnTo>
                    <a:lnTo>
                      <a:pt x="880" y="1254"/>
                    </a:lnTo>
                    <a:lnTo>
                      <a:pt x="860" y="1262"/>
                    </a:lnTo>
                    <a:lnTo>
                      <a:pt x="860" y="1262"/>
                    </a:lnTo>
                    <a:lnTo>
                      <a:pt x="854" y="1266"/>
                    </a:lnTo>
                    <a:lnTo>
                      <a:pt x="854" y="1266"/>
                    </a:lnTo>
                    <a:lnTo>
                      <a:pt x="854" y="1266"/>
                    </a:lnTo>
                    <a:lnTo>
                      <a:pt x="858" y="1268"/>
                    </a:lnTo>
                    <a:lnTo>
                      <a:pt x="858" y="1268"/>
                    </a:lnTo>
                    <a:lnTo>
                      <a:pt x="856" y="1268"/>
                    </a:lnTo>
                    <a:lnTo>
                      <a:pt x="856" y="1268"/>
                    </a:lnTo>
                    <a:lnTo>
                      <a:pt x="856" y="1270"/>
                    </a:lnTo>
                    <a:lnTo>
                      <a:pt x="856" y="1272"/>
                    </a:lnTo>
                    <a:lnTo>
                      <a:pt x="858" y="1272"/>
                    </a:lnTo>
                    <a:lnTo>
                      <a:pt x="862" y="1274"/>
                    </a:lnTo>
                    <a:lnTo>
                      <a:pt x="860" y="1276"/>
                    </a:lnTo>
                    <a:lnTo>
                      <a:pt x="860" y="1276"/>
                    </a:lnTo>
                    <a:lnTo>
                      <a:pt x="856" y="1276"/>
                    </a:lnTo>
                    <a:lnTo>
                      <a:pt x="852" y="1276"/>
                    </a:lnTo>
                    <a:lnTo>
                      <a:pt x="844" y="1276"/>
                    </a:lnTo>
                    <a:lnTo>
                      <a:pt x="836" y="1276"/>
                    </a:lnTo>
                    <a:lnTo>
                      <a:pt x="830" y="1276"/>
                    </a:lnTo>
                    <a:lnTo>
                      <a:pt x="826" y="1280"/>
                    </a:lnTo>
                    <a:lnTo>
                      <a:pt x="826" y="1280"/>
                    </a:lnTo>
                    <a:lnTo>
                      <a:pt x="822" y="1282"/>
                    </a:lnTo>
                    <a:lnTo>
                      <a:pt x="822" y="1282"/>
                    </a:lnTo>
                    <a:lnTo>
                      <a:pt x="822" y="1276"/>
                    </a:lnTo>
                    <a:lnTo>
                      <a:pt x="818" y="1268"/>
                    </a:lnTo>
                    <a:lnTo>
                      <a:pt x="818" y="1268"/>
                    </a:lnTo>
                    <a:lnTo>
                      <a:pt x="814" y="1262"/>
                    </a:lnTo>
                    <a:lnTo>
                      <a:pt x="810" y="1262"/>
                    </a:lnTo>
                    <a:lnTo>
                      <a:pt x="806" y="1266"/>
                    </a:lnTo>
                    <a:lnTo>
                      <a:pt x="798" y="1268"/>
                    </a:lnTo>
                    <a:lnTo>
                      <a:pt x="798" y="1268"/>
                    </a:lnTo>
                    <a:lnTo>
                      <a:pt x="796" y="1268"/>
                    </a:lnTo>
                    <a:lnTo>
                      <a:pt x="794" y="1270"/>
                    </a:lnTo>
                    <a:lnTo>
                      <a:pt x="792" y="1274"/>
                    </a:lnTo>
                    <a:lnTo>
                      <a:pt x="792" y="1276"/>
                    </a:lnTo>
                    <a:lnTo>
                      <a:pt x="790" y="1274"/>
                    </a:lnTo>
                    <a:lnTo>
                      <a:pt x="790" y="1274"/>
                    </a:lnTo>
                    <a:lnTo>
                      <a:pt x="784" y="1274"/>
                    </a:lnTo>
                    <a:lnTo>
                      <a:pt x="778" y="1274"/>
                    </a:lnTo>
                    <a:lnTo>
                      <a:pt x="762" y="1280"/>
                    </a:lnTo>
                    <a:lnTo>
                      <a:pt x="762" y="1280"/>
                    </a:lnTo>
                    <a:lnTo>
                      <a:pt x="760" y="1282"/>
                    </a:lnTo>
                    <a:lnTo>
                      <a:pt x="760" y="1284"/>
                    </a:lnTo>
                    <a:lnTo>
                      <a:pt x="766" y="1288"/>
                    </a:lnTo>
                    <a:lnTo>
                      <a:pt x="768" y="1290"/>
                    </a:lnTo>
                    <a:lnTo>
                      <a:pt x="768" y="1292"/>
                    </a:lnTo>
                    <a:lnTo>
                      <a:pt x="766" y="1294"/>
                    </a:lnTo>
                    <a:lnTo>
                      <a:pt x="760" y="1294"/>
                    </a:lnTo>
                    <a:lnTo>
                      <a:pt x="760" y="1294"/>
                    </a:lnTo>
                    <a:lnTo>
                      <a:pt x="754" y="1296"/>
                    </a:lnTo>
                    <a:lnTo>
                      <a:pt x="752" y="1298"/>
                    </a:lnTo>
                    <a:lnTo>
                      <a:pt x="752" y="1298"/>
                    </a:lnTo>
                    <a:lnTo>
                      <a:pt x="752" y="1300"/>
                    </a:lnTo>
                    <a:lnTo>
                      <a:pt x="756" y="1302"/>
                    </a:lnTo>
                    <a:lnTo>
                      <a:pt x="746" y="1300"/>
                    </a:lnTo>
                    <a:lnTo>
                      <a:pt x="746" y="1300"/>
                    </a:lnTo>
                    <a:lnTo>
                      <a:pt x="738" y="1298"/>
                    </a:lnTo>
                    <a:lnTo>
                      <a:pt x="742" y="1300"/>
                    </a:lnTo>
                    <a:lnTo>
                      <a:pt x="744" y="1304"/>
                    </a:lnTo>
                    <a:lnTo>
                      <a:pt x="744" y="1306"/>
                    </a:lnTo>
                    <a:lnTo>
                      <a:pt x="740" y="1308"/>
                    </a:lnTo>
                    <a:lnTo>
                      <a:pt x="740" y="1308"/>
                    </a:lnTo>
                    <a:lnTo>
                      <a:pt x="728" y="1308"/>
                    </a:lnTo>
                    <a:lnTo>
                      <a:pt x="716" y="1308"/>
                    </a:lnTo>
                    <a:lnTo>
                      <a:pt x="708" y="1306"/>
                    </a:lnTo>
                    <a:lnTo>
                      <a:pt x="704" y="1308"/>
                    </a:lnTo>
                    <a:lnTo>
                      <a:pt x="704" y="1308"/>
                    </a:lnTo>
                    <a:lnTo>
                      <a:pt x="702" y="1310"/>
                    </a:lnTo>
                    <a:lnTo>
                      <a:pt x="702" y="1316"/>
                    </a:lnTo>
                    <a:lnTo>
                      <a:pt x="704" y="1318"/>
                    </a:lnTo>
                    <a:lnTo>
                      <a:pt x="708" y="1320"/>
                    </a:lnTo>
                    <a:lnTo>
                      <a:pt x="712" y="1320"/>
                    </a:lnTo>
                    <a:lnTo>
                      <a:pt x="718" y="1320"/>
                    </a:lnTo>
                    <a:lnTo>
                      <a:pt x="718" y="1320"/>
                    </a:lnTo>
                    <a:lnTo>
                      <a:pt x="726" y="1318"/>
                    </a:lnTo>
                    <a:lnTo>
                      <a:pt x="724" y="1320"/>
                    </a:lnTo>
                    <a:lnTo>
                      <a:pt x="720" y="1324"/>
                    </a:lnTo>
                    <a:lnTo>
                      <a:pt x="720" y="1328"/>
                    </a:lnTo>
                    <a:lnTo>
                      <a:pt x="722" y="1332"/>
                    </a:lnTo>
                    <a:lnTo>
                      <a:pt x="722" y="1332"/>
                    </a:lnTo>
                    <a:lnTo>
                      <a:pt x="724" y="1334"/>
                    </a:lnTo>
                    <a:lnTo>
                      <a:pt x="718" y="1332"/>
                    </a:lnTo>
                    <a:lnTo>
                      <a:pt x="704" y="1328"/>
                    </a:lnTo>
                    <a:lnTo>
                      <a:pt x="696" y="1328"/>
                    </a:lnTo>
                    <a:lnTo>
                      <a:pt x="686" y="1330"/>
                    </a:lnTo>
                    <a:lnTo>
                      <a:pt x="686" y="1330"/>
                    </a:lnTo>
                    <a:lnTo>
                      <a:pt x="678" y="1334"/>
                    </a:lnTo>
                    <a:lnTo>
                      <a:pt x="676" y="1336"/>
                    </a:lnTo>
                    <a:lnTo>
                      <a:pt x="678" y="1336"/>
                    </a:lnTo>
                    <a:lnTo>
                      <a:pt x="682" y="1338"/>
                    </a:lnTo>
                    <a:lnTo>
                      <a:pt x="694" y="1340"/>
                    </a:lnTo>
                    <a:lnTo>
                      <a:pt x="698" y="1342"/>
                    </a:lnTo>
                    <a:lnTo>
                      <a:pt x="702" y="1344"/>
                    </a:lnTo>
                    <a:lnTo>
                      <a:pt x="702" y="1344"/>
                    </a:lnTo>
                    <a:lnTo>
                      <a:pt x="704" y="1348"/>
                    </a:lnTo>
                    <a:lnTo>
                      <a:pt x="700" y="1346"/>
                    </a:lnTo>
                    <a:lnTo>
                      <a:pt x="696" y="1344"/>
                    </a:lnTo>
                    <a:lnTo>
                      <a:pt x="692" y="1344"/>
                    </a:lnTo>
                    <a:lnTo>
                      <a:pt x="684" y="1344"/>
                    </a:lnTo>
                    <a:lnTo>
                      <a:pt x="676" y="1346"/>
                    </a:lnTo>
                    <a:lnTo>
                      <a:pt x="676" y="1346"/>
                    </a:lnTo>
                    <a:lnTo>
                      <a:pt x="668" y="1350"/>
                    </a:lnTo>
                    <a:lnTo>
                      <a:pt x="664" y="1354"/>
                    </a:lnTo>
                    <a:lnTo>
                      <a:pt x="662" y="1356"/>
                    </a:lnTo>
                    <a:lnTo>
                      <a:pt x="662" y="1358"/>
                    </a:lnTo>
                    <a:lnTo>
                      <a:pt x="664" y="1358"/>
                    </a:lnTo>
                    <a:lnTo>
                      <a:pt x="658" y="1358"/>
                    </a:lnTo>
                    <a:lnTo>
                      <a:pt x="658" y="1358"/>
                    </a:lnTo>
                    <a:lnTo>
                      <a:pt x="654" y="1358"/>
                    </a:lnTo>
                    <a:lnTo>
                      <a:pt x="652" y="1358"/>
                    </a:lnTo>
                    <a:lnTo>
                      <a:pt x="652" y="1360"/>
                    </a:lnTo>
                    <a:lnTo>
                      <a:pt x="654" y="1362"/>
                    </a:lnTo>
                    <a:lnTo>
                      <a:pt x="652" y="1364"/>
                    </a:lnTo>
                    <a:lnTo>
                      <a:pt x="646" y="1362"/>
                    </a:lnTo>
                    <a:lnTo>
                      <a:pt x="646" y="1362"/>
                    </a:lnTo>
                    <a:lnTo>
                      <a:pt x="628" y="1360"/>
                    </a:lnTo>
                    <a:lnTo>
                      <a:pt x="628" y="1360"/>
                    </a:lnTo>
                    <a:lnTo>
                      <a:pt x="628" y="1362"/>
                    </a:lnTo>
                    <a:lnTo>
                      <a:pt x="632" y="1366"/>
                    </a:lnTo>
                    <a:lnTo>
                      <a:pt x="632" y="1366"/>
                    </a:lnTo>
                    <a:lnTo>
                      <a:pt x="632" y="1368"/>
                    </a:lnTo>
                    <a:lnTo>
                      <a:pt x="632" y="1368"/>
                    </a:lnTo>
                    <a:lnTo>
                      <a:pt x="626" y="1370"/>
                    </a:lnTo>
                    <a:lnTo>
                      <a:pt x="622" y="1370"/>
                    </a:lnTo>
                    <a:lnTo>
                      <a:pt x="622" y="1370"/>
                    </a:lnTo>
                    <a:lnTo>
                      <a:pt x="624" y="1372"/>
                    </a:lnTo>
                    <a:lnTo>
                      <a:pt x="624" y="1372"/>
                    </a:lnTo>
                    <a:lnTo>
                      <a:pt x="628" y="1374"/>
                    </a:lnTo>
                    <a:lnTo>
                      <a:pt x="632" y="1376"/>
                    </a:lnTo>
                    <a:lnTo>
                      <a:pt x="644" y="1376"/>
                    </a:lnTo>
                    <a:lnTo>
                      <a:pt x="660" y="1378"/>
                    </a:lnTo>
                    <a:lnTo>
                      <a:pt x="666" y="1378"/>
                    </a:lnTo>
                    <a:lnTo>
                      <a:pt x="674" y="1382"/>
                    </a:lnTo>
                    <a:lnTo>
                      <a:pt x="674" y="1382"/>
                    </a:lnTo>
                    <a:lnTo>
                      <a:pt x="682" y="1386"/>
                    </a:lnTo>
                    <a:lnTo>
                      <a:pt x="680" y="1386"/>
                    </a:lnTo>
                    <a:lnTo>
                      <a:pt x="672" y="1384"/>
                    </a:lnTo>
                    <a:lnTo>
                      <a:pt x="668" y="1384"/>
                    </a:lnTo>
                    <a:lnTo>
                      <a:pt x="664" y="1386"/>
                    </a:lnTo>
                    <a:lnTo>
                      <a:pt x="664" y="1386"/>
                    </a:lnTo>
                    <a:lnTo>
                      <a:pt x="662" y="1386"/>
                    </a:lnTo>
                    <a:lnTo>
                      <a:pt x="660" y="1386"/>
                    </a:lnTo>
                    <a:lnTo>
                      <a:pt x="654" y="1382"/>
                    </a:lnTo>
                    <a:lnTo>
                      <a:pt x="648" y="1380"/>
                    </a:lnTo>
                    <a:lnTo>
                      <a:pt x="644" y="1378"/>
                    </a:lnTo>
                    <a:lnTo>
                      <a:pt x="638" y="1380"/>
                    </a:lnTo>
                    <a:lnTo>
                      <a:pt x="630" y="1384"/>
                    </a:lnTo>
                    <a:lnTo>
                      <a:pt x="630" y="1384"/>
                    </a:lnTo>
                    <a:lnTo>
                      <a:pt x="624" y="1390"/>
                    </a:lnTo>
                    <a:lnTo>
                      <a:pt x="622" y="1394"/>
                    </a:lnTo>
                    <a:lnTo>
                      <a:pt x="624" y="1396"/>
                    </a:lnTo>
                    <a:lnTo>
                      <a:pt x="626" y="1398"/>
                    </a:lnTo>
                    <a:lnTo>
                      <a:pt x="632" y="1404"/>
                    </a:lnTo>
                    <a:lnTo>
                      <a:pt x="632" y="1404"/>
                    </a:lnTo>
                    <a:lnTo>
                      <a:pt x="628" y="1406"/>
                    </a:lnTo>
                    <a:lnTo>
                      <a:pt x="628" y="1406"/>
                    </a:lnTo>
                    <a:lnTo>
                      <a:pt x="622" y="1410"/>
                    </a:lnTo>
                    <a:lnTo>
                      <a:pt x="622" y="1412"/>
                    </a:lnTo>
                    <a:lnTo>
                      <a:pt x="624" y="1412"/>
                    </a:lnTo>
                    <a:lnTo>
                      <a:pt x="628" y="1416"/>
                    </a:lnTo>
                    <a:lnTo>
                      <a:pt x="628" y="1416"/>
                    </a:lnTo>
                    <a:lnTo>
                      <a:pt x="626" y="1418"/>
                    </a:lnTo>
                    <a:lnTo>
                      <a:pt x="626" y="1418"/>
                    </a:lnTo>
                    <a:lnTo>
                      <a:pt x="626" y="1420"/>
                    </a:lnTo>
                    <a:lnTo>
                      <a:pt x="624" y="1424"/>
                    </a:lnTo>
                    <a:lnTo>
                      <a:pt x="626" y="1426"/>
                    </a:lnTo>
                    <a:lnTo>
                      <a:pt x="628" y="1428"/>
                    </a:lnTo>
                    <a:lnTo>
                      <a:pt x="632" y="1430"/>
                    </a:lnTo>
                    <a:lnTo>
                      <a:pt x="636" y="1430"/>
                    </a:lnTo>
                    <a:lnTo>
                      <a:pt x="642" y="1430"/>
                    </a:lnTo>
                    <a:lnTo>
                      <a:pt x="648" y="1428"/>
                    </a:lnTo>
                    <a:lnTo>
                      <a:pt x="648" y="1428"/>
                    </a:lnTo>
                    <a:lnTo>
                      <a:pt x="654" y="1424"/>
                    </a:lnTo>
                    <a:lnTo>
                      <a:pt x="660" y="1424"/>
                    </a:lnTo>
                    <a:lnTo>
                      <a:pt x="670" y="1426"/>
                    </a:lnTo>
                    <a:lnTo>
                      <a:pt x="678" y="1428"/>
                    </a:lnTo>
                    <a:lnTo>
                      <a:pt x="680" y="1426"/>
                    </a:lnTo>
                    <a:lnTo>
                      <a:pt x="684" y="1422"/>
                    </a:lnTo>
                    <a:lnTo>
                      <a:pt x="684" y="1422"/>
                    </a:lnTo>
                    <a:lnTo>
                      <a:pt x="686" y="1420"/>
                    </a:lnTo>
                    <a:lnTo>
                      <a:pt x="688" y="1418"/>
                    </a:lnTo>
                    <a:lnTo>
                      <a:pt x="692" y="1420"/>
                    </a:lnTo>
                    <a:lnTo>
                      <a:pt x="700" y="1424"/>
                    </a:lnTo>
                    <a:lnTo>
                      <a:pt x="704" y="1426"/>
                    </a:lnTo>
                    <a:lnTo>
                      <a:pt x="710" y="1426"/>
                    </a:lnTo>
                    <a:lnTo>
                      <a:pt x="710" y="1426"/>
                    </a:lnTo>
                    <a:lnTo>
                      <a:pt x="720" y="1424"/>
                    </a:lnTo>
                    <a:lnTo>
                      <a:pt x="726" y="1424"/>
                    </a:lnTo>
                    <a:lnTo>
                      <a:pt x="726" y="1426"/>
                    </a:lnTo>
                    <a:lnTo>
                      <a:pt x="724" y="1426"/>
                    </a:lnTo>
                    <a:lnTo>
                      <a:pt x="716" y="1430"/>
                    </a:lnTo>
                    <a:lnTo>
                      <a:pt x="716" y="1430"/>
                    </a:lnTo>
                    <a:lnTo>
                      <a:pt x="710" y="1432"/>
                    </a:lnTo>
                    <a:lnTo>
                      <a:pt x="708" y="1434"/>
                    </a:lnTo>
                    <a:lnTo>
                      <a:pt x="708" y="1436"/>
                    </a:lnTo>
                    <a:lnTo>
                      <a:pt x="708" y="1438"/>
                    </a:lnTo>
                    <a:lnTo>
                      <a:pt x="708" y="1440"/>
                    </a:lnTo>
                    <a:lnTo>
                      <a:pt x="700" y="1434"/>
                    </a:lnTo>
                    <a:lnTo>
                      <a:pt x="700" y="1434"/>
                    </a:lnTo>
                    <a:lnTo>
                      <a:pt x="694" y="1428"/>
                    </a:lnTo>
                    <a:lnTo>
                      <a:pt x="690" y="1428"/>
                    </a:lnTo>
                    <a:lnTo>
                      <a:pt x="688" y="1428"/>
                    </a:lnTo>
                    <a:lnTo>
                      <a:pt x="686" y="1430"/>
                    </a:lnTo>
                    <a:lnTo>
                      <a:pt x="682" y="1434"/>
                    </a:lnTo>
                    <a:lnTo>
                      <a:pt x="680" y="1434"/>
                    </a:lnTo>
                    <a:lnTo>
                      <a:pt x="676" y="1432"/>
                    </a:lnTo>
                    <a:lnTo>
                      <a:pt x="676" y="1432"/>
                    </a:lnTo>
                    <a:lnTo>
                      <a:pt x="672" y="1430"/>
                    </a:lnTo>
                    <a:lnTo>
                      <a:pt x="666" y="1430"/>
                    </a:lnTo>
                    <a:lnTo>
                      <a:pt x="656" y="1432"/>
                    </a:lnTo>
                    <a:lnTo>
                      <a:pt x="646" y="1436"/>
                    </a:lnTo>
                    <a:lnTo>
                      <a:pt x="640" y="1436"/>
                    </a:lnTo>
                    <a:lnTo>
                      <a:pt x="636" y="1436"/>
                    </a:lnTo>
                    <a:lnTo>
                      <a:pt x="636" y="1436"/>
                    </a:lnTo>
                    <a:lnTo>
                      <a:pt x="626" y="1434"/>
                    </a:lnTo>
                    <a:lnTo>
                      <a:pt x="624" y="1436"/>
                    </a:lnTo>
                    <a:lnTo>
                      <a:pt x="626" y="1442"/>
                    </a:lnTo>
                    <a:lnTo>
                      <a:pt x="626" y="1442"/>
                    </a:lnTo>
                    <a:lnTo>
                      <a:pt x="626" y="1446"/>
                    </a:lnTo>
                    <a:lnTo>
                      <a:pt x="626" y="1448"/>
                    </a:lnTo>
                    <a:lnTo>
                      <a:pt x="632" y="1448"/>
                    </a:lnTo>
                    <a:lnTo>
                      <a:pt x="636" y="1448"/>
                    </a:lnTo>
                    <a:lnTo>
                      <a:pt x="636" y="1450"/>
                    </a:lnTo>
                    <a:lnTo>
                      <a:pt x="638" y="1454"/>
                    </a:lnTo>
                    <a:lnTo>
                      <a:pt x="638" y="1454"/>
                    </a:lnTo>
                    <a:lnTo>
                      <a:pt x="636" y="1456"/>
                    </a:lnTo>
                    <a:lnTo>
                      <a:pt x="636" y="1456"/>
                    </a:lnTo>
                    <a:lnTo>
                      <a:pt x="630" y="1454"/>
                    </a:lnTo>
                    <a:lnTo>
                      <a:pt x="626" y="1454"/>
                    </a:lnTo>
                    <a:lnTo>
                      <a:pt x="624" y="1454"/>
                    </a:lnTo>
                    <a:lnTo>
                      <a:pt x="626" y="1458"/>
                    </a:lnTo>
                    <a:lnTo>
                      <a:pt x="626" y="1458"/>
                    </a:lnTo>
                    <a:lnTo>
                      <a:pt x="628" y="1460"/>
                    </a:lnTo>
                    <a:lnTo>
                      <a:pt x="630" y="1462"/>
                    </a:lnTo>
                    <a:lnTo>
                      <a:pt x="634" y="1462"/>
                    </a:lnTo>
                    <a:lnTo>
                      <a:pt x="638" y="1462"/>
                    </a:lnTo>
                    <a:lnTo>
                      <a:pt x="640" y="1464"/>
                    </a:lnTo>
                    <a:lnTo>
                      <a:pt x="638" y="1468"/>
                    </a:lnTo>
                    <a:lnTo>
                      <a:pt x="638" y="1468"/>
                    </a:lnTo>
                    <a:lnTo>
                      <a:pt x="638" y="1472"/>
                    </a:lnTo>
                    <a:lnTo>
                      <a:pt x="636" y="1476"/>
                    </a:lnTo>
                    <a:lnTo>
                      <a:pt x="630" y="1478"/>
                    </a:lnTo>
                    <a:lnTo>
                      <a:pt x="626" y="1480"/>
                    </a:lnTo>
                    <a:lnTo>
                      <a:pt x="626" y="1480"/>
                    </a:lnTo>
                    <a:lnTo>
                      <a:pt x="626" y="1482"/>
                    </a:lnTo>
                    <a:lnTo>
                      <a:pt x="626" y="1482"/>
                    </a:lnTo>
                    <a:lnTo>
                      <a:pt x="636" y="1490"/>
                    </a:lnTo>
                    <a:lnTo>
                      <a:pt x="638" y="1492"/>
                    </a:lnTo>
                    <a:lnTo>
                      <a:pt x="642" y="1490"/>
                    </a:lnTo>
                    <a:lnTo>
                      <a:pt x="642" y="1490"/>
                    </a:lnTo>
                    <a:lnTo>
                      <a:pt x="646" y="1488"/>
                    </a:lnTo>
                    <a:lnTo>
                      <a:pt x="646" y="1488"/>
                    </a:lnTo>
                    <a:lnTo>
                      <a:pt x="648" y="1490"/>
                    </a:lnTo>
                    <a:lnTo>
                      <a:pt x="650" y="1494"/>
                    </a:lnTo>
                    <a:lnTo>
                      <a:pt x="650" y="1494"/>
                    </a:lnTo>
                    <a:lnTo>
                      <a:pt x="652" y="1492"/>
                    </a:lnTo>
                    <a:lnTo>
                      <a:pt x="652" y="1492"/>
                    </a:lnTo>
                    <a:lnTo>
                      <a:pt x="654" y="1492"/>
                    </a:lnTo>
                    <a:lnTo>
                      <a:pt x="654" y="1492"/>
                    </a:lnTo>
                    <a:lnTo>
                      <a:pt x="654" y="1496"/>
                    </a:lnTo>
                    <a:lnTo>
                      <a:pt x="654" y="1500"/>
                    </a:lnTo>
                    <a:lnTo>
                      <a:pt x="654" y="1502"/>
                    </a:lnTo>
                    <a:lnTo>
                      <a:pt x="656" y="1502"/>
                    </a:lnTo>
                    <a:lnTo>
                      <a:pt x="656" y="1502"/>
                    </a:lnTo>
                    <a:lnTo>
                      <a:pt x="658" y="1502"/>
                    </a:lnTo>
                    <a:lnTo>
                      <a:pt x="658" y="1500"/>
                    </a:lnTo>
                    <a:lnTo>
                      <a:pt x="660" y="1494"/>
                    </a:lnTo>
                    <a:lnTo>
                      <a:pt x="662" y="1488"/>
                    </a:lnTo>
                    <a:lnTo>
                      <a:pt x="662" y="1486"/>
                    </a:lnTo>
                    <a:lnTo>
                      <a:pt x="666" y="1486"/>
                    </a:lnTo>
                    <a:lnTo>
                      <a:pt x="666" y="1486"/>
                    </a:lnTo>
                    <a:lnTo>
                      <a:pt x="668" y="1486"/>
                    </a:lnTo>
                    <a:lnTo>
                      <a:pt x="670" y="1488"/>
                    </a:lnTo>
                    <a:lnTo>
                      <a:pt x="666" y="1496"/>
                    </a:lnTo>
                    <a:lnTo>
                      <a:pt x="660" y="1504"/>
                    </a:lnTo>
                    <a:lnTo>
                      <a:pt x="654" y="1508"/>
                    </a:lnTo>
                    <a:lnTo>
                      <a:pt x="654" y="1508"/>
                    </a:lnTo>
                    <a:lnTo>
                      <a:pt x="652" y="1510"/>
                    </a:lnTo>
                    <a:lnTo>
                      <a:pt x="650" y="1512"/>
                    </a:lnTo>
                    <a:lnTo>
                      <a:pt x="654" y="1514"/>
                    </a:lnTo>
                    <a:lnTo>
                      <a:pt x="658" y="1518"/>
                    </a:lnTo>
                    <a:lnTo>
                      <a:pt x="658" y="1520"/>
                    </a:lnTo>
                    <a:lnTo>
                      <a:pt x="656" y="1522"/>
                    </a:lnTo>
                    <a:lnTo>
                      <a:pt x="656" y="1522"/>
                    </a:lnTo>
                    <a:lnTo>
                      <a:pt x="650" y="1524"/>
                    </a:lnTo>
                    <a:lnTo>
                      <a:pt x="648" y="1522"/>
                    </a:lnTo>
                    <a:lnTo>
                      <a:pt x="644" y="1522"/>
                    </a:lnTo>
                    <a:lnTo>
                      <a:pt x="636" y="1526"/>
                    </a:lnTo>
                    <a:lnTo>
                      <a:pt x="636" y="1526"/>
                    </a:lnTo>
                    <a:lnTo>
                      <a:pt x="632" y="1530"/>
                    </a:lnTo>
                    <a:lnTo>
                      <a:pt x="632" y="1536"/>
                    </a:lnTo>
                    <a:lnTo>
                      <a:pt x="632" y="1540"/>
                    </a:lnTo>
                    <a:lnTo>
                      <a:pt x="634" y="1544"/>
                    </a:lnTo>
                    <a:lnTo>
                      <a:pt x="640" y="1548"/>
                    </a:lnTo>
                    <a:lnTo>
                      <a:pt x="644" y="1548"/>
                    </a:lnTo>
                    <a:lnTo>
                      <a:pt x="646" y="1548"/>
                    </a:lnTo>
                    <a:lnTo>
                      <a:pt x="646" y="1548"/>
                    </a:lnTo>
                    <a:lnTo>
                      <a:pt x="646" y="1546"/>
                    </a:lnTo>
                    <a:lnTo>
                      <a:pt x="648" y="1546"/>
                    </a:lnTo>
                    <a:lnTo>
                      <a:pt x="650" y="1546"/>
                    </a:lnTo>
                    <a:lnTo>
                      <a:pt x="654" y="1548"/>
                    </a:lnTo>
                    <a:lnTo>
                      <a:pt x="656" y="1544"/>
                    </a:lnTo>
                    <a:lnTo>
                      <a:pt x="656" y="1544"/>
                    </a:lnTo>
                    <a:lnTo>
                      <a:pt x="658" y="1542"/>
                    </a:lnTo>
                    <a:lnTo>
                      <a:pt x="660" y="1540"/>
                    </a:lnTo>
                    <a:lnTo>
                      <a:pt x="664" y="1542"/>
                    </a:lnTo>
                    <a:lnTo>
                      <a:pt x="666" y="1544"/>
                    </a:lnTo>
                    <a:lnTo>
                      <a:pt x="664" y="1548"/>
                    </a:lnTo>
                    <a:lnTo>
                      <a:pt x="662" y="1548"/>
                    </a:lnTo>
                    <a:lnTo>
                      <a:pt x="662" y="1548"/>
                    </a:lnTo>
                    <a:lnTo>
                      <a:pt x="660" y="1550"/>
                    </a:lnTo>
                    <a:lnTo>
                      <a:pt x="660" y="1552"/>
                    </a:lnTo>
                    <a:lnTo>
                      <a:pt x="662" y="1554"/>
                    </a:lnTo>
                    <a:lnTo>
                      <a:pt x="664" y="1556"/>
                    </a:lnTo>
                    <a:lnTo>
                      <a:pt x="662" y="1558"/>
                    </a:lnTo>
                    <a:lnTo>
                      <a:pt x="662" y="1558"/>
                    </a:lnTo>
                    <a:lnTo>
                      <a:pt x="660" y="1560"/>
                    </a:lnTo>
                    <a:lnTo>
                      <a:pt x="660" y="1562"/>
                    </a:lnTo>
                    <a:lnTo>
                      <a:pt x="662" y="1564"/>
                    </a:lnTo>
                    <a:lnTo>
                      <a:pt x="662" y="1568"/>
                    </a:lnTo>
                    <a:lnTo>
                      <a:pt x="662" y="1568"/>
                    </a:lnTo>
                    <a:lnTo>
                      <a:pt x="658" y="1570"/>
                    </a:lnTo>
                    <a:lnTo>
                      <a:pt x="658" y="1570"/>
                    </a:lnTo>
                    <a:lnTo>
                      <a:pt x="654" y="1572"/>
                    </a:lnTo>
                    <a:lnTo>
                      <a:pt x="652" y="1570"/>
                    </a:lnTo>
                    <a:lnTo>
                      <a:pt x="648" y="1568"/>
                    </a:lnTo>
                    <a:lnTo>
                      <a:pt x="646" y="1566"/>
                    </a:lnTo>
                    <a:lnTo>
                      <a:pt x="646" y="1566"/>
                    </a:lnTo>
                    <a:lnTo>
                      <a:pt x="644" y="1576"/>
                    </a:lnTo>
                    <a:lnTo>
                      <a:pt x="644" y="1576"/>
                    </a:lnTo>
                    <a:lnTo>
                      <a:pt x="642" y="1586"/>
                    </a:lnTo>
                    <a:lnTo>
                      <a:pt x="646" y="1592"/>
                    </a:lnTo>
                    <a:lnTo>
                      <a:pt x="646" y="1592"/>
                    </a:lnTo>
                    <a:lnTo>
                      <a:pt x="652" y="1598"/>
                    </a:lnTo>
                    <a:lnTo>
                      <a:pt x="658" y="1600"/>
                    </a:lnTo>
                    <a:lnTo>
                      <a:pt x="662" y="1600"/>
                    </a:lnTo>
                    <a:lnTo>
                      <a:pt x="664" y="1604"/>
                    </a:lnTo>
                    <a:lnTo>
                      <a:pt x="664" y="1604"/>
                    </a:lnTo>
                    <a:lnTo>
                      <a:pt x="668" y="1608"/>
                    </a:lnTo>
                    <a:lnTo>
                      <a:pt x="674" y="1612"/>
                    </a:lnTo>
                    <a:lnTo>
                      <a:pt x="688" y="1616"/>
                    </a:lnTo>
                    <a:lnTo>
                      <a:pt x="688" y="1616"/>
                    </a:lnTo>
                    <a:lnTo>
                      <a:pt x="690" y="1618"/>
                    </a:lnTo>
                    <a:lnTo>
                      <a:pt x="688" y="1620"/>
                    </a:lnTo>
                    <a:lnTo>
                      <a:pt x="688" y="1624"/>
                    </a:lnTo>
                    <a:lnTo>
                      <a:pt x="688" y="1624"/>
                    </a:lnTo>
                    <a:lnTo>
                      <a:pt x="690" y="1626"/>
                    </a:lnTo>
                    <a:lnTo>
                      <a:pt x="690" y="1626"/>
                    </a:lnTo>
                    <a:lnTo>
                      <a:pt x="692" y="1628"/>
                    </a:lnTo>
                    <a:lnTo>
                      <a:pt x="694" y="1628"/>
                    </a:lnTo>
                    <a:lnTo>
                      <a:pt x="696" y="1626"/>
                    </a:lnTo>
                    <a:lnTo>
                      <a:pt x="700" y="1626"/>
                    </a:lnTo>
                    <a:lnTo>
                      <a:pt x="700" y="1626"/>
                    </a:lnTo>
                    <a:lnTo>
                      <a:pt x="704" y="1630"/>
                    </a:lnTo>
                    <a:lnTo>
                      <a:pt x="706" y="1632"/>
                    </a:lnTo>
                    <a:lnTo>
                      <a:pt x="706" y="1632"/>
                    </a:lnTo>
                    <a:lnTo>
                      <a:pt x="710" y="1630"/>
                    </a:lnTo>
                    <a:lnTo>
                      <a:pt x="710" y="1630"/>
                    </a:lnTo>
                    <a:lnTo>
                      <a:pt x="720" y="1628"/>
                    </a:lnTo>
                    <a:lnTo>
                      <a:pt x="734" y="1628"/>
                    </a:lnTo>
                    <a:lnTo>
                      <a:pt x="746" y="1626"/>
                    </a:lnTo>
                    <a:lnTo>
                      <a:pt x="752" y="1624"/>
                    </a:lnTo>
                    <a:lnTo>
                      <a:pt x="756" y="1620"/>
                    </a:lnTo>
                    <a:lnTo>
                      <a:pt x="756" y="1620"/>
                    </a:lnTo>
                    <a:lnTo>
                      <a:pt x="760" y="1618"/>
                    </a:lnTo>
                    <a:lnTo>
                      <a:pt x="766" y="1614"/>
                    </a:lnTo>
                    <a:lnTo>
                      <a:pt x="774" y="1608"/>
                    </a:lnTo>
                    <a:lnTo>
                      <a:pt x="780" y="1600"/>
                    </a:lnTo>
                    <a:lnTo>
                      <a:pt x="780" y="1600"/>
                    </a:lnTo>
                    <a:lnTo>
                      <a:pt x="782" y="1596"/>
                    </a:lnTo>
                    <a:lnTo>
                      <a:pt x="784" y="1594"/>
                    </a:lnTo>
                    <a:lnTo>
                      <a:pt x="790" y="1592"/>
                    </a:lnTo>
                    <a:lnTo>
                      <a:pt x="792" y="1592"/>
                    </a:lnTo>
                    <a:lnTo>
                      <a:pt x="794" y="1588"/>
                    </a:lnTo>
                    <a:lnTo>
                      <a:pt x="794" y="1588"/>
                    </a:lnTo>
                    <a:lnTo>
                      <a:pt x="794" y="1586"/>
                    </a:lnTo>
                    <a:lnTo>
                      <a:pt x="796" y="1586"/>
                    </a:lnTo>
                    <a:lnTo>
                      <a:pt x="800" y="1584"/>
                    </a:lnTo>
                    <a:lnTo>
                      <a:pt x="804" y="1582"/>
                    </a:lnTo>
                    <a:lnTo>
                      <a:pt x="804" y="1582"/>
                    </a:lnTo>
                    <a:lnTo>
                      <a:pt x="800" y="1578"/>
                    </a:lnTo>
                    <a:lnTo>
                      <a:pt x="800" y="1578"/>
                    </a:lnTo>
                    <a:lnTo>
                      <a:pt x="798" y="1576"/>
                    </a:lnTo>
                    <a:lnTo>
                      <a:pt x="798" y="1576"/>
                    </a:lnTo>
                    <a:lnTo>
                      <a:pt x="802" y="1574"/>
                    </a:lnTo>
                    <a:lnTo>
                      <a:pt x="810" y="1572"/>
                    </a:lnTo>
                    <a:lnTo>
                      <a:pt x="812" y="1570"/>
                    </a:lnTo>
                    <a:lnTo>
                      <a:pt x="812" y="1566"/>
                    </a:lnTo>
                    <a:lnTo>
                      <a:pt x="812" y="1566"/>
                    </a:lnTo>
                    <a:lnTo>
                      <a:pt x="812" y="1562"/>
                    </a:lnTo>
                    <a:lnTo>
                      <a:pt x="816" y="1564"/>
                    </a:lnTo>
                    <a:lnTo>
                      <a:pt x="820" y="1568"/>
                    </a:lnTo>
                    <a:lnTo>
                      <a:pt x="822" y="1570"/>
                    </a:lnTo>
                    <a:lnTo>
                      <a:pt x="824" y="1568"/>
                    </a:lnTo>
                    <a:lnTo>
                      <a:pt x="824" y="1568"/>
                    </a:lnTo>
                    <a:lnTo>
                      <a:pt x="828" y="1566"/>
                    </a:lnTo>
                    <a:lnTo>
                      <a:pt x="834" y="1566"/>
                    </a:lnTo>
                    <a:lnTo>
                      <a:pt x="838" y="1564"/>
                    </a:lnTo>
                    <a:lnTo>
                      <a:pt x="838" y="1558"/>
                    </a:lnTo>
                    <a:lnTo>
                      <a:pt x="838" y="1558"/>
                    </a:lnTo>
                    <a:lnTo>
                      <a:pt x="838" y="1554"/>
                    </a:lnTo>
                    <a:lnTo>
                      <a:pt x="840" y="1552"/>
                    </a:lnTo>
                    <a:lnTo>
                      <a:pt x="844" y="1550"/>
                    </a:lnTo>
                    <a:lnTo>
                      <a:pt x="846" y="1548"/>
                    </a:lnTo>
                    <a:lnTo>
                      <a:pt x="846" y="1548"/>
                    </a:lnTo>
                    <a:lnTo>
                      <a:pt x="842" y="1540"/>
                    </a:lnTo>
                    <a:lnTo>
                      <a:pt x="842" y="1540"/>
                    </a:lnTo>
                    <a:lnTo>
                      <a:pt x="840" y="1536"/>
                    </a:lnTo>
                    <a:lnTo>
                      <a:pt x="838" y="1532"/>
                    </a:lnTo>
                    <a:lnTo>
                      <a:pt x="840" y="1528"/>
                    </a:lnTo>
                    <a:lnTo>
                      <a:pt x="844" y="1532"/>
                    </a:lnTo>
                    <a:lnTo>
                      <a:pt x="844" y="1532"/>
                    </a:lnTo>
                    <a:lnTo>
                      <a:pt x="846" y="1534"/>
                    </a:lnTo>
                    <a:lnTo>
                      <a:pt x="848" y="1534"/>
                    </a:lnTo>
                    <a:lnTo>
                      <a:pt x="850" y="1530"/>
                    </a:lnTo>
                    <a:lnTo>
                      <a:pt x="850" y="1528"/>
                    </a:lnTo>
                    <a:lnTo>
                      <a:pt x="852" y="1530"/>
                    </a:lnTo>
                    <a:lnTo>
                      <a:pt x="852" y="1530"/>
                    </a:lnTo>
                    <a:lnTo>
                      <a:pt x="852" y="1536"/>
                    </a:lnTo>
                    <a:lnTo>
                      <a:pt x="850" y="1538"/>
                    </a:lnTo>
                    <a:lnTo>
                      <a:pt x="850" y="1540"/>
                    </a:lnTo>
                    <a:lnTo>
                      <a:pt x="852" y="1542"/>
                    </a:lnTo>
                    <a:lnTo>
                      <a:pt x="852" y="1542"/>
                    </a:lnTo>
                    <a:lnTo>
                      <a:pt x="854" y="1548"/>
                    </a:lnTo>
                    <a:lnTo>
                      <a:pt x="854" y="1552"/>
                    </a:lnTo>
                    <a:lnTo>
                      <a:pt x="856" y="1554"/>
                    </a:lnTo>
                    <a:lnTo>
                      <a:pt x="862" y="1556"/>
                    </a:lnTo>
                    <a:lnTo>
                      <a:pt x="862" y="1556"/>
                    </a:lnTo>
                    <a:lnTo>
                      <a:pt x="866" y="1556"/>
                    </a:lnTo>
                    <a:lnTo>
                      <a:pt x="866" y="1558"/>
                    </a:lnTo>
                    <a:lnTo>
                      <a:pt x="868" y="1558"/>
                    </a:lnTo>
                    <a:lnTo>
                      <a:pt x="876" y="1560"/>
                    </a:lnTo>
                    <a:lnTo>
                      <a:pt x="876" y="1560"/>
                    </a:lnTo>
                    <a:lnTo>
                      <a:pt x="874" y="1564"/>
                    </a:lnTo>
                    <a:lnTo>
                      <a:pt x="872" y="1566"/>
                    </a:lnTo>
                    <a:lnTo>
                      <a:pt x="872" y="1570"/>
                    </a:lnTo>
                    <a:lnTo>
                      <a:pt x="874" y="1576"/>
                    </a:lnTo>
                    <a:lnTo>
                      <a:pt x="874" y="1576"/>
                    </a:lnTo>
                    <a:lnTo>
                      <a:pt x="876" y="1584"/>
                    </a:lnTo>
                    <a:lnTo>
                      <a:pt x="876" y="1594"/>
                    </a:lnTo>
                    <a:lnTo>
                      <a:pt x="876" y="1602"/>
                    </a:lnTo>
                    <a:lnTo>
                      <a:pt x="876" y="1608"/>
                    </a:lnTo>
                    <a:lnTo>
                      <a:pt x="878" y="1612"/>
                    </a:lnTo>
                    <a:lnTo>
                      <a:pt x="878" y="1612"/>
                    </a:lnTo>
                    <a:lnTo>
                      <a:pt x="882" y="1616"/>
                    </a:lnTo>
                    <a:lnTo>
                      <a:pt x="886" y="1616"/>
                    </a:lnTo>
                    <a:lnTo>
                      <a:pt x="890" y="1614"/>
                    </a:lnTo>
                    <a:lnTo>
                      <a:pt x="896" y="1610"/>
                    </a:lnTo>
                    <a:lnTo>
                      <a:pt x="898" y="1612"/>
                    </a:lnTo>
                    <a:lnTo>
                      <a:pt x="900" y="1614"/>
                    </a:lnTo>
                    <a:lnTo>
                      <a:pt x="900" y="1614"/>
                    </a:lnTo>
                    <a:lnTo>
                      <a:pt x="902" y="1618"/>
                    </a:lnTo>
                    <a:lnTo>
                      <a:pt x="902" y="1622"/>
                    </a:lnTo>
                    <a:lnTo>
                      <a:pt x="900" y="1628"/>
                    </a:lnTo>
                    <a:lnTo>
                      <a:pt x="896" y="1638"/>
                    </a:lnTo>
                    <a:lnTo>
                      <a:pt x="898" y="1644"/>
                    </a:lnTo>
                    <a:lnTo>
                      <a:pt x="900" y="1652"/>
                    </a:lnTo>
                    <a:lnTo>
                      <a:pt x="900" y="1652"/>
                    </a:lnTo>
                    <a:lnTo>
                      <a:pt x="906" y="1672"/>
                    </a:lnTo>
                    <a:lnTo>
                      <a:pt x="916" y="1694"/>
                    </a:lnTo>
                    <a:lnTo>
                      <a:pt x="928" y="1710"/>
                    </a:lnTo>
                    <a:lnTo>
                      <a:pt x="932" y="1716"/>
                    </a:lnTo>
                    <a:lnTo>
                      <a:pt x="936" y="1716"/>
                    </a:lnTo>
                    <a:lnTo>
                      <a:pt x="936" y="1716"/>
                    </a:lnTo>
                    <a:lnTo>
                      <a:pt x="942" y="1716"/>
                    </a:lnTo>
                    <a:lnTo>
                      <a:pt x="944" y="1718"/>
                    </a:lnTo>
                    <a:lnTo>
                      <a:pt x="944" y="1720"/>
                    </a:lnTo>
                    <a:lnTo>
                      <a:pt x="942" y="1726"/>
                    </a:lnTo>
                    <a:lnTo>
                      <a:pt x="934" y="1728"/>
                    </a:lnTo>
                    <a:lnTo>
                      <a:pt x="934" y="1728"/>
                    </a:lnTo>
                    <a:lnTo>
                      <a:pt x="932" y="1730"/>
                    </a:lnTo>
                    <a:lnTo>
                      <a:pt x="934" y="1732"/>
                    </a:lnTo>
                    <a:lnTo>
                      <a:pt x="936" y="1738"/>
                    </a:lnTo>
                    <a:lnTo>
                      <a:pt x="938" y="1742"/>
                    </a:lnTo>
                    <a:lnTo>
                      <a:pt x="932" y="1740"/>
                    </a:lnTo>
                    <a:lnTo>
                      <a:pt x="932" y="1740"/>
                    </a:lnTo>
                    <a:lnTo>
                      <a:pt x="926" y="1740"/>
                    </a:lnTo>
                    <a:lnTo>
                      <a:pt x="926" y="1740"/>
                    </a:lnTo>
                    <a:lnTo>
                      <a:pt x="934" y="1752"/>
                    </a:lnTo>
                    <a:lnTo>
                      <a:pt x="940" y="1760"/>
                    </a:lnTo>
                    <a:lnTo>
                      <a:pt x="944" y="1768"/>
                    </a:lnTo>
                    <a:lnTo>
                      <a:pt x="946" y="1778"/>
                    </a:lnTo>
                    <a:lnTo>
                      <a:pt x="946" y="1782"/>
                    </a:lnTo>
                    <a:lnTo>
                      <a:pt x="944" y="1786"/>
                    </a:lnTo>
                    <a:lnTo>
                      <a:pt x="944" y="1786"/>
                    </a:lnTo>
                    <a:lnTo>
                      <a:pt x="940" y="1792"/>
                    </a:lnTo>
                    <a:lnTo>
                      <a:pt x="942" y="1796"/>
                    </a:lnTo>
                    <a:lnTo>
                      <a:pt x="946" y="1798"/>
                    </a:lnTo>
                    <a:lnTo>
                      <a:pt x="954" y="1798"/>
                    </a:lnTo>
                    <a:lnTo>
                      <a:pt x="972" y="1796"/>
                    </a:lnTo>
                    <a:lnTo>
                      <a:pt x="982" y="1794"/>
                    </a:lnTo>
                    <a:lnTo>
                      <a:pt x="990" y="1794"/>
                    </a:lnTo>
                    <a:lnTo>
                      <a:pt x="990" y="1794"/>
                    </a:lnTo>
                    <a:lnTo>
                      <a:pt x="996" y="1794"/>
                    </a:lnTo>
                    <a:lnTo>
                      <a:pt x="998" y="1788"/>
                    </a:lnTo>
                    <a:lnTo>
                      <a:pt x="1000" y="1774"/>
                    </a:lnTo>
                    <a:lnTo>
                      <a:pt x="1000" y="1768"/>
                    </a:lnTo>
                    <a:lnTo>
                      <a:pt x="1002" y="1760"/>
                    </a:lnTo>
                    <a:lnTo>
                      <a:pt x="1004" y="1756"/>
                    </a:lnTo>
                    <a:lnTo>
                      <a:pt x="1010" y="1756"/>
                    </a:lnTo>
                    <a:lnTo>
                      <a:pt x="1010" y="1756"/>
                    </a:lnTo>
                    <a:lnTo>
                      <a:pt x="1018" y="1756"/>
                    </a:lnTo>
                    <a:lnTo>
                      <a:pt x="1018" y="1754"/>
                    </a:lnTo>
                    <a:lnTo>
                      <a:pt x="1018" y="1752"/>
                    </a:lnTo>
                    <a:lnTo>
                      <a:pt x="1020" y="1750"/>
                    </a:lnTo>
                    <a:lnTo>
                      <a:pt x="1024" y="1748"/>
                    </a:lnTo>
                    <a:lnTo>
                      <a:pt x="1034" y="1746"/>
                    </a:lnTo>
                    <a:lnTo>
                      <a:pt x="1034" y="1746"/>
                    </a:lnTo>
                    <a:lnTo>
                      <a:pt x="1042" y="1746"/>
                    </a:lnTo>
                    <a:lnTo>
                      <a:pt x="1050" y="1746"/>
                    </a:lnTo>
                    <a:lnTo>
                      <a:pt x="1058" y="1750"/>
                    </a:lnTo>
                    <a:lnTo>
                      <a:pt x="1062" y="1750"/>
                    </a:lnTo>
                    <a:lnTo>
                      <a:pt x="1064" y="1750"/>
                    </a:lnTo>
                    <a:lnTo>
                      <a:pt x="1070" y="1736"/>
                    </a:lnTo>
                    <a:lnTo>
                      <a:pt x="1070" y="1736"/>
                    </a:lnTo>
                    <a:lnTo>
                      <a:pt x="1076" y="1720"/>
                    </a:lnTo>
                    <a:lnTo>
                      <a:pt x="1082" y="1708"/>
                    </a:lnTo>
                    <a:lnTo>
                      <a:pt x="1086" y="1700"/>
                    </a:lnTo>
                    <a:lnTo>
                      <a:pt x="1088" y="1692"/>
                    </a:lnTo>
                    <a:lnTo>
                      <a:pt x="1088" y="1692"/>
                    </a:lnTo>
                    <a:lnTo>
                      <a:pt x="1088" y="1684"/>
                    </a:lnTo>
                    <a:lnTo>
                      <a:pt x="1090" y="1676"/>
                    </a:lnTo>
                    <a:lnTo>
                      <a:pt x="1092" y="1666"/>
                    </a:lnTo>
                    <a:lnTo>
                      <a:pt x="1092" y="1658"/>
                    </a:lnTo>
                    <a:lnTo>
                      <a:pt x="1092" y="1658"/>
                    </a:lnTo>
                    <a:lnTo>
                      <a:pt x="1090" y="1654"/>
                    </a:lnTo>
                    <a:lnTo>
                      <a:pt x="1092" y="1650"/>
                    </a:lnTo>
                    <a:lnTo>
                      <a:pt x="1094" y="1644"/>
                    </a:lnTo>
                    <a:lnTo>
                      <a:pt x="1098" y="1638"/>
                    </a:lnTo>
                    <a:lnTo>
                      <a:pt x="1098" y="1634"/>
                    </a:lnTo>
                    <a:lnTo>
                      <a:pt x="1098" y="1632"/>
                    </a:lnTo>
                    <a:lnTo>
                      <a:pt x="1098" y="1632"/>
                    </a:lnTo>
                    <a:lnTo>
                      <a:pt x="1096" y="1626"/>
                    </a:lnTo>
                    <a:lnTo>
                      <a:pt x="1098" y="1622"/>
                    </a:lnTo>
                    <a:lnTo>
                      <a:pt x="1100" y="1618"/>
                    </a:lnTo>
                    <a:lnTo>
                      <a:pt x="1098" y="1610"/>
                    </a:lnTo>
                    <a:lnTo>
                      <a:pt x="1098" y="1610"/>
                    </a:lnTo>
                    <a:lnTo>
                      <a:pt x="1096" y="1606"/>
                    </a:lnTo>
                    <a:lnTo>
                      <a:pt x="1096" y="1604"/>
                    </a:lnTo>
                    <a:lnTo>
                      <a:pt x="1098" y="1604"/>
                    </a:lnTo>
                    <a:lnTo>
                      <a:pt x="1100" y="1602"/>
                    </a:lnTo>
                    <a:lnTo>
                      <a:pt x="1102" y="1600"/>
                    </a:lnTo>
                    <a:lnTo>
                      <a:pt x="1100" y="1598"/>
                    </a:lnTo>
                    <a:lnTo>
                      <a:pt x="1100" y="1598"/>
                    </a:lnTo>
                    <a:lnTo>
                      <a:pt x="1100" y="1596"/>
                    </a:lnTo>
                    <a:lnTo>
                      <a:pt x="1102" y="1592"/>
                    </a:lnTo>
                    <a:lnTo>
                      <a:pt x="1112" y="1588"/>
                    </a:lnTo>
                    <a:lnTo>
                      <a:pt x="1124" y="1582"/>
                    </a:lnTo>
                    <a:lnTo>
                      <a:pt x="1130" y="1578"/>
                    </a:lnTo>
                    <a:lnTo>
                      <a:pt x="1132" y="1574"/>
                    </a:lnTo>
                    <a:lnTo>
                      <a:pt x="1132" y="1574"/>
                    </a:lnTo>
                    <a:lnTo>
                      <a:pt x="1134" y="1570"/>
                    </a:lnTo>
                    <a:lnTo>
                      <a:pt x="1134" y="1568"/>
                    </a:lnTo>
                    <a:lnTo>
                      <a:pt x="1138" y="1572"/>
                    </a:lnTo>
                    <a:lnTo>
                      <a:pt x="1142" y="1576"/>
                    </a:lnTo>
                    <a:lnTo>
                      <a:pt x="1144" y="1574"/>
                    </a:lnTo>
                    <a:lnTo>
                      <a:pt x="1146" y="1572"/>
                    </a:lnTo>
                    <a:lnTo>
                      <a:pt x="1146" y="1572"/>
                    </a:lnTo>
                    <a:lnTo>
                      <a:pt x="1152" y="1566"/>
                    </a:lnTo>
                    <a:lnTo>
                      <a:pt x="1158" y="1562"/>
                    </a:lnTo>
                    <a:lnTo>
                      <a:pt x="1164" y="1560"/>
                    </a:lnTo>
                    <a:lnTo>
                      <a:pt x="1164" y="1558"/>
                    </a:lnTo>
                    <a:lnTo>
                      <a:pt x="1164" y="1556"/>
                    </a:lnTo>
                    <a:lnTo>
                      <a:pt x="1164" y="1556"/>
                    </a:lnTo>
                    <a:lnTo>
                      <a:pt x="1164" y="1556"/>
                    </a:lnTo>
                    <a:lnTo>
                      <a:pt x="1166" y="1554"/>
                    </a:lnTo>
                    <a:lnTo>
                      <a:pt x="1170" y="1552"/>
                    </a:lnTo>
                    <a:lnTo>
                      <a:pt x="1172" y="1550"/>
                    </a:lnTo>
                    <a:lnTo>
                      <a:pt x="1172" y="1548"/>
                    </a:lnTo>
                    <a:lnTo>
                      <a:pt x="1172" y="1546"/>
                    </a:lnTo>
                    <a:lnTo>
                      <a:pt x="1170" y="1542"/>
                    </a:lnTo>
                    <a:lnTo>
                      <a:pt x="1170" y="1542"/>
                    </a:lnTo>
                    <a:lnTo>
                      <a:pt x="1168" y="1540"/>
                    </a:lnTo>
                    <a:lnTo>
                      <a:pt x="1164" y="1540"/>
                    </a:lnTo>
                    <a:lnTo>
                      <a:pt x="1152" y="1546"/>
                    </a:lnTo>
                    <a:lnTo>
                      <a:pt x="1144" y="1550"/>
                    </a:lnTo>
                    <a:lnTo>
                      <a:pt x="1136" y="1550"/>
                    </a:lnTo>
                    <a:lnTo>
                      <a:pt x="1128" y="1550"/>
                    </a:lnTo>
                    <a:lnTo>
                      <a:pt x="1122" y="1546"/>
                    </a:lnTo>
                    <a:lnTo>
                      <a:pt x="1122" y="1546"/>
                    </a:lnTo>
                    <a:lnTo>
                      <a:pt x="1112" y="1540"/>
                    </a:lnTo>
                    <a:lnTo>
                      <a:pt x="1104" y="1538"/>
                    </a:lnTo>
                    <a:lnTo>
                      <a:pt x="1094" y="1538"/>
                    </a:lnTo>
                    <a:lnTo>
                      <a:pt x="1086" y="1538"/>
                    </a:lnTo>
                    <a:lnTo>
                      <a:pt x="1076" y="1538"/>
                    </a:lnTo>
                    <a:lnTo>
                      <a:pt x="1084" y="1534"/>
                    </a:lnTo>
                    <a:lnTo>
                      <a:pt x="1084" y="1534"/>
                    </a:lnTo>
                    <a:lnTo>
                      <a:pt x="1092" y="1530"/>
                    </a:lnTo>
                    <a:lnTo>
                      <a:pt x="1098" y="1530"/>
                    </a:lnTo>
                    <a:lnTo>
                      <a:pt x="1110" y="1530"/>
                    </a:lnTo>
                    <a:lnTo>
                      <a:pt x="1118" y="1534"/>
                    </a:lnTo>
                    <a:lnTo>
                      <a:pt x="1122" y="1534"/>
                    </a:lnTo>
                    <a:lnTo>
                      <a:pt x="1124" y="1532"/>
                    </a:lnTo>
                    <a:lnTo>
                      <a:pt x="1124" y="1532"/>
                    </a:lnTo>
                    <a:lnTo>
                      <a:pt x="1126" y="1532"/>
                    </a:lnTo>
                    <a:lnTo>
                      <a:pt x="1128" y="1532"/>
                    </a:lnTo>
                    <a:lnTo>
                      <a:pt x="1134" y="1538"/>
                    </a:lnTo>
                    <a:lnTo>
                      <a:pt x="1142" y="1544"/>
                    </a:lnTo>
                    <a:lnTo>
                      <a:pt x="1146" y="1544"/>
                    </a:lnTo>
                    <a:lnTo>
                      <a:pt x="1150" y="1542"/>
                    </a:lnTo>
                    <a:lnTo>
                      <a:pt x="1150" y="1542"/>
                    </a:lnTo>
                    <a:lnTo>
                      <a:pt x="1178" y="1528"/>
                    </a:lnTo>
                    <a:lnTo>
                      <a:pt x="1190" y="1518"/>
                    </a:lnTo>
                    <a:lnTo>
                      <a:pt x="1192" y="1516"/>
                    </a:lnTo>
                    <a:lnTo>
                      <a:pt x="1192" y="1512"/>
                    </a:lnTo>
                    <a:lnTo>
                      <a:pt x="1192" y="1512"/>
                    </a:lnTo>
                    <a:lnTo>
                      <a:pt x="1184" y="1500"/>
                    </a:lnTo>
                    <a:lnTo>
                      <a:pt x="1178" y="1496"/>
                    </a:lnTo>
                    <a:lnTo>
                      <a:pt x="1172" y="1496"/>
                    </a:lnTo>
                    <a:lnTo>
                      <a:pt x="1172" y="1496"/>
                    </a:lnTo>
                    <a:lnTo>
                      <a:pt x="1168" y="1496"/>
                    </a:lnTo>
                    <a:lnTo>
                      <a:pt x="1168" y="1494"/>
                    </a:lnTo>
                    <a:lnTo>
                      <a:pt x="1168" y="1490"/>
                    </a:lnTo>
                    <a:lnTo>
                      <a:pt x="1170" y="1484"/>
                    </a:lnTo>
                    <a:lnTo>
                      <a:pt x="1168" y="1482"/>
                    </a:lnTo>
                    <a:lnTo>
                      <a:pt x="1164" y="1480"/>
                    </a:lnTo>
                    <a:lnTo>
                      <a:pt x="1164" y="1480"/>
                    </a:lnTo>
                    <a:lnTo>
                      <a:pt x="1158" y="1476"/>
                    </a:lnTo>
                    <a:lnTo>
                      <a:pt x="1154" y="1472"/>
                    </a:lnTo>
                    <a:lnTo>
                      <a:pt x="1148" y="1468"/>
                    </a:lnTo>
                    <a:lnTo>
                      <a:pt x="1144" y="1466"/>
                    </a:lnTo>
                    <a:lnTo>
                      <a:pt x="1138" y="1468"/>
                    </a:lnTo>
                    <a:lnTo>
                      <a:pt x="1138" y="1468"/>
                    </a:lnTo>
                    <a:lnTo>
                      <a:pt x="1132" y="1468"/>
                    </a:lnTo>
                    <a:lnTo>
                      <a:pt x="1132" y="1466"/>
                    </a:lnTo>
                    <a:lnTo>
                      <a:pt x="1132" y="1462"/>
                    </a:lnTo>
                    <a:lnTo>
                      <a:pt x="1130" y="1462"/>
                    </a:lnTo>
                    <a:lnTo>
                      <a:pt x="1126" y="1460"/>
                    </a:lnTo>
                    <a:lnTo>
                      <a:pt x="1126" y="1460"/>
                    </a:lnTo>
                    <a:lnTo>
                      <a:pt x="1124" y="1460"/>
                    </a:lnTo>
                    <a:lnTo>
                      <a:pt x="1122" y="1458"/>
                    </a:lnTo>
                    <a:lnTo>
                      <a:pt x="1118" y="1450"/>
                    </a:lnTo>
                    <a:lnTo>
                      <a:pt x="1116" y="1440"/>
                    </a:lnTo>
                    <a:lnTo>
                      <a:pt x="1116" y="1428"/>
                    </a:lnTo>
                    <a:lnTo>
                      <a:pt x="1116" y="1416"/>
                    </a:lnTo>
                    <a:lnTo>
                      <a:pt x="1116" y="1406"/>
                    </a:lnTo>
                    <a:lnTo>
                      <a:pt x="1120" y="1398"/>
                    </a:lnTo>
                    <a:lnTo>
                      <a:pt x="1120" y="1396"/>
                    </a:lnTo>
                    <a:lnTo>
                      <a:pt x="1124" y="1396"/>
                    </a:lnTo>
                    <a:lnTo>
                      <a:pt x="1124" y="1396"/>
                    </a:lnTo>
                    <a:lnTo>
                      <a:pt x="1126" y="1394"/>
                    </a:lnTo>
                    <a:lnTo>
                      <a:pt x="1128" y="1392"/>
                    </a:lnTo>
                    <a:lnTo>
                      <a:pt x="1126" y="1386"/>
                    </a:lnTo>
                    <a:lnTo>
                      <a:pt x="1126" y="1374"/>
                    </a:lnTo>
                    <a:lnTo>
                      <a:pt x="1126" y="1368"/>
                    </a:lnTo>
                    <a:lnTo>
                      <a:pt x="1128" y="1360"/>
                    </a:lnTo>
                    <a:lnTo>
                      <a:pt x="1128" y="1360"/>
                    </a:lnTo>
                    <a:lnTo>
                      <a:pt x="1132" y="1356"/>
                    </a:lnTo>
                    <a:lnTo>
                      <a:pt x="1132" y="1352"/>
                    </a:lnTo>
                    <a:lnTo>
                      <a:pt x="1130" y="1352"/>
                    </a:lnTo>
                    <a:lnTo>
                      <a:pt x="1128" y="1350"/>
                    </a:lnTo>
                    <a:lnTo>
                      <a:pt x="1124" y="1350"/>
                    </a:lnTo>
                    <a:lnTo>
                      <a:pt x="1122" y="1348"/>
                    </a:lnTo>
                    <a:lnTo>
                      <a:pt x="1122" y="1342"/>
                    </a:lnTo>
                    <a:lnTo>
                      <a:pt x="1122" y="1342"/>
                    </a:lnTo>
                    <a:lnTo>
                      <a:pt x="1122" y="1336"/>
                    </a:lnTo>
                    <a:lnTo>
                      <a:pt x="1124" y="1338"/>
                    </a:lnTo>
                    <a:lnTo>
                      <a:pt x="1130" y="1340"/>
                    </a:lnTo>
                    <a:lnTo>
                      <a:pt x="1136" y="1340"/>
                    </a:lnTo>
                    <a:lnTo>
                      <a:pt x="1142" y="1338"/>
                    </a:lnTo>
                    <a:lnTo>
                      <a:pt x="1142" y="1338"/>
                    </a:lnTo>
                    <a:lnTo>
                      <a:pt x="1148" y="1334"/>
                    </a:lnTo>
                    <a:lnTo>
                      <a:pt x="1148" y="1332"/>
                    </a:lnTo>
                    <a:lnTo>
                      <a:pt x="1148" y="1330"/>
                    </a:lnTo>
                    <a:lnTo>
                      <a:pt x="1146" y="1326"/>
                    </a:lnTo>
                    <a:lnTo>
                      <a:pt x="1144" y="1324"/>
                    </a:lnTo>
                    <a:lnTo>
                      <a:pt x="1142" y="1322"/>
                    </a:lnTo>
                    <a:lnTo>
                      <a:pt x="1144" y="1322"/>
                    </a:lnTo>
                    <a:lnTo>
                      <a:pt x="1152" y="1320"/>
                    </a:lnTo>
                    <a:lnTo>
                      <a:pt x="1152" y="1320"/>
                    </a:lnTo>
                    <a:lnTo>
                      <a:pt x="1160" y="1318"/>
                    </a:lnTo>
                    <a:lnTo>
                      <a:pt x="1166" y="1312"/>
                    </a:lnTo>
                    <a:lnTo>
                      <a:pt x="1170" y="1308"/>
                    </a:lnTo>
                    <a:lnTo>
                      <a:pt x="1172" y="1302"/>
                    </a:lnTo>
                    <a:lnTo>
                      <a:pt x="1178" y="1294"/>
                    </a:lnTo>
                    <a:lnTo>
                      <a:pt x="1180" y="1292"/>
                    </a:lnTo>
                    <a:lnTo>
                      <a:pt x="1186" y="1292"/>
                    </a:lnTo>
                    <a:lnTo>
                      <a:pt x="1186" y="1292"/>
                    </a:lnTo>
                    <a:lnTo>
                      <a:pt x="1190" y="1294"/>
                    </a:lnTo>
                    <a:lnTo>
                      <a:pt x="1194" y="1292"/>
                    </a:lnTo>
                    <a:lnTo>
                      <a:pt x="1196" y="1286"/>
                    </a:lnTo>
                    <a:lnTo>
                      <a:pt x="1200" y="1278"/>
                    </a:lnTo>
                    <a:lnTo>
                      <a:pt x="1204" y="1274"/>
                    </a:lnTo>
                    <a:lnTo>
                      <a:pt x="1208" y="1274"/>
                    </a:lnTo>
                    <a:lnTo>
                      <a:pt x="1208" y="1274"/>
                    </a:lnTo>
                    <a:lnTo>
                      <a:pt x="1214" y="1274"/>
                    </a:lnTo>
                    <a:lnTo>
                      <a:pt x="1218" y="1274"/>
                    </a:lnTo>
                    <a:lnTo>
                      <a:pt x="1222" y="1268"/>
                    </a:lnTo>
                    <a:lnTo>
                      <a:pt x="1226" y="1264"/>
                    </a:lnTo>
                    <a:lnTo>
                      <a:pt x="1228" y="1264"/>
                    </a:lnTo>
                    <a:lnTo>
                      <a:pt x="1232" y="1264"/>
                    </a:lnTo>
                    <a:lnTo>
                      <a:pt x="1232" y="1264"/>
                    </a:lnTo>
                    <a:lnTo>
                      <a:pt x="1236" y="1264"/>
                    </a:lnTo>
                    <a:lnTo>
                      <a:pt x="1238" y="1264"/>
                    </a:lnTo>
                    <a:lnTo>
                      <a:pt x="1240" y="1260"/>
                    </a:lnTo>
                    <a:lnTo>
                      <a:pt x="1244" y="1254"/>
                    </a:lnTo>
                    <a:lnTo>
                      <a:pt x="1246" y="1254"/>
                    </a:lnTo>
                    <a:lnTo>
                      <a:pt x="1250" y="1254"/>
                    </a:lnTo>
                    <a:lnTo>
                      <a:pt x="1250" y="1254"/>
                    </a:lnTo>
                    <a:lnTo>
                      <a:pt x="1254" y="1252"/>
                    </a:lnTo>
                    <a:lnTo>
                      <a:pt x="1258" y="1250"/>
                    </a:lnTo>
                    <a:lnTo>
                      <a:pt x="1262" y="1240"/>
                    </a:lnTo>
                    <a:lnTo>
                      <a:pt x="1268" y="1226"/>
                    </a:lnTo>
                    <a:lnTo>
                      <a:pt x="1274" y="1220"/>
                    </a:lnTo>
                    <a:lnTo>
                      <a:pt x="1284" y="1214"/>
                    </a:lnTo>
                    <a:lnTo>
                      <a:pt x="1284" y="1214"/>
                    </a:lnTo>
                    <a:lnTo>
                      <a:pt x="1290" y="1208"/>
                    </a:lnTo>
                    <a:lnTo>
                      <a:pt x="1292" y="1206"/>
                    </a:lnTo>
                    <a:lnTo>
                      <a:pt x="1292" y="1204"/>
                    </a:lnTo>
                    <a:lnTo>
                      <a:pt x="1290" y="1202"/>
                    </a:lnTo>
                    <a:lnTo>
                      <a:pt x="1284" y="1198"/>
                    </a:lnTo>
                    <a:lnTo>
                      <a:pt x="1280" y="1194"/>
                    </a:lnTo>
                    <a:lnTo>
                      <a:pt x="1276" y="1190"/>
                    </a:lnTo>
                    <a:lnTo>
                      <a:pt x="1276" y="1190"/>
                    </a:lnTo>
                    <a:lnTo>
                      <a:pt x="1276" y="1184"/>
                    </a:lnTo>
                    <a:lnTo>
                      <a:pt x="1276" y="1180"/>
                    </a:lnTo>
                    <a:lnTo>
                      <a:pt x="1282" y="1174"/>
                    </a:lnTo>
                    <a:lnTo>
                      <a:pt x="1288" y="1168"/>
                    </a:lnTo>
                    <a:lnTo>
                      <a:pt x="1290" y="1164"/>
                    </a:lnTo>
                    <a:lnTo>
                      <a:pt x="1292" y="1156"/>
                    </a:lnTo>
                    <a:lnTo>
                      <a:pt x="1292" y="1156"/>
                    </a:lnTo>
                    <a:lnTo>
                      <a:pt x="1292" y="1150"/>
                    </a:lnTo>
                    <a:lnTo>
                      <a:pt x="1294" y="1146"/>
                    </a:lnTo>
                    <a:lnTo>
                      <a:pt x="1298" y="1144"/>
                    </a:lnTo>
                    <a:lnTo>
                      <a:pt x="1300" y="1144"/>
                    </a:lnTo>
                    <a:lnTo>
                      <a:pt x="1306" y="1142"/>
                    </a:lnTo>
                    <a:lnTo>
                      <a:pt x="1310" y="1140"/>
                    </a:lnTo>
                    <a:lnTo>
                      <a:pt x="1310" y="1138"/>
                    </a:lnTo>
                    <a:lnTo>
                      <a:pt x="1310" y="1138"/>
                    </a:lnTo>
                    <a:lnTo>
                      <a:pt x="1314" y="1132"/>
                    </a:lnTo>
                    <a:lnTo>
                      <a:pt x="1320" y="1126"/>
                    </a:lnTo>
                    <a:lnTo>
                      <a:pt x="1338" y="1114"/>
                    </a:lnTo>
                    <a:lnTo>
                      <a:pt x="1338" y="1114"/>
                    </a:lnTo>
                    <a:lnTo>
                      <a:pt x="1340" y="1112"/>
                    </a:lnTo>
                    <a:lnTo>
                      <a:pt x="1344" y="1112"/>
                    </a:lnTo>
                    <a:lnTo>
                      <a:pt x="1346" y="1116"/>
                    </a:lnTo>
                    <a:lnTo>
                      <a:pt x="1348" y="1118"/>
                    </a:lnTo>
                    <a:lnTo>
                      <a:pt x="1350" y="1120"/>
                    </a:lnTo>
                    <a:lnTo>
                      <a:pt x="1354" y="1120"/>
                    </a:lnTo>
                    <a:lnTo>
                      <a:pt x="1358" y="1118"/>
                    </a:lnTo>
                    <a:lnTo>
                      <a:pt x="1358" y="1118"/>
                    </a:lnTo>
                    <a:lnTo>
                      <a:pt x="1364" y="1116"/>
                    </a:lnTo>
                    <a:lnTo>
                      <a:pt x="1368" y="1116"/>
                    </a:lnTo>
                    <a:lnTo>
                      <a:pt x="1378" y="1116"/>
                    </a:lnTo>
                    <a:lnTo>
                      <a:pt x="1386" y="1116"/>
                    </a:lnTo>
                    <a:lnTo>
                      <a:pt x="1392" y="1116"/>
                    </a:lnTo>
                    <a:lnTo>
                      <a:pt x="1396" y="1114"/>
                    </a:lnTo>
                    <a:lnTo>
                      <a:pt x="1396" y="1114"/>
                    </a:lnTo>
                    <a:lnTo>
                      <a:pt x="1408" y="1116"/>
                    </a:lnTo>
                    <a:lnTo>
                      <a:pt x="1414" y="1120"/>
                    </a:lnTo>
                    <a:lnTo>
                      <a:pt x="1418" y="1124"/>
                    </a:lnTo>
                    <a:lnTo>
                      <a:pt x="1428" y="1126"/>
                    </a:lnTo>
                    <a:lnTo>
                      <a:pt x="1428" y="1126"/>
                    </a:lnTo>
                    <a:lnTo>
                      <a:pt x="1438" y="1130"/>
                    </a:lnTo>
                    <a:lnTo>
                      <a:pt x="1440" y="1134"/>
                    </a:lnTo>
                    <a:lnTo>
                      <a:pt x="1442" y="1136"/>
                    </a:lnTo>
                    <a:lnTo>
                      <a:pt x="1442" y="1144"/>
                    </a:lnTo>
                    <a:lnTo>
                      <a:pt x="1440" y="1154"/>
                    </a:lnTo>
                    <a:lnTo>
                      <a:pt x="1440" y="1154"/>
                    </a:lnTo>
                    <a:lnTo>
                      <a:pt x="1440" y="1162"/>
                    </a:lnTo>
                    <a:lnTo>
                      <a:pt x="1442" y="1166"/>
                    </a:lnTo>
                    <a:lnTo>
                      <a:pt x="1446" y="1168"/>
                    </a:lnTo>
                    <a:lnTo>
                      <a:pt x="1444" y="1174"/>
                    </a:lnTo>
                    <a:lnTo>
                      <a:pt x="1444" y="1174"/>
                    </a:lnTo>
                    <a:lnTo>
                      <a:pt x="1442" y="1176"/>
                    </a:lnTo>
                    <a:lnTo>
                      <a:pt x="1440" y="1176"/>
                    </a:lnTo>
                    <a:lnTo>
                      <a:pt x="1434" y="1176"/>
                    </a:lnTo>
                    <a:lnTo>
                      <a:pt x="1422" y="1178"/>
                    </a:lnTo>
                    <a:lnTo>
                      <a:pt x="1422" y="1178"/>
                    </a:lnTo>
                    <a:lnTo>
                      <a:pt x="1416" y="1180"/>
                    </a:lnTo>
                    <a:lnTo>
                      <a:pt x="1412" y="1184"/>
                    </a:lnTo>
                    <a:lnTo>
                      <a:pt x="1406" y="1196"/>
                    </a:lnTo>
                    <a:lnTo>
                      <a:pt x="1398" y="1208"/>
                    </a:lnTo>
                    <a:lnTo>
                      <a:pt x="1390" y="1216"/>
                    </a:lnTo>
                    <a:lnTo>
                      <a:pt x="1382" y="1222"/>
                    </a:lnTo>
                    <a:lnTo>
                      <a:pt x="1382" y="1222"/>
                    </a:lnTo>
                    <a:lnTo>
                      <a:pt x="1372" y="1228"/>
                    </a:lnTo>
                    <a:lnTo>
                      <a:pt x="1368" y="1232"/>
                    </a:lnTo>
                    <a:lnTo>
                      <a:pt x="1366" y="1236"/>
                    </a:lnTo>
                    <a:lnTo>
                      <a:pt x="1366" y="1238"/>
                    </a:lnTo>
                    <a:lnTo>
                      <a:pt x="1366" y="1242"/>
                    </a:lnTo>
                    <a:lnTo>
                      <a:pt x="1358" y="1244"/>
                    </a:lnTo>
                    <a:lnTo>
                      <a:pt x="1358" y="1244"/>
                    </a:lnTo>
                    <a:lnTo>
                      <a:pt x="1354" y="1246"/>
                    </a:lnTo>
                    <a:lnTo>
                      <a:pt x="1350" y="1248"/>
                    </a:lnTo>
                    <a:lnTo>
                      <a:pt x="1346" y="1254"/>
                    </a:lnTo>
                    <a:lnTo>
                      <a:pt x="1344" y="1258"/>
                    </a:lnTo>
                    <a:lnTo>
                      <a:pt x="1342" y="1260"/>
                    </a:lnTo>
                    <a:lnTo>
                      <a:pt x="1338" y="1260"/>
                    </a:lnTo>
                    <a:lnTo>
                      <a:pt x="1338" y="1260"/>
                    </a:lnTo>
                    <a:lnTo>
                      <a:pt x="1334" y="1260"/>
                    </a:lnTo>
                    <a:lnTo>
                      <a:pt x="1332" y="1260"/>
                    </a:lnTo>
                    <a:lnTo>
                      <a:pt x="1328" y="1264"/>
                    </a:lnTo>
                    <a:lnTo>
                      <a:pt x="1326" y="1268"/>
                    </a:lnTo>
                    <a:lnTo>
                      <a:pt x="1324" y="1270"/>
                    </a:lnTo>
                    <a:lnTo>
                      <a:pt x="1322" y="1270"/>
                    </a:lnTo>
                    <a:lnTo>
                      <a:pt x="1322" y="1270"/>
                    </a:lnTo>
                    <a:lnTo>
                      <a:pt x="1320" y="1272"/>
                    </a:lnTo>
                    <a:lnTo>
                      <a:pt x="1318" y="1272"/>
                    </a:lnTo>
                    <a:lnTo>
                      <a:pt x="1318" y="1278"/>
                    </a:lnTo>
                    <a:lnTo>
                      <a:pt x="1318" y="1286"/>
                    </a:lnTo>
                    <a:lnTo>
                      <a:pt x="1318" y="1288"/>
                    </a:lnTo>
                    <a:lnTo>
                      <a:pt x="1314" y="1292"/>
                    </a:lnTo>
                    <a:lnTo>
                      <a:pt x="1314" y="1292"/>
                    </a:lnTo>
                    <a:lnTo>
                      <a:pt x="1310" y="1294"/>
                    </a:lnTo>
                    <a:lnTo>
                      <a:pt x="1308" y="1294"/>
                    </a:lnTo>
                    <a:lnTo>
                      <a:pt x="1300" y="1292"/>
                    </a:lnTo>
                    <a:lnTo>
                      <a:pt x="1294" y="1290"/>
                    </a:lnTo>
                    <a:lnTo>
                      <a:pt x="1292" y="1292"/>
                    </a:lnTo>
                    <a:lnTo>
                      <a:pt x="1290" y="1296"/>
                    </a:lnTo>
                    <a:lnTo>
                      <a:pt x="1290" y="1296"/>
                    </a:lnTo>
                    <a:lnTo>
                      <a:pt x="1290" y="1300"/>
                    </a:lnTo>
                    <a:lnTo>
                      <a:pt x="1286" y="1304"/>
                    </a:lnTo>
                    <a:lnTo>
                      <a:pt x="1278" y="1314"/>
                    </a:lnTo>
                    <a:lnTo>
                      <a:pt x="1276" y="1322"/>
                    </a:lnTo>
                    <a:lnTo>
                      <a:pt x="1274" y="1328"/>
                    </a:lnTo>
                    <a:lnTo>
                      <a:pt x="1274" y="1338"/>
                    </a:lnTo>
                    <a:lnTo>
                      <a:pt x="1278" y="1346"/>
                    </a:lnTo>
                    <a:lnTo>
                      <a:pt x="1278" y="1346"/>
                    </a:lnTo>
                    <a:lnTo>
                      <a:pt x="1282" y="1354"/>
                    </a:lnTo>
                    <a:lnTo>
                      <a:pt x="1282" y="1360"/>
                    </a:lnTo>
                    <a:lnTo>
                      <a:pt x="1282" y="1364"/>
                    </a:lnTo>
                    <a:lnTo>
                      <a:pt x="1280" y="1366"/>
                    </a:lnTo>
                    <a:lnTo>
                      <a:pt x="1278" y="1368"/>
                    </a:lnTo>
                    <a:lnTo>
                      <a:pt x="1278" y="1372"/>
                    </a:lnTo>
                    <a:lnTo>
                      <a:pt x="1280" y="1378"/>
                    </a:lnTo>
                    <a:lnTo>
                      <a:pt x="1288" y="1388"/>
                    </a:lnTo>
                    <a:lnTo>
                      <a:pt x="1288" y="1388"/>
                    </a:lnTo>
                    <a:lnTo>
                      <a:pt x="1292" y="1394"/>
                    </a:lnTo>
                    <a:lnTo>
                      <a:pt x="1294" y="1396"/>
                    </a:lnTo>
                    <a:lnTo>
                      <a:pt x="1294" y="1398"/>
                    </a:lnTo>
                    <a:lnTo>
                      <a:pt x="1292" y="1400"/>
                    </a:lnTo>
                    <a:lnTo>
                      <a:pt x="1288" y="1402"/>
                    </a:lnTo>
                    <a:lnTo>
                      <a:pt x="1286" y="1404"/>
                    </a:lnTo>
                    <a:lnTo>
                      <a:pt x="1286" y="1406"/>
                    </a:lnTo>
                    <a:lnTo>
                      <a:pt x="1286" y="1406"/>
                    </a:lnTo>
                    <a:lnTo>
                      <a:pt x="1288" y="1416"/>
                    </a:lnTo>
                    <a:lnTo>
                      <a:pt x="1288" y="1424"/>
                    </a:lnTo>
                    <a:lnTo>
                      <a:pt x="1282" y="1444"/>
                    </a:lnTo>
                    <a:lnTo>
                      <a:pt x="1282" y="1444"/>
                    </a:lnTo>
                    <a:lnTo>
                      <a:pt x="1280" y="1456"/>
                    </a:lnTo>
                    <a:lnTo>
                      <a:pt x="1280" y="1462"/>
                    </a:lnTo>
                    <a:lnTo>
                      <a:pt x="1282" y="1464"/>
                    </a:lnTo>
                    <a:lnTo>
                      <a:pt x="1286" y="1466"/>
                    </a:lnTo>
                    <a:lnTo>
                      <a:pt x="1298" y="1470"/>
                    </a:lnTo>
                    <a:lnTo>
                      <a:pt x="1298" y="1470"/>
                    </a:lnTo>
                    <a:lnTo>
                      <a:pt x="1322" y="1476"/>
                    </a:lnTo>
                    <a:lnTo>
                      <a:pt x="1328" y="1478"/>
                    </a:lnTo>
                    <a:lnTo>
                      <a:pt x="1330" y="1480"/>
                    </a:lnTo>
                    <a:lnTo>
                      <a:pt x="1328" y="1484"/>
                    </a:lnTo>
                    <a:lnTo>
                      <a:pt x="1328" y="1484"/>
                    </a:lnTo>
                    <a:lnTo>
                      <a:pt x="1328" y="1492"/>
                    </a:lnTo>
                    <a:lnTo>
                      <a:pt x="1328" y="1500"/>
                    </a:lnTo>
                    <a:lnTo>
                      <a:pt x="1330" y="1504"/>
                    </a:lnTo>
                    <a:lnTo>
                      <a:pt x="1334" y="1504"/>
                    </a:lnTo>
                    <a:lnTo>
                      <a:pt x="1336" y="1504"/>
                    </a:lnTo>
                    <a:lnTo>
                      <a:pt x="1340" y="1500"/>
                    </a:lnTo>
                    <a:lnTo>
                      <a:pt x="1340" y="1500"/>
                    </a:lnTo>
                    <a:lnTo>
                      <a:pt x="1346" y="1494"/>
                    </a:lnTo>
                    <a:lnTo>
                      <a:pt x="1352" y="1494"/>
                    </a:lnTo>
                    <a:lnTo>
                      <a:pt x="1354" y="1496"/>
                    </a:lnTo>
                    <a:lnTo>
                      <a:pt x="1354" y="1498"/>
                    </a:lnTo>
                    <a:lnTo>
                      <a:pt x="1354" y="1500"/>
                    </a:lnTo>
                    <a:lnTo>
                      <a:pt x="1352" y="1506"/>
                    </a:lnTo>
                    <a:lnTo>
                      <a:pt x="1352" y="1506"/>
                    </a:lnTo>
                    <a:lnTo>
                      <a:pt x="1346" y="1512"/>
                    </a:lnTo>
                    <a:lnTo>
                      <a:pt x="1346" y="1516"/>
                    </a:lnTo>
                    <a:lnTo>
                      <a:pt x="1352" y="1514"/>
                    </a:lnTo>
                    <a:lnTo>
                      <a:pt x="1366" y="1508"/>
                    </a:lnTo>
                    <a:lnTo>
                      <a:pt x="1366" y="1508"/>
                    </a:lnTo>
                    <a:lnTo>
                      <a:pt x="1376" y="1504"/>
                    </a:lnTo>
                    <a:lnTo>
                      <a:pt x="1390" y="1504"/>
                    </a:lnTo>
                    <a:lnTo>
                      <a:pt x="1408" y="1500"/>
                    </a:lnTo>
                    <a:lnTo>
                      <a:pt x="1436" y="1488"/>
                    </a:lnTo>
                    <a:lnTo>
                      <a:pt x="1436" y="1488"/>
                    </a:lnTo>
                    <a:lnTo>
                      <a:pt x="1448" y="1484"/>
                    </a:lnTo>
                    <a:lnTo>
                      <a:pt x="1454" y="1484"/>
                    </a:lnTo>
                    <a:lnTo>
                      <a:pt x="1458" y="1484"/>
                    </a:lnTo>
                    <a:lnTo>
                      <a:pt x="1462" y="1484"/>
                    </a:lnTo>
                    <a:lnTo>
                      <a:pt x="1466" y="1486"/>
                    </a:lnTo>
                    <a:lnTo>
                      <a:pt x="1470" y="1482"/>
                    </a:lnTo>
                    <a:lnTo>
                      <a:pt x="1470" y="1482"/>
                    </a:lnTo>
                    <a:lnTo>
                      <a:pt x="1476" y="1476"/>
                    </a:lnTo>
                    <a:lnTo>
                      <a:pt x="1478" y="1476"/>
                    </a:lnTo>
                    <a:lnTo>
                      <a:pt x="1484" y="1478"/>
                    </a:lnTo>
                    <a:lnTo>
                      <a:pt x="1490" y="1476"/>
                    </a:lnTo>
                    <a:lnTo>
                      <a:pt x="1498" y="1474"/>
                    </a:lnTo>
                    <a:lnTo>
                      <a:pt x="1498" y="1474"/>
                    </a:lnTo>
                    <a:lnTo>
                      <a:pt x="1506" y="1472"/>
                    </a:lnTo>
                    <a:lnTo>
                      <a:pt x="1512" y="1470"/>
                    </a:lnTo>
                    <a:lnTo>
                      <a:pt x="1522" y="1470"/>
                    </a:lnTo>
                    <a:lnTo>
                      <a:pt x="1532" y="1470"/>
                    </a:lnTo>
                    <a:lnTo>
                      <a:pt x="1538" y="1470"/>
                    </a:lnTo>
                    <a:lnTo>
                      <a:pt x="1546" y="1466"/>
                    </a:lnTo>
                    <a:lnTo>
                      <a:pt x="1546" y="1466"/>
                    </a:lnTo>
                    <a:lnTo>
                      <a:pt x="1550" y="1468"/>
                    </a:lnTo>
                    <a:lnTo>
                      <a:pt x="1556" y="1468"/>
                    </a:lnTo>
                    <a:lnTo>
                      <a:pt x="1566" y="1462"/>
                    </a:lnTo>
                    <a:lnTo>
                      <a:pt x="1574" y="1456"/>
                    </a:lnTo>
                    <a:lnTo>
                      <a:pt x="1578" y="1454"/>
                    </a:lnTo>
                    <a:lnTo>
                      <a:pt x="1580" y="1456"/>
                    </a:lnTo>
                    <a:lnTo>
                      <a:pt x="1580" y="1456"/>
                    </a:lnTo>
                    <a:lnTo>
                      <a:pt x="1582" y="1458"/>
                    </a:lnTo>
                    <a:lnTo>
                      <a:pt x="1578" y="1458"/>
                    </a:lnTo>
                    <a:lnTo>
                      <a:pt x="1576" y="1462"/>
                    </a:lnTo>
                    <a:lnTo>
                      <a:pt x="1578" y="1466"/>
                    </a:lnTo>
                    <a:lnTo>
                      <a:pt x="1578" y="1466"/>
                    </a:lnTo>
                    <a:lnTo>
                      <a:pt x="1580" y="1470"/>
                    </a:lnTo>
                    <a:lnTo>
                      <a:pt x="1578" y="1472"/>
                    </a:lnTo>
                    <a:lnTo>
                      <a:pt x="1572" y="1470"/>
                    </a:lnTo>
                    <a:lnTo>
                      <a:pt x="1568" y="1468"/>
                    </a:lnTo>
                    <a:lnTo>
                      <a:pt x="1572" y="1474"/>
                    </a:lnTo>
                    <a:lnTo>
                      <a:pt x="1572" y="1474"/>
                    </a:lnTo>
                    <a:lnTo>
                      <a:pt x="1578" y="1480"/>
                    </a:lnTo>
                    <a:lnTo>
                      <a:pt x="1582" y="1480"/>
                    </a:lnTo>
                    <a:lnTo>
                      <a:pt x="1584" y="1482"/>
                    </a:lnTo>
                    <a:lnTo>
                      <a:pt x="1588" y="1486"/>
                    </a:lnTo>
                    <a:lnTo>
                      <a:pt x="1588" y="1486"/>
                    </a:lnTo>
                    <a:lnTo>
                      <a:pt x="1592" y="1490"/>
                    </a:lnTo>
                    <a:lnTo>
                      <a:pt x="1596" y="1490"/>
                    </a:lnTo>
                    <a:lnTo>
                      <a:pt x="1608" y="1490"/>
                    </a:lnTo>
                    <a:lnTo>
                      <a:pt x="1618" y="1490"/>
                    </a:lnTo>
                    <a:lnTo>
                      <a:pt x="1622" y="1492"/>
                    </a:lnTo>
                    <a:lnTo>
                      <a:pt x="1626" y="1494"/>
                    </a:lnTo>
                    <a:lnTo>
                      <a:pt x="1626" y="1494"/>
                    </a:lnTo>
                    <a:lnTo>
                      <a:pt x="1628" y="1498"/>
                    </a:lnTo>
                    <a:lnTo>
                      <a:pt x="1632" y="1500"/>
                    </a:lnTo>
                    <a:lnTo>
                      <a:pt x="1638" y="1502"/>
                    </a:lnTo>
                    <a:lnTo>
                      <a:pt x="1642" y="1504"/>
                    </a:lnTo>
                    <a:lnTo>
                      <a:pt x="1642" y="1504"/>
                    </a:lnTo>
                    <a:lnTo>
                      <a:pt x="1642" y="1508"/>
                    </a:lnTo>
                    <a:lnTo>
                      <a:pt x="1642" y="1508"/>
                    </a:lnTo>
                    <a:lnTo>
                      <a:pt x="1638" y="1510"/>
                    </a:lnTo>
                    <a:lnTo>
                      <a:pt x="1634" y="1510"/>
                    </a:lnTo>
                    <a:lnTo>
                      <a:pt x="1610" y="1504"/>
                    </a:lnTo>
                    <a:lnTo>
                      <a:pt x="1610" y="1504"/>
                    </a:lnTo>
                    <a:lnTo>
                      <a:pt x="1602" y="1502"/>
                    </a:lnTo>
                    <a:lnTo>
                      <a:pt x="1596" y="1504"/>
                    </a:lnTo>
                    <a:lnTo>
                      <a:pt x="1594" y="1506"/>
                    </a:lnTo>
                    <a:lnTo>
                      <a:pt x="1592" y="1510"/>
                    </a:lnTo>
                    <a:lnTo>
                      <a:pt x="1590" y="1512"/>
                    </a:lnTo>
                    <a:lnTo>
                      <a:pt x="1588" y="1516"/>
                    </a:lnTo>
                    <a:lnTo>
                      <a:pt x="1584" y="1516"/>
                    </a:lnTo>
                    <a:lnTo>
                      <a:pt x="1578" y="1514"/>
                    </a:lnTo>
                    <a:lnTo>
                      <a:pt x="1578" y="1514"/>
                    </a:lnTo>
                    <a:lnTo>
                      <a:pt x="1574" y="1512"/>
                    </a:lnTo>
                    <a:lnTo>
                      <a:pt x="1570" y="1514"/>
                    </a:lnTo>
                    <a:lnTo>
                      <a:pt x="1568" y="1516"/>
                    </a:lnTo>
                    <a:lnTo>
                      <a:pt x="1568" y="1518"/>
                    </a:lnTo>
                    <a:lnTo>
                      <a:pt x="1568" y="1522"/>
                    </a:lnTo>
                    <a:lnTo>
                      <a:pt x="1568" y="1524"/>
                    </a:lnTo>
                    <a:lnTo>
                      <a:pt x="1564" y="1524"/>
                    </a:lnTo>
                    <a:lnTo>
                      <a:pt x="1560" y="1520"/>
                    </a:lnTo>
                    <a:lnTo>
                      <a:pt x="1560" y="1520"/>
                    </a:lnTo>
                    <a:lnTo>
                      <a:pt x="1556" y="1518"/>
                    </a:lnTo>
                    <a:lnTo>
                      <a:pt x="1552" y="1516"/>
                    </a:lnTo>
                    <a:lnTo>
                      <a:pt x="1552" y="1518"/>
                    </a:lnTo>
                    <a:lnTo>
                      <a:pt x="1552" y="1520"/>
                    </a:lnTo>
                    <a:lnTo>
                      <a:pt x="1554" y="1530"/>
                    </a:lnTo>
                    <a:lnTo>
                      <a:pt x="1554" y="1534"/>
                    </a:lnTo>
                    <a:lnTo>
                      <a:pt x="1552" y="1536"/>
                    </a:lnTo>
                    <a:lnTo>
                      <a:pt x="1552" y="1536"/>
                    </a:lnTo>
                    <a:lnTo>
                      <a:pt x="1540" y="1540"/>
                    </a:lnTo>
                    <a:lnTo>
                      <a:pt x="1530" y="1542"/>
                    </a:lnTo>
                    <a:lnTo>
                      <a:pt x="1518" y="1540"/>
                    </a:lnTo>
                    <a:lnTo>
                      <a:pt x="1508" y="1536"/>
                    </a:lnTo>
                    <a:lnTo>
                      <a:pt x="1508" y="1536"/>
                    </a:lnTo>
                    <a:lnTo>
                      <a:pt x="1498" y="1532"/>
                    </a:lnTo>
                    <a:lnTo>
                      <a:pt x="1488" y="1530"/>
                    </a:lnTo>
                    <a:lnTo>
                      <a:pt x="1476" y="1528"/>
                    </a:lnTo>
                    <a:lnTo>
                      <a:pt x="1460" y="1526"/>
                    </a:lnTo>
                    <a:lnTo>
                      <a:pt x="1460" y="1526"/>
                    </a:lnTo>
                    <a:lnTo>
                      <a:pt x="1454" y="1524"/>
                    </a:lnTo>
                    <a:lnTo>
                      <a:pt x="1450" y="1524"/>
                    </a:lnTo>
                    <a:lnTo>
                      <a:pt x="1448" y="1526"/>
                    </a:lnTo>
                    <a:lnTo>
                      <a:pt x="1448" y="1528"/>
                    </a:lnTo>
                    <a:lnTo>
                      <a:pt x="1446" y="1532"/>
                    </a:lnTo>
                    <a:lnTo>
                      <a:pt x="1442" y="1534"/>
                    </a:lnTo>
                    <a:lnTo>
                      <a:pt x="1436" y="1534"/>
                    </a:lnTo>
                    <a:lnTo>
                      <a:pt x="1436" y="1534"/>
                    </a:lnTo>
                    <a:lnTo>
                      <a:pt x="1422" y="1534"/>
                    </a:lnTo>
                    <a:lnTo>
                      <a:pt x="1408" y="1534"/>
                    </a:lnTo>
                    <a:lnTo>
                      <a:pt x="1398" y="1538"/>
                    </a:lnTo>
                    <a:lnTo>
                      <a:pt x="1394" y="1542"/>
                    </a:lnTo>
                    <a:lnTo>
                      <a:pt x="1392" y="1544"/>
                    </a:lnTo>
                    <a:lnTo>
                      <a:pt x="1392" y="1544"/>
                    </a:lnTo>
                    <a:lnTo>
                      <a:pt x="1390" y="1548"/>
                    </a:lnTo>
                    <a:lnTo>
                      <a:pt x="1388" y="1550"/>
                    </a:lnTo>
                    <a:lnTo>
                      <a:pt x="1380" y="1552"/>
                    </a:lnTo>
                    <a:lnTo>
                      <a:pt x="1374" y="1554"/>
                    </a:lnTo>
                    <a:lnTo>
                      <a:pt x="1372" y="1558"/>
                    </a:lnTo>
                    <a:lnTo>
                      <a:pt x="1370" y="1562"/>
                    </a:lnTo>
                    <a:lnTo>
                      <a:pt x="1370" y="1562"/>
                    </a:lnTo>
                    <a:lnTo>
                      <a:pt x="1368" y="1572"/>
                    </a:lnTo>
                    <a:lnTo>
                      <a:pt x="1368" y="1580"/>
                    </a:lnTo>
                    <a:lnTo>
                      <a:pt x="1370" y="1588"/>
                    </a:lnTo>
                    <a:lnTo>
                      <a:pt x="1372" y="1594"/>
                    </a:lnTo>
                    <a:lnTo>
                      <a:pt x="1372" y="1594"/>
                    </a:lnTo>
                    <a:lnTo>
                      <a:pt x="1378" y="1604"/>
                    </a:lnTo>
                    <a:lnTo>
                      <a:pt x="1382" y="1610"/>
                    </a:lnTo>
                    <a:lnTo>
                      <a:pt x="1386" y="1614"/>
                    </a:lnTo>
                    <a:lnTo>
                      <a:pt x="1390" y="1614"/>
                    </a:lnTo>
                    <a:lnTo>
                      <a:pt x="1396" y="1614"/>
                    </a:lnTo>
                    <a:lnTo>
                      <a:pt x="1402" y="1610"/>
                    </a:lnTo>
                    <a:lnTo>
                      <a:pt x="1402" y="1610"/>
                    </a:lnTo>
                    <a:lnTo>
                      <a:pt x="1410" y="1606"/>
                    </a:lnTo>
                    <a:lnTo>
                      <a:pt x="1410" y="1608"/>
                    </a:lnTo>
                    <a:lnTo>
                      <a:pt x="1410" y="1610"/>
                    </a:lnTo>
                    <a:lnTo>
                      <a:pt x="1402" y="1640"/>
                    </a:lnTo>
                    <a:lnTo>
                      <a:pt x="1402" y="1640"/>
                    </a:lnTo>
                    <a:lnTo>
                      <a:pt x="1402" y="1646"/>
                    </a:lnTo>
                    <a:lnTo>
                      <a:pt x="1404" y="1654"/>
                    </a:lnTo>
                    <a:lnTo>
                      <a:pt x="1406" y="1668"/>
                    </a:lnTo>
                    <a:lnTo>
                      <a:pt x="1408" y="1676"/>
                    </a:lnTo>
                    <a:lnTo>
                      <a:pt x="1406" y="1682"/>
                    </a:lnTo>
                    <a:lnTo>
                      <a:pt x="1402" y="1686"/>
                    </a:lnTo>
                    <a:lnTo>
                      <a:pt x="1392" y="1692"/>
                    </a:lnTo>
                    <a:lnTo>
                      <a:pt x="1392" y="1692"/>
                    </a:lnTo>
                    <a:lnTo>
                      <a:pt x="1380" y="1694"/>
                    </a:lnTo>
                    <a:lnTo>
                      <a:pt x="1370" y="1694"/>
                    </a:lnTo>
                    <a:lnTo>
                      <a:pt x="1364" y="1690"/>
                    </a:lnTo>
                    <a:lnTo>
                      <a:pt x="1360" y="1684"/>
                    </a:lnTo>
                    <a:lnTo>
                      <a:pt x="1354" y="1672"/>
                    </a:lnTo>
                    <a:lnTo>
                      <a:pt x="1348" y="1666"/>
                    </a:lnTo>
                    <a:lnTo>
                      <a:pt x="1342" y="1662"/>
                    </a:lnTo>
                    <a:lnTo>
                      <a:pt x="1342" y="1662"/>
                    </a:lnTo>
                    <a:lnTo>
                      <a:pt x="1336" y="1660"/>
                    </a:lnTo>
                    <a:lnTo>
                      <a:pt x="1334" y="1656"/>
                    </a:lnTo>
                    <a:lnTo>
                      <a:pt x="1332" y="1652"/>
                    </a:lnTo>
                    <a:lnTo>
                      <a:pt x="1332" y="1650"/>
                    </a:lnTo>
                    <a:lnTo>
                      <a:pt x="1332" y="1648"/>
                    </a:lnTo>
                    <a:lnTo>
                      <a:pt x="1332" y="1648"/>
                    </a:lnTo>
                    <a:lnTo>
                      <a:pt x="1324" y="1648"/>
                    </a:lnTo>
                    <a:lnTo>
                      <a:pt x="1324" y="1648"/>
                    </a:lnTo>
                    <a:lnTo>
                      <a:pt x="1302" y="1656"/>
                    </a:lnTo>
                    <a:lnTo>
                      <a:pt x="1294" y="1660"/>
                    </a:lnTo>
                    <a:lnTo>
                      <a:pt x="1292" y="1664"/>
                    </a:lnTo>
                    <a:lnTo>
                      <a:pt x="1292" y="1664"/>
                    </a:lnTo>
                    <a:lnTo>
                      <a:pt x="1286" y="1674"/>
                    </a:lnTo>
                    <a:lnTo>
                      <a:pt x="1284" y="1678"/>
                    </a:lnTo>
                    <a:lnTo>
                      <a:pt x="1286" y="1684"/>
                    </a:lnTo>
                    <a:lnTo>
                      <a:pt x="1286" y="1684"/>
                    </a:lnTo>
                    <a:lnTo>
                      <a:pt x="1286" y="1688"/>
                    </a:lnTo>
                    <a:lnTo>
                      <a:pt x="1286" y="1690"/>
                    </a:lnTo>
                    <a:lnTo>
                      <a:pt x="1280" y="1694"/>
                    </a:lnTo>
                    <a:lnTo>
                      <a:pt x="1274" y="1700"/>
                    </a:lnTo>
                    <a:lnTo>
                      <a:pt x="1272" y="1704"/>
                    </a:lnTo>
                    <a:lnTo>
                      <a:pt x="1270" y="1710"/>
                    </a:lnTo>
                    <a:lnTo>
                      <a:pt x="1270" y="1710"/>
                    </a:lnTo>
                    <a:lnTo>
                      <a:pt x="1266" y="1720"/>
                    </a:lnTo>
                    <a:lnTo>
                      <a:pt x="1266" y="1732"/>
                    </a:lnTo>
                    <a:lnTo>
                      <a:pt x="1268" y="1752"/>
                    </a:lnTo>
                    <a:lnTo>
                      <a:pt x="1268" y="1752"/>
                    </a:lnTo>
                    <a:lnTo>
                      <a:pt x="1268" y="1766"/>
                    </a:lnTo>
                    <a:lnTo>
                      <a:pt x="1270" y="1772"/>
                    </a:lnTo>
                    <a:lnTo>
                      <a:pt x="1274" y="1776"/>
                    </a:lnTo>
                    <a:lnTo>
                      <a:pt x="1274" y="1776"/>
                    </a:lnTo>
                    <a:lnTo>
                      <a:pt x="1278" y="1782"/>
                    </a:lnTo>
                    <a:lnTo>
                      <a:pt x="1280" y="1790"/>
                    </a:lnTo>
                    <a:lnTo>
                      <a:pt x="1280" y="1804"/>
                    </a:lnTo>
                    <a:lnTo>
                      <a:pt x="1280" y="1804"/>
                    </a:lnTo>
                    <a:lnTo>
                      <a:pt x="1278" y="1806"/>
                    </a:lnTo>
                    <a:lnTo>
                      <a:pt x="1278" y="1806"/>
                    </a:lnTo>
                    <a:lnTo>
                      <a:pt x="1276" y="1808"/>
                    </a:lnTo>
                    <a:lnTo>
                      <a:pt x="1276" y="1816"/>
                    </a:lnTo>
                    <a:lnTo>
                      <a:pt x="1276" y="1816"/>
                    </a:lnTo>
                    <a:lnTo>
                      <a:pt x="1278" y="1818"/>
                    </a:lnTo>
                    <a:lnTo>
                      <a:pt x="1276" y="1822"/>
                    </a:lnTo>
                    <a:lnTo>
                      <a:pt x="1270" y="1824"/>
                    </a:lnTo>
                    <a:lnTo>
                      <a:pt x="1264" y="1826"/>
                    </a:lnTo>
                    <a:lnTo>
                      <a:pt x="1258" y="1824"/>
                    </a:lnTo>
                    <a:lnTo>
                      <a:pt x="1258" y="1824"/>
                    </a:lnTo>
                    <a:lnTo>
                      <a:pt x="1256" y="1824"/>
                    </a:lnTo>
                    <a:lnTo>
                      <a:pt x="1256" y="1822"/>
                    </a:lnTo>
                    <a:lnTo>
                      <a:pt x="1258" y="1816"/>
                    </a:lnTo>
                    <a:lnTo>
                      <a:pt x="1268" y="1804"/>
                    </a:lnTo>
                    <a:lnTo>
                      <a:pt x="1268" y="1804"/>
                    </a:lnTo>
                    <a:lnTo>
                      <a:pt x="1270" y="1800"/>
                    </a:lnTo>
                    <a:lnTo>
                      <a:pt x="1268" y="1800"/>
                    </a:lnTo>
                    <a:lnTo>
                      <a:pt x="1256" y="1814"/>
                    </a:lnTo>
                    <a:lnTo>
                      <a:pt x="1256" y="1814"/>
                    </a:lnTo>
                    <a:lnTo>
                      <a:pt x="1248" y="1820"/>
                    </a:lnTo>
                    <a:lnTo>
                      <a:pt x="1246" y="1822"/>
                    </a:lnTo>
                    <a:lnTo>
                      <a:pt x="1240" y="1820"/>
                    </a:lnTo>
                    <a:lnTo>
                      <a:pt x="1232" y="1820"/>
                    </a:lnTo>
                    <a:lnTo>
                      <a:pt x="1232" y="1820"/>
                    </a:lnTo>
                    <a:lnTo>
                      <a:pt x="1226" y="1822"/>
                    </a:lnTo>
                    <a:lnTo>
                      <a:pt x="1224" y="1824"/>
                    </a:lnTo>
                    <a:lnTo>
                      <a:pt x="1224" y="1830"/>
                    </a:lnTo>
                    <a:lnTo>
                      <a:pt x="1224" y="1836"/>
                    </a:lnTo>
                    <a:lnTo>
                      <a:pt x="1224" y="1840"/>
                    </a:lnTo>
                    <a:lnTo>
                      <a:pt x="1220" y="1846"/>
                    </a:lnTo>
                    <a:lnTo>
                      <a:pt x="1214" y="1852"/>
                    </a:lnTo>
                    <a:lnTo>
                      <a:pt x="1214" y="1852"/>
                    </a:lnTo>
                    <a:lnTo>
                      <a:pt x="1202" y="1858"/>
                    </a:lnTo>
                    <a:lnTo>
                      <a:pt x="1188" y="1860"/>
                    </a:lnTo>
                    <a:lnTo>
                      <a:pt x="1182" y="1858"/>
                    </a:lnTo>
                    <a:lnTo>
                      <a:pt x="1176" y="1856"/>
                    </a:lnTo>
                    <a:lnTo>
                      <a:pt x="1172" y="1854"/>
                    </a:lnTo>
                    <a:lnTo>
                      <a:pt x="1170" y="1848"/>
                    </a:lnTo>
                    <a:lnTo>
                      <a:pt x="1170" y="1848"/>
                    </a:lnTo>
                    <a:lnTo>
                      <a:pt x="1166" y="1836"/>
                    </a:lnTo>
                    <a:lnTo>
                      <a:pt x="1166" y="1836"/>
                    </a:lnTo>
                    <a:lnTo>
                      <a:pt x="1172" y="1840"/>
                    </a:lnTo>
                    <a:lnTo>
                      <a:pt x="1172" y="1840"/>
                    </a:lnTo>
                    <a:lnTo>
                      <a:pt x="1180" y="1844"/>
                    </a:lnTo>
                    <a:lnTo>
                      <a:pt x="1184" y="1844"/>
                    </a:lnTo>
                    <a:lnTo>
                      <a:pt x="1184" y="1842"/>
                    </a:lnTo>
                    <a:lnTo>
                      <a:pt x="1180" y="1840"/>
                    </a:lnTo>
                    <a:lnTo>
                      <a:pt x="1180" y="1840"/>
                    </a:lnTo>
                    <a:lnTo>
                      <a:pt x="1168" y="1832"/>
                    </a:lnTo>
                    <a:lnTo>
                      <a:pt x="1160" y="1828"/>
                    </a:lnTo>
                    <a:lnTo>
                      <a:pt x="1152" y="1828"/>
                    </a:lnTo>
                    <a:lnTo>
                      <a:pt x="1136" y="1832"/>
                    </a:lnTo>
                    <a:lnTo>
                      <a:pt x="1136" y="1832"/>
                    </a:lnTo>
                    <a:lnTo>
                      <a:pt x="1118" y="1836"/>
                    </a:lnTo>
                    <a:lnTo>
                      <a:pt x="1112" y="1838"/>
                    </a:lnTo>
                    <a:lnTo>
                      <a:pt x="1110" y="1840"/>
                    </a:lnTo>
                    <a:lnTo>
                      <a:pt x="1098" y="1844"/>
                    </a:lnTo>
                    <a:lnTo>
                      <a:pt x="1098" y="1844"/>
                    </a:lnTo>
                    <a:lnTo>
                      <a:pt x="1090" y="1848"/>
                    </a:lnTo>
                    <a:lnTo>
                      <a:pt x="1086" y="1850"/>
                    </a:lnTo>
                    <a:lnTo>
                      <a:pt x="1082" y="1856"/>
                    </a:lnTo>
                    <a:lnTo>
                      <a:pt x="1080" y="1858"/>
                    </a:lnTo>
                    <a:lnTo>
                      <a:pt x="1074" y="1862"/>
                    </a:lnTo>
                    <a:lnTo>
                      <a:pt x="1066" y="1864"/>
                    </a:lnTo>
                    <a:lnTo>
                      <a:pt x="1054" y="1868"/>
                    </a:lnTo>
                    <a:lnTo>
                      <a:pt x="1054" y="1868"/>
                    </a:lnTo>
                    <a:lnTo>
                      <a:pt x="1034" y="1874"/>
                    </a:lnTo>
                    <a:lnTo>
                      <a:pt x="1020" y="1880"/>
                    </a:lnTo>
                    <a:lnTo>
                      <a:pt x="1008" y="1884"/>
                    </a:lnTo>
                    <a:lnTo>
                      <a:pt x="1002" y="1884"/>
                    </a:lnTo>
                    <a:lnTo>
                      <a:pt x="996" y="1884"/>
                    </a:lnTo>
                    <a:lnTo>
                      <a:pt x="996" y="1884"/>
                    </a:lnTo>
                    <a:lnTo>
                      <a:pt x="992" y="1882"/>
                    </a:lnTo>
                    <a:lnTo>
                      <a:pt x="986" y="1878"/>
                    </a:lnTo>
                    <a:lnTo>
                      <a:pt x="980" y="1870"/>
                    </a:lnTo>
                    <a:lnTo>
                      <a:pt x="980" y="1870"/>
                    </a:lnTo>
                    <a:lnTo>
                      <a:pt x="978" y="1870"/>
                    </a:lnTo>
                    <a:lnTo>
                      <a:pt x="978" y="1870"/>
                    </a:lnTo>
                    <a:lnTo>
                      <a:pt x="980" y="1874"/>
                    </a:lnTo>
                    <a:lnTo>
                      <a:pt x="984" y="1884"/>
                    </a:lnTo>
                    <a:lnTo>
                      <a:pt x="984" y="1884"/>
                    </a:lnTo>
                    <a:lnTo>
                      <a:pt x="984" y="1886"/>
                    </a:lnTo>
                    <a:lnTo>
                      <a:pt x="984" y="1888"/>
                    </a:lnTo>
                    <a:lnTo>
                      <a:pt x="982" y="1888"/>
                    </a:lnTo>
                    <a:lnTo>
                      <a:pt x="982" y="1890"/>
                    </a:lnTo>
                    <a:lnTo>
                      <a:pt x="982" y="1890"/>
                    </a:lnTo>
                    <a:lnTo>
                      <a:pt x="984" y="1890"/>
                    </a:lnTo>
                    <a:lnTo>
                      <a:pt x="988" y="1890"/>
                    </a:lnTo>
                    <a:lnTo>
                      <a:pt x="992" y="1888"/>
                    </a:lnTo>
                    <a:lnTo>
                      <a:pt x="996" y="1890"/>
                    </a:lnTo>
                    <a:lnTo>
                      <a:pt x="996" y="1890"/>
                    </a:lnTo>
                    <a:lnTo>
                      <a:pt x="998" y="1892"/>
                    </a:lnTo>
                    <a:lnTo>
                      <a:pt x="1002" y="1892"/>
                    </a:lnTo>
                    <a:lnTo>
                      <a:pt x="1004" y="1890"/>
                    </a:lnTo>
                    <a:lnTo>
                      <a:pt x="1008" y="1890"/>
                    </a:lnTo>
                    <a:lnTo>
                      <a:pt x="1008" y="1890"/>
                    </a:lnTo>
                    <a:lnTo>
                      <a:pt x="1010" y="1894"/>
                    </a:lnTo>
                    <a:lnTo>
                      <a:pt x="1010" y="1900"/>
                    </a:lnTo>
                    <a:lnTo>
                      <a:pt x="1010" y="1900"/>
                    </a:lnTo>
                    <a:lnTo>
                      <a:pt x="1010" y="1902"/>
                    </a:lnTo>
                    <a:lnTo>
                      <a:pt x="1008" y="1902"/>
                    </a:lnTo>
                    <a:lnTo>
                      <a:pt x="1004" y="1900"/>
                    </a:lnTo>
                    <a:lnTo>
                      <a:pt x="998" y="1898"/>
                    </a:lnTo>
                    <a:lnTo>
                      <a:pt x="998" y="1898"/>
                    </a:lnTo>
                    <a:lnTo>
                      <a:pt x="996" y="1898"/>
                    </a:lnTo>
                    <a:lnTo>
                      <a:pt x="996" y="1898"/>
                    </a:lnTo>
                    <a:lnTo>
                      <a:pt x="986" y="1896"/>
                    </a:lnTo>
                    <a:lnTo>
                      <a:pt x="980" y="1892"/>
                    </a:lnTo>
                    <a:lnTo>
                      <a:pt x="980" y="1890"/>
                    </a:lnTo>
                    <a:lnTo>
                      <a:pt x="980" y="1886"/>
                    </a:lnTo>
                    <a:lnTo>
                      <a:pt x="980" y="1886"/>
                    </a:lnTo>
                    <a:lnTo>
                      <a:pt x="980" y="1884"/>
                    </a:lnTo>
                    <a:lnTo>
                      <a:pt x="978" y="1882"/>
                    </a:lnTo>
                    <a:lnTo>
                      <a:pt x="976" y="1878"/>
                    </a:lnTo>
                    <a:lnTo>
                      <a:pt x="976" y="1872"/>
                    </a:lnTo>
                    <a:lnTo>
                      <a:pt x="976" y="1872"/>
                    </a:lnTo>
                    <a:lnTo>
                      <a:pt x="976" y="1870"/>
                    </a:lnTo>
                    <a:lnTo>
                      <a:pt x="974" y="1870"/>
                    </a:lnTo>
                    <a:lnTo>
                      <a:pt x="970" y="1872"/>
                    </a:lnTo>
                    <a:lnTo>
                      <a:pt x="962" y="1872"/>
                    </a:lnTo>
                    <a:lnTo>
                      <a:pt x="958" y="1870"/>
                    </a:lnTo>
                    <a:lnTo>
                      <a:pt x="954" y="1868"/>
                    </a:lnTo>
                    <a:lnTo>
                      <a:pt x="954" y="1868"/>
                    </a:lnTo>
                    <a:lnTo>
                      <a:pt x="950" y="1860"/>
                    </a:lnTo>
                    <a:lnTo>
                      <a:pt x="948" y="1856"/>
                    </a:lnTo>
                    <a:lnTo>
                      <a:pt x="946" y="1854"/>
                    </a:lnTo>
                    <a:lnTo>
                      <a:pt x="944" y="1854"/>
                    </a:lnTo>
                    <a:lnTo>
                      <a:pt x="944" y="1854"/>
                    </a:lnTo>
                    <a:lnTo>
                      <a:pt x="938" y="1854"/>
                    </a:lnTo>
                    <a:lnTo>
                      <a:pt x="932" y="1852"/>
                    </a:lnTo>
                    <a:lnTo>
                      <a:pt x="930" y="1850"/>
                    </a:lnTo>
                    <a:lnTo>
                      <a:pt x="926" y="1850"/>
                    </a:lnTo>
                    <a:lnTo>
                      <a:pt x="926" y="1850"/>
                    </a:lnTo>
                    <a:lnTo>
                      <a:pt x="924" y="1854"/>
                    </a:lnTo>
                    <a:lnTo>
                      <a:pt x="920" y="1862"/>
                    </a:lnTo>
                    <a:lnTo>
                      <a:pt x="912" y="1868"/>
                    </a:lnTo>
                    <a:lnTo>
                      <a:pt x="908" y="1870"/>
                    </a:lnTo>
                    <a:lnTo>
                      <a:pt x="900" y="1870"/>
                    </a:lnTo>
                    <a:lnTo>
                      <a:pt x="900" y="1870"/>
                    </a:lnTo>
                    <a:lnTo>
                      <a:pt x="894" y="1872"/>
                    </a:lnTo>
                    <a:lnTo>
                      <a:pt x="890" y="1874"/>
                    </a:lnTo>
                    <a:lnTo>
                      <a:pt x="886" y="1880"/>
                    </a:lnTo>
                    <a:lnTo>
                      <a:pt x="884" y="1884"/>
                    </a:lnTo>
                    <a:lnTo>
                      <a:pt x="882" y="1884"/>
                    </a:lnTo>
                    <a:lnTo>
                      <a:pt x="878" y="1882"/>
                    </a:lnTo>
                    <a:lnTo>
                      <a:pt x="878" y="1882"/>
                    </a:lnTo>
                    <a:lnTo>
                      <a:pt x="874" y="1880"/>
                    </a:lnTo>
                    <a:lnTo>
                      <a:pt x="870" y="1880"/>
                    </a:lnTo>
                    <a:lnTo>
                      <a:pt x="864" y="1882"/>
                    </a:lnTo>
                    <a:lnTo>
                      <a:pt x="860" y="1882"/>
                    </a:lnTo>
                    <a:lnTo>
                      <a:pt x="858" y="1882"/>
                    </a:lnTo>
                    <a:lnTo>
                      <a:pt x="856" y="1880"/>
                    </a:lnTo>
                    <a:lnTo>
                      <a:pt x="856" y="1880"/>
                    </a:lnTo>
                    <a:lnTo>
                      <a:pt x="856" y="1878"/>
                    </a:lnTo>
                    <a:lnTo>
                      <a:pt x="858" y="1876"/>
                    </a:lnTo>
                    <a:lnTo>
                      <a:pt x="864" y="1872"/>
                    </a:lnTo>
                    <a:lnTo>
                      <a:pt x="870" y="1870"/>
                    </a:lnTo>
                    <a:lnTo>
                      <a:pt x="870" y="1868"/>
                    </a:lnTo>
                    <a:lnTo>
                      <a:pt x="870" y="1864"/>
                    </a:lnTo>
                    <a:lnTo>
                      <a:pt x="870" y="1864"/>
                    </a:lnTo>
                    <a:lnTo>
                      <a:pt x="870" y="1862"/>
                    </a:lnTo>
                    <a:lnTo>
                      <a:pt x="870" y="1858"/>
                    </a:lnTo>
                    <a:lnTo>
                      <a:pt x="870" y="1856"/>
                    </a:lnTo>
                    <a:lnTo>
                      <a:pt x="870" y="1856"/>
                    </a:lnTo>
                    <a:lnTo>
                      <a:pt x="862" y="1858"/>
                    </a:lnTo>
                    <a:lnTo>
                      <a:pt x="862" y="1858"/>
                    </a:lnTo>
                    <a:lnTo>
                      <a:pt x="856" y="1860"/>
                    </a:lnTo>
                    <a:lnTo>
                      <a:pt x="852" y="1860"/>
                    </a:lnTo>
                    <a:lnTo>
                      <a:pt x="848" y="1860"/>
                    </a:lnTo>
                    <a:lnTo>
                      <a:pt x="846" y="1858"/>
                    </a:lnTo>
                    <a:lnTo>
                      <a:pt x="842" y="1854"/>
                    </a:lnTo>
                    <a:lnTo>
                      <a:pt x="840" y="1854"/>
                    </a:lnTo>
                    <a:lnTo>
                      <a:pt x="838" y="1854"/>
                    </a:lnTo>
                    <a:lnTo>
                      <a:pt x="838" y="1854"/>
                    </a:lnTo>
                    <a:lnTo>
                      <a:pt x="834" y="1856"/>
                    </a:lnTo>
                    <a:lnTo>
                      <a:pt x="832" y="1854"/>
                    </a:lnTo>
                    <a:lnTo>
                      <a:pt x="830" y="1852"/>
                    </a:lnTo>
                    <a:lnTo>
                      <a:pt x="826" y="1850"/>
                    </a:lnTo>
                    <a:lnTo>
                      <a:pt x="826" y="1850"/>
                    </a:lnTo>
                    <a:lnTo>
                      <a:pt x="822" y="1850"/>
                    </a:lnTo>
                    <a:lnTo>
                      <a:pt x="824" y="1848"/>
                    </a:lnTo>
                    <a:lnTo>
                      <a:pt x="826" y="1844"/>
                    </a:lnTo>
                    <a:lnTo>
                      <a:pt x="828" y="1842"/>
                    </a:lnTo>
                    <a:lnTo>
                      <a:pt x="826" y="1838"/>
                    </a:lnTo>
                    <a:lnTo>
                      <a:pt x="826" y="1838"/>
                    </a:lnTo>
                    <a:lnTo>
                      <a:pt x="824" y="1834"/>
                    </a:lnTo>
                    <a:lnTo>
                      <a:pt x="822" y="1832"/>
                    </a:lnTo>
                    <a:lnTo>
                      <a:pt x="820" y="1834"/>
                    </a:lnTo>
                    <a:lnTo>
                      <a:pt x="816" y="1832"/>
                    </a:lnTo>
                    <a:lnTo>
                      <a:pt x="816" y="1832"/>
                    </a:lnTo>
                    <a:lnTo>
                      <a:pt x="812" y="1830"/>
                    </a:lnTo>
                    <a:lnTo>
                      <a:pt x="808" y="1830"/>
                    </a:lnTo>
                    <a:lnTo>
                      <a:pt x="806" y="1832"/>
                    </a:lnTo>
                    <a:lnTo>
                      <a:pt x="802" y="1830"/>
                    </a:lnTo>
                    <a:lnTo>
                      <a:pt x="802" y="1830"/>
                    </a:lnTo>
                    <a:lnTo>
                      <a:pt x="808" y="1826"/>
                    </a:lnTo>
                    <a:lnTo>
                      <a:pt x="810" y="1824"/>
                    </a:lnTo>
                    <a:lnTo>
                      <a:pt x="810" y="1826"/>
                    </a:lnTo>
                    <a:lnTo>
                      <a:pt x="812" y="1828"/>
                    </a:lnTo>
                    <a:lnTo>
                      <a:pt x="812" y="1828"/>
                    </a:lnTo>
                    <a:lnTo>
                      <a:pt x="816" y="1828"/>
                    </a:lnTo>
                    <a:lnTo>
                      <a:pt x="818" y="1826"/>
                    </a:lnTo>
                    <a:lnTo>
                      <a:pt x="820" y="1826"/>
                    </a:lnTo>
                    <a:lnTo>
                      <a:pt x="820" y="1826"/>
                    </a:lnTo>
                    <a:lnTo>
                      <a:pt x="820" y="1826"/>
                    </a:lnTo>
                    <a:lnTo>
                      <a:pt x="824" y="1828"/>
                    </a:lnTo>
                    <a:lnTo>
                      <a:pt x="826" y="1826"/>
                    </a:lnTo>
                    <a:lnTo>
                      <a:pt x="828" y="1824"/>
                    </a:lnTo>
                    <a:lnTo>
                      <a:pt x="828" y="1822"/>
                    </a:lnTo>
                    <a:lnTo>
                      <a:pt x="822" y="1818"/>
                    </a:lnTo>
                    <a:lnTo>
                      <a:pt x="822" y="1818"/>
                    </a:lnTo>
                    <a:lnTo>
                      <a:pt x="816" y="1814"/>
                    </a:lnTo>
                    <a:lnTo>
                      <a:pt x="812" y="1816"/>
                    </a:lnTo>
                    <a:lnTo>
                      <a:pt x="810" y="1818"/>
                    </a:lnTo>
                    <a:lnTo>
                      <a:pt x="806" y="1814"/>
                    </a:lnTo>
                    <a:lnTo>
                      <a:pt x="806" y="1814"/>
                    </a:lnTo>
                    <a:lnTo>
                      <a:pt x="806" y="1812"/>
                    </a:lnTo>
                    <a:lnTo>
                      <a:pt x="806" y="1810"/>
                    </a:lnTo>
                    <a:lnTo>
                      <a:pt x="810" y="1808"/>
                    </a:lnTo>
                    <a:lnTo>
                      <a:pt x="812" y="1804"/>
                    </a:lnTo>
                    <a:lnTo>
                      <a:pt x="814" y="1804"/>
                    </a:lnTo>
                    <a:lnTo>
                      <a:pt x="812" y="1802"/>
                    </a:lnTo>
                    <a:lnTo>
                      <a:pt x="812" y="1802"/>
                    </a:lnTo>
                    <a:lnTo>
                      <a:pt x="810" y="1798"/>
                    </a:lnTo>
                    <a:lnTo>
                      <a:pt x="810" y="1794"/>
                    </a:lnTo>
                    <a:lnTo>
                      <a:pt x="810" y="1792"/>
                    </a:lnTo>
                    <a:lnTo>
                      <a:pt x="808" y="1790"/>
                    </a:lnTo>
                    <a:lnTo>
                      <a:pt x="808" y="1790"/>
                    </a:lnTo>
                    <a:lnTo>
                      <a:pt x="808" y="1788"/>
                    </a:lnTo>
                    <a:lnTo>
                      <a:pt x="808" y="1786"/>
                    </a:lnTo>
                    <a:lnTo>
                      <a:pt x="814" y="1784"/>
                    </a:lnTo>
                    <a:lnTo>
                      <a:pt x="818" y="1782"/>
                    </a:lnTo>
                    <a:lnTo>
                      <a:pt x="818" y="1780"/>
                    </a:lnTo>
                    <a:lnTo>
                      <a:pt x="818" y="1780"/>
                    </a:lnTo>
                    <a:lnTo>
                      <a:pt x="818" y="1780"/>
                    </a:lnTo>
                    <a:lnTo>
                      <a:pt x="818" y="1778"/>
                    </a:lnTo>
                    <a:lnTo>
                      <a:pt x="818" y="1776"/>
                    </a:lnTo>
                    <a:lnTo>
                      <a:pt x="822" y="1776"/>
                    </a:lnTo>
                    <a:lnTo>
                      <a:pt x="826" y="1774"/>
                    </a:lnTo>
                    <a:lnTo>
                      <a:pt x="826" y="1772"/>
                    </a:lnTo>
                    <a:lnTo>
                      <a:pt x="824" y="1768"/>
                    </a:lnTo>
                    <a:lnTo>
                      <a:pt x="824" y="1768"/>
                    </a:lnTo>
                    <a:lnTo>
                      <a:pt x="820" y="1764"/>
                    </a:lnTo>
                    <a:lnTo>
                      <a:pt x="824" y="1766"/>
                    </a:lnTo>
                    <a:lnTo>
                      <a:pt x="828" y="1768"/>
                    </a:lnTo>
                    <a:lnTo>
                      <a:pt x="832" y="1768"/>
                    </a:lnTo>
                    <a:lnTo>
                      <a:pt x="834" y="1766"/>
                    </a:lnTo>
                    <a:lnTo>
                      <a:pt x="834" y="1766"/>
                    </a:lnTo>
                    <a:lnTo>
                      <a:pt x="834" y="1764"/>
                    </a:lnTo>
                    <a:lnTo>
                      <a:pt x="834" y="1760"/>
                    </a:lnTo>
                    <a:lnTo>
                      <a:pt x="834" y="1750"/>
                    </a:lnTo>
                    <a:lnTo>
                      <a:pt x="836" y="1742"/>
                    </a:lnTo>
                    <a:lnTo>
                      <a:pt x="836" y="1740"/>
                    </a:lnTo>
                    <a:lnTo>
                      <a:pt x="840" y="1738"/>
                    </a:lnTo>
                    <a:lnTo>
                      <a:pt x="840" y="1738"/>
                    </a:lnTo>
                    <a:lnTo>
                      <a:pt x="844" y="1738"/>
                    </a:lnTo>
                    <a:lnTo>
                      <a:pt x="844" y="1742"/>
                    </a:lnTo>
                    <a:lnTo>
                      <a:pt x="842" y="1744"/>
                    </a:lnTo>
                    <a:lnTo>
                      <a:pt x="842" y="1746"/>
                    </a:lnTo>
                    <a:lnTo>
                      <a:pt x="844" y="1748"/>
                    </a:lnTo>
                    <a:lnTo>
                      <a:pt x="844" y="1748"/>
                    </a:lnTo>
                    <a:lnTo>
                      <a:pt x="848" y="1750"/>
                    </a:lnTo>
                    <a:lnTo>
                      <a:pt x="848" y="1748"/>
                    </a:lnTo>
                    <a:lnTo>
                      <a:pt x="850" y="1746"/>
                    </a:lnTo>
                    <a:lnTo>
                      <a:pt x="852" y="1746"/>
                    </a:lnTo>
                    <a:lnTo>
                      <a:pt x="852" y="1746"/>
                    </a:lnTo>
                    <a:lnTo>
                      <a:pt x="854" y="1748"/>
                    </a:lnTo>
                    <a:lnTo>
                      <a:pt x="856" y="1746"/>
                    </a:lnTo>
                    <a:lnTo>
                      <a:pt x="858" y="1744"/>
                    </a:lnTo>
                    <a:lnTo>
                      <a:pt x="864" y="1732"/>
                    </a:lnTo>
                    <a:lnTo>
                      <a:pt x="864" y="1732"/>
                    </a:lnTo>
                    <a:lnTo>
                      <a:pt x="864" y="1730"/>
                    </a:lnTo>
                    <a:lnTo>
                      <a:pt x="864" y="1728"/>
                    </a:lnTo>
                    <a:lnTo>
                      <a:pt x="858" y="1726"/>
                    </a:lnTo>
                    <a:lnTo>
                      <a:pt x="844" y="1724"/>
                    </a:lnTo>
                    <a:lnTo>
                      <a:pt x="844" y="1724"/>
                    </a:lnTo>
                    <a:lnTo>
                      <a:pt x="840" y="1722"/>
                    </a:lnTo>
                    <a:lnTo>
                      <a:pt x="838" y="1722"/>
                    </a:lnTo>
                    <a:lnTo>
                      <a:pt x="838" y="1722"/>
                    </a:lnTo>
                    <a:lnTo>
                      <a:pt x="840" y="1718"/>
                    </a:lnTo>
                    <a:lnTo>
                      <a:pt x="840" y="1718"/>
                    </a:lnTo>
                    <a:lnTo>
                      <a:pt x="842" y="1714"/>
                    </a:lnTo>
                    <a:lnTo>
                      <a:pt x="840" y="1710"/>
                    </a:lnTo>
                    <a:lnTo>
                      <a:pt x="838" y="1706"/>
                    </a:lnTo>
                    <a:lnTo>
                      <a:pt x="838" y="1700"/>
                    </a:lnTo>
                    <a:lnTo>
                      <a:pt x="838" y="1700"/>
                    </a:lnTo>
                    <a:lnTo>
                      <a:pt x="840" y="1690"/>
                    </a:lnTo>
                    <a:lnTo>
                      <a:pt x="842" y="1686"/>
                    </a:lnTo>
                    <a:lnTo>
                      <a:pt x="844" y="1684"/>
                    </a:lnTo>
                    <a:lnTo>
                      <a:pt x="844" y="1684"/>
                    </a:lnTo>
                    <a:lnTo>
                      <a:pt x="846" y="1680"/>
                    </a:lnTo>
                    <a:lnTo>
                      <a:pt x="848" y="1676"/>
                    </a:lnTo>
                    <a:lnTo>
                      <a:pt x="848" y="1670"/>
                    </a:lnTo>
                    <a:lnTo>
                      <a:pt x="846" y="1662"/>
                    </a:lnTo>
                    <a:lnTo>
                      <a:pt x="846" y="1662"/>
                    </a:lnTo>
                    <a:lnTo>
                      <a:pt x="844" y="1658"/>
                    </a:lnTo>
                    <a:lnTo>
                      <a:pt x="844" y="1656"/>
                    </a:lnTo>
                    <a:lnTo>
                      <a:pt x="846" y="1652"/>
                    </a:lnTo>
                    <a:lnTo>
                      <a:pt x="850" y="1648"/>
                    </a:lnTo>
                    <a:lnTo>
                      <a:pt x="850" y="1648"/>
                    </a:lnTo>
                    <a:lnTo>
                      <a:pt x="850" y="1646"/>
                    </a:lnTo>
                    <a:lnTo>
                      <a:pt x="850" y="1646"/>
                    </a:lnTo>
                    <a:lnTo>
                      <a:pt x="846" y="1646"/>
                    </a:lnTo>
                    <a:lnTo>
                      <a:pt x="844" y="1650"/>
                    </a:lnTo>
                    <a:lnTo>
                      <a:pt x="838" y="1654"/>
                    </a:lnTo>
                    <a:lnTo>
                      <a:pt x="830" y="1656"/>
                    </a:lnTo>
                    <a:lnTo>
                      <a:pt x="830" y="1656"/>
                    </a:lnTo>
                    <a:lnTo>
                      <a:pt x="824" y="1658"/>
                    </a:lnTo>
                    <a:lnTo>
                      <a:pt x="822" y="1660"/>
                    </a:lnTo>
                    <a:lnTo>
                      <a:pt x="814" y="1672"/>
                    </a:lnTo>
                    <a:lnTo>
                      <a:pt x="810" y="1676"/>
                    </a:lnTo>
                    <a:lnTo>
                      <a:pt x="804" y="1680"/>
                    </a:lnTo>
                    <a:lnTo>
                      <a:pt x="796" y="1684"/>
                    </a:lnTo>
                    <a:lnTo>
                      <a:pt x="786" y="1686"/>
                    </a:lnTo>
                    <a:lnTo>
                      <a:pt x="786" y="1686"/>
                    </a:lnTo>
                    <a:lnTo>
                      <a:pt x="776" y="1686"/>
                    </a:lnTo>
                    <a:lnTo>
                      <a:pt x="768" y="1690"/>
                    </a:lnTo>
                    <a:lnTo>
                      <a:pt x="762" y="1694"/>
                    </a:lnTo>
                    <a:lnTo>
                      <a:pt x="758" y="1700"/>
                    </a:lnTo>
                    <a:lnTo>
                      <a:pt x="754" y="1708"/>
                    </a:lnTo>
                    <a:lnTo>
                      <a:pt x="752" y="1718"/>
                    </a:lnTo>
                    <a:lnTo>
                      <a:pt x="748" y="1736"/>
                    </a:lnTo>
                    <a:lnTo>
                      <a:pt x="748" y="1736"/>
                    </a:lnTo>
                    <a:lnTo>
                      <a:pt x="748" y="1752"/>
                    </a:lnTo>
                    <a:lnTo>
                      <a:pt x="750" y="1762"/>
                    </a:lnTo>
                    <a:lnTo>
                      <a:pt x="752" y="1770"/>
                    </a:lnTo>
                    <a:lnTo>
                      <a:pt x="750" y="1778"/>
                    </a:lnTo>
                    <a:lnTo>
                      <a:pt x="750" y="1778"/>
                    </a:lnTo>
                    <a:lnTo>
                      <a:pt x="746" y="1784"/>
                    </a:lnTo>
                    <a:lnTo>
                      <a:pt x="748" y="1786"/>
                    </a:lnTo>
                    <a:lnTo>
                      <a:pt x="750" y="1786"/>
                    </a:lnTo>
                    <a:lnTo>
                      <a:pt x="754" y="1790"/>
                    </a:lnTo>
                    <a:lnTo>
                      <a:pt x="754" y="1790"/>
                    </a:lnTo>
                    <a:lnTo>
                      <a:pt x="758" y="1792"/>
                    </a:lnTo>
                    <a:lnTo>
                      <a:pt x="758" y="1790"/>
                    </a:lnTo>
                    <a:lnTo>
                      <a:pt x="758" y="1788"/>
                    </a:lnTo>
                    <a:lnTo>
                      <a:pt x="762" y="1790"/>
                    </a:lnTo>
                    <a:lnTo>
                      <a:pt x="762" y="1790"/>
                    </a:lnTo>
                    <a:lnTo>
                      <a:pt x="764" y="1792"/>
                    </a:lnTo>
                    <a:lnTo>
                      <a:pt x="768" y="1792"/>
                    </a:lnTo>
                    <a:lnTo>
                      <a:pt x="772" y="1796"/>
                    </a:lnTo>
                    <a:lnTo>
                      <a:pt x="772" y="1804"/>
                    </a:lnTo>
                    <a:lnTo>
                      <a:pt x="772" y="1804"/>
                    </a:lnTo>
                    <a:lnTo>
                      <a:pt x="770" y="1810"/>
                    </a:lnTo>
                    <a:lnTo>
                      <a:pt x="768" y="1808"/>
                    </a:lnTo>
                    <a:lnTo>
                      <a:pt x="766" y="1806"/>
                    </a:lnTo>
                    <a:lnTo>
                      <a:pt x="764" y="1806"/>
                    </a:lnTo>
                    <a:lnTo>
                      <a:pt x="764" y="1810"/>
                    </a:lnTo>
                    <a:lnTo>
                      <a:pt x="764" y="1810"/>
                    </a:lnTo>
                    <a:lnTo>
                      <a:pt x="764" y="1814"/>
                    </a:lnTo>
                    <a:lnTo>
                      <a:pt x="764" y="1814"/>
                    </a:lnTo>
                    <a:lnTo>
                      <a:pt x="768" y="1812"/>
                    </a:lnTo>
                    <a:lnTo>
                      <a:pt x="770" y="1812"/>
                    </a:lnTo>
                    <a:lnTo>
                      <a:pt x="770" y="1814"/>
                    </a:lnTo>
                    <a:lnTo>
                      <a:pt x="770" y="1826"/>
                    </a:lnTo>
                    <a:lnTo>
                      <a:pt x="770" y="1826"/>
                    </a:lnTo>
                    <a:lnTo>
                      <a:pt x="770" y="1830"/>
                    </a:lnTo>
                    <a:lnTo>
                      <a:pt x="774" y="1836"/>
                    </a:lnTo>
                    <a:lnTo>
                      <a:pt x="784" y="1848"/>
                    </a:lnTo>
                    <a:lnTo>
                      <a:pt x="784" y="1848"/>
                    </a:lnTo>
                    <a:lnTo>
                      <a:pt x="786" y="1850"/>
                    </a:lnTo>
                    <a:lnTo>
                      <a:pt x="786" y="1852"/>
                    </a:lnTo>
                    <a:lnTo>
                      <a:pt x="782" y="1854"/>
                    </a:lnTo>
                    <a:lnTo>
                      <a:pt x="774" y="1856"/>
                    </a:lnTo>
                    <a:lnTo>
                      <a:pt x="772" y="1858"/>
                    </a:lnTo>
                    <a:lnTo>
                      <a:pt x="770" y="1860"/>
                    </a:lnTo>
                    <a:lnTo>
                      <a:pt x="770" y="1860"/>
                    </a:lnTo>
                    <a:lnTo>
                      <a:pt x="770" y="1864"/>
                    </a:lnTo>
                    <a:lnTo>
                      <a:pt x="770" y="1864"/>
                    </a:lnTo>
                    <a:lnTo>
                      <a:pt x="776" y="1864"/>
                    </a:lnTo>
                    <a:lnTo>
                      <a:pt x="780" y="1862"/>
                    </a:lnTo>
                    <a:lnTo>
                      <a:pt x="780" y="1864"/>
                    </a:lnTo>
                    <a:lnTo>
                      <a:pt x="778" y="1866"/>
                    </a:lnTo>
                    <a:lnTo>
                      <a:pt x="778" y="1866"/>
                    </a:lnTo>
                    <a:lnTo>
                      <a:pt x="778" y="1870"/>
                    </a:lnTo>
                    <a:lnTo>
                      <a:pt x="778" y="1872"/>
                    </a:lnTo>
                    <a:lnTo>
                      <a:pt x="782" y="1874"/>
                    </a:lnTo>
                    <a:lnTo>
                      <a:pt x="786" y="1876"/>
                    </a:lnTo>
                    <a:lnTo>
                      <a:pt x="786" y="1876"/>
                    </a:lnTo>
                    <a:lnTo>
                      <a:pt x="784" y="1878"/>
                    </a:lnTo>
                    <a:lnTo>
                      <a:pt x="784" y="1878"/>
                    </a:lnTo>
                    <a:lnTo>
                      <a:pt x="780" y="1880"/>
                    </a:lnTo>
                    <a:lnTo>
                      <a:pt x="780" y="1882"/>
                    </a:lnTo>
                    <a:lnTo>
                      <a:pt x="782" y="1886"/>
                    </a:lnTo>
                    <a:lnTo>
                      <a:pt x="790" y="1886"/>
                    </a:lnTo>
                    <a:lnTo>
                      <a:pt x="790" y="1886"/>
                    </a:lnTo>
                    <a:lnTo>
                      <a:pt x="798" y="1890"/>
                    </a:lnTo>
                    <a:lnTo>
                      <a:pt x="804" y="1894"/>
                    </a:lnTo>
                    <a:lnTo>
                      <a:pt x="804" y="1898"/>
                    </a:lnTo>
                    <a:lnTo>
                      <a:pt x="800" y="1896"/>
                    </a:lnTo>
                    <a:lnTo>
                      <a:pt x="800" y="1896"/>
                    </a:lnTo>
                    <a:lnTo>
                      <a:pt x="794" y="1892"/>
                    </a:lnTo>
                    <a:lnTo>
                      <a:pt x="786" y="1890"/>
                    </a:lnTo>
                    <a:lnTo>
                      <a:pt x="780" y="1890"/>
                    </a:lnTo>
                    <a:lnTo>
                      <a:pt x="772" y="1888"/>
                    </a:lnTo>
                    <a:lnTo>
                      <a:pt x="772" y="1888"/>
                    </a:lnTo>
                    <a:lnTo>
                      <a:pt x="770" y="1888"/>
                    </a:lnTo>
                    <a:lnTo>
                      <a:pt x="768" y="1890"/>
                    </a:lnTo>
                    <a:lnTo>
                      <a:pt x="768" y="1900"/>
                    </a:lnTo>
                    <a:lnTo>
                      <a:pt x="770" y="1910"/>
                    </a:lnTo>
                    <a:lnTo>
                      <a:pt x="768" y="1916"/>
                    </a:lnTo>
                    <a:lnTo>
                      <a:pt x="766" y="1918"/>
                    </a:lnTo>
                    <a:lnTo>
                      <a:pt x="766" y="1918"/>
                    </a:lnTo>
                    <a:lnTo>
                      <a:pt x="764" y="1920"/>
                    </a:lnTo>
                    <a:lnTo>
                      <a:pt x="764" y="1918"/>
                    </a:lnTo>
                    <a:lnTo>
                      <a:pt x="764" y="1914"/>
                    </a:lnTo>
                    <a:lnTo>
                      <a:pt x="764" y="1908"/>
                    </a:lnTo>
                    <a:lnTo>
                      <a:pt x="764" y="1906"/>
                    </a:lnTo>
                    <a:lnTo>
                      <a:pt x="762" y="1904"/>
                    </a:lnTo>
                    <a:lnTo>
                      <a:pt x="762" y="1904"/>
                    </a:lnTo>
                    <a:lnTo>
                      <a:pt x="758" y="1904"/>
                    </a:lnTo>
                    <a:lnTo>
                      <a:pt x="756" y="1906"/>
                    </a:lnTo>
                    <a:lnTo>
                      <a:pt x="756" y="1912"/>
                    </a:lnTo>
                    <a:lnTo>
                      <a:pt x="754" y="1916"/>
                    </a:lnTo>
                    <a:lnTo>
                      <a:pt x="754" y="1916"/>
                    </a:lnTo>
                    <a:lnTo>
                      <a:pt x="750" y="1914"/>
                    </a:lnTo>
                    <a:lnTo>
                      <a:pt x="750" y="1914"/>
                    </a:lnTo>
                    <a:lnTo>
                      <a:pt x="748" y="1912"/>
                    </a:lnTo>
                    <a:lnTo>
                      <a:pt x="748" y="1910"/>
                    </a:lnTo>
                    <a:lnTo>
                      <a:pt x="750" y="1904"/>
                    </a:lnTo>
                    <a:lnTo>
                      <a:pt x="748" y="1902"/>
                    </a:lnTo>
                    <a:lnTo>
                      <a:pt x="746" y="1900"/>
                    </a:lnTo>
                    <a:lnTo>
                      <a:pt x="742" y="1898"/>
                    </a:lnTo>
                    <a:lnTo>
                      <a:pt x="734" y="1898"/>
                    </a:lnTo>
                    <a:lnTo>
                      <a:pt x="734" y="1898"/>
                    </a:lnTo>
                    <a:lnTo>
                      <a:pt x="720" y="1898"/>
                    </a:lnTo>
                    <a:lnTo>
                      <a:pt x="714" y="1900"/>
                    </a:lnTo>
                    <a:lnTo>
                      <a:pt x="710" y="1906"/>
                    </a:lnTo>
                    <a:lnTo>
                      <a:pt x="708" y="1914"/>
                    </a:lnTo>
                    <a:lnTo>
                      <a:pt x="708" y="1914"/>
                    </a:lnTo>
                    <a:lnTo>
                      <a:pt x="706" y="1916"/>
                    </a:lnTo>
                    <a:lnTo>
                      <a:pt x="706" y="1920"/>
                    </a:lnTo>
                    <a:lnTo>
                      <a:pt x="710" y="1922"/>
                    </a:lnTo>
                    <a:lnTo>
                      <a:pt x="714" y="1922"/>
                    </a:lnTo>
                    <a:lnTo>
                      <a:pt x="714" y="1924"/>
                    </a:lnTo>
                    <a:lnTo>
                      <a:pt x="712" y="1926"/>
                    </a:lnTo>
                    <a:lnTo>
                      <a:pt x="712" y="1926"/>
                    </a:lnTo>
                    <a:lnTo>
                      <a:pt x="708" y="1926"/>
                    </a:lnTo>
                    <a:lnTo>
                      <a:pt x="706" y="1926"/>
                    </a:lnTo>
                    <a:lnTo>
                      <a:pt x="700" y="1918"/>
                    </a:lnTo>
                    <a:lnTo>
                      <a:pt x="700" y="1918"/>
                    </a:lnTo>
                    <a:lnTo>
                      <a:pt x="696" y="1914"/>
                    </a:lnTo>
                    <a:lnTo>
                      <a:pt x="688" y="1914"/>
                    </a:lnTo>
                    <a:lnTo>
                      <a:pt x="664" y="1918"/>
                    </a:lnTo>
                    <a:lnTo>
                      <a:pt x="664" y="1918"/>
                    </a:lnTo>
                    <a:lnTo>
                      <a:pt x="654" y="1920"/>
                    </a:lnTo>
                    <a:lnTo>
                      <a:pt x="646" y="1924"/>
                    </a:lnTo>
                    <a:lnTo>
                      <a:pt x="640" y="1926"/>
                    </a:lnTo>
                    <a:lnTo>
                      <a:pt x="636" y="1930"/>
                    </a:lnTo>
                    <a:lnTo>
                      <a:pt x="634" y="1934"/>
                    </a:lnTo>
                    <a:lnTo>
                      <a:pt x="634" y="1938"/>
                    </a:lnTo>
                    <a:lnTo>
                      <a:pt x="634" y="1940"/>
                    </a:lnTo>
                    <a:lnTo>
                      <a:pt x="636" y="1940"/>
                    </a:lnTo>
                    <a:lnTo>
                      <a:pt x="636" y="1940"/>
                    </a:lnTo>
                    <a:lnTo>
                      <a:pt x="638" y="1940"/>
                    </a:lnTo>
                    <a:lnTo>
                      <a:pt x="640" y="1942"/>
                    </a:lnTo>
                    <a:lnTo>
                      <a:pt x="640" y="1946"/>
                    </a:lnTo>
                    <a:lnTo>
                      <a:pt x="640" y="1950"/>
                    </a:lnTo>
                    <a:lnTo>
                      <a:pt x="642" y="1950"/>
                    </a:lnTo>
                    <a:lnTo>
                      <a:pt x="644" y="1952"/>
                    </a:lnTo>
                    <a:lnTo>
                      <a:pt x="644" y="1952"/>
                    </a:lnTo>
                    <a:lnTo>
                      <a:pt x="646" y="1952"/>
                    </a:lnTo>
                    <a:lnTo>
                      <a:pt x="646" y="1954"/>
                    </a:lnTo>
                    <a:lnTo>
                      <a:pt x="646" y="1958"/>
                    </a:lnTo>
                    <a:lnTo>
                      <a:pt x="646" y="1962"/>
                    </a:lnTo>
                    <a:lnTo>
                      <a:pt x="648" y="1964"/>
                    </a:lnTo>
                    <a:lnTo>
                      <a:pt x="650" y="1966"/>
                    </a:lnTo>
                    <a:lnTo>
                      <a:pt x="650" y="1966"/>
                    </a:lnTo>
                    <a:lnTo>
                      <a:pt x="654" y="1968"/>
                    </a:lnTo>
                    <a:lnTo>
                      <a:pt x="656" y="1972"/>
                    </a:lnTo>
                    <a:lnTo>
                      <a:pt x="654" y="1976"/>
                    </a:lnTo>
                    <a:lnTo>
                      <a:pt x="652" y="1980"/>
                    </a:lnTo>
                    <a:lnTo>
                      <a:pt x="648" y="1984"/>
                    </a:lnTo>
                    <a:lnTo>
                      <a:pt x="644" y="1986"/>
                    </a:lnTo>
                    <a:lnTo>
                      <a:pt x="638" y="1988"/>
                    </a:lnTo>
                    <a:lnTo>
                      <a:pt x="634" y="1986"/>
                    </a:lnTo>
                    <a:lnTo>
                      <a:pt x="634" y="1986"/>
                    </a:lnTo>
                    <a:lnTo>
                      <a:pt x="628" y="1980"/>
                    </a:lnTo>
                    <a:lnTo>
                      <a:pt x="624" y="1974"/>
                    </a:lnTo>
                    <a:lnTo>
                      <a:pt x="624" y="1970"/>
                    </a:lnTo>
                    <a:lnTo>
                      <a:pt x="624" y="1968"/>
                    </a:lnTo>
                    <a:lnTo>
                      <a:pt x="626" y="1966"/>
                    </a:lnTo>
                    <a:lnTo>
                      <a:pt x="630" y="1964"/>
                    </a:lnTo>
                    <a:lnTo>
                      <a:pt x="630" y="1964"/>
                    </a:lnTo>
                    <a:lnTo>
                      <a:pt x="634" y="1960"/>
                    </a:lnTo>
                    <a:lnTo>
                      <a:pt x="632" y="1958"/>
                    </a:lnTo>
                    <a:lnTo>
                      <a:pt x="628" y="1956"/>
                    </a:lnTo>
                    <a:lnTo>
                      <a:pt x="626" y="1952"/>
                    </a:lnTo>
                    <a:lnTo>
                      <a:pt x="626" y="1952"/>
                    </a:lnTo>
                    <a:lnTo>
                      <a:pt x="626" y="1946"/>
                    </a:lnTo>
                    <a:lnTo>
                      <a:pt x="630" y="1942"/>
                    </a:lnTo>
                    <a:lnTo>
                      <a:pt x="630" y="1940"/>
                    </a:lnTo>
                    <a:lnTo>
                      <a:pt x="628" y="1940"/>
                    </a:lnTo>
                    <a:lnTo>
                      <a:pt x="618" y="1946"/>
                    </a:lnTo>
                    <a:lnTo>
                      <a:pt x="618" y="1946"/>
                    </a:lnTo>
                    <a:lnTo>
                      <a:pt x="614" y="1944"/>
                    </a:lnTo>
                    <a:lnTo>
                      <a:pt x="612" y="1946"/>
                    </a:lnTo>
                    <a:lnTo>
                      <a:pt x="610" y="1954"/>
                    </a:lnTo>
                    <a:lnTo>
                      <a:pt x="606" y="1968"/>
                    </a:lnTo>
                    <a:lnTo>
                      <a:pt x="604" y="1978"/>
                    </a:lnTo>
                    <a:lnTo>
                      <a:pt x="600" y="1986"/>
                    </a:lnTo>
                    <a:lnTo>
                      <a:pt x="600" y="1986"/>
                    </a:lnTo>
                    <a:lnTo>
                      <a:pt x="592" y="2000"/>
                    </a:lnTo>
                    <a:lnTo>
                      <a:pt x="588" y="2004"/>
                    </a:lnTo>
                    <a:lnTo>
                      <a:pt x="586" y="2004"/>
                    </a:lnTo>
                    <a:lnTo>
                      <a:pt x="586" y="2008"/>
                    </a:lnTo>
                    <a:lnTo>
                      <a:pt x="586" y="2008"/>
                    </a:lnTo>
                    <a:lnTo>
                      <a:pt x="586" y="2010"/>
                    </a:lnTo>
                    <a:lnTo>
                      <a:pt x="584" y="2012"/>
                    </a:lnTo>
                    <a:lnTo>
                      <a:pt x="578" y="2014"/>
                    </a:lnTo>
                    <a:lnTo>
                      <a:pt x="572" y="2016"/>
                    </a:lnTo>
                    <a:lnTo>
                      <a:pt x="570" y="2018"/>
                    </a:lnTo>
                    <a:lnTo>
                      <a:pt x="572" y="2020"/>
                    </a:lnTo>
                    <a:lnTo>
                      <a:pt x="572" y="2020"/>
                    </a:lnTo>
                    <a:lnTo>
                      <a:pt x="578" y="2024"/>
                    </a:lnTo>
                    <a:lnTo>
                      <a:pt x="586" y="2024"/>
                    </a:lnTo>
                    <a:lnTo>
                      <a:pt x="590" y="2026"/>
                    </a:lnTo>
                    <a:lnTo>
                      <a:pt x="584" y="2030"/>
                    </a:lnTo>
                    <a:lnTo>
                      <a:pt x="584" y="2030"/>
                    </a:lnTo>
                    <a:lnTo>
                      <a:pt x="570" y="2026"/>
                    </a:lnTo>
                    <a:lnTo>
                      <a:pt x="564" y="2026"/>
                    </a:lnTo>
                    <a:lnTo>
                      <a:pt x="562" y="2028"/>
                    </a:lnTo>
                    <a:lnTo>
                      <a:pt x="562" y="2028"/>
                    </a:lnTo>
                    <a:lnTo>
                      <a:pt x="562" y="2030"/>
                    </a:lnTo>
                    <a:lnTo>
                      <a:pt x="562" y="2032"/>
                    </a:lnTo>
                    <a:lnTo>
                      <a:pt x="568" y="2034"/>
                    </a:lnTo>
                    <a:lnTo>
                      <a:pt x="574" y="2036"/>
                    </a:lnTo>
                    <a:lnTo>
                      <a:pt x="580" y="2036"/>
                    </a:lnTo>
                    <a:lnTo>
                      <a:pt x="580" y="2036"/>
                    </a:lnTo>
                    <a:lnTo>
                      <a:pt x="586" y="2036"/>
                    </a:lnTo>
                    <a:lnTo>
                      <a:pt x="588" y="2036"/>
                    </a:lnTo>
                    <a:lnTo>
                      <a:pt x="588" y="2038"/>
                    </a:lnTo>
                    <a:lnTo>
                      <a:pt x="588" y="2040"/>
                    </a:lnTo>
                    <a:lnTo>
                      <a:pt x="588" y="2040"/>
                    </a:lnTo>
                    <a:lnTo>
                      <a:pt x="580" y="2042"/>
                    </a:lnTo>
                    <a:lnTo>
                      <a:pt x="576" y="2042"/>
                    </a:lnTo>
                    <a:lnTo>
                      <a:pt x="572" y="2042"/>
                    </a:lnTo>
                    <a:lnTo>
                      <a:pt x="572" y="2042"/>
                    </a:lnTo>
                    <a:lnTo>
                      <a:pt x="566" y="2038"/>
                    </a:lnTo>
                    <a:lnTo>
                      <a:pt x="564" y="2038"/>
                    </a:lnTo>
                    <a:lnTo>
                      <a:pt x="558" y="2040"/>
                    </a:lnTo>
                    <a:lnTo>
                      <a:pt x="558" y="2040"/>
                    </a:lnTo>
                    <a:lnTo>
                      <a:pt x="550" y="2044"/>
                    </a:lnTo>
                    <a:lnTo>
                      <a:pt x="540" y="2048"/>
                    </a:lnTo>
                    <a:lnTo>
                      <a:pt x="532" y="2054"/>
                    </a:lnTo>
                    <a:lnTo>
                      <a:pt x="524" y="2058"/>
                    </a:lnTo>
                    <a:lnTo>
                      <a:pt x="524" y="2058"/>
                    </a:lnTo>
                    <a:lnTo>
                      <a:pt x="504" y="2060"/>
                    </a:lnTo>
                    <a:lnTo>
                      <a:pt x="492" y="2064"/>
                    </a:lnTo>
                    <a:lnTo>
                      <a:pt x="488" y="2068"/>
                    </a:lnTo>
                    <a:lnTo>
                      <a:pt x="486" y="2070"/>
                    </a:lnTo>
                    <a:lnTo>
                      <a:pt x="484" y="2074"/>
                    </a:lnTo>
                    <a:lnTo>
                      <a:pt x="484" y="2078"/>
                    </a:lnTo>
                    <a:lnTo>
                      <a:pt x="484" y="2078"/>
                    </a:lnTo>
                    <a:lnTo>
                      <a:pt x="486" y="2086"/>
                    </a:lnTo>
                    <a:lnTo>
                      <a:pt x="484" y="2090"/>
                    </a:lnTo>
                    <a:lnTo>
                      <a:pt x="484" y="2094"/>
                    </a:lnTo>
                    <a:lnTo>
                      <a:pt x="486" y="2098"/>
                    </a:lnTo>
                    <a:lnTo>
                      <a:pt x="486" y="2098"/>
                    </a:lnTo>
                    <a:lnTo>
                      <a:pt x="486" y="2100"/>
                    </a:lnTo>
                    <a:lnTo>
                      <a:pt x="484" y="2100"/>
                    </a:lnTo>
                    <a:lnTo>
                      <a:pt x="484" y="2102"/>
                    </a:lnTo>
                    <a:lnTo>
                      <a:pt x="486" y="2106"/>
                    </a:lnTo>
                    <a:lnTo>
                      <a:pt x="486" y="2106"/>
                    </a:lnTo>
                    <a:lnTo>
                      <a:pt x="488" y="2108"/>
                    </a:lnTo>
                    <a:lnTo>
                      <a:pt x="486" y="2110"/>
                    </a:lnTo>
                    <a:lnTo>
                      <a:pt x="482" y="2112"/>
                    </a:lnTo>
                    <a:lnTo>
                      <a:pt x="480" y="2114"/>
                    </a:lnTo>
                    <a:lnTo>
                      <a:pt x="480" y="2114"/>
                    </a:lnTo>
                    <a:lnTo>
                      <a:pt x="478" y="2118"/>
                    </a:lnTo>
                    <a:lnTo>
                      <a:pt x="472" y="2120"/>
                    </a:lnTo>
                    <a:lnTo>
                      <a:pt x="444" y="2132"/>
                    </a:lnTo>
                    <a:lnTo>
                      <a:pt x="444" y="2132"/>
                    </a:lnTo>
                    <a:lnTo>
                      <a:pt x="434" y="2136"/>
                    </a:lnTo>
                    <a:lnTo>
                      <a:pt x="428" y="2140"/>
                    </a:lnTo>
                    <a:lnTo>
                      <a:pt x="426" y="2144"/>
                    </a:lnTo>
                    <a:lnTo>
                      <a:pt x="426" y="2146"/>
                    </a:lnTo>
                    <a:lnTo>
                      <a:pt x="426" y="2150"/>
                    </a:lnTo>
                    <a:lnTo>
                      <a:pt x="428" y="2152"/>
                    </a:lnTo>
                    <a:lnTo>
                      <a:pt x="432" y="2154"/>
                    </a:lnTo>
                    <a:lnTo>
                      <a:pt x="432" y="2154"/>
                    </a:lnTo>
                    <a:lnTo>
                      <a:pt x="434" y="2154"/>
                    </a:lnTo>
                    <a:lnTo>
                      <a:pt x="432" y="2156"/>
                    </a:lnTo>
                    <a:lnTo>
                      <a:pt x="420" y="2162"/>
                    </a:lnTo>
                    <a:lnTo>
                      <a:pt x="420" y="2162"/>
                    </a:lnTo>
                    <a:lnTo>
                      <a:pt x="416" y="2164"/>
                    </a:lnTo>
                    <a:lnTo>
                      <a:pt x="412" y="2164"/>
                    </a:lnTo>
                    <a:lnTo>
                      <a:pt x="402" y="2162"/>
                    </a:lnTo>
                    <a:lnTo>
                      <a:pt x="392" y="2158"/>
                    </a:lnTo>
                    <a:lnTo>
                      <a:pt x="384" y="2158"/>
                    </a:lnTo>
                    <a:lnTo>
                      <a:pt x="376" y="2160"/>
                    </a:lnTo>
                    <a:lnTo>
                      <a:pt x="376" y="2160"/>
                    </a:lnTo>
                    <a:lnTo>
                      <a:pt x="374" y="2160"/>
                    </a:lnTo>
                    <a:lnTo>
                      <a:pt x="372" y="2156"/>
                    </a:lnTo>
                    <a:lnTo>
                      <a:pt x="372" y="2148"/>
                    </a:lnTo>
                    <a:lnTo>
                      <a:pt x="370" y="2142"/>
                    </a:lnTo>
                    <a:lnTo>
                      <a:pt x="368" y="2140"/>
                    </a:lnTo>
                    <a:lnTo>
                      <a:pt x="364" y="2140"/>
                    </a:lnTo>
                    <a:lnTo>
                      <a:pt x="364" y="2140"/>
                    </a:lnTo>
                    <a:lnTo>
                      <a:pt x="356" y="2140"/>
                    </a:lnTo>
                    <a:lnTo>
                      <a:pt x="348" y="2140"/>
                    </a:lnTo>
                    <a:lnTo>
                      <a:pt x="346" y="2138"/>
                    </a:lnTo>
                    <a:lnTo>
                      <a:pt x="346" y="2142"/>
                    </a:lnTo>
                    <a:lnTo>
                      <a:pt x="346" y="2142"/>
                    </a:lnTo>
                    <a:lnTo>
                      <a:pt x="348" y="2148"/>
                    </a:lnTo>
                    <a:lnTo>
                      <a:pt x="348" y="2152"/>
                    </a:lnTo>
                    <a:lnTo>
                      <a:pt x="348" y="2156"/>
                    </a:lnTo>
                    <a:lnTo>
                      <a:pt x="352" y="2160"/>
                    </a:lnTo>
                    <a:lnTo>
                      <a:pt x="352" y="2160"/>
                    </a:lnTo>
                    <a:lnTo>
                      <a:pt x="356" y="2164"/>
                    </a:lnTo>
                    <a:lnTo>
                      <a:pt x="358" y="2172"/>
                    </a:lnTo>
                    <a:lnTo>
                      <a:pt x="360" y="2180"/>
                    </a:lnTo>
                    <a:lnTo>
                      <a:pt x="360" y="2188"/>
                    </a:lnTo>
                    <a:lnTo>
                      <a:pt x="360" y="2188"/>
                    </a:lnTo>
                    <a:lnTo>
                      <a:pt x="360" y="2192"/>
                    </a:lnTo>
                    <a:lnTo>
                      <a:pt x="360" y="2194"/>
                    </a:lnTo>
                    <a:lnTo>
                      <a:pt x="362" y="2200"/>
                    </a:lnTo>
                    <a:lnTo>
                      <a:pt x="364" y="2202"/>
                    </a:lnTo>
                    <a:lnTo>
                      <a:pt x="358" y="2204"/>
                    </a:lnTo>
                    <a:lnTo>
                      <a:pt x="358" y="2204"/>
                    </a:lnTo>
                    <a:lnTo>
                      <a:pt x="352" y="2204"/>
                    </a:lnTo>
                    <a:lnTo>
                      <a:pt x="350" y="2202"/>
                    </a:lnTo>
                    <a:lnTo>
                      <a:pt x="348" y="2198"/>
                    </a:lnTo>
                    <a:lnTo>
                      <a:pt x="346" y="2198"/>
                    </a:lnTo>
                    <a:lnTo>
                      <a:pt x="346" y="2198"/>
                    </a:lnTo>
                    <a:lnTo>
                      <a:pt x="344" y="2198"/>
                    </a:lnTo>
                    <a:lnTo>
                      <a:pt x="344" y="2200"/>
                    </a:lnTo>
                    <a:lnTo>
                      <a:pt x="342" y="2202"/>
                    </a:lnTo>
                    <a:lnTo>
                      <a:pt x="338" y="2202"/>
                    </a:lnTo>
                    <a:lnTo>
                      <a:pt x="338" y="2202"/>
                    </a:lnTo>
                    <a:lnTo>
                      <a:pt x="334" y="2202"/>
                    </a:lnTo>
                    <a:lnTo>
                      <a:pt x="332" y="2200"/>
                    </a:lnTo>
                    <a:lnTo>
                      <a:pt x="330" y="2198"/>
                    </a:lnTo>
                    <a:lnTo>
                      <a:pt x="326" y="2200"/>
                    </a:lnTo>
                    <a:lnTo>
                      <a:pt x="326" y="2200"/>
                    </a:lnTo>
                    <a:lnTo>
                      <a:pt x="318" y="2206"/>
                    </a:lnTo>
                    <a:lnTo>
                      <a:pt x="314" y="2208"/>
                    </a:lnTo>
                    <a:lnTo>
                      <a:pt x="310" y="2206"/>
                    </a:lnTo>
                    <a:lnTo>
                      <a:pt x="310" y="2206"/>
                    </a:lnTo>
                    <a:lnTo>
                      <a:pt x="302" y="2192"/>
                    </a:lnTo>
                    <a:lnTo>
                      <a:pt x="298" y="2186"/>
                    </a:lnTo>
                    <a:lnTo>
                      <a:pt x="296" y="2186"/>
                    </a:lnTo>
                    <a:lnTo>
                      <a:pt x="292" y="2188"/>
                    </a:lnTo>
                    <a:lnTo>
                      <a:pt x="292" y="2188"/>
                    </a:lnTo>
                    <a:lnTo>
                      <a:pt x="286" y="2190"/>
                    </a:lnTo>
                    <a:lnTo>
                      <a:pt x="282" y="2190"/>
                    </a:lnTo>
                    <a:lnTo>
                      <a:pt x="280" y="2190"/>
                    </a:lnTo>
                    <a:lnTo>
                      <a:pt x="278" y="2194"/>
                    </a:lnTo>
                    <a:lnTo>
                      <a:pt x="278" y="2194"/>
                    </a:lnTo>
                    <a:lnTo>
                      <a:pt x="278" y="2198"/>
                    </a:lnTo>
                    <a:lnTo>
                      <a:pt x="276" y="2200"/>
                    </a:lnTo>
                    <a:lnTo>
                      <a:pt x="270" y="2200"/>
                    </a:lnTo>
                    <a:lnTo>
                      <a:pt x="264" y="2198"/>
                    </a:lnTo>
                    <a:lnTo>
                      <a:pt x="264" y="2198"/>
                    </a:lnTo>
                    <a:lnTo>
                      <a:pt x="260" y="2196"/>
                    </a:lnTo>
                    <a:lnTo>
                      <a:pt x="260" y="2196"/>
                    </a:lnTo>
                    <a:lnTo>
                      <a:pt x="258" y="2198"/>
                    </a:lnTo>
                    <a:lnTo>
                      <a:pt x="250" y="2200"/>
                    </a:lnTo>
                    <a:lnTo>
                      <a:pt x="250" y="2200"/>
                    </a:lnTo>
                    <a:lnTo>
                      <a:pt x="240" y="2202"/>
                    </a:lnTo>
                    <a:lnTo>
                      <a:pt x="234" y="2206"/>
                    </a:lnTo>
                    <a:lnTo>
                      <a:pt x="230" y="2212"/>
                    </a:lnTo>
                    <a:lnTo>
                      <a:pt x="230" y="2216"/>
                    </a:lnTo>
                    <a:lnTo>
                      <a:pt x="230" y="2216"/>
                    </a:lnTo>
                    <a:lnTo>
                      <a:pt x="232" y="2218"/>
                    </a:lnTo>
                    <a:lnTo>
                      <a:pt x="236" y="2218"/>
                    </a:lnTo>
                    <a:lnTo>
                      <a:pt x="240" y="2218"/>
                    </a:lnTo>
                    <a:lnTo>
                      <a:pt x="244" y="2218"/>
                    </a:lnTo>
                    <a:lnTo>
                      <a:pt x="244" y="2218"/>
                    </a:lnTo>
                    <a:lnTo>
                      <a:pt x="246" y="2220"/>
                    </a:lnTo>
                    <a:lnTo>
                      <a:pt x="242" y="2220"/>
                    </a:lnTo>
                    <a:lnTo>
                      <a:pt x="238" y="2222"/>
                    </a:lnTo>
                    <a:lnTo>
                      <a:pt x="238" y="2224"/>
                    </a:lnTo>
                    <a:lnTo>
                      <a:pt x="236" y="2226"/>
                    </a:lnTo>
                    <a:lnTo>
                      <a:pt x="236" y="2226"/>
                    </a:lnTo>
                    <a:lnTo>
                      <a:pt x="238" y="2228"/>
                    </a:lnTo>
                    <a:lnTo>
                      <a:pt x="242" y="2228"/>
                    </a:lnTo>
                    <a:lnTo>
                      <a:pt x="246" y="2228"/>
                    </a:lnTo>
                    <a:lnTo>
                      <a:pt x="250" y="2230"/>
                    </a:lnTo>
                    <a:lnTo>
                      <a:pt x="250" y="2230"/>
                    </a:lnTo>
                    <a:lnTo>
                      <a:pt x="250" y="2230"/>
                    </a:lnTo>
                    <a:lnTo>
                      <a:pt x="246" y="2232"/>
                    </a:lnTo>
                    <a:lnTo>
                      <a:pt x="240" y="2234"/>
                    </a:lnTo>
                    <a:lnTo>
                      <a:pt x="234" y="2234"/>
                    </a:lnTo>
                    <a:lnTo>
                      <a:pt x="234" y="2236"/>
                    </a:lnTo>
                    <a:lnTo>
                      <a:pt x="236" y="2238"/>
                    </a:lnTo>
                    <a:lnTo>
                      <a:pt x="236" y="2238"/>
                    </a:lnTo>
                    <a:lnTo>
                      <a:pt x="242" y="2244"/>
                    </a:lnTo>
                    <a:lnTo>
                      <a:pt x="244" y="2248"/>
                    </a:lnTo>
                    <a:lnTo>
                      <a:pt x="248" y="2250"/>
                    </a:lnTo>
                    <a:lnTo>
                      <a:pt x="252" y="2250"/>
                    </a:lnTo>
                    <a:lnTo>
                      <a:pt x="252" y="2250"/>
                    </a:lnTo>
                    <a:lnTo>
                      <a:pt x="258" y="2248"/>
                    </a:lnTo>
                    <a:lnTo>
                      <a:pt x="264" y="2248"/>
                    </a:lnTo>
                    <a:lnTo>
                      <a:pt x="280" y="2254"/>
                    </a:lnTo>
                    <a:lnTo>
                      <a:pt x="280" y="2254"/>
                    </a:lnTo>
                    <a:lnTo>
                      <a:pt x="286" y="2258"/>
                    </a:lnTo>
                    <a:lnTo>
                      <a:pt x="292" y="2260"/>
                    </a:lnTo>
                    <a:lnTo>
                      <a:pt x="296" y="2262"/>
                    </a:lnTo>
                    <a:lnTo>
                      <a:pt x="302" y="2262"/>
                    </a:lnTo>
                    <a:lnTo>
                      <a:pt x="302" y="2262"/>
                    </a:lnTo>
                    <a:lnTo>
                      <a:pt x="306" y="2262"/>
                    </a:lnTo>
                    <a:lnTo>
                      <a:pt x="306" y="2266"/>
                    </a:lnTo>
                    <a:lnTo>
                      <a:pt x="306" y="2268"/>
                    </a:lnTo>
                    <a:lnTo>
                      <a:pt x="314" y="2268"/>
                    </a:lnTo>
                    <a:lnTo>
                      <a:pt x="314" y="2268"/>
                    </a:lnTo>
                    <a:lnTo>
                      <a:pt x="318" y="2268"/>
                    </a:lnTo>
                    <a:lnTo>
                      <a:pt x="322" y="2268"/>
                    </a:lnTo>
                    <a:lnTo>
                      <a:pt x="324" y="2270"/>
                    </a:lnTo>
                    <a:lnTo>
                      <a:pt x="322" y="2272"/>
                    </a:lnTo>
                    <a:lnTo>
                      <a:pt x="322" y="2272"/>
                    </a:lnTo>
                    <a:lnTo>
                      <a:pt x="320" y="2276"/>
                    </a:lnTo>
                    <a:lnTo>
                      <a:pt x="320" y="2280"/>
                    </a:lnTo>
                    <a:lnTo>
                      <a:pt x="322" y="2282"/>
                    </a:lnTo>
                    <a:lnTo>
                      <a:pt x="330" y="2282"/>
                    </a:lnTo>
                    <a:lnTo>
                      <a:pt x="330" y="2282"/>
                    </a:lnTo>
                    <a:lnTo>
                      <a:pt x="334" y="2282"/>
                    </a:lnTo>
                    <a:lnTo>
                      <a:pt x="334" y="2286"/>
                    </a:lnTo>
                    <a:lnTo>
                      <a:pt x="332" y="2290"/>
                    </a:lnTo>
                    <a:lnTo>
                      <a:pt x="334" y="2290"/>
                    </a:lnTo>
                    <a:lnTo>
                      <a:pt x="336" y="2292"/>
                    </a:lnTo>
                    <a:lnTo>
                      <a:pt x="336" y="2292"/>
                    </a:lnTo>
                    <a:lnTo>
                      <a:pt x="340" y="2292"/>
                    </a:lnTo>
                    <a:lnTo>
                      <a:pt x="342" y="2294"/>
                    </a:lnTo>
                    <a:lnTo>
                      <a:pt x="342" y="2298"/>
                    </a:lnTo>
                    <a:lnTo>
                      <a:pt x="338" y="2300"/>
                    </a:lnTo>
                    <a:lnTo>
                      <a:pt x="338" y="2300"/>
                    </a:lnTo>
                    <a:lnTo>
                      <a:pt x="336" y="2302"/>
                    </a:lnTo>
                    <a:lnTo>
                      <a:pt x="336" y="2306"/>
                    </a:lnTo>
                    <a:lnTo>
                      <a:pt x="340" y="2314"/>
                    </a:lnTo>
                    <a:lnTo>
                      <a:pt x="348" y="2324"/>
                    </a:lnTo>
                    <a:lnTo>
                      <a:pt x="358" y="2332"/>
                    </a:lnTo>
                    <a:lnTo>
                      <a:pt x="358" y="2332"/>
                    </a:lnTo>
                    <a:lnTo>
                      <a:pt x="368" y="2336"/>
                    </a:lnTo>
                    <a:lnTo>
                      <a:pt x="374" y="2338"/>
                    </a:lnTo>
                    <a:lnTo>
                      <a:pt x="376" y="2338"/>
                    </a:lnTo>
                    <a:lnTo>
                      <a:pt x="374" y="2342"/>
                    </a:lnTo>
                    <a:lnTo>
                      <a:pt x="374" y="2342"/>
                    </a:lnTo>
                    <a:lnTo>
                      <a:pt x="374" y="2346"/>
                    </a:lnTo>
                    <a:lnTo>
                      <a:pt x="376" y="2348"/>
                    </a:lnTo>
                    <a:lnTo>
                      <a:pt x="378" y="2352"/>
                    </a:lnTo>
                    <a:lnTo>
                      <a:pt x="378" y="2360"/>
                    </a:lnTo>
                    <a:lnTo>
                      <a:pt x="378" y="2360"/>
                    </a:lnTo>
                    <a:lnTo>
                      <a:pt x="376" y="2364"/>
                    </a:lnTo>
                    <a:lnTo>
                      <a:pt x="374" y="2366"/>
                    </a:lnTo>
                    <a:lnTo>
                      <a:pt x="370" y="2368"/>
                    </a:lnTo>
                    <a:lnTo>
                      <a:pt x="370" y="2370"/>
                    </a:lnTo>
                    <a:lnTo>
                      <a:pt x="370" y="2370"/>
                    </a:lnTo>
                    <a:lnTo>
                      <a:pt x="378" y="2376"/>
                    </a:lnTo>
                    <a:lnTo>
                      <a:pt x="378" y="2376"/>
                    </a:lnTo>
                    <a:lnTo>
                      <a:pt x="388" y="2382"/>
                    </a:lnTo>
                    <a:lnTo>
                      <a:pt x="392" y="2388"/>
                    </a:lnTo>
                    <a:lnTo>
                      <a:pt x="394" y="2396"/>
                    </a:lnTo>
                    <a:lnTo>
                      <a:pt x="394" y="2402"/>
                    </a:lnTo>
                    <a:lnTo>
                      <a:pt x="394" y="2402"/>
                    </a:lnTo>
                    <a:lnTo>
                      <a:pt x="394" y="2404"/>
                    </a:lnTo>
                    <a:lnTo>
                      <a:pt x="392" y="2398"/>
                    </a:lnTo>
                    <a:lnTo>
                      <a:pt x="388" y="2388"/>
                    </a:lnTo>
                    <a:lnTo>
                      <a:pt x="384" y="2384"/>
                    </a:lnTo>
                    <a:lnTo>
                      <a:pt x="380" y="2382"/>
                    </a:lnTo>
                    <a:lnTo>
                      <a:pt x="380" y="2382"/>
                    </a:lnTo>
                    <a:lnTo>
                      <a:pt x="378" y="2390"/>
                    </a:lnTo>
                    <a:lnTo>
                      <a:pt x="372" y="2410"/>
                    </a:lnTo>
                    <a:lnTo>
                      <a:pt x="372" y="2410"/>
                    </a:lnTo>
                    <a:lnTo>
                      <a:pt x="370" y="2426"/>
                    </a:lnTo>
                    <a:lnTo>
                      <a:pt x="372" y="2428"/>
                    </a:lnTo>
                    <a:lnTo>
                      <a:pt x="374" y="2426"/>
                    </a:lnTo>
                    <a:lnTo>
                      <a:pt x="374" y="2426"/>
                    </a:lnTo>
                    <a:lnTo>
                      <a:pt x="376" y="2426"/>
                    </a:lnTo>
                    <a:lnTo>
                      <a:pt x="378" y="2426"/>
                    </a:lnTo>
                    <a:lnTo>
                      <a:pt x="378" y="2430"/>
                    </a:lnTo>
                    <a:lnTo>
                      <a:pt x="376" y="2432"/>
                    </a:lnTo>
                    <a:lnTo>
                      <a:pt x="376" y="2432"/>
                    </a:lnTo>
                    <a:lnTo>
                      <a:pt x="374" y="2432"/>
                    </a:lnTo>
                    <a:lnTo>
                      <a:pt x="372" y="2436"/>
                    </a:lnTo>
                    <a:lnTo>
                      <a:pt x="370" y="2460"/>
                    </a:lnTo>
                    <a:lnTo>
                      <a:pt x="370" y="2460"/>
                    </a:lnTo>
                    <a:lnTo>
                      <a:pt x="366" y="2480"/>
                    </a:lnTo>
                    <a:lnTo>
                      <a:pt x="362" y="2492"/>
                    </a:lnTo>
                    <a:lnTo>
                      <a:pt x="358" y="2500"/>
                    </a:lnTo>
                    <a:lnTo>
                      <a:pt x="352" y="2502"/>
                    </a:lnTo>
                    <a:lnTo>
                      <a:pt x="352" y="2502"/>
                    </a:lnTo>
                    <a:lnTo>
                      <a:pt x="342" y="2506"/>
                    </a:lnTo>
                    <a:lnTo>
                      <a:pt x="334" y="2506"/>
                    </a:lnTo>
                    <a:lnTo>
                      <a:pt x="326" y="2504"/>
                    </a:lnTo>
                    <a:lnTo>
                      <a:pt x="326" y="2504"/>
                    </a:lnTo>
                    <a:lnTo>
                      <a:pt x="314" y="2500"/>
                    </a:lnTo>
                    <a:lnTo>
                      <a:pt x="308" y="2500"/>
                    </a:lnTo>
                    <a:lnTo>
                      <a:pt x="300" y="2502"/>
                    </a:lnTo>
                    <a:lnTo>
                      <a:pt x="286" y="2498"/>
                    </a:lnTo>
                    <a:lnTo>
                      <a:pt x="286" y="2498"/>
                    </a:lnTo>
                    <a:lnTo>
                      <a:pt x="278" y="2496"/>
                    </a:lnTo>
                    <a:lnTo>
                      <a:pt x="270" y="2496"/>
                    </a:lnTo>
                    <a:lnTo>
                      <a:pt x="252" y="2498"/>
                    </a:lnTo>
                    <a:lnTo>
                      <a:pt x="232" y="2498"/>
                    </a:lnTo>
                    <a:lnTo>
                      <a:pt x="220" y="2498"/>
                    </a:lnTo>
                    <a:lnTo>
                      <a:pt x="206" y="2494"/>
                    </a:lnTo>
                    <a:lnTo>
                      <a:pt x="206" y="2494"/>
                    </a:lnTo>
                    <a:lnTo>
                      <a:pt x="192" y="2490"/>
                    </a:lnTo>
                    <a:lnTo>
                      <a:pt x="182" y="2490"/>
                    </a:lnTo>
                    <a:lnTo>
                      <a:pt x="172" y="2492"/>
                    </a:lnTo>
                    <a:lnTo>
                      <a:pt x="154" y="2492"/>
                    </a:lnTo>
                    <a:lnTo>
                      <a:pt x="154" y="2492"/>
                    </a:lnTo>
                    <a:lnTo>
                      <a:pt x="142" y="2492"/>
                    </a:lnTo>
                    <a:lnTo>
                      <a:pt x="134" y="2490"/>
                    </a:lnTo>
                    <a:lnTo>
                      <a:pt x="120" y="2486"/>
                    </a:lnTo>
                    <a:lnTo>
                      <a:pt x="110" y="2482"/>
                    </a:lnTo>
                    <a:lnTo>
                      <a:pt x="104" y="2484"/>
                    </a:lnTo>
                    <a:lnTo>
                      <a:pt x="98" y="2486"/>
                    </a:lnTo>
                    <a:lnTo>
                      <a:pt x="98" y="2486"/>
                    </a:lnTo>
                    <a:lnTo>
                      <a:pt x="92" y="2490"/>
                    </a:lnTo>
                    <a:lnTo>
                      <a:pt x="88" y="2492"/>
                    </a:lnTo>
                    <a:lnTo>
                      <a:pt x="86" y="2500"/>
                    </a:lnTo>
                    <a:lnTo>
                      <a:pt x="86" y="2504"/>
                    </a:lnTo>
                    <a:lnTo>
                      <a:pt x="82" y="2506"/>
                    </a:lnTo>
                    <a:lnTo>
                      <a:pt x="78" y="2506"/>
                    </a:lnTo>
                    <a:lnTo>
                      <a:pt x="78" y="2506"/>
                    </a:lnTo>
                    <a:lnTo>
                      <a:pt x="72" y="2506"/>
                    </a:lnTo>
                    <a:lnTo>
                      <a:pt x="66" y="2508"/>
                    </a:lnTo>
                    <a:lnTo>
                      <a:pt x="54" y="2516"/>
                    </a:lnTo>
                    <a:lnTo>
                      <a:pt x="50" y="2520"/>
                    </a:lnTo>
                    <a:lnTo>
                      <a:pt x="48" y="2524"/>
                    </a:lnTo>
                    <a:lnTo>
                      <a:pt x="48" y="2528"/>
                    </a:lnTo>
                    <a:lnTo>
                      <a:pt x="50" y="2530"/>
                    </a:lnTo>
                    <a:lnTo>
                      <a:pt x="50" y="2530"/>
                    </a:lnTo>
                    <a:lnTo>
                      <a:pt x="54" y="2534"/>
                    </a:lnTo>
                    <a:lnTo>
                      <a:pt x="56" y="2540"/>
                    </a:lnTo>
                    <a:lnTo>
                      <a:pt x="58" y="2546"/>
                    </a:lnTo>
                    <a:lnTo>
                      <a:pt x="60" y="2552"/>
                    </a:lnTo>
                    <a:lnTo>
                      <a:pt x="60" y="2552"/>
                    </a:lnTo>
                    <a:lnTo>
                      <a:pt x="64" y="2560"/>
                    </a:lnTo>
                    <a:lnTo>
                      <a:pt x="64" y="2570"/>
                    </a:lnTo>
                    <a:lnTo>
                      <a:pt x="64" y="2578"/>
                    </a:lnTo>
                    <a:lnTo>
                      <a:pt x="66" y="2588"/>
                    </a:lnTo>
                    <a:lnTo>
                      <a:pt x="66" y="2588"/>
                    </a:lnTo>
                    <a:lnTo>
                      <a:pt x="64" y="2594"/>
                    </a:lnTo>
                    <a:lnTo>
                      <a:pt x="66" y="2596"/>
                    </a:lnTo>
                    <a:lnTo>
                      <a:pt x="68" y="2600"/>
                    </a:lnTo>
                    <a:lnTo>
                      <a:pt x="66" y="2602"/>
                    </a:lnTo>
                    <a:lnTo>
                      <a:pt x="66" y="2602"/>
                    </a:lnTo>
                    <a:lnTo>
                      <a:pt x="66" y="2606"/>
                    </a:lnTo>
                    <a:lnTo>
                      <a:pt x="66" y="2612"/>
                    </a:lnTo>
                    <a:lnTo>
                      <a:pt x="74" y="2628"/>
                    </a:lnTo>
                    <a:lnTo>
                      <a:pt x="74" y="2628"/>
                    </a:lnTo>
                    <a:lnTo>
                      <a:pt x="74" y="2632"/>
                    </a:lnTo>
                    <a:lnTo>
                      <a:pt x="74" y="2640"/>
                    </a:lnTo>
                    <a:lnTo>
                      <a:pt x="70" y="2654"/>
                    </a:lnTo>
                    <a:lnTo>
                      <a:pt x="66" y="2670"/>
                    </a:lnTo>
                    <a:lnTo>
                      <a:pt x="64" y="2680"/>
                    </a:lnTo>
                    <a:lnTo>
                      <a:pt x="64" y="2680"/>
                    </a:lnTo>
                    <a:lnTo>
                      <a:pt x="66" y="2684"/>
                    </a:lnTo>
                    <a:lnTo>
                      <a:pt x="64" y="2688"/>
                    </a:lnTo>
                    <a:lnTo>
                      <a:pt x="60" y="2694"/>
                    </a:lnTo>
                    <a:lnTo>
                      <a:pt x="56" y="2708"/>
                    </a:lnTo>
                    <a:lnTo>
                      <a:pt x="56" y="2708"/>
                    </a:lnTo>
                    <a:lnTo>
                      <a:pt x="54" y="2716"/>
                    </a:lnTo>
                    <a:lnTo>
                      <a:pt x="50" y="2720"/>
                    </a:lnTo>
                    <a:lnTo>
                      <a:pt x="46" y="2724"/>
                    </a:lnTo>
                    <a:lnTo>
                      <a:pt x="44" y="2726"/>
                    </a:lnTo>
                    <a:lnTo>
                      <a:pt x="44" y="2730"/>
                    </a:lnTo>
                    <a:lnTo>
                      <a:pt x="44" y="2730"/>
                    </a:lnTo>
                    <a:lnTo>
                      <a:pt x="44" y="2734"/>
                    </a:lnTo>
                    <a:lnTo>
                      <a:pt x="44" y="2740"/>
                    </a:lnTo>
                    <a:lnTo>
                      <a:pt x="40" y="2750"/>
                    </a:lnTo>
                    <a:lnTo>
                      <a:pt x="38" y="2756"/>
                    </a:lnTo>
                    <a:lnTo>
                      <a:pt x="38" y="2760"/>
                    </a:lnTo>
                    <a:lnTo>
                      <a:pt x="40" y="2762"/>
                    </a:lnTo>
                    <a:lnTo>
                      <a:pt x="44" y="2764"/>
                    </a:lnTo>
                    <a:lnTo>
                      <a:pt x="44" y="2764"/>
                    </a:lnTo>
                    <a:lnTo>
                      <a:pt x="52" y="2764"/>
                    </a:lnTo>
                    <a:lnTo>
                      <a:pt x="52" y="2764"/>
                    </a:lnTo>
                    <a:lnTo>
                      <a:pt x="52" y="2764"/>
                    </a:lnTo>
                    <a:lnTo>
                      <a:pt x="50" y="2766"/>
                    </a:lnTo>
                    <a:lnTo>
                      <a:pt x="50" y="2770"/>
                    </a:lnTo>
                    <a:lnTo>
                      <a:pt x="50" y="2770"/>
                    </a:lnTo>
                    <a:lnTo>
                      <a:pt x="50" y="2772"/>
                    </a:lnTo>
                    <a:lnTo>
                      <a:pt x="50" y="2776"/>
                    </a:lnTo>
                    <a:lnTo>
                      <a:pt x="50" y="2778"/>
                    </a:lnTo>
                    <a:lnTo>
                      <a:pt x="52" y="2778"/>
                    </a:lnTo>
                    <a:lnTo>
                      <a:pt x="52" y="2778"/>
                    </a:lnTo>
                    <a:lnTo>
                      <a:pt x="58" y="2776"/>
                    </a:lnTo>
                    <a:lnTo>
                      <a:pt x="64" y="2778"/>
                    </a:lnTo>
                    <a:lnTo>
                      <a:pt x="66" y="2780"/>
                    </a:lnTo>
                    <a:lnTo>
                      <a:pt x="66" y="2782"/>
                    </a:lnTo>
                    <a:lnTo>
                      <a:pt x="68" y="2788"/>
                    </a:lnTo>
                    <a:lnTo>
                      <a:pt x="66" y="2794"/>
                    </a:lnTo>
                    <a:lnTo>
                      <a:pt x="66" y="2794"/>
                    </a:lnTo>
                    <a:lnTo>
                      <a:pt x="64" y="2804"/>
                    </a:lnTo>
                    <a:lnTo>
                      <a:pt x="66" y="2810"/>
                    </a:lnTo>
                    <a:lnTo>
                      <a:pt x="66" y="2820"/>
                    </a:lnTo>
                    <a:lnTo>
                      <a:pt x="62" y="2842"/>
                    </a:lnTo>
                    <a:lnTo>
                      <a:pt x="62" y="2842"/>
                    </a:lnTo>
                    <a:lnTo>
                      <a:pt x="60" y="2856"/>
                    </a:lnTo>
                    <a:lnTo>
                      <a:pt x="62" y="2856"/>
                    </a:lnTo>
                    <a:lnTo>
                      <a:pt x="64" y="2856"/>
                    </a:lnTo>
                    <a:lnTo>
                      <a:pt x="64" y="2856"/>
                    </a:lnTo>
                    <a:lnTo>
                      <a:pt x="68" y="2852"/>
                    </a:lnTo>
                    <a:lnTo>
                      <a:pt x="72" y="2850"/>
                    </a:lnTo>
                    <a:lnTo>
                      <a:pt x="80" y="2850"/>
                    </a:lnTo>
                    <a:lnTo>
                      <a:pt x="92" y="2854"/>
                    </a:lnTo>
                    <a:lnTo>
                      <a:pt x="92" y="2854"/>
                    </a:lnTo>
                    <a:lnTo>
                      <a:pt x="104" y="2858"/>
                    </a:lnTo>
                    <a:lnTo>
                      <a:pt x="110" y="2856"/>
                    </a:lnTo>
                    <a:lnTo>
                      <a:pt x="114" y="2852"/>
                    </a:lnTo>
                    <a:lnTo>
                      <a:pt x="124" y="2846"/>
                    </a:lnTo>
                    <a:lnTo>
                      <a:pt x="124" y="2846"/>
                    </a:lnTo>
                    <a:lnTo>
                      <a:pt x="130" y="2844"/>
                    </a:lnTo>
                    <a:lnTo>
                      <a:pt x="136" y="2844"/>
                    </a:lnTo>
                    <a:lnTo>
                      <a:pt x="142" y="2846"/>
                    </a:lnTo>
                    <a:lnTo>
                      <a:pt x="148" y="2850"/>
                    </a:lnTo>
                    <a:lnTo>
                      <a:pt x="158" y="2858"/>
                    </a:lnTo>
                    <a:lnTo>
                      <a:pt x="160" y="2862"/>
                    </a:lnTo>
                    <a:lnTo>
                      <a:pt x="162" y="2866"/>
                    </a:lnTo>
                    <a:lnTo>
                      <a:pt x="162" y="2866"/>
                    </a:lnTo>
                    <a:lnTo>
                      <a:pt x="162" y="2874"/>
                    </a:lnTo>
                    <a:lnTo>
                      <a:pt x="166" y="2882"/>
                    </a:lnTo>
                    <a:lnTo>
                      <a:pt x="174" y="2892"/>
                    </a:lnTo>
                    <a:lnTo>
                      <a:pt x="182" y="2902"/>
                    </a:lnTo>
                    <a:lnTo>
                      <a:pt x="182" y="2902"/>
                    </a:lnTo>
                    <a:lnTo>
                      <a:pt x="190" y="2908"/>
                    </a:lnTo>
                    <a:lnTo>
                      <a:pt x="196" y="2910"/>
                    </a:lnTo>
                    <a:lnTo>
                      <a:pt x="198" y="2910"/>
                    </a:lnTo>
                    <a:lnTo>
                      <a:pt x="202" y="2906"/>
                    </a:lnTo>
                    <a:lnTo>
                      <a:pt x="202" y="2906"/>
                    </a:lnTo>
                    <a:lnTo>
                      <a:pt x="206" y="2902"/>
                    </a:lnTo>
                    <a:lnTo>
                      <a:pt x="208" y="2898"/>
                    </a:lnTo>
                    <a:lnTo>
                      <a:pt x="212" y="2892"/>
                    </a:lnTo>
                    <a:lnTo>
                      <a:pt x="212" y="2892"/>
                    </a:lnTo>
                    <a:lnTo>
                      <a:pt x="214" y="2888"/>
                    </a:lnTo>
                    <a:lnTo>
                      <a:pt x="218" y="2886"/>
                    </a:lnTo>
                    <a:lnTo>
                      <a:pt x="228" y="2884"/>
                    </a:lnTo>
                    <a:lnTo>
                      <a:pt x="236" y="2884"/>
                    </a:lnTo>
                    <a:lnTo>
                      <a:pt x="238" y="2882"/>
                    </a:lnTo>
                    <a:lnTo>
                      <a:pt x="240" y="2880"/>
                    </a:lnTo>
                    <a:lnTo>
                      <a:pt x="240" y="2880"/>
                    </a:lnTo>
                    <a:lnTo>
                      <a:pt x="246" y="2874"/>
                    </a:lnTo>
                    <a:lnTo>
                      <a:pt x="254" y="2868"/>
                    </a:lnTo>
                    <a:lnTo>
                      <a:pt x="264" y="2868"/>
                    </a:lnTo>
                    <a:lnTo>
                      <a:pt x="270" y="2868"/>
                    </a:lnTo>
                    <a:lnTo>
                      <a:pt x="276" y="2870"/>
                    </a:lnTo>
                    <a:lnTo>
                      <a:pt x="276" y="2870"/>
                    </a:lnTo>
                    <a:lnTo>
                      <a:pt x="284" y="2872"/>
                    </a:lnTo>
                    <a:lnTo>
                      <a:pt x="292" y="2874"/>
                    </a:lnTo>
                    <a:lnTo>
                      <a:pt x="310" y="2870"/>
                    </a:lnTo>
                    <a:lnTo>
                      <a:pt x="322" y="2868"/>
                    </a:lnTo>
                    <a:lnTo>
                      <a:pt x="328" y="2866"/>
                    </a:lnTo>
                    <a:lnTo>
                      <a:pt x="332" y="2868"/>
                    </a:lnTo>
                    <a:lnTo>
                      <a:pt x="332" y="2868"/>
                    </a:lnTo>
                    <a:lnTo>
                      <a:pt x="336" y="2870"/>
                    </a:lnTo>
                    <a:lnTo>
                      <a:pt x="340" y="2866"/>
                    </a:lnTo>
                    <a:lnTo>
                      <a:pt x="346" y="2852"/>
                    </a:lnTo>
                    <a:lnTo>
                      <a:pt x="350" y="2844"/>
                    </a:lnTo>
                    <a:lnTo>
                      <a:pt x="356" y="2836"/>
                    </a:lnTo>
                    <a:lnTo>
                      <a:pt x="364" y="2830"/>
                    </a:lnTo>
                    <a:lnTo>
                      <a:pt x="374" y="2828"/>
                    </a:lnTo>
                    <a:lnTo>
                      <a:pt x="374" y="2828"/>
                    </a:lnTo>
                    <a:lnTo>
                      <a:pt x="390" y="2826"/>
                    </a:lnTo>
                    <a:lnTo>
                      <a:pt x="392" y="2824"/>
                    </a:lnTo>
                    <a:lnTo>
                      <a:pt x="390" y="2818"/>
                    </a:lnTo>
                    <a:lnTo>
                      <a:pt x="390" y="2818"/>
                    </a:lnTo>
                    <a:lnTo>
                      <a:pt x="392" y="2808"/>
                    </a:lnTo>
                    <a:lnTo>
                      <a:pt x="396" y="2798"/>
                    </a:lnTo>
                    <a:lnTo>
                      <a:pt x="402" y="2788"/>
                    </a:lnTo>
                    <a:lnTo>
                      <a:pt x="410" y="2780"/>
                    </a:lnTo>
                    <a:lnTo>
                      <a:pt x="424" y="2768"/>
                    </a:lnTo>
                    <a:lnTo>
                      <a:pt x="428" y="2764"/>
                    </a:lnTo>
                    <a:lnTo>
                      <a:pt x="430" y="2760"/>
                    </a:lnTo>
                    <a:lnTo>
                      <a:pt x="430" y="2760"/>
                    </a:lnTo>
                    <a:lnTo>
                      <a:pt x="428" y="2756"/>
                    </a:lnTo>
                    <a:lnTo>
                      <a:pt x="422" y="2752"/>
                    </a:lnTo>
                    <a:lnTo>
                      <a:pt x="416" y="2746"/>
                    </a:lnTo>
                    <a:lnTo>
                      <a:pt x="412" y="2740"/>
                    </a:lnTo>
                    <a:lnTo>
                      <a:pt x="410" y="2734"/>
                    </a:lnTo>
                    <a:lnTo>
                      <a:pt x="410" y="2734"/>
                    </a:lnTo>
                    <a:lnTo>
                      <a:pt x="410" y="2724"/>
                    </a:lnTo>
                    <a:lnTo>
                      <a:pt x="412" y="2714"/>
                    </a:lnTo>
                    <a:lnTo>
                      <a:pt x="418" y="2702"/>
                    </a:lnTo>
                    <a:lnTo>
                      <a:pt x="424" y="2690"/>
                    </a:lnTo>
                    <a:lnTo>
                      <a:pt x="438" y="2670"/>
                    </a:lnTo>
                    <a:lnTo>
                      <a:pt x="446" y="2664"/>
                    </a:lnTo>
                    <a:lnTo>
                      <a:pt x="450" y="2660"/>
                    </a:lnTo>
                    <a:lnTo>
                      <a:pt x="450" y="2660"/>
                    </a:lnTo>
                    <a:lnTo>
                      <a:pt x="460" y="2656"/>
                    </a:lnTo>
                    <a:lnTo>
                      <a:pt x="460" y="2654"/>
                    </a:lnTo>
                    <a:lnTo>
                      <a:pt x="460" y="2652"/>
                    </a:lnTo>
                    <a:lnTo>
                      <a:pt x="454" y="2648"/>
                    </a:lnTo>
                    <a:lnTo>
                      <a:pt x="454" y="2646"/>
                    </a:lnTo>
                    <a:lnTo>
                      <a:pt x="454" y="2642"/>
                    </a:lnTo>
                    <a:lnTo>
                      <a:pt x="454" y="2642"/>
                    </a:lnTo>
                    <a:lnTo>
                      <a:pt x="458" y="2638"/>
                    </a:lnTo>
                    <a:lnTo>
                      <a:pt x="466" y="2634"/>
                    </a:lnTo>
                    <a:lnTo>
                      <a:pt x="484" y="2628"/>
                    </a:lnTo>
                    <a:lnTo>
                      <a:pt x="502" y="2624"/>
                    </a:lnTo>
                    <a:lnTo>
                      <a:pt x="508" y="2620"/>
                    </a:lnTo>
                    <a:lnTo>
                      <a:pt x="510" y="2616"/>
                    </a:lnTo>
                    <a:lnTo>
                      <a:pt x="510" y="2616"/>
                    </a:lnTo>
                    <a:lnTo>
                      <a:pt x="514" y="2612"/>
                    </a:lnTo>
                    <a:lnTo>
                      <a:pt x="520" y="2608"/>
                    </a:lnTo>
                    <a:lnTo>
                      <a:pt x="536" y="2600"/>
                    </a:lnTo>
                    <a:lnTo>
                      <a:pt x="544" y="2596"/>
                    </a:lnTo>
                    <a:lnTo>
                      <a:pt x="550" y="2590"/>
                    </a:lnTo>
                    <a:lnTo>
                      <a:pt x="552" y="2584"/>
                    </a:lnTo>
                    <a:lnTo>
                      <a:pt x="552" y="2580"/>
                    </a:lnTo>
                    <a:lnTo>
                      <a:pt x="550" y="2576"/>
                    </a:lnTo>
                    <a:lnTo>
                      <a:pt x="550" y="2576"/>
                    </a:lnTo>
                    <a:lnTo>
                      <a:pt x="550" y="2572"/>
                    </a:lnTo>
                    <a:lnTo>
                      <a:pt x="550" y="2570"/>
                    </a:lnTo>
                    <a:lnTo>
                      <a:pt x="554" y="2566"/>
                    </a:lnTo>
                    <a:lnTo>
                      <a:pt x="556" y="2566"/>
                    </a:lnTo>
                    <a:lnTo>
                      <a:pt x="556" y="2562"/>
                    </a:lnTo>
                    <a:lnTo>
                      <a:pt x="554" y="2560"/>
                    </a:lnTo>
                    <a:lnTo>
                      <a:pt x="548" y="2554"/>
                    </a:lnTo>
                    <a:lnTo>
                      <a:pt x="548" y="2554"/>
                    </a:lnTo>
                    <a:lnTo>
                      <a:pt x="548" y="2542"/>
                    </a:lnTo>
                    <a:lnTo>
                      <a:pt x="548" y="2536"/>
                    </a:lnTo>
                    <a:lnTo>
                      <a:pt x="548" y="2532"/>
                    </a:lnTo>
                    <a:lnTo>
                      <a:pt x="548" y="2524"/>
                    </a:lnTo>
                    <a:lnTo>
                      <a:pt x="548" y="2524"/>
                    </a:lnTo>
                    <a:lnTo>
                      <a:pt x="548" y="2518"/>
                    </a:lnTo>
                    <a:lnTo>
                      <a:pt x="550" y="2514"/>
                    </a:lnTo>
                    <a:lnTo>
                      <a:pt x="556" y="2510"/>
                    </a:lnTo>
                    <a:lnTo>
                      <a:pt x="564" y="2508"/>
                    </a:lnTo>
                    <a:lnTo>
                      <a:pt x="572" y="2502"/>
                    </a:lnTo>
                    <a:lnTo>
                      <a:pt x="572" y="2502"/>
                    </a:lnTo>
                    <a:lnTo>
                      <a:pt x="584" y="2494"/>
                    </a:lnTo>
                    <a:lnTo>
                      <a:pt x="586" y="2494"/>
                    </a:lnTo>
                    <a:lnTo>
                      <a:pt x="588" y="2494"/>
                    </a:lnTo>
                    <a:lnTo>
                      <a:pt x="590" y="2498"/>
                    </a:lnTo>
                    <a:lnTo>
                      <a:pt x="592" y="2500"/>
                    </a:lnTo>
                    <a:lnTo>
                      <a:pt x="598" y="2502"/>
                    </a:lnTo>
                    <a:lnTo>
                      <a:pt x="598" y="2502"/>
                    </a:lnTo>
                    <a:lnTo>
                      <a:pt x="604" y="2502"/>
                    </a:lnTo>
                    <a:lnTo>
                      <a:pt x="608" y="2504"/>
                    </a:lnTo>
                    <a:lnTo>
                      <a:pt x="610" y="2506"/>
                    </a:lnTo>
                    <a:lnTo>
                      <a:pt x="616" y="2506"/>
                    </a:lnTo>
                    <a:lnTo>
                      <a:pt x="616" y="2506"/>
                    </a:lnTo>
                    <a:lnTo>
                      <a:pt x="626" y="2504"/>
                    </a:lnTo>
                    <a:lnTo>
                      <a:pt x="630" y="2504"/>
                    </a:lnTo>
                    <a:lnTo>
                      <a:pt x="634" y="2506"/>
                    </a:lnTo>
                    <a:lnTo>
                      <a:pt x="640" y="2512"/>
                    </a:lnTo>
                    <a:lnTo>
                      <a:pt x="640" y="2512"/>
                    </a:lnTo>
                    <a:lnTo>
                      <a:pt x="644" y="2516"/>
                    </a:lnTo>
                    <a:lnTo>
                      <a:pt x="646" y="2516"/>
                    </a:lnTo>
                    <a:lnTo>
                      <a:pt x="650" y="2514"/>
                    </a:lnTo>
                    <a:lnTo>
                      <a:pt x="654" y="2516"/>
                    </a:lnTo>
                    <a:lnTo>
                      <a:pt x="656" y="2518"/>
                    </a:lnTo>
                    <a:lnTo>
                      <a:pt x="656" y="2518"/>
                    </a:lnTo>
                    <a:lnTo>
                      <a:pt x="660" y="2520"/>
                    </a:lnTo>
                    <a:lnTo>
                      <a:pt x="664" y="2520"/>
                    </a:lnTo>
                    <a:lnTo>
                      <a:pt x="678" y="2518"/>
                    </a:lnTo>
                    <a:lnTo>
                      <a:pt x="690" y="2512"/>
                    </a:lnTo>
                    <a:lnTo>
                      <a:pt x="692" y="2508"/>
                    </a:lnTo>
                    <a:lnTo>
                      <a:pt x="694" y="2506"/>
                    </a:lnTo>
                    <a:lnTo>
                      <a:pt x="694" y="2506"/>
                    </a:lnTo>
                    <a:lnTo>
                      <a:pt x="694" y="2502"/>
                    </a:lnTo>
                    <a:lnTo>
                      <a:pt x="696" y="2500"/>
                    </a:lnTo>
                    <a:lnTo>
                      <a:pt x="704" y="2494"/>
                    </a:lnTo>
                    <a:lnTo>
                      <a:pt x="726" y="2482"/>
                    </a:lnTo>
                    <a:lnTo>
                      <a:pt x="726" y="2482"/>
                    </a:lnTo>
                    <a:lnTo>
                      <a:pt x="738" y="2476"/>
                    </a:lnTo>
                    <a:lnTo>
                      <a:pt x="748" y="2472"/>
                    </a:lnTo>
                    <a:lnTo>
                      <a:pt x="754" y="2466"/>
                    </a:lnTo>
                    <a:lnTo>
                      <a:pt x="758" y="2462"/>
                    </a:lnTo>
                    <a:lnTo>
                      <a:pt x="762" y="2452"/>
                    </a:lnTo>
                    <a:lnTo>
                      <a:pt x="766" y="2448"/>
                    </a:lnTo>
                    <a:lnTo>
                      <a:pt x="774" y="2444"/>
                    </a:lnTo>
                    <a:lnTo>
                      <a:pt x="774" y="2444"/>
                    </a:lnTo>
                    <a:lnTo>
                      <a:pt x="780" y="2444"/>
                    </a:lnTo>
                    <a:lnTo>
                      <a:pt x="786" y="2444"/>
                    </a:lnTo>
                    <a:lnTo>
                      <a:pt x="792" y="2448"/>
                    </a:lnTo>
                    <a:lnTo>
                      <a:pt x="798" y="2454"/>
                    </a:lnTo>
                    <a:lnTo>
                      <a:pt x="808" y="2462"/>
                    </a:lnTo>
                    <a:lnTo>
                      <a:pt x="814" y="2466"/>
                    </a:lnTo>
                    <a:lnTo>
                      <a:pt x="820" y="2466"/>
                    </a:lnTo>
                    <a:lnTo>
                      <a:pt x="820" y="2466"/>
                    </a:lnTo>
                    <a:lnTo>
                      <a:pt x="826" y="2466"/>
                    </a:lnTo>
                    <a:lnTo>
                      <a:pt x="830" y="2468"/>
                    </a:lnTo>
                    <a:lnTo>
                      <a:pt x="832" y="2474"/>
                    </a:lnTo>
                    <a:lnTo>
                      <a:pt x="834" y="2480"/>
                    </a:lnTo>
                    <a:lnTo>
                      <a:pt x="836" y="2494"/>
                    </a:lnTo>
                    <a:lnTo>
                      <a:pt x="838" y="2500"/>
                    </a:lnTo>
                    <a:lnTo>
                      <a:pt x="842" y="2504"/>
                    </a:lnTo>
                    <a:lnTo>
                      <a:pt x="842" y="2504"/>
                    </a:lnTo>
                    <a:lnTo>
                      <a:pt x="844" y="2508"/>
                    </a:lnTo>
                    <a:lnTo>
                      <a:pt x="846" y="2512"/>
                    </a:lnTo>
                    <a:lnTo>
                      <a:pt x="846" y="2518"/>
                    </a:lnTo>
                    <a:lnTo>
                      <a:pt x="846" y="2522"/>
                    </a:lnTo>
                    <a:lnTo>
                      <a:pt x="846" y="2526"/>
                    </a:lnTo>
                    <a:lnTo>
                      <a:pt x="848" y="2530"/>
                    </a:lnTo>
                    <a:lnTo>
                      <a:pt x="854" y="2536"/>
                    </a:lnTo>
                    <a:lnTo>
                      <a:pt x="854" y="2536"/>
                    </a:lnTo>
                    <a:lnTo>
                      <a:pt x="870" y="2546"/>
                    </a:lnTo>
                    <a:lnTo>
                      <a:pt x="872" y="2550"/>
                    </a:lnTo>
                    <a:lnTo>
                      <a:pt x="872" y="2556"/>
                    </a:lnTo>
                    <a:lnTo>
                      <a:pt x="872" y="2556"/>
                    </a:lnTo>
                    <a:lnTo>
                      <a:pt x="872" y="2560"/>
                    </a:lnTo>
                    <a:lnTo>
                      <a:pt x="874" y="2562"/>
                    </a:lnTo>
                    <a:lnTo>
                      <a:pt x="882" y="2564"/>
                    </a:lnTo>
                    <a:lnTo>
                      <a:pt x="890" y="2566"/>
                    </a:lnTo>
                    <a:lnTo>
                      <a:pt x="894" y="2570"/>
                    </a:lnTo>
                    <a:lnTo>
                      <a:pt x="898" y="2576"/>
                    </a:lnTo>
                    <a:lnTo>
                      <a:pt x="898" y="2576"/>
                    </a:lnTo>
                    <a:lnTo>
                      <a:pt x="902" y="2584"/>
                    </a:lnTo>
                    <a:lnTo>
                      <a:pt x="906" y="2586"/>
                    </a:lnTo>
                    <a:lnTo>
                      <a:pt x="910" y="2588"/>
                    </a:lnTo>
                    <a:lnTo>
                      <a:pt x="920" y="2598"/>
                    </a:lnTo>
                    <a:lnTo>
                      <a:pt x="920" y="2598"/>
                    </a:lnTo>
                    <a:lnTo>
                      <a:pt x="932" y="2612"/>
                    </a:lnTo>
                    <a:lnTo>
                      <a:pt x="944" y="2620"/>
                    </a:lnTo>
                    <a:lnTo>
                      <a:pt x="956" y="2624"/>
                    </a:lnTo>
                    <a:lnTo>
                      <a:pt x="970" y="2624"/>
                    </a:lnTo>
                    <a:lnTo>
                      <a:pt x="970" y="2624"/>
                    </a:lnTo>
                    <a:lnTo>
                      <a:pt x="974" y="2626"/>
                    </a:lnTo>
                    <a:lnTo>
                      <a:pt x="978" y="2628"/>
                    </a:lnTo>
                    <a:lnTo>
                      <a:pt x="982" y="2638"/>
                    </a:lnTo>
                    <a:lnTo>
                      <a:pt x="988" y="2646"/>
                    </a:lnTo>
                    <a:lnTo>
                      <a:pt x="990" y="2650"/>
                    </a:lnTo>
                    <a:lnTo>
                      <a:pt x="996" y="2650"/>
                    </a:lnTo>
                    <a:lnTo>
                      <a:pt x="996" y="2650"/>
                    </a:lnTo>
                    <a:lnTo>
                      <a:pt x="1002" y="2650"/>
                    </a:lnTo>
                    <a:lnTo>
                      <a:pt x="1004" y="2650"/>
                    </a:lnTo>
                    <a:lnTo>
                      <a:pt x="1004" y="2656"/>
                    </a:lnTo>
                    <a:lnTo>
                      <a:pt x="1002" y="2658"/>
                    </a:lnTo>
                    <a:lnTo>
                      <a:pt x="1004" y="2658"/>
                    </a:lnTo>
                    <a:lnTo>
                      <a:pt x="1006" y="2660"/>
                    </a:lnTo>
                    <a:lnTo>
                      <a:pt x="1012" y="2658"/>
                    </a:lnTo>
                    <a:lnTo>
                      <a:pt x="1012" y="2658"/>
                    </a:lnTo>
                    <a:lnTo>
                      <a:pt x="1018" y="2658"/>
                    </a:lnTo>
                    <a:lnTo>
                      <a:pt x="1020" y="2660"/>
                    </a:lnTo>
                    <a:lnTo>
                      <a:pt x="1022" y="2662"/>
                    </a:lnTo>
                    <a:lnTo>
                      <a:pt x="1022" y="2666"/>
                    </a:lnTo>
                    <a:lnTo>
                      <a:pt x="1022" y="2674"/>
                    </a:lnTo>
                    <a:lnTo>
                      <a:pt x="1024" y="2680"/>
                    </a:lnTo>
                    <a:lnTo>
                      <a:pt x="1030" y="2684"/>
                    </a:lnTo>
                    <a:lnTo>
                      <a:pt x="1030" y="2684"/>
                    </a:lnTo>
                    <a:lnTo>
                      <a:pt x="1040" y="2690"/>
                    </a:lnTo>
                    <a:lnTo>
                      <a:pt x="1050" y="2694"/>
                    </a:lnTo>
                    <a:lnTo>
                      <a:pt x="1054" y="2698"/>
                    </a:lnTo>
                    <a:lnTo>
                      <a:pt x="1058" y="2702"/>
                    </a:lnTo>
                    <a:lnTo>
                      <a:pt x="1062" y="2710"/>
                    </a:lnTo>
                    <a:lnTo>
                      <a:pt x="1066" y="2720"/>
                    </a:lnTo>
                    <a:lnTo>
                      <a:pt x="1066" y="2720"/>
                    </a:lnTo>
                    <a:lnTo>
                      <a:pt x="1070" y="2740"/>
                    </a:lnTo>
                    <a:lnTo>
                      <a:pt x="1072" y="2752"/>
                    </a:lnTo>
                    <a:lnTo>
                      <a:pt x="1072" y="2758"/>
                    </a:lnTo>
                    <a:lnTo>
                      <a:pt x="1066" y="2762"/>
                    </a:lnTo>
                    <a:lnTo>
                      <a:pt x="1066" y="2762"/>
                    </a:lnTo>
                    <a:lnTo>
                      <a:pt x="1064" y="2768"/>
                    </a:lnTo>
                    <a:lnTo>
                      <a:pt x="1064" y="2772"/>
                    </a:lnTo>
                    <a:lnTo>
                      <a:pt x="1062" y="2776"/>
                    </a:lnTo>
                    <a:lnTo>
                      <a:pt x="1060" y="2784"/>
                    </a:lnTo>
                    <a:lnTo>
                      <a:pt x="1060" y="2784"/>
                    </a:lnTo>
                    <a:lnTo>
                      <a:pt x="1054" y="2790"/>
                    </a:lnTo>
                    <a:lnTo>
                      <a:pt x="1052" y="2796"/>
                    </a:lnTo>
                    <a:lnTo>
                      <a:pt x="1054" y="2802"/>
                    </a:lnTo>
                    <a:lnTo>
                      <a:pt x="1058" y="2806"/>
                    </a:lnTo>
                    <a:lnTo>
                      <a:pt x="1058" y="2806"/>
                    </a:lnTo>
                    <a:lnTo>
                      <a:pt x="1064" y="2808"/>
                    </a:lnTo>
                    <a:lnTo>
                      <a:pt x="1068" y="2808"/>
                    </a:lnTo>
                    <a:lnTo>
                      <a:pt x="1070" y="2806"/>
                    </a:lnTo>
                    <a:lnTo>
                      <a:pt x="1072" y="2804"/>
                    </a:lnTo>
                    <a:lnTo>
                      <a:pt x="1076" y="2794"/>
                    </a:lnTo>
                    <a:lnTo>
                      <a:pt x="1084" y="2784"/>
                    </a:lnTo>
                    <a:lnTo>
                      <a:pt x="1084" y="2784"/>
                    </a:lnTo>
                    <a:lnTo>
                      <a:pt x="1088" y="2780"/>
                    </a:lnTo>
                    <a:lnTo>
                      <a:pt x="1090" y="2776"/>
                    </a:lnTo>
                    <a:lnTo>
                      <a:pt x="1092" y="2768"/>
                    </a:lnTo>
                    <a:lnTo>
                      <a:pt x="1096" y="2760"/>
                    </a:lnTo>
                    <a:lnTo>
                      <a:pt x="1098" y="2756"/>
                    </a:lnTo>
                    <a:lnTo>
                      <a:pt x="1104" y="2752"/>
                    </a:lnTo>
                    <a:lnTo>
                      <a:pt x="1104" y="2752"/>
                    </a:lnTo>
                    <a:lnTo>
                      <a:pt x="1110" y="2748"/>
                    </a:lnTo>
                    <a:lnTo>
                      <a:pt x="1114" y="2742"/>
                    </a:lnTo>
                    <a:lnTo>
                      <a:pt x="1116" y="2738"/>
                    </a:lnTo>
                    <a:lnTo>
                      <a:pt x="1114" y="2732"/>
                    </a:lnTo>
                    <a:lnTo>
                      <a:pt x="1112" y="2726"/>
                    </a:lnTo>
                    <a:lnTo>
                      <a:pt x="1108" y="2722"/>
                    </a:lnTo>
                    <a:lnTo>
                      <a:pt x="1104" y="2718"/>
                    </a:lnTo>
                    <a:lnTo>
                      <a:pt x="1098" y="2716"/>
                    </a:lnTo>
                    <a:lnTo>
                      <a:pt x="1098" y="2716"/>
                    </a:lnTo>
                    <a:lnTo>
                      <a:pt x="1090" y="2712"/>
                    </a:lnTo>
                    <a:lnTo>
                      <a:pt x="1086" y="2708"/>
                    </a:lnTo>
                    <a:lnTo>
                      <a:pt x="1086" y="2704"/>
                    </a:lnTo>
                    <a:lnTo>
                      <a:pt x="1090" y="2698"/>
                    </a:lnTo>
                    <a:lnTo>
                      <a:pt x="1090" y="2698"/>
                    </a:lnTo>
                    <a:lnTo>
                      <a:pt x="1092" y="2692"/>
                    </a:lnTo>
                    <a:lnTo>
                      <a:pt x="1094" y="2684"/>
                    </a:lnTo>
                    <a:lnTo>
                      <a:pt x="1096" y="2676"/>
                    </a:lnTo>
                    <a:lnTo>
                      <a:pt x="1100" y="2672"/>
                    </a:lnTo>
                    <a:lnTo>
                      <a:pt x="1104" y="2670"/>
                    </a:lnTo>
                    <a:lnTo>
                      <a:pt x="1104" y="2670"/>
                    </a:lnTo>
                    <a:lnTo>
                      <a:pt x="1112" y="2666"/>
                    </a:lnTo>
                    <a:lnTo>
                      <a:pt x="1116" y="2668"/>
                    </a:lnTo>
                    <a:lnTo>
                      <a:pt x="1124" y="2670"/>
                    </a:lnTo>
                    <a:lnTo>
                      <a:pt x="1134" y="2672"/>
                    </a:lnTo>
                    <a:lnTo>
                      <a:pt x="1134" y="2672"/>
                    </a:lnTo>
                    <a:lnTo>
                      <a:pt x="1140" y="2674"/>
                    </a:lnTo>
                    <a:lnTo>
                      <a:pt x="1144" y="2678"/>
                    </a:lnTo>
                    <a:lnTo>
                      <a:pt x="1148" y="2688"/>
                    </a:lnTo>
                    <a:lnTo>
                      <a:pt x="1150" y="2696"/>
                    </a:lnTo>
                    <a:lnTo>
                      <a:pt x="1154" y="2700"/>
                    </a:lnTo>
                    <a:lnTo>
                      <a:pt x="1158" y="2702"/>
                    </a:lnTo>
                    <a:lnTo>
                      <a:pt x="1158" y="2702"/>
                    </a:lnTo>
                    <a:lnTo>
                      <a:pt x="1166" y="2702"/>
                    </a:lnTo>
                    <a:lnTo>
                      <a:pt x="1166" y="2702"/>
                    </a:lnTo>
                    <a:lnTo>
                      <a:pt x="1166" y="2700"/>
                    </a:lnTo>
                    <a:lnTo>
                      <a:pt x="1166" y="2696"/>
                    </a:lnTo>
                    <a:lnTo>
                      <a:pt x="1168" y="2688"/>
                    </a:lnTo>
                    <a:lnTo>
                      <a:pt x="1168" y="2688"/>
                    </a:lnTo>
                    <a:lnTo>
                      <a:pt x="1168" y="2684"/>
                    </a:lnTo>
                    <a:lnTo>
                      <a:pt x="1168" y="2678"/>
                    </a:lnTo>
                    <a:lnTo>
                      <a:pt x="1166" y="2674"/>
                    </a:lnTo>
                    <a:lnTo>
                      <a:pt x="1162" y="2670"/>
                    </a:lnTo>
                    <a:lnTo>
                      <a:pt x="1152" y="2662"/>
                    </a:lnTo>
                    <a:lnTo>
                      <a:pt x="1142" y="2654"/>
                    </a:lnTo>
                    <a:lnTo>
                      <a:pt x="1142" y="2654"/>
                    </a:lnTo>
                    <a:lnTo>
                      <a:pt x="1126" y="2646"/>
                    </a:lnTo>
                    <a:lnTo>
                      <a:pt x="1120" y="2642"/>
                    </a:lnTo>
                    <a:lnTo>
                      <a:pt x="1114" y="2636"/>
                    </a:lnTo>
                    <a:lnTo>
                      <a:pt x="1114" y="2636"/>
                    </a:lnTo>
                    <a:lnTo>
                      <a:pt x="1110" y="2632"/>
                    </a:lnTo>
                    <a:lnTo>
                      <a:pt x="1102" y="2628"/>
                    </a:lnTo>
                    <a:lnTo>
                      <a:pt x="1082" y="2620"/>
                    </a:lnTo>
                    <a:lnTo>
                      <a:pt x="1074" y="2616"/>
                    </a:lnTo>
                    <a:lnTo>
                      <a:pt x="1068" y="2610"/>
                    </a:lnTo>
                    <a:lnTo>
                      <a:pt x="1066" y="2606"/>
                    </a:lnTo>
                    <a:lnTo>
                      <a:pt x="1066" y="2602"/>
                    </a:lnTo>
                    <a:lnTo>
                      <a:pt x="1070" y="2600"/>
                    </a:lnTo>
                    <a:lnTo>
                      <a:pt x="1070" y="2600"/>
                    </a:lnTo>
                    <a:lnTo>
                      <a:pt x="1074" y="2594"/>
                    </a:lnTo>
                    <a:lnTo>
                      <a:pt x="1076" y="2592"/>
                    </a:lnTo>
                    <a:lnTo>
                      <a:pt x="1074" y="2590"/>
                    </a:lnTo>
                    <a:lnTo>
                      <a:pt x="1068" y="2588"/>
                    </a:lnTo>
                    <a:lnTo>
                      <a:pt x="1060" y="2586"/>
                    </a:lnTo>
                    <a:lnTo>
                      <a:pt x="1036" y="2584"/>
                    </a:lnTo>
                    <a:lnTo>
                      <a:pt x="1026" y="2580"/>
                    </a:lnTo>
                    <a:lnTo>
                      <a:pt x="1016" y="2576"/>
                    </a:lnTo>
                    <a:lnTo>
                      <a:pt x="1016" y="2576"/>
                    </a:lnTo>
                    <a:lnTo>
                      <a:pt x="1002" y="2560"/>
                    </a:lnTo>
                    <a:lnTo>
                      <a:pt x="990" y="2544"/>
                    </a:lnTo>
                    <a:lnTo>
                      <a:pt x="984" y="2530"/>
                    </a:lnTo>
                    <a:lnTo>
                      <a:pt x="978" y="2518"/>
                    </a:lnTo>
                    <a:lnTo>
                      <a:pt x="974" y="2498"/>
                    </a:lnTo>
                    <a:lnTo>
                      <a:pt x="970" y="2492"/>
                    </a:lnTo>
                    <a:lnTo>
                      <a:pt x="966" y="2490"/>
                    </a:lnTo>
                    <a:lnTo>
                      <a:pt x="966" y="2490"/>
                    </a:lnTo>
                    <a:lnTo>
                      <a:pt x="958" y="2488"/>
                    </a:lnTo>
                    <a:lnTo>
                      <a:pt x="950" y="2484"/>
                    </a:lnTo>
                    <a:lnTo>
                      <a:pt x="944" y="2476"/>
                    </a:lnTo>
                    <a:lnTo>
                      <a:pt x="934" y="2468"/>
                    </a:lnTo>
                    <a:lnTo>
                      <a:pt x="934" y="2468"/>
                    </a:lnTo>
                    <a:lnTo>
                      <a:pt x="928" y="2462"/>
                    </a:lnTo>
                    <a:lnTo>
                      <a:pt x="922" y="2456"/>
                    </a:lnTo>
                    <a:lnTo>
                      <a:pt x="920" y="2448"/>
                    </a:lnTo>
                    <a:lnTo>
                      <a:pt x="918" y="2442"/>
                    </a:lnTo>
                    <a:lnTo>
                      <a:pt x="916" y="2434"/>
                    </a:lnTo>
                    <a:lnTo>
                      <a:pt x="918" y="2428"/>
                    </a:lnTo>
                    <a:lnTo>
                      <a:pt x="920" y="2424"/>
                    </a:lnTo>
                    <a:lnTo>
                      <a:pt x="922" y="2422"/>
                    </a:lnTo>
                    <a:lnTo>
                      <a:pt x="922" y="2422"/>
                    </a:lnTo>
                    <a:lnTo>
                      <a:pt x="926" y="2420"/>
                    </a:lnTo>
                    <a:lnTo>
                      <a:pt x="928" y="2418"/>
                    </a:lnTo>
                    <a:lnTo>
                      <a:pt x="926" y="2414"/>
                    </a:lnTo>
                    <a:lnTo>
                      <a:pt x="918" y="2400"/>
                    </a:lnTo>
                    <a:lnTo>
                      <a:pt x="918" y="2400"/>
                    </a:lnTo>
                    <a:lnTo>
                      <a:pt x="914" y="2394"/>
                    </a:lnTo>
                    <a:lnTo>
                      <a:pt x="916" y="2388"/>
                    </a:lnTo>
                    <a:lnTo>
                      <a:pt x="920" y="2384"/>
                    </a:lnTo>
                    <a:lnTo>
                      <a:pt x="924" y="2386"/>
                    </a:lnTo>
                    <a:lnTo>
                      <a:pt x="924" y="2386"/>
                    </a:lnTo>
                    <a:lnTo>
                      <a:pt x="926" y="2388"/>
                    </a:lnTo>
                    <a:lnTo>
                      <a:pt x="930" y="2388"/>
                    </a:lnTo>
                    <a:lnTo>
                      <a:pt x="934" y="2384"/>
                    </a:lnTo>
                    <a:lnTo>
                      <a:pt x="940" y="2378"/>
                    </a:lnTo>
                    <a:lnTo>
                      <a:pt x="950" y="2372"/>
                    </a:lnTo>
                    <a:lnTo>
                      <a:pt x="950" y="2372"/>
                    </a:lnTo>
                    <a:lnTo>
                      <a:pt x="956" y="2370"/>
                    </a:lnTo>
                    <a:lnTo>
                      <a:pt x="958" y="2372"/>
                    </a:lnTo>
                    <a:lnTo>
                      <a:pt x="960" y="2374"/>
                    </a:lnTo>
                    <a:lnTo>
                      <a:pt x="966" y="2374"/>
                    </a:lnTo>
                    <a:lnTo>
                      <a:pt x="966" y="2374"/>
                    </a:lnTo>
                    <a:lnTo>
                      <a:pt x="972" y="2372"/>
                    </a:lnTo>
                    <a:lnTo>
                      <a:pt x="974" y="2374"/>
                    </a:lnTo>
                    <a:lnTo>
                      <a:pt x="974" y="2378"/>
                    </a:lnTo>
                    <a:lnTo>
                      <a:pt x="974" y="2378"/>
                    </a:lnTo>
                    <a:lnTo>
                      <a:pt x="974" y="2380"/>
                    </a:lnTo>
                    <a:lnTo>
                      <a:pt x="972" y="2382"/>
                    </a:lnTo>
                    <a:lnTo>
                      <a:pt x="970" y="2382"/>
                    </a:lnTo>
                    <a:lnTo>
                      <a:pt x="968" y="2384"/>
                    </a:lnTo>
                    <a:lnTo>
                      <a:pt x="968" y="2384"/>
                    </a:lnTo>
                    <a:lnTo>
                      <a:pt x="968" y="2386"/>
                    </a:lnTo>
                    <a:lnTo>
                      <a:pt x="968" y="2386"/>
                    </a:lnTo>
                    <a:lnTo>
                      <a:pt x="970" y="2398"/>
                    </a:lnTo>
                    <a:lnTo>
                      <a:pt x="976" y="2414"/>
                    </a:lnTo>
                    <a:lnTo>
                      <a:pt x="982" y="2426"/>
                    </a:lnTo>
                    <a:lnTo>
                      <a:pt x="986" y="2428"/>
                    </a:lnTo>
                    <a:lnTo>
                      <a:pt x="988" y="2424"/>
                    </a:lnTo>
                    <a:lnTo>
                      <a:pt x="988" y="2424"/>
                    </a:lnTo>
                    <a:lnTo>
                      <a:pt x="994" y="2402"/>
                    </a:lnTo>
                    <a:lnTo>
                      <a:pt x="996" y="2398"/>
                    </a:lnTo>
                    <a:lnTo>
                      <a:pt x="1000" y="2394"/>
                    </a:lnTo>
                    <a:lnTo>
                      <a:pt x="1004" y="2394"/>
                    </a:lnTo>
                    <a:lnTo>
                      <a:pt x="1008" y="2398"/>
                    </a:lnTo>
                    <a:lnTo>
                      <a:pt x="1008" y="2398"/>
                    </a:lnTo>
                    <a:lnTo>
                      <a:pt x="1016" y="2404"/>
                    </a:lnTo>
                    <a:lnTo>
                      <a:pt x="1020" y="2410"/>
                    </a:lnTo>
                    <a:lnTo>
                      <a:pt x="1022" y="2414"/>
                    </a:lnTo>
                    <a:lnTo>
                      <a:pt x="1022" y="2420"/>
                    </a:lnTo>
                    <a:lnTo>
                      <a:pt x="1024" y="2428"/>
                    </a:lnTo>
                    <a:lnTo>
                      <a:pt x="1026" y="2434"/>
                    </a:lnTo>
                    <a:lnTo>
                      <a:pt x="1030" y="2440"/>
                    </a:lnTo>
                    <a:lnTo>
                      <a:pt x="1030" y="2440"/>
                    </a:lnTo>
                    <a:lnTo>
                      <a:pt x="1034" y="2446"/>
                    </a:lnTo>
                    <a:lnTo>
                      <a:pt x="1036" y="2450"/>
                    </a:lnTo>
                    <a:lnTo>
                      <a:pt x="1036" y="2452"/>
                    </a:lnTo>
                    <a:lnTo>
                      <a:pt x="1034" y="2454"/>
                    </a:lnTo>
                    <a:lnTo>
                      <a:pt x="1034" y="2456"/>
                    </a:lnTo>
                    <a:lnTo>
                      <a:pt x="1034" y="2460"/>
                    </a:lnTo>
                    <a:lnTo>
                      <a:pt x="1038" y="2464"/>
                    </a:lnTo>
                    <a:lnTo>
                      <a:pt x="1046" y="2472"/>
                    </a:lnTo>
                    <a:lnTo>
                      <a:pt x="1046" y="2472"/>
                    </a:lnTo>
                    <a:lnTo>
                      <a:pt x="1056" y="2480"/>
                    </a:lnTo>
                    <a:lnTo>
                      <a:pt x="1062" y="2486"/>
                    </a:lnTo>
                    <a:lnTo>
                      <a:pt x="1066" y="2494"/>
                    </a:lnTo>
                    <a:lnTo>
                      <a:pt x="1066" y="2496"/>
                    </a:lnTo>
                    <a:lnTo>
                      <a:pt x="1068" y="2496"/>
                    </a:lnTo>
                    <a:lnTo>
                      <a:pt x="1076" y="2496"/>
                    </a:lnTo>
                    <a:lnTo>
                      <a:pt x="1076" y="2496"/>
                    </a:lnTo>
                    <a:lnTo>
                      <a:pt x="1084" y="2496"/>
                    </a:lnTo>
                    <a:lnTo>
                      <a:pt x="1090" y="2498"/>
                    </a:lnTo>
                    <a:lnTo>
                      <a:pt x="1102" y="2504"/>
                    </a:lnTo>
                    <a:lnTo>
                      <a:pt x="1114" y="2516"/>
                    </a:lnTo>
                    <a:lnTo>
                      <a:pt x="1128" y="2528"/>
                    </a:lnTo>
                    <a:lnTo>
                      <a:pt x="1128" y="2528"/>
                    </a:lnTo>
                    <a:lnTo>
                      <a:pt x="1114" y="2524"/>
                    </a:lnTo>
                    <a:lnTo>
                      <a:pt x="1110" y="2524"/>
                    </a:lnTo>
                    <a:lnTo>
                      <a:pt x="1110" y="2526"/>
                    </a:lnTo>
                    <a:lnTo>
                      <a:pt x="1116" y="2530"/>
                    </a:lnTo>
                    <a:lnTo>
                      <a:pt x="1134" y="2536"/>
                    </a:lnTo>
                    <a:lnTo>
                      <a:pt x="1134" y="2536"/>
                    </a:lnTo>
                    <a:lnTo>
                      <a:pt x="1144" y="2540"/>
                    </a:lnTo>
                    <a:lnTo>
                      <a:pt x="1152" y="2544"/>
                    </a:lnTo>
                    <a:lnTo>
                      <a:pt x="1160" y="2552"/>
                    </a:lnTo>
                    <a:lnTo>
                      <a:pt x="1162" y="2558"/>
                    </a:lnTo>
                    <a:lnTo>
                      <a:pt x="1164" y="2560"/>
                    </a:lnTo>
                    <a:lnTo>
                      <a:pt x="1166" y="2560"/>
                    </a:lnTo>
                    <a:lnTo>
                      <a:pt x="1166" y="2560"/>
                    </a:lnTo>
                    <a:lnTo>
                      <a:pt x="1174" y="2560"/>
                    </a:lnTo>
                    <a:lnTo>
                      <a:pt x="1176" y="2562"/>
                    </a:lnTo>
                    <a:lnTo>
                      <a:pt x="1176" y="2562"/>
                    </a:lnTo>
                    <a:lnTo>
                      <a:pt x="1184" y="2566"/>
                    </a:lnTo>
                    <a:lnTo>
                      <a:pt x="1188" y="2568"/>
                    </a:lnTo>
                    <a:lnTo>
                      <a:pt x="1190" y="2574"/>
                    </a:lnTo>
                    <a:lnTo>
                      <a:pt x="1190" y="2574"/>
                    </a:lnTo>
                    <a:lnTo>
                      <a:pt x="1190" y="2582"/>
                    </a:lnTo>
                    <a:lnTo>
                      <a:pt x="1192" y="2584"/>
                    </a:lnTo>
                    <a:lnTo>
                      <a:pt x="1196" y="2586"/>
                    </a:lnTo>
                    <a:lnTo>
                      <a:pt x="1204" y="2588"/>
                    </a:lnTo>
                    <a:lnTo>
                      <a:pt x="1204" y="2588"/>
                    </a:lnTo>
                    <a:lnTo>
                      <a:pt x="1208" y="2590"/>
                    </a:lnTo>
                    <a:lnTo>
                      <a:pt x="1208" y="2596"/>
                    </a:lnTo>
                    <a:lnTo>
                      <a:pt x="1208" y="2610"/>
                    </a:lnTo>
                    <a:lnTo>
                      <a:pt x="1206" y="2626"/>
                    </a:lnTo>
                    <a:lnTo>
                      <a:pt x="1206" y="2632"/>
                    </a:lnTo>
                    <a:lnTo>
                      <a:pt x="1206" y="2636"/>
                    </a:lnTo>
                    <a:lnTo>
                      <a:pt x="1206" y="2636"/>
                    </a:lnTo>
                    <a:lnTo>
                      <a:pt x="1206" y="2638"/>
                    </a:lnTo>
                    <a:lnTo>
                      <a:pt x="1206" y="2640"/>
                    </a:lnTo>
                    <a:lnTo>
                      <a:pt x="1204" y="2646"/>
                    </a:lnTo>
                    <a:lnTo>
                      <a:pt x="1200" y="2652"/>
                    </a:lnTo>
                    <a:lnTo>
                      <a:pt x="1200" y="2656"/>
                    </a:lnTo>
                    <a:lnTo>
                      <a:pt x="1202" y="2662"/>
                    </a:lnTo>
                    <a:lnTo>
                      <a:pt x="1202" y="2662"/>
                    </a:lnTo>
                    <a:lnTo>
                      <a:pt x="1202" y="2666"/>
                    </a:lnTo>
                    <a:lnTo>
                      <a:pt x="1202" y="2670"/>
                    </a:lnTo>
                    <a:lnTo>
                      <a:pt x="1202" y="2672"/>
                    </a:lnTo>
                    <a:lnTo>
                      <a:pt x="1200" y="2674"/>
                    </a:lnTo>
                    <a:lnTo>
                      <a:pt x="1202" y="2674"/>
                    </a:lnTo>
                    <a:lnTo>
                      <a:pt x="1208" y="2680"/>
                    </a:lnTo>
                    <a:lnTo>
                      <a:pt x="1208" y="2680"/>
                    </a:lnTo>
                    <a:lnTo>
                      <a:pt x="1216" y="2686"/>
                    </a:lnTo>
                    <a:lnTo>
                      <a:pt x="1222" y="2690"/>
                    </a:lnTo>
                    <a:lnTo>
                      <a:pt x="1224" y="2696"/>
                    </a:lnTo>
                    <a:lnTo>
                      <a:pt x="1224" y="2700"/>
                    </a:lnTo>
                    <a:lnTo>
                      <a:pt x="1226" y="2706"/>
                    </a:lnTo>
                    <a:lnTo>
                      <a:pt x="1228" y="2708"/>
                    </a:lnTo>
                    <a:lnTo>
                      <a:pt x="1230" y="2710"/>
                    </a:lnTo>
                    <a:lnTo>
                      <a:pt x="1230" y="2710"/>
                    </a:lnTo>
                    <a:lnTo>
                      <a:pt x="1240" y="2726"/>
                    </a:lnTo>
                    <a:lnTo>
                      <a:pt x="1246" y="2736"/>
                    </a:lnTo>
                    <a:lnTo>
                      <a:pt x="1250" y="2740"/>
                    </a:lnTo>
                    <a:lnTo>
                      <a:pt x="1254" y="2744"/>
                    </a:lnTo>
                    <a:lnTo>
                      <a:pt x="1254" y="2744"/>
                    </a:lnTo>
                    <a:lnTo>
                      <a:pt x="1258" y="2748"/>
                    </a:lnTo>
                    <a:lnTo>
                      <a:pt x="1260" y="2748"/>
                    </a:lnTo>
                    <a:lnTo>
                      <a:pt x="1260" y="2746"/>
                    </a:lnTo>
                    <a:lnTo>
                      <a:pt x="1262" y="2746"/>
                    </a:lnTo>
                    <a:lnTo>
                      <a:pt x="1266" y="2746"/>
                    </a:lnTo>
                    <a:lnTo>
                      <a:pt x="1272" y="2750"/>
                    </a:lnTo>
                    <a:lnTo>
                      <a:pt x="1272" y="2750"/>
                    </a:lnTo>
                    <a:lnTo>
                      <a:pt x="1274" y="2752"/>
                    </a:lnTo>
                    <a:lnTo>
                      <a:pt x="1274" y="2752"/>
                    </a:lnTo>
                    <a:lnTo>
                      <a:pt x="1266" y="2754"/>
                    </a:lnTo>
                    <a:lnTo>
                      <a:pt x="1258" y="2754"/>
                    </a:lnTo>
                    <a:lnTo>
                      <a:pt x="1258" y="2758"/>
                    </a:lnTo>
                    <a:lnTo>
                      <a:pt x="1260" y="2762"/>
                    </a:lnTo>
                    <a:lnTo>
                      <a:pt x="1260" y="2762"/>
                    </a:lnTo>
                    <a:lnTo>
                      <a:pt x="1268" y="2772"/>
                    </a:lnTo>
                    <a:lnTo>
                      <a:pt x="1272" y="2780"/>
                    </a:lnTo>
                    <a:lnTo>
                      <a:pt x="1274" y="2786"/>
                    </a:lnTo>
                    <a:lnTo>
                      <a:pt x="1276" y="2786"/>
                    </a:lnTo>
                    <a:lnTo>
                      <a:pt x="1280" y="2784"/>
                    </a:lnTo>
                    <a:lnTo>
                      <a:pt x="1280" y="2784"/>
                    </a:lnTo>
                    <a:lnTo>
                      <a:pt x="1284" y="2780"/>
                    </a:lnTo>
                    <a:lnTo>
                      <a:pt x="1286" y="2782"/>
                    </a:lnTo>
                    <a:lnTo>
                      <a:pt x="1290" y="2782"/>
                    </a:lnTo>
                    <a:lnTo>
                      <a:pt x="1300" y="2782"/>
                    </a:lnTo>
                    <a:lnTo>
                      <a:pt x="1300" y="2782"/>
                    </a:lnTo>
                    <a:lnTo>
                      <a:pt x="1312" y="2780"/>
                    </a:lnTo>
                    <a:lnTo>
                      <a:pt x="1316" y="2782"/>
                    </a:lnTo>
                    <a:lnTo>
                      <a:pt x="1318" y="2784"/>
                    </a:lnTo>
                    <a:lnTo>
                      <a:pt x="1324" y="2784"/>
                    </a:lnTo>
                    <a:lnTo>
                      <a:pt x="1324" y="2784"/>
                    </a:lnTo>
                    <a:lnTo>
                      <a:pt x="1330" y="2782"/>
                    </a:lnTo>
                    <a:lnTo>
                      <a:pt x="1336" y="2786"/>
                    </a:lnTo>
                    <a:lnTo>
                      <a:pt x="1342" y="2790"/>
                    </a:lnTo>
                    <a:lnTo>
                      <a:pt x="1348" y="2790"/>
                    </a:lnTo>
                    <a:lnTo>
                      <a:pt x="1348" y="2790"/>
                    </a:lnTo>
                    <a:lnTo>
                      <a:pt x="1354" y="2790"/>
                    </a:lnTo>
                    <a:lnTo>
                      <a:pt x="1358" y="2792"/>
                    </a:lnTo>
                    <a:lnTo>
                      <a:pt x="1358" y="2794"/>
                    </a:lnTo>
                    <a:lnTo>
                      <a:pt x="1358" y="2796"/>
                    </a:lnTo>
                    <a:lnTo>
                      <a:pt x="1350" y="2800"/>
                    </a:lnTo>
                    <a:lnTo>
                      <a:pt x="1350" y="2800"/>
                    </a:lnTo>
                    <a:lnTo>
                      <a:pt x="1342" y="2802"/>
                    </a:lnTo>
                    <a:lnTo>
                      <a:pt x="1336" y="2800"/>
                    </a:lnTo>
                    <a:lnTo>
                      <a:pt x="1322" y="2792"/>
                    </a:lnTo>
                    <a:lnTo>
                      <a:pt x="1322" y="2792"/>
                    </a:lnTo>
                    <a:lnTo>
                      <a:pt x="1312" y="2788"/>
                    </a:lnTo>
                    <a:lnTo>
                      <a:pt x="1306" y="2786"/>
                    </a:lnTo>
                    <a:lnTo>
                      <a:pt x="1302" y="2786"/>
                    </a:lnTo>
                    <a:lnTo>
                      <a:pt x="1298" y="2792"/>
                    </a:lnTo>
                    <a:lnTo>
                      <a:pt x="1298" y="2792"/>
                    </a:lnTo>
                    <a:lnTo>
                      <a:pt x="1296" y="2794"/>
                    </a:lnTo>
                    <a:lnTo>
                      <a:pt x="1292" y="2794"/>
                    </a:lnTo>
                    <a:lnTo>
                      <a:pt x="1288" y="2792"/>
                    </a:lnTo>
                    <a:lnTo>
                      <a:pt x="1282" y="2792"/>
                    </a:lnTo>
                    <a:lnTo>
                      <a:pt x="1282" y="2794"/>
                    </a:lnTo>
                    <a:lnTo>
                      <a:pt x="1280" y="2798"/>
                    </a:lnTo>
                    <a:lnTo>
                      <a:pt x="1280" y="2798"/>
                    </a:lnTo>
                    <a:lnTo>
                      <a:pt x="1280" y="2802"/>
                    </a:lnTo>
                    <a:lnTo>
                      <a:pt x="1278" y="2804"/>
                    </a:lnTo>
                    <a:lnTo>
                      <a:pt x="1274" y="2808"/>
                    </a:lnTo>
                    <a:lnTo>
                      <a:pt x="1272" y="2808"/>
                    </a:lnTo>
                    <a:lnTo>
                      <a:pt x="1276" y="2812"/>
                    </a:lnTo>
                    <a:lnTo>
                      <a:pt x="1276" y="2812"/>
                    </a:lnTo>
                    <a:lnTo>
                      <a:pt x="1280" y="2816"/>
                    </a:lnTo>
                    <a:lnTo>
                      <a:pt x="1280" y="2820"/>
                    </a:lnTo>
                    <a:lnTo>
                      <a:pt x="1280" y="2824"/>
                    </a:lnTo>
                    <a:lnTo>
                      <a:pt x="1286" y="2824"/>
                    </a:lnTo>
                    <a:lnTo>
                      <a:pt x="1286" y="2824"/>
                    </a:lnTo>
                    <a:lnTo>
                      <a:pt x="1288" y="2824"/>
                    </a:lnTo>
                    <a:lnTo>
                      <a:pt x="1292" y="2826"/>
                    </a:lnTo>
                    <a:lnTo>
                      <a:pt x="1294" y="2832"/>
                    </a:lnTo>
                    <a:lnTo>
                      <a:pt x="1294" y="2838"/>
                    </a:lnTo>
                    <a:lnTo>
                      <a:pt x="1292" y="2844"/>
                    </a:lnTo>
                    <a:lnTo>
                      <a:pt x="1292" y="2844"/>
                    </a:lnTo>
                    <a:lnTo>
                      <a:pt x="1292" y="2848"/>
                    </a:lnTo>
                    <a:lnTo>
                      <a:pt x="1292" y="2854"/>
                    </a:lnTo>
                    <a:lnTo>
                      <a:pt x="1298" y="2864"/>
                    </a:lnTo>
                    <a:lnTo>
                      <a:pt x="1300" y="2866"/>
                    </a:lnTo>
                    <a:lnTo>
                      <a:pt x="1304" y="2868"/>
                    </a:lnTo>
                    <a:lnTo>
                      <a:pt x="1306" y="2866"/>
                    </a:lnTo>
                    <a:lnTo>
                      <a:pt x="1308" y="2862"/>
                    </a:lnTo>
                    <a:lnTo>
                      <a:pt x="1308" y="2862"/>
                    </a:lnTo>
                    <a:lnTo>
                      <a:pt x="1308" y="2856"/>
                    </a:lnTo>
                    <a:lnTo>
                      <a:pt x="1310" y="2854"/>
                    </a:lnTo>
                    <a:lnTo>
                      <a:pt x="1314" y="2854"/>
                    </a:lnTo>
                    <a:lnTo>
                      <a:pt x="1316" y="2856"/>
                    </a:lnTo>
                    <a:lnTo>
                      <a:pt x="1320" y="2866"/>
                    </a:lnTo>
                    <a:lnTo>
                      <a:pt x="1322" y="2880"/>
                    </a:lnTo>
                    <a:lnTo>
                      <a:pt x="1322" y="2880"/>
                    </a:lnTo>
                    <a:lnTo>
                      <a:pt x="1324" y="2888"/>
                    </a:lnTo>
                    <a:lnTo>
                      <a:pt x="1326" y="2888"/>
                    </a:lnTo>
                    <a:lnTo>
                      <a:pt x="1328" y="2888"/>
                    </a:lnTo>
                    <a:lnTo>
                      <a:pt x="1330" y="2882"/>
                    </a:lnTo>
                    <a:lnTo>
                      <a:pt x="1332" y="2874"/>
                    </a:lnTo>
                    <a:lnTo>
                      <a:pt x="1332" y="2874"/>
                    </a:lnTo>
                    <a:lnTo>
                      <a:pt x="1334" y="2866"/>
                    </a:lnTo>
                    <a:lnTo>
                      <a:pt x="1336" y="2866"/>
                    </a:lnTo>
                    <a:lnTo>
                      <a:pt x="1338" y="2868"/>
                    </a:lnTo>
                    <a:lnTo>
                      <a:pt x="1342" y="2872"/>
                    </a:lnTo>
                    <a:lnTo>
                      <a:pt x="1348" y="2882"/>
                    </a:lnTo>
                    <a:lnTo>
                      <a:pt x="1350" y="2886"/>
                    </a:lnTo>
                    <a:lnTo>
                      <a:pt x="1354" y="2888"/>
                    </a:lnTo>
                    <a:lnTo>
                      <a:pt x="1354" y="2888"/>
                    </a:lnTo>
                    <a:lnTo>
                      <a:pt x="1356" y="2886"/>
                    </a:lnTo>
                    <a:lnTo>
                      <a:pt x="1356" y="2884"/>
                    </a:lnTo>
                    <a:lnTo>
                      <a:pt x="1356" y="2876"/>
                    </a:lnTo>
                    <a:lnTo>
                      <a:pt x="1348" y="2854"/>
                    </a:lnTo>
                    <a:lnTo>
                      <a:pt x="1340" y="2834"/>
                    </a:lnTo>
                    <a:lnTo>
                      <a:pt x="1338" y="2828"/>
                    </a:lnTo>
                    <a:lnTo>
                      <a:pt x="1338" y="2826"/>
                    </a:lnTo>
                    <a:lnTo>
                      <a:pt x="1340" y="2824"/>
                    </a:lnTo>
                    <a:lnTo>
                      <a:pt x="1340" y="2824"/>
                    </a:lnTo>
                    <a:lnTo>
                      <a:pt x="1346" y="2826"/>
                    </a:lnTo>
                    <a:lnTo>
                      <a:pt x="1350" y="2828"/>
                    </a:lnTo>
                    <a:lnTo>
                      <a:pt x="1352" y="2832"/>
                    </a:lnTo>
                    <a:lnTo>
                      <a:pt x="1354" y="2838"/>
                    </a:lnTo>
                    <a:lnTo>
                      <a:pt x="1354" y="2838"/>
                    </a:lnTo>
                    <a:lnTo>
                      <a:pt x="1356" y="2840"/>
                    </a:lnTo>
                    <a:lnTo>
                      <a:pt x="1358" y="2840"/>
                    </a:lnTo>
                    <a:lnTo>
                      <a:pt x="1368" y="2836"/>
                    </a:lnTo>
                    <a:lnTo>
                      <a:pt x="1368" y="2836"/>
                    </a:lnTo>
                    <a:lnTo>
                      <a:pt x="1370" y="2834"/>
                    </a:lnTo>
                    <a:lnTo>
                      <a:pt x="1372" y="2832"/>
                    </a:lnTo>
                    <a:lnTo>
                      <a:pt x="1370" y="2828"/>
                    </a:lnTo>
                    <a:lnTo>
                      <a:pt x="1366" y="2824"/>
                    </a:lnTo>
                    <a:lnTo>
                      <a:pt x="1360" y="2822"/>
                    </a:lnTo>
                    <a:lnTo>
                      <a:pt x="1360" y="2822"/>
                    </a:lnTo>
                    <a:lnTo>
                      <a:pt x="1356" y="2822"/>
                    </a:lnTo>
                    <a:lnTo>
                      <a:pt x="1356" y="2820"/>
                    </a:lnTo>
                    <a:lnTo>
                      <a:pt x="1356" y="2816"/>
                    </a:lnTo>
                    <a:lnTo>
                      <a:pt x="1354" y="2812"/>
                    </a:lnTo>
                    <a:lnTo>
                      <a:pt x="1354" y="2812"/>
                    </a:lnTo>
                    <a:lnTo>
                      <a:pt x="1352" y="2810"/>
                    </a:lnTo>
                    <a:lnTo>
                      <a:pt x="1354" y="2808"/>
                    </a:lnTo>
                    <a:lnTo>
                      <a:pt x="1360" y="2802"/>
                    </a:lnTo>
                    <a:lnTo>
                      <a:pt x="1368" y="2800"/>
                    </a:lnTo>
                    <a:lnTo>
                      <a:pt x="1370" y="2800"/>
                    </a:lnTo>
                    <a:lnTo>
                      <a:pt x="1374" y="2802"/>
                    </a:lnTo>
                    <a:lnTo>
                      <a:pt x="1374" y="2802"/>
                    </a:lnTo>
                    <a:lnTo>
                      <a:pt x="1382" y="2816"/>
                    </a:lnTo>
                    <a:lnTo>
                      <a:pt x="1388" y="2820"/>
                    </a:lnTo>
                    <a:lnTo>
                      <a:pt x="1390" y="2820"/>
                    </a:lnTo>
                    <a:lnTo>
                      <a:pt x="1392" y="2820"/>
                    </a:lnTo>
                    <a:lnTo>
                      <a:pt x="1392" y="2820"/>
                    </a:lnTo>
                    <a:lnTo>
                      <a:pt x="1394" y="2818"/>
                    </a:lnTo>
                    <a:lnTo>
                      <a:pt x="1394" y="2816"/>
                    </a:lnTo>
                    <a:lnTo>
                      <a:pt x="1394" y="2810"/>
                    </a:lnTo>
                    <a:lnTo>
                      <a:pt x="1392" y="2804"/>
                    </a:lnTo>
                    <a:lnTo>
                      <a:pt x="1392" y="2796"/>
                    </a:lnTo>
                    <a:lnTo>
                      <a:pt x="1392" y="2796"/>
                    </a:lnTo>
                    <a:lnTo>
                      <a:pt x="1392" y="2794"/>
                    </a:lnTo>
                    <a:lnTo>
                      <a:pt x="1390" y="2790"/>
                    </a:lnTo>
                    <a:lnTo>
                      <a:pt x="1386" y="2788"/>
                    </a:lnTo>
                    <a:lnTo>
                      <a:pt x="1378" y="2784"/>
                    </a:lnTo>
                    <a:lnTo>
                      <a:pt x="1376" y="2782"/>
                    </a:lnTo>
                    <a:lnTo>
                      <a:pt x="1374" y="2780"/>
                    </a:lnTo>
                    <a:lnTo>
                      <a:pt x="1374" y="2780"/>
                    </a:lnTo>
                    <a:lnTo>
                      <a:pt x="1370" y="2774"/>
                    </a:lnTo>
                    <a:lnTo>
                      <a:pt x="1366" y="2774"/>
                    </a:lnTo>
                    <a:lnTo>
                      <a:pt x="1364" y="2772"/>
                    </a:lnTo>
                    <a:lnTo>
                      <a:pt x="1360" y="2768"/>
                    </a:lnTo>
                    <a:lnTo>
                      <a:pt x="1360" y="2768"/>
                    </a:lnTo>
                    <a:lnTo>
                      <a:pt x="1358" y="2764"/>
                    </a:lnTo>
                    <a:lnTo>
                      <a:pt x="1352" y="2762"/>
                    </a:lnTo>
                    <a:lnTo>
                      <a:pt x="1340" y="2758"/>
                    </a:lnTo>
                    <a:lnTo>
                      <a:pt x="1332" y="2754"/>
                    </a:lnTo>
                    <a:lnTo>
                      <a:pt x="1332" y="2752"/>
                    </a:lnTo>
                    <a:lnTo>
                      <a:pt x="1338" y="2752"/>
                    </a:lnTo>
                    <a:lnTo>
                      <a:pt x="1338" y="2752"/>
                    </a:lnTo>
                    <a:lnTo>
                      <a:pt x="1346" y="2750"/>
                    </a:lnTo>
                    <a:lnTo>
                      <a:pt x="1348" y="2746"/>
                    </a:lnTo>
                    <a:lnTo>
                      <a:pt x="1348" y="2744"/>
                    </a:lnTo>
                    <a:lnTo>
                      <a:pt x="1346" y="2740"/>
                    </a:lnTo>
                    <a:lnTo>
                      <a:pt x="1344" y="2732"/>
                    </a:lnTo>
                    <a:lnTo>
                      <a:pt x="1344" y="2730"/>
                    </a:lnTo>
                    <a:lnTo>
                      <a:pt x="1348" y="2730"/>
                    </a:lnTo>
                    <a:lnTo>
                      <a:pt x="1348" y="2730"/>
                    </a:lnTo>
                    <a:lnTo>
                      <a:pt x="1352" y="2730"/>
                    </a:lnTo>
                    <a:lnTo>
                      <a:pt x="1354" y="2732"/>
                    </a:lnTo>
                    <a:lnTo>
                      <a:pt x="1354" y="2738"/>
                    </a:lnTo>
                    <a:lnTo>
                      <a:pt x="1354" y="2742"/>
                    </a:lnTo>
                    <a:lnTo>
                      <a:pt x="1356" y="2742"/>
                    </a:lnTo>
                    <a:lnTo>
                      <a:pt x="1358" y="2742"/>
                    </a:lnTo>
                    <a:lnTo>
                      <a:pt x="1358" y="2742"/>
                    </a:lnTo>
                    <a:lnTo>
                      <a:pt x="1360" y="2738"/>
                    </a:lnTo>
                    <a:lnTo>
                      <a:pt x="1360" y="2736"/>
                    </a:lnTo>
                    <a:lnTo>
                      <a:pt x="1360" y="2728"/>
                    </a:lnTo>
                    <a:lnTo>
                      <a:pt x="1354" y="2720"/>
                    </a:lnTo>
                    <a:lnTo>
                      <a:pt x="1348" y="2710"/>
                    </a:lnTo>
                    <a:lnTo>
                      <a:pt x="1340" y="2702"/>
                    </a:lnTo>
                    <a:lnTo>
                      <a:pt x="1334" y="2692"/>
                    </a:lnTo>
                    <a:lnTo>
                      <a:pt x="1330" y="2682"/>
                    </a:lnTo>
                    <a:lnTo>
                      <a:pt x="1330" y="2678"/>
                    </a:lnTo>
                    <a:lnTo>
                      <a:pt x="1332" y="2674"/>
                    </a:lnTo>
                    <a:lnTo>
                      <a:pt x="1332" y="2674"/>
                    </a:lnTo>
                    <a:lnTo>
                      <a:pt x="1336" y="2666"/>
                    </a:lnTo>
                    <a:lnTo>
                      <a:pt x="1340" y="2660"/>
                    </a:lnTo>
                    <a:lnTo>
                      <a:pt x="1344" y="2660"/>
                    </a:lnTo>
                    <a:lnTo>
                      <a:pt x="1346" y="2660"/>
                    </a:lnTo>
                    <a:lnTo>
                      <a:pt x="1346" y="2662"/>
                    </a:lnTo>
                    <a:lnTo>
                      <a:pt x="1346" y="2668"/>
                    </a:lnTo>
                    <a:lnTo>
                      <a:pt x="1346" y="2668"/>
                    </a:lnTo>
                    <a:lnTo>
                      <a:pt x="1346" y="2670"/>
                    </a:lnTo>
                    <a:lnTo>
                      <a:pt x="1346" y="2672"/>
                    </a:lnTo>
                    <a:lnTo>
                      <a:pt x="1352" y="2674"/>
                    </a:lnTo>
                    <a:lnTo>
                      <a:pt x="1358" y="2676"/>
                    </a:lnTo>
                    <a:lnTo>
                      <a:pt x="1360" y="2680"/>
                    </a:lnTo>
                    <a:lnTo>
                      <a:pt x="1362" y="2686"/>
                    </a:lnTo>
                    <a:lnTo>
                      <a:pt x="1362" y="2686"/>
                    </a:lnTo>
                    <a:lnTo>
                      <a:pt x="1362" y="2690"/>
                    </a:lnTo>
                    <a:lnTo>
                      <a:pt x="1366" y="2694"/>
                    </a:lnTo>
                    <a:lnTo>
                      <a:pt x="1372" y="2696"/>
                    </a:lnTo>
                    <a:lnTo>
                      <a:pt x="1374" y="2696"/>
                    </a:lnTo>
                    <a:lnTo>
                      <a:pt x="1376" y="2696"/>
                    </a:lnTo>
                    <a:lnTo>
                      <a:pt x="1376" y="2694"/>
                    </a:lnTo>
                    <a:lnTo>
                      <a:pt x="1374" y="2690"/>
                    </a:lnTo>
                    <a:lnTo>
                      <a:pt x="1374" y="2690"/>
                    </a:lnTo>
                    <a:lnTo>
                      <a:pt x="1368" y="2684"/>
                    </a:lnTo>
                    <a:lnTo>
                      <a:pt x="1368" y="2678"/>
                    </a:lnTo>
                    <a:lnTo>
                      <a:pt x="1368" y="2678"/>
                    </a:lnTo>
                    <a:lnTo>
                      <a:pt x="1370" y="2678"/>
                    </a:lnTo>
                    <a:lnTo>
                      <a:pt x="1378" y="2684"/>
                    </a:lnTo>
                    <a:lnTo>
                      <a:pt x="1378" y="2684"/>
                    </a:lnTo>
                    <a:lnTo>
                      <a:pt x="1386" y="2692"/>
                    </a:lnTo>
                    <a:lnTo>
                      <a:pt x="1390" y="2694"/>
                    </a:lnTo>
                    <a:lnTo>
                      <a:pt x="1392" y="2694"/>
                    </a:lnTo>
                    <a:lnTo>
                      <a:pt x="1390" y="2692"/>
                    </a:lnTo>
                    <a:lnTo>
                      <a:pt x="1386" y="2684"/>
                    </a:lnTo>
                    <a:lnTo>
                      <a:pt x="1386" y="2684"/>
                    </a:lnTo>
                    <a:lnTo>
                      <a:pt x="1380" y="2676"/>
                    </a:lnTo>
                    <a:lnTo>
                      <a:pt x="1380" y="2674"/>
                    </a:lnTo>
                    <a:lnTo>
                      <a:pt x="1382" y="2674"/>
                    </a:lnTo>
                    <a:lnTo>
                      <a:pt x="1394" y="2680"/>
                    </a:lnTo>
                    <a:lnTo>
                      <a:pt x="1394" y="2680"/>
                    </a:lnTo>
                    <a:lnTo>
                      <a:pt x="1402" y="2684"/>
                    </a:lnTo>
                    <a:lnTo>
                      <a:pt x="1406" y="2684"/>
                    </a:lnTo>
                    <a:lnTo>
                      <a:pt x="1404" y="2682"/>
                    </a:lnTo>
                    <a:lnTo>
                      <a:pt x="1400" y="2676"/>
                    </a:lnTo>
                    <a:lnTo>
                      <a:pt x="1400" y="2676"/>
                    </a:lnTo>
                    <a:lnTo>
                      <a:pt x="1392" y="2670"/>
                    </a:lnTo>
                    <a:lnTo>
                      <a:pt x="1386" y="2668"/>
                    </a:lnTo>
                    <a:lnTo>
                      <a:pt x="1384" y="2668"/>
                    </a:lnTo>
                    <a:lnTo>
                      <a:pt x="1384" y="2664"/>
                    </a:lnTo>
                    <a:lnTo>
                      <a:pt x="1384" y="2664"/>
                    </a:lnTo>
                    <a:lnTo>
                      <a:pt x="1384" y="2662"/>
                    </a:lnTo>
                    <a:lnTo>
                      <a:pt x="1384" y="2660"/>
                    </a:lnTo>
                    <a:lnTo>
                      <a:pt x="1380" y="2656"/>
                    </a:lnTo>
                    <a:lnTo>
                      <a:pt x="1380" y="2656"/>
                    </a:lnTo>
                    <a:lnTo>
                      <a:pt x="1380" y="2654"/>
                    </a:lnTo>
                    <a:lnTo>
                      <a:pt x="1388" y="2652"/>
                    </a:lnTo>
                    <a:lnTo>
                      <a:pt x="1388" y="2652"/>
                    </a:lnTo>
                    <a:lnTo>
                      <a:pt x="1392" y="2652"/>
                    </a:lnTo>
                    <a:lnTo>
                      <a:pt x="1398" y="2650"/>
                    </a:lnTo>
                    <a:lnTo>
                      <a:pt x="1404" y="2644"/>
                    </a:lnTo>
                    <a:lnTo>
                      <a:pt x="1408" y="2642"/>
                    </a:lnTo>
                    <a:lnTo>
                      <a:pt x="1412" y="2640"/>
                    </a:lnTo>
                    <a:lnTo>
                      <a:pt x="1418" y="2642"/>
                    </a:lnTo>
                    <a:lnTo>
                      <a:pt x="1418" y="2642"/>
                    </a:lnTo>
                    <a:lnTo>
                      <a:pt x="1422" y="2644"/>
                    </a:lnTo>
                    <a:lnTo>
                      <a:pt x="1426" y="2644"/>
                    </a:lnTo>
                    <a:lnTo>
                      <a:pt x="1430" y="2640"/>
                    </a:lnTo>
                    <a:lnTo>
                      <a:pt x="1436" y="2638"/>
                    </a:lnTo>
                    <a:lnTo>
                      <a:pt x="1438" y="2638"/>
                    </a:lnTo>
                    <a:lnTo>
                      <a:pt x="1444" y="2640"/>
                    </a:lnTo>
                    <a:lnTo>
                      <a:pt x="1444" y="2640"/>
                    </a:lnTo>
                    <a:lnTo>
                      <a:pt x="1450" y="2644"/>
                    </a:lnTo>
                    <a:lnTo>
                      <a:pt x="1454" y="2644"/>
                    </a:lnTo>
                    <a:lnTo>
                      <a:pt x="1464" y="2644"/>
                    </a:lnTo>
                    <a:lnTo>
                      <a:pt x="1470" y="2644"/>
                    </a:lnTo>
                    <a:lnTo>
                      <a:pt x="1472" y="2646"/>
                    </a:lnTo>
                    <a:lnTo>
                      <a:pt x="1472" y="2650"/>
                    </a:lnTo>
                    <a:lnTo>
                      <a:pt x="1472" y="2650"/>
                    </a:lnTo>
                    <a:lnTo>
                      <a:pt x="1474" y="2656"/>
                    </a:lnTo>
                    <a:lnTo>
                      <a:pt x="1480" y="2660"/>
                    </a:lnTo>
                    <a:lnTo>
                      <a:pt x="1486" y="2660"/>
                    </a:lnTo>
                    <a:lnTo>
                      <a:pt x="1492" y="2658"/>
                    </a:lnTo>
                    <a:lnTo>
                      <a:pt x="1504" y="2656"/>
                    </a:lnTo>
                    <a:lnTo>
                      <a:pt x="1504" y="2658"/>
                    </a:lnTo>
                    <a:lnTo>
                      <a:pt x="1502" y="2660"/>
                    </a:lnTo>
                    <a:lnTo>
                      <a:pt x="1502" y="2660"/>
                    </a:lnTo>
                    <a:lnTo>
                      <a:pt x="1484" y="2668"/>
                    </a:lnTo>
                    <a:lnTo>
                      <a:pt x="1480" y="2672"/>
                    </a:lnTo>
                    <a:lnTo>
                      <a:pt x="1478" y="2680"/>
                    </a:lnTo>
                    <a:lnTo>
                      <a:pt x="1478" y="2680"/>
                    </a:lnTo>
                    <a:lnTo>
                      <a:pt x="1480" y="2684"/>
                    </a:lnTo>
                    <a:lnTo>
                      <a:pt x="1482" y="2682"/>
                    </a:lnTo>
                    <a:lnTo>
                      <a:pt x="1494" y="2670"/>
                    </a:lnTo>
                    <a:lnTo>
                      <a:pt x="1494" y="2670"/>
                    </a:lnTo>
                    <a:lnTo>
                      <a:pt x="1506" y="2662"/>
                    </a:lnTo>
                    <a:lnTo>
                      <a:pt x="1514" y="2658"/>
                    </a:lnTo>
                    <a:lnTo>
                      <a:pt x="1522" y="2654"/>
                    </a:lnTo>
                    <a:lnTo>
                      <a:pt x="1528" y="2646"/>
                    </a:lnTo>
                    <a:lnTo>
                      <a:pt x="1528" y="2646"/>
                    </a:lnTo>
                    <a:lnTo>
                      <a:pt x="1532" y="2638"/>
                    </a:lnTo>
                    <a:lnTo>
                      <a:pt x="1536" y="2636"/>
                    </a:lnTo>
                    <a:lnTo>
                      <a:pt x="1538" y="2634"/>
                    </a:lnTo>
                    <a:lnTo>
                      <a:pt x="1540" y="2636"/>
                    </a:lnTo>
                    <a:lnTo>
                      <a:pt x="1544" y="2640"/>
                    </a:lnTo>
                    <a:lnTo>
                      <a:pt x="1548" y="2640"/>
                    </a:lnTo>
                    <a:lnTo>
                      <a:pt x="1552" y="2638"/>
                    </a:lnTo>
                    <a:lnTo>
                      <a:pt x="1552" y="2638"/>
                    </a:lnTo>
                    <a:lnTo>
                      <a:pt x="1556" y="2634"/>
                    </a:lnTo>
                    <a:lnTo>
                      <a:pt x="1562" y="2634"/>
                    </a:lnTo>
                    <a:lnTo>
                      <a:pt x="1572" y="2638"/>
                    </a:lnTo>
                    <a:lnTo>
                      <a:pt x="1580" y="2638"/>
                    </a:lnTo>
                    <a:lnTo>
                      <a:pt x="1586" y="2638"/>
                    </a:lnTo>
                    <a:lnTo>
                      <a:pt x="1590" y="2634"/>
                    </a:lnTo>
                    <a:lnTo>
                      <a:pt x="1590" y="2634"/>
                    </a:lnTo>
                    <a:lnTo>
                      <a:pt x="1594" y="2626"/>
                    </a:lnTo>
                    <a:lnTo>
                      <a:pt x="1594" y="2624"/>
                    </a:lnTo>
                    <a:lnTo>
                      <a:pt x="1592" y="2624"/>
                    </a:lnTo>
                    <a:lnTo>
                      <a:pt x="1584" y="2622"/>
                    </a:lnTo>
                    <a:lnTo>
                      <a:pt x="1572" y="2616"/>
                    </a:lnTo>
                    <a:lnTo>
                      <a:pt x="1572" y="2616"/>
                    </a:lnTo>
                    <a:lnTo>
                      <a:pt x="1560" y="2608"/>
                    </a:lnTo>
                    <a:lnTo>
                      <a:pt x="1554" y="2600"/>
                    </a:lnTo>
                    <a:lnTo>
                      <a:pt x="1552" y="2592"/>
                    </a:lnTo>
                    <a:lnTo>
                      <a:pt x="1552" y="2582"/>
                    </a:lnTo>
                    <a:lnTo>
                      <a:pt x="1552" y="2582"/>
                    </a:lnTo>
                    <a:lnTo>
                      <a:pt x="1552" y="2578"/>
                    </a:lnTo>
                    <a:lnTo>
                      <a:pt x="1550" y="2576"/>
                    </a:lnTo>
                    <a:lnTo>
                      <a:pt x="1546" y="2572"/>
                    </a:lnTo>
                    <a:lnTo>
                      <a:pt x="1542" y="2570"/>
                    </a:lnTo>
                    <a:lnTo>
                      <a:pt x="1540" y="2568"/>
                    </a:lnTo>
                    <a:lnTo>
                      <a:pt x="1540" y="2564"/>
                    </a:lnTo>
                    <a:lnTo>
                      <a:pt x="1540" y="2564"/>
                    </a:lnTo>
                    <a:lnTo>
                      <a:pt x="1540" y="2560"/>
                    </a:lnTo>
                    <a:lnTo>
                      <a:pt x="1538" y="2558"/>
                    </a:lnTo>
                    <a:lnTo>
                      <a:pt x="1530" y="2556"/>
                    </a:lnTo>
                    <a:lnTo>
                      <a:pt x="1528" y="2556"/>
                    </a:lnTo>
                    <a:lnTo>
                      <a:pt x="1528" y="2554"/>
                    </a:lnTo>
                    <a:lnTo>
                      <a:pt x="1536" y="2546"/>
                    </a:lnTo>
                    <a:lnTo>
                      <a:pt x="1536" y="2546"/>
                    </a:lnTo>
                    <a:lnTo>
                      <a:pt x="1542" y="2542"/>
                    </a:lnTo>
                    <a:lnTo>
                      <a:pt x="1546" y="2538"/>
                    </a:lnTo>
                    <a:lnTo>
                      <a:pt x="1546" y="2534"/>
                    </a:lnTo>
                    <a:lnTo>
                      <a:pt x="1546" y="2530"/>
                    </a:lnTo>
                    <a:lnTo>
                      <a:pt x="1546" y="2522"/>
                    </a:lnTo>
                    <a:lnTo>
                      <a:pt x="1546" y="2516"/>
                    </a:lnTo>
                    <a:lnTo>
                      <a:pt x="1550" y="2510"/>
                    </a:lnTo>
                    <a:lnTo>
                      <a:pt x="1550" y="2510"/>
                    </a:lnTo>
                    <a:lnTo>
                      <a:pt x="1554" y="2504"/>
                    </a:lnTo>
                    <a:lnTo>
                      <a:pt x="1560" y="2502"/>
                    </a:lnTo>
                    <a:lnTo>
                      <a:pt x="1566" y="2504"/>
                    </a:lnTo>
                    <a:lnTo>
                      <a:pt x="1570" y="2504"/>
                    </a:lnTo>
                    <a:lnTo>
                      <a:pt x="1572" y="2502"/>
                    </a:lnTo>
                    <a:lnTo>
                      <a:pt x="1574" y="2496"/>
                    </a:lnTo>
                    <a:lnTo>
                      <a:pt x="1574" y="2484"/>
                    </a:lnTo>
                    <a:lnTo>
                      <a:pt x="1574" y="2484"/>
                    </a:lnTo>
                    <a:lnTo>
                      <a:pt x="1578" y="2458"/>
                    </a:lnTo>
                    <a:lnTo>
                      <a:pt x="1580" y="2448"/>
                    </a:lnTo>
                    <a:lnTo>
                      <a:pt x="1584" y="2440"/>
                    </a:lnTo>
                    <a:lnTo>
                      <a:pt x="1588" y="2434"/>
                    </a:lnTo>
                    <a:lnTo>
                      <a:pt x="1594" y="2428"/>
                    </a:lnTo>
                    <a:lnTo>
                      <a:pt x="1600" y="2426"/>
                    </a:lnTo>
                    <a:lnTo>
                      <a:pt x="1608" y="2422"/>
                    </a:lnTo>
                    <a:lnTo>
                      <a:pt x="1608" y="2422"/>
                    </a:lnTo>
                    <a:lnTo>
                      <a:pt x="1614" y="2418"/>
                    </a:lnTo>
                    <a:lnTo>
                      <a:pt x="1618" y="2414"/>
                    </a:lnTo>
                    <a:lnTo>
                      <a:pt x="1620" y="2406"/>
                    </a:lnTo>
                    <a:lnTo>
                      <a:pt x="1620" y="2398"/>
                    </a:lnTo>
                    <a:lnTo>
                      <a:pt x="1620" y="2398"/>
                    </a:lnTo>
                    <a:lnTo>
                      <a:pt x="1620" y="2390"/>
                    </a:lnTo>
                    <a:lnTo>
                      <a:pt x="1620" y="2386"/>
                    </a:lnTo>
                    <a:lnTo>
                      <a:pt x="1618" y="2384"/>
                    </a:lnTo>
                    <a:lnTo>
                      <a:pt x="1616" y="2378"/>
                    </a:lnTo>
                    <a:lnTo>
                      <a:pt x="1616" y="2378"/>
                    </a:lnTo>
                    <a:lnTo>
                      <a:pt x="1616" y="2372"/>
                    </a:lnTo>
                    <a:lnTo>
                      <a:pt x="1620" y="2372"/>
                    </a:lnTo>
                    <a:lnTo>
                      <a:pt x="1626" y="2372"/>
                    </a:lnTo>
                    <a:lnTo>
                      <a:pt x="1630" y="2370"/>
                    </a:lnTo>
                    <a:lnTo>
                      <a:pt x="1636" y="2366"/>
                    </a:lnTo>
                    <a:lnTo>
                      <a:pt x="1636" y="2366"/>
                    </a:lnTo>
                    <a:lnTo>
                      <a:pt x="1646" y="2358"/>
                    </a:lnTo>
                    <a:lnTo>
                      <a:pt x="1654" y="2348"/>
                    </a:lnTo>
                    <a:lnTo>
                      <a:pt x="1660" y="2340"/>
                    </a:lnTo>
                    <a:lnTo>
                      <a:pt x="1662" y="2330"/>
                    </a:lnTo>
                    <a:lnTo>
                      <a:pt x="1662" y="2330"/>
                    </a:lnTo>
                    <a:lnTo>
                      <a:pt x="1662" y="2326"/>
                    </a:lnTo>
                    <a:lnTo>
                      <a:pt x="1664" y="2324"/>
                    </a:lnTo>
                    <a:lnTo>
                      <a:pt x="1668" y="2322"/>
                    </a:lnTo>
                    <a:lnTo>
                      <a:pt x="1672" y="2320"/>
                    </a:lnTo>
                    <a:lnTo>
                      <a:pt x="1682" y="2320"/>
                    </a:lnTo>
                    <a:lnTo>
                      <a:pt x="1690" y="2318"/>
                    </a:lnTo>
                    <a:lnTo>
                      <a:pt x="1690" y="2318"/>
                    </a:lnTo>
                    <a:lnTo>
                      <a:pt x="1698" y="2318"/>
                    </a:lnTo>
                    <a:lnTo>
                      <a:pt x="1702" y="2318"/>
                    </a:lnTo>
                    <a:lnTo>
                      <a:pt x="1704" y="2318"/>
                    </a:lnTo>
                    <a:lnTo>
                      <a:pt x="1706" y="2312"/>
                    </a:lnTo>
                    <a:lnTo>
                      <a:pt x="1706" y="2312"/>
                    </a:lnTo>
                    <a:lnTo>
                      <a:pt x="1708" y="2296"/>
                    </a:lnTo>
                    <a:lnTo>
                      <a:pt x="1708" y="2294"/>
                    </a:lnTo>
                    <a:lnTo>
                      <a:pt x="1710" y="2298"/>
                    </a:lnTo>
                    <a:lnTo>
                      <a:pt x="1710" y="2298"/>
                    </a:lnTo>
                    <a:lnTo>
                      <a:pt x="1712" y="2308"/>
                    </a:lnTo>
                    <a:lnTo>
                      <a:pt x="1712" y="2316"/>
                    </a:lnTo>
                    <a:lnTo>
                      <a:pt x="1714" y="2320"/>
                    </a:lnTo>
                    <a:lnTo>
                      <a:pt x="1718" y="2322"/>
                    </a:lnTo>
                    <a:lnTo>
                      <a:pt x="1724" y="2322"/>
                    </a:lnTo>
                    <a:lnTo>
                      <a:pt x="1732" y="2322"/>
                    </a:lnTo>
                    <a:lnTo>
                      <a:pt x="1732" y="2322"/>
                    </a:lnTo>
                    <a:lnTo>
                      <a:pt x="1726" y="2324"/>
                    </a:lnTo>
                    <a:lnTo>
                      <a:pt x="1720" y="2326"/>
                    </a:lnTo>
                    <a:lnTo>
                      <a:pt x="1708" y="2324"/>
                    </a:lnTo>
                    <a:lnTo>
                      <a:pt x="1700" y="2322"/>
                    </a:lnTo>
                    <a:lnTo>
                      <a:pt x="1696" y="2322"/>
                    </a:lnTo>
                    <a:lnTo>
                      <a:pt x="1696" y="2324"/>
                    </a:lnTo>
                    <a:lnTo>
                      <a:pt x="1696" y="2324"/>
                    </a:lnTo>
                    <a:lnTo>
                      <a:pt x="1696" y="2326"/>
                    </a:lnTo>
                    <a:lnTo>
                      <a:pt x="1700" y="2330"/>
                    </a:lnTo>
                    <a:lnTo>
                      <a:pt x="1708" y="2336"/>
                    </a:lnTo>
                    <a:lnTo>
                      <a:pt x="1718" y="2342"/>
                    </a:lnTo>
                    <a:lnTo>
                      <a:pt x="1722" y="2346"/>
                    </a:lnTo>
                    <a:lnTo>
                      <a:pt x="1722" y="2348"/>
                    </a:lnTo>
                    <a:lnTo>
                      <a:pt x="1722" y="2348"/>
                    </a:lnTo>
                    <a:lnTo>
                      <a:pt x="1724" y="2350"/>
                    </a:lnTo>
                    <a:lnTo>
                      <a:pt x="1728" y="2350"/>
                    </a:lnTo>
                    <a:lnTo>
                      <a:pt x="1740" y="2350"/>
                    </a:lnTo>
                    <a:lnTo>
                      <a:pt x="1754" y="2348"/>
                    </a:lnTo>
                    <a:lnTo>
                      <a:pt x="1760" y="2348"/>
                    </a:lnTo>
                    <a:lnTo>
                      <a:pt x="1764" y="2350"/>
                    </a:lnTo>
                    <a:lnTo>
                      <a:pt x="1764" y="2350"/>
                    </a:lnTo>
                    <a:lnTo>
                      <a:pt x="1766" y="2352"/>
                    </a:lnTo>
                    <a:lnTo>
                      <a:pt x="1768" y="2352"/>
                    </a:lnTo>
                    <a:lnTo>
                      <a:pt x="1772" y="2350"/>
                    </a:lnTo>
                    <a:lnTo>
                      <a:pt x="1776" y="2350"/>
                    </a:lnTo>
                    <a:lnTo>
                      <a:pt x="1780" y="2356"/>
                    </a:lnTo>
                    <a:lnTo>
                      <a:pt x="1780" y="2356"/>
                    </a:lnTo>
                    <a:lnTo>
                      <a:pt x="1780" y="2358"/>
                    </a:lnTo>
                    <a:lnTo>
                      <a:pt x="1778" y="2360"/>
                    </a:lnTo>
                    <a:lnTo>
                      <a:pt x="1774" y="2364"/>
                    </a:lnTo>
                    <a:lnTo>
                      <a:pt x="1756" y="2374"/>
                    </a:lnTo>
                    <a:lnTo>
                      <a:pt x="1738" y="2382"/>
                    </a:lnTo>
                    <a:lnTo>
                      <a:pt x="1732" y="2386"/>
                    </a:lnTo>
                    <a:lnTo>
                      <a:pt x="1732" y="2388"/>
                    </a:lnTo>
                    <a:lnTo>
                      <a:pt x="1732" y="2390"/>
                    </a:lnTo>
                    <a:lnTo>
                      <a:pt x="1732" y="2390"/>
                    </a:lnTo>
                    <a:lnTo>
                      <a:pt x="1736" y="2392"/>
                    </a:lnTo>
                    <a:lnTo>
                      <a:pt x="1742" y="2394"/>
                    </a:lnTo>
                    <a:lnTo>
                      <a:pt x="1756" y="2398"/>
                    </a:lnTo>
                    <a:lnTo>
                      <a:pt x="1762" y="2400"/>
                    </a:lnTo>
                    <a:lnTo>
                      <a:pt x="1768" y="2404"/>
                    </a:lnTo>
                    <a:lnTo>
                      <a:pt x="1772" y="2410"/>
                    </a:lnTo>
                    <a:lnTo>
                      <a:pt x="1774" y="2416"/>
                    </a:lnTo>
                    <a:lnTo>
                      <a:pt x="1774" y="2416"/>
                    </a:lnTo>
                    <a:lnTo>
                      <a:pt x="1774" y="2424"/>
                    </a:lnTo>
                    <a:lnTo>
                      <a:pt x="1772" y="2428"/>
                    </a:lnTo>
                    <a:lnTo>
                      <a:pt x="1768" y="2432"/>
                    </a:lnTo>
                    <a:lnTo>
                      <a:pt x="1766" y="2434"/>
                    </a:lnTo>
                    <a:lnTo>
                      <a:pt x="1768" y="2434"/>
                    </a:lnTo>
                    <a:lnTo>
                      <a:pt x="1774" y="2442"/>
                    </a:lnTo>
                    <a:lnTo>
                      <a:pt x="1774" y="2442"/>
                    </a:lnTo>
                    <a:lnTo>
                      <a:pt x="1780" y="2446"/>
                    </a:lnTo>
                    <a:lnTo>
                      <a:pt x="1788" y="2448"/>
                    </a:lnTo>
                    <a:lnTo>
                      <a:pt x="1794" y="2446"/>
                    </a:lnTo>
                    <a:lnTo>
                      <a:pt x="1800" y="2442"/>
                    </a:lnTo>
                    <a:lnTo>
                      <a:pt x="1810" y="2432"/>
                    </a:lnTo>
                    <a:lnTo>
                      <a:pt x="1822" y="2422"/>
                    </a:lnTo>
                    <a:lnTo>
                      <a:pt x="1822" y="2422"/>
                    </a:lnTo>
                    <a:lnTo>
                      <a:pt x="1826" y="2420"/>
                    </a:lnTo>
                    <a:lnTo>
                      <a:pt x="1830" y="2420"/>
                    </a:lnTo>
                    <a:lnTo>
                      <a:pt x="1832" y="2422"/>
                    </a:lnTo>
                    <a:lnTo>
                      <a:pt x="1836" y="2422"/>
                    </a:lnTo>
                    <a:lnTo>
                      <a:pt x="1844" y="2416"/>
                    </a:lnTo>
                    <a:lnTo>
                      <a:pt x="1844" y="2416"/>
                    </a:lnTo>
                    <a:lnTo>
                      <a:pt x="1850" y="2410"/>
                    </a:lnTo>
                    <a:lnTo>
                      <a:pt x="1856" y="2408"/>
                    </a:lnTo>
                    <a:lnTo>
                      <a:pt x="1860" y="2408"/>
                    </a:lnTo>
                    <a:lnTo>
                      <a:pt x="1862" y="2408"/>
                    </a:lnTo>
                    <a:lnTo>
                      <a:pt x="1870" y="2412"/>
                    </a:lnTo>
                    <a:lnTo>
                      <a:pt x="1876" y="2414"/>
                    </a:lnTo>
                    <a:lnTo>
                      <a:pt x="1882" y="2412"/>
                    </a:lnTo>
                    <a:lnTo>
                      <a:pt x="1882" y="2412"/>
                    </a:lnTo>
                    <a:lnTo>
                      <a:pt x="1892" y="2408"/>
                    </a:lnTo>
                    <a:lnTo>
                      <a:pt x="1894" y="2406"/>
                    </a:lnTo>
                    <a:lnTo>
                      <a:pt x="1892" y="2404"/>
                    </a:lnTo>
                    <a:lnTo>
                      <a:pt x="1892" y="2400"/>
                    </a:lnTo>
                    <a:lnTo>
                      <a:pt x="1892" y="2398"/>
                    </a:lnTo>
                    <a:lnTo>
                      <a:pt x="1894" y="2394"/>
                    </a:lnTo>
                    <a:lnTo>
                      <a:pt x="1894" y="2394"/>
                    </a:lnTo>
                    <a:lnTo>
                      <a:pt x="1896" y="2390"/>
                    </a:lnTo>
                    <a:lnTo>
                      <a:pt x="1894" y="2386"/>
                    </a:lnTo>
                    <a:lnTo>
                      <a:pt x="1886" y="2384"/>
                    </a:lnTo>
                    <a:lnTo>
                      <a:pt x="1874" y="2386"/>
                    </a:lnTo>
                    <a:lnTo>
                      <a:pt x="1874" y="2386"/>
                    </a:lnTo>
                    <a:lnTo>
                      <a:pt x="1868" y="2388"/>
                    </a:lnTo>
                    <a:lnTo>
                      <a:pt x="1862" y="2392"/>
                    </a:lnTo>
                    <a:lnTo>
                      <a:pt x="1854" y="2396"/>
                    </a:lnTo>
                    <a:lnTo>
                      <a:pt x="1852" y="2396"/>
                    </a:lnTo>
                    <a:lnTo>
                      <a:pt x="1848" y="2392"/>
                    </a:lnTo>
                    <a:lnTo>
                      <a:pt x="1842" y="2386"/>
                    </a:lnTo>
                    <a:lnTo>
                      <a:pt x="1836" y="2376"/>
                    </a:lnTo>
                    <a:lnTo>
                      <a:pt x="1836" y="2376"/>
                    </a:lnTo>
                    <a:lnTo>
                      <a:pt x="1826" y="2358"/>
                    </a:lnTo>
                    <a:lnTo>
                      <a:pt x="1824" y="2348"/>
                    </a:lnTo>
                    <a:lnTo>
                      <a:pt x="1824" y="2346"/>
                    </a:lnTo>
                    <a:lnTo>
                      <a:pt x="1824" y="2344"/>
                    </a:lnTo>
                    <a:lnTo>
                      <a:pt x="1830" y="2342"/>
                    </a:lnTo>
                    <a:lnTo>
                      <a:pt x="1830" y="2342"/>
                    </a:lnTo>
                    <a:lnTo>
                      <a:pt x="1836" y="2340"/>
                    </a:lnTo>
                    <a:lnTo>
                      <a:pt x="1838" y="2340"/>
                    </a:lnTo>
                    <a:lnTo>
                      <a:pt x="1838" y="2342"/>
                    </a:lnTo>
                    <a:lnTo>
                      <a:pt x="1838" y="2344"/>
                    </a:lnTo>
                    <a:lnTo>
                      <a:pt x="1838" y="2348"/>
                    </a:lnTo>
                    <a:lnTo>
                      <a:pt x="1838" y="2348"/>
                    </a:lnTo>
                    <a:lnTo>
                      <a:pt x="1842" y="2346"/>
                    </a:lnTo>
                    <a:lnTo>
                      <a:pt x="1842" y="2346"/>
                    </a:lnTo>
                    <a:lnTo>
                      <a:pt x="1852" y="2336"/>
                    </a:lnTo>
                    <a:lnTo>
                      <a:pt x="1862" y="2326"/>
                    </a:lnTo>
                    <a:lnTo>
                      <a:pt x="1872" y="2318"/>
                    </a:lnTo>
                    <a:lnTo>
                      <a:pt x="1876" y="2316"/>
                    </a:lnTo>
                    <a:lnTo>
                      <a:pt x="1880" y="2316"/>
                    </a:lnTo>
                    <a:lnTo>
                      <a:pt x="1880" y="2316"/>
                    </a:lnTo>
                    <a:lnTo>
                      <a:pt x="1886" y="2318"/>
                    </a:lnTo>
                    <a:lnTo>
                      <a:pt x="1896" y="2316"/>
                    </a:lnTo>
                    <a:lnTo>
                      <a:pt x="1906" y="2312"/>
                    </a:lnTo>
                    <a:lnTo>
                      <a:pt x="1916" y="2308"/>
                    </a:lnTo>
                    <a:lnTo>
                      <a:pt x="1934" y="2296"/>
                    </a:lnTo>
                    <a:lnTo>
                      <a:pt x="1944" y="2292"/>
                    </a:lnTo>
                    <a:lnTo>
                      <a:pt x="1944" y="2292"/>
                    </a:lnTo>
                    <a:lnTo>
                      <a:pt x="1952" y="2292"/>
                    </a:lnTo>
                    <a:lnTo>
                      <a:pt x="1956" y="2294"/>
                    </a:lnTo>
                    <a:lnTo>
                      <a:pt x="1960" y="2296"/>
                    </a:lnTo>
                    <a:lnTo>
                      <a:pt x="1964" y="2294"/>
                    </a:lnTo>
                    <a:lnTo>
                      <a:pt x="1964" y="2294"/>
                    </a:lnTo>
                    <a:lnTo>
                      <a:pt x="1972" y="2288"/>
                    </a:lnTo>
                    <a:lnTo>
                      <a:pt x="1976" y="2288"/>
                    </a:lnTo>
                    <a:lnTo>
                      <a:pt x="1976" y="2288"/>
                    </a:lnTo>
                    <a:lnTo>
                      <a:pt x="1980" y="2290"/>
                    </a:lnTo>
                    <a:lnTo>
                      <a:pt x="1986" y="2288"/>
                    </a:lnTo>
                    <a:lnTo>
                      <a:pt x="1992" y="2286"/>
                    </a:lnTo>
                    <a:lnTo>
                      <a:pt x="1992" y="2286"/>
                    </a:lnTo>
                    <a:lnTo>
                      <a:pt x="1998" y="2284"/>
                    </a:lnTo>
                    <a:lnTo>
                      <a:pt x="2002" y="2284"/>
                    </a:lnTo>
                    <a:lnTo>
                      <a:pt x="2004" y="2286"/>
                    </a:lnTo>
                    <a:lnTo>
                      <a:pt x="2004" y="2288"/>
                    </a:lnTo>
                    <a:lnTo>
                      <a:pt x="2004" y="2290"/>
                    </a:lnTo>
                    <a:lnTo>
                      <a:pt x="2000" y="2294"/>
                    </a:lnTo>
                    <a:lnTo>
                      <a:pt x="1996" y="2298"/>
                    </a:lnTo>
                    <a:lnTo>
                      <a:pt x="1988" y="2300"/>
                    </a:lnTo>
                    <a:lnTo>
                      <a:pt x="1988" y="2300"/>
                    </a:lnTo>
                    <a:lnTo>
                      <a:pt x="1980" y="2302"/>
                    </a:lnTo>
                    <a:lnTo>
                      <a:pt x="1974" y="2306"/>
                    </a:lnTo>
                    <a:lnTo>
                      <a:pt x="1968" y="2312"/>
                    </a:lnTo>
                    <a:lnTo>
                      <a:pt x="1962" y="2316"/>
                    </a:lnTo>
                    <a:lnTo>
                      <a:pt x="1948" y="2318"/>
                    </a:lnTo>
                    <a:lnTo>
                      <a:pt x="1948" y="2318"/>
                    </a:lnTo>
                    <a:lnTo>
                      <a:pt x="1944" y="2318"/>
                    </a:lnTo>
                    <a:lnTo>
                      <a:pt x="1944" y="2320"/>
                    </a:lnTo>
                    <a:lnTo>
                      <a:pt x="1944" y="2324"/>
                    </a:lnTo>
                    <a:lnTo>
                      <a:pt x="1946" y="2326"/>
                    </a:lnTo>
                    <a:lnTo>
                      <a:pt x="1952" y="2332"/>
                    </a:lnTo>
                    <a:lnTo>
                      <a:pt x="1956" y="2334"/>
                    </a:lnTo>
                    <a:lnTo>
                      <a:pt x="1958" y="2334"/>
                    </a:lnTo>
                    <a:lnTo>
                      <a:pt x="1958" y="2334"/>
                    </a:lnTo>
                    <a:lnTo>
                      <a:pt x="1962" y="2334"/>
                    </a:lnTo>
                    <a:lnTo>
                      <a:pt x="1968" y="2338"/>
                    </a:lnTo>
                    <a:lnTo>
                      <a:pt x="1974" y="2344"/>
                    </a:lnTo>
                    <a:lnTo>
                      <a:pt x="1978" y="2352"/>
                    </a:lnTo>
                    <a:lnTo>
                      <a:pt x="1976" y="2354"/>
                    </a:lnTo>
                    <a:lnTo>
                      <a:pt x="1972" y="2352"/>
                    </a:lnTo>
                    <a:lnTo>
                      <a:pt x="1972" y="2352"/>
                    </a:lnTo>
                    <a:lnTo>
                      <a:pt x="1964" y="2350"/>
                    </a:lnTo>
                    <a:lnTo>
                      <a:pt x="1958" y="2350"/>
                    </a:lnTo>
                    <a:lnTo>
                      <a:pt x="1952" y="2354"/>
                    </a:lnTo>
                    <a:lnTo>
                      <a:pt x="1948" y="2362"/>
                    </a:lnTo>
                    <a:lnTo>
                      <a:pt x="1948" y="2362"/>
                    </a:lnTo>
                    <a:lnTo>
                      <a:pt x="1942" y="2376"/>
                    </a:lnTo>
                    <a:lnTo>
                      <a:pt x="1940" y="2382"/>
                    </a:lnTo>
                    <a:lnTo>
                      <a:pt x="1942" y="2388"/>
                    </a:lnTo>
                    <a:lnTo>
                      <a:pt x="1942" y="2388"/>
                    </a:lnTo>
                    <a:lnTo>
                      <a:pt x="1944" y="2396"/>
                    </a:lnTo>
                    <a:lnTo>
                      <a:pt x="1942" y="2396"/>
                    </a:lnTo>
                    <a:lnTo>
                      <a:pt x="1940" y="2396"/>
                    </a:lnTo>
                    <a:lnTo>
                      <a:pt x="1934" y="2394"/>
                    </a:lnTo>
                    <a:lnTo>
                      <a:pt x="1930" y="2392"/>
                    </a:lnTo>
                    <a:lnTo>
                      <a:pt x="1926" y="2394"/>
                    </a:lnTo>
                    <a:lnTo>
                      <a:pt x="1926" y="2394"/>
                    </a:lnTo>
                    <a:lnTo>
                      <a:pt x="1922" y="2394"/>
                    </a:lnTo>
                    <a:lnTo>
                      <a:pt x="1918" y="2392"/>
                    </a:lnTo>
                    <a:lnTo>
                      <a:pt x="1910" y="2390"/>
                    </a:lnTo>
                    <a:lnTo>
                      <a:pt x="1904" y="2388"/>
                    </a:lnTo>
                    <a:lnTo>
                      <a:pt x="1904" y="2390"/>
                    </a:lnTo>
                    <a:lnTo>
                      <a:pt x="1904" y="2392"/>
                    </a:lnTo>
                    <a:lnTo>
                      <a:pt x="1904" y="2392"/>
                    </a:lnTo>
                    <a:lnTo>
                      <a:pt x="1904" y="2396"/>
                    </a:lnTo>
                    <a:lnTo>
                      <a:pt x="1904" y="2398"/>
                    </a:lnTo>
                    <a:lnTo>
                      <a:pt x="1900" y="2402"/>
                    </a:lnTo>
                    <a:lnTo>
                      <a:pt x="1900" y="2404"/>
                    </a:lnTo>
                    <a:lnTo>
                      <a:pt x="1900" y="2404"/>
                    </a:lnTo>
                    <a:lnTo>
                      <a:pt x="1912" y="2410"/>
                    </a:lnTo>
                    <a:lnTo>
                      <a:pt x="1912" y="2410"/>
                    </a:lnTo>
                    <a:lnTo>
                      <a:pt x="1918" y="2414"/>
                    </a:lnTo>
                    <a:lnTo>
                      <a:pt x="1924" y="2418"/>
                    </a:lnTo>
                    <a:lnTo>
                      <a:pt x="1928" y="2424"/>
                    </a:lnTo>
                    <a:lnTo>
                      <a:pt x="1934" y="2430"/>
                    </a:lnTo>
                    <a:lnTo>
                      <a:pt x="1938" y="2432"/>
                    </a:lnTo>
                    <a:lnTo>
                      <a:pt x="1944" y="2434"/>
                    </a:lnTo>
                    <a:lnTo>
                      <a:pt x="1944" y="2434"/>
                    </a:lnTo>
                    <a:lnTo>
                      <a:pt x="1950" y="2434"/>
                    </a:lnTo>
                    <a:lnTo>
                      <a:pt x="1954" y="2436"/>
                    </a:lnTo>
                    <a:lnTo>
                      <a:pt x="1956" y="2440"/>
                    </a:lnTo>
                    <a:lnTo>
                      <a:pt x="1958" y="2442"/>
                    </a:lnTo>
                    <a:lnTo>
                      <a:pt x="1960" y="2446"/>
                    </a:lnTo>
                    <a:lnTo>
                      <a:pt x="1966" y="2448"/>
                    </a:lnTo>
                    <a:lnTo>
                      <a:pt x="1976" y="2452"/>
                    </a:lnTo>
                    <a:lnTo>
                      <a:pt x="1976" y="2452"/>
                    </a:lnTo>
                    <a:lnTo>
                      <a:pt x="1990" y="2456"/>
                    </a:lnTo>
                    <a:lnTo>
                      <a:pt x="1994" y="2458"/>
                    </a:lnTo>
                    <a:lnTo>
                      <a:pt x="1996" y="2462"/>
                    </a:lnTo>
                    <a:lnTo>
                      <a:pt x="2006" y="2474"/>
                    </a:lnTo>
                    <a:lnTo>
                      <a:pt x="2034" y="2504"/>
                    </a:lnTo>
                    <a:lnTo>
                      <a:pt x="2034" y="2504"/>
                    </a:lnTo>
                    <a:lnTo>
                      <a:pt x="2042" y="2510"/>
                    </a:lnTo>
                    <a:lnTo>
                      <a:pt x="2050" y="2516"/>
                    </a:lnTo>
                    <a:lnTo>
                      <a:pt x="2062" y="2520"/>
                    </a:lnTo>
                    <a:lnTo>
                      <a:pt x="2070" y="2522"/>
                    </a:lnTo>
                    <a:lnTo>
                      <a:pt x="2074" y="2526"/>
                    </a:lnTo>
                    <a:lnTo>
                      <a:pt x="2076" y="2530"/>
                    </a:lnTo>
                    <a:lnTo>
                      <a:pt x="2076" y="2530"/>
                    </a:lnTo>
                    <a:lnTo>
                      <a:pt x="2080" y="2534"/>
                    </a:lnTo>
                    <a:lnTo>
                      <a:pt x="2082" y="2538"/>
                    </a:lnTo>
                    <a:lnTo>
                      <a:pt x="2088" y="2538"/>
                    </a:lnTo>
                    <a:lnTo>
                      <a:pt x="2092" y="2540"/>
                    </a:lnTo>
                    <a:lnTo>
                      <a:pt x="2094" y="2544"/>
                    </a:lnTo>
                    <a:lnTo>
                      <a:pt x="2098" y="2552"/>
                    </a:lnTo>
                    <a:lnTo>
                      <a:pt x="2100" y="2562"/>
                    </a:lnTo>
                    <a:lnTo>
                      <a:pt x="2100" y="2562"/>
                    </a:lnTo>
                    <a:lnTo>
                      <a:pt x="2104" y="2584"/>
                    </a:lnTo>
                    <a:lnTo>
                      <a:pt x="2104" y="2598"/>
                    </a:lnTo>
                    <a:lnTo>
                      <a:pt x="2100" y="2606"/>
                    </a:lnTo>
                    <a:lnTo>
                      <a:pt x="2096" y="2610"/>
                    </a:lnTo>
                    <a:lnTo>
                      <a:pt x="2096" y="2610"/>
                    </a:lnTo>
                    <a:lnTo>
                      <a:pt x="2086" y="2618"/>
                    </a:lnTo>
                    <a:lnTo>
                      <a:pt x="2066" y="2630"/>
                    </a:lnTo>
                    <a:lnTo>
                      <a:pt x="2054" y="2636"/>
                    </a:lnTo>
                    <a:lnTo>
                      <a:pt x="2044" y="2640"/>
                    </a:lnTo>
                    <a:lnTo>
                      <a:pt x="2032" y="2638"/>
                    </a:lnTo>
                    <a:lnTo>
                      <a:pt x="2028" y="2638"/>
                    </a:lnTo>
                    <a:lnTo>
                      <a:pt x="2024" y="2634"/>
                    </a:lnTo>
                    <a:lnTo>
                      <a:pt x="2024" y="2634"/>
                    </a:lnTo>
                    <a:lnTo>
                      <a:pt x="2014" y="2630"/>
                    </a:lnTo>
                    <a:lnTo>
                      <a:pt x="2006" y="2630"/>
                    </a:lnTo>
                    <a:lnTo>
                      <a:pt x="1996" y="2632"/>
                    </a:lnTo>
                    <a:lnTo>
                      <a:pt x="1986" y="2636"/>
                    </a:lnTo>
                    <a:lnTo>
                      <a:pt x="1976" y="2640"/>
                    </a:lnTo>
                    <a:lnTo>
                      <a:pt x="1968" y="2642"/>
                    </a:lnTo>
                    <a:lnTo>
                      <a:pt x="1960" y="2642"/>
                    </a:lnTo>
                    <a:lnTo>
                      <a:pt x="1956" y="2640"/>
                    </a:lnTo>
                    <a:lnTo>
                      <a:pt x="1952" y="2636"/>
                    </a:lnTo>
                    <a:lnTo>
                      <a:pt x="1952" y="2636"/>
                    </a:lnTo>
                    <a:lnTo>
                      <a:pt x="1942" y="2630"/>
                    </a:lnTo>
                    <a:lnTo>
                      <a:pt x="1940" y="2630"/>
                    </a:lnTo>
                    <a:lnTo>
                      <a:pt x="1940" y="2630"/>
                    </a:lnTo>
                    <a:lnTo>
                      <a:pt x="1938" y="2632"/>
                    </a:lnTo>
                    <a:lnTo>
                      <a:pt x="1936" y="2634"/>
                    </a:lnTo>
                    <a:lnTo>
                      <a:pt x="1932" y="2634"/>
                    </a:lnTo>
                    <a:lnTo>
                      <a:pt x="1924" y="2630"/>
                    </a:lnTo>
                    <a:lnTo>
                      <a:pt x="1924" y="2630"/>
                    </a:lnTo>
                    <a:lnTo>
                      <a:pt x="1918" y="2626"/>
                    </a:lnTo>
                    <a:lnTo>
                      <a:pt x="1914" y="2622"/>
                    </a:lnTo>
                    <a:lnTo>
                      <a:pt x="1910" y="2618"/>
                    </a:lnTo>
                    <a:lnTo>
                      <a:pt x="1908" y="2616"/>
                    </a:lnTo>
                    <a:lnTo>
                      <a:pt x="1906" y="2616"/>
                    </a:lnTo>
                    <a:lnTo>
                      <a:pt x="1896" y="2620"/>
                    </a:lnTo>
                    <a:lnTo>
                      <a:pt x="1896" y="2620"/>
                    </a:lnTo>
                    <a:lnTo>
                      <a:pt x="1890" y="2620"/>
                    </a:lnTo>
                    <a:lnTo>
                      <a:pt x="1886" y="2618"/>
                    </a:lnTo>
                    <a:lnTo>
                      <a:pt x="1884" y="2614"/>
                    </a:lnTo>
                    <a:lnTo>
                      <a:pt x="1882" y="2608"/>
                    </a:lnTo>
                    <a:lnTo>
                      <a:pt x="1880" y="2602"/>
                    </a:lnTo>
                    <a:lnTo>
                      <a:pt x="1876" y="2598"/>
                    </a:lnTo>
                    <a:lnTo>
                      <a:pt x="1870" y="2596"/>
                    </a:lnTo>
                    <a:lnTo>
                      <a:pt x="1860" y="2598"/>
                    </a:lnTo>
                    <a:lnTo>
                      <a:pt x="1860" y="2598"/>
                    </a:lnTo>
                    <a:lnTo>
                      <a:pt x="1850" y="2600"/>
                    </a:lnTo>
                    <a:lnTo>
                      <a:pt x="1844" y="2596"/>
                    </a:lnTo>
                    <a:lnTo>
                      <a:pt x="1842" y="2592"/>
                    </a:lnTo>
                    <a:lnTo>
                      <a:pt x="1840" y="2586"/>
                    </a:lnTo>
                    <a:lnTo>
                      <a:pt x="1840" y="2582"/>
                    </a:lnTo>
                    <a:lnTo>
                      <a:pt x="1838" y="2578"/>
                    </a:lnTo>
                    <a:lnTo>
                      <a:pt x="1836" y="2576"/>
                    </a:lnTo>
                    <a:lnTo>
                      <a:pt x="1830" y="2580"/>
                    </a:lnTo>
                    <a:lnTo>
                      <a:pt x="1830" y="2580"/>
                    </a:lnTo>
                    <a:lnTo>
                      <a:pt x="1822" y="2582"/>
                    </a:lnTo>
                    <a:lnTo>
                      <a:pt x="1814" y="2584"/>
                    </a:lnTo>
                    <a:lnTo>
                      <a:pt x="1798" y="2582"/>
                    </a:lnTo>
                    <a:lnTo>
                      <a:pt x="1788" y="2580"/>
                    </a:lnTo>
                    <a:lnTo>
                      <a:pt x="1778" y="2580"/>
                    </a:lnTo>
                    <a:lnTo>
                      <a:pt x="1766" y="2582"/>
                    </a:lnTo>
                    <a:lnTo>
                      <a:pt x="1752" y="2586"/>
                    </a:lnTo>
                    <a:lnTo>
                      <a:pt x="1752" y="2586"/>
                    </a:lnTo>
                    <a:lnTo>
                      <a:pt x="1724" y="2596"/>
                    </a:lnTo>
                    <a:lnTo>
                      <a:pt x="1706" y="2608"/>
                    </a:lnTo>
                    <a:lnTo>
                      <a:pt x="1694" y="2618"/>
                    </a:lnTo>
                    <a:lnTo>
                      <a:pt x="1688" y="2624"/>
                    </a:lnTo>
                    <a:lnTo>
                      <a:pt x="1688" y="2624"/>
                    </a:lnTo>
                    <a:lnTo>
                      <a:pt x="1684" y="2630"/>
                    </a:lnTo>
                    <a:lnTo>
                      <a:pt x="1678" y="2632"/>
                    </a:lnTo>
                    <a:lnTo>
                      <a:pt x="1668" y="2632"/>
                    </a:lnTo>
                    <a:lnTo>
                      <a:pt x="1656" y="2628"/>
                    </a:lnTo>
                    <a:lnTo>
                      <a:pt x="1656" y="2628"/>
                    </a:lnTo>
                    <a:lnTo>
                      <a:pt x="1646" y="2626"/>
                    </a:lnTo>
                    <a:lnTo>
                      <a:pt x="1638" y="2626"/>
                    </a:lnTo>
                    <a:lnTo>
                      <a:pt x="1630" y="2628"/>
                    </a:lnTo>
                    <a:lnTo>
                      <a:pt x="1618" y="2628"/>
                    </a:lnTo>
                    <a:lnTo>
                      <a:pt x="1618" y="2628"/>
                    </a:lnTo>
                    <a:lnTo>
                      <a:pt x="1608" y="2624"/>
                    </a:lnTo>
                    <a:lnTo>
                      <a:pt x="1602" y="2626"/>
                    </a:lnTo>
                    <a:lnTo>
                      <a:pt x="1598" y="2628"/>
                    </a:lnTo>
                    <a:lnTo>
                      <a:pt x="1596" y="2634"/>
                    </a:lnTo>
                    <a:lnTo>
                      <a:pt x="1596" y="2634"/>
                    </a:lnTo>
                    <a:lnTo>
                      <a:pt x="1594" y="2638"/>
                    </a:lnTo>
                    <a:lnTo>
                      <a:pt x="1596" y="2640"/>
                    </a:lnTo>
                    <a:lnTo>
                      <a:pt x="1600" y="2642"/>
                    </a:lnTo>
                    <a:lnTo>
                      <a:pt x="1604" y="2646"/>
                    </a:lnTo>
                    <a:lnTo>
                      <a:pt x="1604" y="2646"/>
                    </a:lnTo>
                    <a:lnTo>
                      <a:pt x="1608" y="2650"/>
                    </a:lnTo>
                    <a:lnTo>
                      <a:pt x="1612" y="2650"/>
                    </a:lnTo>
                    <a:lnTo>
                      <a:pt x="1620" y="2652"/>
                    </a:lnTo>
                    <a:lnTo>
                      <a:pt x="1622" y="2652"/>
                    </a:lnTo>
                    <a:lnTo>
                      <a:pt x="1620" y="2652"/>
                    </a:lnTo>
                    <a:lnTo>
                      <a:pt x="1606" y="2656"/>
                    </a:lnTo>
                    <a:lnTo>
                      <a:pt x="1606" y="2656"/>
                    </a:lnTo>
                    <a:lnTo>
                      <a:pt x="1584" y="2660"/>
                    </a:lnTo>
                    <a:lnTo>
                      <a:pt x="1584" y="2662"/>
                    </a:lnTo>
                    <a:lnTo>
                      <a:pt x="1584" y="2664"/>
                    </a:lnTo>
                    <a:lnTo>
                      <a:pt x="1592" y="2666"/>
                    </a:lnTo>
                    <a:lnTo>
                      <a:pt x="1594" y="2668"/>
                    </a:lnTo>
                    <a:lnTo>
                      <a:pt x="1594" y="2672"/>
                    </a:lnTo>
                    <a:lnTo>
                      <a:pt x="1594" y="2672"/>
                    </a:lnTo>
                    <a:lnTo>
                      <a:pt x="1586" y="2674"/>
                    </a:lnTo>
                    <a:lnTo>
                      <a:pt x="1570" y="2674"/>
                    </a:lnTo>
                    <a:lnTo>
                      <a:pt x="1558" y="2672"/>
                    </a:lnTo>
                    <a:lnTo>
                      <a:pt x="1554" y="2670"/>
                    </a:lnTo>
                    <a:lnTo>
                      <a:pt x="1552" y="2666"/>
                    </a:lnTo>
                    <a:lnTo>
                      <a:pt x="1552" y="2666"/>
                    </a:lnTo>
                    <a:lnTo>
                      <a:pt x="1552" y="2664"/>
                    </a:lnTo>
                    <a:lnTo>
                      <a:pt x="1550" y="2662"/>
                    </a:lnTo>
                    <a:lnTo>
                      <a:pt x="1544" y="2662"/>
                    </a:lnTo>
                    <a:lnTo>
                      <a:pt x="1538" y="2666"/>
                    </a:lnTo>
                    <a:lnTo>
                      <a:pt x="1536" y="2668"/>
                    </a:lnTo>
                    <a:lnTo>
                      <a:pt x="1538" y="2670"/>
                    </a:lnTo>
                    <a:lnTo>
                      <a:pt x="1538" y="2670"/>
                    </a:lnTo>
                    <a:lnTo>
                      <a:pt x="1540" y="2672"/>
                    </a:lnTo>
                    <a:lnTo>
                      <a:pt x="1540" y="2674"/>
                    </a:lnTo>
                    <a:lnTo>
                      <a:pt x="1536" y="2676"/>
                    </a:lnTo>
                    <a:lnTo>
                      <a:pt x="1530" y="2676"/>
                    </a:lnTo>
                    <a:lnTo>
                      <a:pt x="1528" y="2674"/>
                    </a:lnTo>
                    <a:lnTo>
                      <a:pt x="1526" y="2672"/>
                    </a:lnTo>
                    <a:lnTo>
                      <a:pt x="1526" y="2672"/>
                    </a:lnTo>
                    <a:lnTo>
                      <a:pt x="1524" y="2670"/>
                    </a:lnTo>
                    <a:lnTo>
                      <a:pt x="1520" y="2668"/>
                    </a:lnTo>
                    <a:lnTo>
                      <a:pt x="1516" y="2666"/>
                    </a:lnTo>
                    <a:lnTo>
                      <a:pt x="1510" y="2668"/>
                    </a:lnTo>
                    <a:lnTo>
                      <a:pt x="1506" y="2670"/>
                    </a:lnTo>
                    <a:lnTo>
                      <a:pt x="1500" y="2672"/>
                    </a:lnTo>
                    <a:lnTo>
                      <a:pt x="1494" y="2678"/>
                    </a:lnTo>
                    <a:lnTo>
                      <a:pt x="1488" y="2686"/>
                    </a:lnTo>
                    <a:lnTo>
                      <a:pt x="1488" y="2686"/>
                    </a:lnTo>
                    <a:lnTo>
                      <a:pt x="1482" y="2692"/>
                    </a:lnTo>
                    <a:lnTo>
                      <a:pt x="1480" y="2694"/>
                    </a:lnTo>
                    <a:lnTo>
                      <a:pt x="1478" y="2696"/>
                    </a:lnTo>
                    <a:lnTo>
                      <a:pt x="1476" y="2706"/>
                    </a:lnTo>
                    <a:lnTo>
                      <a:pt x="1476" y="2706"/>
                    </a:lnTo>
                    <a:lnTo>
                      <a:pt x="1474" y="2716"/>
                    </a:lnTo>
                    <a:lnTo>
                      <a:pt x="1474" y="2718"/>
                    </a:lnTo>
                    <a:lnTo>
                      <a:pt x="1476" y="2720"/>
                    </a:lnTo>
                    <a:lnTo>
                      <a:pt x="1482" y="2720"/>
                    </a:lnTo>
                    <a:lnTo>
                      <a:pt x="1496" y="2716"/>
                    </a:lnTo>
                    <a:lnTo>
                      <a:pt x="1496" y="2716"/>
                    </a:lnTo>
                    <a:lnTo>
                      <a:pt x="1504" y="2716"/>
                    </a:lnTo>
                    <a:lnTo>
                      <a:pt x="1506" y="2716"/>
                    </a:lnTo>
                    <a:lnTo>
                      <a:pt x="1506" y="2718"/>
                    </a:lnTo>
                    <a:lnTo>
                      <a:pt x="1504" y="2720"/>
                    </a:lnTo>
                    <a:lnTo>
                      <a:pt x="1500" y="2728"/>
                    </a:lnTo>
                    <a:lnTo>
                      <a:pt x="1498" y="2732"/>
                    </a:lnTo>
                    <a:lnTo>
                      <a:pt x="1502" y="2734"/>
                    </a:lnTo>
                    <a:lnTo>
                      <a:pt x="1502" y="2734"/>
                    </a:lnTo>
                    <a:lnTo>
                      <a:pt x="1504" y="2738"/>
                    </a:lnTo>
                    <a:lnTo>
                      <a:pt x="1504" y="2740"/>
                    </a:lnTo>
                    <a:lnTo>
                      <a:pt x="1502" y="2746"/>
                    </a:lnTo>
                    <a:lnTo>
                      <a:pt x="1502" y="2750"/>
                    </a:lnTo>
                    <a:lnTo>
                      <a:pt x="1504" y="2752"/>
                    </a:lnTo>
                    <a:lnTo>
                      <a:pt x="1506" y="2752"/>
                    </a:lnTo>
                    <a:lnTo>
                      <a:pt x="1506" y="2752"/>
                    </a:lnTo>
                    <a:lnTo>
                      <a:pt x="1510" y="2754"/>
                    </a:lnTo>
                    <a:lnTo>
                      <a:pt x="1510" y="2756"/>
                    </a:lnTo>
                    <a:lnTo>
                      <a:pt x="1504" y="2760"/>
                    </a:lnTo>
                    <a:lnTo>
                      <a:pt x="1498" y="2766"/>
                    </a:lnTo>
                    <a:lnTo>
                      <a:pt x="1498" y="2768"/>
                    </a:lnTo>
                    <a:lnTo>
                      <a:pt x="1502" y="2770"/>
                    </a:lnTo>
                    <a:lnTo>
                      <a:pt x="1502" y="2770"/>
                    </a:lnTo>
                    <a:lnTo>
                      <a:pt x="1508" y="2774"/>
                    </a:lnTo>
                    <a:lnTo>
                      <a:pt x="1510" y="2778"/>
                    </a:lnTo>
                    <a:lnTo>
                      <a:pt x="1510" y="2780"/>
                    </a:lnTo>
                    <a:lnTo>
                      <a:pt x="1508" y="2782"/>
                    </a:lnTo>
                    <a:lnTo>
                      <a:pt x="1504" y="2782"/>
                    </a:lnTo>
                    <a:lnTo>
                      <a:pt x="1500" y="2782"/>
                    </a:lnTo>
                    <a:lnTo>
                      <a:pt x="1496" y="2780"/>
                    </a:lnTo>
                    <a:lnTo>
                      <a:pt x="1494" y="2774"/>
                    </a:lnTo>
                    <a:lnTo>
                      <a:pt x="1494" y="2774"/>
                    </a:lnTo>
                    <a:lnTo>
                      <a:pt x="1492" y="2768"/>
                    </a:lnTo>
                    <a:lnTo>
                      <a:pt x="1488" y="2768"/>
                    </a:lnTo>
                    <a:lnTo>
                      <a:pt x="1486" y="2768"/>
                    </a:lnTo>
                    <a:lnTo>
                      <a:pt x="1486" y="2772"/>
                    </a:lnTo>
                    <a:lnTo>
                      <a:pt x="1484" y="2782"/>
                    </a:lnTo>
                    <a:lnTo>
                      <a:pt x="1486" y="2788"/>
                    </a:lnTo>
                    <a:lnTo>
                      <a:pt x="1490" y="2792"/>
                    </a:lnTo>
                    <a:lnTo>
                      <a:pt x="1490" y="2792"/>
                    </a:lnTo>
                    <a:lnTo>
                      <a:pt x="1494" y="2794"/>
                    </a:lnTo>
                    <a:lnTo>
                      <a:pt x="1498" y="2794"/>
                    </a:lnTo>
                    <a:lnTo>
                      <a:pt x="1500" y="2794"/>
                    </a:lnTo>
                    <a:lnTo>
                      <a:pt x="1504" y="2796"/>
                    </a:lnTo>
                    <a:lnTo>
                      <a:pt x="1504" y="2796"/>
                    </a:lnTo>
                    <a:lnTo>
                      <a:pt x="1508" y="2800"/>
                    </a:lnTo>
                    <a:lnTo>
                      <a:pt x="1510" y="2800"/>
                    </a:lnTo>
                    <a:lnTo>
                      <a:pt x="1518" y="2802"/>
                    </a:lnTo>
                    <a:lnTo>
                      <a:pt x="1520" y="2802"/>
                    </a:lnTo>
                    <a:lnTo>
                      <a:pt x="1522" y="2804"/>
                    </a:lnTo>
                    <a:lnTo>
                      <a:pt x="1522" y="2806"/>
                    </a:lnTo>
                    <a:lnTo>
                      <a:pt x="1520" y="2810"/>
                    </a:lnTo>
                    <a:lnTo>
                      <a:pt x="1520" y="2810"/>
                    </a:lnTo>
                    <a:lnTo>
                      <a:pt x="1516" y="2818"/>
                    </a:lnTo>
                    <a:lnTo>
                      <a:pt x="1516" y="2822"/>
                    </a:lnTo>
                    <a:lnTo>
                      <a:pt x="1520" y="2826"/>
                    </a:lnTo>
                    <a:lnTo>
                      <a:pt x="1520" y="2832"/>
                    </a:lnTo>
                    <a:lnTo>
                      <a:pt x="1520" y="2832"/>
                    </a:lnTo>
                    <a:lnTo>
                      <a:pt x="1520" y="2836"/>
                    </a:lnTo>
                    <a:lnTo>
                      <a:pt x="1522" y="2838"/>
                    </a:lnTo>
                    <a:lnTo>
                      <a:pt x="1526" y="2838"/>
                    </a:lnTo>
                    <a:lnTo>
                      <a:pt x="1528" y="2840"/>
                    </a:lnTo>
                    <a:lnTo>
                      <a:pt x="1530" y="2844"/>
                    </a:lnTo>
                    <a:lnTo>
                      <a:pt x="1530" y="2844"/>
                    </a:lnTo>
                    <a:lnTo>
                      <a:pt x="1530" y="2848"/>
                    </a:lnTo>
                    <a:lnTo>
                      <a:pt x="1530" y="2850"/>
                    </a:lnTo>
                    <a:lnTo>
                      <a:pt x="1524" y="2850"/>
                    </a:lnTo>
                    <a:lnTo>
                      <a:pt x="1518" y="2850"/>
                    </a:lnTo>
                    <a:lnTo>
                      <a:pt x="1518" y="2850"/>
                    </a:lnTo>
                    <a:lnTo>
                      <a:pt x="1520" y="2854"/>
                    </a:lnTo>
                    <a:lnTo>
                      <a:pt x="1520" y="2854"/>
                    </a:lnTo>
                    <a:lnTo>
                      <a:pt x="1522" y="2856"/>
                    </a:lnTo>
                    <a:lnTo>
                      <a:pt x="1528" y="2858"/>
                    </a:lnTo>
                    <a:lnTo>
                      <a:pt x="1542" y="2856"/>
                    </a:lnTo>
                    <a:lnTo>
                      <a:pt x="1552" y="2856"/>
                    </a:lnTo>
                    <a:lnTo>
                      <a:pt x="1556" y="2858"/>
                    </a:lnTo>
                    <a:lnTo>
                      <a:pt x="1554" y="2860"/>
                    </a:lnTo>
                    <a:lnTo>
                      <a:pt x="1554" y="2860"/>
                    </a:lnTo>
                    <a:lnTo>
                      <a:pt x="1550" y="2864"/>
                    </a:lnTo>
                    <a:lnTo>
                      <a:pt x="1546" y="2866"/>
                    </a:lnTo>
                    <a:lnTo>
                      <a:pt x="1534" y="2868"/>
                    </a:lnTo>
                    <a:lnTo>
                      <a:pt x="1526" y="2870"/>
                    </a:lnTo>
                    <a:lnTo>
                      <a:pt x="1524" y="2870"/>
                    </a:lnTo>
                    <a:lnTo>
                      <a:pt x="1526" y="2872"/>
                    </a:lnTo>
                    <a:lnTo>
                      <a:pt x="1526" y="2872"/>
                    </a:lnTo>
                    <a:lnTo>
                      <a:pt x="1528" y="2876"/>
                    </a:lnTo>
                    <a:lnTo>
                      <a:pt x="1532" y="2876"/>
                    </a:lnTo>
                    <a:lnTo>
                      <a:pt x="1540" y="2874"/>
                    </a:lnTo>
                    <a:lnTo>
                      <a:pt x="1548" y="2872"/>
                    </a:lnTo>
                    <a:lnTo>
                      <a:pt x="1550" y="2872"/>
                    </a:lnTo>
                    <a:lnTo>
                      <a:pt x="1552" y="2876"/>
                    </a:lnTo>
                    <a:lnTo>
                      <a:pt x="1552" y="2876"/>
                    </a:lnTo>
                    <a:lnTo>
                      <a:pt x="1552" y="2878"/>
                    </a:lnTo>
                    <a:lnTo>
                      <a:pt x="1554" y="2878"/>
                    </a:lnTo>
                    <a:lnTo>
                      <a:pt x="1560" y="2872"/>
                    </a:lnTo>
                    <a:lnTo>
                      <a:pt x="1564" y="2870"/>
                    </a:lnTo>
                    <a:lnTo>
                      <a:pt x="1568" y="2868"/>
                    </a:lnTo>
                    <a:lnTo>
                      <a:pt x="1572" y="2868"/>
                    </a:lnTo>
                    <a:lnTo>
                      <a:pt x="1576" y="2870"/>
                    </a:lnTo>
                    <a:lnTo>
                      <a:pt x="1576" y="2870"/>
                    </a:lnTo>
                    <a:lnTo>
                      <a:pt x="1580" y="2874"/>
                    </a:lnTo>
                    <a:lnTo>
                      <a:pt x="1582" y="2874"/>
                    </a:lnTo>
                    <a:lnTo>
                      <a:pt x="1588" y="2874"/>
                    </a:lnTo>
                    <a:lnTo>
                      <a:pt x="1590" y="2872"/>
                    </a:lnTo>
                    <a:lnTo>
                      <a:pt x="1590" y="2872"/>
                    </a:lnTo>
                    <a:lnTo>
                      <a:pt x="1592" y="2874"/>
                    </a:lnTo>
                    <a:lnTo>
                      <a:pt x="1594" y="2880"/>
                    </a:lnTo>
                    <a:lnTo>
                      <a:pt x="1594" y="2880"/>
                    </a:lnTo>
                    <a:lnTo>
                      <a:pt x="1598" y="2886"/>
                    </a:lnTo>
                    <a:lnTo>
                      <a:pt x="1602" y="2892"/>
                    </a:lnTo>
                    <a:lnTo>
                      <a:pt x="1610" y="2900"/>
                    </a:lnTo>
                    <a:lnTo>
                      <a:pt x="1616" y="2902"/>
                    </a:lnTo>
                    <a:lnTo>
                      <a:pt x="1620" y="2904"/>
                    </a:lnTo>
                    <a:lnTo>
                      <a:pt x="1624" y="2904"/>
                    </a:lnTo>
                    <a:lnTo>
                      <a:pt x="1628" y="2902"/>
                    </a:lnTo>
                    <a:lnTo>
                      <a:pt x="1628" y="2902"/>
                    </a:lnTo>
                    <a:lnTo>
                      <a:pt x="1634" y="2896"/>
                    </a:lnTo>
                    <a:lnTo>
                      <a:pt x="1638" y="2894"/>
                    </a:lnTo>
                    <a:lnTo>
                      <a:pt x="1640" y="2894"/>
                    </a:lnTo>
                    <a:lnTo>
                      <a:pt x="1642" y="2896"/>
                    </a:lnTo>
                    <a:lnTo>
                      <a:pt x="1646" y="2898"/>
                    </a:lnTo>
                    <a:lnTo>
                      <a:pt x="1648" y="2896"/>
                    </a:lnTo>
                    <a:lnTo>
                      <a:pt x="1652" y="2894"/>
                    </a:lnTo>
                    <a:lnTo>
                      <a:pt x="1652" y="2894"/>
                    </a:lnTo>
                    <a:lnTo>
                      <a:pt x="1654" y="2890"/>
                    </a:lnTo>
                    <a:lnTo>
                      <a:pt x="1654" y="2884"/>
                    </a:lnTo>
                    <a:lnTo>
                      <a:pt x="1654" y="2872"/>
                    </a:lnTo>
                    <a:lnTo>
                      <a:pt x="1656" y="2866"/>
                    </a:lnTo>
                    <a:lnTo>
                      <a:pt x="1662" y="2864"/>
                    </a:lnTo>
                    <a:lnTo>
                      <a:pt x="1670" y="2864"/>
                    </a:lnTo>
                    <a:lnTo>
                      <a:pt x="1686" y="2868"/>
                    </a:lnTo>
                    <a:lnTo>
                      <a:pt x="1686" y="2868"/>
                    </a:lnTo>
                    <a:lnTo>
                      <a:pt x="1700" y="2874"/>
                    </a:lnTo>
                    <a:lnTo>
                      <a:pt x="1712" y="2882"/>
                    </a:lnTo>
                    <a:lnTo>
                      <a:pt x="1720" y="2890"/>
                    </a:lnTo>
                    <a:lnTo>
                      <a:pt x="1728" y="2898"/>
                    </a:lnTo>
                    <a:lnTo>
                      <a:pt x="1732" y="2904"/>
                    </a:lnTo>
                    <a:lnTo>
                      <a:pt x="1738" y="2908"/>
                    </a:lnTo>
                    <a:lnTo>
                      <a:pt x="1744" y="2910"/>
                    </a:lnTo>
                    <a:lnTo>
                      <a:pt x="1752" y="2908"/>
                    </a:lnTo>
                    <a:lnTo>
                      <a:pt x="1752" y="2908"/>
                    </a:lnTo>
                    <a:lnTo>
                      <a:pt x="1766" y="2904"/>
                    </a:lnTo>
                    <a:lnTo>
                      <a:pt x="1778" y="2902"/>
                    </a:lnTo>
                    <a:lnTo>
                      <a:pt x="1782" y="2900"/>
                    </a:lnTo>
                    <a:lnTo>
                      <a:pt x="1788" y="2898"/>
                    </a:lnTo>
                    <a:lnTo>
                      <a:pt x="1794" y="2892"/>
                    </a:lnTo>
                    <a:lnTo>
                      <a:pt x="1802" y="2884"/>
                    </a:lnTo>
                    <a:lnTo>
                      <a:pt x="1802" y="2884"/>
                    </a:lnTo>
                    <a:lnTo>
                      <a:pt x="1814" y="2872"/>
                    </a:lnTo>
                    <a:lnTo>
                      <a:pt x="1822" y="2868"/>
                    </a:lnTo>
                    <a:lnTo>
                      <a:pt x="1828" y="2868"/>
                    </a:lnTo>
                    <a:lnTo>
                      <a:pt x="1834" y="2872"/>
                    </a:lnTo>
                    <a:lnTo>
                      <a:pt x="1838" y="2876"/>
                    </a:lnTo>
                    <a:lnTo>
                      <a:pt x="1844" y="2880"/>
                    </a:lnTo>
                    <a:lnTo>
                      <a:pt x="1848" y="2880"/>
                    </a:lnTo>
                    <a:lnTo>
                      <a:pt x="1856" y="2876"/>
                    </a:lnTo>
                    <a:lnTo>
                      <a:pt x="1856" y="2876"/>
                    </a:lnTo>
                    <a:lnTo>
                      <a:pt x="1868" y="2864"/>
                    </a:lnTo>
                    <a:lnTo>
                      <a:pt x="1876" y="2860"/>
                    </a:lnTo>
                    <a:lnTo>
                      <a:pt x="1878" y="2860"/>
                    </a:lnTo>
                    <a:lnTo>
                      <a:pt x="1880" y="2862"/>
                    </a:lnTo>
                    <a:lnTo>
                      <a:pt x="1882" y="2870"/>
                    </a:lnTo>
                    <a:lnTo>
                      <a:pt x="1882" y="2870"/>
                    </a:lnTo>
                    <a:lnTo>
                      <a:pt x="1882" y="2874"/>
                    </a:lnTo>
                    <a:lnTo>
                      <a:pt x="1880" y="2878"/>
                    </a:lnTo>
                    <a:lnTo>
                      <a:pt x="1872" y="2886"/>
                    </a:lnTo>
                    <a:lnTo>
                      <a:pt x="1866" y="2892"/>
                    </a:lnTo>
                    <a:lnTo>
                      <a:pt x="1864" y="2894"/>
                    </a:lnTo>
                    <a:lnTo>
                      <a:pt x="1866" y="2896"/>
                    </a:lnTo>
                    <a:lnTo>
                      <a:pt x="1866" y="2896"/>
                    </a:lnTo>
                    <a:lnTo>
                      <a:pt x="1872" y="2906"/>
                    </a:lnTo>
                    <a:lnTo>
                      <a:pt x="1872" y="2910"/>
                    </a:lnTo>
                    <a:lnTo>
                      <a:pt x="1872" y="2914"/>
                    </a:lnTo>
                    <a:lnTo>
                      <a:pt x="1872" y="2914"/>
                    </a:lnTo>
                    <a:lnTo>
                      <a:pt x="1868" y="2918"/>
                    </a:lnTo>
                    <a:lnTo>
                      <a:pt x="1864" y="2924"/>
                    </a:lnTo>
                    <a:lnTo>
                      <a:pt x="1862" y="2930"/>
                    </a:lnTo>
                    <a:lnTo>
                      <a:pt x="1866" y="2940"/>
                    </a:lnTo>
                    <a:lnTo>
                      <a:pt x="1866" y="2940"/>
                    </a:lnTo>
                    <a:lnTo>
                      <a:pt x="1870" y="2948"/>
                    </a:lnTo>
                    <a:lnTo>
                      <a:pt x="1870" y="2956"/>
                    </a:lnTo>
                    <a:lnTo>
                      <a:pt x="1870" y="2966"/>
                    </a:lnTo>
                    <a:lnTo>
                      <a:pt x="1872" y="2980"/>
                    </a:lnTo>
                    <a:lnTo>
                      <a:pt x="1872" y="2980"/>
                    </a:lnTo>
                    <a:lnTo>
                      <a:pt x="1872" y="2986"/>
                    </a:lnTo>
                    <a:lnTo>
                      <a:pt x="1870" y="2990"/>
                    </a:lnTo>
                    <a:lnTo>
                      <a:pt x="1866" y="2996"/>
                    </a:lnTo>
                    <a:lnTo>
                      <a:pt x="1860" y="3000"/>
                    </a:lnTo>
                    <a:lnTo>
                      <a:pt x="1858" y="3006"/>
                    </a:lnTo>
                    <a:lnTo>
                      <a:pt x="1858" y="3012"/>
                    </a:lnTo>
                    <a:lnTo>
                      <a:pt x="1858" y="3012"/>
                    </a:lnTo>
                    <a:lnTo>
                      <a:pt x="1858" y="3020"/>
                    </a:lnTo>
                    <a:lnTo>
                      <a:pt x="1856" y="3020"/>
                    </a:lnTo>
                    <a:lnTo>
                      <a:pt x="1854" y="3024"/>
                    </a:lnTo>
                    <a:lnTo>
                      <a:pt x="1850" y="3034"/>
                    </a:lnTo>
                    <a:lnTo>
                      <a:pt x="1850" y="3034"/>
                    </a:lnTo>
                    <a:lnTo>
                      <a:pt x="1848" y="3044"/>
                    </a:lnTo>
                    <a:lnTo>
                      <a:pt x="1846" y="3050"/>
                    </a:lnTo>
                    <a:lnTo>
                      <a:pt x="1842" y="3054"/>
                    </a:lnTo>
                    <a:lnTo>
                      <a:pt x="1838" y="3064"/>
                    </a:lnTo>
                    <a:lnTo>
                      <a:pt x="1838" y="3064"/>
                    </a:lnTo>
                    <a:lnTo>
                      <a:pt x="1824" y="3108"/>
                    </a:lnTo>
                    <a:lnTo>
                      <a:pt x="1818" y="3130"/>
                    </a:lnTo>
                    <a:lnTo>
                      <a:pt x="1814" y="3144"/>
                    </a:lnTo>
                    <a:lnTo>
                      <a:pt x="1814" y="3144"/>
                    </a:lnTo>
                    <a:lnTo>
                      <a:pt x="1806" y="3154"/>
                    </a:lnTo>
                    <a:lnTo>
                      <a:pt x="1800" y="3160"/>
                    </a:lnTo>
                    <a:lnTo>
                      <a:pt x="1800" y="3160"/>
                    </a:lnTo>
                    <a:lnTo>
                      <a:pt x="1768" y="3170"/>
                    </a:lnTo>
                    <a:lnTo>
                      <a:pt x="1764" y="3170"/>
                    </a:lnTo>
                    <a:lnTo>
                      <a:pt x="1760" y="3166"/>
                    </a:lnTo>
                    <a:lnTo>
                      <a:pt x="1760" y="3166"/>
                    </a:lnTo>
                    <a:lnTo>
                      <a:pt x="1756" y="3164"/>
                    </a:lnTo>
                    <a:lnTo>
                      <a:pt x="1754" y="3166"/>
                    </a:lnTo>
                    <a:lnTo>
                      <a:pt x="1748" y="3168"/>
                    </a:lnTo>
                    <a:lnTo>
                      <a:pt x="1744" y="3170"/>
                    </a:lnTo>
                    <a:lnTo>
                      <a:pt x="1740" y="3170"/>
                    </a:lnTo>
                    <a:lnTo>
                      <a:pt x="1734" y="3168"/>
                    </a:lnTo>
                    <a:lnTo>
                      <a:pt x="1728" y="3164"/>
                    </a:lnTo>
                    <a:lnTo>
                      <a:pt x="1728" y="3164"/>
                    </a:lnTo>
                    <a:lnTo>
                      <a:pt x="1726" y="3162"/>
                    </a:lnTo>
                    <a:lnTo>
                      <a:pt x="1724" y="3162"/>
                    </a:lnTo>
                    <a:lnTo>
                      <a:pt x="1724" y="3164"/>
                    </a:lnTo>
                    <a:lnTo>
                      <a:pt x="1724" y="3164"/>
                    </a:lnTo>
                    <a:lnTo>
                      <a:pt x="1724" y="3168"/>
                    </a:lnTo>
                    <a:lnTo>
                      <a:pt x="1720" y="3170"/>
                    </a:lnTo>
                    <a:lnTo>
                      <a:pt x="1734" y="3232"/>
                    </a:lnTo>
                    <a:lnTo>
                      <a:pt x="1734" y="3232"/>
                    </a:lnTo>
                    <a:lnTo>
                      <a:pt x="1734" y="3230"/>
                    </a:lnTo>
                    <a:lnTo>
                      <a:pt x="1734" y="3230"/>
                    </a:lnTo>
                    <a:lnTo>
                      <a:pt x="1738" y="3232"/>
                    </a:lnTo>
                    <a:lnTo>
                      <a:pt x="1738" y="3236"/>
                    </a:lnTo>
                    <a:lnTo>
                      <a:pt x="1738" y="3242"/>
                    </a:lnTo>
                    <a:lnTo>
                      <a:pt x="1740" y="3252"/>
                    </a:lnTo>
                    <a:lnTo>
                      <a:pt x="1744" y="3260"/>
                    </a:lnTo>
                    <a:lnTo>
                      <a:pt x="1750" y="3266"/>
                    </a:lnTo>
                    <a:lnTo>
                      <a:pt x="1750" y="3266"/>
                    </a:lnTo>
                    <a:lnTo>
                      <a:pt x="1754" y="3272"/>
                    </a:lnTo>
                    <a:lnTo>
                      <a:pt x="1758" y="3278"/>
                    </a:lnTo>
                    <a:lnTo>
                      <a:pt x="1760" y="3288"/>
                    </a:lnTo>
                    <a:lnTo>
                      <a:pt x="1762" y="3300"/>
                    </a:lnTo>
                    <a:lnTo>
                      <a:pt x="1766" y="3306"/>
                    </a:lnTo>
                    <a:lnTo>
                      <a:pt x="1770" y="3312"/>
                    </a:lnTo>
                    <a:lnTo>
                      <a:pt x="1770" y="3312"/>
                    </a:lnTo>
                    <a:lnTo>
                      <a:pt x="1784" y="3328"/>
                    </a:lnTo>
                    <a:lnTo>
                      <a:pt x="1792" y="3340"/>
                    </a:lnTo>
                    <a:lnTo>
                      <a:pt x="1796" y="3344"/>
                    </a:lnTo>
                    <a:lnTo>
                      <a:pt x="1800" y="3346"/>
                    </a:lnTo>
                    <a:lnTo>
                      <a:pt x="1802" y="3344"/>
                    </a:lnTo>
                    <a:lnTo>
                      <a:pt x="1804" y="3340"/>
                    </a:lnTo>
                    <a:lnTo>
                      <a:pt x="1804" y="3340"/>
                    </a:lnTo>
                    <a:lnTo>
                      <a:pt x="1810" y="3328"/>
                    </a:lnTo>
                    <a:lnTo>
                      <a:pt x="1812" y="3314"/>
                    </a:lnTo>
                    <a:lnTo>
                      <a:pt x="1816" y="3292"/>
                    </a:lnTo>
                    <a:lnTo>
                      <a:pt x="1830" y="3254"/>
                    </a:lnTo>
                    <a:lnTo>
                      <a:pt x="1830" y="3254"/>
                    </a:lnTo>
                    <a:lnTo>
                      <a:pt x="1830" y="3254"/>
                    </a:lnTo>
                    <a:lnTo>
                      <a:pt x="1832" y="3250"/>
                    </a:lnTo>
                    <a:lnTo>
                      <a:pt x="1832" y="3250"/>
                    </a:lnTo>
                    <a:lnTo>
                      <a:pt x="1832" y="3256"/>
                    </a:lnTo>
                    <a:lnTo>
                      <a:pt x="1832" y="3260"/>
                    </a:lnTo>
                    <a:lnTo>
                      <a:pt x="1832" y="3260"/>
                    </a:lnTo>
                    <a:lnTo>
                      <a:pt x="1826" y="3286"/>
                    </a:lnTo>
                    <a:lnTo>
                      <a:pt x="1826" y="3296"/>
                    </a:lnTo>
                    <a:lnTo>
                      <a:pt x="1826" y="3302"/>
                    </a:lnTo>
                    <a:lnTo>
                      <a:pt x="1822" y="3312"/>
                    </a:lnTo>
                    <a:lnTo>
                      <a:pt x="1822" y="3312"/>
                    </a:lnTo>
                    <a:lnTo>
                      <a:pt x="1818" y="3328"/>
                    </a:lnTo>
                    <a:lnTo>
                      <a:pt x="1818" y="3330"/>
                    </a:lnTo>
                    <a:lnTo>
                      <a:pt x="1818" y="3330"/>
                    </a:lnTo>
                    <a:lnTo>
                      <a:pt x="1824" y="3328"/>
                    </a:lnTo>
                    <a:lnTo>
                      <a:pt x="1828" y="3326"/>
                    </a:lnTo>
                    <a:lnTo>
                      <a:pt x="1834" y="3326"/>
                    </a:lnTo>
                    <a:lnTo>
                      <a:pt x="1834" y="3326"/>
                    </a:lnTo>
                    <a:lnTo>
                      <a:pt x="1838" y="3328"/>
                    </a:lnTo>
                    <a:lnTo>
                      <a:pt x="1840" y="3330"/>
                    </a:lnTo>
                    <a:lnTo>
                      <a:pt x="1848" y="3340"/>
                    </a:lnTo>
                    <a:lnTo>
                      <a:pt x="1864" y="3372"/>
                    </a:lnTo>
                    <a:lnTo>
                      <a:pt x="1880" y="3406"/>
                    </a:lnTo>
                    <a:lnTo>
                      <a:pt x="1888" y="3418"/>
                    </a:lnTo>
                    <a:lnTo>
                      <a:pt x="1896" y="3428"/>
                    </a:lnTo>
                    <a:lnTo>
                      <a:pt x="1896" y="3428"/>
                    </a:lnTo>
                    <a:lnTo>
                      <a:pt x="1900" y="3434"/>
                    </a:lnTo>
                    <a:lnTo>
                      <a:pt x="1900" y="3440"/>
                    </a:lnTo>
                    <a:lnTo>
                      <a:pt x="1902" y="3444"/>
                    </a:lnTo>
                    <a:lnTo>
                      <a:pt x="1908" y="3450"/>
                    </a:lnTo>
                    <a:lnTo>
                      <a:pt x="1908" y="3450"/>
                    </a:lnTo>
                    <a:lnTo>
                      <a:pt x="1916" y="3458"/>
                    </a:lnTo>
                    <a:lnTo>
                      <a:pt x="1922" y="3470"/>
                    </a:lnTo>
                    <a:lnTo>
                      <a:pt x="1926" y="3482"/>
                    </a:lnTo>
                    <a:lnTo>
                      <a:pt x="1926" y="3486"/>
                    </a:lnTo>
                    <a:lnTo>
                      <a:pt x="1924" y="3492"/>
                    </a:lnTo>
                    <a:lnTo>
                      <a:pt x="1924" y="3492"/>
                    </a:lnTo>
                    <a:lnTo>
                      <a:pt x="1922" y="3496"/>
                    </a:lnTo>
                    <a:lnTo>
                      <a:pt x="1924" y="3502"/>
                    </a:lnTo>
                    <a:lnTo>
                      <a:pt x="1926" y="3506"/>
                    </a:lnTo>
                    <a:lnTo>
                      <a:pt x="1928" y="3512"/>
                    </a:lnTo>
                    <a:lnTo>
                      <a:pt x="1938" y="3522"/>
                    </a:lnTo>
                    <a:lnTo>
                      <a:pt x="1944" y="3526"/>
                    </a:lnTo>
                    <a:lnTo>
                      <a:pt x="1952" y="3528"/>
                    </a:lnTo>
                    <a:lnTo>
                      <a:pt x="1952" y="3528"/>
                    </a:lnTo>
                    <a:lnTo>
                      <a:pt x="1958" y="3532"/>
                    </a:lnTo>
                    <a:lnTo>
                      <a:pt x="1964" y="3538"/>
                    </a:lnTo>
                    <a:lnTo>
                      <a:pt x="1970" y="3548"/>
                    </a:lnTo>
                    <a:lnTo>
                      <a:pt x="1976" y="3560"/>
                    </a:lnTo>
                    <a:lnTo>
                      <a:pt x="1988" y="3586"/>
                    </a:lnTo>
                    <a:lnTo>
                      <a:pt x="1996" y="3610"/>
                    </a:lnTo>
                    <a:lnTo>
                      <a:pt x="1996" y="3610"/>
                    </a:lnTo>
                    <a:lnTo>
                      <a:pt x="1998" y="3620"/>
                    </a:lnTo>
                    <a:lnTo>
                      <a:pt x="1998" y="3626"/>
                    </a:lnTo>
                    <a:lnTo>
                      <a:pt x="1998" y="3632"/>
                    </a:lnTo>
                    <a:lnTo>
                      <a:pt x="1996" y="3636"/>
                    </a:lnTo>
                    <a:lnTo>
                      <a:pt x="1994" y="3638"/>
                    </a:lnTo>
                    <a:lnTo>
                      <a:pt x="1992" y="3642"/>
                    </a:lnTo>
                    <a:lnTo>
                      <a:pt x="1994" y="3648"/>
                    </a:lnTo>
                    <a:lnTo>
                      <a:pt x="1996" y="3656"/>
                    </a:lnTo>
                    <a:lnTo>
                      <a:pt x="1996" y="3656"/>
                    </a:lnTo>
                    <a:lnTo>
                      <a:pt x="2000" y="3664"/>
                    </a:lnTo>
                    <a:lnTo>
                      <a:pt x="2000" y="3668"/>
                    </a:lnTo>
                    <a:lnTo>
                      <a:pt x="1998" y="3670"/>
                    </a:lnTo>
                    <a:lnTo>
                      <a:pt x="1998" y="3672"/>
                    </a:lnTo>
                    <a:lnTo>
                      <a:pt x="1996" y="3674"/>
                    </a:lnTo>
                    <a:lnTo>
                      <a:pt x="1996" y="3676"/>
                    </a:lnTo>
                    <a:lnTo>
                      <a:pt x="2004" y="3690"/>
                    </a:lnTo>
                    <a:lnTo>
                      <a:pt x="2004" y="3690"/>
                    </a:lnTo>
                    <a:lnTo>
                      <a:pt x="2014" y="3706"/>
                    </a:lnTo>
                    <a:lnTo>
                      <a:pt x="2020" y="3716"/>
                    </a:lnTo>
                    <a:lnTo>
                      <a:pt x="2026" y="3722"/>
                    </a:lnTo>
                    <a:lnTo>
                      <a:pt x="2036" y="3726"/>
                    </a:lnTo>
                    <a:lnTo>
                      <a:pt x="2036" y="3726"/>
                    </a:lnTo>
                    <a:lnTo>
                      <a:pt x="2042" y="3730"/>
                    </a:lnTo>
                    <a:lnTo>
                      <a:pt x="2048" y="3734"/>
                    </a:lnTo>
                    <a:lnTo>
                      <a:pt x="2058" y="3744"/>
                    </a:lnTo>
                    <a:lnTo>
                      <a:pt x="2064" y="3758"/>
                    </a:lnTo>
                    <a:lnTo>
                      <a:pt x="2072" y="3770"/>
                    </a:lnTo>
                    <a:lnTo>
                      <a:pt x="2072" y="3770"/>
                    </a:lnTo>
                    <a:lnTo>
                      <a:pt x="2078" y="3778"/>
                    </a:lnTo>
                    <a:lnTo>
                      <a:pt x="2082" y="3782"/>
                    </a:lnTo>
                    <a:lnTo>
                      <a:pt x="2084" y="3786"/>
                    </a:lnTo>
                    <a:lnTo>
                      <a:pt x="2084" y="3796"/>
                    </a:lnTo>
                    <a:lnTo>
                      <a:pt x="2084" y="3796"/>
                    </a:lnTo>
                    <a:lnTo>
                      <a:pt x="2086" y="3804"/>
                    </a:lnTo>
                    <a:lnTo>
                      <a:pt x="2088" y="3810"/>
                    </a:lnTo>
                    <a:lnTo>
                      <a:pt x="2092" y="3816"/>
                    </a:lnTo>
                    <a:lnTo>
                      <a:pt x="2094" y="3824"/>
                    </a:lnTo>
                    <a:lnTo>
                      <a:pt x="2094" y="3824"/>
                    </a:lnTo>
                    <a:lnTo>
                      <a:pt x="2096" y="3830"/>
                    </a:lnTo>
                    <a:lnTo>
                      <a:pt x="2098" y="3836"/>
                    </a:lnTo>
                    <a:lnTo>
                      <a:pt x="2108" y="3848"/>
                    </a:lnTo>
                    <a:lnTo>
                      <a:pt x="2120" y="3862"/>
                    </a:lnTo>
                    <a:lnTo>
                      <a:pt x="2124" y="3870"/>
                    </a:lnTo>
                    <a:lnTo>
                      <a:pt x="2126" y="3878"/>
                    </a:lnTo>
                    <a:lnTo>
                      <a:pt x="2126" y="3878"/>
                    </a:lnTo>
                    <a:lnTo>
                      <a:pt x="2128" y="3884"/>
                    </a:lnTo>
                    <a:lnTo>
                      <a:pt x="2130" y="3886"/>
                    </a:lnTo>
                    <a:lnTo>
                      <a:pt x="2134" y="3886"/>
                    </a:lnTo>
                    <a:lnTo>
                      <a:pt x="2138" y="3888"/>
                    </a:lnTo>
                    <a:lnTo>
                      <a:pt x="2140" y="3892"/>
                    </a:lnTo>
                    <a:lnTo>
                      <a:pt x="2144" y="3902"/>
                    </a:lnTo>
                    <a:lnTo>
                      <a:pt x="2146" y="3918"/>
                    </a:lnTo>
                    <a:lnTo>
                      <a:pt x="2146" y="3918"/>
                    </a:lnTo>
                    <a:lnTo>
                      <a:pt x="2148" y="3936"/>
                    </a:lnTo>
                    <a:lnTo>
                      <a:pt x="2146" y="3944"/>
                    </a:lnTo>
                    <a:lnTo>
                      <a:pt x="2142" y="3952"/>
                    </a:lnTo>
                    <a:lnTo>
                      <a:pt x="2142" y="3952"/>
                    </a:lnTo>
                    <a:lnTo>
                      <a:pt x="2142" y="3954"/>
                    </a:lnTo>
                    <a:lnTo>
                      <a:pt x="2142" y="3958"/>
                    </a:lnTo>
                    <a:lnTo>
                      <a:pt x="2144" y="3964"/>
                    </a:lnTo>
                    <a:lnTo>
                      <a:pt x="2146" y="3968"/>
                    </a:lnTo>
                    <a:lnTo>
                      <a:pt x="2146" y="3972"/>
                    </a:lnTo>
                    <a:lnTo>
                      <a:pt x="2144" y="3974"/>
                    </a:lnTo>
                    <a:lnTo>
                      <a:pt x="2144" y="3974"/>
                    </a:lnTo>
                    <a:lnTo>
                      <a:pt x="2140" y="3976"/>
                    </a:lnTo>
                    <a:lnTo>
                      <a:pt x="2142" y="3980"/>
                    </a:lnTo>
                    <a:lnTo>
                      <a:pt x="2146" y="3982"/>
                    </a:lnTo>
                    <a:lnTo>
                      <a:pt x="2148" y="3986"/>
                    </a:lnTo>
                    <a:lnTo>
                      <a:pt x="2150" y="3988"/>
                    </a:lnTo>
                    <a:lnTo>
                      <a:pt x="2150" y="3988"/>
                    </a:lnTo>
                    <a:lnTo>
                      <a:pt x="2150" y="3996"/>
                    </a:lnTo>
                    <a:lnTo>
                      <a:pt x="2152" y="4000"/>
                    </a:lnTo>
                    <a:lnTo>
                      <a:pt x="2154" y="4008"/>
                    </a:lnTo>
                    <a:lnTo>
                      <a:pt x="2156" y="4020"/>
                    </a:lnTo>
                    <a:lnTo>
                      <a:pt x="2156" y="4020"/>
                    </a:lnTo>
                    <a:lnTo>
                      <a:pt x="2158" y="4034"/>
                    </a:lnTo>
                    <a:lnTo>
                      <a:pt x="2162" y="4044"/>
                    </a:lnTo>
                    <a:lnTo>
                      <a:pt x="2166" y="4054"/>
                    </a:lnTo>
                    <a:lnTo>
                      <a:pt x="2166" y="4058"/>
                    </a:lnTo>
                    <a:lnTo>
                      <a:pt x="2166" y="4064"/>
                    </a:lnTo>
                    <a:lnTo>
                      <a:pt x="2166" y="4064"/>
                    </a:lnTo>
                    <a:lnTo>
                      <a:pt x="2164" y="4072"/>
                    </a:lnTo>
                    <a:lnTo>
                      <a:pt x="2166" y="4076"/>
                    </a:lnTo>
                    <a:lnTo>
                      <a:pt x="2168" y="4082"/>
                    </a:lnTo>
                    <a:lnTo>
                      <a:pt x="2172" y="4092"/>
                    </a:lnTo>
                    <a:lnTo>
                      <a:pt x="2172" y="4092"/>
                    </a:lnTo>
                    <a:lnTo>
                      <a:pt x="2176" y="4100"/>
                    </a:lnTo>
                    <a:lnTo>
                      <a:pt x="2178" y="4102"/>
                    </a:lnTo>
                    <a:lnTo>
                      <a:pt x="2180" y="4102"/>
                    </a:lnTo>
                    <a:lnTo>
                      <a:pt x="2184" y="4100"/>
                    </a:lnTo>
                    <a:lnTo>
                      <a:pt x="2186" y="4102"/>
                    </a:lnTo>
                    <a:lnTo>
                      <a:pt x="2190" y="4104"/>
                    </a:lnTo>
                    <a:lnTo>
                      <a:pt x="2190" y="4104"/>
                    </a:lnTo>
                    <a:lnTo>
                      <a:pt x="2196" y="4108"/>
                    </a:lnTo>
                    <a:lnTo>
                      <a:pt x="2200" y="4106"/>
                    </a:lnTo>
                    <a:lnTo>
                      <a:pt x="2204" y="4104"/>
                    </a:lnTo>
                    <a:lnTo>
                      <a:pt x="2208" y="4104"/>
                    </a:lnTo>
                    <a:lnTo>
                      <a:pt x="2208" y="4104"/>
                    </a:lnTo>
                    <a:lnTo>
                      <a:pt x="2212" y="4104"/>
                    </a:lnTo>
                    <a:lnTo>
                      <a:pt x="2214" y="4102"/>
                    </a:lnTo>
                    <a:lnTo>
                      <a:pt x="2218" y="4098"/>
                    </a:lnTo>
                    <a:lnTo>
                      <a:pt x="2226" y="4098"/>
                    </a:lnTo>
                    <a:lnTo>
                      <a:pt x="2226" y="4098"/>
                    </a:lnTo>
                    <a:lnTo>
                      <a:pt x="2232" y="4100"/>
                    </a:lnTo>
                    <a:lnTo>
                      <a:pt x="2236" y="4098"/>
                    </a:lnTo>
                    <a:lnTo>
                      <a:pt x="2238" y="4096"/>
                    </a:lnTo>
                    <a:lnTo>
                      <a:pt x="2240" y="4094"/>
                    </a:lnTo>
                    <a:lnTo>
                      <a:pt x="2242" y="4090"/>
                    </a:lnTo>
                    <a:lnTo>
                      <a:pt x="2244" y="4088"/>
                    </a:lnTo>
                    <a:lnTo>
                      <a:pt x="2248" y="4088"/>
                    </a:lnTo>
                    <a:lnTo>
                      <a:pt x="2248" y="4088"/>
                    </a:lnTo>
                    <a:lnTo>
                      <a:pt x="2252" y="4086"/>
                    </a:lnTo>
                    <a:lnTo>
                      <a:pt x="2254" y="4084"/>
                    </a:lnTo>
                    <a:lnTo>
                      <a:pt x="2258" y="4074"/>
                    </a:lnTo>
                    <a:lnTo>
                      <a:pt x="2262" y="4070"/>
                    </a:lnTo>
                    <a:lnTo>
                      <a:pt x="2266" y="4068"/>
                    </a:lnTo>
                    <a:lnTo>
                      <a:pt x="2274" y="4066"/>
                    </a:lnTo>
                    <a:lnTo>
                      <a:pt x="2284" y="4066"/>
                    </a:lnTo>
                    <a:lnTo>
                      <a:pt x="2284" y="4066"/>
                    </a:lnTo>
                    <a:lnTo>
                      <a:pt x="2300" y="4066"/>
                    </a:lnTo>
                    <a:lnTo>
                      <a:pt x="2312" y="4062"/>
                    </a:lnTo>
                    <a:lnTo>
                      <a:pt x="2324" y="4058"/>
                    </a:lnTo>
                    <a:lnTo>
                      <a:pt x="2334" y="4050"/>
                    </a:lnTo>
                    <a:lnTo>
                      <a:pt x="2348" y="4038"/>
                    </a:lnTo>
                    <a:lnTo>
                      <a:pt x="2356" y="4036"/>
                    </a:lnTo>
                    <a:lnTo>
                      <a:pt x="2364" y="4036"/>
                    </a:lnTo>
                    <a:lnTo>
                      <a:pt x="2364" y="4036"/>
                    </a:lnTo>
                    <a:lnTo>
                      <a:pt x="2370" y="4038"/>
                    </a:lnTo>
                    <a:lnTo>
                      <a:pt x="2374" y="4038"/>
                    </a:lnTo>
                    <a:lnTo>
                      <a:pt x="2382" y="4034"/>
                    </a:lnTo>
                    <a:lnTo>
                      <a:pt x="2390" y="4028"/>
                    </a:lnTo>
                    <a:lnTo>
                      <a:pt x="2398" y="4020"/>
                    </a:lnTo>
                    <a:lnTo>
                      <a:pt x="2406" y="4010"/>
                    </a:lnTo>
                    <a:lnTo>
                      <a:pt x="2416" y="4002"/>
                    </a:lnTo>
                    <a:lnTo>
                      <a:pt x="2426" y="3998"/>
                    </a:lnTo>
                    <a:lnTo>
                      <a:pt x="2432" y="3996"/>
                    </a:lnTo>
                    <a:lnTo>
                      <a:pt x="2438" y="3998"/>
                    </a:lnTo>
                    <a:lnTo>
                      <a:pt x="2438" y="3998"/>
                    </a:lnTo>
                    <a:lnTo>
                      <a:pt x="2442" y="3998"/>
                    </a:lnTo>
                    <a:lnTo>
                      <a:pt x="2446" y="3996"/>
                    </a:lnTo>
                    <a:lnTo>
                      <a:pt x="2452" y="3992"/>
                    </a:lnTo>
                    <a:lnTo>
                      <a:pt x="2462" y="3986"/>
                    </a:lnTo>
                    <a:lnTo>
                      <a:pt x="2468" y="3982"/>
                    </a:lnTo>
                    <a:lnTo>
                      <a:pt x="2480" y="3978"/>
                    </a:lnTo>
                    <a:lnTo>
                      <a:pt x="2480" y="3978"/>
                    </a:lnTo>
                    <a:lnTo>
                      <a:pt x="2500" y="3972"/>
                    </a:lnTo>
                    <a:lnTo>
                      <a:pt x="2506" y="3968"/>
                    </a:lnTo>
                    <a:lnTo>
                      <a:pt x="2510" y="3966"/>
                    </a:lnTo>
                    <a:lnTo>
                      <a:pt x="2520" y="3962"/>
                    </a:lnTo>
                    <a:lnTo>
                      <a:pt x="2520" y="3962"/>
                    </a:lnTo>
                    <a:lnTo>
                      <a:pt x="2526" y="3960"/>
                    </a:lnTo>
                    <a:lnTo>
                      <a:pt x="2528" y="3954"/>
                    </a:lnTo>
                    <a:lnTo>
                      <a:pt x="2528" y="3942"/>
                    </a:lnTo>
                    <a:lnTo>
                      <a:pt x="2528" y="3934"/>
                    </a:lnTo>
                    <a:lnTo>
                      <a:pt x="2532" y="3926"/>
                    </a:lnTo>
                    <a:lnTo>
                      <a:pt x="2542" y="3916"/>
                    </a:lnTo>
                    <a:lnTo>
                      <a:pt x="2562" y="3906"/>
                    </a:lnTo>
                    <a:lnTo>
                      <a:pt x="2562" y="3906"/>
                    </a:lnTo>
                    <a:lnTo>
                      <a:pt x="2566" y="3902"/>
                    </a:lnTo>
                    <a:lnTo>
                      <a:pt x="2572" y="3902"/>
                    </a:lnTo>
                    <a:lnTo>
                      <a:pt x="2578" y="3902"/>
                    </a:lnTo>
                    <a:lnTo>
                      <a:pt x="2578" y="3902"/>
                    </a:lnTo>
                    <a:lnTo>
                      <a:pt x="2584" y="3902"/>
                    </a:lnTo>
                    <a:lnTo>
                      <a:pt x="2586" y="3900"/>
                    </a:lnTo>
                    <a:lnTo>
                      <a:pt x="2594" y="3894"/>
                    </a:lnTo>
                    <a:lnTo>
                      <a:pt x="2600" y="3892"/>
                    </a:lnTo>
                    <a:lnTo>
                      <a:pt x="2606" y="3890"/>
                    </a:lnTo>
                    <a:lnTo>
                      <a:pt x="2614" y="3888"/>
                    </a:lnTo>
                    <a:lnTo>
                      <a:pt x="2624" y="3890"/>
                    </a:lnTo>
                    <a:lnTo>
                      <a:pt x="2624" y="3890"/>
                    </a:lnTo>
                    <a:lnTo>
                      <a:pt x="2630" y="3890"/>
                    </a:lnTo>
                    <a:lnTo>
                      <a:pt x="2634" y="3890"/>
                    </a:lnTo>
                    <a:lnTo>
                      <a:pt x="2638" y="3888"/>
                    </a:lnTo>
                    <a:lnTo>
                      <a:pt x="2642" y="3886"/>
                    </a:lnTo>
                    <a:lnTo>
                      <a:pt x="2646" y="3878"/>
                    </a:lnTo>
                    <a:lnTo>
                      <a:pt x="2650" y="3868"/>
                    </a:lnTo>
                    <a:lnTo>
                      <a:pt x="2654" y="3858"/>
                    </a:lnTo>
                    <a:lnTo>
                      <a:pt x="2658" y="3850"/>
                    </a:lnTo>
                    <a:lnTo>
                      <a:pt x="2664" y="3844"/>
                    </a:lnTo>
                    <a:lnTo>
                      <a:pt x="2670" y="3842"/>
                    </a:lnTo>
                    <a:lnTo>
                      <a:pt x="2676" y="3842"/>
                    </a:lnTo>
                    <a:lnTo>
                      <a:pt x="2676" y="3842"/>
                    </a:lnTo>
                    <a:lnTo>
                      <a:pt x="2690" y="3840"/>
                    </a:lnTo>
                    <a:lnTo>
                      <a:pt x="2698" y="3836"/>
                    </a:lnTo>
                    <a:lnTo>
                      <a:pt x="2702" y="3830"/>
                    </a:lnTo>
                    <a:lnTo>
                      <a:pt x="2704" y="3822"/>
                    </a:lnTo>
                    <a:lnTo>
                      <a:pt x="2708" y="3814"/>
                    </a:lnTo>
                    <a:lnTo>
                      <a:pt x="2712" y="3806"/>
                    </a:lnTo>
                    <a:lnTo>
                      <a:pt x="2720" y="3798"/>
                    </a:lnTo>
                    <a:lnTo>
                      <a:pt x="2734" y="3794"/>
                    </a:lnTo>
                    <a:lnTo>
                      <a:pt x="2734" y="3794"/>
                    </a:lnTo>
                    <a:lnTo>
                      <a:pt x="2746" y="3790"/>
                    </a:lnTo>
                    <a:lnTo>
                      <a:pt x="2752" y="3786"/>
                    </a:lnTo>
                    <a:lnTo>
                      <a:pt x="2754" y="3782"/>
                    </a:lnTo>
                    <a:lnTo>
                      <a:pt x="2752" y="3776"/>
                    </a:lnTo>
                    <a:lnTo>
                      <a:pt x="2750" y="3768"/>
                    </a:lnTo>
                    <a:lnTo>
                      <a:pt x="2750" y="3758"/>
                    </a:lnTo>
                    <a:lnTo>
                      <a:pt x="2750" y="3746"/>
                    </a:lnTo>
                    <a:lnTo>
                      <a:pt x="2754" y="3730"/>
                    </a:lnTo>
                    <a:lnTo>
                      <a:pt x="2754" y="3730"/>
                    </a:lnTo>
                    <a:lnTo>
                      <a:pt x="2760" y="3716"/>
                    </a:lnTo>
                    <a:lnTo>
                      <a:pt x="2764" y="3710"/>
                    </a:lnTo>
                    <a:lnTo>
                      <a:pt x="2768" y="3712"/>
                    </a:lnTo>
                    <a:lnTo>
                      <a:pt x="2770" y="3714"/>
                    </a:lnTo>
                    <a:lnTo>
                      <a:pt x="2772" y="3718"/>
                    </a:lnTo>
                    <a:lnTo>
                      <a:pt x="2776" y="3720"/>
                    </a:lnTo>
                    <a:lnTo>
                      <a:pt x="2780" y="3716"/>
                    </a:lnTo>
                    <a:lnTo>
                      <a:pt x="2786" y="3704"/>
                    </a:lnTo>
                    <a:lnTo>
                      <a:pt x="2786" y="3704"/>
                    </a:lnTo>
                    <a:lnTo>
                      <a:pt x="2792" y="3692"/>
                    </a:lnTo>
                    <a:lnTo>
                      <a:pt x="2796" y="3684"/>
                    </a:lnTo>
                    <a:lnTo>
                      <a:pt x="2806" y="3674"/>
                    </a:lnTo>
                    <a:lnTo>
                      <a:pt x="2816" y="3664"/>
                    </a:lnTo>
                    <a:lnTo>
                      <a:pt x="2820" y="3656"/>
                    </a:lnTo>
                    <a:lnTo>
                      <a:pt x="2824" y="3644"/>
                    </a:lnTo>
                    <a:lnTo>
                      <a:pt x="2824" y="3644"/>
                    </a:lnTo>
                    <a:lnTo>
                      <a:pt x="2830" y="3628"/>
                    </a:lnTo>
                    <a:lnTo>
                      <a:pt x="2834" y="3618"/>
                    </a:lnTo>
                    <a:lnTo>
                      <a:pt x="2834" y="3616"/>
                    </a:lnTo>
                    <a:lnTo>
                      <a:pt x="2832" y="3614"/>
                    </a:lnTo>
                    <a:lnTo>
                      <a:pt x="2822" y="3608"/>
                    </a:lnTo>
                    <a:lnTo>
                      <a:pt x="2822" y="3608"/>
                    </a:lnTo>
                    <a:close/>
                    <a:moveTo>
                      <a:pt x="2468" y="3400"/>
                    </a:moveTo>
                    <a:lnTo>
                      <a:pt x="2468" y="3400"/>
                    </a:lnTo>
                    <a:lnTo>
                      <a:pt x="2470" y="3400"/>
                    </a:lnTo>
                    <a:lnTo>
                      <a:pt x="2468" y="3400"/>
                    </a:lnTo>
                    <a:lnTo>
                      <a:pt x="2468" y="3400"/>
                    </a:lnTo>
                    <a:lnTo>
                      <a:pt x="2468" y="3400"/>
                    </a:lnTo>
                    <a:lnTo>
                      <a:pt x="2468" y="3400"/>
                    </a:lnTo>
                    <a:close/>
                    <a:moveTo>
                      <a:pt x="1836" y="3098"/>
                    </a:moveTo>
                    <a:lnTo>
                      <a:pt x="1836" y="3098"/>
                    </a:lnTo>
                    <a:lnTo>
                      <a:pt x="1838" y="3094"/>
                    </a:lnTo>
                    <a:lnTo>
                      <a:pt x="1842" y="3094"/>
                    </a:lnTo>
                    <a:lnTo>
                      <a:pt x="1842" y="3094"/>
                    </a:lnTo>
                    <a:lnTo>
                      <a:pt x="1838" y="3094"/>
                    </a:lnTo>
                    <a:lnTo>
                      <a:pt x="1836" y="3098"/>
                    </a:lnTo>
                    <a:lnTo>
                      <a:pt x="1836" y="3098"/>
                    </a:lnTo>
                    <a:close/>
                    <a:moveTo>
                      <a:pt x="1856" y="3100"/>
                    </a:moveTo>
                    <a:lnTo>
                      <a:pt x="1856" y="3100"/>
                    </a:lnTo>
                    <a:lnTo>
                      <a:pt x="1856" y="3102"/>
                    </a:lnTo>
                    <a:lnTo>
                      <a:pt x="1856" y="3102"/>
                    </a:lnTo>
                    <a:lnTo>
                      <a:pt x="1856" y="3102"/>
                    </a:lnTo>
                    <a:lnTo>
                      <a:pt x="1856" y="3102"/>
                    </a:lnTo>
                    <a:lnTo>
                      <a:pt x="1856" y="3100"/>
                    </a:lnTo>
                    <a:lnTo>
                      <a:pt x="1856" y="3100"/>
                    </a:lnTo>
                    <a:lnTo>
                      <a:pt x="1856" y="3090"/>
                    </a:lnTo>
                    <a:lnTo>
                      <a:pt x="1858" y="3084"/>
                    </a:lnTo>
                    <a:lnTo>
                      <a:pt x="1860" y="3082"/>
                    </a:lnTo>
                    <a:lnTo>
                      <a:pt x="1860" y="3082"/>
                    </a:lnTo>
                    <a:lnTo>
                      <a:pt x="1858" y="3084"/>
                    </a:lnTo>
                    <a:lnTo>
                      <a:pt x="1856" y="3090"/>
                    </a:lnTo>
                    <a:lnTo>
                      <a:pt x="1856" y="3100"/>
                    </a:lnTo>
                    <a:lnTo>
                      <a:pt x="1856" y="310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sp>
            <p:nvSpPr>
              <p:cNvPr id="91" name="Freeform 6156"/>
              <p:cNvSpPr>
                <a:spLocks noEditPoints="1"/>
              </p:cNvSpPr>
              <p:nvPr/>
            </p:nvSpPr>
            <p:spPr bwMode="auto">
              <a:xfrm>
                <a:off x="5028596" y="1282280"/>
                <a:ext cx="3353404" cy="3128784"/>
              </a:xfrm>
              <a:custGeom>
                <a:avLst/>
                <a:gdLst/>
                <a:ahLst/>
                <a:cxnLst>
                  <a:cxn ang="0">
                    <a:pos x="526" y="538"/>
                  </a:cxn>
                  <a:cxn ang="0">
                    <a:pos x="590" y="96"/>
                  </a:cxn>
                  <a:cxn ang="0">
                    <a:pos x="3862" y="498"/>
                  </a:cxn>
                  <a:cxn ang="0">
                    <a:pos x="5002" y="958"/>
                  </a:cxn>
                  <a:cxn ang="0">
                    <a:pos x="3368" y="758"/>
                  </a:cxn>
                  <a:cxn ang="0">
                    <a:pos x="404" y="882"/>
                  </a:cxn>
                  <a:cxn ang="0">
                    <a:pos x="76" y="120"/>
                  </a:cxn>
                  <a:cxn ang="0">
                    <a:pos x="726" y="18"/>
                  </a:cxn>
                  <a:cxn ang="0">
                    <a:pos x="690" y="124"/>
                  </a:cxn>
                  <a:cxn ang="0">
                    <a:pos x="2856" y="5256"/>
                  </a:cxn>
                  <a:cxn ang="0">
                    <a:pos x="3254" y="4402"/>
                  </a:cxn>
                  <a:cxn ang="0">
                    <a:pos x="3292" y="4482"/>
                  </a:cxn>
                  <a:cxn ang="0">
                    <a:pos x="3182" y="4204"/>
                  </a:cxn>
                  <a:cxn ang="0">
                    <a:pos x="3256" y="4348"/>
                  </a:cxn>
                  <a:cxn ang="0">
                    <a:pos x="3168" y="4352"/>
                  </a:cxn>
                  <a:cxn ang="0">
                    <a:pos x="3346" y="4866"/>
                  </a:cxn>
                  <a:cxn ang="0">
                    <a:pos x="3302" y="3114"/>
                  </a:cxn>
                  <a:cxn ang="0">
                    <a:pos x="3166" y="5238"/>
                  </a:cxn>
                  <a:cxn ang="0">
                    <a:pos x="3310" y="2936"/>
                  </a:cxn>
                  <a:cxn ang="0">
                    <a:pos x="1978" y="4450"/>
                  </a:cxn>
                  <a:cxn ang="0">
                    <a:pos x="2578" y="4662"/>
                  </a:cxn>
                  <a:cxn ang="0">
                    <a:pos x="2576" y="5220"/>
                  </a:cxn>
                  <a:cxn ang="0">
                    <a:pos x="2488" y="5076"/>
                  </a:cxn>
                  <a:cxn ang="0">
                    <a:pos x="2114" y="4658"/>
                  </a:cxn>
                  <a:cxn ang="0">
                    <a:pos x="8" y="5430"/>
                  </a:cxn>
                  <a:cxn ang="0">
                    <a:pos x="3432" y="3438"/>
                  </a:cxn>
                  <a:cxn ang="0">
                    <a:pos x="3608" y="3162"/>
                  </a:cxn>
                  <a:cxn ang="0">
                    <a:pos x="3068" y="4796"/>
                  </a:cxn>
                  <a:cxn ang="0">
                    <a:pos x="3124" y="4884"/>
                  </a:cxn>
                  <a:cxn ang="0">
                    <a:pos x="3058" y="4324"/>
                  </a:cxn>
                  <a:cxn ang="0">
                    <a:pos x="3358" y="4906"/>
                  </a:cxn>
                  <a:cxn ang="0">
                    <a:pos x="3910" y="2748"/>
                  </a:cxn>
                  <a:cxn ang="0">
                    <a:pos x="3678" y="3106"/>
                  </a:cxn>
                  <a:cxn ang="0">
                    <a:pos x="3318" y="3126"/>
                  </a:cxn>
                  <a:cxn ang="0">
                    <a:pos x="3994" y="2128"/>
                  </a:cxn>
                  <a:cxn ang="0">
                    <a:pos x="3860" y="2722"/>
                  </a:cxn>
                  <a:cxn ang="0">
                    <a:pos x="3184" y="4192"/>
                  </a:cxn>
                  <a:cxn ang="0">
                    <a:pos x="3002" y="4380"/>
                  </a:cxn>
                  <a:cxn ang="0">
                    <a:pos x="3286" y="4302"/>
                  </a:cxn>
                  <a:cxn ang="0">
                    <a:pos x="2958" y="4522"/>
                  </a:cxn>
                  <a:cxn ang="0">
                    <a:pos x="2628" y="4902"/>
                  </a:cxn>
                  <a:cxn ang="0">
                    <a:pos x="3222" y="3634"/>
                  </a:cxn>
                  <a:cxn ang="0">
                    <a:pos x="5080" y="950"/>
                  </a:cxn>
                  <a:cxn ang="0">
                    <a:pos x="3402" y="796"/>
                  </a:cxn>
                  <a:cxn ang="0">
                    <a:pos x="2280" y="434"/>
                  </a:cxn>
                  <a:cxn ang="0">
                    <a:pos x="1416" y="762"/>
                  </a:cxn>
                  <a:cxn ang="0">
                    <a:pos x="1160" y="1104"/>
                  </a:cxn>
                  <a:cxn ang="0">
                    <a:pos x="216" y="1078"/>
                  </a:cxn>
                  <a:cxn ang="0">
                    <a:pos x="654" y="3582"/>
                  </a:cxn>
                  <a:cxn ang="0">
                    <a:pos x="1282" y="4330"/>
                  </a:cxn>
                  <a:cxn ang="0">
                    <a:pos x="1866" y="3684"/>
                  </a:cxn>
                  <a:cxn ang="0">
                    <a:pos x="2194" y="4246"/>
                  </a:cxn>
                  <a:cxn ang="0">
                    <a:pos x="2286" y="4500"/>
                  </a:cxn>
                  <a:cxn ang="0">
                    <a:pos x="2566" y="4318"/>
                  </a:cxn>
                  <a:cxn ang="0">
                    <a:pos x="2746" y="3768"/>
                  </a:cxn>
                  <a:cxn ang="0">
                    <a:pos x="3044" y="3552"/>
                  </a:cxn>
                  <a:cxn ang="0">
                    <a:pos x="3128" y="3244"/>
                  </a:cxn>
                  <a:cxn ang="0">
                    <a:pos x="3000" y="2856"/>
                  </a:cxn>
                  <a:cxn ang="0">
                    <a:pos x="3312" y="2928"/>
                  </a:cxn>
                  <a:cxn ang="0">
                    <a:pos x="3352" y="2850"/>
                  </a:cxn>
                  <a:cxn ang="0">
                    <a:pos x="3800" y="2012"/>
                  </a:cxn>
                  <a:cxn ang="0">
                    <a:pos x="4728" y="1550"/>
                  </a:cxn>
                  <a:cxn ang="0">
                    <a:pos x="4848" y="1618"/>
                  </a:cxn>
                </a:cxnLst>
                <a:rect l="0" t="0" r="r" b="b"/>
                <a:pathLst>
                  <a:path w="5856" h="5472">
                    <a:moveTo>
                      <a:pt x="1912" y="64"/>
                    </a:moveTo>
                    <a:lnTo>
                      <a:pt x="1912" y="64"/>
                    </a:lnTo>
                    <a:lnTo>
                      <a:pt x="1910" y="60"/>
                    </a:lnTo>
                    <a:lnTo>
                      <a:pt x="1902" y="58"/>
                    </a:lnTo>
                    <a:lnTo>
                      <a:pt x="1882" y="54"/>
                    </a:lnTo>
                    <a:lnTo>
                      <a:pt x="1862" y="54"/>
                    </a:lnTo>
                    <a:lnTo>
                      <a:pt x="1854" y="56"/>
                    </a:lnTo>
                    <a:lnTo>
                      <a:pt x="1850" y="60"/>
                    </a:lnTo>
                    <a:lnTo>
                      <a:pt x="1850" y="60"/>
                    </a:lnTo>
                    <a:lnTo>
                      <a:pt x="1850" y="62"/>
                    </a:lnTo>
                    <a:lnTo>
                      <a:pt x="1852" y="64"/>
                    </a:lnTo>
                    <a:lnTo>
                      <a:pt x="1858" y="68"/>
                    </a:lnTo>
                    <a:lnTo>
                      <a:pt x="1868" y="70"/>
                    </a:lnTo>
                    <a:lnTo>
                      <a:pt x="1880" y="70"/>
                    </a:lnTo>
                    <a:lnTo>
                      <a:pt x="1902" y="68"/>
                    </a:lnTo>
                    <a:lnTo>
                      <a:pt x="1908" y="66"/>
                    </a:lnTo>
                    <a:lnTo>
                      <a:pt x="1912" y="64"/>
                    </a:lnTo>
                    <a:lnTo>
                      <a:pt x="1912" y="64"/>
                    </a:lnTo>
                    <a:close/>
                    <a:moveTo>
                      <a:pt x="1078" y="706"/>
                    </a:moveTo>
                    <a:lnTo>
                      <a:pt x="1078" y="706"/>
                    </a:lnTo>
                    <a:lnTo>
                      <a:pt x="1094" y="702"/>
                    </a:lnTo>
                    <a:lnTo>
                      <a:pt x="1100" y="700"/>
                    </a:lnTo>
                    <a:lnTo>
                      <a:pt x="1104" y="698"/>
                    </a:lnTo>
                    <a:lnTo>
                      <a:pt x="1104" y="694"/>
                    </a:lnTo>
                    <a:lnTo>
                      <a:pt x="1104" y="690"/>
                    </a:lnTo>
                    <a:lnTo>
                      <a:pt x="1102" y="684"/>
                    </a:lnTo>
                    <a:lnTo>
                      <a:pt x="1094" y="678"/>
                    </a:lnTo>
                    <a:lnTo>
                      <a:pt x="1082" y="674"/>
                    </a:lnTo>
                    <a:lnTo>
                      <a:pt x="1070" y="674"/>
                    </a:lnTo>
                    <a:lnTo>
                      <a:pt x="1058" y="676"/>
                    </a:lnTo>
                    <a:lnTo>
                      <a:pt x="1058" y="676"/>
                    </a:lnTo>
                    <a:lnTo>
                      <a:pt x="1048" y="682"/>
                    </a:lnTo>
                    <a:lnTo>
                      <a:pt x="1040" y="688"/>
                    </a:lnTo>
                    <a:lnTo>
                      <a:pt x="1036" y="694"/>
                    </a:lnTo>
                    <a:lnTo>
                      <a:pt x="1036" y="700"/>
                    </a:lnTo>
                    <a:lnTo>
                      <a:pt x="1040" y="704"/>
                    </a:lnTo>
                    <a:lnTo>
                      <a:pt x="1048" y="708"/>
                    </a:lnTo>
                    <a:lnTo>
                      <a:pt x="1060" y="708"/>
                    </a:lnTo>
                    <a:lnTo>
                      <a:pt x="1078" y="706"/>
                    </a:lnTo>
                    <a:lnTo>
                      <a:pt x="1078" y="706"/>
                    </a:lnTo>
                    <a:close/>
                    <a:moveTo>
                      <a:pt x="1928" y="154"/>
                    </a:moveTo>
                    <a:lnTo>
                      <a:pt x="1928" y="154"/>
                    </a:lnTo>
                    <a:lnTo>
                      <a:pt x="1914" y="152"/>
                    </a:lnTo>
                    <a:lnTo>
                      <a:pt x="1902" y="154"/>
                    </a:lnTo>
                    <a:lnTo>
                      <a:pt x="1894" y="156"/>
                    </a:lnTo>
                    <a:lnTo>
                      <a:pt x="1890" y="160"/>
                    </a:lnTo>
                    <a:lnTo>
                      <a:pt x="1890" y="164"/>
                    </a:lnTo>
                    <a:lnTo>
                      <a:pt x="1894" y="168"/>
                    </a:lnTo>
                    <a:lnTo>
                      <a:pt x="1900" y="172"/>
                    </a:lnTo>
                    <a:lnTo>
                      <a:pt x="1910" y="176"/>
                    </a:lnTo>
                    <a:lnTo>
                      <a:pt x="1910" y="176"/>
                    </a:lnTo>
                    <a:lnTo>
                      <a:pt x="1920" y="178"/>
                    </a:lnTo>
                    <a:lnTo>
                      <a:pt x="1926" y="180"/>
                    </a:lnTo>
                    <a:lnTo>
                      <a:pt x="1932" y="186"/>
                    </a:lnTo>
                    <a:lnTo>
                      <a:pt x="1934" y="188"/>
                    </a:lnTo>
                    <a:lnTo>
                      <a:pt x="1938" y="190"/>
                    </a:lnTo>
                    <a:lnTo>
                      <a:pt x="1956" y="188"/>
                    </a:lnTo>
                    <a:lnTo>
                      <a:pt x="1956" y="188"/>
                    </a:lnTo>
                    <a:lnTo>
                      <a:pt x="1982" y="180"/>
                    </a:lnTo>
                    <a:lnTo>
                      <a:pt x="1996" y="174"/>
                    </a:lnTo>
                    <a:lnTo>
                      <a:pt x="2000" y="172"/>
                    </a:lnTo>
                    <a:lnTo>
                      <a:pt x="2000" y="170"/>
                    </a:lnTo>
                    <a:lnTo>
                      <a:pt x="1998" y="168"/>
                    </a:lnTo>
                    <a:lnTo>
                      <a:pt x="1994" y="166"/>
                    </a:lnTo>
                    <a:lnTo>
                      <a:pt x="1982" y="162"/>
                    </a:lnTo>
                    <a:lnTo>
                      <a:pt x="1964" y="158"/>
                    </a:lnTo>
                    <a:lnTo>
                      <a:pt x="1928" y="154"/>
                    </a:lnTo>
                    <a:lnTo>
                      <a:pt x="1928" y="154"/>
                    </a:lnTo>
                    <a:close/>
                    <a:moveTo>
                      <a:pt x="526" y="138"/>
                    </a:moveTo>
                    <a:lnTo>
                      <a:pt x="526" y="138"/>
                    </a:lnTo>
                    <a:lnTo>
                      <a:pt x="532" y="144"/>
                    </a:lnTo>
                    <a:lnTo>
                      <a:pt x="538" y="148"/>
                    </a:lnTo>
                    <a:lnTo>
                      <a:pt x="552" y="152"/>
                    </a:lnTo>
                    <a:lnTo>
                      <a:pt x="552" y="152"/>
                    </a:lnTo>
                    <a:lnTo>
                      <a:pt x="558" y="154"/>
                    </a:lnTo>
                    <a:lnTo>
                      <a:pt x="562" y="152"/>
                    </a:lnTo>
                    <a:lnTo>
                      <a:pt x="564" y="150"/>
                    </a:lnTo>
                    <a:lnTo>
                      <a:pt x="564" y="146"/>
                    </a:lnTo>
                    <a:lnTo>
                      <a:pt x="564" y="142"/>
                    </a:lnTo>
                    <a:lnTo>
                      <a:pt x="568" y="140"/>
                    </a:lnTo>
                    <a:lnTo>
                      <a:pt x="572" y="136"/>
                    </a:lnTo>
                    <a:lnTo>
                      <a:pt x="582" y="136"/>
                    </a:lnTo>
                    <a:lnTo>
                      <a:pt x="582" y="136"/>
                    </a:lnTo>
                    <a:lnTo>
                      <a:pt x="600" y="134"/>
                    </a:lnTo>
                    <a:lnTo>
                      <a:pt x="604" y="132"/>
                    </a:lnTo>
                    <a:lnTo>
                      <a:pt x="606" y="130"/>
                    </a:lnTo>
                    <a:lnTo>
                      <a:pt x="604" y="128"/>
                    </a:lnTo>
                    <a:lnTo>
                      <a:pt x="598" y="126"/>
                    </a:lnTo>
                    <a:lnTo>
                      <a:pt x="580" y="122"/>
                    </a:lnTo>
                    <a:lnTo>
                      <a:pt x="580" y="122"/>
                    </a:lnTo>
                    <a:lnTo>
                      <a:pt x="556" y="120"/>
                    </a:lnTo>
                    <a:lnTo>
                      <a:pt x="534" y="122"/>
                    </a:lnTo>
                    <a:lnTo>
                      <a:pt x="526" y="124"/>
                    </a:lnTo>
                    <a:lnTo>
                      <a:pt x="522" y="126"/>
                    </a:lnTo>
                    <a:lnTo>
                      <a:pt x="522" y="132"/>
                    </a:lnTo>
                    <a:lnTo>
                      <a:pt x="526" y="138"/>
                    </a:lnTo>
                    <a:lnTo>
                      <a:pt x="526" y="138"/>
                    </a:lnTo>
                    <a:close/>
                    <a:moveTo>
                      <a:pt x="658" y="948"/>
                    </a:moveTo>
                    <a:lnTo>
                      <a:pt x="658" y="948"/>
                    </a:lnTo>
                    <a:lnTo>
                      <a:pt x="658" y="944"/>
                    </a:lnTo>
                    <a:lnTo>
                      <a:pt x="656" y="942"/>
                    </a:lnTo>
                    <a:lnTo>
                      <a:pt x="644" y="936"/>
                    </a:lnTo>
                    <a:lnTo>
                      <a:pt x="628" y="926"/>
                    </a:lnTo>
                    <a:lnTo>
                      <a:pt x="620" y="920"/>
                    </a:lnTo>
                    <a:lnTo>
                      <a:pt x="612" y="912"/>
                    </a:lnTo>
                    <a:lnTo>
                      <a:pt x="612" y="912"/>
                    </a:lnTo>
                    <a:lnTo>
                      <a:pt x="602" y="904"/>
                    </a:lnTo>
                    <a:lnTo>
                      <a:pt x="594" y="904"/>
                    </a:lnTo>
                    <a:lnTo>
                      <a:pt x="588" y="906"/>
                    </a:lnTo>
                    <a:lnTo>
                      <a:pt x="582" y="908"/>
                    </a:lnTo>
                    <a:lnTo>
                      <a:pt x="582" y="908"/>
                    </a:lnTo>
                    <a:lnTo>
                      <a:pt x="580" y="910"/>
                    </a:lnTo>
                    <a:lnTo>
                      <a:pt x="580" y="912"/>
                    </a:lnTo>
                    <a:lnTo>
                      <a:pt x="582" y="916"/>
                    </a:lnTo>
                    <a:lnTo>
                      <a:pt x="584" y="920"/>
                    </a:lnTo>
                    <a:lnTo>
                      <a:pt x="582" y="920"/>
                    </a:lnTo>
                    <a:lnTo>
                      <a:pt x="582" y="920"/>
                    </a:lnTo>
                    <a:lnTo>
                      <a:pt x="578" y="918"/>
                    </a:lnTo>
                    <a:lnTo>
                      <a:pt x="576" y="918"/>
                    </a:lnTo>
                    <a:lnTo>
                      <a:pt x="574" y="920"/>
                    </a:lnTo>
                    <a:lnTo>
                      <a:pt x="576" y="924"/>
                    </a:lnTo>
                    <a:lnTo>
                      <a:pt x="580" y="930"/>
                    </a:lnTo>
                    <a:lnTo>
                      <a:pt x="588" y="940"/>
                    </a:lnTo>
                    <a:lnTo>
                      <a:pt x="588" y="940"/>
                    </a:lnTo>
                    <a:lnTo>
                      <a:pt x="594" y="944"/>
                    </a:lnTo>
                    <a:lnTo>
                      <a:pt x="596" y="946"/>
                    </a:lnTo>
                    <a:lnTo>
                      <a:pt x="600" y="944"/>
                    </a:lnTo>
                    <a:lnTo>
                      <a:pt x="600" y="942"/>
                    </a:lnTo>
                    <a:lnTo>
                      <a:pt x="600" y="942"/>
                    </a:lnTo>
                    <a:lnTo>
                      <a:pt x="604" y="942"/>
                    </a:lnTo>
                    <a:lnTo>
                      <a:pt x="610" y="942"/>
                    </a:lnTo>
                    <a:lnTo>
                      <a:pt x="618" y="946"/>
                    </a:lnTo>
                    <a:lnTo>
                      <a:pt x="620" y="948"/>
                    </a:lnTo>
                    <a:lnTo>
                      <a:pt x="620" y="952"/>
                    </a:lnTo>
                    <a:lnTo>
                      <a:pt x="620" y="952"/>
                    </a:lnTo>
                    <a:lnTo>
                      <a:pt x="620" y="956"/>
                    </a:lnTo>
                    <a:lnTo>
                      <a:pt x="624" y="958"/>
                    </a:lnTo>
                    <a:lnTo>
                      <a:pt x="638" y="956"/>
                    </a:lnTo>
                    <a:lnTo>
                      <a:pt x="652" y="954"/>
                    </a:lnTo>
                    <a:lnTo>
                      <a:pt x="656" y="950"/>
                    </a:lnTo>
                    <a:lnTo>
                      <a:pt x="658" y="948"/>
                    </a:lnTo>
                    <a:lnTo>
                      <a:pt x="658" y="948"/>
                    </a:lnTo>
                    <a:close/>
                    <a:moveTo>
                      <a:pt x="768" y="460"/>
                    </a:moveTo>
                    <a:lnTo>
                      <a:pt x="768" y="460"/>
                    </a:lnTo>
                    <a:lnTo>
                      <a:pt x="752" y="466"/>
                    </a:lnTo>
                    <a:lnTo>
                      <a:pt x="742" y="468"/>
                    </a:lnTo>
                    <a:lnTo>
                      <a:pt x="736" y="468"/>
                    </a:lnTo>
                    <a:lnTo>
                      <a:pt x="732" y="466"/>
                    </a:lnTo>
                    <a:lnTo>
                      <a:pt x="728" y="462"/>
                    </a:lnTo>
                    <a:lnTo>
                      <a:pt x="722" y="460"/>
                    </a:lnTo>
                    <a:lnTo>
                      <a:pt x="712" y="458"/>
                    </a:lnTo>
                    <a:lnTo>
                      <a:pt x="698" y="460"/>
                    </a:lnTo>
                    <a:lnTo>
                      <a:pt x="698" y="460"/>
                    </a:lnTo>
                    <a:lnTo>
                      <a:pt x="682" y="462"/>
                    </a:lnTo>
                    <a:lnTo>
                      <a:pt x="674" y="464"/>
                    </a:lnTo>
                    <a:lnTo>
                      <a:pt x="672" y="468"/>
                    </a:lnTo>
                    <a:lnTo>
                      <a:pt x="672" y="470"/>
                    </a:lnTo>
                    <a:lnTo>
                      <a:pt x="674" y="474"/>
                    </a:lnTo>
                    <a:lnTo>
                      <a:pt x="674" y="476"/>
                    </a:lnTo>
                    <a:lnTo>
                      <a:pt x="672" y="478"/>
                    </a:lnTo>
                    <a:lnTo>
                      <a:pt x="664" y="476"/>
                    </a:lnTo>
                    <a:lnTo>
                      <a:pt x="664" y="476"/>
                    </a:lnTo>
                    <a:lnTo>
                      <a:pt x="652" y="478"/>
                    </a:lnTo>
                    <a:lnTo>
                      <a:pt x="636" y="480"/>
                    </a:lnTo>
                    <a:lnTo>
                      <a:pt x="620" y="484"/>
                    </a:lnTo>
                    <a:lnTo>
                      <a:pt x="602" y="492"/>
                    </a:lnTo>
                    <a:lnTo>
                      <a:pt x="584" y="500"/>
                    </a:lnTo>
                    <a:lnTo>
                      <a:pt x="568" y="508"/>
                    </a:lnTo>
                    <a:lnTo>
                      <a:pt x="554" y="518"/>
                    </a:lnTo>
                    <a:lnTo>
                      <a:pt x="544" y="528"/>
                    </a:lnTo>
                    <a:lnTo>
                      <a:pt x="544" y="528"/>
                    </a:lnTo>
                    <a:lnTo>
                      <a:pt x="538" y="536"/>
                    </a:lnTo>
                    <a:lnTo>
                      <a:pt x="532" y="538"/>
                    </a:lnTo>
                    <a:lnTo>
                      <a:pt x="528" y="538"/>
                    </a:lnTo>
                    <a:lnTo>
                      <a:pt x="526" y="538"/>
                    </a:lnTo>
                    <a:lnTo>
                      <a:pt x="524" y="536"/>
                    </a:lnTo>
                    <a:lnTo>
                      <a:pt x="520" y="534"/>
                    </a:lnTo>
                    <a:lnTo>
                      <a:pt x="514" y="536"/>
                    </a:lnTo>
                    <a:lnTo>
                      <a:pt x="506" y="542"/>
                    </a:lnTo>
                    <a:lnTo>
                      <a:pt x="506" y="542"/>
                    </a:lnTo>
                    <a:lnTo>
                      <a:pt x="498" y="548"/>
                    </a:lnTo>
                    <a:lnTo>
                      <a:pt x="494" y="550"/>
                    </a:lnTo>
                    <a:lnTo>
                      <a:pt x="490" y="548"/>
                    </a:lnTo>
                    <a:lnTo>
                      <a:pt x="488" y="546"/>
                    </a:lnTo>
                    <a:lnTo>
                      <a:pt x="488" y="544"/>
                    </a:lnTo>
                    <a:lnTo>
                      <a:pt x="484" y="542"/>
                    </a:lnTo>
                    <a:lnTo>
                      <a:pt x="480" y="542"/>
                    </a:lnTo>
                    <a:lnTo>
                      <a:pt x="474" y="546"/>
                    </a:lnTo>
                    <a:lnTo>
                      <a:pt x="474" y="546"/>
                    </a:lnTo>
                    <a:lnTo>
                      <a:pt x="470" y="550"/>
                    </a:lnTo>
                    <a:lnTo>
                      <a:pt x="468" y="554"/>
                    </a:lnTo>
                    <a:lnTo>
                      <a:pt x="470" y="558"/>
                    </a:lnTo>
                    <a:lnTo>
                      <a:pt x="474" y="560"/>
                    </a:lnTo>
                    <a:lnTo>
                      <a:pt x="480" y="564"/>
                    </a:lnTo>
                    <a:lnTo>
                      <a:pt x="480" y="568"/>
                    </a:lnTo>
                    <a:lnTo>
                      <a:pt x="476" y="570"/>
                    </a:lnTo>
                    <a:lnTo>
                      <a:pt x="476" y="570"/>
                    </a:lnTo>
                    <a:lnTo>
                      <a:pt x="472" y="572"/>
                    </a:lnTo>
                    <a:lnTo>
                      <a:pt x="470" y="576"/>
                    </a:lnTo>
                    <a:lnTo>
                      <a:pt x="472" y="578"/>
                    </a:lnTo>
                    <a:lnTo>
                      <a:pt x="476" y="580"/>
                    </a:lnTo>
                    <a:lnTo>
                      <a:pt x="478" y="582"/>
                    </a:lnTo>
                    <a:lnTo>
                      <a:pt x="478" y="584"/>
                    </a:lnTo>
                    <a:lnTo>
                      <a:pt x="476" y="586"/>
                    </a:lnTo>
                    <a:lnTo>
                      <a:pt x="468" y="586"/>
                    </a:lnTo>
                    <a:lnTo>
                      <a:pt x="468" y="586"/>
                    </a:lnTo>
                    <a:lnTo>
                      <a:pt x="460" y="588"/>
                    </a:lnTo>
                    <a:lnTo>
                      <a:pt x="454" y="594"/>
                    </a:lnTo>
                    <a:lnTo>
                      <a:pt x="450" y="600"/>
                    </a:lnTo>
                    <a:lnTo>
                      <a:pt x="446" y="606"/>
                    </a:lnTo>
                    <a:lnTo>
                      <a:pt x="442" y="614"/>
                    </a:lnTo>
                    <a:lnTo>
                      <a:pt x="436" y="622"/>
                    </a:lnTo>
                    <a:lnTo>
                      <a:pt x="426" y="630"/>
                    </a:lnTo>
                    <a:lnTo>
                      <a:pt x="414" y="636"/>
                    </a:lnTo>
                    <a:lnTo>
                      <a:pt x="414" y="636"/>
                    </a:lnTo>
                    <a:lnTo>
                      <a:pt x="390" y="648"/>
                    </a:lnTo>
                    <a:lnTo>
                      <a:pt x="384" y="654"/>
                    </a:lnTo>
                    <a:lnTo>
                      <a:pt x="380" y="658"/>
                    </a:lnTo>
                    <a:lnTo>
                      <a:pt x="380" y="662"/>
                    </a:lnTo>
                    <a:lnTo>
                      <a:pt x="382" y="666"/>
                    </a:lnTo>
                    <a:lnTo>
                      <a:pt x="390" y="666"/>
                    </a:lnTo>
                    <a:lnTo>
                      <a:pt x="400" y="666"/>
                    </a:lnTo>
                    <a:lnTo>
                      <a:pt x="400" y="666"/>
                    </a:lnTo>
                    <a:lnTo>
                      <a:pt x="408" y="668"/>
                    </a:lnTo>
                    <a:lnTo>
                      <a:pt x="410" y="670"/>
                    </a:lnTo>
                    <a:lnTo>
                      <a:pt x="408" y="674"/>
                    </a:lnTo>
                    <a:lnTo>
                      <a:pt x="406" y="678"/>
                    </a:lnTo>
                    <a:lnTo>
                      <a:pt x="402" y="680"/>
                    </a:lnTo>
                    <a:lnTo>
                      <a:pt x="402" y="684"/>
                    </a:lnTo>
                    <a:lnTo>
                      <a:pt x="406" y="684"/>
                    </a:lnTo>
                    <a:lnTo>
                      <a:pt x="416" y="682"/>
                    </a:lnTo>
                    <a:lnTo>
                      <a:pt x="416" y="682"/>
                    </a:lnTo>
                    <a:lnTo>
                      <a:pt x="438" y="676"/>
                    </a:lnTo>
                    <a:lnTo>
                      <a:pt x="446" y="676"/>
                    </a:lnTo>
                    <a:lnTo>
                      <a:pt x="454" y="676"/>
                    </a:lnTo>
                    <a:lnTo>
                      <a:pt x="460" y="678"/>
                    </a:lnTo>
                    <a:lnTo>
                      <a:pt x="466" y="682"/>
                    </a:lnTo>
                    <a:lnTo>
                      <a:pt x="486" y="692"/>
                    </a:lnTo>
                    <a:lnTo>
                      <a:pt x="486" y="692"/>
                    </a:lnTo>
                    <a:lnTo>
                      <a:pt x="496" y="696"/>
                    </a:lnTo>
                    <a:lnTo>
                      <a:pt x="508" y="694"/>
                    </a:lnTo>
                    <a:lnTo>
                      <a:pt x="514" y="692"/>
                    </a:lnTo>
                    <a:lnTo>
                      <a:pt x="518" y="690"/>
                    </a:lnTo>
                    <a:lnTo>
                      <a:pt x="522" y="686"/>
                    </a:lnTo>
                    <a:lnTo>
                      <a:pt x="524" y="680"/>
                    </a:lnTo>
                    <a:lnTo>
                      <a:pt x="524" y="680"/>
                    </a:lnTo>
                    <a:lnTo>
                      <a:pt x="526" y="674"/>
                    </a:lnTo>
                    <a:lnTo>
                      <a:pt x="528" y="672"/>
                    </a:lnTo>
                    <a:lnTo>
                      <a:pt x="538" y="670"/>
                    </a:lnTo>
                    <a:lnTo>
                      <a:pt x="542" y="668"/>
                    </a:lnTo>
                    <a:lnTo>
                      <a:pt x="546" y="664"/>
                    </a:lnTo>
                    <a:lnTo>
                      <a:pt x="550" y="660"/>
                    </a:lnTo>
                    <a:lnTo>
                      <a:pt x="554" y="650"/>
                    </a:lnTo>
                    <a:lnTo>
                      <a:pt x="554" y="650"/>
                    </a:lnTo>
                    <a:lnTo>
                      <a:pt x="558" y="640"/>
                    </a:lnTo>
                    <a:lnTo>
                      <a:pt x="562" y="634"/>
                    </a:lnTo>
                    <a:lnTo>
                      <a:pt x="566" y="630"/>
                    </a:lnTo>
                    <a:lnTo>
                      <a:pt x="572" y="628"/>
                    </a:lnTo>
                    <a:lnTo>
                      <a:pt x="580" y="624"/>
                    </a:lnTo>
                    <a:lnTo>
                      <a:pt x="584" y="622"/>
                    </a:lnTo>
                    <a:lnTo>
                      <a:pt x="586" y="616"/>
                    </a:lnTo>
                    <a:lnTo>
                      <a:pt x="586" y="616"/>
                    </a:lnTo>
                    <a:lnTo>
                      <a:pt x="588" y="606"/>
                    </a:lnTo>
                    <a:lnTo>
                      <a:pt x="590" y="602"/>
                    </a:lnTo>
                    <a:lnTo>
                      <a:pt x="594" y="600"/>
                    </a:lnTo>
                    <a:lnTo>
                      <a:pt x="610" y="594"/>
                    </a:lnTo>
                    <a:lnTo>
                      <a:pt x="638" y="584"/>
                    </a:lnTo>
                    <a:lnTo>
                      <a:pt x="638" y="584"/>
                    </a:lnTo>
                    <a:lnTo>
                      <a:pt x="652" y="578"/>
                    </a:lnTo>
                    <a:lnTo>
                      <a:pt x="658" y="572"/>
                    </a:lnTo>
                    <a:lnTo>
                      <a:pt x="662" y="568"/>
                    </a:lnTo>
                    <a:lnTo>
                      <a:pt x="664" y="564"/>
                    </a:lnTo>
                    <a:lnTo>
                      <a:pt x="668" y="558"/>
                    </a:lnTo>
                    <a:lnTo>
                      <a:pt x="674" y="552"/>
                    </a:lnTo>
                    <a:lnTo>
                      <a:pt x="688" y="544"/>
                    </a:lnTo>
                    <a:lnTo>
                      <a:pt x="712" y="534"/>
                    </a:lnTo>
                    <a:lnTo>
                      <a:pt x="712" y="534"/>
                    </a:lnTo>
                    <a:lnTo>
                      <a:pt x="744" y="522"/>
                    </a:lnTo>
                    <a:lnTo>
                      <a:pt x="778" y="512"/>
                    </a:lnTo>
                    <a:lnTo>
                      <a:pt x="854" y="492"/>
                    </a:lnTo>
                    <a:lnTo>
                      <a:pt x="924" y="474"/>
                    </a:lnTo>
                    <a:lnTo>
                      <a:pt x="956" y="464"/>
                    </a:lnTo>
                    <a:lnTo>
                      <a:pt x="980" y="454"/>
                    </a:lnTo>
                    <a:lnTo>
                      <a:pt x="980" y="454"/>
                    </a:lnTo>
                    <a:lnTo>
                      <a:pt x="990" y="448"/>
                    </a:lnTo>
                    <a:lnTo>
                      <a:pt x="998" y="444"/>
                    </a:lnTo>
                    <a:lnTo>
                      <a:pt x="1002" y="438"/>
                    </a:lnTo>
                    <a:lnTo>
                      <a:pt x="1002" y="432"/>
                    </a:lnTo>
                    <a:lnTo>
                      <a:pt x="1002" y="428"/>
                    </a:lnTo>
                    <a:lnTo>
                      <a:pt x="1000" y="424"/>
                    </a:lnTo>
                    <a:lnTo>
                      <a:pt x="996" y="420"/>
                    </a:lnTo>
                    <a:lnTo>
                      <a:pt x="990" y="416"/>
                    </a:lnTo>
                    <a:lnTo>
                      <a:pt x="974" y="410"/>
                    </a:lnTo>
                    <a:lnTo>
                      <a:pt x="954" y="406"/>
                    </a:lnTo>
                    <a:lnTo>
                      <a:pt x="932" y="408"/>
                    </a:lnTo>
                    <a:lnTo>
                      <a:pt x="908" y="412"/>
                    </a:lnTo>
                    <a:lnTo>
                      <a:pt x="908" y="412"/>
                    </a:lnTo>
                    <a:lnTo>
                      <a:pt x="878" y="422"/>
                    </a:lnTo>
                    <a:lnTo>
                      <a:pt x="874" y="426"/>
                    </a:lnTo>
                    <a:lnTo>
                      <a:pt x="870" y="428"/>
                    </a:lnTo>
                    <a:lnTo>
                      <a:pt x="868" y="430"/>
                    </a:lnTo>
                    <a:lnTo>
                      <a:pt x="864" y="434"/>
                    </a:lnTo>
                    <a:lnTo>
                      <a:pt x="856" y="438"/>
                    </a:lnTo>
                    <a:lnTo>
                      <a:pt x="842" y="444"/>
                    </a:lnTo>
                    <a:lnTo>
                      <a:pt x="842" y="444"/>
                    </a:lnTo>
                    <a:lnTo>
                      <a:pt x="818" y="450"/>
                    </a:lnTo>
                    <a:lnTo>
                      <a:pt x="808" y="450"/>
                    </a:lnTo>
                    <a:lnTo>
                      <a:pt x="798" y="452"/>
                    </a:lnTo>
                    <a:lnTo>
                      <a:pt x="768" y="460"/>
                    </a:lnTo>
                    <a:lnTo>
                      <a:pt x="768" y="460"/>
                    </a:lnTo>
                    <a:close/>
                    <a:moveTo>
                      <a:pt x="484" y="70"/>
                    </a:moveTo>
                    <a:lnTo>
                      <a:pt x="484" y="70"/>
                    </a:lnTo>
                    <a:lnTo>
                      <a:pt x="482" y="70"/>
                    </a:lnTo>
                    <a:lnTo>
                      <a:pt x="484" y="70"/>
                    </a:lnTo>
                    <a:lnTo>
                      <a:pt x="490" y="72"/>
                    </a:lnTo>
                    <a:lnTo>
                      <a:pt x="500" y="74"/>
                    </a:lnTo>
                    <a:lnTo>
                      <a:pt x="510" y="78"/>
                    </a:lnTo>
                    <a:lnTo>
                      <a:pt x="510" y="78"/>
                    </a:lnTo>
                    <a:lnTo>
                      <a:pt x="528" y="86"/>
                    </a:lnTo>
                    <a:lnTo>
                      <a:pt x="538" y="86"/>
                    </a:lnTo>
                    <a:lnTo>
                      <a:pt x="554" y="86"/>
                    </a:lnTo>
                    <a:lnTo>
                      <a:pt x="554" y="86"/>
                    </a:lnTo>
                    <a:lnTo>
                      <a:pt x="568" y="86"/>
                    </a:lnTo>
                    <a:lnTo>
                      <a:pt x="568" y="84"/>
                    </a:lnTo>
                    <a:lnTo>
                      <a:pt x="566" y="82"/>
                    </a:lnTo>
                    <a:lnTo>
                      <a:pt x="544" y="76"/>
                    </a:lnTo>
                    <a:lnTo>
                      <a:pt x="544" y="76"/>
                    </a:lnTo>
                    <a:lnTo>
                      <a:pt x="530" y="72"/>
                    </a:lnTo>
                    <a:lnTo>
                      <a:pt x="512" y="70"/>
                    </a:lnTo>
                    <a:lnTo>
                      <a:pt x="496" y="68"/>
                    </a:lnTo>
                    <a:lnTo>
                      <a:pt x="484" y="70"/>
                    </a:lnTo>
                    <a:lnTo>
                      <a:pt x="484" y="70"/>
                    </a:lnTo>
                    <a:close/>
                    <a:moveTo>
                      <a:pt x="542" y="114"/>
                    </a:moveTo>
                    <a:lnTo>
                      <a:pt x="542" y="114"/>
                    </a:lnTo>
                    <a:lnTo>
                      <a:pt x="554" y="116"/>
                    </a:lnTo>
                    <a:lnTo>
                      <a:pt x="558" y="114"/>
                    </a:lnTo>
                    <a:lnTo>
                      <a:pt x="560" y="112"/>
                    </a:lnTo>
                    <a:lnTo>
                      <a:pt x="560" y="110"/>
                    </a:lnTo>
                    <a:lnTo>
                      <a:pt x="560" y="108"/>
                    </a:lnTo>
                    <a:lnTo>
                      <a:pt x="554" y="106"/>
                    </a:lnTo>
                    <a:lnTo>
                      <a:pt x="554" y="106"/>
                    </a:lnTo>
                    <a:lnTo>
                      <a:pt x="542" y="106"/>
                    </a:lnTo>
                    <a:lnTo>
                      <a:pt x="532" y="108"/>
                    </a:lnTo>
                    <a:lnTo>
                      <a:pt x="530" y="110"/>
                    </a:lnTo>
                    <a:lnTo>
                      <a:pt x="532" y="112"/>
                    </a:lnTo>
                    <a:lnTo>
                      <a:pt x="534" y="114"/>
                    </a:lnTo>
                    <a:lnTo>
                      <a:pt x="542" y="114"/>
                    </a:lnTo>
                    <a:lnTo>
                      <a:pt x="542" y="114"/>
                    </a:lnTo>
                    <a:close/>
                    <a:moveTo>
                      <a:pt x="590" y="96"/>
                    </a:moveTo>
                    <a:lnTo>
                      <a:pt x="590" y="96"/>
                    </a:lnTo>
                    <a:lnTo>
                      <a:pt x="596" y="94"/>
                    </a:lnTo>
                    <a:lnTo>
                      <a:pt x="598" y="92"/>
                    </a:lnTo>
                    <a:lnTo>
                      <a:pt x="598" y="90"/>
                    </a:lnTo>
                    <a:lnTo>
                      <a:pt x="596" y="88"/>
                    </a:lnTo>
                    <a:lnTo>
                      <a:pt x="592" y="86"/>
                    </a:lnTo>
                    <a:lnTo>
                      <a:pt x="584" y="86"/>
                    </a:lnTo>
                    <a:lnTo>
                      <a:pt x="574" y="88"/>
                    </a:lnTo>
                    <a:lnTo>
                      <a:pt x="574" y="88"/>
                    </a:lnTo>
                    <a:lnTo>
                      <a:pt x="562" y="90"/>
                    </a:lnTo>
                    <a:lnTo>
                      <a:pt x="556" y="92"/>
                    </a:lnTo>
                    <a:lnTo>
                      <a:pt x="556" y="92"/>
                    </a:lnTo>
                    <a:lnTo>
                      <a:pt x="556" y="94"/>
                    </a:lnTo>
                    <a:lnTo>
                      <a:pt x="560" y="96"/>
                    </a:lnTo>
                    <a:lnTo>
                      <a:pt x="576" y="96"/>
                    </a:lnTo>
                    <a:lnTo>
                      <a:pt x="590" y="96"/>
                    </a:lnTo>
                    <a:lnTo>
                      <a:pt x="590" y="96"/>
                    </a:lnTo>
                    <a:close/>
                    <a:moveTo>
                      <a:pt x="554" y="70"/>
                    </a:moveTo>
                    <a:lnTo>
                      <a:pt x="554" y="70"/>
                    </a:lnTo>
                    <a:lnTo>
                      <a:pt x="554" y="72"/>
                    </a:lnTo>
                    <a:lnTo>
                      <a:pt x="554" y="74"/>
                    </a:lnTo>
                    <a:lnTo>
                      <a:pt x="562" y="78"/>
                    </a:lnTo>
                    <a:lnTo>
                      <a:pt x="572" y="80"/>
                    </a:lnTo>
                    <a:lnTo>
                      <a:pt x="582" y="80"/>
                    </a:lnTo>
                    <a:lnTo>
                      <a:pt x="582" y="80"/>
                    </a:lnTo>
                    <a:lnTo>
                      <a:pt x="584" y="78"/>
                    </a:lnTo>
                    <a:lnTo>
                      <a:pt x="584" y="76"/>
                    </a:lnTo>
                    <a:lnTo>
                      <a:pt x="576" y="72"/>
                    </a:lnTo>
                    <a:lnTo>
                      <a:pt x="564" y="68"/>
                    </a:lnTo>
                    <a:lnTo>
                      <a:pt x="558" y="68"/>
                    </a:lnTo>
                    <a:lnTo>
                      <a:pt x="554" y="70"/>
                    </a:lnTo>
                    <a:lnTo>
                      <a:pt x="554" y="70"/>
                    </a:lnTo>
                    <a:close/>
                    <a:moveTo>
                      <a:pt x="1962" y="108"/>
                    </a:moveTo>
                    <a:lnTo>
                      <a:pt x="1962" y="108"/>
                    </a:lnTo>
                    <a:lnTo>
                      <a:pt x="1950" y="114"/>
                    </a:lnTo>
                    <a:lnTo>
                      <a:pt x="1938" y="120"/>
                    </a:lnTo>
                    <a:lnTo>
                      <a:pt x="1916" y="128"/>
                    </a:lnTo>
                    <a:lnTo>
                      <a:pt x="1908" y="132"/>
                    </a:lnTo>
                    <a:lnTo>
                      <a:pt x="1906" y="134"/>
                    </a:lnTo>
                    <a:lnTo>
                      <a:pt x="1908" y="136"/>
                    </a:lnTo>
                    <a:lnTo>
                      <a:pt x="1918" y="138"/>
                    </a:lnTo>
                    <a:lnTo>
                      <a:pt x="1918" y="138"/>
                    </a:lnTo>
                    <a:lnTo>
                      <a:pt x="1930" y="138"/>
                    </a:lnTo>
                    <a:lnTo>
                      <a:pt x="1938" y="142"/>
                    </a:lnTo>
                    <a:lnTo>
                      <a:pt x="1952" y="146"/>
                    </a:lnTo>
                    <a:lnTo>
                      <a:pt x="1968" y="154"/>
                    </a:lnTo>
                    <a:lnTo>
                      <a:pt x="1980" y="156"/>
                    </a:lnTo>
                    <a:lnTo>
                      <a:pt x="1994" y="158"/>
                    </a:lnTo>
                    <a:lnTo>
                      <a:pt x="1994" y="158"/>
                    </a:lnTo>
                    <a:lnTo>
                      <a:pt x="2010" y="158"/>
                    </a:lnTo>
                    <a:lnTo>
                      <a:pt x="2016" y="158"/>
                    </a:lnTo>
                    <a:lnTo>
                      <a:pt x="2020" y="156"/>
                    </a:lnTo>
                    <a:lnTo>
                      <a:pt x="2022" y="152"/>
                    </a:lnTo>
                    <a:lnTo>
                      <a:pt x="2024" y="150"/>
                    </a:lnTo>
                    <a:lnTo>
                      <a:pt x="2028" y="146"/>
                    </a:lnTo>
                    <a:lnTo>
                      <a:pt x="2040" y="142"/>
                    </a:lnTo>
                    <a:lnTo>
                      <a:pt x="2058" y="140"/>
                    </a:lnTo>
                    <a:lnTo>
                      <a:pt x="2058" y="140"/>
                    </a:lnTo>
                    <a:lnTo>
                      <a:pt x="2100" y="140"/>
                    </a:lnTo>
                    <a:lnTo>
                      <a:pt x="2130" y="140"/>
                    </a:lnTo>
                    <a:lnTo>
                      <a:pt x="2138" y="138"/>
                    </a:lnTo>
                    <a:lnTo>
                      <a:pt x="2142" y="136"/>
                    </a:lnTo>
                    <a:lnTo>
                      <a:pt x="2142" y="130"/>
                    </a:lnTo>
                    <a:lnTo>
                      <a:pt x="2136" y="122"/>
                    </a:lnTo>
                    <a:lnTo>
                      <a:pt x="2136" y="122"/>
                    </a:lnTo>
                    <a:lnTo>
                      <a:pt x="2132" y="114"/>
                    </a:lnTo>
                    <a:lnTo>
                      <a:pt x="2132" y="112"/>
                    </a:lnTo>
                    <a:lnTo>
                      <a:pt x="2134" y="110"/>
                    </a:lnTo>
                    <a:lnTo>
                      <a:pt x="2140" y="108"/>
                    </a:lnTo>
                    <a:lnTo>
                      <a:pt x="2146" y="106"/>
                    </a:lnTo>
                    <a:lnTo>
                      <a:pt x="2162" y="104"/>
                    </a:lnTo>
                    <a:lnTo>
                      <a:pt x="2164" y="102"/>
                    </a:lnTo>
                    <a:lnTo>
                      <a:pt x="2166" y="100"/>
                    </a:lnTo>
                    <a:lnTo>
                      <a:pt x="2164" y="96"/>
                    </a:lnTo>
                    <a:lnTo>
                      <a:pt x="2164" y="96"/>
                    </a:lnTo>
                    <a:lnTo>
                      <a:pt x="2160" y="92"/>
                    </a:lnTo>
                    <a:lnTo>
                      <a:pt x="2154" y="90"/>
                    </a:lnTo>
                    <a:lnTo>
                      <a:pt x="2142" y="88"/>
                    </a:lnTo>
                    <a:lnTo>
                      <a:pt x="2136" y="88"/>
                    </a:lnTo>
                    <a:lnTo>
                      <a:pt x="2128" y="86"/>
                    </a:lnTo>
                    <a:lnTo>
                      <a:pt x="2118" y="82"/>
                    </a:lnTo>
                    <a:lnTo>
                      <a:pt x="2110" y="74"/>
                    </a:lnTo>
                    <a:lnTo>
                      <a:pt x="2110" y="74"/>
                    </a:lnTo>
                    <a:lnTo>
                      <a:pt x="2090" y="60"/>
                    </a:lnTo>
                    <a:lnTo>
                      <a:pt x="2082" y="56"/>
                    </a:lnTo>
                    <a:lnTo>
                      <a:pt x="2076" y="52"/>
                    </a:lnTo>
                    <a:lnTo>
                      <a:pt x="2068" y="50"/>
                    </a:lnTo>
                    <a:lnTo>
                      <a:pt x="2060" y="50"/>
                    </a:lnTo>
                    <a:lnTo>
                      <a:pt x="2052" y="54"/>
                    </a:lnTo>
                    <a:lnTo>
                      <a:pt x="2044" y="58"/>
                    </a:lnTo>
                    <a:lnTo>
                      <a:pt x="2044" y="58"/>
                    </a:lnTo>
                    <a:lnTo>
                      <a:pt x="2034" y="62"/>
                    </a:lnTo>
                    <a:lnTo>
                      <a:pt x="2026" y="66"/>
                    </a:lnTo>
                    <a:lnTo>
                      <a:pt x="2008" y="68"/>
                    </a:lnTo>
                    <a:lnTo>
                      <a:pt x="1988" y="74"/>
                    </a:lnTo>
                    <a:lnTo>
                      <a:pt x="1978" y="78"/>
                    </a:lnTo>
                    <a:lnTo>
                      <a:pt x="1964" y="84"/>
                    </a:lnTo>
                    <a:lnTo>
                      <a:pt x="1964" y="84"/>
                    </a:lnTo>
                    <a:lnTo>
                      <a:pt x="1954" y="92"/>
                    </a:lnTo>
                    <a:lnTo>
                      <a:pt x="1952" y="94"/>
                    </a:lnTo>
                    <a:lnTo>
                      <a:pt x="1954" y="96"/>
                    </a:lnTo>
                    <a:lnTo>
                      <a:pt x="1960" y="98"/>
                    </a:lnTo>
                    <a:lnTo>
                      <a:pt x="1964" y="98"/>
                    </a:lnTo>
                    <a:lnTo>
                      <a:pt x="1968" y="98"/>
                    </a:lnTo>
                    <a:lnTo>
                      <a:pt x="1968" y="100"/>
                    </a:lnTo>
                    <a:lnTo>
                      <a:pt x="1968" y="102"/>
                    </a:lnTo>
                    <a:lnTo>
                      <a:pt x="1962" y="108"/>
                    </a:lnTo>
                    <a:lnTo>
                      <a:pt x="1962" y="108"/>
                    </a:lnTo>
                    <a:close/>
                    <a:moveTo>
                      <a:pt x="3810" y="584"/>
                    </a:moveTo>
                    <a:lnTo>
                      <a:pt x="3810" y="584"/>
                    </a:lnTo>
                    <a:lnTo>
                      <a:pt x="3826" y="588"/>
                    </a:lnTo>
                    <a:lnTo>
                      <a:pt x="3834" y="588"/>
                    </a:lnTo>
                    <a:lnTo>
                      <a:pt x="3840" y="584"/>
                    </a:lnTo>
                    <a:lnTo>
                      <a:pt x="3842" y="580"/>
                    </a:lnTo>
                    <a:lnTo>
                      <a:pt x="3842" y="574"/>
                    </a:lnTo>
                    <a:lnTo>
                      <a:pt x="3846" y="570"/>
                    </a:lnTo>
                    <a:lnTo>
                      <a:pt x="3852" y="568"/>
                    </a:lnTo>
                    <a:lnTo>
                      <a:pt x="3864" y="570"/>
                    </a:lnTo>
                    <a:lnTo>
                      <a:pt x="3864" y="570"/>
                    </a:lnTo>
                    <a:lnTo>
                      <a:pt x="3878" y="574"/>
                    </a:lnTo>
                    <a:lnTo>
                      <a:pt x="3890" y="572"/>
                    </a:lnTo>
                    <a:lnTo>
                      <a:pt x="3900" y="570"/>
                    </a:lnTo>
                    <a:lnTo>
                      <a:pt x="3910" y="566"/>
                    </a:lnTo>
                    <a:lnTo>
                      <a:pt x="3918" y="562"/>
                    </a:lnTo>
                    <a:lnTo>
                      <a:pt x="3926" y="560"/>
                    </a:lnTo>
                    <a:lnTo>
                      <a:pt x="3934" y="562"/>
                    </a:lnTo>
                    <a:lnTo>
                      <a:pt x="3942" y="566"/>
                    </a:lnTo>
                    <a:lnTo>
                      <a:pt x="3942" y="566"/>
                    </a:lnTo>
                    <a:lnTo>
                      <a:pt x="3952" y="570"/>
                    </a:lnTo>
                    <a:lnTo>
                      <a:pt x="3962" y="572"/>
                    </a:lnTo>
                    <a:lnTo>
                      <a:pt x="3974" y="572"/>
                    </a:lnTo>
                    <a:lnTo>
                      <a:pt x="3986" y="570"/>
                    </a:lnTo>
                    <a:lnTo>
                      <a:pt x="4014" y="562"/>
                    </a:lnTo>
                    <a:lnTo>
                      <a:pt x="4048" y="552"/>
                    </a:lnTo>
                    <a:lnTo>
                      <a:pt x="4048" y="552"/>
                    </a:lnTo>
                    <a:lnTo>
                      <a:pt x="4056" y="546"/>
                    </a:lnTo>
                    <a:lnTo>
                      <a:pt x="4060" y="542"/>
                    </a:lnTo>
                    <a:lnTo>
                      <a:pt x="4060" y="538"/>
                    </a:lnTo>
                    <a:lnTo>
                      <a:pt x="4056" y="534"/>
                    </a:lnTo>
                    <a:lnTo>
                      <a:pt x="4054" y="530"/>
                    </a:lnTo>
                    <a:lnTo>
                      <a:pt x="4054" y="528"/>
                    </a:lnTo>
                    <a:lnTo>
                      <a:pt x="4056" y="524"/>
                    </a:lnTo>
                    <a:lnTo>
                      <a:pt x="4066" y="524"/>
                    </a:lnTo>
                    <a:lnTo>
                      <a:pt x="4066" y="524"/>
                    </a:lnTo>
                    <a:lnTo>
                      <a:pt x="4070" y="522"/>
                    </a:lnTo>
                    <a:lnTo>
                      <a:pt x="4074" y="520"/>
                    </a:lnTo>
                    <a:lnTo>
                      <a:pt x="4076" y="518"/>
                    </a:lnTo>
                    <a:lnTo>
                      <a:pt x="4074" y="516"/>
                    </a:lnTo>
                    <a:lnTo>
                      <a:pt x="4068" y="512"/>
                    </a:lnTo>
                    <a:lnTo>
                      <a:pt x="4056" y="506"/>
                    </a:lnTo>
                    <a:lnTo>
                      <a:pt x="4042" y="500"/>
                    </a:lnTo>
                    <a:lnTo>
                      <a:pt x="4026" y="498"/>
                    </a:lnTo>
                    <a:lnTo>
                      <a:pt x="4010" y="496"/>
                    </a:lnTo>
                    <a:lnTo>
                      <a:pt x="3994" y="498"/>
                    </a:lnTo>
                    <a:lnTo>
                      <a:pt x="3994" y="498"/>
                    </a:lnTo>
                    <a:lnTo>
                      <a:pt x="3980" y="498"/>
                    </a:lnTo>
                    <a:lnTo>
                      <a:pt x="3968" y="496"/>
                    </a:lnTo>
                    <a:lnTo>
                      <a:pt x="3958" y="490"/>
                    </a:lnTo>
                    <a:lnTo>
                      <a:pt x="3948" y="484"/>
                    </a:lnTo>
                    <a:lnTo>
                      <a:pt x="3938" y="478"/>
                    </a:lnTo>
                    <a:lnTo>
                      <a:pt x="3928" y="472"/>
                    </a:lnTo>
                    <a:lnTo>
                      <a:pt x="3918" y="470"/>
                    </a:lnTo>
                    <a:lnTo>
                      <a:pt x="3912" y="472"/>
                    </a:lnTo>
                    <a:lnTo>
                      <a:pt x="3906" y="474"/>
                    </a:lnTo>
                    <a:lnTo>
                      <a:pt x="3906" y="474"/>
                    </a:lnTo>
                    <a:lnTo>
                      <a:pt x="3898" y="480"/>
                    </a:lnTo>
                    <a:lnTo>
                      <a:pt x="3894" y="486"/>
                    </a:lnTo>
                    <a:lnTo>
                      <a:pt x="3892" y="492"/>
                    </a:lnTo>
                    <a:lnTo>
                      <a:pt x="3894" y="498"/>
                    </a:lnTo>
                    <a:lnTo>
                      <a:pt x="3900" y="506"/>
                    </a:lnTo>
                    <a:lnTo>
                      <a:pt x="3900" y="510"/>
                    </a:lnTo>
                    <a:lnTo>
                      <a:pt x="3896" y="512"/>
                    </a:lnTo>
                    <a:lnTo>
                      <a:pt x="3896" y="512"/>
                    </a:lnTo>
                    <a:lnTo>
                      <a:pt x="3890" y="512"/>
                    </a:lnTo>
                    <a:lnTo>
                      <a:pt x="3882" y="508"/>
                    </a:lnTo>
                    <a:lnTo>
                      <a:pt x="3862" y="498"/>
                    </a:lnTo>
                    <a:lnTo>
                      <a:pt x="3842" y="484"/>
                    </a:lnTo>
                    <a:lnTo>
                      <a:pt x="3822" y="472"/>
                    </a:lnTo>
                    <a:lnTo>
                      <a:pt x="3822" y="472"/>
                    </a:lnTo>
                    <a:lnTo>
                      <a:pt x="3814" y="468"/>
                    </a:lnTo>
                    <a:lnTo>
                      <a:pt x="3808" y="468"/>
                    </a:lnTo>
                    <a:lnTo>
                      <a:pt x="3800" y="466"/>
                    </a:lnTo>
                    <a:lnTo>
                      <a:pt x="3794" y="468"/>
                    </a:lnTo>
                    <a:lnTo>
                      <a:pt x="3778" y="476"/>
                    </a:lnTo>
                    <a:lnTo>
                      <a:pt x="3758" y="488"/>
                    </a:lnTo>
                    <a:lnTo>
                      <a:pt x="3758" y="488"/>
                    </a:lnTo>
                    <a:lnTo>
                      <a:pt x="3748" y="496"/>
                    </a:lnTo>
                    <a:lnTo>
                      <a:pt x="3746" y="502"/>
                    </a:lnTo>
                    <a:lnTo>
                      <a:pt x="3746" y="508"/>
                    </a:lnTo>
                    <a:lnTo>
                      <a:pt x="3748" y="514"/>
                    </a:lnTo>
                    <a:lnTo>
                      <a:pt x="3752" y="524"/>
                    </a:lnTo>
                    <a:lnTo>
                      <a:pt x="3752" y="530"/>
                    </a:lnTo>
                    <a:lnTo>
                      <a:pt x="3746" y="532"/>
                    </a:lnTo>
                    <a:lnTo>
                      <a:pt x="3746" y="532"/>
                    </a:lnTo>
                    <a:lnTo>
                      <a:pt x="3742" y="536"/>
                    </a:lnTo>
                    <a:lnTo>
                      <a:pt x="3742" y="542"/>
                    </a:lnTo>
                    <a:lnTo>
                      <a:pt x="3744" y="548"/>
                    </a:lnTo>
                    <a:lnTo>
                      <a:pt x="3752" y="554"/>
                    </a:lnTo>
                    <a:lnTo>
                      <a:pt x="3762" y="560"/>
                    </a:lnTo>
                    <a:lnTo>
                      <a:pt x="3776" y="568"/>
                    </a:lnTo>
                    <a:lnTo>
                      <a:pt x="3810" y="584"/>
                    </a:lnTo>
                    <a:lnTo>
                      <a:pt x="3810" y="584"/>
                    </a:lnTo>
                    <a:close/>
                    <a:moveTo>
                      <a:pt x="4172" y="572"/>
                    </a:moveTo>
                    <a:lnTo>
                      <a:pt x="4172" y="572"/>
                    </a:lnTo>
                    <a:lnTo>
                      <a:pt x="4198" y="578"/>
                    </a:lnTo>
                    <a:lnTo>
                      <a:pt x="4218" y="578"/>
                    </a:lnTo>
                    <a:lnTo>
                      <a:pt x="4262" y="576"/>
                    </a:lnTo>
                    <a:lnTo>
                      <a:pt x="4262" y="576"/>
                    </a:lnTo>
                    <a:lnTo>
                      <a:pt x="4276" y="574"/>
                    </a:lnTo>
                    <a:lnTo>
                      <a:pt x="4288" y="570"/>
                    </a:lnTo>
                    <a:lnTo>
                      <a:pt x="4294" y="566"/>
                    </a:lnTo>
                    <a:lnTo>
                      <a:pt x="4300" y="560"/>
                    </a:lnTo>
                    <a:lnTo>
                      <a:pt x="4300" y="556"/>
                    </a:lnTo>
                    <a:lnTo>
                      <a:pt x="4300" y="552"/>
                    </a:lnTo>
                    <a:lnTo>
                      <a:pt x="4296" y="550"/>
                    </a:lnTo>
                    <a:lnTo>
                      <a:pt x="4288" y="550"/>
                    </a:lnTo>
                    <a:lnTo>
                      <a:pt x="4288" y="550"/>
                    </a:lnTo>
                    <a:lnTo>
                      <a:pt x="4280" y="550"/>
                    </a:lnTo>
                    <a:lnTo>
                      <a:pt x="4274" y="548"/>
                    </a:lnTo>
                    <a:lnTo>
                      <a:pt x="4266" y="540"/>
                    </a:lnTo>
                    <a:lnTo>
                      <a:pt x="4260" y="536"/>
                    </a:lnTo>
                    <a:lnTo>
                      <a:pt x="4252" y="534"/>
                    </a:lnTo>
                    <a:lnTo>
                      <a:pt x="4244" y="536"/>
                    </a:lnTo>
                    <a:lnTo>
                      <a:pt x="4230" y="540"/>
                    </a:lnTo>
                    <a:lnTo>
                      <a:pt x="4230" y="540"/>
                    </a:lnTo>
                    <a:lnTo>
                      <a:pt x="4220" y="542"/>
                    </a:lnTo>
                    <a:lnTo>
                      <a:pt x="4214" y="542"/>
                    </a:lnTo>
                    <a:lnTo>
                      <a:pt x="4212" y="540"/>
                    </a:lnTo>
                    <a:lnTo>
                      <a:pt x="4212" y="536"/>
                    </a:lnTo>
                    <a:lnTo>
                      <a:pt x="4210" y="532"/>
                    </a:lnTo>
                    <a:lnTo>
                      <a:pt x="4204" y="528"/>
                    </a:lnTo>
                    <a:lnTo>
                      <a:pt x="4194" y="526"/>
                    </a:lnTo>
                    <a:lnTo>
                      <a:pt x="4174" y="528"/>
                    </a:lnTo>
                    <a:lnTo>
                      <a:pt x="4174" y="528"/>
                    </a:lnTo>
                    <a:lnTo>
                      <a:pt x="4154" y="528"/>
                    </a:lnTo>
                    <a:lnTo>
                      <a:pt x="4142" y="526"/>
                    </a:lnTo>
                    <a:lnTo>
                      <a:pt x="4132" y="524"/>
                    </a:lnTo>
                    <a:lnTo>
                      <a:pt x="4126" y="520"/>
                    </a:lnTo>
                    <a:lnTo>
                      <a:pt x="4122" y="514"/>
                    </a:lnTo>
                    <a:lnTo>
                      <a:pt x="4122" y="516"/>
                    </a:lnTo>
                    <a:lnTo>
                      <a:pt x="4118" y="518"/>
                    </a:lnTo>
                    <a:lnTo>
                      <a:pt x="4118" y="518"/>
                    </a:lnTo>
                    <a:lnTo>
                      <a:pt x="4112" y="530"/>
                    </a:lnTo>
                    <a:lnTo>
                      <a:pt x="4108" y="536"/>
                    </a:lnTo>
                    <a:lnTo>
                      <a:pt x="4110" y="542"/>
                    </a:lnTo>
                    <a:lnTo>
                      <a:pt x="4114" y="550"/>
                    </a:lnTo>
                    <a:lnTo>
                      <a:pt x="4126" y="556"/>
                    </a:lnTo>
                    <a:lnTo>
                      <a:pt x="4144" y="564"/>
                    </a:lnTo>
                    <a:lnTo>
                      <a:pt x="4172" y="572"/>
                    </a:lnTo>
                    <a:lnTo>
                      <a:pt x="4172" y="572"/>
                    </a:lnTo>
                    <a:close/>
                    <a:moveTo>
                      <a:pt x="5478" y="870"/>
                    </a:moveTo>
                    <a:lnTo>
                      <a:pt x="5478" y="866"/>
                    </a:lnTo>
                    <a:lnTo>
                      <a:pt x="5478" y="866"/>
                    </a:lnTo>
                    <a:lnTo>
                      <a:pt x="5548" y="856"/>
                    </a:lnTo>
                    <a:lnTo>
                      <a:pt x="5548" y="856"/>
                    </a:lnTo>
                    <a:lnTo>
                      <a:pt x="5558" y="854"/>
                    </a:lnTo>
                    <a:lnTo>
                      <a:pt x="5564" y="852"/>
                    </a:lnTo>
                    <a:lnTo>
                      <a:pt x="5570" y="848"/>
                    </a:lnTo>
                    <a:lnTo>
                      <a:pt x="5572" y="846"/>
                    </a:lnTo>
                    <a:lnTo>
                      <a:pt x="5570" y="842"/>
                    </a:lnTo>
                    <a:lnTo>
                      <a:pt x="5568" y="838"/>
                    </a:lnTo>
                    <a:lnTo>
                      <a:pt x="5560" y="832"/>
                    </a:lnTo>
                    <a:lnTo>
                      <a:pt x="5546" y="826"/>
                    </a:lnTo>
                    <a:lnTo>
                      <a:pt x="5530" y="820"/>
                    </a:lnTo>
                    <a:lnTo>
                      <a:pt x="5512" y="818"/>
                    </a:lnTo>
                    <a:lnTo>
                      <a:pt x="5494" y="818"/>
                    </a:lnTo>
                    <a:lnTo>
                      <a:pt x="5494" y="818"/>
                    </a:lnTo>
                    <a:lnTo>
                      <a:pt x="5478" y="820"/>
                    </a:lnTo>
                    <a:lnTo>
                      <a:pt x="5478" y="818"/>
                    </a:lnTo>
                    <a:lnTo>
                      <a:pt x="5478" y="818"/>
                    </a:lnTo>
                    <a:lnTo>
                      <a:pt x="5454" y="826"/>
                    </a:lnTo>
                    <a:lnTo>
                      <a:pt x="5444" y="832"/>
                    </a:lnTo>
                    <a:lnTo>
                      <a:pt x="5434" y="838"/>
                    </a:lnTo>
                    <a:lnTo>
                      <a:pt x="5428" y="844"/>
                    </a:lnTo>
                    <a:lnTo>
                      <a:pt x="5422" y="850"/>
                    </a:lnTo>
                    <a:lnTo>
                      <a:pt x="5418" y="856"/>
                    </a:lnTo>
                    <a:lnTo>
                      <a:pt x="5418" y="864"/>
                    </a:lnTo>
                    <a:lnTo>
                      <a:pt x="5418" y="864"/>
                    </a:lnTo>
                    <a:lnTo>
                      <a:pt x="5418" y="868"/>
                    </a:lnTo>
                    <a:lnTo>
                      <a:pt x="5422" y="872"/>
                    </a:lnTo>
                    <a:lnTo>
                      <a:pt x="5426" y="874"/>
                    </a:lnTo>
                    <a:lnTo>
                      <a:pt x="5434" y="874"/>
                    </a:lnTo>
                    <a:lnTo>
                      <a:pt x="5452" y="874"/>
                    </a:lnTo>
                    <a:lnTo>
                      <a:pt x="5478" y="870"/>
                    </a:lnTo>
                    <a:lnTo>
                      <a:pt x="5478" y="870"/>
                    </a:lnTo>
                    <a:close/>
                    <a:moveTo>
                      <a:pt x="2060" y="404"/>
                    </a:moveTo>
                    <a:lnTo>
                      <a:pt x="2060" y="404"/>
                    </a:lnTo>
                    <a:lnTo>
                      <a:pt x="2068" y="408"/>
                    </a:lnTo>
                    <a:lnTo>
                      <a:pt x="2078" y="408"/>
                    </a:lnTo>
                    <a:lnTo>
                      <a:pt x="2088" y="406"/>
                    </a:lnTo>
                    <a:lnTo>
                      <a:pt x="2096" y="404"/>
                    </a:lnTo>
                    <a:lnTo>
                      <a:pt x="2104" y="400"/>
                    </a:lnTo>
                    <a:lnTo>
                      <a:pt x="2108" y="396"/>
                    </a:lnTo>
                    <a:lnTo>
                      <a:pt x="2112" y="392"/>
                    </a:lnTo>
                    <a:lnTo>
                      <a:pt x="2112" y="388"/>
                    </a:lnTo>
                    <a:lnTo>
                      <a:pt x="2112" y="388"/>
                    </a:lnTo>
                    <a:lnTo>
                      <a:pt x="2106" y="386"/>
                    </a:lnTo>
                    <a:lnTo>
                      <a:pt x="2100" y="386"/>
                    </a:lnTo>
                    <a:lnTo>
                      <a:pt x="2080" y="392"/>
                    </a:lnTo>
                    <a:lnTo>
                      <a:pt x="2064" y="398"/>
                    </a:lnTo>
                    <a:lnTo>
                      <a:pt x="2060" y="402"/>
                    </a:lnTo>
                    <a:lnTo>
                      <a:pt x="2058" y="404"/>
                    </a:lnTo>
                    <a:lnTo>
                      <a:pt x="2060" y="404"/>
                    </a:lnTo>
                    <a:lnTo>
                      <a:pt x="2060" y="404"/>
                    </a:lnTo>
                    <a:close/>
                    <a:moveTo>
                      <a:pt x="3868" y="678"/>
                    </a:moveTo>
                    <a:lnTo>
                      <a:pt x="3868" y="678"/>
                    </a:lnTo>
                    <a:lnTo>
                      <a:pt x="3858" y="686"/>
                    </a:lnTo>
                    <a:lnTo>
                      <a:pt x="3856" y="688"/>
                    </a:lnTo>
                    <a:lnTo>
                      <a:pt x="3858" y="690"/>
                    </a:lnTo>
                    <a:lnTo>
                      <a:pt x="3866" y="690"/>
                    </a:lnTo>
                    <a:lnTo>
                      <a:pt x="3896" y="688"/>
                    </a:lnTo>
                    <a:lnTo>
                      <a:pt x="3916" y="688"/>
                    </a:lnTo>
                    <a:lnTo>
                      <a:pt x="3940" y="692"/>
                    </a:lnTo>
                    <a:lnTo>
                      <a:pt x="3940" y="692"/>
                    </a:lnTo>
                    <a:lnTo>
                      <a:pt x="3970" y="696"/>
                    </a:lnTo>
                    <a:lnTo>
                      <a:pt x="3990" y="696"/>
                    </a:lnTo>
                    <a:lnTo>
                      <a:pt x="4004" y="694"/>
                    </a:lnTo>
                    <a:lnTo>
                      <a:pt x="4006" y="692"/>
                    </a:lnTo>
                    <a:lnTo>
                      <a:pt x="4008" y="690"/>
                    </a:lnTo>
                    <a:lnTo>
                      <a:pt x="4008" y="686"/>
                    </a:lnTo>
                    <a:lnTo>
                      <a:pt x="4006" y="682"/>
                    </a:lnTo>
                    <a:lnTo>
                      <a:pt x="4000" y="674"/>
                    </a:lnTo>
                    <a:lnTo>
                      <a:pt x="3988" y="664"/>
                    </a:lnTo>
                    <a:lnTo>
                      <a:pt x="3972" y="654"/>
                    </a:lnTo>
                    <a:lnTo>
                      <a:pt x="3972" y="654"/>
                    </a:lnTo>
                    <a:lnTo>
                      <a:pt x="3956" y="648"/>
                    </a:lnTo>
                    <a:lnTo>
                      <a:pt x="3940" y="644"/>
                    </a:lnTo>
                    <a:lnTo>
                      <a:pt x="3928" y="646"/>
                    </a:lnTo>
                    <a:lnTo>
                      <a:pt x="3916" y="648"/>
                    </a:lnTo>
                    <a:lnTo>
                      <a:pt x="3904" y="654"/>
                    </a:lnTo>
                    <a:lnTo>
                      <a:pt x="3894" y="662"/>
                    </a:lnTo>
                    <a:lnTo>
                      <a:pt x="3868" y="678"/>
                    </a:lnTo>
                    <a:lnTo>
                      <a:pt x="3868" y="678"/>
                    </a:lnTo>
                    <a:close/>
                    <a:moveTo>
                      <a:pt x="5044" y="956"/>
                    </a:moveTo>
                    <a:lnTo>
                      <a:pt x="5044" y="956"/>
                    </a:lnTo>
                    <a:lnTo>
                      <a:pt x="5046" y="954"/>
                    </a:lnTo>
                    <a:lnTo>
                      <a:pt x="5046" y="950"/>
                    </a:lnTo>
                    <a:lnTo>
                      <a:pt x="5044" y="948"/>
                    </a:lnTo>
                    <a:lnTo>
                      <a:pt x="5042" y="946"/>
                    </a:lnTo>
                    <a:lnTo>
                      <a:pt x="5034" y="942"/>
                    </a:lnTo>
                    <a:lnTo>
                      <a:pt x="5024" y="940"/>
                    </a:lnTo>
                    <a:lnTo>
                      <a:pt x="5012" y="938"/>
                    </a:lnTo>
                    <a:lnTo>
                      <a:pt x="5000" y="938"/>
                    </a:lnTo>
                    <a:lnTo>
                      <a:pt x="4990" y="938"/>
                    </a:lnTo>
                    <a:lnTo>
                      <a:pt x="4984" y="942"/>
                    </a:lnTo>
                    <a:lnTo>
                      <a:pt x="4984" y="942"/>
                    </a:lnTo>
                    <a:lnTo>
                      <a:pt x="4982" y="944"/>
                    </a:lnTo>
                    <a:lnTo>
                      <a:pt x="4982" y="946"/>
                    </a:lnTo>
                    <a:lnTo>
                      <a:pt x="4986" y="950"/>
                    </a:lnTo>
                    <a:lnTo>
                      <a:pt x="4992" y="954"/>
                    </a:lnTo>
                    <a:lnTo>
                      <a:pt x="5002" y="958"/>
                    </a:lnTo>
                    <a:lnTo>
                      <a:pt x="5014" y="960"/>
                    </a:lnTo>
                    <a:lnTo>
                      <a:pt x="5024" y="962"/>
                    </a:lnTo>
                    <a:lnTo>
                      <a:pt x="5034" y="960"/>
                    </a:lnTo>
                    <a:lnTo>
                      <a:pt x="5044" y="956"/>
                    </a:lnTo>
                    <a:lnTo>
                      <a:pt x="5044" y="956"/>
                    </a:lnTo>
                    <a:close/>
                    <a:moveTo>
                      <a:pt x="3698" y="530"/>
                    </a:moveTo>
                    <a:lnTo>
                      <a:pt x="3698" y="530"/>
                    </a:lnTo>
                    <a:lnTo>
                      <a:pt x="3704" y="524"/>
                    </a:lnTo>
                    <a:lnTo>
                      <a:pt x="3706" y="518"/>
                    </a:lnTo>
                    <a:lnTo>
                      <a:pt x="3704" y="508"/>
                    </a:lnTo>
                    <a:lnTo>
                      <a:pt x="3696" y="498"/>
                    </a:lnTo>
                    <a:lnTo>
                      <a:pt x="3696" y="498"/>
                    </a:lnTo>
                    <a:lnTo>
                      <a:pt x="3694" y="496"/>
                    </a:lnTo>
                    <a:lnTo>
                      <a:pt x="3692" y="496"/>
                    </a:lnTo>
                    <a:lnTo>
                      <a:pt x="3688" y="500"/>
                    </a:lnTo>
                    <a:lnTo>
                      <a:pt x="3684" y="506"/>
                    </a:lnTo>
                    <a:lnTo>
                      <a:pt x="3682" y="514"/>
                    </a:lnTo>
                    <a:lnTo>
                      <a:pt x="3680" y="524"/>
                    </a:lnTo>
                    <a:lnTo>
                      <a:pt x="3684" y="530"/>
                    </a:lnTo>
                    <a:lnTo>
                      <a:pt x="3686" y="532"/>
                    </a:lnTo>
                    <a:lnTo>
                      <a:pt x="3688" y="532"/>
                    </a:lnTo>
                    <a:lnTo>
                      <a:pt x="3692" y="532"/>
                    </a:lnTo>
                    <a:lnTo>
                      <a:pt x="3698" y="530"/>
                    </a:lnTo>
                    <a:lnTo>
                      <a:pt x="3698" y="530"/>
                    </a:lnTo>
                    <a:close/>
                    <a:moveTo>
                      <a:pt x="2260" y="322"/>
                    </a:moveTo>
                    <a:lnTo>
                      <a:pt x="2260" y="322"/>
                    </a:lnTo>
                    <a:lnTo>
                      <a:pt x="2286" y="316"/>
                    </a:lnTo>
                    <a:lnTo>
                      <a:pt x="2314" y="310"/>
                    </a:lnTo>
                    <a:lnTo>
                      <a:pt x="2350" y="306"/>
                    </a:lnTo>
                    <a:lnTo>
                      <a:pt x="2398" y="304"/>
                    </a:lnTo>
                    <a:lnTo>
                      <a:pt x="2398" y="304"/>
                    </a:lnTo>
                    <a:lnTo>
                      <a:pt x="2424" y="302"/>
                    </a:lnTo>
                    <a:lnTo>
                      <a:pt x="2442" y="298"/>
                    </a:lnTo>
                    <a:lnTo>
                      <a:pt x="2456" y="294"/>
                    </a:lnTo>
                    <a:lnTo>
                      <a:pt x="2464" y="288"/>
                    </a:lnTo>
                    <a:lnTo>
                      <a:pt x="2466" y="284"/>
                    </a:lnTo>
                    <a:lnTo>
                      <a:pt x="2466" y="282"/>
                    </a:lnTo>
                    <a:lnTo>
                      <a:pt x="2462" y="274"/>
                    </a:lnTo>
                    <a:lnTo>
                      <a:pt x="2456" y="266"/>
                    </a:lnTo>
                    <a:lnTo>
                      <a:pt x="2442" y="256"/>
                    </a:lnTo>
                    <a:lnTo>
                      <a:pt x="2442" y="256"/>
                    </a:lnTo>
                    <a:lnTo>
                      <a:pt x="2420" y="240"/>
                    </a:lnTo>
                    <a:lnTo>
                      <a:pt x="2412" y="234"/>
                    </a:lnTo>
                    <a:lnTo>
                      <a:pt x="2406" y="232"/>
                    </a:lnTo>
                    <a:lnTo>
                      <a:pt x="2398" y="232"/>
                    </a:lnTo>
                    <a:lnTo>
                      <a:pt x="2388" y="236"/>
                    </a:lnTo>
                    <a:lnTo>
                      <a:pt x="2376" y="242"/>
                    </a:lnTo>
                    <a:lnTo>
                      <a:pt x="2360" y="254"/>
                    </a:lnTo>
                    <a:lnTo>
                      <a:pt x="2360" y="254"/>
                    </a:lnTo>
                    <a:lnTo>
                      <a:pt x="2346" y="262"/>
                    </a:lnTo>
                    <a:lnTo>
                      <a:pt x="2344" y="264"/>
                    </a:lnTo>
                    <a:lnTo>
                      <a:pt x="2344" y="262"/>
                    </a:lnTo>
                    <a:lnTo>
                      <a:pt x="2356" y="248"/>
                    </a:lnTo>
                    <a:lnTo>
                      <a:pt x="2364" y="238"/>
                    </a:lnTo>
                    <a:lnTo>
                      <a:pt x="2372" y="226"/>
                    </a:lnTo>
                    <a:lnTo>
                      <a:pt x="2376" y="218"/>
                    </a:lnTo>
                    <a:lnTo>
                      <a:pt x="2374" y="214"/>
                    </a:lnTo>
                    <a:lnTo>
                      <a:pt x="2372" y="212"/>
                    </a:lnTo>
                    <a:lnTo>
                      <a:pt x="2372" y="212"/>
                    </a:lnTo>
                    <a:lnTo>
                      <a:pt x="2354" y="208"/>
                    </a:lnTo>
                    <a:lnTo>
                      <a:pt x="2344" y="206"/>
                    </a:lnTo>
                    <a:lnTo>
                      <a:pt x="2336" y="206"/>
                    </a:lnTo>
                    <a:lnTo>
                      <a:pt x="2326" y="208"/>
                    </a:lnTo>
                    <a:lnTo>
                      <a:pt x="2316" y="212"/>
                    </a:lnTo>
                    <a:lnTo>
                      <a:pt x="2306" y="222"/>
                    </a:lnTo>
                    <a:lnTo>
                      <a:pt x="2294" y="236"/>
                    </a:lnTo>
                    <a:lnTo>
                      <a:pt x="2294" y="236"/>
                    </a:lnTo>
                    <a:lnTo>
                      <a:pt x="2286" y="248"/>
                    </a:lnTo>
                    <a:lnTo>
                      <a:pt x="2278" y="256"/>
                    </a:lnTo>
                    <a:lnTo>
                      <a:pt x="2266" y="264"/>
                    </a:lnTo>
                    <a:lnTo>
                      <a:pt x="2260" y="270"/>
                    </a:lnTo>
                    <a:lnTo>
                      <a:pt x="2252" y="278"/>
                    </a:lnTo>
                    <a:lnTo>
                      <a:pt x="2242" y="292"/>
                    </a:lnTo>
                    <a:lnTo>
                      <a:pt x="2230" y="314"/>
                    </a:lnTo>
                    <a:lnTo>
                      <a:pt x="2230" y="314"/>
                    </a:lnTo>
                    <a:lnTo>
                      <a:pt x="2226" y="324"/>
                    </a:lnTo>
                    <a:lnTo>
                      <a:pt x="2226" y="328"/>
                    </a:lnTo>
                    <a:lnTo>
                      <a:pt x="2228" y="330"/>
                    </a:lnTo>
                    <a:lnTo>
                      <a:pt x="2238" y="328"/>
                    </a:lnTo>
                    <a:lnTo>
                      <a:pt x="2260" y="322"/>
                    </a:lnTo>
                    <a:lnTo>
                      <a:pt x="2260" y="322"/>
                    </a:lnTo>
                    <a:close/>
                    <a:moveTo>
                      <a:pt x="2156" y="150"/>
                    </a:moveTo>
                    <a:lnTo>
                      <a:pt x="2156" y="150"/>
                    </a:lnTo>
                    <a:lnTo>
                      <a:pt x="2132" y="150"/>
                    </a:lnTo>
                    <a:lnTo>
                      <a:pt x="2100" y="148"/>
                    </a:lnTo>
                    <a:lnTo>
                      <a:pt x="2084" y="150"/>
                    </a:lnTo>
                    <a:lnTo>
                      <a:pt x="2068" y="152"/>
                    </a:lnTo>
                    <a:lnTo>
                      <a:pt x="2054" y="156"/>
                    </a:lnTo>
                    <a:lnTo>
                      <a:pt x="2042" y="162"/>
                    </a:lnTo>
                    <a:lnTo>
                      <a:pt x="2042" y="162"/>
                    </a:lnTo>
                    <a:lnTo>
                      <a:pt x="2016" y="178"/>
                    </a:lnTo>
                    <a:lnTo>
                      <a:pt x="1988" y="192"/>
                    </a:lnTo>
                    <a:lnTo>
                      <a:pt x="1980" y="198"/>
                    </a:lnTo>
                    <a:lnTo>
                      <a:pt x="1978" y="200"/>
                    </a:lnTo>
                    <a:lnTo>
                      <a:pt x="1978" y="202"/>
                    </a:lnTo>
                    <a:lnTo>
                      <a:pt x="1980" y="204"/>
                    </a:lnTo>
                    <a:lnTo>
                      <a:pt x="1982" y="204"/>
                    </a:lnTo>
                    <a:lnTo>
                      <a:pt x="1996" y="206"/>
                    </a:lnTo>
                    <a:lnTo>
                      <a:pt x="1996" y="206"/>
                    </a:lnTo>
                    <a:lnTo>
                      <a:pt x="2012" y="206"/>
                    </a:lnTo>
                    <a:lnTo>
                      <a:pt x="2020" y="208"/>
                    </a:lnTo>
                    <a:lnTo>
                      <a:pt x="2024" y="210"/>
                    </a:lnTo>
                    <a:lnTo>
                      <a:pt x="2024" y="214"/>
                    </a:lnTo>
                    <a:lnTo>
                      <a:pt x="2024" y="218"/>
                    </a:lnTo>
                    <a:lnTo>
                      <a:pt x="2026" y="224"/>
                    </a:lnTo>
                    <a:lnTo>
                      <a:pt x="2030" y="230"/>
                    </a:lnTo>
                    <a:lnTo>
                      <a:pt x="2038" y="234"/>
                    </a:lnTo>
                    <a:lnTo>
                      <a:pt x="2038" y="234"/>
                    </a:lnTo>
                    <a:lnTo>
                      <a:pt x="2046" y="238"/>
                    </a:lnTo>
                    <a:lnTo>
                      <a:pt x="2054" y="238"/>
                    </a:lnTo>
                    <a:lnTo>
                      <a:pt x="2074" y="240"/>
                    </a:lnTo>
                    <a:lnTo>
                      <a:pt x="2100" y="244"/>
                    </a:lnTo>
                    <a:lnTo>
                      <a:pt x="2118" y="246"/>
                    </a:lnTo>
                    <a:lnTo>
                      <a:pt x="2138" y="252"/>
                    </a:lnTo>
                    <a:lnTo>
                      <a:pt x="2138" y="252"/>
                    </a:lnTo>
                    <a:lnTo>
                      <a:pt x="2158" y="258"/>
                    </a:lnTo>
                    <a:lnTo>
                      <a:pt x="2180" y="260"/>
                    </a:lnTo>
                    <a:lnTo>
                      <a:pt x="2200" y="260"/>
                    </a:lnTo>
                    <a:lnTo>
                      <a:pt x="2218" y="258"/>
                    </a:lnTo>
                    <a:lnTo>
                      <a:pt x="2232" y="252"/>
                    </a:lnTo>
                    <a:lnTo>
                      <a:pt x="2240" y="248"/>
                    </a:lnTo>
                    <a:lnTo>
                      <a:pt x="2244" y="244"/>
                    </a:lnTo>
                    <a:lnTo>
                      <a:pt x="2244" y="240"/>
                    </a:lnTo>
                    <a:lnTo>
                      <a:pt x="2242" y="238"/>
                    </a:lnTo>
                    <a:lnTo>
                      <a:pt x="2240" y="234"/>
                    </a:lnTo>
                    <a:lnTo>
                      <a:pt x="2240" y="234"/>
                    </a:lnTo>
                    <a:lnTo>
                      <a:pt x="2236" y="232"/>
                    </a:lnTo>
                    <a:lnTo>
                      <a:pt x="2236" y="228"/>
                    </a:lnTo>
                    <a:lnTo>
                      <a:pt x="2236" y="220"/>
                    </a:lnTo>
                    <a:lnTo>
                      <a:pt x="2238" y="210"/>
                    </a:lnTo>
                    <a:lnTo>
                      <a:pt x="2244" y="202"/>
                    </a:lnTo>
                    <a:lnTo>
                      <a:pt x="2248" y="192"/>
                    </a:lnTo>
                    <a:lnTo>
                      <a:pt x="2252" y="184"/>
                    </a:lnTo>
                    <a:lnTo>
                      <a:pt x="2252" y="180"/>
                    </a:lnTo>
                    <a:lnTo>
                      <a:pt x="2252" y="176"/>
                    </a:lnTo>
                    <a:lnTo>
                      <a:pt x="2250" y="174"/>
                    </a:lnTo>
                    <a:lnTo>
                      <a:pt x="2246" y="172"/>
                    </a:lnTo>
                    <a:lnTo>
                      <a:pt x="2246" y="172"/>
                    </a:lnTo>
                    <a:lnTo>
                      <a:pt x="2238" y="166"/>
                    </a:lnTo>
                    <a:lnTo>
                      <a:pt x="2234" y="162"/>
                    </a:lnTo>
                    <a:lnTo>
                      <a:pt x="2230" y="160"/>
                    </a:lnTo>
                    <a:lnTo>
                      <a:pt x="2226" y="156"/>
                    </a:lnTo>
                    <a:lnTo>
                      <a:pt x="2220" y="156"/>
                    </a:lnTo>
                    <a:lnTo>
                      <a:pt x="2212" y="156"/>
                    </a:lnTo>
                    <a:lnTo>
                      <a:pt x="2184" y="164"/>
                    </a:lnTo>
                    <a:lnTo>
                      <a:pt x="2184" y="164"/>
                    </a:lnTo>
                    <a:lnTo>
                      <a:pt x="2170" y="170"/>
                    </a:lnTo>
                    <a:lnTo>
                      <a:pt x="2162" y="170"/>
                    </a:lnTo>
                    <a:lnTo>
                      <a:pt x="2160" y="168"/>
                    </a:lnTo>
                    <a:lnTo>
                      <a:pt x="2160" y="168"/>
                    </a:lnTo>
                    <a:lnTo>
                      <a:pt x="2162" y="164"/>
                    </a:lnTo>
                    <a:lnTo>
                      <a:pt x="2164" y="158"/>
                    </a:lnTo>
                    <a:lnTo>
                      <a:pt x="2164" y="154"/>
                    </a:lnTo>
                    <a:lnTo>
                      <a:pt x="2164" y="150"/>
                    </a:lnTo>
                    <a:lnTo>
                      <a:pt x="2156" y="150"/>
                    </a:lnTo>
                    <a:lnTo>
                      <a:pt x="2156" y="150"/>
                    </a:lnTo>
                    <a:close/>
                    <a:moveTo>
                      <a:pt x="3192" y="724"/>
                    </a:moveTo>
                    <a:lnTo>
                      <a:pt x="3192" y="724"/>
                    </a:lnTo>
                    <a:lnTo>
                      <a:pt x="3218" y="728"/>
                    </a:lnTo>
                    <a:lnTo>
                      <a:pt x="3242" y="734"/>
                    </a:lnTo>
                    <a:lnTo>
                      <a:pt x="3268" y="744"/>
                    </a:lnTo>
                    <a:lnTo>
                      <a:pt x="3300" y="758"/>
                    </a:lnTo>
                    <a:lnTo>
                      <a:pt x="3300" y="758"/>
                    </a:lnTo>
                    <a:lnTo>
                      <a:pt x="3308" y="762"/>
                    </a:lnTo>
                    <a:lnTo>
                      <a:pt x="3314" y="764"/>
                    </a:lnTo>
                    <a:lnTo>
                      <a:pt x="3316" y="762"/>
                    </a:lnTo>
                    <a:lnTo>
                      <a:pt x="3316" y="760"/>
                    </a:lnTo>
                    <a:lnTo>
                      <a:pt x="3314" y="752"/>
                    </a:lnTo>
                    <a:lnTo>
                      <a:pt x="3316" y="748"/>
                    </a:lnTo>
                    <a:lnTo>
                      <a:pt x="3320" y="746"/>
                    </a:lnTo>
                    <a:lnTo>
                      <a:pt x="3320" y="746"/>
                    </a:lnTo>
                    <a:lnTo>
                      <a:pt x="3332" y="746"/>
                    </a:lnTo>
                    <a:lnTo>
                      <a:pt x="3338" y="746"/>
                    </a:lnTo>
                    <a:lnTo>
                      <a:pt x="3368" y="758"/>
                    </a:lnTo>
                    <a:lnTo>
                      <a:pt x="3368" y="758"/>
                    </a:lnTo>
                    <a:lnTo>
                      <a:pt x="3390" y="768"/>
                    </a:lnTo>
                    <a:lnTo>
                      <a:pt x="3412" y="778"/>
                    </a:lnTo>
                    <a:lnTo>
                      <a:pt x="3420" y="782"/>
                    </a:lnTo>
                    <a:lnTo>
                      <a:pt x="3428" y="782"/>
                    </a:lnTo>
                    <a:lnTo>
                      <a:pt x="3434" y="778"/>
                    </a:lnTo>
                    <a:lnTo>
                      <a:pt x="3440" y="772"/>
                    </a:lnTo>
                    <a:lnTo>
                      <a:pt x="3440" y="772"/>
                    </a:lnTo>
                    <a:lnTo>
                      <a:pt x="3440" y="766"/>
                    </a:lnTo>
                    <a:lnTo>
                      <a:pt x="3440" y="762"/>
                    </a:lnTo>
                    <a:lnTo>
                      <a:pt x="3436" y="756"/>
                    </a:lnTo>
                    <a:lnTo>
                      <a:pt x="3430" y="752"/>
                    </a:lnTo>
                    <a:lnTo>
                      <a:pt x="3422" y="748"/>
                    </a:lnTo>
                    <a:lnTo>
                      <a:pt x="3414" y="746"/>
                    </a:lnTo>
                    <a:lnTo>
                      <a:pt x="3412" y="744"/>
                    </a:lnTo>
                    <a:lnTo>
                      <a:pt x="3412" y="742"/>
                    </a:lnTo>
                    <a:lnTo>
                      <a:pt x="3414" y="742"/>
                    </a:lnTo>
                    <a:lnTo>
                      <a:pt x="3422" y="738"/>
                    </a:lnTo>
                    <a:lnTo>
                      <a:pt x="3422" y="738"/>
                    </a:lnTo>
                    <a:lnTo>
                      <a:pt x="3432" y="736"/>
                    </a:lnTo>
                    <a:lnTo>
                      <a:pt x="3432" y="734"/>
                    </a:lnTo>
                    <a:lnTo>
                      <a:pt x="3432" y="732"/>
                    </a:lnTo>
                    <a:lnTo>
                      <a:pt x="3426" y="730"/>
                    </a:lnTo>
                    <a:lnTo>
                      <a:pt x="3418" y="726"/>
                    </a:lnTo>
                    <a:lnTo>
                      <a:pt x="3410" y="724"/>
                    </a:lnTo>
                    <a:lnTo>
                      <a:pt x="3406" y="720"/>
                    </a:lnTo>
                    <a:lnTo>
                      <a:pt x="3406" y="718"/>
                    </a:lnTo>
                    <a:lnTo>
                      <a:pt x="3406" y="718"/>
                    </a:lnTo>
                    <a:lnTo>
                      <a:pt x="3416" y="714"/>
                    </a:lnTo>
                    <a:lnTo>
                      <a:pt x="3416" y="714"/>
                    </a:lnTo>
                    <a:lnTo>
                      <a:pt x="3428" y="710"/>
                    </a:lnTo>
                    <a:lnTo>
                      <a:pt x="3430" y="708"/>
                    </a:lnTo>
                    <a:lnTo>
                      <a:pt x="3430" y="706"/>
                    </a:lnTo>
                    <a:lnTo>
                      <a:pt x="3426" y="702"/>
                    </a:lnTo>
                    <a:lnTo>
                      <a:pt x="3418" y="696"/>
                    </a:lnTo>
                    <a:lnTo>
                      <a:pt x="3392" y="686"/>
                    </a:lnTo>
                    <a:lnTo>
                      <a:pt x="3364" y="676"/>
                    </a:lnTo>
                    <a:lnTo>
                      <a:pt x="3364" y="676"/>
                    </a:lnTo>
                    <a:lnTo>
                      <a:pt x="3352" y="674"/>
                    </a:lnTo>
                    <a:lnTo>
                      <a:pt x="3342" y="676"/>
                    </a:lnTo>
                    <a:lnTo>
                      <a:pt x="3336" y="678"/>
                    </a:lnTo>
                    <a:lnTo>
                      <a:pt x="3330" y="684"/>
                    </a:lnTo>
                    <a:lnTo>
                      <a:pt x="3326" y="688"/>
                    </a:lnTo>
                    <a:lnTo>
                      <a:pt x="3322" y="690"/>
                    </a:lnTo>
                    <a:lnTo>
                      <a:pt x="3320" y="688"/>
                    </a:lnTo>
                    <a:lnTo>
                      <a:pt x="3316" y="682"/>
                    </a:lnTo>
                    <a:lnTo>
                      <a:pt x="3316" y="682"/>
                    </a:lnTo>
                    <a:lnTo>
                      <a:pt x="3312" y="676"/>
                    </a:lnTo>
                    <a:lnTo>
                      <a:pt x="3306" y="672"/>
                    </a:lnTo>
                    <a:lnTo>
                      <a:pt x="3302" y="668"/>
                    </a:lnTo>
                    <a:lnTo>
                      <a:pt x="3294" y="668"/>
                    </a:lnTo>
                    <a:lnTo>
                      <a:pt x="3278" y="666"/>
                    </a:lnTo>
                    <a:lnTo>
                      <a:pt x="3270" y="664"/>
                    </a:lnTo>
                    <a:lnTo>
                      <a:pt x="3258" y="660"/>
                    </a:lnTo>
                    <a:lnTo>
                      <a:pt x="3258" y="660"/>
                    </a:lnTo>
                    <a:lnTo>
                      <a:pt x="3244" y="656"/>
                    </a:lnTo>
                    <a:lnTo>
                      <a:pt x="3230" y="654"/>
                    </a:lnTo>
                    <a:lnTo>
                      <a:pt x="3216" y="656"/>
                    </a:lnTo>
                    <a:lnTo>
                      <a:pt x="3204" y="660"/>
                    </a:lnTo>
                    <a:lnTo>
                      <a:pt x="3194" y="666"/>
                    </a:lnTo>
                    <a:lnTo>
                      <a:pt x="3186" y="674"/>
                    </a:lnTo>
                    <a:lnTo>
                      <a:pt x="3186" y="676"/>
                    </a:lnTo>
                    <a:lnTo>
                      <a:pt x="3186" y="680"/>
                    </a:lnTo>
                    <a:lnTo>
                      <a:pt x="3188" y="684"/>
                    </a:lnTo>
                    <a:lnTo>
                      <a:pt x="3190" y="688"/>
                    </a:lnTo>
                    <a:lnTo>
                      <a:pt x="3190" y="688"/>
                    </a:lnTo>
                    <a:lnTo>
                      <a:pt x="3194" y="692"/>
                    </a:lnTo>
                    <a:lnTo>
                      <a:pt x="3196" y="696"/>
                    </a:lnTo>
                    <a:lnTo>
                      <a:pt x="3196" y="700"/>
                    </a:lnTo>
                    <a:lnTo>
                      <a:pt x="3196" y="702"/>
                    </a:lnTo>
                    <a:lnTo>
                      <a:pt x="3190" y="706"/>
                    </a:lnTo>
                    <a:lnTo>
                      <a:pt x="3184" y="712"/>
                    </a:lnTo>
                    <a:lnTo>
                      <a:pt x="3178" y="714"/>
                    </a:lnTo>
                    <a:lnTo>
                      <a:pt x="3176" y="718"/>
                    </a:lnTo>
                    <a:lnTo>
                      <a:pt x="3180" y="720"/>
                    </a:lnTo>
                    <a:lnTo>
                      <a:pt x="3192" y="724"/>
                    </a:lnTo>
                    <a:lnTo>
                      <a:pt x="3192" y="724"/>
                    </a:lnTo>
                    <a:close/>
                    <a:moveTo>
                      <a:pt x="614" y="10"/>
                    </a:moveTo>
                    <a:lnTo>
                      <a:pt x="614" y="10"/>
                    </a:lnTo>
                    <a:lnTo>
                      <a:pt x="614" y="8"/>
                    </a:lnTo>
                    <a:lnTo>
                      <a:pt x="612" y="6"/>
                    </a:lnTo>
                    <a:lnTo>
                      <a:pt x="606" y="4"/>
                    </a:lnTo>
                    <a:lnTo>
                      <a:pt x="588" y="0"/>
                    </a:lnTo>
                    <a:lnTo>
                      <a:pt x="576" y="0"/>
                    </a:lnTo>
                    <a:lnTo>
                      <a:pt x="566" y="2"/>
                    </a:lnTo>
                    <a:lnTo>
                      <a:pt x="558" y="4"/>
                    </a:lnTo>
                    <a:lnTo>
                      <a:pt x="554" y="10"/>
                    </a:lnTo>
                    <a:lnTo>
                      <a:pt x="554" y="10"/>
                    </a:lnTo>
                    <a:lnTo>
                      <a:pt x="552" y="12"/>
                    </a:lnTo>
                    <a:lnTo>
                      <a:pt x="554" y="14"/>
                    </a:lnTo>
                    <a:lnTo>
                      <a:pt x="558" y="18"/>
                    </a:lnTo>
                    <a:lnTo>
                      <a:pt x="568" y="18"/>
                    </a:lnTo>
                    <a:lnTo>
                      <a:pt x="578" y="18"/>
                    </a:lnTo>
                    <a:lnTo>
                      <a:pt x="602" y="16"/>
                    </a:lnTo>
                    <a:lnTo>
                      <a:pt x="610" y="12"/>
                    </a:lnTo>
                    <a:lnTo>
                      <a:pt x="614" y="10"/>
                    </a:lnTo>
                    <a:lnTo>
                      <a:pt x="614" y="10"/>
                    </a:lnTo>
                    <a:close/>
                    <a:moveTo>
                      <a:pt x="444" y="80"/>
                    </a:moveTo>
                    <a:lnTo>
                      <a:pt x="444" y="80"/>
                    </a:lnTo>
                    <a:lnTo>
                      <a:pt x="450" y="82"/>
                    </a:lnTo>
                    <a:lnTo>
                      <a:pt x="450" y="84"/>
                    </a:lnTo>
                    <a:lnTo>
                      <a:pt x="456" y="86"/>
                    </a:lnTo>
                    <a:lnTo>
                      <a:pt x="474" y="88"/>
                    </a:lnTo>
                    <a:lnTo>
                      <a:pt x="474" y="88"/>
                    </a:lnTo>
                    <a:lnTo>
                      <a:pt x="502" y="94"/>
                    </a:lnTo>
                    <a:lnTo>
                      <a:pt x="514" y="100"/>
                    </a:lnTo>
                    <a:lnTo>
                      <a:pt x="524" y="102"/>
                    </a:lnTo>
                    <a:lnTo>
                      <a:pt x="536" y="100"/>
                    </a:lnTo>
                    <a:lnTo>
                      <a:pt x="536" y="100"/>
                    </a:lnTo>
                    <a:lnTo>
                      <a:pt x="544" y="96"/>
                    </a:lnTo>
                    <a:lnTo>
                      <a:pt x="546" y="94"/>
                    </a:lnTo>
                    <a:lnTo>
                      <a:pt x="544" y="94"/>
                    </a:lnTo>
                    <a:lnTo>
                      <a:pt x="520" y="88"/>
                    </a:lnTo>
                    <a:lnTo>
                      <a:pt x="520" y="88"/>
                    </a:lnTo>
                    <a:lnTo>
                      <a:pt x="492" y="76"/>
                    </a:lnTo>
                    <a:lnTo>
                      <a:pt x="478" y="74"/>
                    </a:lnTo>
                    <a:lnTo>
                      <a:pt x="466" y="76"/>
                    </a:lnTo>
                    <a:lnTo>
                      <a:pt x="466" y="76"/>
                    </a:lnTo>
                    <a:lnTo>
                      <a:pt x="458" y="76"/>
                    </a:lnTo>
                    <a:lnTo>
                      <a:pt x="452" y="74"/>
                    </a:lnTo>
                    <a:lnTo>
                      <a:pt x="438" y="70"/>
                    </a:lnTo>
                    <a:lnTo>
                      <a:pt x="432" y="68"/>
                    </a:lnTo>
                    <a:lnTo>
                      <a:pt x="426" y="66"/>
                    </a:lnTo>
                    <a:lnTo>
                      <a:pt x="420" y="68"/>
                    </a:lnTo>
                    <a:lnTo>
                      <a:pt x="414" y="74"/>
                    </a:lnTo>
                    <a:lnTo>
                      <a:pt x="414" y="74"/>
                    </a:lnTo>
                    <a:lnTo>
                      <a:pt x="412" y="76"/>
                    </a:lnTo>
                    <a:lnTo>
                      <a:pt x="414" y="76"/>
                    </a:lnTo>
                    <a:lnTo>
                      <a:pt x="420" y="78"/>
                    </a:lnTo>
                    <a:lnTo>
                      <a:pt x="432" y="78"/>
                    </a:lnTo>
                    <a:lnTo>
                      <a:pt x="444" y="80"/>
                    </a:lnTo>
                    <a:lnTo>
                      <a:pt x="444" y="80"/>
                    </a:lnTo>
                    <a:close/>
                    <a:moveTo>
                      <a:pt x="296" y="786"/>
                    </a:moveTo>
                    <a:lnTo>
                      <a:pt x="296" y="786"/>
                    </a:lnTo>
                    <a:lnTo>
                      <a:pt x="290" y="806"/>
                    </a:lnTo>
                    <a:lnTo>
                      <a:pt x="288" y="812"/>
                    </a:lnTo>
                    <a:lnTo>
                      <a:pt x="288" y="818"/>
                    </a:lnTo>
                    <a:lnTo>
                      <a:pt x="292" y="822"/>
                    </a:lnTo>
                    <a:lnTo>
                      <a:pt x="300" y="826"/>
                    </a:lnTo>
                    <a:lnTo>
                      <a:pt x="310" y="828"/>
                    </a:lnTo>
                    <a:lnTo>
                      <a:pt x="324" y="828"/>
                    </a:lnTo>
                    <a:lnTo>
                      <a:pt x="324" y="828"/>
                    </a:lnTo>
                    <a:lnTo>
                      <a:pt x="340" y="828"/>
                    </a:lnTo>
                    <a:lnTo>
                      <a:pt x="338" y="830"/>
                    </a:lnTo>
                    <a:lnTo>
                      <a:pt x="334" y="832"/>
                    </a:lnTo>
                    <a:lnTo>
                      <a:pt x="330" y="836"/>
                    </a:lnTo>
                    <a:lnTo>
                      <a:pt x="330" y="842"/>
                    </a:lnTo>
                    <a:lnTo>
                      <a:pt x="330" y="844"/>
                    </a:lnTo>
                    <a:lnTo>
                      <a:pt x="332" y="848"/>
                    </a:lnTo>
                    <a:lnTo>
                      <a:pt x="344" y="856"/>
                    </a:lnTo>
                    <a:lnTo>
                      <a:pt x="344" y="856"/>
                    </a:lnTo>
                    <a:lnTo>
                      <a:pt x="350" y="858"/>
                    </a:lnTo>
                    <a:lnTo>
                      <a:pt x="356" y="860"/>
                    </a:lnTo>
                    <a:lnTo>
                      <a:pt x="360" y="860"/>
                    </a:lnTo>
                    <a:lnTo>
                      <a:pt x="362" y="858"/>
                    </a:lnTo>
                    <a:lnTo>
                      <a:pt x="364" y="852"/>
                    </a:lnTo>
                    <a:lnTo>
                      <a:pt x="366" y="844"/>
                    </a:lnTo>
                    <a:lnTo>
                      <a:pt x="366" y="838"/>
                    </a:lnTo>
                    <a:lnTo>
                      <a:pt x="366" y="834"/>
                    </a:lnTo>
                    <a:lnTo>
                      <a:pt x="368" y="832"/>
                    </a:lnTo>
                    <a:lnTo>
                      <a:pt x="370" y="834"/>
                    </a:lnTo>
                    <a:lnTo>
                      <a:pt x="376" y="842"/>
                    </a:lnTo>
                    <a:lnTo>
                      <a:pt x="376" y="842"/>
                    </a:lnTo>
                    <a:lnTo>
                      <a:pt x="380" y="848"/>
                    </a:lnTo>
                    <a:lnTo>
                      <a:pt x="382" y="852"/>
                    </a:lnTo>
                    <a:lnTo>
                      <a:pt x="382" y="856"/>
                    </a:lnTo>
                    <a:lnTo>
                      <a:pt x="382" y="860"/>
                    </a:lnTo>
                    <a:lnTo>
                      <a:pt x="378" y="866"/>
                    </a:lnTo>
                    <a:lnTo>
                      <a:pt x="372" y="870"/>
                    </a:lnTo>
                    <a:lnTo>
                      <a:pt x="368" y="874"/>
                    </a:lnTo>
                    <a:lnTo>
                      <a:pt x="368" y="874"/>
                    </a:lnTo>
                    <a:lnTo>
                      <a:pt x="368" y="876"/>
                    </a:lnTo>
                    <a:lnTo>
                      <a:pt x="374" y="878"/>
                    </a:lnTo>
                    <a:lnTo>
                      <a:pt x="388" y="880"/>
                    </a:lnTo>
                    <a:lnTo>
                      <a:pt x="388" y="880"/>
                    </a:lnTo>
                    <a:lnTo>
                      <a:pt x="404" y="882"/>
                    </a:lnTo>
                    <a:lnTo>
                      <a:pt x="414" y="884"/>
                    </a:lnTo>
                    <a:lnTo>
                      <a:pt x="420" y="886"/>
                    </a:lnTo>
                    <a:lnTo>
                      <a:pt x="424" y="888"/>
                    </a:lnTo>
                    <a:lnTo>
                      <a:pt x="426" y="890"/>
                    </a:lnTo>
                    <a:lnTo>
                      <a:pt x="430" y="892"/>
                    </a:lnTo>
                    <a:lnTo>
                      <a:pt x="450" y="892"/>
                    </a:lnTo>
                    <a:lnTo>
                      <a:pt x="450" y="892"/>
                    </a:lnTo>
                    <a:lnTo>
                      <a:pt x="464" y="894"/>
                    </a:lnTo>
                    <a:lnTo>
                      <a:pt x="476" y="894"/>
                    </a:lnTo>
                    <a:lnTo>
                      <a:pt x="494" y="898"/>
                    </a:lnTo>
                    <a:lnTo>
                      <a:pt x="504" y="898"/>
                    </a:lnTo>
                    <a:lnTo>
                      <a:pt x="514" y="898"/>
                    </a:lnTo>
                    <a:lnTo>
                      <a:pt x="524" y="894"/>
                    </a:lnTo>
                    <a:lnTo>
                      <a:pt x="536" y="888"/>
                    </a:lnTo>
                    <a:lnTo>
                      <a:pt x="536" y="888"/>
                    </a:lnTo>
                    <a:lnTo>
                      <a:pt x="540" y="886"/>
                    </a:lnTo>
                    <a:lnTo>
                      <a:pt x="540" y="884"/>
                    </a:lnTo>
                    <a:lnTo>
                      <a:pt x="540" y="882"/>
                    </a:lnTo>
                    <a:lnTo>
                      <a:pt x="538" y="878"/>
                    </a:lnTo>
                    <a:lnTo>
                      <a:pt x="530" y="874"/>
                    </a:lnTo>
                    <a:lnTo>
                      <a:pt x="518" y="868"/>
                    </a:lnTo>
                    <a:lnTo>
                      <a:pt x="506" y="862"/>
                    </a:lnTo>
                    <a:lnTo>
                      <a:pt x="494" y="854"/>
                    </a:lnTo>
                    <a:lnTo>
                      <a:pt x="484" y="846"/>
                    </a:lnTo>
                    <a:lnTo>
                      <a:pt x="476" y="836"/>
                    </a:lnTo>
                    <a:lnTo>
                      <a:pt x="476" y="836"/>
                    </a:lnTo>
                    <a:lnTo>
                      <a:pt x="472" y="826"/>
                    </a:lnTo>
                    <a:lnTo>
                      <a:pt x="466" y="820"/>
                    </a:lnTo>
                    <a:lnTo>
                      <a:pt x="456" y="808"/>
                    </a:lnTo>
                    <a:lnTo>
                      <a:pt x="452" y="800"/>
                    </a:lnTo>
                    <a:lnTo>
                      <a:pt x="448" y="792"/>
                    </a:lnTo>
                    <a:lnTo>
                      <a:pt x="448" y="780"/>
                    </a:lnTo>
                    <a:lnTo>
                      <a:pt x="450" y="764"/>
                    </a:lnTo>
                    <a:lnTo>
                      <a:pt x="450" y="764"/>
                    </a:lnTo>
                    <a:lnTo>
                      <a:pt x="452" y="756"/>
                    </a:lnTo>
                    <a:lnTo>
                      <a:pt x="456" y="748"/>
                    </a:lnTo>
                    <a:lnTo>
                      <a:pt x="464" y="736"/>
                    </a:lnTo>
                    <a:lnTo>
                      <a:pt x="474" y="726"/>
                    </a:lnTo>
                    <a:lnTo>
                      <a:pt x="482" y="718"/>
                    </a:lnTo>
                    <a:lnTo>
                      <a:pt x="490" y="712"/>
                    </a:lnTo>
                    <a:lnTo>
                      <a:pt x="492" y="706"/>
                    </a:lnTo>
                    <a:lnTo>
                      <a:pt x="492" y="704"/>
                    </a:lnTo>
                    <a:lnTo>
                      <a:pt x="488" y="702"/>
                    </a:lnTo>
                    <a:lnTo>
                      <a:pt x="478" y="696"/>
                    </a:lnTo>
                    <a:lnTo>
                      <a:pt x="478" y="696"/>
                    </a:lnTo>
                    <a:lnTo>
                      <a:pt x="458" y="688"/>
                    </a:lnTo>
                    <a:lnTo>
                      <a:pt x="454" y="686"/>
                    </a:lnTo>
                    <a:lnTo>
                      <a:pt x="448" y="686"/>
                    </a:lnTo>
                    <a:lnTo>
                      <a:pt x="434" y="688"/>
                    </a:lnTo>
                    <a:lnTo>
                      <a:pt x="400" y="694"/>
                    </a:lnTo>
                    <a:lnTo>
                      <a:pt x="400" y="694"/>
                    </a:lnTo>
                    <a:lnTo>
                      <a:pt x="378" y="698"/>
                    </a:lnTo>
                    <a:lnTo>
                      <a:pt x="366" y="700"/>
                    </a:lnTo>
                    <a:lnTo>
                      <a:pt x="362" y="702"/>
                    </a:lnTo>
                    <a:lnTo>
                      <a:pt x="362" y="706"/>
                    </a:lnTo>
                    <a:lnTo>
                      <a:pt x="362" y="708"/>
                    </a:lnTo>
                    <a:lnTo>
                      <a:pt x="362" y="712"/>
                    </a:lnTo>
                    <a:lnTo>
                      <a:pt x="358" y="716"/>
                    </a:lnTo>
                    <a:lnTo>
                      <a:pt x="348" y="720"/>
                    </a:lnTo>
                    <a:lnTo>
                      <a:pt x="348" y="720"/>
                    </a:lnTo>
                    <a:lnTo>
                      <a:pt x="338" y="726"/>
                    </a:lnTo>
                    <a:lnTo>
                      <a:pt x="334" y="730"/>
                    </a:lnTo>
                    <a:lnTo>
                      <a:pt x="332" y="734"/>
                    </a:lnTo>
                    <a:lnTo>
                      <a:pt x="334" y="736"/>
                    </a:lnTo>
                    <a:lnTo>
                      <a:pt x="338" y="742"/>
                    </a:lnTo>
                    <a:lnTo>
                      <a:pt x="340" y="746"/>
                    </a:lnTo>
                    <a:lnTo>
                      <a:pt x="340" y="754"/>
                    </a:lnTo>
                    <a:lnTo>
                      <a:pt x="336" y="764"/>
                    </a:lnTo>
                    <a:lnTo>
                      <a:pt x="336" y="764"/>
                    </a:lnTo>
                    <a:lnTo>
                      <a:pt x="330" y="774"/>
                    </a:lnTo>
                    <a:lnTo>
                      <a:pt x="324" y="778"/>
                    </a:lnTo>
                    <a:lnTo>
                      <a:pt x="320" y="778"/>
                    </a:lnTo>
                    <a:lnTo>
                      <a:pt x="316" y="776"/>
                    </a:lnTo>
                    <a:lnTo>
                      <a:pt x="310" y="774"/>
                    </a:lnTo>
                    <a:lnTo>
                      <a:pt x="306" y="774"/>
                    </a:lnTo>
                    <a:lnTo>
                      <a:pt x="302" y="778"/>
                    </a:lnTo>
                    <a:lnTo>
                      <a:pt x="296" y="786"/>
                    </a:lnTo>
                    <a:lnTo>
                      <a:pt x="296" y="786"/>
                    </a:lnTo>
                    <a:close/>
                    <a:moveTo>
                      <a:pt x="282" y="168"/>
                    </a:moveTo>
                    <a:lnTo>
                      <a:pt x="282" y="168"/>
                    </a:lnTo>
                    <a:lnTo>
                      <a:pt x="290" y="168"/>
                    </a:lnTo>
                    <a:lnTo>
                      <a:pt x="294" y="164"/>
                    </a:lnTo>
                    <a:lnTo>
                      <a:pt x="292" y="160"/>
                    </a:lnTo>
                    <a:lnTo>
                      <a:pt x="288" y="158"/>
                    </a:lnTo>
                    <a:lnTo>
                      <a:pt x="280" y="154"/>
                    </a:lnTo>
                    <a:lnTo>
                      <a:pt x="270" y="152"/>
                    </a:lnTo>
                    <a:lnTo>
                      <a:pt x="260" y="152"/>
                    </a:lnTo>
                    <a:lnTo>
                      <a:pt x="250" y="156"/>
                    </a:lnTo>
                    <a:lnTo>
                      <a:pt x="250" y="156"/>
                    </a:lnTo>
                    <a:lnTo>
                      <a:pt x="242" y="160"/>
                    </a:lnTo>
                    <a:lnTo>
                      <a:pt x="240" y="164"/>
                    </a:lnTo>
                    <a:lnTo>
                      <a:pt x="240" y="166"/>
                    </a:lnTo>
                    <a:lnTo>
                      <a:pt x="244" y="166"/>
                    </a:lnTo>
                    <a:lnTo>
                      <a:pt x="260" y="168"/>
                    </a:lnTo>
                    <a:lnTo>
                      <a:pt x="282" y="168"/>
                    </a:lnTo>
                    <a:lnTo>
                      <a:pt x="282" y="168"/>
                    </a:lnTo>
                    <a:close/>
                    <a:moveTo>
                      <a:pt x="416" y="96"/>
                    </a:moveTo>
                    <a:lnTo>
                      <a:pt x="416" y="96"/>
                    </a:lnTo>
                    <a:lnTo>
                      <a:pt x="424" y="96"/>
                    </a:lnTo>
                    <a:lnTo>
                      <a:pt x="428" y="100"/>
                    </a:lnTo>
                    <a:lnTo>
                      <a:pt x="432" y="100"/>
                    </a:lnTo>
                    <a:lnTo>
                      <a:pt x="440" y="100"/>
                    </a:lnTo>
                    <a:lnTo>
                      <a:pt x="440" y="100"/>
                    </a:lnTo>
                    <a:lnTo>
                      <a:pt x="452" y="98"/>
                    </a:lnTo>
                    <a:lnTo>
                      <a:pt x="464" y="96"/>
                    </a:lnTo>
                    <a:lnTo>
                      <a:pt x="470" y="96"/>
                    </a:lnTo>
                    <a:lnTo>
                      <a:pt x="472" y="96"/>
                    </a:lnTo>
                    <a:lnTo>
                      <a:pt x="470" y="94"/>
                    </a:lnTo>
                    <a:lnTo>
                      <a:pt x="470" y="94"/>
                    </a:lnTo>
                    <a:lnTo>
                      <a:pt x="452" y="88"/>
                    </a:lnTo>
                    <a:lnTo>
                      <a:pt x="440" y="86"/>
                    </a:lnTo>
                    <a:lnTo>
                      <a:pt x="436" y="86"/>
                    </a:lnTo>
                    <a:lnTo>
                      <a:pt x="432" y="88"/>
                    </a:lnTo>
                    <a:lnTo>
                      <a:pt x="432" y="88"/>
                    </a:lnTo>
                    <a:lnTo>
                      <a:pt x="428" y="90"/>
                    </a:lnTo>
                    <a:lnTo>
                      <a:pt x="424" y="90"/>
                    </a:lnTo>
                    <a:lnTo>
                      <a:pt x="414" y="88"/>
                    </a:lnTo>
                    <a:lnTo>
                      <a:pt x="404" y="86"/>
                    </a:lnTo>
                    <a:lnTo>
                      <a:pt x="398" y="88"/>
                    </a:lnTo>
                    <a:lnTo>
                      <a:pt x="396" y="92"/>
                    </a:lnTo>
                    <a:lnTo>
                      <a:pt x="396" y="92"/>
                    </a:lnTo>
                    <a:lnTo>
                      <a:pt x="394" y="94"/>
                    </a:lnTo>
                    <a:lnTo>
                      <a:pt x="398" y="96"/>
                    </a:lnTo>
                    <a:lnTo>
                      <a:pt x="416" y="96"/>
                    </a:lnTo>
                    <a:lnTo>
                      <a:pt x="416" y="96"/>
                    </a:lnTo>
                    <a:close/>
                    <a:moveTo>
                      <a:pt x="406" y="124"/>
                    </a:moveTo>
                    <a:lnTo>
                      <a:pt x="406" y="124"/>
                    </a:lnTo>
                    <a:lnTo>
                      <a:pt x="414" y="122"/>
                    </a:lnTo>
                    <a:lnTo>
                      <a:pt x="416" y="122"/>
                    </a:lnTo>
                    <a:lnTo>
                      <a:pt x="416" y="120"/>
                    </a:lnTo>
                    <a:lnTo>
                      <a:pt x="414" y="116"/>
                    </a:lnTo>
                    <a:lnTo>
                      <a:pt x="408" y="112"/>
                    </a:lnTo>
                    <a:lnTo>
                      <a:pt x="408" y="112"/>
                    </a:lnTo>
                    <a:lnTo>
                      <a:pt x="402" y="110"/>
                    </a:lnTo>
                    <a:lnTo>
                      <a:pt x="394" y="110"/>
                    </a:lnTo>
                    <a:lnTo>
                      <a:pt x="390" y="112"/>
                    </a:lnTo>
                    <a:lnTo>
                      <a:pt x="390" y="112"/>
                    </a:lnTo>
                    <a:lnTo>
                      <a:pt x="392" y="114"/>
                    </a:lnTo>
                    <a:lnTo>
                      <a:pt x="392" y="114"/>
                    </a:lnTo>
                    <a:lnTo>
                      <a:pt x="392" y="116"/>
                    </a:lnTo>
                    <a:lnTo>
                      <a:pt x="392" y="118"/>
                    </a:lnTo>
                    <a:lnTo>
                      <a:pt x="390" y="120"/>
                    </a:lnTo>
                    <a:lnTo>
                      <a:pt x="390" y="122"/>
                    </a:lnTo>
                    <a:lnTo>
                      <a:pt x="392" y="124"/>
                    </a:lnTo>
                    <a:lnTo>
                      <a:pt x="406" y="124"/>
                    </a:lnTo>
                    <a:lnTo>
                      <a:pt x="406" y="124"/>
                    </a:lnTo>
                    <a:close/>
                    <a:moveTo>
                      <a:pt x="382" y="134"/>
                    </a:moveTo>
                    <a:lnTo>
                      <a:pt x="382" y="134"/>
                    </a:lnTo>
                    <a:lnTo>
                      <a:pt x="372" y="126"/>
                    </a:lnTo>
                    <a:lnTo>
                      <a:pt x="368" y="124"/>
                    </a:lnTo>
                    <a:lnTo>
                      <a:pt x="364" y="124"/>
                    </a:lnTo>
                    <a:lnTo>
                      <a:pt x="350" y="128"/>
                    </a:lnTo>
                    <a:lnTo>
                      <a:pt x="330" y="136"/>
                    </a:lnTo>
                    <a:lnTo>
                      <a:pt x="330" y="136"/>
                    </a:lnTo>
                    <a:lnTo>
                      <a:pt x="328" y="138"/>
                    </a:lnTo>
                    <a:lnTo>
                      <a:pt x="326" y="140"/>
                    </a:lnTo>
                    <a:lnTo>
                      <a:pt x="328" y="142"/>
                    </a:lnTo>
                    <a:lnTo>
                      <a:pt x="332" y="144"/>
                    </a:lnTo>
                    <a:lnTo>
                      <a:pt x="342" y="146"/>
                    </a:lnTo>
                    <a:lnTo>
                      <a:pt x="356" y="148"/>
                    </a:lnTo>
                    <a:lnTo>
                      <a:pt x="370" y="148"/>
                    </a:lnTo>
                    <a:lnTo>
                      <a:pt x="380" y="146"/>
                    </a:lnTo>
                    <a:lnTo>
                      <a:pt x="384" y="144"/>
                    </a:lnTo>
                    <a:lnTo>
                      <a:pt x="386" y="142"/>
                    </a:lnTo>
                    <a:lnTo>
                      <a:pt x="386" y="138"/>
                    </a:lnTo>
                    <a:lnTo>
                      <a:pt x="382" y="134"/>
                    </a:lnTo>
                    <a:lnTo>
                      <a:pt x="382" y="134"/>
                    </a:lnTo>
                    <a:close/>
                    <a:moveTo>
                      <a:pt x="46" y="116"/>
                    </a:moveTo>
                    <a:lnTo>
                      <a:pt x="46" y="116"/>
                    </a:lnTo>
                    <a:lnTo>
                      <a:pt x="54" y="118"/>
                    </a:lnTo>
                    <a:lnTo>
                      <a:pt x="62" y="114"/>
                    </a:lnTo>
                    <a:lnTo>
                      <a:pt x="62" y="114"/>
                    </a:lnTo>
                    <a:lnTo>
                      <a:pt x="66" y="114"/>
                    </a:lnTo>
                    <a:lnTo>
                      <a:pt x="70" y="116"/>
                    </a:lnTo>
                    <a:lnTo>
                      <a:pt x="76" y="120"/>
                    </a:lnTo>
                    <a:lnTo>
                      <a:pt x="80" y="122"/>
                    </a:lnTo>
                    <a:lnTo>
                      <a:pt x="86" y="124"/>
                    </a:lnTo>
                    <a:lnTo>
                      <a:pt x="92" y="122"/>
                    </a:lnTo>
                    <a:lnTo>
                      <a:pt x="102" y="118"/>
                    </a:lnTo>
                    <a:lnTo>
                      <a:pt x="102" y="118"/>
                    </a:lnTo>
                    <a:lnTo>
                      <a:pt x="118" y="110"/>
                    </a:lnTo>
                    <a:lnTo>
                      <a:pt x="130" y="104"/>
                    </a:lnTo>
                    <a:lnTo>
                      <a:pt x="134" y="102"/>
                    </a:lnTo>
                    <a:lnTo>
                      <a:pt x="140" y="102"/>
                    </a:lnTo>
                    <a:lnTo>
                      <a:pt x="148" y="102"/>
                    </a:lnTo>
                    <a:lnTo>
                      <a:pt x="158" y="106"/>
                    </a:lnTo>
                    <a:lnTo>
                      <a:pt x="158" y="106"/>
                    </a:lnTo>
                    <a:lnTo>
                      <a:pt x="168" y="108"/>
                    </a:lnTo>
                    <a:lnTo>
                      <a:pt x="176" y="108"/>
                    </a:lnTo>
                    <a:lnTo>
                      <a:pt x="180" y="108"/>
                    </a:lnTo>
                    <a:lnTo>
                      <a:pt x="182" y="106"/>
                    </a:lnTo>
                    <a:lnTo>
                      <a:pt x="182" y="102"/>
                    </a:lnTo>
                    <a:lnTo>
                      <a:pt x="176" y="98"/>
                    </a:lnTo>
                    <a:lnTo>
                      <a:pt x="166" y="94"/>
                    </a:lnTo>
                    <a:lnTo>
                      <a:pt x="150" y="90"/>
                    </a:lnTo>
                    <a:lnTo>
                      <a:pt x="150" y="90"/>
                    </a:lnTo>
                    <a:lnTo>
                      <a:pt x="126" y="86"/>
                    </a:lnTo>
                    <a:lnTo>
                      <a:pt x="122" y="88"/>
                    </a:lnTo>
                    <a:lnTo>
                      <a:pt x="120" y="90"/>
                    </a:lnTo>
                    <a:lnTo>
                      <a:pt x="118" y="92"/>
                    </a:lnTo>
                    <a:lnTo>
                      <a:pt x="114" y="94"/>
                    </a:lnTo>
                    <a:lnTo>
                      <a:pt x="108" y="98"/>
                    </a:lnTo>
                    <a:lnTo>
                      <a:pt x="96" y="100"/>
                    </a:lnTo>
                    <a:lnTo>
                      <a:pt x="96" y="100"/>
                    </a:lnTo>
                    <a:lnTo>
                      <a:pt x="64" y="104"/>
                    </a:lnTo>
                    <a:lnTo>
                      <a:pt x="42" y="108"/>
                    </a:lnTo>
                    <a:lnTo>
                      <a:pt x="34" y="110"/>
                    </a:lnTo>
                    <a:lnTo>
                      <a:pt x="32" y="112"/>
                    </a:lnTo>
                    <a:lnTo>
                      <a:pt x="36" y="114"/>
                    </a:lnTo>
                    <a:lnTo>
                      <a:pt x="46" y="116"/>
                    </a:lnTo>
                    <a:lnTo>
                      <a:pt x="46" y="116"/>
                    </a:lnTo>
                    <a:close/>
                    <a:moveTo>
                      <a:pt x="202" y="100"/>
                    </a:moveTo>
                    <a:lnTo>
                      <a:pt x="202" y="100"/>
                    </a:lnTo>
                    <a:lnTo>
                      <a:pt x="210" y="106"/>
                    </a:lnTo>
                    <a:lnTo>
                      <a:pt x="210" y="108"/>
                    </a:lnTo>
                    <a:lnTo>
                      <a:pt x="210" y="112"/>
                    </a:lnTo>
                    <a:lnTo>
                      <a:pt x="208" y="114"/>
                    </a:lnTo>
                    <a:lnTo>
                      <a:pt x="202" y="116"/>
                    </a:lnTo>
                    <a:lnTo>
                      <a:pt x="178" y="118"/>
                    </a:lnTo>
                    <a:lnTo>
                      <a:pt x="178" y="118"/>
                    </a:lnTo>
                    <a:lnTo>
                      <a:pt x="152" y="118"/>
                    </a:lnTo>
                    <a:lnTo>
                      <a:pt x="136" y="118"/>
                    </a:lnTo>
                    <a:lnTo>
                      <a:pt x="132" y="120"/>
                    </a:lnTo>
                    <a:lnTo>
                      <a:pt x="132" y="120"/>
                    </a:lnTo>
                    <a:lnTo>
                      <a:pt x="134" y="124"/>
                    </a:lnTo>
                    <a:lnTo>
                      <a:pt x="140" y="126"/>
                    </a:lnTo>
                    <a:lnTo>
                      <a:pt x="140" y="126"/>
                    </a:lnTo>
                    <a:lnTo>
                      <a:pt x="146" y="132"/>
                    </a:lnTo>
                    <a:lnTo>
                      <a:pt x="146" y="134"/>
                    </a:lnTo>
                    <a:lnTo>
                      <a:pt x="144" y="134"/>
                    </a:lnTo>
                    <a:lnTo>
                      <a:pt x="124" y="132"/>
                    </a:lnTo>
                    <a:lnTo>
                      <a:pt x="124" y="132"/>
                    </a:lnTo>
                    <a:lnTo>
                      <a:pt x="110" y="132"/>
                    </a:lnTo>
                    <a:lnTo>
                      <a:pt x="100" y="132"/>
                    </a:lnTo>
                    <a:lnTo>
                      <a:pt x="96" y="134"/>
                    </a:lnTo>
                    <a:lnTo>
                      <a:pt x="96" y="136"/>
                    </a:lnTo>
                    <a:lnTo>
                      <a:pt x="100" y="140"/>
                    </a:lnTo>
                    <a:lnTo>
                      <a:pt x="110" y="144"/>
                    </a:lnTo>
                    <a:lnTo>
                      <a:pt x="110" y="144"/>
                    </a:lnTo>
                    <a:lnTo>
                      <a:pt x="118" y="148"/>
                    </a:lnTo>
                    <a:lnTo>
                      <a:pt x="122" y="148"/>
                    </a:lnTo>
                    <a:lnTo>
                      <a:pt x="128" y="144"/>
                    </a:lnTo>
                    <a:lnTo>
                      <a:pt x="140" y="140"/>
                    </a:lnTo>
                    <a:lnTo>
                      <a:pt x="140" y="140"/>
                    </a:lnTo>
                    <a:lnTo>
                      <a:pt x="146" y="140"/>
                    </a:lnTo>
                    <a:lnTo>
                      <a:pt x="148" y="140"/>
                    </a:lnTo>
                    <a:lnTo>
                      <a:pt x="146" y="146"/>
                    </a:lnTo>
                    <a:lnTo>
                      <a:pt x="146" y="150"/>
                    </a:lnTo>
                    <a:lnTo>
                      <a:pt x="146" y="152"/>
                    </a:lnTo>
                    <a:lnTo>
                      <a:pt x="150" y="152"/>
                    </a:lnTo>
                    <a:lnTo>
                      <a:pt x="160" y="150"/>
                    </a:lnTo>
                    <a:lnTo>
                      <a:pt x="160" y="150"/>
                    </a:lnTo>
                    <a:lnTo>
                      <a:pt x="168" y="148"/>
                    </a:lnTo>
                    <a:lnTo>
                      <a:pt x="176" y="146"/>
                    </a:lnTo>
                    <a:lnTo>
                      <a:pt x="184" y="148"/>
                    </a:lnTo>
                    <a:lnTo>
                      <a:pt x="190" y="150"/>
                    </a:lnTo>
                    <a:lnTo>
                      <a:pt x="192" y="150"/>
                    </a:lnTo>
                    <a:lnTo>
                      <a:pt x="196" y="148"/>
                    </a:lnTo>
                    <a:lnTo>
                      <a:pt x="196" y="148"/>
                    </a:lnTo>
                    <a:lnTo>
                      <a:pt x="200" y="144"/>
                    </a:lnTo>
                    <a:lnTo>
                      <a:pt x="198" y="142"/>
                    </a:lnTo>
                    <a:lnTo>
                      <a:pt x="192" y="140"/>
                    </a:lnTo>
                    <a:lnTo>
                      <a:pt x="184" y="138"/>
                    </a:lnTo>
                    <a:lnTo>
                      <a:pt x="184" y="136"/>
                    </a:lnTo>
                    <a:lnTo>
                      <a:pt x="186" y="134"/>
                    </a:lnTo>
                    <a:lnTo>
                      <a:pt x="186" y="134"/>
                    </a:lnTo>
                    <a:lnTo>
                      <a:pt x="196" y="130"/>
                    </a:lnTo>
                    <a:lnTo>
                      <a:pt x="206" y="130"/>
                    </a:lnTo>
                    <a:lnTo>
                      <a:pt x="216" y="128"/>
                    </a:lnTo>
                    <a:lnTo>
                      <a:pt x="220" y="126"/>
                    </a:lnTo>
                    <a:lnTo>
                      <a:pt x="226" y="124"/>
                    </a:lnTo>
                    <a:lnTo>
                      <a:pt x="226" y="124"/>
                    </a:lnTo>
                    <a:lnTo>
                      <a:pt x="230" y="120"/>
                    </a:lnTo>
                    <a:lnTo>
                      <a:pt x="234" y="118"/>
                    </a:lnTo>
                    <a:lnTo>
                      <a:pt x="246" y="118"/>
                    </a:lnTo>
                    <a:lnTo>
                      <a:pt x="262" y="118"/>
                    </a:lnTo>
                    <a:lnTo>
                      <a:pt x="286" y="114"/>
                    </a:lnTo>
                    <a:lnTo>
                      <a:pt x="286" y="114"/>
                    </a:lnTo>
                    <a:lnTo>
                      <a:pt x="298" y="112"/>
                    </a:lnTo>
                    <a:lnTo>
                      <a:pt x="304" y="108"/>
                    </a:lnTo>
                    <a:lnTo>
                      <a:pt x="306" y="104"/>
                    </a:lnTo>
                    <a:lnTo>
                      <a:pt x="304" y="102"/>
                    </a:lnTo>
                    <a:lnTo>
                      <a:pt x="298" y="98"/>
                    </a:lnTo>
                    <a:lnTo>
                      <a:pt x="290" y="96"/>
                    </a:lnTo>
                    <a:lnTo>
                      <a:pt x="280" y="96"/>
                    </a:lnTo>
                    <a:lnTo>
                      <a:pt x="270" y="98"/>
                    </a:lnTo>
                    <a:lnTo>
                      <a:pt x="270" y="98"/>
                    </a:lnTo>
                    <a:lnTo>
                      <a:pt x="256" y="98"/>
                    </a:lnTo>
                    <a:lnTo>
                      <a:pt x="258" y="98"/>
                    </a:lnTo>
                    <a:lnTo>
                      <a:pt x="260" y="96"/>
                    </a:lnTo>
                    <a:lnTo>
                      <a:pt x="262" y="94"/>
                    </a:lnTo>
                    <a:lnTo>
                      <a:pt x="262" y="92"/>
                    </a:lnTo>
                    <a:lnTo>
                      <a:pt x="258" y="90"/>
                    </a:lnTo>
                    <a:lnTo>
                      <a:pt x="250" y="88"/>
                    </a:lnTo>
                    <a:lnTo>
                      <a:pt x="250" y="88"/>
                    </a:lnTo>
                    <a:lnTo>
                      <a:pt x="228" y="88"/>
                    </a:lnTo>
                    <a:lnTo>
                      <a:pt x="208" y="90"/>
                    </a:lnTo>
                    <a:lnTo>
                      <a:pt x="202" y="92"/>
                    </a:lnTo>
                    <a:lnTo>
                      <a:pt x="198" y="96"/>
                    </a:lnTo>
                    <a:lnTo>
                      <a:pt x="198" y="98"/>
                    </a:lnTo>
                    <a:lnTo>
                      <a:pt x="202" y="100"/>
                    </a:lnTo>
                    <a:lnTo>
                      <a:pt x="202" y="100"/>
                    </a:lnTo>
                    <a:close/>
                    <a:moveTo>
                      <a:pt x="272" y="70"/>
                    </a:moveTo>
                    <a:lnTo>
                      <a:pt x="272" y="70"/>
                    </a:lnTo>
                    <a:lnTo>
                      <a:pt x="276" y="66"/>
                    </a:lnTo>
                    <a:lnTo>
                      <a:pt x="278" y="64"/>
                    </a:lnTo>
                    <a:lnTo>
                      <a:pt x="276" y="62"/>
                    </a:lnTo>
                    <a:lnTo>
                      <a:pt x="274" y="60"/>
                    </a:lnTo>
                    <a:lnTo>
                      <a:pt x="268" y="60"/>
                    </a:lnTo>
                    <a:lnTo>
                      <a:pt x="262" y="60"/>
                    </a:lnTo>
                    <a:lnTo>
                      <a:pt x="256" y="62"/>
                    </a:lnTo>
                    <a:lnTo>
                      <a:pt x="250" y="66"/>
                    </a:lnTo>
                    <a:lnTo>
                      <a:pt x="250" y="66"/>
                    </a:lnTo>
                    <a:lnTo>
                      <a:pt x="246" y="72"/>
                    </a:lnTo>
                    <a:lnTo>
                      <a:pt x="244" y="76"/>
                    </a:lnTo>
                    <a:lnTo>
                      <a:pt x="244" y="78"/>
                    </a:lnTo>
                    <a:lnTo>
                      <a:pt x="248" y="78"/>
                    </a:lnTo>
                    <a:lnTo>
                      <a:pt x="258" y="74"/>
                    </a:lnTo>
                    <a:lnTo>
                      <a:pt x="272" y="70"/>
                    </a:lnTo>
                    <a:lnTo>
                      <a:pt x="272" y="70"/>
                    </a:lnTo>
                    <a:close/>
                    <a:moveTo>
                      <a:pt x="228" y="142"/>
                    </a:moveTo>
                    <a:lnTo>
                      <a:pt x="228" y="142"/>
                    </a:lnTo>
                    <a:lnTo>
                      <a:pt x="222" y="144"/>
                    </a:lnTo>
                    <a:lnTo>
                      <a:pt x="220" y="146"/>
                    </a:lnTo>
                    <a:lnTo>
                      <a:pt x="218" y="150"/>
                    </a:lnTo>
                    <a:lnTo>
                      <a:pt x="220" y="152"/>
                    </a:lnTo>
                    <a:lnTo>
                      <a:pt x="222" y="156"/>
                    </a:lnTo>
                    <a:lnTo>
                      <a:pt x="226" y="156"/>
                    </a:lnTo>
                    <a:lnTo>
                      <a:pt x="232" y="156"/>
                    </a:lnTo>
                    <a:lnTo>
                      <a:pt x="238" y="154"/>
                    </a:lnTo>
                    <a:lnTo>
                      <a:pt x="238" y="154"/>
                    </a:lnTo>
                    <a:lnTo>
                      <a:pt x="246" y="148"/>
                    </a:lnTo>
                    <a:lnTo>
                      <a:pt x="248" y="144"/>
                    </a:lnTo>
                    <a:lnTo>
                      <a:pt x="248" y="142"/>
                    </a:lnTo>
                    <a:lnTo>
                      <a:pt x="246" y="140"/>
                    </a:lnTo>
                    <a:lnTo>
                      <a:pt x="242" y="138"/>
                    </a:lnTo>
                    <a:lnTo>
                      <a:pt x="228" y="142"/>
                    </a:lnTo>
                    <a:lnTo>
                      <a:pt x="228" y="142"/>
                    </a:lnTo>
                    <a:close/>
                    <a:moveTo>
                      <a:pt x="790" y="22"/>
                    </a:moveTo>
                    <a:lnTo>
                      <a:pt x="790" y="22"/>
                    </a:lnTo>
                    <a:lnTo>
                      <a:pt x="792" y="20"/>
                    </a:lnTo>
                    <a:lnTo>
                      <a:pt x="792" y="18"/>
                    </a:lnTo>
                    <a:lnTo>
                      <a:pt x="788" y="14"/>
                    </a:lnTo>
                    <a:lnTo>
                      <a:pt x="780" y="12"/>
                    </a:lnTo>
                    <a:lnTo>
                      <a:pt x="770" y="12"/>
                    </a:lnTo>
                    <a:lnTo>
                      <a:pt x="748" y="12"/>
                    </a:lnTo>
                    <a:lnTo>
                      <a:pt x="736" y="14"/>
                    </a:lnTo>
                    <a:lnTo>
                      <a:pt x="728" y="18"/>
                    </a:lnTo>
                    <a:lnTo>
                      <a:pt x="728" y="18"/>
                    </a:lnTo>
                    <a:lnTo>
                      <a:pt x="726" y="18"/>
                    </a:lnTo>
                    <a:lnTo>
                      <a:pt x="726" y="20"/>
                    </a:lnTo>
                    <a:lnTo>
                      <a:pt x="730" y="22"/>
                    </a:lnTo>
                    <a:lnTo>
                      <a:pt x="750" y="26"/>
                    </a:lnTo>
                    <a:lnTo>
                      <a:pt x="774" y="26"/>
                    </a:lnTo>
                    <a:lnTo>
                      <a:pt x="784" y="26"/>
                    </a:lnTo>
                    <a:lnTo>
                      <a:pt x="790" y="22"/>
                    </a:lnTo>
                    <a:lnTo>
                      <a:pt x="790" y="22"/>
                    </a:lnTo>
                    <a:close/>
                    <a:moveTo>
                      <a:pt x="596" y="154"/>
                    </a:moveTo>
                    <a:lnTo>
                      <a:pt x="596" y="154"/>
                    </a:lnTo>
                    <a:lnTo>
                      <a:pt x="588" y="158"/>
                    </a:lnTo>
                    <a:lnTo>
                      <a:pt x="586" y="160"/>
                    </a:lnTo>
                    <a:lnTo>
                      <a:pt x="588" y="162"/>
                    </a:lnTo>
                    <a:lnTo>
                      <a:pt x="592" y="164"/>
                    </a:lnTo>
                    <a:lnTo>
                      <a:pt x="608" y="164"/>
                    </a:lnTo>
                    <a:lnTo>
                      <a:pt x="628" y="164"/>
                    </a:lnTo>
                    <a:lnTo>
                      <a:pt x="628" y="164"/>
                    </a:lnTo>
                    <a:lnTo>
                      <a:pt x="634" y="162"/>
                    </a:lnTo>
                    <a:lnTo>
                      <a:pt x="638" y="160"/>
                    </a:lnTo>
                    <a:lnTo>
                      <a:pt x="636" y="158"/>
                    </a:lnTo>
                    <a:lnTo>
                      <a:pt x="632" y="156"/>
                    </a:lnTo>
                    <a:lnTo>
                      <a:pt x="618" y="152"/>
                    </a:lnTo>
                    <a:lnTo>
                      <a:pt x="610" y="152"/>
                    </a:lnTo>
                    <a:lnTo>
                      <a:pt x="600" y="154"/>
                    </a:lnTo>
                    <a:lnTo>
                      <a:pt x="596" y="154"/>
                    </a:lnTo>
                    <a:close/>
                    <a:moveTo>
                      <a:pt x="482" y="98"/>
                    </a:moveTo>
                    <a:lnTo>
                      <a:pt x="482" y="98"/>
                    </a:lnTo>
                    <a:lnTo>
                      <a:pt x="460" y="100"/>
                    </a:lnTo>
                    <a:lnTo>
                      <a:pt x="458" y="102"/>
                    </a:lnTo>
                    <a:lnTo>
                      <a:pt x="462" y="106"/>
                    </a:lnTo>
                    <a:lnTo>
                      <a:pt x="462" y="106"/>
                    </a:lnTo>
                    <a:lnTo>
                      <a:pt x="470" y="108"/>
                    </a:lnTo>
                    <a:lnTo>
                      <a:pt x="482" y="108"/>
                    </a:lnTo>
                    <a:lnTo>
                      <a:pt x="510" y="106"/>
                    </a:lnTo>
                    <a:lnTo>
                      <a:pt x="510" y="106"/>
                    </a:lnTo>
                    <a:lnTo>
                      <a:pt x="514" y="106"/>
                    </a:lnTo>
                    <a:lnTo>
                      <a:pt x="516" y="104"/>
                    </a:lnTo>
                    <a:lnTo>
                      <a:pt x="508" y="100"/>
                    </a:lnTo>
                    <a:lnTo>
                      <a:pt x="496" y="98"/>
                    </a:lnTo>
                    <a:lnTo>
                      <a:pt x="482" y="98"/>
                    </a:lnTo>
                    <a:lnTo>
                      <a:pt x="482" y="98"/>
                    </a:lnTo>
                    <a:close/>
                    <a:moveTo>
                      <a:pt x="796" y="100"/>
                    </a:moveTo>
                    <a:lnTo>
                      <a:pt x="796" y="100"/>
                    </a:lnTo>
                    <a:lnTo>
                      <a:pt x="822" y="96"/>
                    </a:lnTo>
                    <a:lnTo>
                      <a:pt x="842" y="92"/>
                    </a:lnTo>
                    <a:lnTo>
                      <a:pt x="848" y="90"/>
                    </a:lnTo>
                    <a:lnTo>
                      <a:pt x="854" y="88"/>
                    </a:lnTo>
                    <a:lnTo>
                      <a:pt x="856" y="84"/>
                    </a:lnTo>
                    <a:lnTo>
                      <a:pt x="858" y="78"/>
                    </a:lnTo>
                    <a:lnTo>
                      <a:pt x="858" y="78"/>
                    </a:lnTo>
                    <a:lnTo>
                      <a:pt x="856" y="70"/>
                    </a:lnTo>
                    <a:lnTo>
                      <a:pt x="852" y="66"/>
                    </a:lnTo>
                    <a:lnTo>
                      <a:pt x="844" y="62"/>
                    </a:lnTo>
                    <a:lnTo>
                      <a:pt x="836" y="60"/>
                    </a:lnTo>
                    <a:lnTo>
                      <a:pt x="828" y="60"/>
                    </a:lnTo>
                    <a:lnTo>
                      <a:pt x="820" y="60"/>
                    </a:lnTo>
                    <a:lnTo>
                      <a:pt x="812" y="62"/>
                    </a:lnTo>
                    <a:lnTo>
                      <a:pt x="806" y="66"/>
                    </a:lnTo>
                    <a:lnTo>
                      <a:pt x="806" y="66"/>
                    </a:lnTo>
                    <a:lnTo>
                      <a:pt x="800" y="70"/>
                    </a:lnTo>
                    <a:lnTo>
                      <a:pt x="796" y="72"/>
                    </a:lnTo>
                    <a:lnTo>
                      <a:pt x="784" y="74"/>
                    </a:lnTo>
                    <a:lnTo>
                      <a:pt x="768" y="76"/>
                    </a:lnTo>
                    <a:lnTo>
                      <a:pt x="758" y="80"/>
                    </a:lnTo>
                    <a:lnTo>
                      <a:pt x="748" y="86"/>
                    </a:lnTo>
                    <a:lnTo>
                      <a:pt x="748" y="86"/>
                    </a:lnTo>
                    <a:lnTo>
                      <a:pt x="742" y="90"/>
                    </a:lnTo>
                    <a:lnTo>
                      <a:pt x="740" y="94"/>
                    </a:lnTo>
                    <a:lnTo>
                      <a:pt x="742" y="98"/>
                    </a:lnTo>
                    <a:lnTo>
                      <a:pt x="748" y="100"/>
                    </a:lnTo>
                    <a:lnTo>
                      <a:pt x="758" y="102"/>
                    </a:lnTo>
                    <a:lnTo>
                      <a:pt x="768" y="102"/>
                    </a:lnTo>
                    <a:lnTo>
                      <a:pt x="796" y="100"/>
                    </a:lnTo>
                    <a:lnTo>
                      <a:pt x="796" y="100"/>
                    </a:lnTo>
                    <a:close/>
                    <a:moveTo>
                      <a:pt x="506" y="132"/>
                    </a:moveTo>
                    <a:lnTo>
                      <a:pt x="506" y="132"/>
                    </a:lnTo>
                    <a:lnTo>
                      <a:pt x="494" y="134"/>
                    </a:lnTo>
                    <a:lnTo>
                      <a:pt x="482" y="132"/>
                    </a:lnTo>
                    <a:lnTo>
                      <a:pt x="476" y="134"/>
                    </a:lnTo>
                    <a:lnTo>
                      <a:pt x="472" y="136"/>
                    </a:lnTo>
                    <a:lnTo>
                      <a:pt x="468" y="140"/>
                    </a:lnTo>
                    <a:lnTo>
                      <a:pt x="466" y="148"/>
                    </a:lnTo>
                    <a:lnTo>
                      <a:pt x="466" y="148"/>
                    </a:lnTo>
                    <a:lnTo>
                      <a:pt x="466" y="154"/>
                    </a:lnTo>
                    <a:lnTo>
                      <a:pt x="468" y="156"/>
                    </a:lnTo>
                    <a:lnTo>
                      <a:pt x="472" y="158"/>
                    </a:lnTo>
                    <a:lnTo>
                      <a:pt x="478" y="158"/>
                    </a:lnTo>
                    <a:lnTo>
                      <a:pt x="494" y="158"/>
                    </a:lnTo>
                    <a:lnTo>
                      <a:pt x="512" y="158"/>
                    </a:lnTo>
                    <a:lnTo>
                      <a:pt x="512" y="158"/>
                    </a:lnTo>
                    <a:lnTo>
                      <a:pt x="520" y="156"/>
                    </a:lnTo>
                    <a:lnTo>
                      <a:pt x="524" y="154"/>
                    </a:lnTo>
                    <a:lnTo>
                      <a:pt x="526" y="150"/>
                    </a:lnTo>
                    <a:lnTo>
                      <a:pt x="524" y="144"/>
                    </a:lnTo>
                    <a:lnTo>
                      <a:pt x="522" y="138"/>
                    </a:lnTo>
                    <a:lnTo>
                      <a:pt x="516" y="134"/>
                    </a:lnTo>
                    <a:lnTo>
                      <a:pt x="512" y="132"/>
                    </a:lnTo>
                    <a:lnTo>
                      <a:pt x="506" y="132"/>
                    </a:lnTo>
                    <a:lnTo>
                      <a:pt x="506" y="132"/>
                    </a:lnTo>
                    <a:close/>
                    <a:moveTo>
                      <a:pt x="456" y="58"/>
                    </a:moveTo>
                    <a:lnTo>
                      <a:pt x="456" y="58"/>
                    </a:lnTo>
                    <a:lnTo>
                      <a:pt x="460" y="58"/>
                    </a:lnTo>
                    <a:lnTo>
                      <a:pt x="464" y="58"/>
                    </a:lnTo>
                    <a:lnTo>
                      <a:pt x="470" y="58"/>
                    </a:lnTo>
                    <a:lnTo>
                      <a:pt x="480" y="58"/>
                    </a:lnTo>
                    <a:lnTo>
                      <a:pt x="486" y="58"/>
                    </a:lnTo>
                    <a:lnTo>
                      <a:pt x="492" y="62"/>
                    </a:lnTo>
                    <a:lnTo>
                      <a:pt x="492" y="62"/>
                    </a:lnTo>
                    <a:lnTo>
                      <a:pt x="496" y="64"/>
                    </a:lnTo>
                    <a:lnTo>
                      <a:pt x="500" y="64"/>
                    </a:lnTo>
                    <a:lnTo>
                      <a:pt x="508" y="60"/>
                    </a:lnTo>
                    <a:lnTo>
                      <a:pt x="524" y="56"/>
                    </a:lnTo>
                    <a:lnTo>
                      <a:pt x="548" y="52"/>
                    </a:lnTo>
                    <a:lnTo>
                      <a:pt x="548" y="52"/>
                    </a:lnTo>
                    <a:lnTo>
                      <a:pt x="552" y="52"/>
                    </a:lnTo>
                    <a:lnTo>
                      <a:pt x="550" y="50"/>
                    </a:lnTo>
                    <a:lnTo>
                      <a:pt x="540" y="48"/>
                    </a:lnTo>
                    <a:lnTo>
                      <a:pt x="498" y="44"/>
                    </a:lnTo>
                    <a:lnTo>
                      <a:pt x="498" y="44"/>
                    </a:lnTo>
                    <a:lnTo>
                      <a:pt x="492" y="44"/>
                    </a:lnTo>
                    <a:lnTo>
                      <a:pt x="488" y="44"/>
                    </a:lnTo>
                    <a:lnTo>
                      <a:pt x="488" y="46"/>
                    </a:lnTo>
                    <a:lnTo>
                      <a:pt x="490" y="48"/>
                    </a:lnTo>
                    <a:lnTo>
                      <a:pt x="494" y="52"/>
                    </a:lnTo>
                    <a:lnTo>
                      <a:pt x="492" y="54"/>
                    </a:lnTo>
                    <a:lnTo>
                      <a:pt x="488" y="54"/>
                    </a:lnTo>
                    <a:lnTo>
                      <a:pt x="488" y="54"/>
                    </a:lnTo>
                    <a:lnTo>
                      <a:pt x="462" y="52"/>
                    </a:lnTo>
                    <a:lnTo>
                      <a:pt x="454" y="54"/>
                    </a:lnTo>
                    <a:lnTo>
                      <a:pt x="454" y="56"/>
                    </a:lnTo>
                    <a:lnTo>
                      <a:pt x="456" y="58"/>
                    </a:lnTo>
                    <a:lnTo>
                      <a:pt x="456" y="58"/>
                    </a:lnTo>
                    <a:close/>
                    <a:moveTo>
                      <a:pt x="678" y="84"/>
                    </a:moveTo>
                    <a:lnTo>
                      <a:pt x="678" y="84"/>
                    </a:lnTo>
                    <a:lnTo>
                      <a:pt x="688" y="82"/>
                    </a:lnTo>
                    <a:lnTo>
                      <a:pt x="696" y="78"/>
                    </a:lnTo>
                    <a:lnTo>
                      <a:pt x="704" y="74"/>
                    </a:lnTo>
                    <a:lnTo>
                      <a:pt x="710" y="70"/>
                    </a:lnTo>
                    <a:lnTo>
                      <a:pt x="710" y="68"/>
                    </a:lnTo>
                    <a:lnTo>
                      <a:pt x="710" y="66"/>
                    </a:lnTo>
                    <a:lnTo>
                      <a:pt x="704" y="64"/>
                    </a:lnTo>
                    <a:lnTo>
                      <a:pt x="692" y="64"/>
                    </a:lnTo>
                    <a:lnTo>
                      <a:pt x="670" y="68"/>
                    </a:lnTo>
                    <a:lnTo>
                      <a:pt x="670" y="68"/>
                    </a:lnTo>
                    <a:lnTo>
                      <a:pt x="654" y="72"/>
                    </a:lnTo>
                    <a:lnTo>
                      <a:pt x="646" y="76"/>
                    </a:lnTo>
                    <a:lnTo>
                      <a:pt x="644" y="80"/>
                    </a:lnTo>
                    <a:lnTo>
                      <a:pt x="646" y="82"/>
                    </a:lnTo>
                    <a:lnTo>
                      <a:pt x="658" y="84"/>
                    </a:lnTo>
                    <a:lnTo>
                      <a:pt x="678" y="84"/>
                    </a:lnTo>
                    <a:lnTo>
                      <a:pt x="678" y="84"/>
                    </a:lnTo>
                    <a:close/>
                    <a:moveTo>
                      <a:pt x="568" y="44"/>
                    </a:moveTo>
                    <a:lnTo>
                      <a:pt x="568" y="44"/>
                    </a:lnTo>
                    <a:lnTo>
                      <a:pt x="580" y="44"/>
                    </a:lnTo>
                    <a:lnTo>
                      <a:pt x="582" y="44"/>
                    </a:lnTo>
                    <a:lnTo>
                      <a:pt x="580" y="42"/>
                    </a:lnTo>
                    <a:lnTo>
                      <a:pt x="570" y="38"/>
                    </a:lnTo>
                    <a:lnTo>
                      <a:pt x="556" y="34"/>
                    </a:lnTo>
                    <a:lnTo>
                      <a:pt x="556" y="34"/>
                    </a:lnTo>
                    <a:lnTo>
                      <a:pt x="544" y="30"/>
                    </a:lnTo>
                    <a:lnTo>
                      <a:pt x="536" y="28"/>
                    </a:lnTo>
                    <a:lnTo>
                      <a:pt x="528" y="30"/>
                    </a:lnTo>
                    <a:lnTo>
                      <a:pt x="518" y="34"/>
                    </a:lnTo>
                    <a:lnTo>
                      <a:pt x="518" y="34"/>
                    </a:lnTo>
                    <a:lnTo>
                      <a:pt x="510" y="38"/>
                    </a:lnTo>
                    <a:lnTo>
                      <a:pt x="508" y="40"/>
                    </a:lnTo>
                    <a:lnTo>
                      <a:pt x="510" y="40"/>
                    </a:lnTo>
                    <a:lnTo>
                      <a:pt x="520" y="40"/>
                    </a:lnTo>
                    <a:lnTo>
                      <a:pt x="520" y="40"/>
                    </a:lnTo>
                    <a:lnTo>
                      <a:pt x="542" y="42"/>
                    </a:lnTo>
                    <a:lnTo>
                      <a:pt x="568" y="44"/>
                    </a:lnTo>
                    <a:lnTo>
                      <a:pt x="568" y="44"/>
                    </a:lnTo>
                    <a:close/>
                    <a:moveTo>
                      <a:pt x="672" y="122"/>
                    </a:moveTo>
                    <a:lnTo>
                      <a:pt x="672" y="122"/>
                    </a:lnTo>
                    <a:lnTo>
                      <a:pt x="682" y="124"/>
                    </a:lnTo>
                    <a:lnTo>
                      <a:pt x="690" y="124"/>
                    </a:lnTo>
                    <a:lnTo>
                      <a:pt x="694" y="124"/>
                    </a:lnTo>
                    <a:lnTo>
                      <a:pt x="698" y="120"/>
                    </a:lnTo>
                    <a:lnTo>
                      <a:pt x="706" y="116"/>
                    </a:lnTo>
                    <a:lnTo>
                      <a:pt x="710" y="112"/>
                    </a:lnTo>
                    <a:lnTo>
                      <a:pt x="718" y="112"/>
                    </a:lnTo>
                    <a:lnTo>
                      <a:pt x="718" y="112"/>
                    </a:lnTo>
                    <a:lnTo>
                      <a:pt x="724" y="110"/>
                    </a:lnTo>
                    <a:lnTo>
                      <a:pt x="728" y="106"/>
                    </a:lnTo>
                    <a:lnTo>
                      <a:pt x="730" y="100"/>
                    </a:lnTo>
                    <a:lnTo>
                      <a:pt x="728" y="94"/>
                    </a:lnTo>
                    <a:lnTo>
                      <a:pt x="724" y="88"/>
                    </a:lnTo>
                    <a:lnTo>
                      <a:pt x="716" y="84"/>
                    </a:lnTo>
                    <a:lnTo>
                      <a:pt x="704" y="84"/>
                    </a:lnTo>
                    <a:lnTo>
                      <a:pt x="688" y="88"/>
                    </a:lnTo>
                    <a:lnTo>
                      <a:pt x="688" y="88"/>
                    </a:lnTo>
                    <a:lnTo>
                      <a:pt x="670" y="94"/>
                    </a:lnTo>
                    <a:lnTo>
                      <a:pt x="656" y="94"/>
                    </a:lnTo>
                    <a:lnTo>
                      <a:pt x="644" y="92"/>
                    </a:lnTo>
                    <a:lnTo>
                      <a:pt x="634" y="90"/>
                    </a:lnTo>
                    <a:lnTo>
                      <a:pt x="626" y="90"/>
                    </a:lnTo>
                    <a:lnTo>
                      <a:pt x="620" y="90"/>
                    </a:lnTo>
                    <a:lnTo>
                      <a:pt x="614" y="94"/>
                    </a:lnTo>
                    <a:lnTo>
                      <a:pt x="608" y="104"/>
                    </a:lnTo>
                    <a:lnTo>
                      <a:pt x="608" y="104"/>
                    </a:lnTo>
                    <a:lnTo>
                      <a:pt x="606" y="116"/>
                    </a:lnTo>
                    <a:lnTo>
                      <a:pt x="606" y="118"/>
                    </a:lnTo>
                    <a:lnTo>
                      <a:pt x="608" y="122"/>
                    </a:lnTo>
                    <a:lnTo>
                      <a:pt x="614" y="124"/>
                    </a:lnTo>
                    <a:lnTo>
                      <a:pt x="622" y="124"/>
                    </a:lnTo>
                    <a:lnTo>
                      <a:pt x="646" y="120"/>
                    </a:lnTo>
                    <a:lnTo>
                      <a:pt x="660" y="120"/>
                    </a:lnTo>
                    <a:lnTo>
                      <a:pt x="672" y="122"/>
                    </a:lnTo>
                    <a:lnTo>
                      <a:pt x="672" y="122"/>
                    </a:lnTo>
                    <a:close/>
                    <a:moveTo>
                      <a:pt x="4428" y="2314"/>
                    </a:moveTo>
                    <a:lnTo>
                      <a:pt x="4428" y="2314"/>
                    </a:lnTo>
                    <a:lnTo>
                      <a:pt x="4426" y="2314"/>
                    </a:lnTo>
                    <a:lnTo>
                      <a:pt x="4428" y="2314"/>
                    </a:lnTo>
                    <a:lnTo>
                      <a:pt x="4432" y="2310"/>
                    </a:lnTo>
                    <a:lnTo>
                      <a:pt x="4436" y="2306"/>
                    </a:lnTo>
                    <a:lnTo>
                      <a:pt x="4436" y="2302"/>
                    </a:lnTo>
                    <a:lnTo>
                      <a:pt x="4436" y="2302"/>
                    </a:lnTo>
                    <a:lnTo>
                      <a:pt x="4436" y="2302"/>
                    </a:lnTo>
                    <a:lnTo>
                      <a:pt x="4432" y="2304"/>
                    </a:lnTo>
                    <a:lnTo>
                      <a:pt x="4428" y="2314"/>
                    </a:lnTo>
                    <a:lnTo>
                      <a:pt x="4428" y="2314"/>
                    </a:lnTo>
                    <a:close/>
                    <a:moveTo>
                      <a:pt x="4510" y="2192"/>
                    </a:moveTo>
                    <a:lnTo>
                      <a:pt x="4510" y="2192"/>
                    </a:lnTo>
                    <a:lnTo>
                      <a:pt x="4508" y="2194"/>
                    </a:lnTo>
                    <a:lnTo>
                      <a:pt x="4506" y="2196"/>
                    </a:lnTo>
                    <a:lnTo>
                      <a:pt x="4502" y="2202"/>
                    </a:lnTo>
                    <a:lnTo>
                      <a:pt x="4498" y="2210"/>
                    </a:lnTo>
                    <a:lnTo>
                      <a:pt x="4496" y="2214"/>
                    </a:lnTo>
                    <a:lnTo>
                      <a:pt x="4492" y="2216"/>
                    </a:lnTo>
                    <a:lnTo>
                      <a:pt x="4492" y="2216"/>
                    </a:lnTo>
                    <a:lnTo>
                      <a:pt x="4482" y="2220"/>
                    </a:lnTo>
                    <a:lnTo>
                      <a:pt x="4476" y="2224"/>
                    </a:lnTo>
                    <a:lnTo>
                      <a:pt x="4476" y="2226"/>
                    </a:lnTo>
                    <a:lnTo>
                      <a:pt x="4474" y="2228"/>
                    </a:lnTo>
                    <a:lnTo>
                      <a:pt x="4478" y="2236"/>
                    </a:lnTo>
                    <a:lnTo>
                      <a:pt x="4478" y="2236"/>
                    </a:lnTo>
                    <a:lnTo>
                      <a:pt x="4480" y="2238"/>
                    </a:lnTo>
                    <a:lnTo>
                      <a:pt x="4482" y="2238"/>
                    </a:lnTo>
                    <a:lnTo>
                      <a:pt x="4484" y="2236"/>
                    </a:lnTo>
                    <a:lnTo>
                      <a:pt x="4490" y="2230"/>
                    </a:lnTo>
                    <a:lnTo>
                      <a:pt x="4494" y="2228"/>
                    </a:lnTo>
                    <a:lnTo>
                      <a:pt x="4498" y="2226"/>
                    </a:lnTo>
                    <a:lnTo>
                      <a:pt x="4498" y="2226"/>
                    </a:lnTo>
                    <a:lnTo>
                      <a:pt x="4504" y="2224"/>
                    </a:lnTo>
                    <a:lnTo>
                      <a:pt x="4508" y="2220"/>
                    </a:lnTo>
                    <a:lnTo>
                      <a:pt x="4510" y="2214"/>
                    </a:lnTo>
                    <a:lnTo>
                      <a:pt x="4512" y="2208"/>
                    </a:lnTo>
                    <a:lnTo>
                      <a:pt x="4512" y="2198"/>
                    </a:lnTo>
                    <a:lnTo>
                      <a:pt x="4512" y="2194"/>
                    </a:lnTo>
                    <a:lnTo>
                      <a:pt x="4510" y="2192"/>
                    </a:lnTo>
                    <a:lnTo>
                      <a:pt x="4510" y="2192"/>
                    </a:lnTo>
                    <a:close/>
                    <a:moveTo>
                      <a:pt x="4462" y="2262"/>
                    </a:moveTo>
                    <a:lnTo>
                      <a:pt x="4462" y="2262"/>
                    </a:lnTo>
                    <a:lnTo>
                      <a:pt x="4460" y="2260"/>
                    </a:lnTo>
                    <a:lnTo>
                      <a:pt x="4456" y="2262"/>
                    </a:lnTo>
                    <a:lnTo>
                      <a:pt x="4452" y="2272"/>
                    </a:lnTo>
                    <a:lnTo>
                      <a:pt x="4448" y="2284"/>
                    </a:lnTo>
                    <a:lnTo>
                      <a:pt x="4448" y="2292"/>
                    </a:lnTo>
                    <a:lnTo>
                      <a:pt x="4448" y="2292"/>
                    </a:lnTo>
                    <a:lnTo>
                      <a:pt x="4448" y="2294"/>
                    </a:lnTo>
                    <a:lnTo>
                      <a:pt x="4452" y="2292"/>
                    </a:lnTo>
                    <a:lnTo>
                      <a:pt x="4458" y="2282"/>
                    </a:lnTo>
                    <a:lnTo>
                      <a:pt x="4462" y="2272"/>
                    </a:lnTo>
                    <a:lnTo>
                      <a:pt x="4462" y="2266"/>
                    </a:lnTo>
                    <a:lnTo>
                      <a:pt x="4462" y="2262"/>
                    </a:lnTo>
                    <a:lnTo>
                      <a:pt x="4462" y="2262"/>
                    </a:lnTo>
                    <a:close/>
                    <a:moveTo>
                      <a:pt x="4486" y="4072"/>
                    </a:moveTo>
                    <a:lnTo>
                      <a:pt x="4486" y="4072"/>
                    </a:lnTo>
                    <a:lnTo>
                      <a:pt x="4482" y="4070"/>
                    </a:lnTo>
                    <a:lnTo>
                      <a:pt x="4482" y="4068"/>
                    </a:lnTo>
                    <a:lnTo>
                      <a:pt x="4480" y="4066"/>
                    </a:lnTo>
                    <a:lnTo>
                      <a:pt x="4478" y="4064"/>
                    </a:lnTo>
                    <a:lnTo>
                      <a:pt x="4478" y="4064"/>
                    </a:lnTo>
                    <a:lnTo>
                      <a:pt x="4474" y="4064"/>
                    </a:lnTo>
                    <a:lnTo>
                      <a:pt x="4470" y="4064"/>
                    </a:lnTo>
                    <a:lnTo>
                      <a:pt x="4460" y="4068"/>
                    </a:lnTo>
                    <a:lnTo>
                      <a:pt x="4450" y="4076"/>
                    </a:lnTo>
                    <a:lnTo>
                      <a:pt x="4448" y="4080"/>
                    </a:lnTo>
                    <a:lnTo>
                      <a:pt x="4448" y="4084"/>
                    </a:lnTo>
                    <a:lnTo>
                      <a:pt x="4448" y="4084"/>
                    </a:lnTo>
                    <a:lnTo>
                      <a:pt x="4446" y="4088"/>
                    </a:lnTo>
                    <a:lnTo>
                      <a:pt x="4442" y="4094"/>
                    </a:lnTo>
                    <a:lnTo>
                      <a:pt x="4440" y="4100"/>
                    </a:lnTo>
                    <a:lnTo>
                      <a:pt x="4438" y="4104"/>
                    </a:lnTo>
                    <a:lnTo>
                      <a:pt x="4438" y="4104"/>
                    </a:lnTo>
                    <a:lnTo>
                      <a:pt x="4440" y="4106"/>
                    </a:lnTo>
                    <a:lnTo>
                      <a:pt x="4442" y="4104"/>
                    </a:lnTo>
                    <a:lnTo>
                      <a:pt x="4448" y="4104"/>
                    </a:lnTo>
                    <a:lnTo>
                      <a:pt x="4458" y="4106"/>
                    </a:lnTo>
                    <a:lnTo>
                      <a:pt x="4458" y="4106"/>
                    </a:lnTo>
                    <a:lnTo>
                      <a:pt x="4462" y="4106"/>
                    </a:lnTo>
                    <a:lnTo>
                      <a:pt x="4466" y="4106"/>
                    </a:lnTo>
                    <a:lnTo>
                      <a:pt x="4470" y="4102"/>
                    </a:lnTo>
                    <a:lnTo>
                      <a:pt x="4474" y="4098"/>
                    </a:lnTo>
                    <a:lnTo>
                      <a:pt x="4478" y="4094"/>
                    </a:lnTo>
                    <a:lnTo>
                      <a:pt x="4478" y="4094"/>
                    </a:lnTo>
                    <a:lnTo>
                      <a:pt x="4480" y="4092"/>
                    </a:lnTo>
                    <a:lnTo>
                      <a:pt x="4482" y="4090"/>
                    </a:lnTo>
                    <a:lnTo>
                      <a:pt x="4484" y="4082"/>
                    </a:lnTo>
                    <a:lnTo>
                      <a:pt x="4484" y="4082"/>
                    </a:lnTo>
                    <a:lnTo>
                      <a:pt x="4488" y="4074"/>
                    </a:lnTo>
                    <a:lnTo>
                      <a:pt x="4488" y="4072"/>
                    </a:lnTo>
                    <a:lnTo>
                      <a:pt x="4486" y="4072"/>
                    </a:lnTo>
                    <a:lnTo>
                      <a:pt x="4486" y="4072"/>
                    </a:lnTo>
                    <a:close/>
                    <a:moveTo>
                      <a:pt x="2916" y="5240"/>
                    </a:moveTo>
                    <a:lnTo>
                      <a:pt x="2916" y="5240"/>
                    </a:lnTo>
                    <a:lnTo>
                      <a:pt x="2912" y="5240"/>
                    </a:lnTo>
                    <a:lnTo>
                      <a:pt x="2908" y="5240"/>
                    </a:lnTo>
                    <a:lnTo>
                      <a:pt x="2902" y="5244"/>
                    </a:lnTo>
                    <a:lnTo>
                      <a:pt x="2898" y="5248"/>
                    </a:lnTo>
                    <a:lnTo>
                      <a:pt x="2896" y="5252"/>
                    </a:lnTo>
                    <a:lnTo>
                      <a:pt x="2896" y="5252"/>
                    </a:lnTo>
                    <a:lnTo>
                      <a:pt x="2896" y="5260"/>
                    </a:lnTo>
                    <a:lnTo>
                      <a:pt x="2896" y="5264"/>
                    </a:lnTo>
                    <a:lnTo>
                      <a:pt x="2894" y="5266"/>
                    </a:lnTo>
                    <a:lnTo>
                      <a:pt x="2894" y="5266"/>
                    </a:lnTo>
                    <a:lnTo>
                      <a:pt x="2890" y="5266"/>
                    </a:lnTo>
                    <a:lnTo>
                      <a:pt x="2888" y="5270"/>
                    </a:lnTo>
                    <a:lnTo>
                      <a:pt x="2892" y="5272"/>
                    </a:lnTo>
                    <a:lnTo>
                      <a:pt x="2904" y="5274"/>
                    </a:lnTo>
                    <a:lnTo>
                      <a:pt x="2904" y="5274"/>
                    </a:lnTo>
                    <a:lnTo>
                      <a:pt x="2914" y="5274"/>
                    </a:lnTo>
                    <a:lnTo>
                      <a:pt x="2916" y="5272"/>
                    </a:lnTo>
                    <a:lnTo>
                      <a:pt x="2918" y="5272"/>
                    </a:lnTo>
                    <a:lnTo>
                      <a:pt x="2918" y="5266"/>
                    </a:lnTo>
                    <a:lnTo>
                      <a:pt x="2920" y="5258"/>
                    </a:lnTo>
                    <a:lnTo>
                      <a:pt x="2920" y="5258"/>
                    </a:lnTo>
                    <a:lnTo>
                      <a:pt x="2924" y="5250"/>
                    </a:lnTo>
                    <a:lnTo>
                      <a:pt x="2924" y="5246"/>
                    </a:lnTo>
                    <a:lnTo>
                      <a:pt x="2922" y="5242"/>
                    </a:lnTo>
                    <a:lnTo>
                      <a:pt x="2916" y="5240"/>
                    </a:lnTo>
                    <a:lnTo>
                      <a:pt x="2916" y="5240"/>
                    </a:lnTo>
                    <a:close/>
                    <a:moveTo>
                      <a:pt x="2868" y="5234"/>
                    </a:moveTo>
                    <a:lnTo>
                      <a:pt x="2868" y="5234"/>
                    </a:lnTo>
                    <a:lnTo>
                      <a:pt x="2866" y="5232"/>
                    </a:lnTo>
                    <a:lnTo>
                      <a:pt x="2864" y="5232"/>
                    </a:lnTo>
                    <a:lnTo>
                      <a:pt x="2860" y="5234"/>
                    </a:lnTo>
                    <a:lnTo>
                      <a:pt x="2854" y="5238"/>
                    </a:lnTo>
                    <a:lnTo>
                      <a:pt x="2850" y="5238"/>
                    </a:lnTo>
                    <a:lnTo>
                      <a:pt x="2844" y="5236"/>
                    </a:lnTo>
                    <a:lnTo>
                      <a:pt x="2844" y="5236"/>
                    </a:lnTo>
                    <a:lnTo>
                      <a:pt x="2838" y="5234"/>
                    </a:lnTo>
                    <a:lnTo>
                      <a:pt x="2836" y="5234"/>
                    </a:lnTo>
                    <a:lnTo>
                      <a:pt x="2834" y="5236"/>
                    </a:lnTo>
                    <a:lnTo>
                      <a:pt x="2834" y="5240"/>
                    </a:lnTo>
                    <a:lnTo>
                      <a:pt x="2836" y="5246"/>
                    </a:lnTo>
                    <a:lnTo>
                      <a:pt x="2836" y="5246"/>
                    </a:lnTo>
                    <a:lnTo>
                      <a:pt x="2840" y="5248"/>
                    </a:lnTo>
                    <a:lnTo>
                      <a:pt x="2844" y="5250"/>
                    </a:lnTo>
                    <a:lnTo>
                      <a:pt x="2850" y="5252"/>
                    </a:lnTo>
                    <a:lnTo>
                      <a:pt x="2856" y="5256"/>
                    </a:lnTo>
                    <a:lnTo>
                      <a:pt x="2856" y="5256"/>
                    </a:lnTo>
                    <a:lnTo>
                      <a:pt x="2860" y="5262"/>
                    </a:lnTo>
                    <a:lnTo>
                      <a:pt x="2860" y="5266"/>
                    </a:lnTo>
                    <a:lnTo>
                      <a:pt x="2860" y="5270"/>
                    </a:lnTo>
                    <a:lnTo>
                      <a:pt x="2862" y="5270"/>
                    </a:lnTo>
                    <a:lnTo>
                      <a:pt x="2862" y="5270"/>
                    </a:lnTo>
                    <a:lnTo>
                      <a:pt x="2866" y="5270"/>
                    </a:lnTo>
                    <a:lnTo>
                      <a:pt x="2868" y="5266"/>
                    </a:lnTo>
                    <a:lnTo>
                      <a:pt x="2870" y="5260"/>
                    </a:lnTo>
                    <a:lnTo>
                      <a:pt x="2876" y="5254"/>
                    </a:lnTo>
                    <a:lnTo>
                      <a:pt x="2876" y="5254"/>
                    </a:lnTo>
                    <a:lnTo>
                      <a:pt x="2882" y="5250"/>
                    </a:lnTo>
                    <a:lnTo>
                      <a:pt x="2882" y="5246"/>
                    </a:lnTo>
                    <a:lnTo>
                      <a:pt x="2882" y="5244"/>
                    </a:lnTo>
                    <a:lnTo>
                      <a:pt x="2876" y="5240"/>
                    </a:lnTo>
                    <a:lnTo>
                      <a:pt x="2868" y="5234"/>
                    </a:lnTo>
                    <a:lnTo>
                      <a:pt x="2868" y="5234"/>
                    </a:lnTo>
                    <a:close/>
                    <a:moveTo>
                      <a:pt x="2906" y="5026"/>
                    </a:moveTo>
                    <a:lnTo>
                      <a:pt x="2906" y="5026"/>
                    </a:lnTo>
                    <a:lnTo>
                      <a:pt x="2906" y="5016"/>
                    </a:lnTo>
                    <a:lnTo>
                      <a:pt x="2906" y="5006"/>
                    </a:lnTo>
                    <a:lnTo>
                      <a:pt x="2904" y="5000"/>
                    </a:lnTo>
                    <a:lnTo>
                      <a:pt x="2902" y="5000"/>
                    </a:lnTo>
                    <a:lnTo>
                      <a:pt x="2900" y="5002"/>
                    </a:lnTo>
                    <a:lnTo>
                      <a:pt x="2900" y="5002"/>
                    </a:lnTo>
                    <a:lnTo>
                      <a:pt x="2898" y="5010"/>
                    </a:lnTo>
                    <a:lnTo>
                      <a:pt x="2898" y="5018"/>
                    </a:lnTo>
                    <a:lnTo>
                      <a:pt x="2898" y="5026"/>
                    </a:lnTo>
                    <a:lnTo>
                      <a:pt x="2896" y="5036"/>
                    </a:lnTo>
                    <a:lnTo>
                      <a:pt x="2896" y="5036"/>
                    </a:lnTo>
                    <a:lnTo>
                      <a:pt x="2896" y="5038"/>
                    </a:lnTo>
                    <a:lnTo>
                      <a:pt x="2898" y="5038"/>
                    </a:lnTo>
                    <a:lnTo>
                      <a:pt x="2902" y="5034"/>
                    </a:lnTo>
                    <a:lnTo>
                      <a:pt x="2906" y="5026"/>
                    </a:lnTo>
                    <a:lnTo>
                      <a:pt x="2906" y="5026"/>
                    </a:lnTo>
                    <a:close/>
                    <a:moveTo>
                      <a:pt x="3284" y="4314"/>
                    </a:moveTo>
                    <a:lnTo>
                      <a:pt x="3284" y="4314"/>
                    </a:lnTo>
                    <a:lnTo>
                      <a:pt x="3284" y="4314"/>
                    </a:lnTo>
                    <a:lnTo>
                      <a:pt x="3286" y="4316"/>
                    </a:lnTo>
                    <a:lnTo>
                      <a:pt x="3288" y="4318"/>
                    </a:lnTo>
                    <a:lnTo>
                      <a:pt x="3290" y="4318"/>
                    </a:lnTo>
                    <a:lnTo>
                      <a:pt x="3290" y="4318"/>
                    </a:lnTo>
                    <a:lnTo>
                      <a:pt x="3290" y="4316"/>
                    </a:lnTo>
                    <a:lnTo>
                      <a:pt x="3290" y="4314"/>
                    </a:lnTo>
                    <a:lnTo>
                      <a:pt x="3288" y="4312"/>
                    </a:lnTo>
                    <a:lnTo>
                      <a:pt x="3284" y="4314"/>
                    </a:lnTo>
                    <a:lnTo>
                      <a:pt x="3284" y="4314"/>
                    </a:lnTo>
                    <a:close/>
                    <a:moveTo>
                      <a:pt x="3284" y="4332"/>
                    </a:moveTo>
                    <a:lnTo>
                      <a:pt x="3284" y="4332"/>
                    </a:lnTo>
                    <a:lnTo>
                      <a:pt x="3284" y="4330"/>
                    </a:lnTo>
                    <a:lnTo>
                      <a:pt x="3282" y="4330"/>
                    </a:lnTo>
                    <a:lnTo>
                      <a:pt x="3278" y="4336"/>
                    </a:lnTo>
                    <a:lnTo>
                      <a:pt x="3278" y="4344"/>
                    </a:lnTo>
                    <a:lnTo>
                      <a:pt x="3278" y="4350"/>
                    </a:lnTo>
                    <a:lnTo>
                      <a:pt x="3282" y="4354"/>
                    </a:lnTo>
                    <a:lnTo>
                      <a:pt x="3282" y="4354"/>
                    </a:lnTo>
                    <a:lnTo>
                      <a:pt x="3284" y="4358"/>
                    </a:lnTo>
                    <a:lnTo>
                      <a:pt x="3286" y="4358"/>
                    </a:lnTo>
                    <a:lnTo>
                      <a:pt x="3286" y="4354"/>
                    </a:lnTo>
                    <a:lnTo>
                      <a:pt x="3284" y="4332"/>
                    </a:lnTo>
                    <a:lnTo>
                      <a:pt x="3284" y="4332"/>
                    </a:lnTo>
                    <a:close/>
                    <a:moveTo>
                      <a:pt x="2868" y="5178"/>
                    </a:moveTo>
                    <a:lnTo>
                      <a:pt x="2868" y="5178"/>
                    </a:lnTo>
                    <a:lnTo>
                      <a:pt x="2870" y="5178"/>
                    </a:lnTo>
                    <a:lnTo>
                      <a:pt x="2872" y="5178"/>
                    </a:lnTo>
                    <a:lnTo>
                      <a:pt x="2874" y="5178"/>
                    </a:lnTo>
                    <a:lnTo>
                      <a:pt x="2876" y="5178"/>
                    </a:lnTo>
                    <a:lnTo>
                      <a:pt x="2876" y="5178"/>
                    </a:lnTo>
                    <a:lnTo>
                      <a:pt x="2876" y="5176"/>
                    </a:lnTo>
                    <a:lnTo>
                      <a:pt x="2874" y="5174"/>
                    </a:lnTo>
                    <a:lnTo>
                      <a:pt x="2872" y="5172"/>
                    </a:lnTo>
                    <a:lnTo>
                      <a:pt x="2866" y="5172"/>
                    </a:lnTo>
                    <a:lnTo>
                      <a:pt x="2866" y="5172"/>
                    </a:lnTo>
                    <a:lnTo>
                      <a:pt x="2862" y="5174"/>
                    </a:lnTo>
                    <a:lnTo>
                      <a:pt x="2864" y="5176"/>
                    </a:lnTo>
                    <a:lnTo>
                      <a:pt x="2866" y="5178"/>
                    </a:lnTo>
                    <a:lnTo>
                      <a:pt x="2868" y="5178"/>
                    </a:lnTo>
                    <a:lnTo>
                      <a:pt x="2868" y="5178"/>
                    </a:lnTo>
                    <a:close/>
                    <a:moveTo>
                      <a:pt x="2798" y="5190"/>
                    </a:moveTo>
                    <a:lnTo>
                      <a:pt x="2798" y="5190"/>
                    </a:lnTo>
                    <a:lnTo>
                      <a:pt x="2804" y="5186"/>
                    </a:lnTo>
                    <a:lnTo>
                      <a:pt x="2812" y="5182"/>
                    </a:lnTo>
                    <a:lnTo>
                      <a:pt x="2818" y="5180"/>
                    </a:lnTo>
                    <a:lnTo>
                      <a:pt x="2818" y="5178"/>
                    </a:lnTo>
                    <a:lnTo>
                      <a:pt x="2818" y="5176"/>
                    </a:lnTo>
                    <a:lnTo>
                      <a:pt x="2818" y="5176"/>
                    </a:lnTo>
                    <a:lnTo>
                      <a:pt x="2814" y="5174"/>
                    </a:lnTo>
                    <a:lnTo>
                      <a:pt x="2810" y="5174"/>
                    </a:lnTo>
                    <a:lnTo>
                      <a:pt x="2804" y="5176"/>
                    </a:lnTo>
                    <a:lnTo>
                      <a:pt x="2794" y="5176"/>
                    </a:lnTo>
                    <a:lnTo>
                      <a:pt x="2794" y="5176"/>
                    </a:lnTo>
                    <a:lnTo>
                      <a:pt x="2780" y="5174"/>
                    </a:lnTo>
                    <a:lnTo>
                      <a:pt x="2770" y="5176"/>
                    </a:lnTo>
                    <a:lnTo>
                      <a:pt x="2764" y="5180"/>
                    </a:lnTo>
                    <a:lnTo>
                      <a:pt x="2764" y="5182"/>
                    </a:lnTo>
                    <a:lnTo>
                      <a:pt x="2764" y="5186"/>
                    </a:lnTo>
                    <a:lnTo>
                      <a:pt x="2764" y="5186"/>
                    </a:lnTo>
                    <a:lnTo>
                      <a:pt x="2768" y="5188"/>
                    </a:lnTo>
                    <a:lnTo>
                      <a:pt x="2780" y="5192"/>
                    </a:lnTo>
                    <a:lnTo>
                      <a:pt x="2790" y="5192"/>
                    </a:lnTo>
                    <a:lnTo>
                      <a:pt x="2796" y="5192"/>
                    </a:lnTo>
                    <a:lnTo>
                      <a:pt x="2798" y="5190"/>
                    </a:lnTo>
                    <a:lnTo>
                      <a:pt x="2798" y="5190"/>
                    </a:lnTo>
                    <a:close/>
                    <a:moveTo>
                      <a:pt x="4914" y="1916"/>
                    </a:moveTo>
                    <a:lnTo>
                      <a:pt x="4914" y="1916"/>
                    </a:lnTo>
                    <a:lnTo>
                      <a:pt x="4910" y="1920"/>
                    </a:lnTo>
                    <a:lnTo>
                      <a:pt x="4910" y="1924"/>
                    </a:lnTo>
                    <a:lnTo>
                      <a:pt x="4912" y="1928"/>
                    </a:lnTo>
                    <a:lnTo>
                      <a:pt x="4914" y="1934"/>
                    </a:lnTo>
                    <a:lnTo>
                      <a:pt x="4926" y="1944"/>
                    </a:lnTo>
                    <a:lnTo>
                      <a:pt x="4938" y="1954"/>
                    </a:lnTo>
                    <a:lnTo>
                      <a:pt x="4938" y="1954"/>
                    </a:lnTo>
                    <a:lnTo>
                      <a:pt x="4942" y="1958"/>
                    </a:lnTo>
                    <a:lnTo>
                      <a:pt x="4942" y="1954"/>
                    </a:lnTo>
                    <a:lnTo>
                      <a:pt x="4940" y="1946"/>
                    </a:lnTo>
                    <a:lnTo>
                      <a:pt x="4936" y="1936"/>
                    </a:lnTo>
                    <a:lnTo>
                      <a:pt x="4930" y="1926"/>
                    </a:lnTo>
                    <a:lnTo>
                      <a:pt x="4924" y="1918"/>
                    </a:lnTo>
                    <a:lnTo>
                      <a:pt x="4918" y="1914"/>
                    </a:lnTo>
                    <a:lnTo>
                      <a:pt x="4916" y="1914"/>
                    </a:lnTo>
                    <a:lnTo>
                      <a:pt x="4914" y="1916"/>
                    </a:lnTo>
                    <a:lnTo>
                      <a:pt x="4914" y="1916"/>
                    </a:lnTo>
                    <a:close/>
                    <a:moveTo>
                      <a:pt x="4520" y="2200"/>
                    </a:moveTo>
                    <a:lnTo>
                      <a:pt x="4520" y="2200"/>
                    </a:lnTo>
                    <a:lnTo>
                      <a:pt x="4522" y="2200"/>
                    </a:lnTo>
                    <a:lnTo>
                      <a:pt x="4524" y="2200"/>
                    </a:lnTo>
                    <a:lnTo>
                      <a:pt x="4528" y="2196"/>
                    </a:lnTo>
                    <a:lnTo>
                      <a:pt x="4528" y="2192"/>
                    </a:lnTo>
                    <a:lnTo>
                      <a:pt x="4528" y="2188"/>
                    </a:lnTo>
                    <a:lnTo>
                      <a:pt x="4528" y="2188"/>
                    </a:lnTo>
                    <a:lnTo>
                      <a:pt x="4524" y="2188"/>
                    </a:lnTo>
                    <a:lnTo>
                      <a:pt x="4520" y="2190"/>
                    </a:lnTo>
                    <a:lnTo>
                      <a:pt x="4518" y="2194"/>
                    </a:lnTo>
                    <a:lnTo>
                      <a:pt x="4518" y="2196"/>
                    </a:lnTo>
                    <a:lnTo>
                      <a:pt x="4520" y="2200"/>
                    </a:lnTo>
                    <a:lnTo>
                      <a:pt x="4520" y="2200"/>
                    </a:lnTo>
                    <a:close/>
                    <a:moveTo>
                      <a:pt x="4814" y="1702"/>
                    </a:moveTo>
                    <a:lnTo>
                      <a:pt x="4814" y="1702"/>
                    </a:lnTo>
                    <a:lnTo>
                      <a:pt x="4812" y="1704"/>
                    </a:lnTo>
                    <a:lnTo>
                      <a:pt x="4812" y="1706"/>
                    </a:lnTo>
                    <a:lnTo>
                      <a:pt x="4816" y="1706"/>
                    </a:lnTo>
                    <a:lnTo>
                      <a:pt x="4832" y="1700"/>
                    </a:lnTo>
                    <a:lnTo>
                      <a:pt x="4842" y="1696"/>
                    </a:lnTo>
                    <a:lnTo>
                      <a:pt x="4850" y="1690"/>
                    </a:lnTo>
                    <a:lnTo>
                      <a:pt x="4856" y="1684"/>
                    </a:lnTo>
                    <a:lnTo>
                      <a:pt x="4858" y="1678"/>
                    </a:lnTo>
                    <a:lnTo>
                      <a:pt x="4858" y="1678"/>
                    </a:lnTo>
                    <a:lnTo>
                      <a:pt x="4856" y="1674"/>
                    </a:lnTo>
                    <a:lnTo>
                      <a:pt x="4852" y="1672"/>
                    </a:lnTo>
                    <a:lnTo>
                      <a:pt x="4848" y="1672"/>
                    </a:lnTo>
                    <a:lnTo>
                      <a:pt x="4842" y="1674"/>
                    </a:lnTo>
                    <a:lnTo>
                      <a:pt x="4828" y="1686"/>
                    </a:lnTo>
                    <a:lnTo>
                      <a:pt x="4814" y="1702"/>
                    </a:lnTo>
                    <a:lnTo>
                      <a:pt x="4814" y="1702"/>
                    </a:lnTo>
                    <a:close/>
                    <a:moveTo>
                      <a:pt x="3278" y="4364"/>
                    </a:moveTo>
                    <a:lnTo>
                      <a:pt x="3278" y="4364"/>
                    </a:lnTo>
                    <a:lnTo>
                      <a:pt x="3276" y="4362"/>
                    </a:lnTo>
                    <a:lnTo>
                      <a:pt x="3274" y="4362"/>
                    </a:lnTo>
                    <a:lnTo>
                      <a:pt x="3274" y="4362"/>
                    </a:lnTo>
                    <a:lnTo>
                      <a:pt x="3278" y="4384"/>
                    </a:lnTo>
                    <a:lnTo>
                      <a:pt x="3278" y="4384"/>
                    </a:lnTo>
                    <a:lnTo>
                      <a:pt x="3278" y="4398"/>
                    </a:lnTo>
                    <a:lnTo>
                      <a:pt x="3278" y="4400"/>
                    </a:lnTo>
                    <a:lnTo>
                      <a:pt x="3276" y="4402"/>
                    </a:lnTo>
                    <a:lnTo>
                      <a:pt x="3272" y="4402"/>
                    </a:lnTo>
                    <a:lnTo>
                      <a:pt x="3266" y="4398"/>
                    </a:lnTo>
                    <a:lnTo>
                      <a:pt x="3266" y="4398"/>
                    </a:lnTo>
                    <a:lnTo>
                      <a:pt x="3266" y="4398"/>
                    </a:lnTo>
                    <a:lnTo>
                      <a:pt x="3264" y="4400"/>
                    </a:lnTo>
                    <a:lnTo>
                      <a:pt x="3264" y="4406"/>
                    </a:lnTo>
                    <a:lnTo>
                      <a:pt x="3262" y="4408"/>
                    </a:lnTo>
                    <a:lnTo>
                      <a:pt x="3260" y="4408"/>
                    </a:lnTo>
                    <a:lnTo>
                      <a:pt x="3256" y="4404"/>
                    </a:lnTo>
                    <a:lnTo>
                      <a:pt x="3256" y="4404"/>
                    </a:lnTo>
                    <a:lnTo>
                      <a:pt x="3254" y="4402"/>
                    </a:lnTo>
                    <a:lnTo>
                      <a:pt x="3252" y="4400"/>
                    </a:lnTo>
                    <a:lnTo>
                      <a:pt x="3250" y="4402"/>
                    </a:lnTo>
                    <a:lnTo>
                      <a:pt x="3248" y="4404"/>
                    </a:lnTo>
                    <a:lnTo>
                      <a:pt x="3248" y="4424"/>
                    </a:lnTo>
                    <a:lnTo>
                      <a:pt x="3248" y="4424"/>
                    </a:lnTo>
                    <a:lnTo>
                      <a:pt x="3248" y="4426"/>
                    </a:lnTo>
                    <a:lnTo>
                      <a:pt x="3246" y="4426"/>
                    </a:lnTo>
                    <a:lnTo>
                      <a:pt x="3240" y="4422"/>
                    </a:lnTo>
                    <a:lnTo>
                      <a:pt x="3238" y="4422"/>
                    </a:lnTo>
                    <a:lnTo>
                      <a:pt x="3234" y="4420"/>
                    </a:lnTo>
                    <a:lnTo>
                      <a:pt x="3232" y="4422"/>
                    </a:lnTo>
                    <a:lnTo>
                      <a:pt x="3230" y="4428"/>
                    </a:lnTo>
                    <a:lnTo>
                      <a:pt x="3230" y="4428"/>
                    </a:lnTo>
                    <a:lnTo>
                      <a:pt x="3226" y="4438"/>
                    </a:lnTo>
                    <a:lnTo>
                      <a:pt x="3224" y="4440"/>
                    </a:lnTo>
                    <a:lnTo>
                      <a:pt x="3220" y="4440"/>
                    </a:lnTo>
                    <a:lnTo>
                      <a:pt x="3214" y="4444"/>
                    </a:lnTo>
                    <a:lnTo>
                      <a:pt x="3214" y="4444"/>
                    </a:lnTo>
                    <a:lnTo>
                      <a:pt x="3210" y="4446"/>
                    </a:lnTo>
                    <a:lnTo>
                      <a:pt x="3210" y="4446"/>
                    </a:lnTo>
                    <a:lnTo>
                      <a:pt x="3212" y="4440"/>
                    </a:lnTo>
                    <a:lnTo>
                      <a:pt x="3212" y="4432"/>
                    </a:lnTo>
                    <a:lnTo>
                      <a:pt x="3212" y="4432"/>
                    </a:lnTo>
                    <a:lnTo>
                      <a:pt x="3210" y="4424"/>
                    </a:lnTo>
                    <a:lnTo>
                      <a:pt x="3208" y="4420"/>
                    </a:lnTo>
                    <a:lnTo>
                      <a:pt x="3204" y="4418"/>
                    </a:lnTo>
                    <a:lnTo>
                      <a:pt x="3200" y="4418"/>
                    </a:lnTo>
                    <a:lnTo>
                      <a:pt x="3200" y="4418"/>
                    </a:lnTo>
                    <a:lnTo>
                      <a:pt x="3198" y="4420"/>
                    </a:lnTo>
                    <a:lnTo>
                      <a:pt x="3198" y="4418"/>
                    </a:lnTo>
                    <a:lnTo>
                      <a:pt x="3196" y="4416"/>
                    </a:lnTo>
                    <a:lnTo>
                      <a:pt x="3194" y="4414"/>
                    </a:lnTo>
                    <a:lnTo>
                      <a:pt x="3194" y="4414"/>
                    </a:lnTo>
                    <a:lnTo>
                      <a:pt x="3192" y="4416"/>
                    </a:lnTo>
                    <a:lnTo>
                      <a:pt x="3192" y="4420"/>
                    </a:lnTo>
                    <a:lnTo>
                      <a:pt x="3190" y="4422"/>
                    </a:lnTo>
                    <a:lnTo>
                      <a:pt x="3188" y="4424"/>
                    </a:lnTo>
                    <a:lnTo>
                      <a:pt x="3186" y="4424"/>
                    </a:lnTo>
                    <a:lnTo>
                      <a:pt x="3186" y="4424"/>
                    </a:lnTo>
                    <a:lnTo>
                      <a:pt x="3182" y="4424"/>
                    </a:lnTo>
                    <a:lnTo>
                      <a:pt x="3178" y="4428"/>
                    </a:lnTo>
                    <a:lnTo>
                      <a:pt x="3176" y="4432"/>
                    </a:lnTo>
                    <a:lnTo>
                      <a:pt x="3178" y="4438"/>
                    </a:lnTo>
                    <a:lnTo>
                      <a:pt x="3178" y="4438"/>
                    </a:lnTo>
                    <a:lnTo>
                      <a:pt x="3178" y="4440"/>
                    </a:lnTo>
                    <a:lnTo>
                      <a:pt x="3174" y="4442"/>
                    </a:lnTo>
                    <a:lnTo>
                      <a:pt x="3170" y="4444"/>
                    </a:lnTo>
                    <a:lnTo>
                      <a:pt x="3166" y="4442"/>
                    </a:lnTo>
                    <a:lnTo>
                      <a:pt x="3166" y="4442"/>
                    </a:lnTo>
                    <a:lnTo>
                      <a:pt x="3164" y="4442"/>
                    </a:lnTo>
                    <a:lnTo>
                      <a:pt x="3162" y="4442"/>
                    </a:lnTo>
                    <a:lnTo>
                      <a:pt x="3160" y="4444"/>
                    </a:lnTo>
                    <a:lnTo>
                      <a:pt x="3156" y="4446"/>
                    </a:lnTo>
                    <a:lnTo>
                      <a:pt x="3156" y="4446"/>
                    </a:lnTo>
                    <a:lnTo>
                      <a:pt x="3150" y="4448"/>
                    </a:lnTo>
                    <a:lnTo>
                      <a:pt x="3146" y="4452"/>
                    </a:lnTo>
                    <a:lnTo>
                      <a:pt x="3142" y="4458"/>
                    </a:lnTo>
                    <a:lnTo>
                      <a:pt x="3140" y="4462"/>
                    </a:lnTo>
                    <a:lnTo>
                      <a:pt x="3140" y="4462"/>
                    </a:lnTo>
                    <a:lnTo>
                      <a:pt x="3140" y="4472"/>
                    </a:lnTo>
                    <a:lnTo>
                      <a:pt x="3138" y="4478"/>
                    </a:lnTo>
                    <a:lnTo>
                      <a:pt x="3134" y="4488"/>
                    </a:lnTo>
                    <a:lnTo>
                      <a:pt x="3134" y="4488"/>
                    </a:lnTo>
                    <a:lnTo>
                      <a:pt x="3132" y="4492"/>
                    </a:lnTo>
                    <a:lnTo>
                      <a:pt x="3134" y="4496"/>
                    </a:lnTo>
                    <a:lnTo>
                      <a:pt x="3136" y="4500"/>
                    </a:lnTo>
                    <a:lnTo>
                      <a:pt x="3136" y="4500"/>
                    </a:lnTo>
                    <a:lnTo>
                      <a:pt x="3138" y="4504"/>
                    </a:lnTo>
                    <a:lnTo>
                      <a:pt x="3140" y="4504"/>
                    </a:lnTo>
                    <a:lnTo>
                      <a:pt x="3144" y="4500"/>
                    </a:lnTo>
                    <a:lnTo>
                      <a:pt x="3148" y="4488"/>
                    </a:lnTo>
                    <a:lnTo>
                      <a:pt x="3148" y="4488"/>
                    </a:lnTo>
                    <a:lnTo>
                      <a:pt x="3150" y="4480"/>
                    </a:lnTo>
                    <a:lnTo>
                      <a:pt x="3152" y="4478"/>
                    </a:lnTo>
                    <a:lnTo>
                      <a:pt x="3152" y="4476"/>
                    </a:lnTo>
                    <a:lnTo>
                      <a:pt x="3154" y="4474"/>
                    </a:lnTo>
                    <a:lnTo>
                      <a:pt x="3154" y="4474"/>
                    </a:lnTo>
                    <a:lnTo>
                      <a:pt x="3156" y="4472"/>
                    </a:lnTo>
                    <a:lnTo>
                      <a:pt x="3156" y="4470"/>
                    </a:lnTo>
                    <a:lnTo>
                      <a:pt x="3158" y="4466"/>
                    </a:lnTo>
                    <a:lnTo>
                      <a:pt x="3160" y="4462"/>
                    </a:lnTo>
                    <a:lnTo>
                      <a:pt x="3160" y="4462"/>
                    </a:lnTo>
                    <a:lnTo>
                      <a:pt x="3164" y="4460"/>
                    </a:lnTo>
                    <a:lnTo>
                      <a:pt x="3168" y="4462"/>
                    </a:lnTo>
                    <a:lnTo>
                      <a:pt x="3170" y="4466"/>
                    </a:lnTo>
                    <a:lnTo>
                      <a:pt x="3168" y="4472"/>
                    </a:lnTo>
                    <a:lnTo>
                      <a:pt x="3168" y="4472"/>
                    </a:lnTo>
                    <a:lnTo>
                      <a:pt x="3168" y="4474"/>
                    </a:lnTo>
                    <a:lnTo>
                      <a:pt x="3172" y="4474"/>
                    </a:lnTo>
                    <a:lnTo>
                      <a:pt x="3178" y="4472"/>
                    </a:lnTo>
                    <a:lnTo>
                      <a:pt x="3182" y="4466"/>
                    </a:lnTo>
                    <a:lnTo>
                      <a:pt x="3182" y="4466"/>
                    </a:lnTo>
                    <a:lnTo>
                      <a:pt x="3184" y="4462"/>
                    </a:lnTo>
                    <a:lnTo>
                      <a:pt x="3184" y="4466"/>
                    </a:lnTo>
                    <a:lnTo>
                      <a:pt x="3184" y="4472"/>
                    </a:lnTo>
                    <a:lnTo>
                      <a:pt x="3184" y="4474"/>
                    </a:lnTo>
                    <a:lnTo>
                      <a:pt x="3186" y="4476"/>
                    </a:lnTo>
                    <a:lnTo>
                      <a:pt x="3186" y="4476"/>
                    </a:lnTo>
                    <a:lnTo>
                      <a:pt x="3192" y="4478"/>
                    </a:lnTo>
                    <a:lnTo>
                      <a:pt x="3194" y="4480"/>
                    </a:lnTo>
                    <a:lnTo>
                      <a:pt x="3194" y="4476"/>
                    </a:lnTo>
                    <a:lnTo>
                      <a:pt x="3194" y="4476"/>
                    </a:lnTo>
                    <a:lnTo>
                      <a:pt x="3194" y="4470"/>
                    </a:lnTo>
                    <a:lnTo>
                      <a:pt x="3196" y="4466"/>
                    </a:lnTo>
                    <a:lnTo>
                      <a:pt x="3198" y="4464"/>
                    </a:lnTo>
                    <a:lnTo>
                      <a:pt x="3196" y="4462"/>
                    </a:lnTo>
                    <a:lnTo>
                      <a:pt x="3196" y="4462"/>
                    </a:lnTo>
                    <a:lnTo>
                      <a:pt x="3194" y="4460"/>
                    </a:lnTo>
                    <a:lnTo>
                      <a:pt x="3196" y="4458"/>
                    </a:lnTo>
                    <a:lnTo>
                      <a:pt x="3200" y="4458"/>
                    </a:lnTo>
                    <a:lnTo>
                      <a:pt x="3206" y="4460"/>
                    </a:lnTo>
                    <a:lnTo>
                      <a:pt x="3206" y="4460"/>
                    </a:lnTo>
                    <a:lnTo>
                      <a:pt x="3210" y="4464"/>
                    </a:lnTo>
                    <a:lnTo>
                      <a:pt x="3216" y="4466"/>
                    </a:lnTo>
                    <a:lnTo>
                      <a:pt x="3218" y="4468"/>
                    </a:lnTo>
                    <a:lnTo>
                      <a:pt x="3222" y="4472"/>
                    </a:lnTo>
                    <a:lnTo>
                      <a:pt x="3222" y="4472"/>
                    </a:lnTo>
                    <a:lnTo>
                      <a:pt x="3222" y="4476"/>
                    </a:lnTo>
                    <a:lnTo>
                      <a:pt x="3224" y="4478"/>
                    </a:lnTo>
                    <a:lnTo>
                      <a:pt x="3226" y="4478"/>
                    </a:lnTo>
                    <a:lnTo>
                      <a:pt x="3226" y="4482"/>
                    </a:lnTo>
                    <a:lnTo>
                      <a:pt x="3226" y="4482"/>
                    </a:lnTo>
                    <a:lnTo>
                      <a:pt x="3224" y="4486"/>
                    </a:lnTo>
                    <a:lnTo>
                      <a:pt x="3220" y="4492"/>
                    </a:lnTo>
                    <a:lnTo>
                      <a:pt x="3216" y="4500"/>
                    </a:lnTo>
                    <a:lnTo>
                      <a:pt x="3216" y="4502"/>
                    </a:lnTo>
                    <a:lnTo>
                      <a:pt x="3216" y="4506"/>
                    </a:lnTo>
                    <a:lnTo>
                      <a:pt x="3216" y="4506"/>
                    </a:lnTo>
                    <a:lnTo>
                      <a:pt x="3218" y="4520"/>
                    </a:lnTo>
                    <a:lnTo>
                      <a:pt x="3220" y="4526"/>
                    </a:lnTo>
                    <a:lnTo>
                      <a:pt x="3222" y="4532"/>
                    </a:lnTo>
                    <a:lnTo>
                      <a:pt x="3222" y="4532"/>
                    </a:lnTo>
                    <a:lnTo>
                      <a:pt x="3224" y="4534"/>
                    </a:lnTo>
                    <a:lnTo>
                      <a:pt x="3224" y="4536"/>
                    </a:lnTo>
                    <a:lnTo>
                      <a:pt x="3226" y="4538"/>
                    </a:lnTo>
                    <a:lnTo>
                      <a:pt x="3234" y="4544"/>
                    </a:lnTo>
                    <a:lnTo>
                      <a:pt x="3234" y="4544"/>
                    </a:lnTo>
                    <a:lnTo>
                      <a:pt x="3252" y="4552"/>
                    </a:lnTo>
                    <a:lnTo>
                      <a:pt x="3256" y="4554"/>
                    </a:lnTo>
                    <a:lnTo>
                      <a:pt x="3260" y="4548"/>
                    </a:lnTo>
                    <a:lnTo>
                      <a:pt x="3260" y="4548"/>
                    </a:lnTo>
                    <a:lnTo>
                      <a:pt x="3264" y="4542"/>
                    </a:lnTo>
                    <a:lnTo>
                      <a:pt x="3266" y="4542"/>
                    </a:lnTo>
                    <a:lnTo>
                      <a:pt x="3268" y="4544"/>
                    </a:lnTo>
                    <a:lnTo>
                      <a:pt x="3266" y="4550"/>
                    </a:lnTo>
                    <a:lnTo>
                      <a:pt x="3266" y="4550"/>
                    </a:lnTo>
                    <a:lnTo>
                      <a:pt x="3266" y="4556"/>
                    </a:lnTo>
                    <a:lnTo>
                      <a:pt x="3268" y="4564"/>
                    </a:lnTo>
                    <a:lnTo>
                      <a:pt x="3270" y="4566"/>
                    </a:lnTo>
                    <a:lnTo>
                      <a:pt x="3272" y="4568"/>
                    </a:lnTo>
                    <a:lnTo>
                      <a:pt x="3274" y="4566"/>
                    </a:lnTo>
                    <a:lnTo>
                      <a:pt x="3278" y="4564"/>
                    </a:lnTo>
                    <a:lnTo>
                      <a:pt x="3278" y="4564"/>
                    </a:lnTo>
                    <a:lnTo>
                      <a:pt x="3282" y="4554"/>
                    </a:lnTo>
                    <a:lnTo>
                      <a:pt x="3284" y="4546"/>
                    </a:lnTo>
                    <a:lnTo>
                      <a:pt x="3286" y="4540"/>
                    </a:lnTo>
                    <a:lnTo>
                      <a:pt x="3284" y="4534"/>
                    </a:lnTo>
                    <a:lnTo>
                      <a:pt x="3284" y="4534"/>
                    </a:lnTo>
                    <a:lnTo>
                      <a:pt x="3280" y="4524"/>
                    </a:lnTo>
                    <a:lnTo>
                      <a:pt x="3278" y="4520"/>
                    </a:lnTo>
                    <a:lnTo>
                      <a:pt x="3276" y="4518"/>
                    </a:lnTo>
                    <a:lnTo>
                      <a:pt x="3276" y="4518"/>
                    </a:lnTo>
                    <a:lnTo>
                      <a:pt x="3274" y="4516"/>
                    </a:lnTo>
                    <a:lnTo>
                      <a:pt x="3274" y="4514"/>
                    </a:lnTo>
                    <a:lnTo>
                      <a:pt x="3274" y="4508"/>
                    </a:lnTo>
                    <a:lnTo>
                      <a:pt x="3276" y="4500"/>
                    </a:lnTo>
                    <a:lnTo>
                      <a:pt x="3280" y="4496"/>
                    </a:lnTo>
                    <a:lnTo>
                      <a:pt x="3280" y="4496"/>
                    </a:lnTo>
                    <a:lnTo>
                      <a:pt x="3284" y="4494"/>
                    </a:lnTo>
                    <a:lnTo>
                      <a:pt x="3284" y="4490"/>
                    </a:lnTo>
                    <a:lnTo>
                      <a:pt x="3284" y="4486"/>
                    </a:lnTo>
                    <a:lnTo>
                      <a:pt x="3288" y="4484"/>
                    </a:lnTo>
                    <a:lnTo>
                      <a:pt x="3288" y="4484"/>
                    </a:lnTo>
                    <a:lnTo>
                      <a:pt x="3290" y="4482"/>
                    </a:lnTo>
                    <a:lnTo>
                      <a:pt x="3292" y="4482"/>
                    </a:lnTo>
                    <a:lnTo>
                      <a:pt x="3292" y="4490"/>
                    </a:lnTo>
                    <a:lnTo>
                      <a:pt x="3292" y="4490"/>
                    </a:lnTo>
                    <a:lnTo>
                      <a:pt x="3294" y="4498"/>
                    </a:lnTo>
                    <a:lnTo>
                      <a:pt x="3296" y="4502"/>
                    </a:lnTo>
                    <a:lnTo>
                      <a:pt x="3300" y="4506"/>
                    </a:lnTo>
                    <a:lnTo>
                      <a:pt x="3300" y="4506"/>
                    </a:lnTo>
                    <a:lnTo>
                      <a:pt x="3302" y="4510"/>
                    </a:lnTo>
                    <a:lnTo>
                      <a:pt x="3300" y="4512"/>
                    </a:lnTo>
                    <a:lnTo>
                      <a:pt x="3300" y="4518"/>
                    </a:lnTo>
                    <a:lnTo>
                      <a:pt x="3302" y="4528"/>
                    </a:lnTo>
                    <a:lnTo>
                      <a:pt x="3302" y="4528"/>
                    </a:lnTo>
                    <a:lnTo>
                      <a:pt x="3304" y="4530"/>
                    </a:lnTo>
                    <a:lnTo>
                      <a:pt x="3306" y="4530"/>
                    </a:lnTo>
                    <a:lnTo>
                      <a:pt x="3306" y="4526"/>
                    </a:lnTo>
                    <a:lnTo>
                      <a:pt x="3308" y="4518"/>
                    </a:lnTo>
                    <a:lnTo>
                      <a:pt x="3306" y="4508"/>
                    </a:lnTo>
                    <a:lnTo>
                      <a:pt x="3306" y="4508"/>
                    </a:lnTo>
                    <a:lnTo>
                      <a:pt x="3304" y="4502"/>
                    </a:lnTo>
                    <a:lnTo>
                      <a:pt x="3308" y="4504"/>
                    </a:lnTo>
                    <a:lnTo>
                      <a:pt x="3310" y="4506"/>
                    </a:lnTo>
                    <a:lnTo>
                      <a:pt x="3312" y="4506"/>
                    </a:lnTo>
                    <a:lnTo>
                      <a:pt x="3310" y="4504"/>
                    </a:lnTo>
                    <a:lnTo>
                      <a:pt x="3310" y="4504"/>
                    </a:lnTo>
                    <a:lnTo>
                      <a:pt x="3310" y="4500"/>
                    </a:lnTo>
                    <a:lnTo>
                      <a:pt x="3312" y="4498"/>
                    </a:lnTo>
                    <a:lnTo>
                      <a:pt x="3316" y="4498"/>
                    </a:lnTo>
                    <a:lnTo>
                      <a:pt x="3320" y="4492"/>
                    </a:lnTo>
                    <a:lnTo>
                      <a:pt x="3320" y="4492"/>
                    </a:lnTo>
                    <a:lnTo>
                      <a:pt x="3322" y="4488"/>
                    </a:lnTo>
                    <a:lnTo>
                      <a:pt x="3322" y="4482"/>
                    </a:lnTo>
                    <a:lnTo>
                      <a:pt x="3320" y="4468"/>
                    </a:lnTo>
                    <a:lnTo>
                      <a:pt x="3320" y="4468"/>
                    </a:lnTo>
                    <a:lnTo>
                      <a:pt x="3320" y="4464"/>
                    </a:lnTo>
                    <a:lnTo>
                      <a:pt x="3318" y="4462"/>
                    </a:lnTo>
                    <a:lnTo>
                      <a:pt x="3316" y="4460"/>
                    </a:lnTo>
                    <a:lnTo>
                      <a:pt x="3314" y="4458"/>
                    </a:lnTo>
                    <a:lnTo>
                      <a:pt x="3314" y="4458"/>
                    </a:lnTo>
                    <a:lnTo>
                      <a:pt x="3314" y="4452"/>
                    </a:lnTo>
                    <a:lnTo>
                      <a:pt x="3316" y="4446"/>
                    </a:lnTo>
                    <a:lnTo>
                      <a:pt x="3316" y="4442"/>
                    </a:lnTo>
                    <a:lnTo>
                      <a:pt x="3314" y="4438"/>
                    </a:lnTo>
                    <a:lnTo>
                      <a:pt x="3314" y="4438"/>
                    </a:lnTo>
                    <a:lnTo>
                      <a:pt x="3314" y="4432"/>
                    </a:lnTo>
                    <a:lnTo>
                      <a:pt x="3314" y="4428"/>
                    </a:lnTo>
                    <a:lnTo>
                      <a:pt x="3312" y="4424"/>
                    </a:lnTo>
                    <a:lnTo>
                      <a:pt x="3310" y="4424"/>
                    </a:lnTo>
                    <a:lnTo>
                      <a:pt x="3308" y="4424"/>
                    </a:lnTo>
                    <a:lnTo>
                      <a:pt x="3308" y="4424"/>
                    </a:lnTo>
                    <a:lnTo>
                      <a:pt x="3304" y="4424"/>
                    </a:lnTo>
                    <a:lnTo>
                      <a:pt x="3302" y="4422"/>
                    </a:lnTo>
                    <a:lnTo>
                      <a:pt x="3302" y="4420"/>
                    </a:lnTo>
                    <a:lnTo>
                      <a:pt x="3304" y="4418"/>
                    </a:lnTo>
                    <a:lnTo>
                      <a:pt x="3304" y="4418"/>
                    </a:lnTo>
                    <a:lnTo>
                      <a:pt x="3308" y="4416"/>
                    </a:lnTo>
                    <a:lnTo>
                      <a:pt x="3310" y="4412"/>
                    </a:lnTo>
                    <a:lnTo>
                      <a:pt x="3312" y="4406"/>
                    </a:lnTo>
                    <a:lnTo>
                      <a:pt x="3308" y="4400"/>
                    </a:lnTo>
                    <a:lnTo>
                      <a:pt x="3308" y="4400"/>
                    </a:lnTo>
                    <a:lnTo>
                      <a:pt x="3306" y="4396"/>
                    </a:lnTo>
                    <a:lnTo>
                      <a:pt x="3306" y="4390"/>
                    </a:lnTo>
                    <a:lnTo>
                      <a:pt x="3306" y="4386"/>
                    </a:lnTo>
                    <a:lnTo>
                      <a:pt x="3302" y="4388"/>
                    </a:lnTo>
                    <a:lnTo>
                      <a:pt x="3302" y="4388"/>
                    </a:lnTo>
                    <a:lnTo>
                      <a:pt x="3300" y="4388"/>
                    </a:lnTo>
                    <a:lnTo>
                      <a:pt x="3300" y="4388"/>
                    </a:lnTo>
                    <a:lnTo>
                      <a:pt x="3298" y="4384"/>
                    </a:lnTo>
                    <a:lnTo>
                      <a:pt x="3296" y="4380"/>
                    </a:lnTo>
                    <a:lnTo>
                      <a:pt x="3292" y="4376"/>
                    </a:lnTo>
                    <a:lnTo>
                      <a:pt x="3288" y="4374"/>
                    </a:lnTo>
                    <a:lnTo>
                      <a:pt x="3288" y="4374"/>
                    </a:lnTo>
                    <a:lnTo>
                      <a:pt x="3284" y="4372"/>
                    </a:lnTo>
                    <a:lnTo>
                      <a:pt x="3282" y="4368"/>
                    </a:lnTo>
                    <a:lnTo>
                      <a:pt x="3282" y="4366"/>
                    </a:lnTo>
                    <a:lnTo>
                      <a:pt x="3278" y="4364"/>
                    </a:lnTo>
                    <a:lnTo>
                      <a:pt x="3278" y="4364"/>
                    </a:lnTo>
                    <a:close/>
                    <a:moveTo>
                      <a:pt x="3136" y="4268"/>
                    </a:moveTo>
                    <a:lnTo>
                      <a:pt x="3136" y="4268"/>
                    </a:lnTo>
                    <a:lnTo>
                      <a:pt x="3138" y="4270"/>
                    </a:lnTo>
                    <a:lnTo>
                      <a:pt x="3140" y="4272"/>
                    </a:lnTo>
                    <a:lnTo>
                      <a:pt x="3140" y="4278"/>
                    </a:lnTo>
                    <a:lnTo>
                      <a:pt x="3138" y="4286"/>
                    </a:lnTo>
                    <a:lnTo>
                      <a:pt x="3138" y="4296"/>
                    </a:lnTo>
                    <a:lnTo>
                      <a:pt x="3138" y="4296"/>
                    </a:lnTo>
                    <a:lnTo>
                      <a:pt x="3140" y="4302"/>
                    </a:lnTo>
                    <a:lnTo>
                      <a:pt x="3136" y="4306"/>
                    </a:lnTo>
                    <a:lnTo>
                      <a:pt x="3134" y="4312"/>
                    </a:lnTo>
                    <a:lnTo>
                      <a:pt x="3134" y="4324"/>
                    </a:lnTo>
                    <a:lnTo>
                      <a:pt x="3134" y="4324"/>
                    </a:lnTo>
                    <a:lnTo>
                      <a:pt x="3134" y="4328"/>
                    </a:lnTo>
                    <a:lnTo>
                      <a:pt x="3136" y="4330"/>
                    </a:lnTo>
                    <a:lnTo>
                      <a:pt x="3138" y="4330"/>
                    </a:lnTo>
                    <a:lnTo>
                      <a:pt x="3140" y="4328"/>
                    </a:lnTo>
                    <a:lnTo>
                      <a:pt x="3146" y="4324"/>
                    </a:lnTo>
                    <a:lnTo>
                      <a:pt x="3148" y="4320"/>
                    </a:lnTo>
                    <a:lnTo>
                      <a:pt x="3152" y="4320"/>
                    </a:lnTo>
                    <a:lnTo>
                      <a:pt x="3152" y="4320"/>
                    </a:lnTo>
                    <a:lnTo>
                      <a:pt x="3158" y="4318"/>
                    </a:lnTo>
                    <a:lnTo>
                      <a:pt x="3166" y="4312"/>
                    </a:lnTo>
                    <a:lnTo>
                      <a:pt x="3178" y="4298"/>
                    </a:lnTo>
                    <a:lnTo>
                      <a:pt x="3178" y="4298"/>
                    </a:lnTo>
                    <a:lnTo>
                      <a:pt x="3182" y="4296"/>
                    </a:lnTo>
                    <a:lnTo>
                      <a:pt x="3182" y="4292"/>
                    </a:lnTo>
                    <a:lnTo>
                      <a:pt x="3184" y="4282"/>
                    </a:lnTo>
                    <a:lnTo>
                      <a:pt x="3182" y="4276"/>
                    </a:lnTo>
                    <a:lnTo>
                      <a:pt x="3180" y="4276"/>
                    </a:lnTo>
                    <a:lnTo>
                      <a:pt x="3178" y="4276"/>
                    </a:lnTo>
                    <a:lnTo>
                      <a:pt x="3178" y="4276"/>
                    </a:lnTo>
                    <a:lnTo>
                      <a:pt x="3176" y="4278"/>
                    </a:lnTo>
                    <a:lnTo>
                      <a:pt x="3176" y="4278"/>
                    </a:lnTo>
                    <a:lnTo>
                      <a:pt x="3172" y="4276"/>
                    </a:lnTo>
                    <a:lnTo>
                      <a:pt x="3168" y="4274"/>
                    </a:lnTo>
                    <a:lnTo>
                      <a:pt x="3166" y="4274"/>
                    </a:lnTo>
                    <a:lnTo>
                      <a:pt x="3164" y="4274"/>
                    </a:lnTo>
                    <a:lnTo>
                      <a:pt x="3164" y="4274"/>
                    </a:lnTo>
                    <a:lnTo>
                      <a:pt x="3162" y="4276"/>
                    </a:lnTo>
                    <a:lnTo>
                      <a:pt x="3160" y="4274"/>
                    </a:lnTo>
                    <a:lnTo>
                      <a:pt x="3154" y="4270"/>
                    </a:lnTo>
                    <a:lnTo>
                      <a:pt x="3146" y="4264"/>
                    </a:lnTo>
                    <a:lnTo>
                      <a:pt x="3138" y="4258"/>
                    </a:lnTo>
                    <a:lnTo>
                      <a:pt x="3138" y="4258"/>
                    </a:lnTo>
                    <a:lnTo>
                      <a:pt x="3132" y="4258"/>
                    </a:lnTo>
                    <a:lnTo>
                      <a:pt x="3130" y="4260"/>
                    </a:lnTo>
                    <a:lnTo>
                      <a:pt x="3130" y="4264"/>
                    </a:lnTo>
                    <a:lnTo>
                      <a:pt x="3136" y="4268"/>
                    </a:lnTo>
                    <a:lnTo>
                      <a:pt x="3136" y="4268"/>
                    </a:lnTo>
                    <a:close/>
                    <a:moveTo>
                      <a:pt x="3270" y="4928"/>
                    </a:moveTo>
                    <a:lnTo>
                      <a:pt x="3270" y="4928"/>
                    </a:lnTo>
                    <a:lnTo>
                      <a:pt x="3268" y="4926"/>
                    </a:lnTo>
                    <a:lnTo>
                      <a:pt x="3264" y="4924"/>
                    </a:lnTo>
                    <a:lnTo>
                      <a:pt x="3250" y="4920"/>
                    </a:lnTo>
                    <a:lnTo>
                      <a:pt x="3244" y="4920"/>
                    </a:lnTo>
                    <a:lnTo>
                      <a:pt x="3238" y="4920"/>
                    </a:lnTo>
                    <a:lnTo>
                      <a:pt x="3232" y="4924"/>
                    </a:lnTo>
                    <a:lnTo>
                      <a:pt x="3230" y="4930"/>
                    </a:lnTo>
                    <a:lnTo>
                      <a:pt x="3230" y="4930"/>
                    </a:lnTo>
                    <a:lnTo>
                      <a:pt x="3232" y="4934"/>
                    </a:lnTo>
                    <a:lnTo>
                      <a:pt x="3236" y="4936"/>
                    </a:lnTo>
                    <a:lnTo>
                      <a:pt x="3242" y="4936"/>
                    </a:lnTo>
                    <a:lnTo>
                      <a:pt x="3250" y="4936"/>
                    </a:lnTo>
                    <a:lnTo>
                      <a:pt x="3264" y="4934"/>
                    </a:lnTo>
                    <a:lnTo>
                      <a:pt x="3268" y="4932"/>
                    </a:lnTo>
                    <a:lnTo>
                      <a:pt x="3270" y="4928"/>
                    </a:lnTo>
                    <a:lnTo>
                      <a:pt x="3270" y="4928"/>
                    </a:lnTo>
                    <a:close/>
                    <a:moveTo>
                      <a:pt x="3148" y="4520"/>
                    </a:moveTo>
                    <a:lnTo>
                      <a:pt x="3148" y="4520"/>
                    </a:lnTo>
                    <a:lnTo>
                      <a:pt x="3146" y="4516"/>
                    </a:lnTo>
                    <a:lnTo>
                      <a:pt x="3138" y="4512"/>
                    </a:lnTo>
                    <a:lnTo>
                      <a:pt x="3136" y="4512"/>
                    </a:lnTo>
                    <a:lnTo>
                      <a:pt x="3132" y="4512"/>
                    </a:lnTo>
                    <a:lnTo>
                      <a:pt x="3130" y="4516"/>
                    </a:lnTo>
                    <a:lnTo>
                      <a:pt x="3130" y="4520"/>
                    </a:lnTo>
                    <a:lnTo>
                      <a:pt x="3130" y="4520"/>
                    </a:lnTo>
                    <a:lnTo>
                      <a:pt x="3130" y="4524"/>
                    </a:lnTo>
                    <a:lnTo>
                      <a:pt x="3132" y="4526"/>
                    </a:lnTo>
                    <a:lnTo>
                      <a:pt x="3136" y="4528"/>
                    </a:lnTo>
                    <a:lnTo>
                      <a:pt x="3140" y="4526"/>
                    </a:lnTo>
                    <a:lnTo>
                      <a:pt x="3146" y="4524"/>
                    </a:lnTo>
                    <a:lnTo>
                      <a:pt x="3148" y="4520"/>
                    </a:lnTo>
                    <a:lnTo>
                      <a:pt x="3148" y="4520"/>
                    </a:lnTo>
                    <a:close/>
                    <a:moveTo>
                      <a:pt x="3204" y="4288"/>
                    </a:moveTo>
                    <a:lnTo>
                      <a:pt x="3204" y="4288"/>
                    </a:lnTo>
                    <a:lnTo>
                      <a:pt x="3204" y="4290"/>
                    </a:lnTo>
                    <a:lnTo>
                      <a:pt x="3204" y="4294"/>
                    </a:lnTo>
                    <a:lnTo>
                      <a:pt x="3206" y="4296"/>
                    </a:lnTo>
                    <a:lnTo>
                      <a:pt x="3208" y="4296"/>
                    </a:lnTo>
                    <a:lnTo>
                      <a:pt x="3208" y="4296"/>
                    </a:lnTo>
                    <a:lnTo>
                      <a:pt x="3208" y="4294"/>
                    </a:lnTo>
                    <a:lnTo>
                      <a:pt x="3208" y="4292"/>
                    </a:lnTo>
                    <a:lnTo>
                      <a:pt x="3206" y="4288"/>
                    </a:lnTo>
                    <a:lnTo>
                      <a:pt x="3204" y="4288"/>
                    </a:lnTo>
                    <a:lnTo>
                      <a:pt x="3204" y="4288"/>
                    </a:lnTo>
                    <a:close/>
                    <a:moveTo>
                      <a:pt x="3186" y="4210"/>
                    </a:moveTo>
                    <a:lnTo>
                      <a:pt x="3186" y="4210"/>
                    </a:lnTo>
                    <a:lnTo>
                      <a:pt x="3184" y="4208"/>
                    </a:lnTo>
                    <a:lnTo>
                      <a:pt x="3182" y="4204"/>
                    </a:lnTo>
                    <a:lnTo>
                      <a:pt x="3178" y="4200"/>
                    </a:lnTo>
                    <a:lnTo>
                      <a:pt x="3174" y="4198"/>
                    </a:lnTo>
                    <a:lnTo>
                      <a:pt x="3174" y="4198"/>
                    </a:lnTo>
                    <a:lnTo>
                      <a:pt x="3174" y="4200"/>
                    </a:lnTo>
                    <a:lnTo>
                      <a:pt x="3174" y="4202"/>
                    </a:lnTo>
                    <a:lnTo>
                      <a:pt x="3178" y="4206"/>
                    </a:lnTo>
                    <a:lnTo>
                      <a:pt x="3178" y="4206"/>
                    </a:lnTo>
                    <a:lnTo>
                      <a:pt x="3180" y="4212"/>
                    </a:lnTo>
                    <a:lnTo>
                      <a:pt x="3184" y="4214"/>
                    </a:lnTo>
                    <a:lnTo>
                      <a:pt x="3184" y="4214"/>
                    </a:lnTo>
                    <a:lnTo>
                      <a:pt x="3190" y="4220"/>
                    </a:lnTo>
                    <a:lnTo>
                      <a:pt x="3190" y="4220"/>
                    </a:lnTo>
                    <a:lnTo>
                      <a:pt x="3192" y="4220"/>
                    </a:lnTo>
                    <a:lnTo>
                      <a:pt x="3192" y="4220"/>
                    </a:lnTo>
                    <a:lnTo>
                      <a:pt x="3190" y="4216"/>
                    </a:lnTo>
                    <a:lnTo>
                      <a:pt x="3188" y="4212"/>
                    </a:lnTo>
                    <a:lnTo>
                      <a:pt x="3186" y="4210"/>
                    </a:lnTo>
                    <a:lnTo>
                      <a:pt x="3186" y="4210"/>
                    </a:lnTo>
                    <a:close/>
                    <a:moveTo>
                      <a:pt x="3250" y="5238"/>
                    </a:moveTo>
                    <a:lnTo>
                      <a:pt x="3250" y="5238"/>
                    </a:lnTo>
                    <a:lnTo>
                      <a:pt x="3240" y="5236"/>
                    </a:lnTo>
                    <a:lnTo>
                      <a:pt x="3236" y="5234"/>
                    </a:lnTo>
                    <a:lnTo>
                      <a:pt x="3236" y="5234"/>
                    </a:lnTo>
                    <a:lnTo>
                      <a:pt x="3234" y="5234"/>
                    </a:lnTo>
                    <a:lnTo>
                      <a:pt x="3232" y="5242"/>
                    </a:lnTo>
                    <a:lnTo>
                      <a:pt x="3232" y="5242"/>
                    </a:lnTo>
                    <a:lnTo>
                      <a:pt x="3230" y="5250"/>
                    </a:lnTo>
                    <a:lnTo>
                      <a:pt x="3232" y="5250"/>
                    </a:lnTo>
                    <a:lnTo>
                      <a:pt x="3234" y="5250"/>
                    </a:lnTo>
                    <a:lnTo>
                      <a:pt x="3244" y="5248"/>
                    </a:lnTo>
                    <a:lnTo>
                      <a:pt x="3256" y="5248"/>
                    </a:lnTo>
                    <a:lnTo>
                      <a:pt x="3256" y="5248"/>
                    </a:lnTo>
                    <a:lnTo>
                      <a:pt x="3260" y="5246"/>
                    </a:lnTo>
                    <a:lnTo>
                      <a:pt x="3262" y="5246"/>
                    </a:lnTo>
                    <a:lnTo>
                      <a:pt x="3264" y="5244"/>
                    </a:lnTo>
                    <a:lnTo>
                      <a:pt x="3262" y="5242"/>
                    </a:lnTo>
                    <a:lnTo>
                      <a:pt x="3258" y="5238"/>
                    </a:lnTo>
                    <a:lnTo>
                      <a:pt x="3254" y="5236"/>
                    </a:lnTo>
                    <a:lnTo>
                      <a:pt x="3250" y="5238"/>
                    </a:lnTo>
                    <a:lnTo>
                      <a:pt x="3250" y="5238"/>
                    </a:lnTo>
                    <a:close/>
                    <a:moveTo>
                      <a:pt x="3160" y="4332"/>
                    </a:moveTo>
                    <a:lnTo>
                      <a:pt x="3160" y="4332"/>
                    </a:lnTo>
                    <a:lnTo>
                      <a:pt x="3162" y="4332"/>
                    </a:lnTo>
                    <a:lnTo>
                      <a:pt x="3166" y="4328"/>
                    </a:lnTo>
                    <a:lnTo>
                      <a:pt x="3168" y="4322"/>
                    </a:lnTo>
                    <a:lnTo>
                      <a:pt x="3166" y="4318"/>
                    </a:lnTo>
                    <a:lnTo>
                      <a:pt x="3166" y="4318"/>
                    </a:lnTo>
                    <a:lnTo>
                      <a:pt x="3164" y="4318"/>
                    </a:lnTo>
                    <a:lnTo>
                      <a:pt x="3162" y="4320"/>
                    </a:lnTo>
                    <a:lnTo>
                      <a:pt x="3160" y="4322"/>
                    </a:lnTo>
                    <a:lnTo>
                      <a:pt x="3160" y="4326"/>
                    </a:lnTo>
                    <a:lnTo>
                      <a:pt x="3160" y="4326"/>
                    </a:lnTo>
                    <a:lnTo>
                      <a:pt x="3160" y="4328"/>
                    </a:lnTo>
                    <a:lnTo>
                      <a:pt x="3158" y="4328"/>
                    </a:lnTo>
                    <a:lnTo>
                      <a:pt x="3158" y="4330"/>
                    </a:lnTo>
                    <a:lnTo>
                      <a:pt x="3160" y="4332"/>
                    </a:lnTo>
                    <a:lnTo>
                      <a:pt x="3160" y="4332"/>
                    </a:lnTo>
                    <a:close/>
                    <a:moveTo>
                      <a:pt x="3190" y="5244"/>
                    </a:moveTo>
                    <a:lnTo>
                      <a:pt x="3190" y="5244"/>
                    </a:lnTo>
                    <a:lnTo>
                      <a:pt x="3188" y="5242"/>
                    </a:lnTo>
                    <a:lnTo>
                      <a:pt x="3186" y="5240"/>
                    </a:lnTo>
                    <a:lnTo>
                      <a:pt x="3182" y="5242"/>
                    </a:lnTo>
                    <a:lnTo>
                      <a:pt x="3178" y="5244"/>
                    </a:lnTo>
                    <a:lnTo>
                      <a:pt x="3178" y="5244"/>
                    </a:lnTo>
                    <a:lnTo>
                      <a:pt x="3176" y="5248"/>
                    </a:lnTo>
                    <a:lnTo>
                      <a:pt x="3178" y="5248"/>
                    </a:lnTo>
                    <a:lnTo>
                      <a:pt x="3184" y="5248"/>
                    </a:lnTo>
                    <a:lnTo>
                      <a:pt x="3184" y="5248"/>
                    </a:lnTo>
                    <a:lnTo>
                      <a:pt x="3188" y="5248"/>
                    </a:lnTo>
                    <a:lnTo>
                      <a:pt x="3190" y="5244"/>
                    </a:lnTo>
                    <a:lnTo>
                      <a:pt x="3190" y="5244"/>
                    </a:lnTo>
                    <a:close/>
                    <a:moveTo>
                      <a:pt x="3176" y="5252"/>
                    </a:moveTo>
                    <a:lnTo>
                      <a:pt x="3176" y="5252"/>
                    </a:lnTo>
                    <a:lnTo>
                      <a:pt x="3172" y="5254"/>
                    </a:lnTo>
                    <a:lnTo>
                      <a:pt x="3172" y="5256"/>
                    </a:lnTo>
                    <a:lnTo>
                      <a:pt x="3176" y="5258"/>
                    </a:lnTo>
                    <a:lnTo>
                      <a:pt x="3180" y="5254"/>
                    </a:lnTo>
                    <a:lnTo>
                      <a:pt x="3180" y="5254"/>
                    </a:lnTo>
                    <a:lnTo>
                      <a:pt x="3182" y="5252"/>
                    </a:lnTo>
                    <a:lnTo>
                      <a:pt x="3182" y="5250"/>
                    </a:lnTo>
                    <a:lnTo>
                      <a:pt x="3176" y="5252"/>
                    </a:lnTo>
                    <a:lnTo>
                      <a:pt x="3176" y="5252"/>
                    </a:lnTo>
                    <a:close/>
                    <a:moveTo>
                      <a:pt x="3224" y="5242"/>
                    </a:moveTo>
                    <a:lnTo>
                      <a:pt x="3224" y="5242"/>
                    </a:lnTo>
                    <a:lnTo>
                      <a:pt x="3220" y="5246"/>
                    </a:lnTo>
                    <a:lnTo>
                      <a:pt x="3218" y="5246"/>
                    </a:lnTo>
                    <a:lnTo>
                      <a:pt x="3216" y="5244"/>
                    </a:lnTo>
                    <a:lnTo>
                      <a:pt x="3214" y="5248"/>
                    </a:lnTo>
                    <a:lnTo>
                      <a:pt x="3214" y="5248"/>
                    </a:lnTo>
                    <a:lnTo>
                      <a:pt x="3214" y="5250"/>
                    </a:lnTo>
                    <a:lnTo>
                      <a:pt x="3216" y="5254"/>
                    </a:lnTo>
                    <a:lnTo>
                      <a:pt x="3220" y="5256"/>
                    </a:lnTo>
                    <a:lnTo>
                      <a:pt x="3222" y="5254"/>
                    </a:lnTo>
                    <a:lnTo>
                      <a:pt x="3224" y="5252"/>
                    </a:lnTo>
                    <a:lnTo>
                      <a:pt x="3224" y="5252"/>
                    </a:lnTo>
                    <a:lnTo>
                      <a:pt x="3228" y="5246"/>
                    </a:lnTo>
                    <a:lnTo>
                      <a:pt x="3228" y="5240"/>
                    </a:lnTo>
                    <a:lnTo>
                      <a:pt x="3228" y="5238"/>
                    </a:lnTo>
                    <a:lnTo>
                      <a:pt x="3226" y="5238"/>
                    </a:lnTo>
                    <a:lnTo>
                      <a:pt x="3224" y="5242"/>
                    </a:lnTo>
                    <a:lnTo>
                      <a:pt x="3224" y="5242"/>
                    </a:lnTo>
                    <a:close/>
                    <a:moveTo>
                      <a:pt x="3202" y="5252"/>
                    </a:moveTo>
                    <a:lnTo>
                      <a:pt x="3202" y="5252"/>
                    </a:lnTo>
                    <a:lnTo>
                      <a:pt x="3204" y="5250"/>
                    </a:lnTo>
                    <a:lnTo>
                      <a:pt x="3206" y="5248"/>
                    </a:lnTo>
                    <a:lnTo>
                      <a:pt x="3206" y="5246"/>
                    </a:lnTo>
                    <a:lnTo>
                      <a:pt x="3210" y="5244"/>
                    </a:lnTo>
                    <a:lnTo>
                      <a:pt x="3210" y="5244"/>
                    </a:lnTo>
                    <a:lnTo>
                      <a:pt x="3212" y="5240"/>
                    </a:lnTo>
                    <a:lnTo>
                      <a:pt x="3212" y="5240"/>
                    </a:lnTo>
                    <a:lnTo>
                      <a:pt x="3208" y="5240"/>
                    </a:lnTo>
                    <a:lnTo>
                      <a:pt x="3208" y="5240"/>
                    </a:lnTo>
                    <a:lnTo>
                      <a:pt x="3198" y="5240"/>
                    </a:lnTo>
                    <a:lnTo>
                      <a:pt x="3194" y="5242"/>
                    </a:lnTo>
                    <a:lnTo>
                      <a:pt x="3194" y="5246"/>
                    </a:lnTo>
                    <a:lnTo>
                      <a:pt x="3194" y="5246"/>
                    </a:lnTo>
                    <a:lnTo>
                      <a:pt x="3194" y="5248"/>
                    </a:lnTo>
                    <a:lnTo>
                      <a:pt x="3194" y="5248"/>
                    </a:lnTo>
                    <a:lnTo>
                      <a:pt x="3188" y="5254"/>
                    </a:lnTo>
                    <a:lnTo>
                      <a:pt x="3188" y="5254"/>
                    </a:lnTo>
                    <a:lnTo>
                      <a:pt x="3184" y="5256"/>
                    </a:lnTo>
                    <a:lnTo>
                      <a:pt x="3186" y="5256"/>
                    </a:lnTo>
                    <a:lnTo>
                      <a:pt x="3196" y="5258"/>
                    </a:lnTo>
                    <a:lnTo>
                      <a:pt x="3196" y="5258"/>
                    </a:lnTo>
                    <a:lnTo>
                      <a:pt x="3200" y="5256"/>
                    </a:lnTo>
                    <a:lnTo>
                      <a:pt x="3200" y="5256"/>
                    </a:lnTo>
                    <a:lnTo>
                      <a:pt x="3200" y="5254"/>
                    </a:lnTo>
                    <a:lnTo>
                      <a:pt x="3202" y="5252"/>
                    </a:lnTo>
                    <a:lnTo>
                      <a:pt x="3202" y="5252"/>
                    </a:lnTo>
                    <a:close/>
                    <a:moveTo>
                      <a:pt x="3244" y="4390"/>
                    </a:moveTo>
                    <a:lnTo>
                      <a:pt x="3244" y="4390"/>
                    </a:lnTo>
                    <a:lnTo>
                      <a:pt x="3242" y="4392"/>
                    </a:lnTo>
                    <a:lnTo>
                      <a:pt x="3242" y="4394"/>
                    </a:lnTo>
                    <a:lnTo>
                      <a:pt x="3246" y="4396"/>
                    </a:lnTo>
                    <a:lnTo>
                      <a:pt x="3250" y="4396"/>
                    </a:lnTo>
                    <a:lnTo>
                      <a:pt x="3250" y="4396"/>
                    </a:lnTo>
                    <a:lnTo>
                      <a:pt x="3252" y="4394"/>
                    </a:lnTo>
                    <a:lnTo>
                      <a:pt x="3250" y="4392"/>
                    </a:lnTo>
                    <a:lnTo>
                      <a:pt x="3246" y="4390"/>
                    </a:lnTo>
                    <a:lnTo>
                      <a:pt x="3244" y="4390"/>
                    </a:lnTo>
                    <a:lnTo>
                      <a:pt x="3244" y="4390"/>
                    </a:lnTo>
                    <a:close/>
                    <a:moveTo>
                      <a:pt x="3228" y="4278"/>
                    </a:moveTo>
                    <a:lnTo>
                      <a:pt x="3228" y="4278"/>
                    </a:lnTo>
                    <a:lnTo>
                      <a:pt x="3228" y="4280"/>
                    </a:lnTo>
                    <a:lnTo>
                      <a:pt x="3230" y="4284"/>
                    </a:lnTo>
                    <a:lnTo>
                      <a:pt x="3234" y="4290"/>
                    </a:lnTo>
                    <a:lnTo>
                      <a:pt x="3234" y="4294"/>
                    </a:lnTo>
                    <a:lnTo>
                      <a:pt x="3234" y="4294"/>
                    </a:lnTo>
                    <a:lnTo>
                      <a:pt x="3232" y="4298"/>
                    </a:lnTo>
                    <a:lnTo>
                      <a:pt x="3234" y="4300"/>
                    </a:lnTo>
                    <a:lnTo>
                      <a:pt x="3234" y="4302"/>
                    </a:lnTo>
                    <a:lnTo>
                      <a:pt x="3232" y="4304"/>
                    </a:lnTo>
                    <a:lnTo>
                      <a:pt x="3232" y="4304"/>
                    </a:lnTo>
                    <a:lnTo>
                      <a:pt x="3232" y="4306"/>
                    </a:lnTo>
                    <a:lnTo>
                      <a:pt x="3232" y="4306"/>
                    </a:lnTo>
                    <a:lnTo>
                      <a:pt x="3234" y="4308"/>
                    </a:lnTo>
                    <a:lnTo>
                      <a:pt x="3238" y="4308"/>
                    </a:lnTo>
                    <a:lnTo>
                      <a:pt x="3240" y="4306"/>
                    </a:lnTo>
                    <a:lnTo>
                      <a:pt x="3240" y="4306"/>
                    </a:lnTo>
                    <a:lnTo>
                      <a:pt x="3240" y="4304"/>
                    </a:lnTo>
                    <a:lnTo>
                      <a:pt x="3242" y="4304"/>
                    </a:lnTo>
                    <a:lnTo>
                      <a:pt x="3246" y="4308"/>
                    </a:lnTo>
                    <a:lnTo>
                      <a:pt x="3248" y="4314"/>
                    </a:lnTo>
                    <a:lnTo>
                      <a:pt x="3248" y="4318"/>
                    </a:lnTo>
                    <a:lnTo>
                      <a:pt x="3248" y="4322"/>
                    </a:lnTo>
                    <a:lnTo>
                      <a:pt x="3248" y="4322"/>
                    </a:lnTo>
                    <a:lnTo>
                      <a:pt x="3246" y="4328"/>
                    </a:lnTo>
                    <a:lnTo>
                      <a:pt x="3248" y="4332"/>
                    </a:lnTo>
                    <a:lnTo>
                      <a:pt x="3248" y="4334"/>
                    </a:lnTo>
                    <a:lnTo>
                      <a:pt x="3248" y="4338"/>
                    </a:lnTo>
                    <a:lnTo>
                      <a:pt x="3248" y="4338"/>
                    </a:lnTo>
                    <a:lnTo>
                      <a:pt x="3246" y="4342"/>
                    </a:lnTo>
                    <a:lnTo>
                      <a:pt x="3248" y="4344"/>
                    </a:lnTo>
                    <a:lnTo>
                      <a:pt x="3256" y="4348"/>
                    </a:lnTo>
                    <a:lnTo>
                      <a:pt x="3256" y="4348"/>
                    </a:lnTo>
                    <a:lnTo>
                      <a:pt x="3258" y="4350"/>
                    </a:lnTo>
                    <a:lnTo>
                      <a:pt x="3258" y="4350"/>
                    </a:lnTo>
                    <a:lnTo>
                      <a:pt x="3258" y="4344"/>
                    </a:lnTo>
                    <a:lnTo>
                      <a:pt x="3256" y="4338"/>
                    </a:lnTo>
                    <a:lnTo>
                      <a:pt x="3256" y="4336"/>
                    </a:lnTo>
                    <a:lnTo>
                      <a:pt x="3256" y="4334"/>
                    </a:lnTo>
                    <a:lnTo>
                      <a:pt x="3256" y="4334"/>
                    </a:lnTo>
                    <a:lnTo>
                      <a:pt x="3258" y="4336"/>
                    </a:lnTo>
                    <a:lnTo>
                      <a:pt x="3260" y="4342"/>
                    </a:lnTo>
                    <a:lnTo>
                      <a:pt x="3262" y="4348"/>
                    </a:lnTo>
                    <a:lnTo>
                      <a:pt x="3266" y="4354"/>
                    </a:lnTo>
                    <a:lnTo>
                      <a:pt x="3266" y="4354"/>
                    </a:lnTo>
                    <a:lnTo>
                      <a:pt x="3270" y="4356"/>
                    </a:lnTo>
                    <a:lnTo>
                      <a:pt x="3270" y="4354"/>
                    </a:lnTo>
                    <a:lnTo>
                      <a:pt x="3266" y="4344"/>
                    </a:lnTo>
                    <a:lnTo>
                      <a:pt x="3266" y="4344"/>
                    </a:lnTo>
                    <a:lnTo>
                      <a:pt x="3264" y="4342"/>
                    </a:lnTo>
                    <a:lnTo>
                      <a:pt x="3266" y="4342"/>
                    </a:lnTo>
                    <a:lnTo>
                      <a:pt x="3268" y="4340"/>
                    </a:lnTo>
                    <a:lnTo>
                      <a:pt x="3270" y="4338"/>
                    </a:lnTo>
                    <a:lnTo>
                      <a:pt x="3268" y="4332"/>
                    </a:lnTo>
                    <a:lnTo>
                      <a:pt x="3268" y="4332"/>
                    </a:lnTo>
                    <a:lnTo>
                      <a:pt x="3266" y="4330"/>
                    </a:lnTo>
                    <a:lnTo>
                      <a:pt x="3266" y="4326"/>
                    </a:lnTo>
                    <a:lnTo>
                      <a:pt x="3264" y="4322"/>
                    </a:lnTo>
                    <a:lnTo>
                      <a:pt x="3260" y="4318"/>
                    </a:lnTo>
                    <a:lnTo>
                      <a:pt x="3260" y="4318"/>
                    </a:lnTo>
                    <a:lnTo>
                      <a:pt x="3260" y="4316"/>
                    </a:lnTo>
                    <a:lnTo>
                      <a:pt x="3258" y="4312"/>
                    </a:lnTo>
                    <a:lnTo>
                      <a:pt x="3258" y="4304"/>
                    </a:lnTo>
                    <a:lnTo>
                      <a:pt x="3258" y="4296"/>
                    </a:lnTo>
                    <a:lnTo>
                      <a:pt x="3258" y="4294"/>
                    </a:lnTo>
                    <a:lnTo>
                      <a:pt x="3256" y="4292"/>
                    </a:lnTo>
                    <a:lnTo>
                      <a:pt x="3256" y="4292"/>
                    </a:lnTo>
                    <a:lnTo>
                      <a:pt x="3254" y="4290"/>
                    </a:lnTo>
                    <a:lnTo>
                      <a:pt x="3256" y="4288"/>
                    </a:lnTo>
                    <a:lnTo>
                      <a:pt x="3256" y="4284"/>
                    </a:lnTo>
                    <a:lnTo>
                      <a:pt x="3252" y="4284"/>
                    </a:lnTo>
                    <a:lnTo>
                      <a:pt x="3252" y="4284"/>
                    </a:lnTo>
                    <a:lnTo>
                      <a:pt x="3248" y="4284"/>
                    </a:lnTo>
                    <a:lnTo>
                      <a:pt x="3246" y="4286"/>
                    </a:lnTo>
                    <a:lnTo>
                      <a:pt x="3244" y="4288"/>
                    </a:lnTo>
                    <a:lnTo>
                      <a:pt x="3240" y="4286"/>
                    </a:lnTo>
                    <a:lnTo>
                      <a:pt x="3240" y="4286"/>
                    </a:lnTo>
                    <a:lnTo>
                      <a:pt x="3234" y="4280"/>
                    </a:lnTo>
                    <a:lnTo>
                      <a:pt x="3230" y="4278"/>
                    </a:lnTo>
                    <a:lnTo>
                      <a:pt x="3228" y="4278"/>
                    </a:lnTo>
                    <a:lnTo>
                      <a:pt x="3228" y="4278"/>
                    </a:lnTo>
                    <a:close/>
                    <a:moveTo>
                      <a:pt x="3292" y="3100"/>
                    </a:moveTo>
                    <a:lnTo>
                      <a:pt x="3292" y="3100"/>
                    </a:lnTo>
                    <a:lnTo>
                      <a:pt x="3294" y="3100"/>
                    </a:lnTo>
                    <a:lnTo>
                      <a:pt x="3294" y="3100"/>
                    </a:lnTo>
                    <a:lnTo>
                      <a:pt x="3296" y="3094"/>
                    </a:lnTo>
                    <a:lnTo>
                      <a:pt x="3296" y="3094"/>
                    </a:lnTo>
                    <a:lnTo>
                      <a:pt x="3296" y="3092"/>
                    </a:lnTo>
                    <a:lnTo>
                      <a:pt x="3294" y="3094"/>
                    </a:lnTo>
                    <a:lnTo>
                      <a:pt x="3292" y="3096"/>
                    </a:lnTo>
                    <a:lnTo>
                      <a:pt x="3292" y="3100"/>
                    </a:lnTo>
                    <a:lnTo>
                      <a:pt x="3292" y="3100"/>
                    </a:lnTo>
                    <a:close/>
                    <a:moveTo>
                      <a:pt x="3208" y="4238"/>
                    </a:moveTo>
                    <a:lnTo>
                      <a:pt x="3208" y="4238"/>
                    </a:lnTo>
                    <a:lnTo>
                      <a:pt x="3210" y="4234"/>
                    </a:lnTo>
                    <a:lnTo>
                      <a:pt x="3208" y="4228"/>
                    </a:lnTo>
                    <a:lnTo>
                      <a:pt x="3204" y="4224"/>
                    </a:lnTo>
                    <a:lnTo>
                      <a:pt x="3202" y="4222"/>
                    </a:lnTo>
                    <a:lnTo>
                      <a:pt x="3202" y="4222"/>
                    </a:lnTo>
                    <a:lnTo>
                      <a:pt x="3200" y="4222"/>
                    </a:lnTo>
                    <a:lnTo>
                      <a:pt x="3200" y="4224"/>
                    </a:lnTo>
                    <a:lnTo>
                      <a:pt x="3204" y="4230"/>
                    </a:lnTo>
                    <a:lnTo>
                      <a:pt x="3208" y="4238"/>
                    </a:lnTo>
                    <a:lnTo>
                      <a:pt x="3208" y="4238"/>
                    </a:lnTo>
                    <a:close/>
                    <a:moveTo>
                      <a:pt x="3164" y="4238"/>
                    </a:moveTo>
                    <a:lnTo>
                      <a:pt x="3164" y="4238"/>
                    </a:lnTo>
                    <a:lnTo>
                      <a:pt x="3164" y="4232"/>
                    </a:lnTo>
                    <a:lnTo>
                      <a:pt x="3162" y="4230"/>
                    </a:lnTo>
                    <a:lnTo>
                      <a:pt x="3158" y="4230"/>
                    </a:lnTo>
                    <a:lnTo>
                      <a:pt x="3154" y="4232"/>
                    </a:lnTo>
                    <a:lnTo>
                      <a:pt x="3154" y="4232"/>
                    </a:lnTo>
                    <a:lnTo>
                      <a:pt x="3152" y="4232"/>
                    </a:lnTo>
                    <a:lnTo>
                      <a:pt x="3154" y="4234"/>
                    </a:lnTo>
                    <a:lnTo>
                      <a:pt x="3156" y="4236"/>
                    </a:lnTo>
                    <a:lnTo>
                      <a:pt x="3156" y="4236"/>
                    </a:lnTo>
                    <a:lnTo>
                      <a:pt x="3160" y="4240"/>
                    </a:lnTo>
                    <a:lnTo>
                      <a:pt x="3162" y="4240"/>
                    </a:lnTo>
                    <a:lnTo>
                      <a:pt x="3164" y="4238"/>
                    </a:lnTo>
                    <a:lnTo>
                      <a:pt x="3164" y="4238"/>
                    </a:lnTo>
                    <a:close/>
                    <a:moveTo>
                      <a:pt x="3196" y="4228"/>
                    </a:moveTo>
                    <a:lnTo>
                      <a:pt x="3196" y="4228"/>
                    </a:lnTo>
                    <a:lnTo>
                      <a:pt x="3192" y="4228"/>
                    </a:lnTo>
                    <a:lnTo>
                      <a:pt x="3190" y="4228"/>
                    </a:lnTo>
                    <a:lnTo>
                      <a:pt x="3188" y="4228"/>
                    </a:lnTo>
                    <a:lnTo>
                      <a:pt x="3186" y="4232"/>
                    </a:lnTo>
                    <a:lnTo>
                      <a:pt x="3186" y="4232"/>
                    </a:lnTo>
                    <a:lnTo>
                      <a:pt x="3188" y="4238"/>
                    </a:lnTo>
                    <a:lnTo>
                      <a:pt x="3186" y="4242"/>
                    </a:lnTo>
                    <a:lnTo>
                      <a:pt x="3182" y="4256"/>
                    </a:lnTo>
                    <a:lnTo>
                      <a:pt x="3182" y="4256"/>
                    </a:lnTo>
                    <a:lnTo>
                      <a:pt x="3182" y="4258"/>
                    </a:lnTo>
                    <a:lnTo>
                      <a:pt x="3184" y="4258"/>
                    </a:lnTo>
                    <a:lnTo>
                      <a:pt x="3186" y="4254"/>
                    </a:lnTo>
                    <a:lnTo>
                      <a:pt x="3196" y="4244"/>
                    </a:lnTo>
                    <a:lnTo>
                      <a:pt x="3196" y="4244"/>
                    </a:lnTo>
                    <a:lnTo>
                      <a:pt x="3198" y="4244"/>
                    </a:lnTo>
                    <a:lnTo>
                      <a:pt x="3200" y="4244"/>
                    </a:lnTo>
                    <a:lnTo>
                      <a:pt x="3202" y="4250"/>
                    </a:lnTo>
                    <a:lnTo>
                      <a:pt x="3204" y="4256"/>
                    </a:lnTo>
                    <a:lnTo>
                      <a:pt x="3206" y="4258"/>
                    </a:lnTo>
                    <a:lnTo>
                      <a:pt x="3208" y="4260"/>
                    </a:lnTo>
                    <a:lnTo>
                      <a:pt x="3208" y="4260"/>
                    </a:lnTo>
                    <a:lnTo>
                      <a:pt x="3212" y="4262"/>
                    </a:lnTo>
                    <a:lnTo>
                      <a:pt x="3218" y="4266"/>
                    </a:lnTo>
                    <a:lnTo>
                      <a:pt x="3222" y="4268"/>
                    </a:lnTo>
                    <a:lnTo>
                      <a:pt x="3220" y="4264"/>
                    </a:lnTo>
                    <a:lnTo>
                      <a:pt x="3220" y="4264"/>
                    </a:lnTo>
                    <a:lnTo>
                      <a:pt x="3218" y="4258"/>
                    </a:lnTo>
                    <a:lnTo>
                      <a:pt x="3216" y="4252"/>
                    </a:lnTo>
                    <a:lnTo>
                      <a:pt x="3214" y="4246"/>
                    </a:lnTo>
                    <a:lnTo>
                      <a:pt x="3210" y="4242"/>
                    </a:lnTo>
                    <a:lnTo>
                      <a:pt x="3210" y="4242"/>
                    </a:lnTo>
                    <a:lnTo>
                      <a:pt x="3206" y="4240"/>
                    </a:lnTo>
                    <a:lnTo>
                      <a:pt x="3202" y="4234"/>
                    </a:lnTo>
                    <a:lnTo>
                      <a:pt x="3198" y="4230"/>
                    </a:lnTo>
                    <a:lnTo>
                      <a:pt x="3196" y="4228"/>
                    </a:lnTo>
                    <a:lnTo>
                      <a:pt x="3196" y="4228"/>
                    </a:lnTo>
                    <a:close/>
                    <a:moveTo>
                      <a:pt x="3152" y="5104"/>
                    </a:moveTo>
                    <a:lnTo>
                      <a:pt x="3152" y="5104"/>
                    </a:lnTo>
                    <a:lnTo>
                      <a:pt x="3160" y="5100"/>
                    </a:lnTo>
                    <a:lnTo>
                      <a:pt x="3162" y="5098"/>
                    </a:lnTo>
                    <a:lnTo>
                      <a:pt x="3162" y="5094"/>
                    </a:lnTo>
                    <a:lnTo>
                      <a:pt x="3162" y="5094"/>
                    </a:lnTo>
                    <a:lnTo>
                      <a:pt x="3160" y="5090"/>
                    </a:lnTo>
                    <a:lnTo>
                      <a:pt x="3162" y="5084"/>
                    </a:lnTo>
                    <a:lnTo>
                      <a:pt x="3164" y="5078"/>
                    </a:lnTo>
                    <a:lnTo>
                      <a:pt x="3166" y="5070"/>
                    </a:lnTo>
                    <a:lnTo>
                      <a:pt x="3166" y="5070"/>
                    </a:lnTo>
                    <a:lnTo>
                      <a:pt x="3164" y="5066"/>
                    </a:lnTo>
                    <a:lnTo>
                      <a:pt x="3164" y="5064"/>
                    </a:lnTo>
                    <a:lnTo>
                      <a:pt x="3160" y="5064"/>
                    </a:lnTo>
                    <a:lnTo>
                      <a:pt x="3158" y="5064"/>
                    </a:lnTo>
                    <a:lnTo>
                      <a:pt x="3152" y="5070"/>
                    </a:lnTo>
                    <a:lnTo>
                      <a:pt x="3150" y="5074"/>
                    </a:lnTo>
                    <a:lnTo>
                      <a:pt x="3150" y="5078"/>
                    </a:lnTo>
                    <a:lnTo>
                      <a:pt x="3150" y="5078"/>
                    </a:lnTo>
                    <a:lnTo>
                      <a:pt x="3150" y="5090"/>
                    </a:lnTo>
                    <a:lnTo>
                      <a:pt x="3148" y="5098"/>
                    </a:lnTo>
                    <a:lnTo>
                      <a:pt x="3148" y="5104"/>
                    </a:lnTo>
                    <a:lnTo>
                      <a:pt x="3148" y="5106"/>
                    </a:lnTo>
                    <a:lnTo>
                      <a:pt x="3152" y="5104"/>
                    </a:lnTo>
                    <a:lnTo>
                      <a:pt x="3152" y="5104"/>
                    </a:lnTo>
                    <a:close/>
                    <a:moveTo>
                      <a:pt x="3192" y="4332"/>
                    </a:moveTo>
                    <a:lnTo>
                      <a:pt x="3192" y="4332"/>
                    </a:lnTo>
                    <a:lnTo>
                      <a:pt x="3198" y="4322"/>
                    </a:lnTo>
                    <a:lnTo>
                      <a:pt x="3198" y="4314"/>
                    </a:lnTo>
                    <a:lnTo>
                      <a:pt x="3196" y="4308"/>
                    </a:lnTo>
                    <a:lnTo>
                      <a:pt x="3196" y="4306"/>
                    </a:lnTo>
                    <a:lnTo>
                      <a:pt x="3192" y="4306"/>
                    </a:lnTo>
                    <a:lnTo>
                      <a:pt x="3192" y="4306"/>
                    </a:lnTo>
                    <a:lnTo>
                      <a:pt x="3190" y="4304"/>
                    </a:lnTo>
                    <a:lnTo>
                      <a:pt x="3186" y="4304"/>
                    </a:lnTo>
                    <a:lnTo>
                      <a:pt x="3184" y="4304"/>
                    </a:lnTo>
                    <a:lnTo>
                      <a:pt x="3178" y="4306"/>
                    </a:lnTo>
                    <a:lnTo>
                      <a:pt x="3178" y="4306"/>
                    </a:lnTo>
                    <a:lnTo>
                      <a:pt x="3176" y="4310"/>
                    </a:lnTo>
                    <a:lnTo>
                      <a:pt x="3174" y="4312"/>
                    </a:lnTo>
                    <a:lnTo>
                      <a:pt x="3174" y="4316"/>
                    </a:lnTo>
                    <a:lnTo>
                      <a:pt x="3176" y="4320"/>
                    </a:lnTo>
                    <a:lnTo>
                      <a:pt x="3174" y="4322"/>
                    </a:lnTo>
                    <a:lnTo>
                      <a:pt x="3172" y="4324"/>
                    </a:lnTo>
                    <a:lnTo>
                      <a:pt x="3172" y="4324"/>
                    </a:lnTo>
                    <a:lnTo>
                      <a:pt x="3170" y="4326"/>
                    </a:lnTo>
                    <a:lnTo>
                      <a:pt x="3170" y="4330"/>
                    </a:lnTo>
                    <a:lnTo>
                      <a:pt x="3172" y="4336"/>
                    </a:lnTo>
                    <a:lnTo>
                      <a:pt x="3172" y="4344"/>
                    </a:lnTo>
                    <a:lnTo>
                      <a:pt x="3172" y="4348"/>
                    </a:lnTo>
                    <a:lnTo>
                      <a:pt x="3168" y="4352"/>
                    </a:lnTo>
                    <a:lnTo>
                      <a:pt x="3168" y="4352"/>
                    </a:lnTo>
                    <a:lnTo>
                      <a:pt x="3164" y="4354"/>
                    </a:lnTo>
                    <a:lnTo>
                      <a:pt x="3162" y="4354"/>
                    </a:lnTo>
                    <a:lnTo>
                      <a:pt x="3158" y="4352"/>
                    </a:lnTo>
                    <a:lnTo>
                      <a:pt x="3154" y="4352"/>
                    </a:lnTo>
                    <a:lnTo>
                      <a:pt x="3152" y="4358"/>
                    </a:lnTo>
                    <a:lnTo>
                      <a:pt x="3152" y="4358"/>
                    </a:lnTo>
                    <a:lnTo>
                      <a:pt x="3152" y="4364"/>
                    </a:lnTo>
                    <a:lnTo>
                      <a:pt x="3156" y="4372"/>
                    </a:lnTo>
                    <a:lnTo>
                      <a:pt x="3156" y="4372"/>
                    </a:lnTo>
                    <a:lnTo>
                      <a:pt x="3162" y="4380"/>
                    </a:lnTo>
                    <a:lnTo>
                      <a:pt x="3166" y="4382"/>
                    </a:lnTo>
                    <a:lnTo>
                      <a:pt x="3170" y="4384"/>
                    </a:lnTo>
                    <a:lnTo>
                      <a:pt x="3172" y="4392"/>
                    </a:lnTo>
                    <a:lnTo>
                      <a:pt x="3172" y="4392"/>
                    </a:lnTo>
                    <a:lnTo>
                      <a:pt x="3176" y="4398"/>
                    </a:lnTo>
                    <a:lnTo>
                      <a:pt x="3178" y="4400"/>
                    </a:lnTo>
                    <a:lnTo>
                      <a:pt x="3180" y="4400"/>
                    </a:lnTo>
                    <a:lnTo>
                      <a:pt x="3184" y="4396"/>
                    </a:lnTo>
                    <a:lnTo>
                      <a:pt x="3188" y="4392"/>
                    </a:lnTo>
                    <a:lnTo>
                      <a:pt x="3188" y="4392"/>
                    </a:lnTo>
                    <a:lnTo>
                      <a:pt x="3190" y="4388"/>
                    </a:lnTo>
                    <a:lnTo>
                      <a:pt x="3190" y="4384"/>
                    </a:lnTo>
                    <a:lnTo>
                      <a:pt x="3186" y="4376"/>
                    </a:lnTo>
                    <a:lnTo>
                      <a:pt x="3182" y="4364"/>
                    </a:lnTo>
                    <a:lnTo>
                      <a:pt x="3182" y="4360"/>
                    </a:lnTo>
                    <a:lnTo>
                      <a:pt x="3184" y="4356"/>
                    </a:lnTo>
                    <a:lnTo>
                      <a:pt x="3184" y="4356"/>
                    </a:lnTo>
                    <a:lnTo>
                      <a:pt x="3188" y="4348"/>
                    </a:lnTo>
                    <a:lnTo>
                      <a:pt x="3188" y="4344"/>
                    </a:lnTo>
                    <a:lnTo>
                      <a:pt x="3190" y="4338"/>
                    </a:lnTo>
                    <a:lnTo>
                      <a:pt x="3192" y="4332"/>
                    </a:lnTo>
                    <a:lnTo>
                      <a:pt x="3192" y="4332"/>
                    </a:lnTo>
                    <a:close/>
                    <a:moveTo>
                      <a:pt x="3202" y="4390"/>
                    </a:moveTo>
                    <a:lnTo>
                      <a:pt x="3202" y="4390"/>
                    </a:lnTo>
                    <a:lnTo>
                      <a:pt x="3200" y="4392"/>
                    </a:lnTo>
                    <a:lnTo>
                      <a:pt x="3196" y="4392"/>
                    </a:lnTo>
                    <a:lnTo>
                      <a:pt x="3196" y="4392"/>
                    </a:lnTo>
                    <a:lnTo>
                      <a:pt x="3196" y="4392"/>
                    </a:lnTo>
                    <a:lnTo>
                      <a:pt x="3198" y="4394"/>
                    </a:lnTo>
                    <a:lnTo>
                      <a:pt x="3202" y="4396"/>
                    </a:lnTo>
                    <a:lnTo>
                      <a:pt x="3204" y="4396"/>
                    </a:lnTo>
                    <a:lnTo>
                      <a:pt x="3204" y="4396"/>
                    </a:lnTo>
                    <a:lnTo>
                      <a:pt x="3206" y="4394"/>
                    </a:lnTo>
                    <a:lnTo>
                      <a:pt x="3204" y="4390"/>
                    </a:lnTo>
                    <a:lnTo>
                      <a:pt x="3202" y="4388"/>
                    </a:lnTo>
                    <a:lnTo>
                      <a:pt x="3202" y="4390"/>
                    </a:lnTo>
                    <a:lnTo>
                      <a:pt x="3202" y="4390"/>
                    </a:lnTo>
                    <a:close/>
                    <a:moveTo>
                      <a:pt x="3218" y="4324"/>
                    </a:moveTo>
                    <a:lnTo>
                      <a:pt x="3218" y="4324"/>
                    </a:lnTo>
                    <a:lnTo>
                      <a:pt x="3218" y="4318"/>
                    </a:lnTo>
                    <a:lnTo>
                      <a:pt x="3220" y="4314"/>
                    </a:lnTo>
                    <a:lnTo>
                      <a:pt x="3222" y="4310"/>
                    </a:lnTo>
                    <a:lnTo>
                      <a:pt x="3222" y="4308"/>
                    </a:lnTo>
                    <a:lnTo>
                      <a:pt x="3222" y="4308"/>
                    </a:lnTo>
                    <a:lnTo>
                      <a:pt x="3220" y="4300"/>
                    </a:lnTo>
                    <a:lnTo>
                      <a:pt x="3220" y="4292"/>
                    </a:lnTo>
                    <a:lnTo>
                      <a:pt x="3218" y="4290"/>
                    </a:lnTo>
                    <a:lnTo>
                      <a:pt x="3218" y="4290"/>
                    </a:lnTo>
                    <a:lnTo>
                      <a:pt x="3216" y="4298"/>
                    </a:lnTo>
                    <a:lnTo>
                      <a:pt x="3216" y="4298"/>
                    </a:lnTo>
                    <a:lnTo>
                      <a:pt x="3210" y="4312"/>
                    </a:lnTo>
                    <a:lnTo>
                      <a:pt x="3208" y="4316"/>
                    </a:lnTo>
                    <a:lnTo>
                      <a:pt x="3206" y="4324"/>
                    </a:lnTo>
                    <a:lnTo>
                      <a:pt x="3206" y="4324"/>
                    </a:lnTo>
                    <a:lnTo>
                      <a:pt x="3204" y="4334"/>
                    </a:lnTo>
                    <a:lnTo>
                      <a:pt x="3198" y="4342"/>
                    </a:lnTo>
                    <a:lnTo>
                      <a:pt x="3194" y="4348"/>
                    </a:lnTo>
                    <a:lnTo>
                      <a:pt x="3192" y="4354"/>
                    </a:lnTo>
                    <a:lnTo>
                      <a:pt x="3192" y="4354"/>
                    </a:lnTo>
                    <a:lnTo>
                      <a:pt x="3192" y="4362"/>
                    </a:lnTo>
                    <a:lnTo>
                      <a:pt x="3190" y="4374"/>
                    </a:lnTo>
                    <a:lnTo>
                      <a:pt x="3190" y="4374"/>
                    </a:lnTo>
                    <a:lnTo>
                      <a:pt x="3190" y="4380"/>
                    </a:lnTo>
                    <a:lnTo>
                      <a:pt x="3192" y="4380"/>
                    </a:lnTo>
                    <a:lnTo>
                      <a:pt x="3192" y="4380"/>
                    </a:lnTo>
                    <a:lnTo>
                      <a:pt x="3194" y="4376"/>
                    </a:lnTo>
                    <a:lnTo>
                      <a:pt x="3198" y="4368"/>
                    </a:lnTo>
                    <a:lnTo>
                      <a:pt x="3198" y="4368"/>
                    </a:lnTo>
                    <a:lnTo>
                      <a:pt x="3200" y="4362"/>
                    </a:lnTo>
                    <a:lnTo>
                      <a:pt x="3202" y="4360"/>
                    </a:lnTo>
                    <a:lnTo>
                      <a:pt x="3204" y="4358"/>
                    </a:lnTo>
                    <a:lnTo>
                      <a:pt x="3204" y="4352"/>
                    </a:lnTo>
                    <a:lnTo>
                      <a:pt x="3204" y="4352"/>
                    </a:lnTo>
                    <a:lnTo>
                      <a:pt x="3204" y="4348"/>
                    </a:lnTo>
                    <a:lnTo>
                      <a:pt x="3206" y="4344"/>
                    </a:lnTo>
                    <a:lnTo>
                      <a:pt x="3212" y="4340"/>
                    </a:lnTo>
                    <a:lnTo>
                      <a:pt x="3218" y="4332"/>
                    </a:lnTo>
                    <a:lnTo>
                      <a:pt x="3220" y="4328"/>
                    </a:lnTo>
                    <a:lnTo>
                      <a:pt x="3218" y="4324"/>
                    </a:lnTo>
                    <a:lnTo>
                      <a:pt x="3218" y="4324"/>
                    </a:lnTo>
                    <a:close/>
                    <a:moveTo>
                      <a:pt x="3226" y="4342"/>
                    </a:moveTo>
                    <a:lnTo>
                      <a:pt x="3226" y="4342"/>
                    </a:lnTo>
                    <a:lnTo>
                      <a:pt x="3222" y="4350"/>
                    </a:lnTo>
                    <a:lnTo>
                      <a:pt x="3216" y="4354"/>
                    </a:lnTo>
                    <a:lnTo>
                      <a:pt x="3216" y="4354"/>
                    </a:lnTo>
                    <a:lnTo>
                      <a:pt x="3214" y="4356"/>
                    </a:lnTo>
                    <a:lnTo>
                      <a:pt x="3210" y="4360"/>
                    </a:lnTo>
                    <a:lnTo>
                      <a:pt x="3210" y="4364"/>
                    </a:lnTo>
                    <a:lnTo>
                      <a:pt x="3212" y="4368"/>
                    </a:lnTo>
                    <a:lnTo>
                      <a:pt x="3212" y="4368"/>
                    </a:lnTo>
                    <a:lnTo>
                      <a:pt x="3214" y="4370"/>
                    </a:lnTo>
                    <a:lnTo>
                      <a:pt x="3216" y="4372"/>
                    </a:lnTo>
                    <a:lnTo>
                      <a:pt x="3224" y="4372"/>
                    </a:lnTo>
                    <a:lnTo>
                      <a:pt x="3230" y="4370"/>
                    </a:lnTo>
                    <a:lnTo>
                      <a:pt x="3234" y="4368"/>
                    </a:lnTo>
                    <a:lnTo>
                      <a:pt x="3234" y="4368"/>
                    </a:lnTo>
                    <a:lnTo>
                      <a:pt x="3236" y="4366"/>
                    </a:lnTo>
                    <a:lnTo>
                      <a:pt x="3240" y="4366"/>
                    </a:lnTo>
                    <a:lnTo>
                      <a:pt x="3240" y="4364"/>
                    </a:lnTo>
                    <a:lnTo>
                      <a:pt x="3240" y="4362"/>
                    </a:lnTo>
                    <a:lnTo>
                      <a:pt x="3240" y="4362"/>
                    </a:lnTo>
                    <a:lnTo>
                      <a:pt x="3240" y="4356"/>
                    </a:lnTo>
                    <a:lnTo>
                      <a:pt x="3242" y="4352"/>
                    </a:lnTo>
                    <a:lnTo>
                      <a:pt x="3242" y="4346"/>
                    </a:lnTo>
                    <a:lnTo>
                      <a:pt x="3242" y="4344"/>
                    </a:lnTo>
                    <a:lnTo>
                      <a:pt x="3242" y="4344"/>
                    </a:lnTo>
                    <a:lnTo>
                      <a:pt x="3240" y="4344"/>
                    </a:lnTo>
                    <a:lnTo>
                      <a:pt x="3238" y="4346"/>
                    </a:lnTo>
                    <a:lnTo>
                      <a:pt x="3238" y="4348"/>
                    </a:lnTo>
                    <a:lnTo>
                      <a:pt x="3234" y="4348"/>
                    </a:lnTo>
                    <a:lnTo>
                      <a:pt x="3234" y="4348"/>
                    </a:lnTo>
                    <a:lnTo>
                      <a:pt x="3232" y="4346"/>
                    </a:lnTo>
                    <a:lnTo>
                      <a:pt x="3228" y="4342"/>
                    </a:lnTo>
                    <a:lnTo>
                      <a:pt x="3228" y="4340"/>
                    </a:lnTo>
                    <a:lnTo>
                      <a:pt x="3226" y="4342"/>
                    </a:lnTo>
                    <a:lnTo>
                      <a:pt x="3226" y="4342"/>
                    </a:lnTo>
                    <a:close/>
                    <a:moveTo>
                      <a:pt x="3240" y="4278"/>
                    </a:moveTo>
                    <a:lnTo>
                      <a:pt x="3240" y="4278"/>
                    </a:lnTo>
                    <a:lnTo>
                      <a:pt x="3242" y="4278"/>
                    </a:lnTo>
                    <a:lnTo>
                      <a:pt x="3242" y="4274"/>
                    </a:lnTo>
                    <a:lnTo>
                      <a:pt x="3240" y="4270"/>
                    </a:lnTo>
                    <a:lnTo>
                      <a:pt x="3236" y="4270"/>
                    </a:lnTo>
                    <a:lnTo>
                      <a:pt x="3236" y="4270"/>
                    </a:lnTo>
                    <a:lnTo>
                      <a:pt x="3234" y="4270"/>
                    </a:lnTo>
                    <a:lnTo>
                      <a:pt x="3234" y="4274"/>
                    </a:lnTo>
                    <a:lnTo>
                      <a:pt x="3236" y="4278"/>
                    </a:lnTo>
                    <a:lnTo>
                      <a:pt x="3240" y="4278"/>
                    </a:lnTo>
                    <a:lnTo>
                      <a:pt x="3240" y="4278"/>
                    </a:lnTo>
                    <a:close/>
                    <a:moveTo>
                      <a:pt x="3164" y="5116"/>
                    </a:moveTo>
                    <a:lnTo>
                      <a:pt x="3164" y="5116"/>
                    </a:lnTo>
                    <a:lnTo>
                      <a:pt x="3166" y="5118"/>
                    </a:lnTo>
                    <a:lnTo>
                      <a:pt x="3168" y="5116"/>
                    </a:lnTo>
                    <a:lnTo>
                      <a:pt x="3172" y="5110"/>
                    </a:lnTo>
                    <a:lnTo>
                      <a:pt x="3172" y="5110"/>
                    </a:lnTo>
                    <a:lnTo>
                      <a:pt x="3174" y="5106"/>
                    </a:lnTo>
                    <a:lnTo>
                      <a:pt x="3176" y="5104"/>
                    </a:lnTo>
                    <a:lnTo>
                      <a:pt x="3182" y="5102"/>
                    </a:lnTo>
                    <a:lnTo>
                      <a:pt x="3184" y="5102"/>
                    </a:lnTo>
                    <a:lnTo>
                      <a:pt x="3186" y="5100"/>
                    </a:lnTo>
                    <a:lnTo>
                      <a:pt x="3180" y="5092"/>
                    </a:lnTo>
                    <a:lnTo>
                      <a:pt x="3180" y="5092"/>
                    </a:lnTo>
                    <a:lnTo>
                      <a:pt x="3176" y="5086"/>
                    </a:lnTo>
                    <a:lnTo>
                      <a:pt x="3176" y="5082"/>
                    </a:lnTo>
                    <a:lnTo>
                      <a:pt x="3176" y="5078"/>
                    </a:lnTo>
                    <a:lnTo>
                      <a:pt x="3178" y="5076"/>
                    </a:lnTo>
                    <a:lnTo>
                      <a:pt x="3184" y="5070"/>
                    </a:lnTo>
                    <a:lnTo>
                      <a:pt x="3184" y="5064"/>
                    </a:lnTo>
                    <a:lnTo>
                      <a:pt x="3182" y="5058"/>
                    </a:lnTo>
                    <a:lnTo>
                      <a:pt x="3182" y="5058"/>
                    </a:lnTo>
                    <a:lnTo>
                      <a:pt x="3180" y="5054"/>
                    </a:lnTo>
                    <a:lnTo>
                      <a:pt x="3178" y="5052"/>
                    </a:lnTo>
                    <a:lnTo>
                      <a:pt x="3174" y="5054"/>
                    </a:lnTo>
                    <a:lnTo>
                      <a:pt x="3172" y="5058"/>
                    </a:lnTo>
                    <a:lnTo>
                      <a:pt x="3170" y="5070"/>
                    </a:lnTo>
                    <a:lnTo>
                      <a:pt x="3168" y="5086"/>
                    </a:lnTo>
                    <a:lnTo>
                      <a:pt x="3168" y="5086"/>
                    </a:lnTo>
                    <a:lnTo>
                      <a:pt x="3166" y="5094"/>
                    </a:lnTo>
                    <a:lnTo>
                      <a:pt x="3164" y="5100"/>
                    </a:lnTo>
                    <a:lnTo>
                      <a:pt x="3160" y="5108"/>
                    </a:lnTo>
                    <a:lnTo>
                      <a:pt x="3158" y="5110"/>
                    </a:lnTo>
                    <a:lnTo>
                      <a:pt x="3158" y="5112"/>
                    </a:lnTo>
                    <a:lnTo>
                      <a:pt x="3164" y="5116"/>
                    </a:lnTo>
                    <a:lnTo>
                      <a:pt x="3164" y="5116"/>
                    </a:lnTo>
                    <a:close/>
                    <a:moveTo>
                      <a:pt x="3346" y="4866"/>
                    </a:moveTo>
                    <a:lnTo>
                      <a:pt x="3346" y="4866"/>
                    </a:lnTo>
                    <a:lnTo>
                      <a:pt x="3348" y="4862"/>
                    </a:lnTo>
                    <a:lnTo>
                      <a:pt x="3348" y="4858"/>
                    </a:lnTo>
                    <a:lnTo>
                      <a:pt x="3348" y="4852"/>
                    </a:lnTo>
                    <a:lnTo>
                      <a:pt x="3346" y="4852"/>
                    </a:lnTo>
                    <a:lnTo>
                      <a:pt x="3344" y="4852"/>
                    </a:lnTo>
                    <a:lnTo>
                      <a:pt x="3344" y="4852"/>
                    </a:lnTo>
                    <a:lnTo>
                      <a:pt x="3342" y="4856"/>
                    </a:lnTo>
                    <a:lnTo>
                      <a:pt x="3342" y="4860"/>
                    </a:lnTo>
                    <a:lnTo>
                      <a:pt x="3342" y="4864"/>
                    </a:lnTo>
                    <a:lnTo>
                      <a:pt x="3344" y="4866"/>
                    </a:lnTo>
                    <a:lnTo>
                      <a:pt x="3346" y="4866"/>
                    </a:lnTo>
                    <a:lnTo>
                      <a:pt x="3346" y="4866"/>
                    </a:lnTo>
                    <a:close/>
                    <a:moveTo>
                      <a:pt x="3342" y="4998"/>
                    </a:moveTo>
                    <a:lnTo>
                      <a:pt x="3342" y="4998"/>
                    </a:lnTo>
                    <a:lnTo>
                      <a:pt x="3336" y="4992"/>
                    </a:lnTo>
                    <a:lnTo>
                      <a:pt x="3330" y="4990"/>
                    </a:lnTo>
                    <a:lnTo>
                      <a:pt x="3324" y="4986"/>
                    </a:lnTo>
                    <a:lnTo>
                      <a:pt x="3316" y="4986"/>
                    </a:lnTo>
                    <a:lnTo>
                      <a:pt x="3310" y="4986"/>
                    </a:lnTo>
                    <a:lnTo>
                      <a:pt x="3304" y="4988"/>
                    </a:lnTo>
                    <a:lnTo>
                      <a:pt x="3300" y="4992"/>
                    </a:lnTo>
                    <a:lnTo>
                      <a:pt x="3298" y="4996"/>
                    </a:lnTo>
                    <a:lnTo>
                      <a:pt x="3298" y="4996"/>
                    </a:lnTo>
                    <a:lnTo>
                      <a:pt x="3298" y="5002"/>
                    </a:lnTo>
                    <a:lnTo>
                      <a:pt x="3304" y="5010"/>
                    </a:lnTo>
                    <a:lnTo>
                      <a:pt x="3312" y="5016"/>
                    </a:lnTo>
                    <a:lnTo>
                      <a:pt x="3320" y="5024"/>
                    </a:lnTo>
                    <a:lnTo>
                      <a:pt x="3320" y="5024"/>
                    </a:lnTo>
                    <a:lnTo>
                      <a:pt x="3326" y="5026"/>
                    </a:lnTo>
                    <a:lnTo>
                      <a:pt x="3332" y="5026"/>
                    </a:lnTo>
                    <a:lnTo>
                      <a:pt x="3336" y="5024"/>
                    </a:lnTo>
                    <a:lnTo>
                      <a:pt x="3342" y="5020"/>
                    </a:lnTo>
                    <a:lnTo>
                      <a:pt x="3344" y="5016"/>
                    </a:lnTo>
                    <a:lnTo>
                      <a:pt x="3346" y="5010"/>
                    </a:lnTo>
                    <a:lnTo>
                      <a:pt x="3344" y="5004"/>
                    </a:lnTo>
                    <a:lnTo>
                      <a:pt x="3342" y="4998"/>
                    </a:lnTo>
                    <a:lnTo>
                      <a:pt x="3342" y="4998"/>
                    </a:lnTo>
                    <a:close/>
                    <a:moveTo>
                      <a:pt x="3330" y="5214"/>
                    </a:moveTo>
                    <a:lnTo>
                      <a:pt x="3330" y="5214"/>
                    </a:lnTo>
                    <a:lnTo>
                      <a:pt x="3328" y="5212"/>
                    </a:lnTo>
                    <a:lnTo>
                      <a:pt x="3326" y="5210"/>
                    </a:lnTo>
                    <a:lnTo>
                      <a:pt x="3314" y="5210"/>
                    </a:lnTo>
                    <a:lnTo>
                      <a:pt x="3302" y="5214"/>
                    </a:lnTo>
                    <a:lnTo>
                      <a:pt x="3296" y="5216"/>
                    </a:lnTo>
                    <a:lnTo>
                      <a:pt x="3290" y="5220"/>
                    </a:lnTo>
                    <a:lnTo>
                      <a:pt x="3290" y="5220"/>
                    </a:lnTo>
                    <a:lnTo>
                      <a:pt x="3290" y="5224"/>
                    </a:lnTo>
                    <a:lnTo>
                      <a:pt x="3292" y="5224"/>
                    </a:lnTo>
                    <a:lnTo>
                      <a:pt x="3306" y="5224"/>
                    </a:lnTo>
                    <a:lnTo>
                      <a:pt x="3322" y="5220"/>
                    </a:lnTo>
                    <a:lnTo>
                      <a:pt x="3328" y="5216"/>
                    </a:lnTo>
                    <a:lnTo>
                      <a:pt x="3330" y="5214"/>
                    </a:lnTo>
                    <a:lnTo>
                      <a:pt x="3330" y="5214"/>
                    </a:lnTo>
                    <a:close/>
                    <a:moveTo>
                      <a:pt x="3294" y="4936"/>
                    </a:moveTo>
                    <a:lnTo>
                      <a:pt x="3294" y="4936"/>
                    </a:lnTo>
                    <a:lnTo>
                      <a:pt x="3292" y="4938"/>
                    </a:lnTo>
                    <a:lnTo>
                      <a:pt x="3292" y="4942"/>
                    </a:lnTo>
                    <a:lnTo>
                      <a:pt x="3296" y="4956"/>
                    </a:lnTo>
                    <a:lnTo>
                      <a:pt x="3296" y="4956"/>
                    </a:lnTo>
                    <a:lnTo>
                      <a:pt x="3298" y="4960"/>
                    </a:lnTo>
                    <a:lnTo>
                      <a:pt x="3300" y="4960"/>
                    </a:lnTo>
                    <a:lnTo>
                      <a:pt x="3300" y="4956"/>
                    </a:lnTo>
                    <a:lnTo>
                      <a:pt x="3298" y="4950"/>
                    </a:lnTo>
                    <a:lnTo>
                      <a:pt x="3298" y="4950"/>
                    </a:lnTo>
                    <a:lnTo>
                      <a:pt x="3298" y="4944"/>
                    </a:lnTo>
                    <a:lnTo>
                      <a:pt x="3296" y="4938"/>
                    </a:lnTo>
                    <a:lnTo>
                      <a:pt x="3296" y="4936"/>
                    </a:lnTo>
                    <a:lnTo>
                      <a:pt x="3294" y="4936"/>
                    </a:lnTo>
                    <a:lnTo>
                      <a:pt x="3294" y="4936"/>
                    </a:lnTo>
                    <a:close/>
                    <a:moveTo>
                      <a:pt x="3344" y="5246"/>
                    </a:moveTo>
                    <a:lnTo>
                      <a:pt x="3344" y="5246"/>
                    </a:lnTo>
                    <a:lnTo>
                      <a:pt x="3340" y="5244"/>
                    </a:lnTo>
                    <a:lnTo>
                      <a:pt x="3336" y="5244"/>
                    </a:lnTo>
                    <a:lnTo>
                      <a:pt x="3330" y="5248"/>
                    </a:lnTo>
                    <a:lnTo>
                      <a:pt x="3322" y="5250"/>
                    </a:lnTo>
                    <a:lnTo>
                      <a:pt x="3316" y="5250"/>
                    </a:lnTo>
                    <a:lnTo>
                      <a:pt x="3316" y="5250"/>
                    </a:lnTo>
                    <a:lnTo>
                      <a:pt x="3312" y="5250"/>
                    </a:lnTo>
                    <a:lnTo>
                      <a:pt x="3306" y="5252"/>
                    </a:lnTo>
                    <a:lnTo>
                      <a:pt x="3300" y="5254"/>
                    </a:lnTo>
                    <a:lnTo>
                      <a:pt x="3296" y="5254"/>
                    </a:lnTo>
                    <a:lnTo>
                      <a:pt x="3296" y="5254"/>
                    </a:lnTo>
                    <a:lnTo>
                      <a:pt x="3292" y="5254"/>
                    </a:lnTo>
                    <a:lnTo>
                      <a:pt x="3286" y="5254"/>
                    </a:lnTo>
                    <a:lnTo>
                      <a:pt x="3268" y="5258"/>
                    </a:lnTo>
                    <a:lnTo>
                      <a:pt x="3268" y="5258"/>
                    </a:lnTo>
                    <a:lnTo>
                      <a:pt x="3260" y="5262"/>
                    </a:lnTo>
                    <a:lnTo>
                      <a:pt x="3258" y="5266"/>
                    </a:lnTo>
                    <a:lnTo>
                      <a:pt x="3256" y="5272"/>
                    </a:lnTo>
                    <a:lnTo>
                      <a:pt x="3248" y="5278"/>
                    </a:lnTo>
                    <a:lnTo>
                      <a:pt x="3248" y="5278"/>
                    </a:lnTo>
                    <a:lnTo>
                      <a:pt x="3240" y="5284"/>
                    </a:lnTo>
                    <a:lnTo>
                      <a:pt x="3234" y="5286"/>
                    </a:lnTo>
                    <a:lnTo>
                      <a:pt x="3226" y="5290"/>
                    </a:lnTo>
                    <a:lnTo>
                      <a:pt x="3216" y="5296"/>
                    </a:lnTo>
                    <a:lnTo>
                      <a:pt x="3216" y="5296"/>
                    </a:lnTo>
                    <a:lnTo>
                      <a:pt x="3206" y="5304"/>
                    </a:lnTo>
                    <a:lnTo>
                      <a:pt x="3202" y="5310"/>
                    </a:lnTo>
                    <a:lnTo>
                      <a:pt x="3200" y="5322"/>
                    </a:lnTo>
                    <a:lnTo>
                      <a:pt x="3200" y="5322"/>
                    </a:lnTo>
                    <a:lnTo>
                      <a:pt x="3198" y="5326"/>
                    </a:lnTo>
                    <a:lnTo>
                      <a:pt x="3200" y="5328"/>
                    </a:lnTo>
                    <a:lnTo>
                      <a:pt x="3202" y="5330"/>
                    </a:lnTo>
                    <a:lnTo>
                      <a:pt x="3204" y="5330"/>
                    </a:lnTo>
                    <a:lnTo>
                      <a:pt x="3202" y="5332"/>
                    </a:lnTo>
                    <a:lnTo>
                      <a:pt x="3202" y="5332"/>
                    </a:lnTo>
                    <a:lnTo>
                      <a:pt x="3198" y="5336"/>
                    </a:lnTo>
                    <a:lnTo>
                      <a:pt x="3194" y="5340"/>
                    </a:lnTo>
                    <a:lnTo>
                      <a:pt x="3194" y="5342"/>
                    </a:lnTo>
                    <a:lnTo>
                      <a:pt x="3194" y="5344"/>
                    </a:lnTo>
                    <a:lnTo>
                      <a:pt x="3202" y="5346"/>
                    </a:lnTo>
                    <a:lnTo>
                      <a:pt x="3202" y="5346"/>
                    </a:lnTo>
                    <a:lnTo>
                      <a:pt x="3206" y="5346"/>
                    </a:lnTo>
                    <a:lnTo>
                      <a:pt x="3210" y="5344"/>
                    </a:lnTo>
                    <a:lnTo>
                      <a:pt x="3216" y="5340"/>
                    </a:lnTo>
                    <a:lnTo>
                      <a:pt x="3220" y="5336"/>
                    </a:lnTo>
                    <a:lnTo>
                      <a:pt x="3222" y="5336"/>
                    </a:lnTo>
                    <a:lnTo>
                      <a:pt x="3226" y="5336"/>
                    </a:lnTo>
                    <a:lnTo>
                      <a:pt x="3226" y="5336"/>
                    </a:lnTo>
                    <a:lnTo>
                      <a:pt x="3230" y="5336"/>
                    </a:lnTo>
                    <a:lnTo>
                      <a:pt x="3234" y="5334"/>
                    </a:lnTo>
                    <a:lnTo>
                      <a:pt x="3244" y="5320"/>
                    </a:lnTo>
                    <a:lnTo>
                      <a:pt x="3244" y="5320"/>
                    </a:lnTo>
                    <a:lnTo>
                      <a:pt x="3252" y="5312"/>
                    </a:lnTo>
                    <a:lnTo>
                      <a:pt x="3256" y="5306"/>
                    </a:lnTo>
                    <a:lnTo>
                      <a:pt x="3260" y="5300"/>
                    </a:lnTo>
                    <a:lnTo>
                      <a:pt x="3268" y="5294"/>
                    </a:lnTo>
                    <a:lnTo>
                      <a:pt x="3268" y="5294"/>
                    </a:lnTo>
                    <a:lnTo>
                      <a:pt x="3280" y="5288"/>
                    </a:lnTo>
                    <a:lnTo>
                      <a:pt x="3288" y="5286"/>
                    </a:lnTo>
                    <a:lnTo>
                      <a:pt x="3294" y="5284"/>
                    </a:lnTo>
                    <a:lnTo>
                      <a:pt x="3300" y="5280"/>
                    </a:lnTo>
                    <a:lnTo>
                      <a:pt x="3300" y="5280"/>
                    </a:lnTo>
                    <a:lnTo>
                      <a:pt x="3304" y="5278"/>
                    </a:lnTo>
                    <a:lnTo>
                      <a:pt x="3308" y="5278"/>
                    </a:lnTo>
                    <a:lnTo>
                      <a:pt x="3314" y="5276"/>
                    </a:lnTo>
                    <a:lnTo>
                      <a:pt x="3318" y="5272"/>
                    </a:lnTo>
                    <a:lnTo>
                      <a:pt x="3318" y="5272"/>
                    </a:lnTo>
                    <a:lnTo>
                      <a:pt x="3324" y="5266"/>
                    </a:lnTo>
                    <a:lnTo>
                      <a:pt x="3328" y="5266"/>
                    </a:lnTo>
                    <a:lnTo>
                      <a:pt x="3334" y="5264"/>
                    </a:lnTo>
                    <a:lnTo>
                      <a:pt x="3340" y="5260"/>
                    </a:lnTo>
                    <a:lnTo>
                      <a:pt x="3340" y="5260"/>
                    </a:lnTo>
                    <a:lnTo>
                      <a:pt x="3348" y="5252"/>
                    </a:lnTo>
                    <a:lnTo>
                      <a:pt x="3348" y="5248"/>
                    </a:lnTo>
                    <a:lnTo>
                      <a:pt x="3344" y="5246"/>
                    </a:lnTo>
                    <a:lnTo>
                      <a:pt x="3344" y="5246"/>
                    </a:lnTo>
                    <a:close/>
                    <a:moveTo>
                      <a:pt x="3328" y="4618"/>
                    </a:moveTo>
                    <a:lnTo>
                      <a:pt x="3328" y="4618"/>
                    </a:lnTo>
                    <a:lnTo>
                      <a:pt x="3326" y="4622"/>
                    </a:lnTo>
                    <a:lnTo>
                      <a:pt x="3326" y="4628"/>
                    </a:lnTo>
                    <a:lnTo>
                      <a:pt x="3326" y="4628"/>
                    </a:lnTo>
                    <a:lnTo>
                      <a:pt x="3326" y="4630"/>
                    </a:lnTo>
                    <a:lnTo>
                      <a:pt x="3328" y="4632"/>
                    </a:lnTo>
                    <a:lnTo>
                      <a:pt x="3328" y="4634"/>
                    </a:lnTo>
                    <a:lnTo>
                      <a:pt x="3326" y="4638"/>
                    </a:lnTo>
                    <a:lnTo>
                      <a:pt x="3326" y="4638"/>
                    </a:lnTo>
                    <a:lnTo>
                      <a:pt x="3324" y="4642"/>
                    </a:lnTo>
                    <a:lnTo>
                      <a:pt x="3326" y="4644"/>
                    </a:lnTo>
                    <a:lnTo>
                      <a:pt x="3330" y="4642"/>
                    </a:lnTo>
                    <a:lnTo>
                      <a:pt x="3330" y="4640"/>
                    </a:lnTo>
                    <a:lnTo>
                      <a:pt x="3330" y="4640"/>
                    </a:lnTo>
                    <a:lnTo>
                      <a:pt x="3332" y="4636"/>
                    </a:lnTo>
                    <a:lnTo>
                      <a:pt x="3332" y="4632"/>
                    </a:lnTo>
                    <a:lnTo>
                      <a:pt x="3334" y="4630"/>
                    </a:lnTo>
                    <a:lnTo>
                      <a:pt x="3334" y="4628"/>
                    </a:lnTo>
                    <a:lnTo>
                      <a:pt x="3334" y="4628"/>
                    </a:lnTo>
                    <a:lnTo>
                      <a:pt x="3332" y="4624"/>
                    </a:lnTo>
                    <a:lnTo>
                      <a:pt x="3332" y="4620"/>
                    </a:lnTo>
                    <a:lnTo>
                      <a:pt x="3332" y="4618"/>
                    </a:lnTo>
                    <a:lnTo>
                      <a:pt x="3328" y="4618"/>
                    </a:lnTo>
                    <a:lnTo>
                      <a:pt x="3328" y="4618"/>
                    </a:lnTo>
                    <a:close/>
                    <a:moveTo>
                      <a:pt x="3302" y="3114"/>
                    </a:moveTo>
                    <a:lnTo>
                      <a:pt x="3302" y="3114"/>
                    </a:lnTo>
                    <a:lnTo>
                      <a:pt x="3304" y="3116"/>
                    </a:lnTo>
                    <a:lnTo>
                      <a:pt x="3308" y="3114"/>
                    </a:lnTo>
                    <a:lnTo>
                      <a:pt x="3310" y="3112"/>
                    </a:lnTo>
                    <a:lnTo>
                      <a:pt x="3310" y="3108"/>
                    </a:lnTo>
                    <a:lnTo>
                      <a:pt x="3310" y="3108"/>
                    </a:lnTo>
                    <a:lnTo>
                      <a:pt x="3306" y="3108"/>
                    </a:lnTo>
                    <a:lnTo>
                      <a:pt x="3302" y="3110"/>
                    </a:lnTo>
                    <a:lnTo>
                      <a:pt x="3300" y="3112"/>
                    </a:lnTo>
                    <a:lnTo>
                      <a:pt x="3302" y="3114"/>
                    </a:lnTo>
                    <a:lnTo>
                      <a:pt x="3302" y="3114"/>
                    </a:lnTo>
                    <a:close/>
                    <a:moveTo>
                      <a:pt x="3298" y="3086"/>
                    </a:moveTo>
                    <a:lnTo>
                      <a:pt x="3298" y="3086"/>
                    </a:lnTo>
                    <a:lnTo>
                      <a:pt x="3296" y="3088"/>
                    </a:lnTo>
                    <a:lnTo>
                      <a:pt x="3298" y="3090"/>
                    </a:lnTo>
                    <a:lnTo>
                      <a:pt x="3302" y="3096"/>
                    </a:lnTo>
                    <a:lnTo>
                      <a:pt x="3302" y="3096"/>
                    </a:lnTo>
                    <a:lnTo>
                      <a:pt x="3302" y="3098"/>
                    </a:lnTo>
                    <a:lnTo>
                      <a:pt x="3304" y="3094"/>
                    </a:lnTo>
                    <a:lnTo>
                      <a:pt x="3304" y="3094"/>
                    </a:lnTo>
                    <a:lnTo>
                      <a:pt x="3302" y="3088"/>
                    </a:lnTo>
                    <a:lnTo>
                      <a:pt x="3300" y="3086"/>
                    </a:lnTo>
                    <a:lnTo>
                      <a:pt x="3298" y="3086"/>
                    </a:lnTo>
                    <a:lnTo>
                      <a:pt x="3298" y="3086"/>
                    </a:lnTo>
                    <a:close/>
                    <a:moveTo>
                      <a:pt x="3298" y="4354"/>
                    </a:moveTo>
                    <a:lnTo>
                      <a:pt x="3298" y="4354"/>
                    </a:lnTo>
                    <a:lnTo>
                      <a:pt x="3296" y="4358"/>
                    </a:lnTo>
                    <a:lnTo>
                      <a:pt x="3296" y="4362"/>
                    </a:lnTo>
                    <a:lnTo>
                      <a:pt x="3298" y="4362"/>
                    </a:lnTo>
                    <a:lnTo>
                      <a:pt x="3300" y="4364"/>
                    </a:lnTo>
                    <a:lnTo>
                      <a:pt x="3304" y="4362"/>
                    </a:lnTo>
                    <a:lnTo>
                      <a:pt x="3304" y="4360"/>
                    </a:lnTo>
                    <a:lnTo>
                      <a:pt x="3302" y="4356"/>
                    </a:lnTo>
                    <a:lnTo>
                      <a:pt x="3302" y="4356"/>
                    </a:lnTo>
                    <a:lnTo>
                      <a:pt x="3300" y="4348"/>
                    </a:lnTo>
                    <a:lnTo>
                      <a:pt x="3298" y="4354"/>
                    </a:lnTo>
                    <a:lnTo>
                      <a:pt x="3298" y="4354"/>
                    </a:lnTo>
                    <a:close/>
                    <a:moveTo>
                      <a:pt x="3274" y="4930"/>
                    </a:moveTo>
                    <a:lnTo>
                      <a:pt x="3274" y="4930"/>
                    </a:lnTo>
                    <a:lnTo>
                      <a:pt x="3274" y="4932"/>
                    </a:lnTo>
                    <a:lnTo>
                      <a:pt x="3278" y="4934"/>
                    </a:lnTo>
                    <a:lnTo>
                      <a:pt x="3288" y="4934"/>
                    </a:lnTo>
                    <a:lnTo>
                      <a:pt x="3310" y="4928"/>
                    </a:lnTo>
                    <a:lnTo>
                      <a:pt x="3310" y="4928"/>
                    </a:lnTo>
                    <a:lnTo>
                      <a:pt x="3312" y="4926"/>
                    </a:lnTo>
                    <a:lnTo>
                      <a:pt x="3310" y="4926"/>
                    </a:lnTo>
                    <a:lnTo>
                      <a:pt x="3296" y="4924"/>
                    </a:lnTo>
                    <a:lnTo>
                      <a:pt x="3282" y="4924"/>
                    </a:lnTo>
                    <a:lnTo>
                      <a:pt x="3276" y="4926"/>
                    </a:lnTo>
                    <a:lnTo>
                      <a:pt x="3274" y="4930"/>
                    </a:lnTo>
                    <a:lnTo>
                      <a:pt x="3274" y="4930"/>
                    </a:lnTo>
                    <a:close/>
                    <a:moveTo>
                      <a:pt x="3132" y="5104"/>
                    </a:moveTo>
                    <a:lnTo>
                      <a:pt x="3132" y="5104"/>
                    </a:lnTo>
                    <a:lnTo>
                      <a:pt x="3136" y="5106"/>
                    </a:lnTo>
                    <a:lnTo>
                      <a:pt x="3138" y="5104"/>
                    </a:lnTo>
                    <a:lnTo>
                      <a:pt x="3136" y="5096"/>
                    </a:lnTo>
                    <a:lnTo>
                      <a:pt x="3134" y="5090"/>
                    </a:lnTo>
                    <a:lnTo>
                      <a:pt x="3134" y="5090"/>
                    </a:lnTo>
                    <a:lnTo>
                      <a:pt x="3132" y="5086"/>
                    </a:lnTo>
                    <a:lnTo>
                      <a:pt x="3130" y="5088"/>
                    </a:lnTo>
                    <a:lnTo>
                      <a:pt x="3130" y="5096"/>
                    </a:lnTo>
                    <a:lnTo>
                      <a:pt x="3132" y="5104"/>
                    </a:lnTo>
                    <a:lnTo>
                      <a:pt x="3132" y="5104"/>
                    </a:lnTo>
                    <a:close/>
                    <a:moveTo>
                      <a:pt x="3196" y="4912"/>
                    </a:moveTo>
                    <a:lnTo>
                      <a:pt x="3196" y="4912"/>
                    </a:lnTo>
                    <a:lnTo>
                      <a:pt x="3198" y="4908"/>
                    </a:lnTo>
                    <a:lnTo>
                      <a:pt x="3198" y="4904"/>
                    </a:lnTo>
                    <a:lnTo>
                      <a:pt x="3196" y="4900"/>
                    </a:lnTo>
                    <a:lnTo>
                      <a:pt x="3192" y="4900"/>
                    </a:lnTo>
                    <a:lnTo>
                      <a:pt x="3192" y="4900"/>
                    </a:lnTo>
                    <a:lnTo>
                      <a:pt x="3190" y="4902"/>
                    </a:lnTo>
                    <a:lnTo>
                      <a:pt x="3188" y="4904"/>
                    </a:lnTo>
                    <a:lnTo>
                      <a:pt x="3188" y="4908"/>
                    </a:lnTo>
                    <a:lnTo>
                      <a:pt x="3192" y="4912"/>
                    </a:lnTo>
                    <a:lnTo>
                      <a:pt x="3194" y="4912"/>
                    </a:lnTo>
                    <a:lnTo>
                      <a:pt x="3196" y="4912"/>
                    </a:lnTo>
                    <a:lnTo>
                      <a:pt x="3196" y="4912"/>
                    </a:lnTo>
                    <a:close/>
                    <a:moveTo>
                      <a:pt x="3180" y="4896"/>
                    </a:moveTo>
                    <a:lnTo>
                      <a:pt x="3180" y="4896"/>
                    </a:lnTo>
                    <a:lnTo>
                      <a:pt x="3176" y="4896"/>
                    </a:lnTo>
                    <a:lnTo>
                      <a:pt x="3172" y="4900"/>
                    </a:lnTo>
                    <a:lnTo>
                      <a:pt x="3170" y="4906"/>
                    </a:lnTo>
                    <a:lnTo>
                      <a:pt x="3172" y="4916"/>
                    </a:lnTo>
                    <a:lnTo>
                      <a:pt x="3172" y="4916"/>
                    </a:lnTo>
                    <a:lnTo>
                      <a:pt x="3172" y="4916"/>
                    </a:lnTo>
                    <a:lnTo>
                      <a:pt x="3174" y="4916"/>
                    </a:lnTo>
                    <a:lnTo>
                      <a:pt x="3180" y="4908"/>
                    </a:lnTo>
                    <a:lnTo>
                      <a:pt x="3184" y="4900"/>
                    </a:lnTo>
                    <a:lnTo>
                      <a:pt x="3182" y="4898"/>
                    </a:lnTo>
                    <a:lnTo>
                      <a:pt x="3180" y="4896"/>
                    </a:lnTo>
                    <a:lnTo>
                      <a:pt x="3180" y="4896"/>
                    </a:lnTo>
                    <a:close/>
                    <a:moveTo>
                      <a:pt x="3184" y="5356"/>
                    </a:moveTo>
                    <a:lnTo>
                      <a:pt x="3184" y="5356"/>
                    </a:lnTo>
                    <a:lnTo>
                      <a:pt x="3180" y="5360"/>
                    </a:lnTo>
                    <a:lnTo>
                      <a:pt x="3174" y="5364"/>
                    </a:lnTo>
                    <a:lnTo>
                      <a:pt x="3170" y="5366"/>
                    </a:lnTo>
                    <a:lnTo>
                      <a:pt x="3168" y="5370"/>
                    </a:lnTo>
                    <a:lnTo>
                      <a:pt x="3168" y="5370"/>
                    </a:lnTo>
                    <a:lnTo>
                      <a:pt x="3168" y="5372"/>
                    </a:lnTo>
                    <a:lnTo>
                      <a:pt x="3170" y="5372"/>
                    </a:lnTo>
                    <a:lnTo>
                      <a:pt x="3178" y="5370"/>
                    </a:lnTo>
                    <a:lnTo>
                      <a:pt x="3190" y="5362"/>
                    </a:lnTo>
                    <a:lnTo>
                      <a:pt x="3190" y="5362"/>
                    </a:lnTo>
                    <a:lnTo>
                      <a:pt x="3194" y="5358"/>
                    </a:lnTo>
                    <a:lnTo>
                      <a:pt x="3192" y="5352"/>
                    </a:lnTo>
                    <a:lnTo>
                      <a:pt x="3192" y="5350"/>
                    </a:lnTo>
                    <a:lnTo>
                      <a:pt x="3190" y="5350"/>
                    </a:lnTo>
                    <a:lnTo>
                      <a:pt x="3188" y="5352"/>
                    </a:lnTo>
                    <a:lnTo>
                      <a:pt x="3184" y="5356"/>
                    </a:lnTo>
                    <a:lnTo>
                      <a:pt x="3184" y="5356"/>
                    </a:lnTo>
                    <a:close/>
                    <a:moveTo>
                      <a:pt x="3074" y="5152"/>
                    </a:moveTo>
                    <a:lnTo>
                      <a:pt x="3074" y="5152"/>
                    </a:lnTo>
                    <a:lnTo>
                      <a:pt x="3076" y="5154"/>
                    </a:lnTo>
                    <a:lnTo>
                      <a:pt x="3076" y="5154"/>
                    </a:lnTo>
                    <a:lnTo>
                      <a:pt x="3078" y="5144"/>
                    </a:lnTo>
                    <a:lnTo>
                      <a:pt x="3076" y="5132"/>
                    </a:lnTo>
                    <a:lnTo>
                      <a:pt x="3076" y="5122"/>
                    </a:lnTo>
                    <a:lnTo>
                      <a:pt x="3076" y="5122"/>
                    </a:lnTo>
                    <a:lnTo>
                      <a:pt x="3074" y="5122"/>
                    </a:lnTo>
                    <a:lnTo>
                      <a:pt x="3074" y="5124"/>
                    </a:lnTo>
                    <a:lnTo>
                      <a:pt x="3072" y="5130"/>
                    </a:lnTo>
                    <a:lnTo>
                      <a:pt x="3072" y="5142"/>
                    </a:lnTo>
                    <a:lnTo>
                      <a:pt x="3074" y="5152"/>
                    </a:lnTo>
                    <a:lnTo>
                      <a:pt x="3074" y="5152"/>
                    </a:lnTo>
                    <a:close/>
                    <a:moveTo>
                      <a:pt x="3070" y="5308"/>
                    </a:moveTo>
                    <a:lnTo>
                      <a:pt x="3070" y="5308"/>
                    </a:lnTo>
                    <a:lnTo>
                      <a:pt x="3066" y="5308"/>
                    </a:lnTo>
                    <a:lnTo>
                      <a:pt x="3066" y="5306"/>
                    </a:lnTo>
                    <a:lnTo>
                      <a:pt x="3064" y="5304"/>
                    </a:lnTo>
                    <a:lnTo>
                      <a:pt x="3060" y="5298"/>
                    </a:lnTo>
                    <a:lnTo>
                      <a:pt x="3060" y="5298"/>
                    </a:lnTo>
                    <a:lnTo>
                      <a:pt x="3054" y="5294"/>
                    </a:lnTo>
                    <a:lnTo>
                      <a:pt x="3048" y="5294"/>
                    </a:lnTo>
                    <a:lnTo>
                      <a:pt x="3046" y="5296"/>
                    </a:lnTo>
                    <a:lnTo>
                      <a:pt x="3042" y="5296"/>
                    </a:lnTo>
                    <a:lnTo>
                      <a:pt x="3042" y="5296"/>
                    </a:lnTo>
                    <a:lnTo>
                      <a:pt x="3036" y="5294"/>
                    </a:lnTo>
                    <a:lnTo>
                      <a:pt x="3026" y="5294"/>
                    </a:lnTo>
                    <a:lnTo>
                      <a:pt x="3020" y="5296"/>
                    </a:lnTo>
                    <a:lnTo>
                      <a:pt x="3016" y="5298"/>
                    </a:lnTo>
                    <a:lnTo>
                      <a:pt x="3014" y="5302"/>
                    </a:lnTo>
                    <a:lnTo>
                      <a:pt x="3012" y="5306"/>
                    </a:lnTo>
                    <a:lnTo>
                      <a:pt x="3012" y="5306"/>
                    </a:lnTo>
                    <a:lnTo>
                      <a:pt x="3014" y="5310"/>
                    </a:lnTo>
                    <a:lnTo>
                      <a:pt x="3016" y="5312"/>
                    </a:lnTo>
                    <a:lnTo>
                      <a:pt x="3026" y="5316"/>
                    </a:lnTo>
                    <a:lnTo>
                      <a:pt x="3036" y="5318"/>
                    </a:lnTo>
                    <a:lnTo>
                      <a:pt x="3046" y="5322"/>
                    </a:lnTo>
                    <a:lnTo>
                      <a:pt x="3046" y="5322"/>
                    </a:lnTo>
                    <a:lnTo>
                      <a:pt x="3054" y="5328"/>
                    </a:lnTo>
                    <a:lnTo>
                      <a:pt x="3058" y="5334"/>
                    </a:lnTo>
                    <a:lnTo>
                      <a:pt x="3060" y="5338"/>
                    </a:lnTo>
                    <a:lnTo>
                      <a:pt x="3064" y="5340"/>
                    </a:lnTo>
                    <a:lnTo>
                      <a:pt x="3064" y="5340"/>
                    </a:lnTo>
                    <a:lnTo>
                      <a:pt x="3068" y="5340"/>
                    </a:lnTo>
                    <a:lnTo>
                      <a:pt x="3070" y="5342"/>
                    </a:lnTo>
                    <a:lnTo>
                      <a:pt x="3074" y="5342"/>
                    </a:lnTo>
                    <a:lnTo>
                      <a:pt x="3076" y="5340"/>
                    </a:lnTo>
                    <a:lnTo>
                      <a:pt x="3076" y="5340"/>
                    </a:lnTo>
                    <a:lnTo>
                      <a:pt x="3078" y="5338"/>
                    </a:lnTo>
                    <a:lnTo>
                      <a:pt x="3080" y="5338"/>
                    </a:lnTo>
                    <a:lnTo>
                      <a:pt x="3082" y="5336"/>
                    </a:lnTo>
                    <a:lnTo>
                      <a:pt x="3086" y="5332"/>
                    </a:lnTo>
                    <a:lnTo>
                      <a:pt x="3086" y="5332"/>
                    </a:lnTo>
                    <a:lnTo>
                      <a:pt x="3086" y="5330"/>
                    </a:lnTo>
                    <a:lnTo>
                      <a:pt x="3086" y="5326"/>
                    </a:lnTo>
                    <a:lnTo>
                      <a:pt x="3082" y="5320"/>
                    </a:lnTo>
                    <a:lnTo>
                      <a:pt x="3076" y="5312"/>
                    </a:lnTo>
                    <a:lnTo>
                      <a:pt x="3070" y="5308"/>
                    </a:lnTo>
                    <a:lnTo>
                      <a:pt x="3070" y="5308"/>
                    </a:lnTo>
                    <a:close/>
                    <a:moveTo>
                      <a:pt x="3176" y="5238"/>
                    </a:moveTo>
                    <a:lnTo>
                      <a:pt x="3176" y="5238"/>
                    </a:lnTo>
                    <a:lnTo>
                      <a:pt x="3174" y="5234"/>
                    </a:lnTo>
                    <a:lnTo>
                      <a:pt x="3172" y="5234"/>
                    </a:lnTo>
                    <a:lnTo>
                      <a:pt x="3168" y="5234"/>
                    </a:lnTo>
                    <a:lnTo>
                      <a:pt x="3166" y="5238"/>
                    </a:lnTo>
                    <a:lnTo>
                      <a:pt x="3166" y="5240"/>
                    </a:lnTo>
                    <a:lnTo>
                      <a:pt x="3168" y="5240"/>
                    </a:lnTo>
                    <a:lnTo>
                      <a:pt x="3168" y="5240"/>
                    </a:lnTo>
                    <a:lnTo>
                      <a:pt x="3170" y="5242"/>
                    </a:lnTo>
                    <a:lnTo>
                      <a:pt x="3170" y="5242"/>
                    </a:lnTo>
                    <a:lnTo>
                      <a:pt x="3168" y="5246"/>
                    </a:lnTo>
                    <a:lnTo>
                      <a:pt x="3160" y="5248"/>
                    </a:lnTo>
                    <a:lnTo>
                      <a:pt x="3160" y="5248"/>
                    </a:lnTo>
                    <a:lnTo>
                      <a:pt x="3156" y="5252"/>
                    </a:lnTo>
                    <a:lnTo>
                      <a:pt x="3156" y="5256"/>
                    </a:lnTo>
                    <a:lnTo>
                      <a:pt x="3156" y="5258"/>
                    </a:lnTo>
                    <a:lnTo>
                      <a:pt x="3152" y="5260"/>
                    </a:lnTo>
                    <a:lnTo>
                      <a:pt x="3152" y="5260"/>
                    </a:lnTo>
                    <a:lnTo>
                      <a:pt x="3148" y="5260"/>
                    </a:lnTo>
                    <a:lnTo>
                      <a:pt x="3146" y="5260"/>
                    </a:lnTo>
                    <a:lnTo>
                      <a:pt x="3142" y="5256"/>
                    </a:lnTo>
                    <a:lnTo>
                      <a:pt x="3136" y="5252"/>
                    </a:lnTo>
                    <a:lnTo>
                      <a:pt x="3134" y="5250"/>
                    </a:lnTo>
                    <a:lnTo>
                      <a:pt x="3132" y="5252"/>
                    </a:lnTo>
                    <a:lnTo>
                      <a:pt x="3132" y="5252"/>
                    </a:lnTo>
                    <a:lnTo>
                      <a:pt x="3128" y="5254"/>
                    </a:lnTo>
                    <a:lnTo>
                      <a:pt x="3124" y="5254"/>
                    </a:lnTo>
                    <a:lnTo>
                      <a:pt x="3120" y="5254"/>
                    </a:lnTo>
                    <a:lnTo>
                      <a:pt x="3116" y="5256"/>
                    </a:lnTo>
                    <a:lnTo>
                      <a:pt x="3116" y="5256"/>
                    </a:lnTo>
                    <a:lnTo>
                      <a:pt x="3114" y="5258"/>
                    </a:lnTo>
                    <a:lnTo>
                      <a:pt x="3112" y="5256"/>
                    </a:lnTo>
                    <a:lnTo>
                      <a:pt x="3106" y="5254"/>
                    </a:lnTo>
                    <a:lnTo>
                      <a:pt x="3100" y="5250"/>
                    </a:lnTo>
                    <a:lnTo>
                      <a:pt x="3092" y="5246"/>
                    </a:lnTo>
                    <a:lnTo>
                      <a:pt x="3092" y="5246"/>
                    </a:lnTo>
                    <a:lnTo>
                      <a:pt x="3076" y="5242"/>
                    </a:lnTo>
                    <a:lnTo>
                      <a:pt x="3068" y="5242"/>
                    </a:lnTo>
                    <a:lnTo>
                      <a:pt x="3064" y="5242"/>
                    </a:lnTo>
                    <a:lnTo>
                      <a:pt x="3060" y="5246"/>
                    </a:lnTo>
                    <a:lnTo>
                      <a:pt x="3060" y="5246"/>
                    </a:lnTo>
                    <a:lnTo>
                      <a:pt x="3056" y="5250"/>
                    </a:lnTo>
                    <a:lnTo>
                      <a:pt x="3050" y="5252"/>
                    </a:lnTo>
                    <a:lnTo>
                      <a:pt x="3048" y="5256"/>
                    </a:lnTo>
                    <a:lnTo>
                      <a:pt x="3048" y="5262"/>
                    </a:lnTo>
                    <a:lnTo>
                      <a:pt x="3048" y="5262"/>
                    </a:lnTo>
                    <a:lnTo>
                      <a:pt x="3050" y="5270"/>
                    </a:lnTo>
                    <a:lnTo>
                      <a:pt x="3050" y="5272"/>
                    </a:lnTo>
                    <a:lnTo>
                      <a:pt x="3052" y="5272"/>
                    </a:lnTo>
                    <a:lnTo>
                      <a:pt x="3056" y="5270"/>
                    </a:lnTo>
                    <a:lnTo>
                      <a:pt x="3062" y="5268"/>
                    </a:lnTo>
                    <a:lnTo>
                      <a:pt x="3062" y="5268"/>
                    </a:lnTo>
                    <a:lnTo>
                      <a:pt x="3078" y="5270"/>
                    </a:lnTo>
                    <a:lnTo>
                      <a:pt x="3086" y="5272"/>
                    </a:lnTo>
                    <a:lnTo>
                      <a:pt x="3092" y="5274"/>
                    </a:lnTo>
                    <a:lnTo>
                      <a:pt x="3092" y="5274"/>
                    </a:lnTo>
                    <a:lnTo>
                      <a:pt x="3096" y="5278"/>
                    </a:lnTo>
                    <a:lnTo>
                      <a:pt x="3098" y="5276"/>
                    </a:lnTo>
                    <a:lnTo>
                      <a:pt x="3102" y="5274"/>
                    </a:lnTo>
                    <a:lnTo>
                      <a:pt x="3106" y="5274"/>
                    </a:lnTo>
                    <a:lnTo>
                      <a:pt x="3106" y="5274"/>
                    </a:lnTo>
                    <a:lnTo>
                      <a:pt x="3108" y="5274"/>
                    </a:lnTo>
                    <a:lnTo>
                      <a:pt x="3110" y="5272"/>
                    </a:lnTo>
                    <a:lnTo>
                      <a:pt x="3112" y="5270"/>
                    </a:lnTo>
                    <a:lnTo>
                      <a:pt x="3120" y="5272"/>
                    </a:lnTo>
                    <a:lnTo>
                      <a:pt x="3120" y="5272"/>
                    </a:lnTo>
                    <a:lnTo>
                      <a:pt x="3124" y="5272"/>
                    </a:lnTo>
                    <a:lnTo>
                      <a:pt x="3128" y="5272"/>
                    </a:lnTo>
                    <a:lnTo>
                      <a:pt x="3134" y="5270"/>
                    </a:lnTo>
                    <a:lnTo>
                      <a:pt x="3138" y="5268"/>
                    </a:lnTo>
                    <a:lnTo>
                      <a:pt x="3142" y="5266"/>
                    </a:lnTo>
                    <a:lnTo>
                      <a:pt x="3142" y="5266"/>
                    </a:lnTo>
                    <a:lnTo>
                      <a:pt x="3150" y="5266"/>
                    </a:lnTo>
                    <a:lnTo>
                      <a:pt x="3158" y="5264"/>
                    </a:lnTo>
                    <a:lnTo>
                      <a:pt x="3166" y="5260"/>
                    </a:lnTo>
                    <a:lnTo>
                      <a:pt x="3168" y="5258"/>
                    </a:lnTo>
                    <a:lnTo>
                      <a:pt x="3170" y="5254"/>
                    </a:lnTo>
                    <a:lnTo>
                      <a:pt x="3170" y="5254"/>
                    </a:lnTo>
                    <a:lnTo>
                      <a:pt x="3170" y="5252"/>
                    </a:lnTo>
                    <a:lnTo>
                      <a:pt x="3174" y="5248"/>
                    </a:lnTo>
                    <a:lnTo>
                      <a:pt x="3176" y="5244"/>
                    </a:lnTo>
                    <a:lnTo>
                      <a:pt x="3176" y="5238"/>
                    </a:lnTo>
                    <a:lnTo>
                      <a:pt x="3176" y="5238"/>
                    </a:lnTo>
                    <a:close/>
                    <a:moveTo>
                      <a:pt x="3042" y="5268"/>
                    </a:moveTo>
                    <a:lnTo>
                      <a:pt x="3042" y="5268"/>
                    </a:lnTo>
                    <a:lnTo>
                      <a:pt x="3044" y="5266"/>
                    </a:lnTo>
                    <a:lnTo>
                      <a:pt x="3046" y="5264"/>
                    </a:lnTo>
                    <a:lnTo>
                      <a:pt x="3044" y="5262"/>
                    </a:lnTo>
                    <a:lnTo>
                      <a:pt x="3042" y="5260"/>
                    </a:lnTo>
                    <a:lnTo>
                      <a:pt x="3042" y="5260"/>
                    </a:lnTo>
                    <a:lnTo>
                      <a:pt x="3040" y="5262"/>
                    </a:lnTo>
                    <a:lnTo>
                      <a:pt x="3040" y="5266"/>
                    </a:lnTo>
                    <a:lnTo>
                      <a:pt x="3040" y="5268"/>
                    </a:lnTo>
                    <a:lnTo>
                      <a:pt x="3042" y="5268"/>
                    </a:lnTo>
                    <a:lnTo>
                      <a:pt x="3042" y="5268"/>
                    </a:lnTo>
                    <a:close/>
                    <a:moveTo>
                      <a:pt x="3038" y="5258"/>
                    </a:moveTo>
                    <a:lnTo>
                      <a:pt x="3038" y="5258"/>
                    </a:lnTo>
                    <a:lnTo>
                      <a:pt x="3038" y="5258"/>
                    </a:lnTo>
                    <a:lnTo>
                      <a:pt x="3040" y="5256"/>
                    </a:lnTo>
                    <a:lnTo>
                      <a:pt x="3040" y="5254"/>
                    </a:lnTo>
                    <a:lnTo>
                      <a:pt x="3038" y="5252"/>
                    </a:lnTo>
                    <a:lnTo>
                      <a:pt x="3038" y="5252"/>
                    </a:lnTo>
                    <a:lnTo>
                      <a:pt x="3034" y="5250"/>
                    </a:lnTo>
                    <a:lnTo>
                      <a:pt x="3032" y="5250"/>
                    </a:lnTo>
                    <a:lnTo>
                      <a:pt x="3032" y="5252"/>
                    </a:lnTo>
                    <a:lnTo>
                      <a:pt x="3032" y="5252"/>
                    </a:lnTo>
                    <a:lnTo>
                      <a:pt x="3032" y="5258"/>
                    </a:lnTo>
                    <a:lnTo>
                      <a:pt x="3030" y="5262"/>
                    </a:lnTo>
                    <a:lnTo>
                      <a:pt x="3030" y="5262"/>
                    </a:lnTo>
                    <a:lnTo>
                      <a:pt x="3032" y="5266"/>
                    </a:lnTo>
                    <a:lnTo>
                      <a:pt x="3032" y="5264"/>
                    </a:lnTo>
                    <a:lnTo>
                      <a:pt x="3034" y="5260"/>
                    </a:lnTo>
                    <a:lnTo>
                      <a:pt x="3038" y="5258"/>
                    </a:lnTo>
                    <a:lnTo>
                      <a:pt x="3038" y="5258"/>
                    </a:lnTo>
                    <a:close/>
                    <a:moveTo>
                      <a:pt x="2740" y="626"/>
                    </a:moveTo>
                    <a:lnTo>
                      <a:pt x="2740" y="626"/>
                    </a:lnTo>
                    <a:lnTo>
                      <a:pt x="2756" y="630"/>
                    </a:lnTo>
                    <a:lnTo>
                      <a:pt x="2768" y="628"/>
                    </a:lnTo>
                    <a:lnTo>
                      <a:pt x="2778" y="624"/>
                    </a:lnTo>
                    <a:lnTo>
                      <a:pt x="2784" y="618"/>
                    </a:lnTo>
                    <a:lnTo>
                      <a:pt x="2786" y="612"/>
                    </a:lnTo>
                    <a:lnTo>
                      <a:pt x="2786" y="608"/>
                    </a:lnTo>
                    <a:lnTo>
                      <a:pt x="2784" y="604"/>
                    </a:lnTo>
                    <a:lnTo>
                      <a:pt x="2782" y="602"/>
                    </a:lnTo>
                    <a:lnTo>
                      <a:pt x="2776" y="600"/>
                    </a:lnTo>
                    <a:lnTo>
                      <a:pt x="2764" y="598"/>
                    </a:lnTo>
                    <a:lnTo>
                      <a:pt x="2764" y="598"/>
                    </a:lnTo>
                    <a:lnTo>
                      <a:pt x="2748" y="598"/>
                    </a:lnTo>
                    <a:lnTo>
                      <a:pt x="2736" y="598"/>
                    </a:lnTo>
                    <a:lnTo>
                      <a:pt x="2726" y="600"/>
                    </a:lnTo>
                    <a:lnTo>
                      <a:pt x="2720" y="604"/>
                    </a:lnTo>
                    <a:lnTo>
                      <a:pt x="2716" y="608"/>
                    </a:lnTo>
                    <a:lnTo>
                      <a:pt x="2720" y="614"/>
                    </a:lnTo>
                    <a:lnTo>
                      <a:pt x="2726" y="618"/>
                    </a:lnTo>
                    <a:lnTo>
                      <a:pt x="2740" y="626"/>
                    </a:lnTo>
                    <a:lnTo>
                      <a:pt x="2740" y="626"/>
                    </a:lnTo>
                    <a:close/>
                    <a:moveTo>
                      <a:pt x="162" y="3354"/>
                    </a:moveTo>
                    <a:lnTo>
                      <a:pt x="162" y="3354"/>
                    </a:lnTo>
                    <a:lnTo>
                      <a:pt x="160" y="3358"/>
                    </a:lnTo>
                    <a:lnTo>
                      <a:pt x="162" y="3364"/>
                    </a:lnTo>
                    <a:lnTo>
                      <a:pt x="164" y="3366"/>
                    </a:lnTo>
                    <a:lnTo>
                      <a:pt x="166" y="3368"/>
                    </a:lnTo>
                    <a:lnTo>
                      <a:pt x="168" y="3366"/>
                    </a:lnTo>
                    <a:lnTo>
                      <a:pt x="168" y="3366"/>
                    </a:lnTo>
                    <a:lnTo>
                      <a:pt x="168" y="3362"/>
                    </a:lnTo>
                    <a:lnTo>
                      <a:pt x="166" y="3356"/>
                    </a:lnTo>
                    <a:lnTo>
                      <a:pt x="164" y="3352"/>
                    </a:lnTo>
                    <a:lnTo>
                      <a:pt x="162" y="3352"/>
                    </a:lnTo>
                    <a:lnTo>
                      <a:pt x="162" y="3354"/>
                    </a:lnTo>
                    <a:lnTo>
                      <a:pt x="162" y="3354"/>
                    </a:lnTo>
                    <a:close/>
                    <a:moveTo>
                      <a:pt x="3766" y="1952"/>
                    </a:moveTo>
                    <a:lnTo>
                      <a:pt x="3766" y="1952"/>
                    </a:lnTo>
                    <a:lnTo>
                      <a:pt x="3772" y="1954"/>
                    </a:lnTo>
                    <a:lnTo>
                      <a:pt x="3776" y="1954"/>
                    </a:lnTo>
                    <a:lnTo>
                      <a:pt x="3780" y="1950"/>
                    </a:lnTo>
                    <a:lnTo>
                      <a:pt x="3782" y="1944"/>
                    </a:lnTo>
                    <a:lnTo>
                      <a:pt x="3784" y="1940"/>
                    </a:lnTo>
                    <a:lnTo>
                      <a:pt x="3782" y="1934"/>
                    </a:lnTo>
                    <a:lnTo>
                      <a:pt x="3780" y="1930"/>
                    </a:lnTo>
                    <a:lnTo>
                      <a:pt x="3774" y="1928"/>
                    </a:lnTo>
                    <a:lnTo>
                      <a:pt x="3774" y="1928"/>
                    </a:lnTo>
                    <a:lnTo>
                      <a:pt x="3768" y="1928"/>
                    </a:lnTo>
                    <a:lnTo>
                      <a:pt x="3764" y="1930"/>
                    </a:lnTo>
                    <a:lnTo>
                      <a:pt x="3760" y="1932"/>
                    </a:lnTo>
                    <a:lnTo>
                      <a:pt x="3758" y="1936"/>
                    </a:lnTo>
                    <a:lnTo>
                      <a:pt x="3758" y="1938"/>
                    </a:lnTo>
                    <a:lnTo>
                      <a:pt x="3760" y="1944"/>
                    </a:lnTo>
                    <a:lnTo>
                      <a:pt x="3762" y="1948"/>
                    </a:lnTo>
                    <a:lnTo>
                      <a:pt x="3766" y="1952"/>
                    </a:lnTo>
                    <a:lnTo>
                      <a:pt x="3766" y="1952"/>
                    </a:lnTo>
                    <a:close/>
                    <a:moveTo>
                      <a:pt x="3314" y="2942"/>
                    </a:moveTo>
                    <a:lnTo>
                      <a:pt x="3314" y="2942"/>
                    </a:lnTo>
                    <a:lnTo>
                      <a:pt x="3316" y="2940"/>
                    </a:lnTo>
                    <a:lnTo>
                      <a:pt x="3318" y="2936"/>
                    </a:lnTo>
                    <a:lnTo>
                      <a:pt x="3316" y="2932"/>
                    </a:lnTo>
                    <a:lnTo>
                      <a:pt x="3312" y="2930"/>
                    </a:lnTo>
                    <a:lnTo>
                      <a:pt x="3312" y="2930"/>
                    </a:lnTo>
                    <a:lnTo>
                      <a:pt x="3310" y="2930"/>
                    </a:lnTo>
                    <a:lnTo>
                      <a:pt x="3310" y="2932"/>
                    </a:lnTo>
                    <a:lnTo>
                      <a:pt x="3310" y="2936"/>
                    </a:lnTo>
                    <a:lnTo>
                      <a:pt x="3312" y="2940"/>
                    </a:lnTo>
                    <a:lnTo>
                      <a:pt x="3314" y="2942"/>
                    </a:lnTo>
                    <a:lnTo>
                      <a:pt x="3314" y="2942"/>
                    </a:lnTo>
                    <a:close/>
                    <a:moveTo>
                      <a:pt x="3310" y="2998"/>
                    </a:moveTo>
                    <a:lnTo>
                      <a:pt x="3310" y="2998"/>
                    </a:lnTo>
                    <a:lnTo>
                      <a:pt x="3308" y="2998"/>
                    </a:lnTo>
                    <a:lnTo>
                      <a:pt x="3308" y="3002"/>
                    </a:lnTo>
                    <a:lnTo>
                      <a:pt x="3310" y="3004"/>
                    </a:lnTo>
                    <a:lnTo>
                      <a:pt x="3312" y="3006"/>
                    </a:lnTo>
                    <a:lnTo>
                      <a:pt x="3312" y="3006"/>
                    </a:lnTo>
                    <a:lnTo>
                      <a:pt x="3314" y="3006"/>
                    </a:lnTo>
                    <a:lnTo>
                      <a:pt x="3314" y="3002"/>
                    </a:lnTo>
                    <a:lnTo>
                      <a:pt x="3312" y="2998"/>
                    </a:lnTo>
                    <a:lnTo>
                      <a:pt x="3310" y="2998"/>
                    </a:lnTo>
                    <a:lnTo>
                      <a:pt x="3310" y="2998"/>
                    </a:lnTo>
                    <a:close/>
                    <a:moveTo>
                      <a:pt x="468" y="3506"/>
                    </a:moveTo>
                    <a:lnTo>
                      <a:pt x="468" y="3506"/>
                    </a:lnTo>
                    <a:lnTo>
                      <a:pt x="468" y="3508"/>
                    </a:lnTo>
                    <a:lnTo>
                      <a:pt x="466" y="3510"/>
                    </a:lnTo>
                    <a:lnTo>
                      <a:pt x="458" y="3514"/>
                    </a:lnTo>
                    <a:lnTo>
                      <a:pt x="452" y="3518"/>
                    </a:lnTo>
                    <a:lnTo>
                      <a:pt x="450" y="3520"/>
                    </a:lnTo>
                    <a:lnTo>
                      <a:pt x="450" y="3522"/>
                    </a:lnTo>
                    <a:lnTo>
                      <a:pt x="450" y="3522"/>
                    </a:lnTo>
                    <a:lnTo>
                      <a:pt x="452" y="3524"/>
                    </a:lnTo>
                    <a:lnTo>
                      <a:pt x="456" y="3524"/>
                    </a:lnTo>
                    <a:lnTo>
                      <a:pt x="464" y="3520"/>
                    </a:lnTo>
                    <a:lnTo>
                      <a:pt x="476" y="3514"/>
                    </a:lnTo>
                    <a:lnTo>
                      <a:pt x="484" y="3504"/>
                    </a:lnTo>
                    <a:lnTo>
                      <a:pt x="484" y="3504"/>
                    </a:lnTo>
                    <a:lnTo>
                      <a:pt x="486" y="3502"/>
                    </a:lnTo>
                    <a:lnTo>
                      <a:pt x="486" y="3500"/>
                    </a:lnTo>
                    <a:lnTo>
                      <a:pt x="480" y="3502"/>
                    </a:lnTo>
                    <a:lnTo>
                      <a:pt x="468" y="3506"/>
                    </a:lnTo>
                    <a:lnTo>
                      <a:pt x="468" y="3506"/>
                    </a:lnTo>
                    <a:close/>
                    <a:moveTo>
                      <a:pt x="1966" y="4176"/>
                    </a:moveTo>
                    <a:lnTo>
                      <a:pt x="1966" y="4176"/>
                    </a:lnTo>
                    <a:lnTo>
                      <a:pt x="1966" y="4176"/>
                    </a:lnTo>
                    <a:lnTo>
                      <a:pt x="1964" y="4176"/>
                    </a:lnTo>
                    <a:lnTo>
                      <a:pt x="1960" y="4184"/>
                    </a:lnTo>
                    <a:lnTo>
                      <a:pt x="1958" y="4200"/>
                    </a:lnTo>
                    <a:lnTo>
                      <a:pt x="1956" y="4222"/>
                    </a:lnTo>
                    <a:lnTo>
                      <a:pt x="1956" y="4222"/>
                    </a:lnTo>
                    <a:lnTo>
                      <a:pt x="1954" y="4242"/>
                    </a:lnTo>
                    <a:lnTo>
                      <a:pt x="1952" y="4252"/>
                    </a:lnTo>
                    <a:lnTo>
                      <a:pt x="1950" y="4260"/>
                    </a:lnTo>
                    <a:lnTo>
                      <a:pt x="1952" y="4272"/>
                    </a:lnTo>
                    <a:lnTo>
                      <a:pt x="1952" y="4272"/>
                    </a:lnTo>
                    <a:lnTo>
                      <a:pt x="1954" y="4278"/>
                    </a:lnTo>
                    <a:lnTo>
                      <a:pt x="1956" y="4280"/>
                    </a:lnTo>
                    <a:lnTo>
                      <a:pt x="1958" y="4274"/>
                    </a:lnTo>
                    <a:lnTo>
                      <a:pt x="1962" y="4248"/>
                    </a:lnTo>
                    <a:lnTo>
                      <a:pt x="1962" y="4248"/>
                    </a:lnTo>
                    <a:lnTo>
                      <a:pt x="1962" y="4240"/>
                    </a:lnTo>
                    <a:lnTo>
                      <a:pt x="1962" y="4236"/>
                    </a:lnTo>
                    <a:lnTo>
                      <a:pt x="1962" y="4234"/>
                    </a:lnTo>
                    <a:lnTo>
                      <a:pt x="1964" y="4232"/>
                    </a:lnTo>
                    <a:lnTo>
                      <a:pt x="1964" y="4232"/>
                    </a:lnTo>
                    <a:lnTo>
                      <a:pt x="1966" y="4228"/>
                    </a:lnTo>
                    <a:lnTo>
                      <a:pt x="1966" y="4226"/>
                    </a:lnTo>
                    <a:lnTo>
                      <a:pt x="1964" y="4218"/>
                    </a:lnTo>
                    <a:lnTo>
                      <a:pt x="1964" y="4210"/>
                    </a:lnTo>
                    <a:lnTo>
                      <a:pt x="1964" y="4206"/>
                    </a:lnTo>
                    <a:lnTo>
                      <a:pt x="1964" y="4204"/>
                    </a:lnTo>
                    <a:lnTo>
                      <a:pt x="1964" y="4204"/>
                    </a:lnTo>
                    <a:lnTo>
                      <a:pt x="1968" y="4200"/>
                    </a:lnTo>
                    <a:lnTo>
                      <a:pt x="1970" y="4192"/>
                    </a:lnTo>
                    <a:lnTo>
                      <a:pt x="1970" y="4182"/>
                    </a:lnTo>
                    <a:lnTo>
                      <a:pt x="1966" y="4176"/>
                    </a:lnTo>
                    <a:lnTo>
                      <a:pt x="1966" y="4176"/>
                    </a:lnTo>
                    <a:close/>
                    <a:moveTo>
                      <a:pt x="1508" y="4454"/>
                    </a:moveTo>
                    <a:lnTo>
                      <a:pt x="1508" y="4454"/>
                    </a:lnTo>
                    <a:lnTo>
                      <a:pt x="1504" y="4444"/>
                    </a:lnTo>
                    <a:lnTo>
                      <a:pt x="1498" y="4430"/>
                    </a:lnTo>
                    <a:lnTo>
                      <a:pt x="1492" y="4416"/>
                    </a:lnTo>
                    <a:lnTo>
                      <a:pt x="1484" y="4404"/>
                    </a:lnTo>
                    <a:lnTo>
                      <a:pt x="1484" y="4404"/>
                    </a:lnTo>
                    <a:lnTo>
                      <a:pt x="1478" y="4396"/>
                    </a:lnTo>
                    <a:lnTo>
                      <a:pt x="1474" y="4388"/>
                    </a:lnTo>
                    <a:lnTo>
                      <a:pt x="1472" y="4380"/>
                    </a:lnTo>
                    <a:lnTo>
                      <a:pt x="1464" y="4372"/>
                    </a:lnTo>
                    <a:lnTo>
                      <a:pt x="1464" y="4372"/>
                    </a:lnTo>
                    <a:lnTo>
                      <a:pt x="1456" y="4364"/>
                    </a:lnTo>
                    <a:lnTo>
                      <a:pt x="1448" y="4360"/>
                    </a:lnTo>
                    <a:lnTo>
                      <a:pt x="1442" y="4360"/>
                    </a:lnTo>
                    <a:lnTo>
                      <a:pt x="1438" y="4362"/>
                    </a:lnTo>
                    <a:lnTo>
                      <a:pt x="1438" y="4362"/>
                    </a:lnTo>
                    <a:lnTo>
                      <a:pt x="1438" y="4364"/>
                    </a:lnTo>
                    <a:lnTo>
                      <a:pt x="1440" y="4368"/>
                    </a:lnTo>
                    <a:lnTo>
                      <a:pt x="1444" y="4372"/>
                    </a:lnTo>
                    <a:lnTo>
                      <a:pt x="1446" y="4382"/>
                    </a:lnTo>
                    <a:lnTo>
                      <a:pt x="1446" y="4382"/>
                    </a:lnTo>
                    <a:lnTo>
                      <a:pt x="1446" y="4392"/>
                    </a:lnTo>
                    <a:lnTo>
                      <a:pt x="1444" y="4398"/>
                    </a:lnTo>
                    <a:lnTo>
                      <a:pt x="1440" y="4404"/>
                    </a:lnTo>
                    <a:lnTo>
                      <a:pt x="1440" y="4410"/>
                    </a:lnTo>
                    <a:lnTo>
                      <a:pt x="1440" y="4410"/>
                    </a:lnTo>
                    <a:lnTo>
                      <a:pt x="1440" y="4420"/>
                    </a:lnTo>
                    <a:lnTo>
                      <a:pt x="1438" y="4430"/>
                    </a:lnTo>
                    <a:lnTo>
                      <a:pt x="1436" y="4438"/>
                    </a:lnTo>
                    <a:lnTo>
                      <a:pt x="1436" y="4438"/>
                    </a:lnTo>
                    <a:lnTo>
                      <a:pt x="1436" y="4436"/>
                    </a:lnTo>
                    <a:lnTo>
                      <a:pt x="1436" y="4436"/>
                    </a:lnTo>
                    <a:lnTo>
                      <a:pt x="1434" y="4432"/>
                    </a:lnTo>
                    <a:lnTo>
                      <a:pt x="1432" y="4432"/>
                    </a:lnTo>
                    <a:lnTo>
                      <a:pt x="1432" y="4432"/>
                    </a:lnTo>
                    <a:lnTo>
                      <a:pt x="1430" y="4440"/>
                    </a:lnTo>
                    <a:lnTo>
                      <a:pt x="1432" y="4456"/>
                    </a:lnTo>
                    <a:lnTo>
                      <a:pt x="1432" y="4456"/>
                    </a:lnTo>
                    <a:lnTo>
                      <a:pt x="1434" y="4476"/>
                    </a:lnTo>
                    <a:lnTo>
                      <a:pt x="1434" y="4500"/>
                    </a:lnTo>
                    <a:lnTo>
                      <a:pt x="1436" y="4512"/>
                    </a:lnTo>
                    <a:lnTo>
                      <a:pt x="1438" y="4524"/>
                    </a:lnTo>
                    <a:lnTo>
                      <a:pt x="1442" y="4534"/>
                    </a:lnTo>
                    <a:lnTo>
                      <a:pt x="1450" y="4544"/>
                    </a:lnTo>
                    <a:lnTo>
                      <a:pt x="1450" y="4544"/>
                    </a:lnTo>
                    <a:lnTo>
                      <a:pt x="1458" y="4548"/>
                    </a:lnTo>
                    <a:lnTo>
                      <a:pt x="1464" y="4550"/>
                    </a:lnTo>
                    <a:lnTo>
                      <a:pt x="1470" y="4550"/>
                    </a:lnTo>
                    <a:lnTo>
                      <a:pt x="1476" y="4548"/>
                    </a:lnTo>
                    <a:lnTo>
                      <a:pt x="1488" y="4540"/>
                    </a:lnTo>
                    <a:lnTo>
                      <a:pt x="1502" y="4532"/>
                    </a:lnTo>
                    <a:lnTo>
                      <a:pt x="1502" y="4532"/>
                    </a:lnTo>
                    <a:lnTo>
                      <a:pt x="1508" y="4526"/>
                    </a:lnTo>
                    <a:lnTo>
                      <a:pt x="1512" y="4520"/>
                    </a:lnTo>
                    <a:lnTo>
                      <a:pt x="1516" y="4510"/>
                    </a:lnTo>
                    <a:lnTo>
                      <a:pt x="1518" y="4502"/>
                    </a:lnTo>
                    <a:lnTo>
                      <a:pt x="1518" y="4484"/>
                    </a:lnTo>
                    <a:lnTo>
                      <a:pt x="1516" y="4476"/>
                    </a:lnTo>
                    <a:lnTo>
                      <a:pt x="1514" y="4472"/>
                    </a:lnTo>
                    <a:lnTo>
                      <a:pt x="1514" y="4472"/>
                    </a:lnTo>
                    <a:lnTo>
                      <a:pt x="1512" y="4466"/>
                    </a:lnTo>
                    <a:lnTo>
                      <a:pt x="1512" y="4462"/>
                    </a:lnTo>
                    <a:lnTo>
                      <a:pt x="1510" y="4458"/>
                    </a:lnTo>
                    <a:lnTo>
                      <a:pt x="1508" y="4454"/>
                    </a:lnTo>
                    <a:lnTo>
                      <a:pt x="1508" y="4454"/>
                    </a:lnTo>
                    <a:close/>
                    <a:moveTo>
                      <a:pt x="1946" y="4308"/>
                    </a:moveTo>
                    <a:lnTo>
                      <a:pt x="1946" y="4308"/>
                    </a:lnTo>
                    <a:lnTo>
                      <a:pt x="1942" y="4310"/>
                    </a:lnTo>
                    <a:lnTo>
                      <a:pt x="1940" y="4316"/>
                    </a:lnTo>
                    <a:lnTo>
                      <a:pt x="1940" y="4322"/>
                    </a:lnTo>
                    <a:lnTo>
                      <a:pt x="1942" y="4328"/>
                    </a:lnTo>
                    <a:lnTo>
                      <a:pt x="1942" y="4328"/>
                    </a:lnTo>
                    <a:lnTo>
                      <a:pt x="1944" y="4328"/>
                    </a:lnTo>
                    <a:lnTo>
                      <a:pt x="1946" y="4326"/>
                    </a:lnTo>
                    <a:lnTo>
                      <a:pt x="1948" y="4320"/>
                    </a:lnTo>
                    <a:lnTo>
                      <a:pt x="1950" y="4312"/>
                    </a:lnTo>
                    <a:lnTo>
                      <a:pt x="1948" y="4310"/>
                    </a:lnTo>
                    <a:lnTo>
                      <a:pt x="1946" y="4308"/>
                    </a:lnTo>
                    <a:lnTo>
                      <a:pt x="1946" y="4308"/>
                    </a:lnTo>
                    <a:close/>
                    <a:moveTo>
                      <a:pt x="1996" y="4488"/>
                    </a:moveTo>
                    <a:lnTo>
                      <a:pt x="1996" y="4488"/>
                    </a:lnTo>
                    <a:lnTo>
                      <a:pt x="1994" y="4492"/>
                    </a:lnTo>
                    <a:lnTo>
                      <a:pt x="1994" y="4496"/>
                    </a:lnTo>
                    <a:lnTo>
                      <a:pt x="1994" y="4504"/>
                    </a:lnTo>
                    <a:lnTo>
                      <a:pt x="1998" y="4508"/>
                    </a:lnTo>
                    <a:lnTo>
                      <a:pt x="2000" y="4510"/>
                    </a:lnTo>
                    <a:lnTo>
                      <a:pt x="2002" y="4508"/>
                    </a:lnTo>
                    <a:lnTo>
                      <a:pt x="2002" y="4508"/>
                    </a:lnTo>
                    <a:lnTo>
                      <a:pt x="2004" y="4506"/>
                    </a:lnTo>
                    <a:lnTo>
                      <a:pt x="2004" y="4502"/>
                    </a:lnTo>
                    <a:lnTo>
                      <a:pt x="2004" y="4494"/>
                    </a:lnTo>
                    <a:lnTo>
                      <a:pt x="2000" y="4488"/>
                    </a:lnTo>
                    <a:lnTo>
                      <a:pt x="1998" y="4488"/>
                    </a:lnTo>
                    <a:lnTo>
                      <a:pt x="1996" y="4488"/>
                    </a:lnTo>
                    <a:lnTo>
                      <a:pt x="1996" y="4488"/>
                    </a:lnTo>
                    <a:close/>
                    <a:moveTo>
                      <a:pt x="1980" y="4454"/>
                    </a:moveTo>
                    <a:lnTo>
                      <a:pt x="1980" y="4454"/>
                    </a:lnTo>
                    <a:lnTo>
                      <a:pt x="1982" y="4454"/>
                    </a:lnTo>
                    <a:lnTo>
                      <a:pt x="1984" y="4454"/>
                    </a:lnTo>
                    <a:lnTo>
                      <a:pt x="1982" y="4448"/>
                    </a:lnTo>
                    <a:lnTo>
                      <a:pt x="1982" y="4448"/>
                    </a:lnTo>
                    <a:lnTo>
                      <a:pt x="1980" y="4448"/>
                    </a:lnTo>
                    <a:lnTo>
                      <a:pt x="1978" y="4448"/>
                    </a:lnTo>
                    <a:lnTo>
                      <a:pt x="1978" y="4450"/>
                    </a:lnTo>
                    <a:lnTo>
                      <a:pt x="1980" y="4454"/>
                    </a:lnTo>
                    <a:lnTo>
                      <a:pt x="1980" y="4454"/>
                    </a:lnTo>
                    <a:close/>
                    <a:moveTo>
                      <a:pt x="1954" y="4386"/>
                    </a:moveTo>
                    <a:lnTo>
                      <a:pt x="1954" y="4386"/>
                    </a:lnTo>
                    <a:lnTo>
                      <a:pt x="1952" y="4390"/>
                    </a:lnTo>
                    <a:lnTo>
                      <a:pt x="1952" y="4394"/>
                    </a:lnTo>
                    <a:lnTo>
                      <a:pt x="1954" y="4396"/>
                    </a:lnTo>
                    <a:lnTo>
                      <a:pt x="1958" y="4396"/>
                    </a:lnTo>
                    <a:lnTo>
                      <a:pt x="1958" y="4396"/>
                    </a:lnTo>
                    <a:lnTo>
                      <a:pt x="1960" y="4394"/>
                    </a:lnTo>
                    <a:lnTo>
                      <a:pt x="1958" y="4390"/>
                    </a:lnTo>
                    <a:lnTo>
                      <a:pt x="1958" y="4386"/>
                    </a:lnTo>
                    <a:lnTo>
                      <a:pt x="1956" y="4386"/>
                    </a:lnTo>
                    <a:lnTo>
                      <a:pt x="1954" y="4386"/>
                    </a:lnTo>
                    <a:lnTo>
                      <a:pt x="1954" y="4386"/>
                    </a:lnTo>
                    <a:close/>
                    <a:moveTo>
                      <a:pt x="2078" y="4702"/>
                    </a:moveTo>
                    <a:lnTo>
                      <a:pt x="2078" y="4702"/>
                    </a:lnTo>
                    <a:lnTo>
                      <a:pt x="2078" y="4706"/>
                    </a:lnTo>
                    <a:lnTo>
                      <a:pt x="2080" y="4710"/>
                    </a:lnTo>
                    <a:lnTo>
                      <a:pt x="2084" y="4714"/>
                    </a:lnTo>
                    <a:lnTo>
                      <a:pt x="2090" y="4720"/>
                    </a:lnTo>
                    <a:lnTo>
                      <a:pt x="2090" y="4720"/>
                    </a:lnTo>
                    <a:lnTo>
                      <a:pt x="2102" y="4728"/>
                    </a:lnTo>
                    <a:lnTo>
                      <a:pt x="2106" y="4730"/>
                    </a:lnTo>
                    <a:lnTo>
                      <a:pt x="2106" y="4726"/>
                    </a:lnTo>
                    <a:lnTo>
                      <a:pt x="2106" y="4726"/>
                    </a:lnTo>
                    <a:lnTo>
                      <a:pt x="2102" y="4716"/>
                    </a:lnTo>
                    <a:lnTo>
                      <a:pt x="2094" y="4706"/>
                    </a:lnTo>
                    <a:lnTo>
                      <a:pt x="2084" y="4700"/>
                    </a:lnTo>
                    <a:lnTo>
                      <a:pt x="2080" y="4700"/>
                    </a:lnTo>
                    <a:lnTo>
                      <a:pt x="2078" y="4702"/>
                    </a:lnTo>
                    <a:lnTo>
                      <a:pt x="2078" y="4702"/>
                    </a:lnTo>
                    <a:close/>
                    <a:moveTo>
                      <a:pt x="2508" y="4960"/>
                    </a:moveTo>
                    <a:lnTo>
                      <a:pt x="2508" y="4960"/>
                    </a:lnTo>
                    <a:lnTo>
                      <a:pt x="2502" y="4956"/>
                    </a:lnTo>
                    <a:lnTo>
                      <a:pt x="2500" y="4950"/>
                    </a:lnTo>
                    <a:lnTo>
                      <a:pt x="2496" y="4932"/>
                    </a:lnTo>
                    <a:lnTo>
                      <a:pt x="2494" y="4924"/>
                    </a:lnTo>
                    <a:lnTo>
                      <a:pt x="2490" y="4918"/>
                    </a:lnTo>
                    <a:lnTo>
                      <a:pt x="2484" y="4914"/>
                    </a:lnTo>
                    <a:lnTo>
                      <a:pt x="2476" y="4912"/>
                    </a:lnTo>
                    <a:lnTo>
                      <a:pt x="2476" y="4912"/>
                    </a:lnTo>
                    <a:lnTo>
                      <a:pt x="2466" y="4916"/>
                    </a:lnTo>
                    <a:lnTo>
                      <a:pt x="2464" y="4920"/>
                    </a:lnTo>
                    <a:lnTo>
                      <a:pt x="2464" y="4926"/>
                    </a:lnTo>
                    <a:lnTo>
                      <a:pt x="2462" y="4928"/>
                    </a:lnTo>
                    <a:lnTo>
                      <a:pt x="2460" y="4932"/>
                    </a:lnTo>
                    <a:lnTo>
                      <a:pt x="2460" y="4932"/>
                    </a:lnTo>
                    <a:lnTo>
                      <a:pt x="2456" y="4936"/>
                    </a:lnTo>
                    <a:lnTo>
                      <a:pt x="2454" y="4938"/>
                    </a:lnTo>
                    <a:lnTo>
                      <a:pt x="2454" y="4940"/>
                    </a:lnTo>
                    <a:lnTo>
                      <a:pt x="2456" y="4942"/>
                    </a:lnTo>
                    <a:lnTo>
                      <a:pt x="2464" y="4944"/>
                    </a:lnTo>
                    <a:lnTo>
                      <a:pt x="2474" y="4942"/>
                    </a:lnTo>
                    <a:lnTo>
                      <a:pt x="2474" y="4942"/>
                    </a:lnTo>
                    <a:lnTo>
                      <a:pt x="2478" y="4944"/>
                    </a:lnTo>
                    <a:lnTo>
                      <a:pt x="2480" y="4948"/>
                    </a:lnTo>
                    <a:lnTo>
                      <a:pt x="2484" y="4958"/>
                    </a:lnTo>
                    <a:lnTo>
                      <a:pt x="2488" y="4972"/>
                    </a:lnTo>
                    <a:lnTo>
                      <a:pt x="2490" y="4976"/>
                    </a:lnTo>
                    <a:lnTo>
                      <a:pt x="2494" y="4978"/>
                    </a:lnTo>
                    <a:lnTo>
                      <a:pt x="2494" y="4978"/>
                    </a:lnTo>
                    <a:lnTo>
                      <a:pt x="2502" y="4984"/>
                    </a:lnTo>
                    <a:lnTo>
                      <a:pt x="2508" y="4988"/>
                    </a:lnTo>
                    <a:lnTo>
                      <a:pt x="2512" y="4990"/>
                    </a:lnTo>
                    <a:lnTo>
                      <a:pt x="2516" y="4990"/>
                    </a:lnTo>
                    <a:lnTo>
                      <a:pt x="2516" y="4990"/>
                    </a:lnTo>
                    <a:lnTo>
                      <a:pt x="2518" y="4990"/>
                    </a:lnTo>
                    <a:lnTo>
                      <a:pt x="2520" y="4988"/>
                    </a:lnTo>
                    <a:lnTo>
                      <a:pt x="2518" y="4984"/>
                    </a:lnTo>
                    <a:lnTo>
                      <a:pt x="2516" y="4978"/>
                    </a:lnTo>
                    <a:lnTo>
                      <a:pt x="2514" y="4976"/>
                    </a:lnTo>
                    <a:lnTo>
                      <a:pt x="2516" y="4974"/>
                    </a:lnTo>
                    <a:lnTo>
                      <a:pt x="2516" y="4974"/>
                    </a:lnTo>
                    <a:lnTo>
                      <a:pt x="2518" y="4970"/>
                    </a:lnTo>
                    <a:lnTo>
                      <a:pt x="2518" y="4966"/>
                    </a:lnTo>
                    <a:lnTo>
                      <a:pt x="2514" y="4964"/>
                    </a:lnTo>
                    <a:lnTo>
                      <a:pt x="2508" y="4960"/>
                    </a:lnTo>
                    <a:lnTo>
                      <a:pt x="2508" y="4960"/>
                    </a:lnTo>
                    <a:close/>
                    <a:moveTo>
                      <a:pt x="2428" y="4870"/>
                    </a:moveTo>
                    <a:lnTo>
                      <a:pt x="2428" y="4870"/>
                    </a:lnTo>
                    <a:lnTo>
                      <a:pt x="2432" y="4868"/>
                    </a:lnTo>
                    <a:lnTo>
                      <a:pt x="2434" y="4862"/>
                    </a:lnTo>
                    <a:lnTo>
                      <a:pt x="2434" y="4858"/>
                    </a:lnTo>
                    <a:lnTo>
                      <a:pt x="2432" y="4856"/>
                    </a:lnTo>
                    <a:lnTo>
                      <a:pt x="2430" y="4856"/>
                    </a:lnTo>
                    <a:lnTo>
                      <a:pt x="2430" y="4856"/>
                    </a:lnTo>
                    <a:lnTo>
                      <a:pt x="2426" y="4858"/>
                    </a:lnTo>
                    <a:lnTo>
                      <a:pt x="2424" y="4860"/>
                    </a:lnTo>
                    <a:lnTo>
                      <a:pt x="2420" y="4866"/>
                    </a:lnTo>
                    <a:lnTo>
                      <a:pt x="2420" y="4868"/>
                    </a:lnTo>
                    <a:lnTo>
                      <a:pt x="2420" y="4872"/>
                    </a:lnTo>
                    <a:lnTo>
                      <a:pt x="2424" y="4872"/>
                    </a:lnTo>
                    <a:lnTo>
                      <a:pt x="2428" y="4870"/>
                    </a:lnTo>
                    <a:lnTo>
                      <a:pt x="2428" y="4870"/>
                    </a:lnTo>
                    <a:close/>
                    <a:moveTo>
                      <a:pt x="2450" y="4852"/>
                    </a:moveTo>
                    <a:lnTo>
                      <a:pt x="2450" y="4852"/>
                    </a:lnTo>
                    <a:lnTo>
                      <a:pt x="2444" y="4848"/>
                    </a:lnTo>
                    <a:lnTo>
                      <a:pt x="2434" y="4840"/>
                    </a:lnTo>
                    <a:lnTo>
                      <a:pt x="2434" y="4840"/>
                    </a:lnTo>
                    <a:lnTo>
                      <a:pt x="2430" y="4836"/>
                    </a:lnTo>
                    <a:lnTo>
                      <a:pt x="2428" y="4838"/>
                    </a:lnTo>
                    <a:lnTo>
                      <a:pt x="2428" y="4846"/>
                    </a:lnTo>
                    <a:lnTo>
                      <a:pt x="2428" y="4846"/>
                    </a:lnTo>
                    <a:lnTo>
                      <a:pt x="2430" y="4848"/>
                    </a:lnTo>
                    <a:lnTo>
                      <a:pt x="2432" y="4850"/>
                    </a:lnTo>
                    <a:lnTo>
                      <a:pt x="2438" y="4854"/>
                    </a:lnTo>
                    <a:lnTo>
                      <a:pt x="2446" y="4854"/>
                    </a:lnTo>
                    <a:lnTo>
                      <a:pt x="2450" y="4852"/>
                    </a:lnTo>
                    <a:lnTo>
                      <a:pt x="2450" y="4852"/>
                    </a:lnTo>
                    <a:close/>
                    <a:moveTo>
                      <a:pt x="2378" y="4806"/>
                    </a:moveTo>
                    <a:lnTo>
                      <a:pt x="2378" y="4806"/>
                    </a:lnTo>
                    <a:lnTo>
                      <a:pt x="2376" y="4806"/>
                    </a:lnTo>
                    <a:lnTo>
                      <a:pt x="2376" y="4810"/>
                    </a:lnTo>
                    <a:lnTo>
                      <a:pt x="2376" y="4812"/>
                    </a:lnTo>
                    <a:lnTo>
                      <a:pt x="2378" y="4814"/>
                    </a:lnTo>
                    <a:lnTo>
                      <a:pt x="2378" y="4814"/>
                    </a:lnTo>
                    <a:lnTo>
                      <a:pt x="2382" y="4814"/>
                    </a:lnTo>
                    <a:lnTo>
                      <a:pt x="2382" y="4810"/>
                    </a:lnTo>
                    <a:lnTo>
                      <a:pt x="2380" y="4806"/>
                    </a:lnTo>
                    <a:lnTo>
                      <a:pt x="2378" y="4806"/>
                    </a:lnTo>
                    <a:lnTo>
                      <a:pt x="2378" y="4806"/>
                    </a:lnTo>
                    <a:close/>
                    <a:moveTo>
                      <a:pt x="2422" y="4774"/>
                    </a:moveTo>
                    <a:lnTo>
                      <a:pt x="2422" y="4774"/>
                    </a:lnTo>
                    <a:lnTo>
                      <a:pt x="2414" y="4778"/>
                    </a:lnTo>
                    <a:lnTo>
                      <a:pt x="2412" y="4782"/>
                    </a:lnTo>
                    <a:lnTo>
                      <a:pt x="2412" y="4782"/>
                    </a:lnTo>
                    <a:lnTo>
                      <a:pt x="2410" y="4784"/>
                    </a:lnTo>
                    <a:lnTo>
                      <a:pt x="2410" y="4784"/>
                    </a:lnTo>
                    <a:lnTo>
                      <a:pt x="2406" y="4788"/>
                    </a:lnTo>
                    <a:lnTo>
                      <a:pt x="2406" y="4790"/>
                    </a:lnTo>
                    <a:lnTo>
                      <a:pt x="2410" y="4792"/>
                    </a:lnTo>
                    <a:lnTo>
                      <a:pt x="2414" y="4790"/>
                    </a:lnTo>
                    <a:lnTo>
                      <a:pt x="2414" y="4790"/>
                    </a:lnTo>
                    <a:lnTo>
                      <a:pt x="2414" y="4790"/>
                    </a:lnTo>
                    <a:lnTo>
                      <a:pt x="2414" y="4790"/>
                    </a:lnTo>
                    <a:lnTo>
                      <a:pt x="2420" y="4796"/>
                    </a:lnTo>
                    <a:lnTo>
                      <a:pt x="2420" y="4796"/>
                    </a:lnTo>
                    <a:lnTo>
                      <a:pt x="2416" y="4796"/>
                    </a:lnTo>
                    <a:lnTo>
                      <a:pt x="2414" y="4796"/>
                    </a:lnTo>
                    <a:lnTo>
                      <a:pt x="2414" y="4798"/>
                    </a:lnTo>
                    <a:lnTo>
                      <a:pt x="2414" y="4800"/>
                    </a:lnTo>
                    <a:lnTo>
                      <a:pt x="2414" y="4800"/>
                    </a:lnTo>
                    <a:lnTo>
                      <a:pt x="2418" y="4804"/>
                    </a:lnTo>
                    <a:lnTo>
                      <a:pt x="2420" y="4804"/>
                    </a:lnTo>
                    <a:lnTo>
                      <a:pt x="2422" y="4802"/>
                    </a:lnTo>
                    <a:lnTo>
                      <a:pt x="2420" y="4798"/>
                    </a:lnTo>
                    <a:lnTo>
                      <a:pt x="2420" y="4798"/>
                    </a:lnTo>
                    <a:lnTo>
                      <a:pt x="2420" y="4798"/>
                    </a:lnTo>
                    <a:lnTo>
                      <a:pt x="2420" y="4798"/>
                    </a:lnTo>
                    <a:lnTo>
                      <a:pt x="2432" y="4808"/>
                    </a:lnTo>
                    <a:lnTo>
                      <a:pt x="2432" y="4808"/>
                    </a:lnTo>
                    <a:lnTo>
                      <a:pt x="2436" y="4808"/>
                    </a:lnTo>
                    <a:lnTo>
                      <a:pt x="2438" y="4804"/>
                    </a:lnTo>
                    <a:lnTo>
                      <a:pt x="2438" y="4798"/>
                    </a:lnTo>
                    <a:lnTo>
                      <a:pt x="2438" y="4790"/>
                    </a:lnTo>
                    <a:lnTo>
                      <a:pt x="2436" y="4782"/>
                    </a:lnTo>
                    <a:lnTo>
                      <a:pt x="2434" y="4776"/>
                    </a:lnTo>
                    <a:lnTo>
                      <a:pt x="2428" y="4774"/>
                    </a:lnTo>
                    <a:lnTo>
                      <a:pt x="2422" y="4774"/>
                    </a:lnTo>
                    <a:lnTo>
                      <a:pt x="2422" y="4774"/>
                    </a:lnTo>
                    <a:close/>
                    <a:moveTo>
                      <a:pt x="2384" y="4796"/>
                    </a:moveTo>
                    <a:lnTo>
                      <a:pt x="2384" y="4796"/>
                    </a:lnTo>
                    <a:lnTo>
                      <a:pt x="2384" y="4798"/>
                    </a:lnTo>
                    <a:lnTo>
                      <a:pt x="2384" y="4802"/>
                    </a:lnTo>
                    <a:lnTo>
                      <a:pt x="2386" y="4806"/>
                    </a:lnTo>
                    <a:lnTo>
                      <a:pt x="2390" y="4806"/>
                    </a:lnTo>
                    <a:lnTo>
                      <a:pt x="2390" y="4806"/>
                    </a:lnTo>
                    <a:lnTo>
                      <a:pt x="2392" y="4806"/>
                    </a:lnTo>
                    <a:lnTo>
                      <a:pt x="2390" y="4802"/>
                    </a:lnTo>
                    <a:lnTo>
                      <a:pt x="2388" y="4798"/>
                    </a:lnTo>
                    <a:lnTo>
                      <a:pt x="2384" y="4796"/>
                    </a:lnTo>
                    <a:lnTo>
                      <a:pt x="2384" y="4796"/>
                    </a:lnTo>
                    <a:close/>
                    <a:moveTo>
                      <a:pt x="2578" y="4662"/>
                    </a:moveTo>
                    <a:lnTo>
                      <a:pt x="2578" y="4662"/>
                    </a:lnTo>
                    <a:lnTo>
                      <a:pt x="2580" y="4662"/>
                    </a:lnTo>
                    <a:lnTo>
                      <a:pt x="2584" y="4660"/>
                    </a:lnTo>
                    <a:lnTo>
                      <a:pt x="2584" y="4650"/>
                    </a:lnTo>
                    <a:lnTo>
                      <a:pt x="2584" y="4640"/>
                    </a:lnTo>
                    <a:lnTo>
                      <a:pt x="2582" y="4634"/>
                    </a:lnTo>
                    <a:lnTo>
                      <a:pt x="2582" y="4634"/>
                    </a:lnTo>
                    <a:lnTo>
                      <a:pt x="2578" y="4634"/>
                    </a:lnTo>
                    <a:lnTo>
                      <a:pt x="2574" y="4640"/>
                    </a:lnTo>
                    <a:lnTo>
                      <a:pt x="2570" y="4646"/>
                    </a:lnTo>
                    <a:lnTo>
                      <a:pt x="2572" y="4650"/>
                    </a:lnTo>
                    <a:lnTo>
                      <a:pt x="2574" y="4652"/>
                    </a:lnTo>
                    <a:lnTo>
                      <a:pt x="2574" y="4652"/>
                    </a:lnTo>
                    <a:lnTo>
                      <a:pt x="2578" y="4656"/>
                    </a:lnTo>
                    <a:lnTo>
                      <a:pt x="2576" y="4658"/>
                    </a:lnTo>
                    <a:lnTo>
                      <a:pt x="2574" y="4660"/>
                    </a:lnTo>
                    <a:lnTo>
                      <a:pt x="2578" y="4662"/>
                    </a:lnTo>
                    <a:lnTo>
                      <a:pt x="2578" y="4662"/>
                    </a:lnTo>
                    <a:close/>
                    <a:moveTo>
                      <a:pt x="2136" y="4766"/>
                    </a:moveTo>
                    <a:lnTo>
                      <a:pt x="2136" y="4766"/>
                    </a:lnTo>
                    <a:lnTo>
                      <a:pt x="2134" y="4768"/>
                    </a:lnTo>
                    <a:lnTo>
                      <a:pt x="2134" y="4772"/>
                    </a:lnTo>
                    <a:lnTo>
                      <a:pt x="2138" y="4782"/>
                    </a:lnTo>
                    <a:lnTo>
                      <a:pt x="2154" y="4806"/>
                    </a:lnTo>
                    <a:lnTo>
                      <a:pt x="2154" y="4806"/>
                    </a:lnTo>
                    <a:lnTo>
                      <a:pt x="2158" y="4812"/>
                    </a:lnTo>
                    <a:lnTo>
                      <a:pt x="2162" y="4812"/>
                    </a:lnTo>
                    <a:lnTo>
                      <a:pt x="2164" y="4810"/>
                    </a:lnTo>
                    <a:lnTo>
                      <a:pt x="2166" y="4806"/>
                    </a:lnTo>
                    <a:lnTo>
                      <a:pt x="2166" y="4794"/>
                    </a:lnTo>
                    <a:lnTo>
                      <a:pt x="2164" y="4790"/>
                    </a:lnTo>
                    <a:lnTo>
                      <a:pt x="2160" y="4786"/>
                    </a:lnTo>
                    <a:lnTo>
                      <a:pt x="2160" y="4786"/>
                    </a:lnTo>
                    <a:lnTo>
                      <a:pt x="2154" y="4780"/>
                    </a:lnTo>
                    <a:lnTo>
                      <a:pt x="2150" y="4772"/>
                    </a:lnTo>
                    <a:lnTo>
                      <a:pt x="2144" y="4768"/>
                    </a:lnTo>
                    <a:lnTo>
                      <a:pt x="2140" y="4766"/>
                    </a:lnTo>
                    <a:lnTo>
                      <a:pt x="2136" y="4766"/>
                    </a:lnTo>
                    <a:lnTo>
                      <a:pt x="2136" y="4766"/>
                    </a:lnTo>
                    <a:close/>
                    <a:moveTo>
                      <a:pt x="2832" y="5258"/>
                    </a:moveTo>
                    <a:lnTo>
                      <a:pt x="2832" y="5258"/>
                    </a:lnTo>
                    <a:lnTo>
                      <a:pt x="2828" y="5254"/>
                    </a:lnTo>
                    <a:lnTo>
                      <a:pt x="2828" y="5248"/>
                    </a:lnTo>
                    <a:lnTo>
                      <a:pt x="2832" y="5234"/>
                    </a:lnTo>
                    <a:lnTo>
                      <a:pt x="2832" y="5226"/>
                    </a:lnTo>
                    <a:lnTo>
                      <a:pt x="2832" y="5220"/>
                    </a:lnTo>
                    <a:lnTo>
                      <a:pt x="2828" y="5214"/>
                    </a:lnTo>
                    <a:lnTo>
                      <a:pt x="2820" y="5212"/>
                    </a:lnTo>
                    <a:lnTo>
                      <a:pt x="2820" y="5212"/>
                    </a:lnTo>
                    <a:lnTo>
                      <a:pt x="2808" y="5212"/>
                    </a:lnTo>
                    <a:lnTo>
                      <a:pt x="2798" y="5214"/>
                    </a:lnTo>
                    <a:lnTo>
                      <a:pt x="2786" y="5216"/>
                    </a:lnTo>
                    <a:lnTo>
                      <a:pt x="2780" y="5216"/>
                    </a:lnTo>
                    <a:lnTo>
                      <a:pt x="2772" y="5212"/>
                    </a:lnTo>
                    <a:lnTo>
                      <a:pt x="2772" y="5212"/>
                    </a:lnTo>
                    <a:lnTo>
                      <a:pt x="2762" y="5208"/>
                    </a:lnTo>
                    <a:lnTo>
                      <a:pt x="2762" y="5206"/>
                    </a:lnTo>
                    <a:lnTo>
                      <a:pt x="2762" y="5204"/>
                    </a:lnTo>
                    <a:lnTo>
                      <a:pt x="2762" y="5196"/>
                    </a:lnTo>
                    <a:lnTo>
                      <a:pt x="2762" y="5190"/>
                    </a:lnTo>
                    <a:lnTo>
                      <a:pt x="2758" y="5184"/>
                    </a:lnTo>
                    <a:lnTo>
                      <a:pt x="2758" y="5184"/>
                    </a:lnTo>
                    <a:lnTo>
                      <a:pt x="2754" y="5178"/>
                    </a:lnTo>
                    <a:lnTo>
                      <a:pt x="2752" y="5174"/>
                    </a:lnTo>
                    <a:lnTo>
                      <a:pt x="2748" y="5174"/>
                    </a:lnTo>
                    <a:lnTo>
                      <a:pt x="2746" y="5176"/>
                    </a:lnTo>
                    <a:lnTo>
                      <a:pt x="2740" y="5178"/>
                    </a:lnTo>
                    <a:lnTo>
                      <a:pt x="2738" y="5178"/>
                    </a:lnTo>
                    <a:lnTo>
                      <a:pt x="2734" y="5174"/>
                    </a:lnTo>
                    <a:lnTo>
                      <a:pt x="2734" y="5174"/>
                    </a:lnTo>
                    <a:lnTo>
                      <a:pt x="2730" y="5168"/>
                    </a:lnTo>
                    <a:lnTo>
                      <a:pt x="2728" y="5170"/>
                    </a:lnTo>
                    <a:lnTo>
                      <a:pt x="2726" y="5170"/>
                    </a:lnTo>
                    <a:lnTo>
                      <a:pt x="2720" y="5166"/>
                    </a:lnTo>
                    <a:lnTo>
                      <a:pt x="2720" y="5166"/>
                    </a:lnTo>
                    <a:lnTo>
                      <a:pt x="2718" y="5164"/>
                    </a:lnTo>
                    <a:lnTo>
                      <a:pt x="2714" y="5162"/>
                    </a:lnTo>
                    <a:lnTo>
                      <a:pt x="2708" y="5164"/>
                    </a:lnTo>
                    <a:lnTo>
                      <a:pt x="2704" y="5166"/>
                    </a:lnTo>
                    <a:lnTo>
                      <a:pt x="2700" y="5166"/>
                    </a:lnTo>
                    <a:lnTo>
                      <a:pt x="2698" y="5162"/>
                    </a:lnTo>
                    <a:lnTo>
                      <a:pt x="2698" y="5162"/>
                    </a:lnTo>
                    <a:lnTo>
                      <a:pt x="2694" y="5154"/>
                    </a:lnTo>
                    <a:lnTo>
                      <a:pt x="2692" y="5150"/>
                    </a:lnTo>
                    <a:lnTo>
                      <a:pt x="2688" y="5148"/>
                    </a:lnTo>
                    <a:lnTo>
                      <a:pt x="2686" y="5150"/>
                    </a:lnTo>
                    <a:lnTo>
                      <a:pt x="2682" y="5152"/>
                    </a:lnTo>
                    <a:lnTo>
                      <a:pt x="2680" y="5156"/>
                    </a:lnTo>
                    <a:lnTo>
                      <a:pt x="2676" y="5166"/>
                    </a:lnTo>
                    <a:lnTo>
                      <a:pt x="2676" y="5166"/>
                    </a:lnTo>
                    <a:lnTo>
                      <a:pt x="2670" y="5178"/>
                    </a:lnTo>
                    <a:lnTo>
                      <a:pt x="2668" y="5180"/>
                    </a:lnTo>
                    <a:lnTo>
                      <a:pt x="2666" y="5180"/>
                    </a:lnTo>
                    <a:lnTo>
                      <a:pt x="2660" y="5176"/>
                    </a:lnTo>
                    <a:lnTo>
                      <a:pt x="2654" y="5174"/>
                    </a:lnTo>
                    <a:lnTo>
                      <a:pt x="2646" y="5172"/>
                    </a:lnTo>
                    <a:lnTo>
                      <a:pt x="2646" y="5172"/>
                    </a:lnTo>
                    <a:lnTo>
                      <a:pt x="2634" y="5174"/>
                    </a:lnTo>
                    <a:lnTo>
                      <a:pt x="2630" y="5174"/>
                    </a:lnTo>
                    <a:lnTo>
                      <a:pt x="2626" y="5176"/>
                    </a:lnTo>
                    <a:lnTo>
                      <a:pt x="2620" y="5174"/>
                    </a:lnTo>
                    <a:lnTo>
                      <a:pt x="2620" y="5174"/>
                    </a:lnTo>
                    <a:lnTo>
                      <a:pt x="2612" y="5172"/>
                    </a:lnTo>
                    <a:lnTo>
                      <a:pt x="2604" y="5172"/>
                    </a:lnTo>
                    <a:lnTo>
                      <a:pt x="2600" y="5170"/>
                    </a:lnTo>
                    <a:lnTo>
                      <a:pt x="2596" y="5168"/>
                    </a:lnTo>
                    <a:lnTo>
                      <a:pt x="2594" y="5162"/>
                    </a:lnTo>
                    <a:lnTo>
                      <a:pt x="2590" y="5154"/>
                    </a:lnTo>
                    <a:lnTo>
                      <a:pt x="2590" y="5154"/>
                    </a:lnTo>
                    <a:lnTo>
                      <a:pt x="2588" y="5148"/>
                    </a:lnTo>
                    <a:lnTo>
                      <a:pt x="2586" y="5144"/>
                    </a:lnTo>
                    <a:lnTo>
                      <a:pt x="2584" y="5144"/>
                    </a:lnTo>
                    <a:lnTo>
                      <a:pt x="2582" y="5144"/>
                    </a:lnTo>
                    <a:lnTo>
                      <a:pt x="2576" y="5146"/>
                    </a:lnTo>
                    <a:lnTo>
                      <a:pt x="2574" y="5146"/>
                    </a:lnTo>
                    <a:lnTo>
                      <a:pt x="2570" y="5142"/>
                    </a:lnTo>
                    <a:lnTo>
                      <a:pt x="2570" y="5142"/>
                    </a:lnTo>
                    <a:lnTo>
                      <a:pt x="2566" y="5140"/>
                    </a:lnTo>
                    <a:lnTo>
                      <a:pt x="2564" y="5140"/>
                    </a:lnTo>
                    <a:lnTo>
                      <a:pt x="2558" y="5140"/>
                    </a:lnTo>
                    <a:lnTo>
                      <a:pt x="2554" y="5142"/>
                    </a:lnTo>
                    <a:lnTo>
                      <a:pt x="2552" y="5140"/>
                    </a:lnTo>
                    <a:lnTo>
                      <a:pt x="2550" y="5138"/>
                    </a:lnTo>
                    <a:lnTo>
                      <a:pt x="2550" y="5138"/>
                    </a:lnTo>
                    <a:lnTo>
                      <a:pt x="2544" y="5132"/>
                    </a:lnTo>
                    <a:lnTo>
                      <a:pt x="2538" y="5128"/>
                    </a:lnTo>
                    <a:lnTo>
                      <a:pt x="2532" y="5128"/>
                    </a:lnTo>
                    <a:lnTo>
                      <a:pt x="2530" y="5130"/>
                    </a:lnTo>
                    <a:lnTo>
                      <a:pt x="2530" y="5132"/>
                    </a:lnTo>
                    <a:lnTo>
                      <a:pt x="2530" y="5132"/>
                    </a:lnTo>
                    <a:lnTo>
                      <a:pt x="2528" y="5136"/>
                    </a:lnTo>
                    <a:lnTo>
                      <a:pt x="2526" y="5136"/>
                    </a:lnTo>
                    <a:lnTo>
                      <a:pt x="2520" y="5136"/>
                    </a:lnTo>
                    <a:lnTo>
                      <a:pt x="2512" y="5132"/>
                    </a:lnTo>
                    <a:lnTo>
                      <a:pt x="2498" y="5130"/>
                    </a:lnTo>
                    <a:lnTo>
                      <a:pt x="2498" y="5130"/>
                    </a:lnTo>
                    <a:lnTo>
                      <a:pt x="2492" y="5130"/>
                    </a:lnTo>
                    <a:lnTo>
                      <a:pt x="2488" y="5132"/>
                    </a:lnTo>
                    <a:lnTo>
                      <a:pt x="2486" y="5136"/>
                    </a:lnTo>
                    <a:lnTo>
                      <a:pt x="2484" y="5140"/>
                    </a:lnTo>
                    <a:lnTo>
                      <a:pt x="2482" y="5150"/>
                    </a:lnTo>
                    <a:lnTo>
                      <a:pt x="2480" y="5152"/>
                    </a:lnTo>
                    <a:lnTo>
                      <a:pt x="2478" y="5154"/>
                    </a:lnTo>
                    <a:lnTo>
                      <a:pt x="2478" y="5154"/>
                    </a:lnTo>
                    <a:lnTo>
                      <a:pt x="2474" y="5156"/>
                    </a:lnTo>
                    <a:lnTo>
                      <a:pt x="2472" y="5160"/>
                    </a:lnTo>
                    <a:lnTo>
                      <a:pt x="2472" y="5164"/>
                    </a:lnTo>
                    <a:lnTo>
                      <a:pt x="2464" y="5164"/>
                    </a:lnTo>
                    <a:lnTo>
                      <a:pt x="2464" y="5164"/>
                    </a:lnTo>
                    <a:lnTo>
                      <a:pt x="2460" y="5166"/>
                    </a:lnTo>
                    <a:lnTo>
                      <a:pt x="2458" y="5168"/>
                    </a:lnTo>
                    <a:lnTo>
                      <a:pt x="2460" y="5172"/>
                    </a:lnTo>
                    <a:lnTo>
                      <a:pt x="2464" y="5174"/>
                    </a:lnTo>
                    <a:lnTo>
                      <a:pt x="2464" y="5174"/>
                    </a:lnTo>
                    <a:lnTo>
                      <a:pt x="2474" y="5174"/>
                    </a:lnTo>
                    <a:lnTo>
                      <a:pt x="2482" y="5174"/>
                    </a:lnTo>
                    <a:lnTo>
                      <a:pt x="2490" y="5174"/>
                    </a:lnTo>
                    <a:lnTo>
                      <a:pt x="2494" y="5174"/>
                    </a:lnTo>
                    <a:lnTo>
                      <a:pt x="2496" y="5178"/>
                    </a:lnTo>
                    <a:lnTo>
                      <a:pt x="2496" y="5178"/>
                    </a:lnTo>
                    <a:lnTo>
                      <a:pt x="2500" y="5180"/>
                    </a:lnTo>
                    <a:lnTo>
                      <a:pt x="2504" y="5180"/>
                    </a:lnTo>
                    <a:lnTo>
                      <a:pt x="2510" y="5180"/>
                    </a:lnTo>
                    <a:lnTo>
                      <a:pt x="2510" y="5180"/>
                    </a:lnTo>
                    <a:lnTo>
                      <a:pt x="2512" y="5180"/>
                    </a:lnTo>
                    <a:lnTo>
                      <a:pt x="2508" y="5188"/>
                    </a:lnTo>
                    <a:lnTo>
                      <a:pt x="2508" y="5188"/>
                    </a:lnTo>
                    <a:lnTo>
                      <a:pt x="2506" y="5194"/>
                    </a:lnTo>
                    <a:lnTo>
                      <a:pt x="2508" y="5198"/>
                    </a:lnTo>
                    <a:lnTo>
                      <a:pt x="2510" y="5200"/>
                    </a:lnTo>
                    <a:lnTo>
                      <a:pt x="2516" y="5200"/>
                    </a:lnTo>
                    <a:lnTo>
                      <a:pt x="2536" y="5204"/>
                    </a:lnTo>
                    <a:lnTo>
                      <a:pt x="2550" y="5210"/>
                    </a:lnTo>
                    <a:lnTo>
                      <a:pt x="2570" y="5218"/>
                    </a:lnTo>
                    <a:lnTo>
                      <a:pt x="2570" y="5218"/>
                    </a:lnTo>
                    <a:lnTo>
                      <a:pt x="2576" y="5220"/>
                    </a:lnTo>
                    <a:lnTo>
                      <a:pt x="2584" y="5220"/>
                    </a:lnTo>
                    <a:lnTo>
                      <a:pt x="2588" y="5220"/>
                    </a:lnTo>
                    <a:lnTo>
                      <a:pt x="2594" y="5218"/>
                    </a:lnTo>
                    <a:lnTo>
                      <a:pt x="2602" y="5214"/>
                    </a:lnTo>
                    <a:lnTo>
                      <a:pt x="2606" y="5214"/>
                    </a:lnTo>
                    <a:lnTo>
                      <a:pt x="2608" y="5214"/>
                    </a:lnTo>
                    <a:lnTo>
                      <a:pt x="2608" y="5214"/>
                    </a:lnTo>
                    <a:lnTo>
                      <a:pt x="2614" y="5218"/>
                    </a:lnTo>
                    <a:lnTo>
                      <a:pt x="2620" y="5216"/>
                    </a:lnTo>
                    <a:lnTo>
                      <a:pt x="2628" y="5216"/>
                    </a:lnTo>
                    <a:lnTo>
                      <a:pt x="2642" y="5218"/>
                    </a:lnTo>
                    <a:lnTo>
                      <a:pt x="2642" y="5218"/>
                    </a:lnTo>
                    <a:lnTo>
                      <a:pt x="2648" y="5220"/>
                    </a:lnTo>
                    <a:lnTo>
                      <a:pt x="2654" y="5224"/>
                    </a:lnTo>
                    <a:lnTo>
                      <a:pt x="2662" y="5230"/>
                    </a:lnTo>
                    <a:lnTo>
                      <a:pt x="2668" y="5234"/>
                    </a:lnTo>
                    <a:lnTo>
                      <a:pt x="2676" y="5238"/>
                    </a:lnTo>
                    <a:lnTo>
                      <a:pt x="2690" y="5242"/>
                    </a:lnTo>
                    <a:lnTo>
                      <a:pt x="2706" y="5246"/>
                    </a:lnTo>
                    <a:lnTo>
                      <a:pt x="2706" y="5246"/>
                    </a:lnTo>
                    <a:lnTo>
                      <a:pt x="2722" y="5248"/>
                    </a:lnTo>
                    <a:lnTo>
                      <a:pt x="2726" y="5246"/>
                    </a:lnTo>
                    <a:lnTo>
                      <a:pt x="2728" y="5244"/>
                    </a:lnTo>
                    <a:lnTo>
                      <a:pt x="2732" y="5244"/>
                    </a:lnTo>
                    <a:lnTo>
                      <a:pt x="2752" y="5248"/>
                    </a:lnTo>
                    <a:lnTo>
                      <a:pt x="2752" y="5248"/>
                    </a:lnTo>
                    <a:lnTo>
                      <a:pt x="2764" y="5250"/>
                    </a:lnTo>
                    <a:lnTo>
                      <a:pt x="2770" y="5248"/>
                    </a:lnTo>
                    <a:lnTo>
                      <a:pt x="2772" y="5246"/>
                    </a:lnTo>
                    <a:lnTo>
                      <a:pt x="2774" y="5244"/>
                    </a:lnTo>
                    <a:lnTo>
                      <a:pt x="2774" y="5242"/>
                    </a:lnTo>
                    <a:lnTo>
                      <a:pt x="2776" y="5242"/>
                    </a:lnTo>
                    <a:lnTo>
                      <a:pt x="2794" y="5250"/>
                    </a:lnTo>
                    <a:lnTo>
                      <a:pt x="2794" y="5250"/>
                    </a:lnTo>
                    <a:lnTo>
                      <a:pt x="2806" y="5256"/>
                    </a:lnTo>
                    <a:lnTo>
                      <a:pt x="2814" y="5258"/>
                    </a:lnTo>
                    <a:lnTo>
                      <a:pt x="2820" y="5260"/>
                    </a:lnTo>
                    <a:lnTo>
                      <a:pt x="2828" y="5264"/>
                    </a:lnTo>
                    <a:lnTo>
                      <a:pt x="2828" y="5264"/>
                    </a:lnTo>
                    <a:lnTo>
                      <a:pt x="2834" y="5268"/>
                    </a:lnTo>
                    <a:lnTo>
                      <a:pt x="2836" y="5268"/>
                    </a:lnTo>
                    <a:lnTo>
                      <a:pt x="2836" y="5266"/>
                    </a:lnTo>
                    <a:lnTo>
                      <a:pt x="2836" y="5262"/>
                    </a:lnTo>
                    <a:lnTo>
                      <a:pt x="2832" y="5258"/>
                    </a:lnTo>
                    <a:lnTo>
                      <a:pt x="2832" y="5258"/>
                    </a:lnTo>
                    <a:close/>
                    <a:moveTo>
                      <a:pt x="2398" y="4778"/>
                    </a:moveTo>
                    <a:lnTo>
                      <a:pt x="2398" y="4778"/>
                    </a:lnTo>
                    <a:lnTo>
                      <a:pt x="2400" y="4780"/>
                    </a:lnTo>
                    <a:lnTo>
                      <a:pt x="2402" y="4780"/>
                    </a:lnTo>
                    <a:lnTo>
                      <a:pt x="2406" y="4780"/>
                    </a:lnTo>
                    <a:lnTo>
                      <a:pt x="2410" y="4776"/>
                    </a:lnTo>
                    <a:lnTo>
                      <a:pt x="2410" y="4774"/>
                    </a:lnTo>
                    <a:lnTo>
                      <a:pt x="2410" y="4774"/>
                    </a:lnTo>
                    <a:lnTo>
                      <a:pt x="2408" y="4772"/>
                    </a:lnTo>
                    <a:lnTo>
                      <a:pt x="2402" y="4772"/>
                    </a:lnTo>
                    <a:lnTo>
                      <a:pt x="2398" y="4774"/>
                    </a:lnTo>
                    <a:lnTo>
                      <a:pt x="2398" y="4776"/>
                    </a:lnTo>
                    <a:lnTo>
                      <a:pt x="2398" y="4778"/>
                    </a:lnTo>
                    <a:lnTo>
                      <a:pt x="2398" y="4778"/>
                    </a:lnTo>
                    <a:close/>
                    <a:moveTo>
                      <a:pt x="2330" y="4760"/>
                    </a:moveTo>
                    <a:lnTo>
                      <a:pt x="2330" y="4760"/>
                    </a:lnTo>
                    <a:lnTo>
                      <a:pt x="2330" y="4762"/>
                    </a:lnTo>
                    <a:lnTo>
                      <a:pt x="2332" y="4764"/>
                    </a:lnTo>
                    <a:lnTo>
                      <a:pt x="2340" y="4770"/>
                    </a:lnTo>
                    <a:lnTo>
                      <a:pt x="2340" y="4770"/>
                    </a:lnTo>
                    <a:lnTo>
                      <a:pt x="2348" y="4774"/>
                    </a:lnTo>
                    <a:lnTo>
                      <a:pt x="2350" y="4774"/>
                    </a:lnTo>
                    <a:lnTo>
                      <a:pt x="2350" y="4770"/>
                    </a:lnTo>
                    <a:lnTo>
                      <a:pt x="2350" y="4770"/>
                    </a:lnTo>
                    <a:lnTo>
                      <a:pt x="2350" y="4768"/>
                    </a:lnTo>
                    <a:lnTo>
                      <a:pt x="2346" y="4764"/>
                    </a:lnTo>
                    <a:lnTo>
                      <a:pt x="2340" y="4760"/>
                    </a:lnTo>
                    <a:lnTo>
                      <a:pt x="2334" y="4758"/>
                    </a:lnTo>
                    <a:lnTo>
                      <a:pt x="2332" y="4758"/>
                    </a:lnTo>
                    <a:lnTo>
                      <a:pt x="2330" y="4760"/>
                    </a:lnTo>
                    <a:lnTo>
                      <a:pt x="2330" y="4760"/>
                    </a:lnTo>
                    <a:close/>
                    <a:moveTo>
                      <a:pt x="2230" y="4942"/>
                    </a:moveTo>
                    <a:lnTo>
                      <a:pt x="2230" y="4942"/>
                    </a:lnTo>
                    <a:lnTo>
                      <a:pt x="2230" y="4944"/>
                    </a:lnTo>
                    <a:lnTo>
                      <a:pt x="2230" y="4946"/>
                    </a:lnTo>
                    <a:lnTo>
                      <a:pt x="2234" y="4952"/>
                    </a:lnTo>
                    <a:lnTo>
                      <a:pt x="2238" y="4956"/>
                    </a:lnTo>
                    <a:lnTo>
                      <a:pt x="2242" y="4956"/>
                    </a:lnTo>
                    <a:lnTo>
                      <a:pt x="2244" y="4954"/>
                    </a:lnTo>
                    <a:lnTo>
                      <a:pt x="2244" y="4954"/>
                    </a:lnTo>
                    <a:lnTo>
                      <a:pt x="2244" y="4952"/>
                    </a:lnTo>
                    <a:lnTo>
                      <a:pt x="2244" y="4950"/>
                    </a:lnTo>
                    <a:lnTo>
                      <a:pt x="2240" y="4944"/>
                    </a:lnTo>
                    <a:lnTo>
                      <a:pt x="2236" y="4940"/>
                    </a:lnTo>
                    <a:lnTo>
                      <a:pt x="2232" y="4940"/>
                    </a:lnTo>
                    <a:lnTo>
                      <a:pt x="2230" y="4942"/>
                    </a:lnTo>
                    <a:lnTo>
                      <a:pt x="2230" y="4942"/>
                    </a:lnTo>
                    <a:close/>
                    <a:moveTo>
                      <a:pt x="2194" y="4886"/>
                    </a:moveTo>
                    <a:lnTo>
                      <a:pt x="2194" y="4886"/>
                    </a:lnTo>
                    <a:lnTo>
                      <a:pt x="2192" y="4890"/>
                    </a:lnTo>
                    <a:lnTo>
                      <a:pt x="2192" y="4896"/>
                    </a:lnTo>
                    <a:lnTo>
                      <a:pt x="2194" y="4904"/>
                    </a:lnTo>
                    <a:lnTo>
                      <a:pt x="2198" y="4910"/>
                    </a:lnTo>
                    <a:lnTo>
                      <a:pt x="2208" y="4920"/>
                    </a:lnTo>
                    <a:lnTo>
                      <a:pt x="2214" y="4924"/>
                    </a:lnTo>
                    <a:lnTo>
                      <a:pt x="2218" y="4924"/>
                    </a:lnTo>
                    <a:lnTo>
                      <a:pt x="2218" y="4924"/>
                    </a:lnTo>
                    <a:lnTo>
                      <a:pt x="2220" y="4920"/>
                    </a:lnTo>
                    <a:lnTo>
                      <a:pt x="2220" y="4914"/>
                    </a:lnTo>
                    <a:lnTo>
                      <a:pt x="2214" y="4900"/>
                    </a:lnTo>
                    <a:lnTo>
                      <a:pt x="2210" y="4894"/>
                    </a:lnTo>
                    <a:lnTo>
                      <a:pt x="2204" y="4888"/>
                    </a:lnTo>
                    <a:lnTo>
                      <a:pt x="2200" y="4886"/>
                    </a:lnTo>
                    <a:lnTo>
                      <a:pt x="2194" y="4886"/>
                    </a:lnTo>
                    <a:lnTo>
                      <a:pt x="2194" y="4886"/>
                    </a:lnTo>
                    <a:close/>
                    <a:moveTo>
                      <a:pt x="2182" y="4866"/>
                    </a:moveTo>
                    <a:lnTo>
                      <a:pt x="2182" y="4866"/>
                    </a:lnTo>
                    <a:lnTo>
                      <a:pt x="2184" y="4868"/>
                    </a:lnTo>
                    <a:lnTo>
                      <a:pt x="2186" y="4866"/>
                    </a:lnTo>
                    <a:lnTo>
                      <a:pt x="2188" y="4862"/>
                    </a:lnTo>
                    <a:lnTo>
                      <a:pt x="2188" y="4856"/>
                    </a:lnTo>
                    <a:lnTo>
                      <a:pt x="2186" y="4850"/>
                    </a:lnTo>
                    <a:lnTo>
                      <a:pt x="2186" y="4850"/>
                    </a:lnTo>
                    <a:lnTo>
                      <a:pt x="2184" y="4850"/>
                    </a:lnTo>
                    <a:lnTo>
                      <a:pt x="2182" y="4850"/>
                    </a:lnTo>
                    <a:lnTo>
                      <a:pt x="2180" y="4854"/>
                    </a:lnTo>
                    <a:lnTo>
                      <a:pt x="2180" y="4860"/>
                    </a:lnTo>
                    <a:lnTo>
                      <a:pt x="2180" y="4864"/>
                    </a:lnTo>
                    <a:lnTo>
                      <a:pt x="2182" y="4866"/>
                    </a:lnTo>
                    <a:lnTo>
                      <a:pt x="2182" y="4866"/>
                    </a:lnTo>
                    <a:close/>
                    <a:moveTo>
                      <a:pt x="2248" y="4964"/>
                    </a:moveTo>
                    <a:lnTo>
                      <a:pt x="2248" y="4964"/>
                    </a:lnTo>
                    <a:lnTo>
                      <a:pt x="2246" y="4968"/>
                    </a:lnTo>
                    <a:lnTo>
                      <a:pt x="2246" y="4974"/>
                    </a:lnTo>
                    <a:lnTo>
                      <a:pt x="2248" y="4976"/>
                    </a:lnTo>
                    <a:lnTo>
                      <a:pt x="2252" y="4978"/>
                    </a:lnTo>
                    <a:lnTo>
                      <a:pt x="2252" y="4978"/>
                    </a:lnTo>
                    <a:lnTo>
                      <a:pt x="2254" y="4978"/>
                    </a:lnTo>
                    <a:lnTo>
                      <a:pt x="2256" y="4980"/>
                    </a:lnTo>
                    <a:lnTo>
                      <a:pt x="2260" y="4990"/>
                    </a:lnTo>
                    <a:lnTo>
                      <a:pt x="2262" y="4996"/>
                    </a:lnTo>
                    <a:lnTo>
                      <a:pt x="2264" y="4996"/>
                    </a:lnTo>
                    <a:lnTo>
                      <a:pt x="2266" y="4994"/>
                    </a:lnTo>
                    <a:lnTo>
                      <a:pt x="2266" y="4994"/>
                    </a:lnTo>
                    <a:lnTo>
                      <a:pt x="2266" y="4990"/>
                    </a:lnTo>
                    <a:lnTo>
                      <a:pt x="2266" y="4984"/>
                    </a:lnTo>
                    <a:lnTo>
                      <a:pt x="2260" y="4974"/>
                    </a:lnTo>
                    <a:lnTo>
                      <a:pt x="2254" y="4964"/>
                    </a:lnTo>
                    <a:lnTo>
                      <a:pt x="2250" y="4964"/>
                    </a:lnTo>
                    <a:lnTo>
                      <a:pt x="2248" y="4964"/>
                    </a:lnTo>
                    <a:lnTo>
                      <a:pt x="2248" y="4964"/>
                    </a:lnTo>
                    <a:close/>
                    <a:moveTo>
                      <a:pt x="2354" y="4788"/>
                    </a:moveTo>
                    <a:lnTo>
                      <a:pt x="2354" y="4788"/>
                    </a:lnTo>
                    <a:lnTo>
                      <a:pt x="2352" y="4784"/>
                    </a:lnTo>
                    <a:lnTo>
                      <a:pt x="2352" y="4784"/>
                    </a:lnTo>
                    <a:lnTo>
                      <a:pt x="2350" y="4792"/>
                    </a:lnTo>
                    <a:lnTo>
                      <a:pt x="2350" y="4792"/>
                    </a:lnTo>
                    <a:lnTo>
                      <a:pt x="2348" y="4796"/>
                    </a:lnTo>
                    <a:lnTo>
                      <a:pt x="2348" y="4800"/>
                    </a:lnTo>
                    <a:lnTo>
                      <a:pt x="2352" y="4800"/>
                    </a:lnTo>
                    <a:lnTo>
                      <a:pt x="2358" y="4802"/>
                    </a:lnTo>
                    <a:lnTo>
                      <a:pt x="2358" y="4802"/>
                    </a:lnTo>
                    <a:lnTo>
                      <a:pt x="2364" y="4802"/>
                    </a:lnTo>
                    <a:lnTo>
                      <a:pt x="2370" y="4804"/>
                    </a:lnTo>
                    <a:lnTo>
                      <a:pt x="2372" y="4804"/>
                    </a:lnTo>
                    <a:lnTo>
                      <a:pt x="2372" y="4800"/>
                    </a:lnTo>
                    <a:lnTo>
                      <a:pt x="2372" y="4800"/>
                    </a:lnTo>
                    <a:lnTo>
                      <a:pt x="2372" y="4798"/>
                    </a:lnTo>
                    <a:lnTo>
                      <a:pt x="2370" y="4796"/>
                    </a:lnTo>
                    <a:lnTo>
                      <a:pt x="2364" y="4794"/>
                    </a:lnTo>
                    <a:lnTo>
                      <a:pt x="2358" y="4792"/>
                    </a:lnTo>
                    <a:lnTo>
                      <a:pt x="2354" y="4788"/>
                    </a:lnTo>
                    <a:lnTo>
                      <a:pt x="2354" y="4788"/>
                    </a:lnTo>
                    <a:close/>
                    <a:moveTo>
                      <a:pt x="2484" y="5128"/>
                    </a:moveTo>
                    <a:lnTo>
                      <a:pt x="2484" y="5128"/>
                    </a:lnTo>
                    <a:lnTo>
                      <a:pt x="2486" y="5124"/>
                    </a:lnTo>
                    <a:lnTo>
                      <a:pt x="2486" y="5120"/>
                    </a:lnTo>
                    <a:lnTo>
                      <a:pt x="2488" y="5108"/>
                    </a:lnTo>
                    <a:lnTo>
                      <a:pt x="2486" y="5092"/>
                    </a:lnTo>
                    <a:lnTo>
                      <a:pt x="2488" y="5076"/>
                    </a:lnTo>
                    <a:lnTo>
                      <a:pt x="2488" y="5076"/>
                    </a:lnTo>
                    <a:lnTo>
                      <a:pt x="2488" y="5062"/>
                    </a:lnTo>
                    <a:lnTo>
                      <a:pt x="2486" y="5056"/>
                    </a:lnTo>
                    <a:lnTo>
                      <a:pt x="2484" y="5050"/>
                    </a:lnTo>
                    <a:lnTo>
                      <a:pt x="2486" y="5038"/>
                    </a:lnTo>
                    <a:lnTo>
                      <a:pt x="2486" y="5038"/>
                    </a:lnTo>
                    <a:lnTo>
                      <a:pt x="2488" y="5028"/>
                    </a:lnTo>
                    <a:lnTo>
                      <a:pt x="2488" y="5020"/>
                    </a:lnTo>
                    <a:lnTo>
                      <a:pt x="2486" y="5014"/>
                    </a:lnTo>
                    <a:lnTo>
                      <a:pt x="2492" y="5004"/>
                    </a:lnTo>
                    <a:lnTo>
                      <a:pt x="2492" y="5004"/>
                    </a:lnTo>
                    <a:lnTo>
                      <a:pt x="2494" y="4998"/>
                    </a:lnTo>
                    <a:lnTo>
                      <a:pt x="2496" y="4994"/>
                    </a:lnTo>
                    <a:lnTo>
                      <a:pt x="2494" y="4990"/>
                    </a:lnTo>
                    <a:lnTo>
                      <a:pt x="2492" y="4988"/>
                    </a:lnTo>
                    <a:lnTo>
                      <a:pt x="2486" y="4982"/>
                    </a:lnTo>
                    <a:lnTo>
                      <a:pt x="2482" y="4978"/>
                    </a:lnTo>
                    <a:lnTo>
                      <a:pt x="2480" y="4972"/>
                    </a:lnTo>
                    <a:lnTo>
                      <a:pt x="2480" y="4972"/>
                    </a:lnTo>
                    <a:lnTo>
                      <a:pt x="2476" y="4962"/>
                    </a:lnTo>
                    <a:lnTo>
                      <a:pt x="2472" y="4956"/>
                    </a:lnTo>
                    <a:lnTo>
                      <a:pt x="2468" y="4954"/>
                    </a:lnTo>
                    <a:lnTo>
                      <a:pt x="2460" y="4956"/>
                    </a:lnTo>
                    <a:lnTo>
                      <a:pt x="2460" y="4956"/>
                    </a:lnTo>
                    <a:lnTo>
                      <a:pt x="2456" y="4958"/>
                    </a:lnTo>
                    <a:lnTo>
                      <a:pt x="2452" y="4956"/>
                    </a:lnTo>
                    <a:lnTo>
                      <a:pt x="2450" y="4956"/>
                    </a:lnTo>
                    <a:lnTo>
                      <a:pt x="2446" y="4958"/>
                    </a:lnTo>
                    <a:lnTo>
                      <a:pt x="2446" y="4958"/>
                    </a:lnTo>
                    <a:lnTo>
                      <a:pt x="2440" y="4962"/>
                    </a:lnTo>
                    <a:lnTo>
                      <a:pt x="2440" y="4962"/>
                    </a:lnTo>
                    <a:lnTo>
                      <a:pt x="2442" y="4956"/>
                    </a:lnTo>
                    <a:lnTo>
                      <a:pt x="2446" y="4946"/>
                    </a:lnTo>
                    <a:lnTo>
                      <a:pt x="2446" y="4942"/>
                    </a:lnTo>
                    <a:lnTo>
                      <a:pt x="2442" y="4940"/>
                    </a:lnTo>
                    <a:lnTo>
                      <a:pt x="2442" y="4940"/>
                    </a:lnTo>
                    <a:lnTo>
                      <a:pt x="2438" y="4938"/>
                    </a:lnTo>
                    <a:lnTo>
                      <a:pt x="2436" y="4932"/>
                    </a:lnTo>
                    <a:lnTo>
                      <a:pt x="2430" y="4914"/>
                    </a:lnTo>
                    <a:lnTo>
                      <a:pt x="2428" y="4904"/>
                    </a:lnTo>
                    <a:lnTo>
                      <a:pt x="2426" y="4898"/>
                    </a:lnTo>
                    <a:lnTo>
                      <a:pt x="2422" y="4892"/>
                    </a:lnTo>
                    <a:lnTo>
                      <a:pt x="2420" y="4890"/>
                    </a:lnTo>
                    <a:lnTo>
                      <a:pt x="2416" y="4890"/>
                    </a:lnTo>
                    <a:lnTo>
                      <a:pt x="2416" y="4890"/>
                    </a:lnTo>
                    <a:lnTo>
                      <a:pt x="2410" y="4890"/>
                    </a:lnTo>
                    <a:lnTo>
                      <a:pt x="2404" y="4890"/>
                    </a:lnTo>
                    <a:lnTo>
                      <a:pt x="2394" y="4884"/>
                    </a:lnTo>
                    <a:lnTo>
                      <a:pt x="2390" y="4880"/>
                    </a:lnTo>
                    <a:lnTo>
                      <a:pt x="2388" y="4876"/>
                    </a:lnTo>
                    <a:lnTo>
                      <a:pt x="2388" y="4872"/>
                    </a:lnTo>
                    <a:lnTo>
                      <a:pt x="2388" y="4868"/>
                    </a:lnTo>
                    <a:lnTo>
                      <a:pt x="2388" y="4868"/>
                    </a:lnTo>
                    <a:lnTo>
                      <a:pt x="2390" y="4862"/>
                    </a:lnTo>
                    <a:lnTo>
                      <a:pt x="2392" y="4858"/>
                    </a:lnTo>
                    <a:lnTo>
                      <a:pt x="2390" y="4852"/>
                    </a:lnTo>
                    <a:lnTo>
                      <a:pt x="2390" y="4848"/>
                    </a:lnTo>
                    <a:lnTo>
                      <a:pt x="2392" y="4846"/>
                    </a:lnTo>
                    <a:lnTo>
                      <a:pt x="2396" y="4844"/>
                    </a:lnTo>
                    <a:lnTo>
                      <a:pt x="2396" y="4844"/>
                    </a:lnTo>
                    <a:lnTo>
                      <a:pt x="2400" y="4842"/>
                    </a:lnTo>
                    <a:lnTo>
                      <a:pt x="2402" y="4836"/>
                    </a:lnTo>
                    <a:lnTo>
                      <a:pt x="2402" y="4832"/>
                    </a:lnTo>
                    <a:lnTo>
                      <a:pt x="2400" y="4826"/>
                    </a:lnTo>
                    <a:lnTo>
                      <a:pt x="2396" y="4822"/>
                    </a:lnTo>
                    <a:lnTo>
                      <a:pt x="2392" y="4818"/>
                    </a:lnTo>
                    <a:lnTo>
                      <a:pt x="2386" y="4816"/>
                    </a:lnTo>
                    <a:lnTo>
                      <a:pt x="2380" y="4818"/>
                    </a:lnTo>
                    <a:lnTo>
                      <a:pt x="2380" y="4818"/>
                    </a:lnTo>
                    <a:lnTo>
                      <a:pt x="2376" y="4820"/>
                    </a:lnTo>
                    <a:lnTo>
                      <a:pt x="2374" y="4820"/>
                    </a:lnTo>
                    <a:lnTo>
                      <a:pt x="2372" y="4814"/>
                    </a:lnTo>
                    <a:lnTo>
                      <a:pt x="2372" y="4812"/>
                    </a:lnTo>
                    <a:lnTo>
                      <a:pt x="2368" y="4808"/>
                    </a:lnTo>
                    <a:lnTo>
                      <a:pt x="2364" y="4806"/>
                    </a:lnTo>
                    <a:lnTo>
                      <a:pt x="2356" y="4804"/>
                    </a:lnTo>
                    <a:lnTo>
                      <a:pt x="2356" y="4804"/>
                    </a:lnTo>
                    <a:lnTo>
                      <a:pt x="2348" y="4802"/>
                    </a:lnTo>
                    <a:lnTo>
                      <a:pt x="2342" y="4796"/>
                    </a:lnTo>
                    <a:lnTo>
                      <a:pt x="2340" y="4790"/>
                    </a:lnTo>
                    <a:lnTo>
                      <a:pt x="2338" y="4784"/>
                    </a:lnTo>
                    <a:lnTo>
                      <a:pt x="2336" y="4776"/>
                    </a:lnTo>
                    <a:lnTo>
                      <a:pt x="2332" y="4768"/>
                    </a:lnTo>
                    <a:lnTo>
                      <a:pt x="2324" y="4762"/>
                    </a:lnTo>
                    <a:lnTo>
                      <a:pt x="2314" y="4758"/>
                    </a:lnTo>
                    <a:lnTo>
                      <a:pt x="2314" y="4758"/>
                    </a:lnTo>
                    <a:lnTo>
                      <a:pt x="2308" y="4756"/>
                    </a:lnTo>
                    <a:lnTo>
                      <a:pt x="2304" y="4754"/>
                    </a:lnTo>
                    <a:lnTo>
                      <a:pt x="2302" y="4748"/>
                    </a:lnTo>
                    <a:lnTo>
                      <a:pt x="2300" y="4740"/>
                    </a:lnTo>
                    <a:lnTo>
                      <a:pt x="2298" y="4738"/>
                    </a:lnTo>
                    <a:lnTo>
                      <a:pt x="2296" y="4734"/>
                    </a:lnTo>
                    <a:lnTo>
                      <a:pt x="2296" y="4734"/>
                    </a:lnTo>
                    <a:lnTo>
                      <a:pt x="2288" y="4728"/>
                    </a:lnTo>
                    <a:lnTo>
                      <a:pt x="2284" y="4728"/>
                    </a:lnTo>
                    <a:lnTo>
                      <a:pt x="2282" y="4730"/>
                    </a:lnTo>
                    <a:lnTo>
                      <a:pt x="2282" y="4732"/>
                    </a:lnTo>
                    <a:lnTo>
                      <a:pt x="2282" y="4740"/>
                    </a:lnTo>
                    <a:lnTo>
                      <a:pt x="2282" y="4742"/>
                    </a:lnTo>
                    <a:lnTo>
                      <a:pt x="2280" y="4740"/>
                    </a:lnTo>
                    <a:lnTo>
                      <a:pt x="2280" y="4740"/>
                    </a:lnTo>
                    <a:lnTo>
                      <a:pt x="2274" y="4736"/>
                    </a:lnTo>
                    <a:lnTo>
                      <a:pt x="2270" y="4732"/>
                    </a:lnTo>
                    <a:lnTo>
                      <a:pt x="2266" y="4728"/>
                    </a:lnTo>
                    <a:lnTo>
                      <a:pt x="2262" y="4718"/>
                    </a:lnTo>
                    <a:lnTo>
                      <a:pt x="2262" y="4718"/>
                    </a:lnTo>
                    <a:lnTo>
                      <a:pt x="2258" y="4710"/>
                    </a:lnTo>
                    <a:lnTo>
                      <a:pt x="2254" y="4708"/>
                    </a:lnTo>
                    <a:lnTo>
                      <a:pt x="2252" y="4708"/>
                    </a:lnTo>
                    <a:lnTo>
                      <a:pt x="2248" y="4702"/>
                    </a:lnTo>
                    <a:lnTo>
                      <a:pt x="2248" y="4702"/>
                    </a:lnTo>
                    <a:lnTo>
                      <a:pt x="2242" y="4692"/>
                    </a:lnTo>
                    <a:lnTo>
                      <a:pt x="2234" y="4680"/>
                    </a:lnTo>
                    <a:lnTo>
                      <a:pt x="2222" y="4670"/>
                    </a:lnTo>
                    <a:lnTo>
                      <a:pt x="2214" y="4666"/>
                    </a:lnTo>
                    <a:lnTo>
                      <a:pt x="2208" y="4664"/>
                    </a:lnTo>
                    <a:lnTo>
                      <a:pt x="2208" y="4664"/>
                    </a:lnTo>
                    <a:lnTo>
                      <a:pt x="2204" y="4662"/>
                    </a:lnTo>
                    <a:lnTo>
                      <a:pt x="2200" y="4658"/>
                    </a:lnTo>
                    <a:lnTo>
                      <a:pt x="2196" y="4652"/>
                    </a:lnTo>
                    <a:lnTo>
                      <a:pt x="2192" y="4646"/>
                    </a:lnTo>
                    <a:lnTo>
                      <a:pt x="2190" y="4644"/>
                    </a:lnTo>
                    <a:lnTo>
                      <a:pt x="2186" y="4642"/>
                    </a:lnTo>
                    <a:lnTo>
                      <a:pt x="2186" y="4642"/>
                    </a:lnTo>
                    <a:lnTo>
                      <a:pt x="2182" y="4640"/>
                    </a:lnTo>
                    <a:lnTo>
                      <a:pt x="2180" y="4638"/>
                    </a:lnTo>
                    <a:lnTo>
                      <a:pt x="2180" y="4632"/>
                    </a:lnTo>
                    <a:lnTo>
                      <a:pt x="2178" y="4626"/>
                    </a:lnTo>
                    <a:lnTo>
                      <a:pt x="2176" y="4624"/>
                    </a:lnTo>
                    <a:lnTo>
                      <a:pt x="2174" y="4622"/>
                    </a:lnTo>
                    <a:lnTo>
                      <a:pt x="2174" y="4622"/>
                    </a:lnTo>
                    <a:lnTo>
                      <a:pt x="2170" y="4620"/>
                    </a:lnTo>
                    <a:lnTo>
                      <a:pt x="2168" y="4618"/>
                    </a:lnTo>
                    <a:lnTo>
                      <a:pt x="2166" y="4612"/>
                    </a:lnTo>
                    <a:lnTo>
                      <a:pt x="2166" y="4604"/>
                    </a:lnTo>
                    <a:lnTo>
                      <a:pt x="2162" y="4598"/>
                    </a:lnTo>
                    <a:lnTo>
                      <a:pt x="2158" y="4592"/>
                    </a:lnTo>
                    <a:lnTo>
                      <a:pt x="2158" y="4592"/>
                    </a:lnTo>
                    <a:lnTo>
                      <a:pt x="2150" y="4582"/>
                    </a:lnTo>
                    <a:lnTo>
                      <a:pt x="2146" y="4582"/>
                    </a:lnTo>
                    <a:lnTo>
                      <a:pt x="2146" y="4584"/>
                    </a:lnTo>
                    <a:lnTo>
                      <a:pt x="2142" y="4586"/>
                    </a:lnTo>
                    <a:lnTo>
                      <a:pt x="2138" y="4586"/>
                    </a:lnTo>
                    <a:lnTo>
                      <a:pt x="2134" y="4584"/>
                    </a:lnTo>
                    <a:lnTo>
                      <a:pt x="2134" y="4584"/>
                    </a:lnTo>
                    <a:lnTo>
                      <a:pt x="2130" y="4582"/>
                    </a:lnTo>
                    <a:lnTo>
                      <a:pt x="2128" y="4580"/>
                    </a:lnTo>
                    <a:lnTo>
                      <a:pt x="2122" y="4582"/>
                    </a:lnTo>
                    <a:lnTo>
                      <a:pt x="2114" y="4584"/>
                    </a:lnTo>
                    <a:lnTo>
                      <a:pt x="2108" y="4584"/>
                    </a:lnTo>
                    <a:lnTo>
                      <a:pt x="2098" y="4584"/>
                    </a:lnTo>
                    <a:lnTo>
                      <a:pt x="2098" y="4584"/>
                    </a:lnTo>
                    <a:lnTo>
                      <a:pt x="2088" y="4580"/>
                    </a:lnTo>
                    <a:lnTo>
                      <a:pt x="2086" y="4578"/>
                    </a:lnTo>
                    <a:lnTo>
                      <a:pt x="2084" y="4576"/>
                    </a:lnTo>
                    <a:lnTo>
                      <a:pt x="2082" y="4572"/>
                    </a:lnTo>
                    <a:lnTo>
                      <a:pt x="2078" y="4568"/>
                    </a:lnTo>
                    <a:lnTo>
                      <a:pt x="2070" y="4566"/>
                    </a:lnTo>
                    <a:lnTo>
                      <a:pt x="2070" y="4566"/>
                    </a:lnTo>
                    <a:lnTo>
                      <a:pt x="2062" y="4564"/>
                    </a:lnTo>
                    <a:lnTo>
                      <a:pt x="2058" y="4566"/>
                    </a:lnTo>
                    <a:lnTo>
                      <a:pt x="2056" y="4570"/>
                    </a:lnTo>
                    <a:lnTo>
                      <a:pt x="2056" y="4576"/>
                    </a:lnTo>
                    <a:lnTo>
                      <a:pt x="2058" y="4584"/>
                    </a:lnTo>
                    <a:lnTo>
                      <a:pt x="2060" y="4594"/>
                    </a:lnTo>
                    <a:lnTo>
                      <a:pt x="2070" y="4612"/>
                    </a:lnTo>
                    <a:lnTo>
                      <a:pt x="2070" y="4612"/>
                    </a:lnTo>
                    <a:lnTo>
                      <a:pt x="2080" y="4626"/>
                    </a:lnTo>
                    <a:lnTo>
                      <a:pt x="2086" y="4634"/>
                    </a:lnTo>
                    <a:lnTo>
                      <a:pt x="2094" y="4640"/>
                    </a:lnTo>
                    <a:lnTo>
                      <a:pt x="2102" y="4650"/>
                    </a:lnTo>
                    <a:lnTo>
                      <a:pt x="2102" y="4650"/>
                    </a:lnTo>
                    <a:lnTo>
                      <a:pt x="2104" y="4654"/>
                    </a:lnTo>
                    <a:lnTo>
                      <a:pt x="2108" y="4658"/>
                    </a:lnTo>
                    <a:lnTo>
                      <a:pt x="2114" y="4658"/>
                    </a:lnTo>
                    <a:lnTo>
                      <a:pt x="2116" y="4658"/>
                    </a:lnTo>
                    <a:lnTo>
                      <a:pt x="2120" y="4660"/>
                    </a:lnTo>
                    <a:lnTo>
                      <a:pt x="2124" y="4664"/>
                    </a:lnTo>
                    <a:lnTo>
                      <a:pt x="2130" y="4672"/>
                    </a:lnTo>
                    <a:lnTo>
                      <a:pt x="2130" y="4672"/>
                    </a:lnTo>
                    <a:lnTo>
                      <a:pt x="2138" y="4686"/>
                    </a:lnTo>
                    <a:lnTo>
                      <a:pt x="2138" y="4690"/>
                    </a:lnTo>
                    <a:lnTo>
                      <a:pt x="2138" y="4692"/>
                    </a:lnTo>
                    <a:lnTo>
                      <a:pt x="2146" y="4698"/>
                    </a:lnTo>
                    <a:lnTo>
                      <a:pt x="2146" y="4698"/>
                    </a:lnTo>
                    <a:lnTo>
                      <a:pt x="2152" y="4702"/>
                    </a:lnTo>
                    <a:lnTo>
                      <a:pt x="2154" y="4706"/>
                    </a:lnTo>
                    <a:lnTo>
                      <a:pt x="2154" y="4716"/>
                    </a:lnTo>
                    <a:lnTo>
                      <a:pt x="2156" y="4720"/>
                    </a:lnTo>
                    <a:lnTo>
                      <a:pt x="2158" y="4724"/>
                    </a:lnTo>
                    <a:lnTo>
                      <a:pt x="2162" y="4730"/>
                    </a:lnTo>
                    <a:lnTo>
                      <a:pt x="2172" y="4736"/>
                    </a:lnTo>
                    <a:lnTo>
                      <a:pt x="2172" y="4736"/>
                    </a:lnTo>
                    <a:lnTo>
                      <a:pt x="2182" y="4742"/>
                    </a:lnTo>
                    <a:lnTo>
                      <a:pt x="2192" y="4748"/>
                    </a:lnTo>
                    <a:lnTo>
                      <a:pt x="2198" y="4756"/>
                    </a:lnTo>
                    <a:lnTo>
                      <a:pt x="2200" y="4760"/>
                    </a:lnTo>
                    <a:lnTo>
                      <a:pt x="2200" y="4762"/>
                    </a:lnTo>
                    <a:lnTo>
                      <a:pt x="2200" y="4762"/>
                    </a:lnTo>
                    <a:lnTo>
                      <a:pt x="2198" y="4766"/>
                    </a:lnTo>
                    <a:lnTo>
                      <a:pt x="2198" y="4772"/>
                    </a:lnTo>
                    <a:lnTo>
                      <a:pt x="2206" y="4794"/>
                    </a:lnTo>
                    <a:lnTo>
                      <a:pt x="2206" y="4794"/>
                    </a:lnTo>
                    <a:lnTo>
                      <a:pt x="2214" y="4820"/>
                    </a:lnTo>
                    <a:lnTo>
                      <a:pt x="2218" y="4828"/>
                    </a:lnTo>
                    <a:lnTo>
                      <a:pt x="2226" y="4834"/>
                    </a:lnTo>
                    <a:lnTo>
                      <a:pt x="2226" y="4834"/>
                    </a:lnTo>
                    <a:lnTo>
                      <a:pt x="2234" y="4838"/>
                    </a:lnTo>
                    <a:lnTo>
                      <a:pt x="2236" y="4844"/>
                    </a:lnTo>
                    <a:lnTo>
                      <a:pt x="2240" y="4854"/>
                    </a:lnTo>
                    <a:lnTo>
                      <a:pt x="2254" y="4870"/>
                    </a:lnTo>
                    <a:lnTo>
                      <a:pt x="2254" y="4870"/>
                    </a:lnTo>
                    <a:lnTo>
                      <a:pt x="2260" y="4876"/>
                    </a:lnTo>
                    <a:lnTo>
                      <a:pt x="2262" y="4882"/>
                    </a:lnTo>
                    <a:lnTo>
                      <a:pt x="2264" y="4886"/>
                    </a:lnTo>
                    <a:lnTo>
                      <a:pt x="2264" y="4890"/>
                    </a:lnTo>
                    <a:lnTo>
                      <a:pt x="2262" y="4898"/>
                    </a:lnTo>
                    <a:lnTo>
                      <a:pt x="2264" y="4900"/>
                    </a:lnTo>
                    <a:lnTo>
                      <a:pt x="2266" y="4904"/>
                    </a:lnTo>
                    <a:lnTo>
                      <a:pt x="2266" y="4904"/>
                    </a:lnTo>
                    <a:lnTo>
                      <a:pt x="2274" y="4912"/>
                    </a:lnTo>
                    <a:lnTo>
                      <a:pt x="2278" y="4922"/>
                    </a:lnTo>
                    <a:lnTo>
                      <a:pt x="2282" y="4934"/>
                    </a:lnTo>
                    <a:lnTo>
                      <a:pt x="2284" y="4946"/>
                    </a:lnTo>
                    <a:lnTo>
                      <a:pt x="2284" y="4946"/>
                    </a:lnTo>
                    <a:lnTo>
                      <a:pt x="2290" y="4960"/>
                    </a:lnTo>
                    <a:lnTo>
                      <a:pt x="2300" y="4976"/>
                    </a:lnTo>
                    <a:lnTo>
                      <a:pt x="2312" y="4992"/>
                    </a:lnTo>
                    <a:lnTo>
                      <a:pt x="2326" y="5008"/>
                    </a:lnTo>
                    <a:lnTo>
                      <a:pt x="2326" y="5008"/>
                    </a:lnTo>
                    <a:lnTo>
                      <a:pt x="2336" y="5018"/>
                    </a:lnTo>
                    <a:lnTo>
                      <a:pt x="2342" y="5028"/>
                    </a:lnTo>
                    <a:lnTo>
                      <a:pt x="2350" y="5038"/>
                    </a:lnTo>
                    <a:lnTo>
                      <a:pt x="2364" y="5054"/>
                    </a:lnTo>
                    <a:lnTo>
                      <a:pt x="2364" y="5054"/>
                    </a:lnTo>
                    <a:lnTo>
                      <a:pt x="2380" y="5072"/>
                    </a:lnTo>
                    <a:lnTo>
                      <a:pt x="2394" y="5084"/>
                    </a:lnTo>
                    <a:lnTo>
                      <a:pt x="2404" y="5094"/>
                    </a:lnTo>
                    <a:lnTo>
                      <a:pt x="2416" y="5108"/>
                    </a:lnTo>
                    <a:lnTo>
                      <a:pt x="2416" y="5108"/>
                    </a:lnTo>
                    <a:lnTo>
                      <a:pt x="2426" y="5122"/>
                    </a:lnTo>
                    <a:lnTo>
                      <a:pt x="2434" y="5132"/>
                    </a:lnTo>
                    <a:lnTo>
                      <a:pt x="2436" y="5134"/>
                    </a:lnTo>
                    <a:lnTo>
                      <a:pt x="2438" y="5134"/>
                    </a:lnTo>
                    <a:lnTo>
                      <a:pt x="2434" y="5120"/>
                    </a:lnTo>
                    <a:lnTo>
                      <a:pt x="2434" y="5120"/>
                    </a:lnTo>
                    <a:lnTo>
                      <a:pt x="2434" y="5112"/>
                    </a:lnTo>
                    <a:lnTo>
                      <a:pt x="2434" y="5110"/>
                    </a:lnTo>
                    <a:lnTo>
                      <a:pt x="2438" y="5112"/>
                    </a:lnTo>
                    <a:lnTo>
                      <a:pt x="2444" y="5114"/>
                    </a:lnTo>
                    <a:lnTo>
                      <a:pt x="2450" y="5118"/>
                    </a:lnTo>
                    <a:lnTo>
                      <a:pt x="2454" y="5120"/>
                    </a:lnTo>
                    <a:lnTo>
                      <a:pt x="2458" y="5118"/>
                    </a:lnTo>
                    <a:lnTo>
                      <a:pt x="2460" y="5114"/>
                    </a:lnTo>
                    <a:lnTo>
                      <a:pt x="2460" y="5114"/>
                    </a:lnTo>
                    <a:lnTo>
                      <a:pt x="2462" y="5108"/>
                    </a:lnTo>
                    <a:lnTo>
                      <a:pt x="2464" y="5108"/>
                    </a:lnTo>
                    <a:lnTo>
                      <a:pt x="2470" y="5116"/>
                    </a:lnTo>
                    <a:lnTo>
                      <a:pt x="2476" y="5126"/>
                    </a:lnTo>
                    <a:lnTo>
                      <a:pt x="2480" y="5128"/>
                    </a:lnTo>
                    <a:lnTo>
                      <a:pt x="2484" y="5128"/>
                    </a:lnTo>
                    <a:lnTo>
                      <a:pt x="2484" y="5128"/>
                    </a:lnTo>
                    <a:close/>
                    <a:moveTo>
                      <a:pt x="2344" y="4774"/>
                    </a:moveTo>
                    <a:lnTo>
                      <a:pt x="2344" y="4774"/>
                    </a:lnTo>
                    <a:lnTo>
                      <a:pt x="2340" y="4772"/>
                    </a:lnTo>
                    <a:lnTo>
                      <a:pt x="2338" y="4772"/>
                    </a:lnTo>
                    <a:lnTo>
                      <a:pt x="2338" y="4774"/>
                    </a:lnTo>
                    <a:lnTo>
                      <a:pt x="2338" y="4776"/>
                    </a:lnTo>
                    <a:lnTo>
                      <a:pt x="2340" y="4784"/>
                    </a:lnTo>
                    <a:lnTo>
                      <a:pt x="2344" y="4792"/>
                    </a:lnTo>
                    <a:lnTo>
                      <a:pt x="2344" y="4792"/>
                    </a:lnTo>
                    <a:lnTo>
                      <a:pt x="2346" y="4792"/>
                    </a:lnTo>
                    <a:lnTo>
                      <a:pt x="2346" y="4792"/>
                    </a:lnTo>
                    <a:lnTo>
                      <a:pt x="2348" y="4788"/>
                    </a:lnTo>
                    <a:lnTo>
                      <a:pt x="2348" y="4780"/>
                    </a:lnTo>
                    <a:lnTo>
                      <a:pt x="2346" y="4776"/>
                    </a:lnTo>
                    <a:lnTo>
                      <a:pt x="2344" y="4774"/>
                    </a:lnTo>
                    <a:lnTo>
                      <a:pt x="2344" y="4774"/>
                    </a:lnTo>
                    <a:close/>
                    <a:moveTo>
                      <a:pt x="2374" y="4792"/>
                    </a:moveTo>
                    <a:lnTo>
                      <a:pt x="2374" y="4792"/>
                    </a:lnTo>
                    <a:lnTo>
                      <a:pt x="2372" y="4786"/>
                    </a:lnTo>
                    <a:lnTo>
                      <a:pt x="2366" y="4784"/>
                    </a:lnTo>
                    <a:lnTo>
                      <a:pt x="2360" y="4782"/>
                    </a:lnTo>
                    <a:lnTo>
                      <a:pt x="2358" y="4782"/>
                    </a:lnTo>
                    <a:lnTo>
                      <a:pt x="2358" y="4784"/>
                    </a:lnTo>
                    <a:lnTo>
                      <a:pt x="2358" y="4784"/>
                    </a:lnTo>
                    <a:lnTo>
                      <a:pt x="2358" y="4788"/>
                    </a:lnTo>
                    <a:lnTo>
                      <a:pt x="2364" y="4790"/>
                    </a:lnTo>
                    <a:lnTo>
                      <a:pt x="2364" y="4790"/>
                    </a:lnTo>
                    <a:lnTo>
                      <a:pt x="2372" y="4794"/>
                    </a:lnTo>
                    <a:lnTo>
                      <a:pt x="2374" y="4794"/>
                    </a:lnTo>
                    <a:lnTo>
                      <a:pt x="2374" y="4792"/>
                    </a:lnTo>
                    <a:lnTo>
                      <a:pt x="2374" y="4792"/>
                    </a:lnTo>
                    <a:close/>
                    <a:moveTo>
                      <a:pt x="2316" y="4736"/>
                    </a:moveTo>
                    <a:lnTo>
                      <a:pt x="2316" y="4736"/>
                    </a:lnTo>
                    <a:lnTo>
                      <a:pt x="2312" y="4736"/>
                    </a:lnTo>
                    <a:lnTo>
                      <a:pt x="2310" y="4736"/>
                    </a:lnTo>
                    <a:lnTo>
                      <a:pt x="2306" y="4740"/>
                    </a:lnTo>
                    <a:lnTo>
                      <a:pt x="2306" y="4746"/>
                    </a:lnTo>
                    <a:lnTo>
                      <a:pt x="2308" y="4750"/>
                    </a:lnTo>
                    <a:lnTo>
                      <a:pt x="2310" y="4752"/>
                    </a:lnTo>
                    <a:lnTo>
                      <a:pt x="2310" y="4752"/>
                    </a:lnTo>
                    <a:lnTo>
                      <a:pt x="2312" y="4752"/>
                    </a:lnTo>
                    <a:lnTo>
                      <a:pt x="2314" y="4752"/>
                    </a:lnTo>
                    <a:lnTo>
                      <a:pt x="2318" y="4746"/>
                    </a:lnTo>
                    <a:lnTo>
                      <a:pt x="2318" y="4740"/>
                    </a:lnTo>
                    <a:lnTo>
                      <a:pt x="2318" y="4736"/>
                    </a:lnTo>
                    <a:lnTo>
                      <a:pt x="2316" y="4736"/>
                    </a:lnTo>
                    <a:lnTo>
                      <a:pt x="2316" y="4736"/>
                    </a:lnTo>
                    <a:close/>
                    <a:moveTo>
                      <a:pt x="36" y="5458"/>
                    </a:moveTo>
                    <a:lnTo>
                      <a:pt x="36" y="5458"/>
                    </a:lnTo>
                    <a:lnTo>
                      <a:pt x="32" y="5458"/>
                    </a:lnTo>
                    <a:lnTo>
                      <a:pt x="30" y="5460"/>
                    </a:lnTo>
                    <a:lnTo>
                      <a:pt x="32" y="5464"/>
                    </a:lnTo>
                    <a:lnTo>
                      <a:pt x="36" y="5470"/>
                    </a:lnTo>
                    <a:lnTo>
                      <a:pt x="36" y="5470"/>
                    </a:lnTo>
                    <a:lnTo>
                      <a:pt x="38" y="5472"/>
                    </a:lnTo>
                    <a:lnTo>
                      <a:pt x="40" y="5472"/>
                    </a:lnTo>
                    <a:lnTo>
                      <a:pt x="40" y="5468"/>
                    </a:lnTo>
                    <a:lnTo>
                      <a:pt x="40" y="5462"/>
                    </a:lnTo>
                    <a:lnTo>
                      <a:pt x="36" y="5458"/>
                    </a:lnTo>
                    <a:lnTo>
                      <a:pt x="36" y="5458"/>
                    </a:lnTo>
                    <a:close/>
                    <a:moveTo>
                      <a:pt x="2554" y="4992"/>
                    </a:moveTo>
                    <a:lnTo>
                      <a:pt x="2554" y="4992"/>
                    </a:lnTo>
                    <a:lnTo>
                      <a:pt x="2558" y="4998"/>
                    </a:lnTo>
                    <a:lnTo>
                      <a:pt x="2560" y="4998"/>
                    </a:lnTo>
                    <a:lnTo>
                      <a:pt x="2562" y="4996"/>
                    </a:lnTo>
                    <a:lnTo>
                      <a:pt x="2562" y="4996"/>
                    </a:lnTo>
                    <a:lnTo>
                      <a:pt x="2564" y="4994"/>
                    </a:lnTo>
                    <a:lnTo>
                      <a:pt x="2566" y="4994"/>
                    </a:lnTo>
                    <a:lnTo>
                      <a:pt x="2570" y="4994"/>
                    </a:lnTo>
                    <a:lnTo>
                      <a:pt x="2574" y="4994"/>
                    </a:lnTo>
                    <a:lnTo>
                      <a:pt x="2578" y="4988"/>
                    </a:lnTo>
                    <a:lnTo>
                      <a:pt x="2578" y="4988"/>
                    </a:lnTo>
                    <a:lnTo>
                      <a:pt x="2582" y="4980"/>
                    </a:lnTo>
                    <a:lnTo>
                      <a:pt x="2582" y="4976"/>
                    </a:lnTo>
                    <a:lnTo>
                      <a:pt x="2580" y="4974"/>
                    </a:lnTo>
                    <a:lnTo>
                      <a:pt x="2576" y="4968"/>
                    </a:lnTo>
                    <a:lnTo>
                      <a:pt x="2568" y="4964"/>
                    </a:lnTo>
                    <a:lnTo>
                      <a:pt x="2568" y="4964"/>
                    </a:lnTo>
                    <a:lnTo>
                      <a:pt x="2562" y="4962"/>
                    </a:lnTo>
                    <a:lnTo>
                      <a:pt x="2558" y="4964"/>
                    </a:lnTo>
                    <a:lnTo>
                      <a:pt x="2556" y="4968"/>
                    </a:lnTo>
                    <a:lnTo>
                      <a:pt x="2554" y="4972"/>
                    </a:lnTo>
                    <a:lnTo>
                      <a:pt x="2552" y="4982"/>
                    </a:lnTo>
                    <a:lnTo>
                      <a:pt x="2552" y="4988"/>
                    </a:lnTo>
                    <a:lnTo>
                      <a:pt x="2554" y="4992"/>
                    </a:lnTo>
                    <a:lnTo>
                      <a:pt x="2554" y="4992"/>
                    </a:lnTo>
                    <a:close/>
                    <a:moveTo>
                      <a:pt x="8" y="5430"/>
                    </a:moveTo>
                    <a:lnTo>
                      <a:pt x="8" y="5430"/>
                    </a:lnTo>
                    <a:lnTo>
                      <a:pt x="6" y="5434"/>
                    </a:lnTo>
                    <a:lnTo>
                      <a:pt x="6" y="5436"/>
                    </a:lnTo>
                    <a:lnTo>
                      <a:pt x="6" y="5440"/>
                    </a:lnTo>
                    <a:lnTo>
                      <a:pt x="10" y="5444"/>
                    </a:lnTo>
                    <a:lnTo>
                      <a:pt x="14" y="5442"/>
                    </a:lnTo>
                    <a:lnTo>
                      <a:pt x="14" y="5442"/>
                    </a:lnTo>
                    <a:lnTo>
                      <a:pt x="14" y="5438"/>
                    </a:lnTo>
                    <a:lnTo>
                      <a:pt x="14" y="5434"/>
                    </a:lnTo>
                    <a:lnTo>
                      <a:pt x="12" y="5430"/>
                    </a:lnTo>
                    <a:lnTo>
                      <a:pt x="10" y="5430"/>
                    </a:lnTo>
                    <a:lnTo>
                      <a:pt x="8" y="5430"/>
                    </a:lnTo>
                    <a:lnTo>
                      <a:pt x="8" y="5430"/>
                    </a:lnTo>
                    <a:close/>
                    <a:moveTo>
                      <a:pt x="3222" y="4178"/>
                    </a:moveTo>
                    <a:lnTo>
                      <a:pt x="3222" y="4178"/>
                    </a:lnTo>
                    <a:lnTo>
                      <a:pt x="3224" y="4178"/>
                    </a:lnTo>
                    <a:lnTo>
                      <a:pt x="3228" y="4176"/>
                    </a:lnTo>
                    <a:lnTo>
                      <a:pt x="3232" y="4172"/>
                    </a:lnTo>
                    <a:lnTo>
                      <a:pt x="3234" y="4166"/>
                    </a:lnTo>
                    <a:lnTo>
                      <a:pt x="3234" y="4166"/>
                    </a:lnTo>
                    <a:lnTo>
                      <a:pt x="3232" y="4162"/>
                    </a:lnTo>
                    <a:lnTo>
                      <a:pt x="3232" y="4160"/>
                    </a:lnTo>
                    <a:lnTo>
                      <a:pt x="3230" y="4160"/>
                    </a:lnTo>
                    <a:lnTo>
                      <a:pt x="3228" y="4156"/>
                    </a:lnTo>
                    <a:lnTo>
                      <a:pt x="3228" y="4156"/>
                    </a:lnTo>
                    <a:lnTo>
                      <a:pt x="3226" y="4152"/>
                    </a:lnTo>
                    <a:lnTo>
                      <a:pt x="3224" y="4150"/>
                    </a:lnTo>
                    <a:lnTo>
                      <a:pt x="3222" y="4154"/>
                    </a:lnTo>
                    <a:lnTo>
                      <a:pt x="3222" y="4160"/>
                    </a:lnTo>
                    <a:lnTo>
                      <a:pt x="3222" y="4160"/>
                    </a:lnTo>
                    <a:lnTo>
                      <a:pt x="3222" y="4168"/>
                    </a:lnTo>
                    <a:lnTo>
                      <a:pt x="3220" y="4172"/>
                    </a:lnTo>
                    <a:lnTo>
                      <a:pt x="3218" y="4174"/>
                    </a:lnTo>
                    <a:lnTo>
                      <a:pt x="3222" y="4178"/>
                    </a:lnTo>
                    <a:lnTo>
                      <a:pt x="3222" y="4178"/>
                    </a:lnTo>
                    <a:close/>
                    <a:moveTo>
                      <a:pt x="3526" y="3176"/>
                    </a:moveTo>
                    <a:lnTo>
                      <a:pt x="3526" y="3176"/>
                    </a:lnTo>
                    <a:lnTo>
                      <a:pt x="3522" y="3176"/>
                    </a:lnTo>
                    <a:lnTo>
                      <a:pt x="3520" y="3174"/>
                    </a:lnTo>
                    <a:lnTo>
                      <a:pt x="3522" y="3168"/>
                    </a:lnTo>
                    <a:lnTo>
                      <a:pt x="3526" y="3162"/>
                    </a:lnTo>
                    <a:lnTo>
                      <a:pt x="3526" y="3158"/>
                    </a:lnTo>
                    <a:lnTo>
                      <a:pt x="3526" y="3154"/>
                    </a:lnTo>
                    <a:lnTo>
                      <a:pt x="3526" y="3154"/>
                    </a:lnTo>
                    <a:lnTo>
                      <a:pt x="3522" y="3152"/>
                    </a:lnTo>
                    <a:lnTo>
                      <a:pt x="3518" y="3152"/>
                    </a:lnTo>
                    <a:lnTo>
                      <a:pt x="3510" y="3156"/>
                    </a:lnTo>
                    <a:lnTo>
                      <a:pt x="3506" y="3156"/>
                    </a:lnTo>
                    <a:lnTo>
                      <a:pt x="3504" y="3156"/>
                    </a:lnTo>
                    <a:lnTo>
                      <a:pt x="3500" y="3154"/>
                    </a:lnTo>
                    <a:lnTo>
                      <a:pt x="3500" y="3148"/>
                    </a:lnTo>
                    <a:lnTo>
                      <a:pt x="3500" y="3148"/>
                    </a:lnTo>
                    <a:lnTo>
                      <a:pt x="3498" y="3146"/>
                    </a:lnTo>
                    <a:lnTo>
                      <a:pt x="3496" y="3142"/>
                    </a:lnTo>
                    <a:lnTo>
                      <a:pt x="3490" y="3140"/>
                    </a:lnTo>
                    <a:lnTo>
                      <a:pt x="3486" y="3140"/>
                    </a:lnTo>
                    <a:lnTo>
                      <a:pt x="3482" y="3140"/>
                    </a:lnTo>
                    <a:lnTo>
                      <a:pt x="3478" y="3144"/>
                    </a:lnTo>
                    <a:lnTo>
                      <a:pt x="3476" y="3148"/>
                    </a:lnTo>
                    <a:lnTo>
                      <a:pt x="3476" y="3148"/>
                    </a:lnTo>
                    <a:lnTo>
                      <a:pt x="3474" y="3154"/>
                    </a:lnTo>
                    <a:lnTo>
                      <a:pt x="3470" y="3154"/>
                    </a:lnTo>
                    <a:lnTo>
                      <a:pt x="3466" y="3154"/>
                    </a:lnTo>
                    <a:lnTo>
                      <a:pt x="3464" y="3160"/>
                    </a:lnTo>
                    <a:lnTo>
                      <a:pt x="3464" y="3160"/>
                    </a:lnTo>
                    <a:lnTo>
                      <a:pt x="3462" y="3164"/>
                    </a:lnTo>
                    <a:lnTo>
                      <a:pt x="3460" y="3164"/>
                    </a:lnTo>
                    <a:lnTo>
                      <a:pt x="3456" y="3160"/>
                    </a:lnTo>
                    <a:lnTo>
                      <a:pt x="3454" y="3158"/>
                    </a:lnTo>
                    <a:lnTo>
                      <a:pt x="3452" y="3164"/>
                    </a:lnTo>
                    <a:lnTo>
                      <a:pt x="3452" y="3164"/>
                    </a:lnTo>
                    <a:lnTo>
                      <a:pt x="3452" y="3168"/>
                    </a:lnTo>
                    <a:lnTo>
                      <a:pt x="3448" y="3170"/>
                    </a:lnTo>
                    <a:lnTo>
                      <a:pt x="3444" y="3168"/>
                    </a:lnTo>
                    <a:lnTo>
                      <a:pt x="3440" y="3168"/>
                    </a:lnTo>
                    <a:lnTo>
                      <a:pt x="3442" y="3174"/>
                    </a:lnTo>
                    <a:lnTo>
                      <a:pt x="3442" y="3174"/>
                    </a:lnTo>
                    <a:lnTo>
                      <a:pt x="3444" y="3182"/>
                    </a:lnTo>
                    <a:lnTo>
                      <a:pt x="3444" y="3186"/>
                    </a:lnTo>
                    <a:lnTo>
                      <a:pt x="3444" y="3190"/>
                    </a:lnTo>
                    <a:lnTo>
                      <a:pt x="3446" y="3196"/>
                    </a:lnTo>
                    <a:lnTo>
                      <a:pt x="3446" y="3196"/>
                    </a:lnTo>
                    <a:lnTo>
                      <a:pt x="3448" y="3200"/>
                    </a:lnTo>
                    <a:lnTo>
                      <a:pt x="3450" y="3204"/>
                    </a:lnTo>
                    <a:lnTo>
                      <a:pt x="3450" y="3210"/>
                    </a:lnTo>
                    <a:lnTo>
                      <a:pt x="3450" y="3210"/>
                    </a:lnTo>
                    <a:lnTo>
                      <a:pt x="3450" y="3210"/>
                    </a:lnTo>
                    <a:lnTo>
                      <a:pt x="3456" y="3204"/>
                    </a:lnTo>
                    <a:lnTo>
                      <a:pt x="3456" y="3204"/>
                    </a:lnTo>
                    <a:lnTo>
                      <a:pt x="3460" y="3202"/>
                    </a:lnTo>
                    <a:lnTo>
                      <a:pt x="3464" y="3200"/>
                    </a:lnTo>
                    <a:lnTo>
                      <a:pt x="3464" y="3202"/>
                    </a:lnTo>
                    <a:lnTo>
                      <a:pt x="3464" y="3204"/>
                    </a:lnTo>
                    <a:lnTo>
                      <a:pt x="3466" y="3208"/>
                    </a:lnTo>
                    <a:lnTo>
                      <a:pt x="3468" y="3208"/>
                    </a:lnTo>
                    <a:lnTo>
                      <a:pt x="3472" y="3206"/>
                    </a:lnTo>
                    <a:lnTo>
                      <a:pt x="3472" y="3206"/>
                    </a:lnTo>
                    <a:lnTo>
                      <a:pt x="3474" y="3204"/>
                    </a:lnTo>
                    <a:lnTo>
                      <a:pt x="3474" y="3200"/>
                    </a:lnTo>
                    <a:lnTo>
                      <a:pt x="3472" y="3198"/>
                    </a:lnTo>
                    <a:lnTo>
                      <a:pt x="3468" y="3194"/>
                    </a:lnTo>
                    <a:lnTo>
                      <a:pt x="3468" y="3194"/>
                    </a:lnTo>
                    <a:lnTo>
                      <a:pt x="3466" y="3192"/>
                    </a:lnTo>
                    <a:lnTo>
                      <a:pt x="3464" y="3188"/>
                    </a:lnTo>
                    <a:lnTo>
                      <a:pt x="3466" y="3182"/>
                    </a:lnTo>
                    <a:lnTo>
                      <a:pt x="3466" y="3180"/>
                    </a:lnTo>
                    <a:lnTo>
                      <a:pt x="3468" y="3180"/>
                    </a:lnTo>
                    <a:lnTo>
                      <a:pt x="3470" y="3182"/>
                    </a:lnTo>
                    <a:lnTo>
                      <a:pt x="3474" y="3186"/>
                    </a:lnTo>
                    <a:lnTo>
                      <a:pt x="3474" y="3186"/>
                    </a:lnTo>
                    <a:lnTo>
                      <a:pt x="3480" y="3196"/>
                    </a:lnTo>
                    <a:lnTo>
                      <a:pt x="3482" y="3208"/>
                    </a:lnTo>
                    <a:lnTo>
                      <a:pt x="3480" y="3218"/>
                    </a:lnTo>
                    <a:lnTo>
                      <a:pt x="3474" y="3228"/>
                    </a:lnTo>
                    <a:lnTo>
                      <a:pt x="3474" y="3228"/>
                    </a:lnTo>
                    <a:lnTo>
                      <a:pt x="3468" y="3236"/>
                    </a:lnTo>
                    <a:lnTo>
                      <a:pt x="3466" y="3242"/>
                    </a:lnTo>
                    <a:lnTo>
                      <a:pt x="3470" y="3258"/>
                    </a:lnTo>
                    <a:lnTo>
                      <a:pt x="3470" y="3258"/>
                    </a:lnTo>
                    <a:lnTo>
                      <a:pt x="3470" y="3266"/>
                    </a:lnTo>
                    <a:lnTo>
                      <a:pt x="3468" y="3270"/>
                    </a:lnTo>
                    <a:lnTo>
                      <a:pt x="3466" y="3274"/>
                    </a:lnTo>
                    <a:lnTo>
                      <a:pt x="3466" y="3276"/>
                    </a:lnTo>
                    <a:lnTo>
                      <a:pt x="3466" y="3276"/>
                    </a:lnTo>
                    <a:lnTo>
                      <a:pt x="3476" y="3280"/>
                    </a:lnTo>
                    <a:lnTo>
                      <a:pt x="3476" y="3280"/>
                    </a:lnTo>
                    <a:lnTo>
                      <a:pt x="3482" y="3282"/>
                    </a:lnTo>
                    <a:lnTo>
                      <a:pt x="3486" y="3286"/>
                    </a:lnTo>
                    <a:lnTo>
                      <a:pt x="3486" y="3290"/>
                    </a:lnTo>
                    <a:lnTo>
                      <a:pt x="3486" y="3292"/>
                    </a:lnTo>
                    <a:lnTo>
                      <a:pt x="3488" y="3292"/>
                    </a:lnTo>
                    <a:lnTo>
                      <a:pt x="3496" y="3288"/>
                    </a:lnTo>
                    <a:lnTo>
                      <a:pt x="3496" y="3288"/>
                    </a:lnTo>
                    <a:lnTo>
                      <a:pt x="3500" y="3284"/>
                    </a:lnTo>
                    <a:lnTo>
                      <a:pt x="3502" y="3280"/>
                    </a:lnTo>
                    <a:lnTo>
                      <a:pt x="3502" y="3278"/>
                    </a:lnTo>
                    <a:lnTo>
                      <a:pt x="3502" y="3276"/>
                    </a:lnTo>
                    <a:lnTo>
                      <a:pt x="3500" y="3272"/>
                    </a:lnTo>
                    <a:lnTo>
                      <a:pt x="3500" y="3272"/>
                    </a:lnTo>
                    <a:lnTo>
                      <a:pt x="3502" y="3270"/>
                    </a:lnTo>
                    <a:lnTo>
                      <a:pt x="3502" y="3270"/>
                    </a:lnTo>
                    <a:lnTo>
                      <a:pt x="3506" y="3268"/>
                    </a:lnTo>
                    <a:lnTo>
                      <a:pt x="3508" y="3270"/>
                    </a:lnTo>
                    <a:lnTo>
                      <a:pt x="3510" y="3274"/>
                    </a:lnTo>
                    <a:lnTo>
                      <a:pt x="3514" y="3272"/>
                    </a:lnTo>
                    <a:lnTo>
                      <a:pt x="3514" y="3272"/>
                    </a:lnTo>
                    <a:lnTo>
                      <a:pt x="3516" y="3268"/>
                    </a:lnTo>
                    <a:lnTo>
                      <a:pt x="3518" y="3260"/>
                    </a:lnTo>
                    <a:lnTo>
                      <a:pt x="3522" y="3236"/>
                    </a:lnTo>
                    <a:lnTo>
                      <a:pt x="3528" y="3212"/>
                    </a:lnTo>
                    <a:lnTo>
                      <a:pt x="3532" y="3202"/>
                    </a:lnTo>
                    <a:lnTo>
                      <a:pt x="3534" y="3200"/>
                    </a:lnTo>
                    <a:lnTo>
                      <a:pt x="3538" y="3198"/>
                    </a:lnTo>
                    <a:lnTo>
                      <a:pt x="3538" y="3198"/>
                    </a:lnTo>
                    <a:lnTo>
                      <a:pt x="3540" y="3196"/>
                    </a:lnTo>
                    <a:lnTo>
                      <a:pt x="3542" y="3194"/>
                    </a:lnTo>
                    <a:lnTo>
                      <a:pt x="3540" y="3186"/>
                    </a:lnTo>
                    <a:lnTo>
                      <a:pt x="3534" y="3180"/>
                    </a:lnTo>
                    <a:lnTo>
                      <a:pt x="3530" y="3178"/>
                    </a:lnTo>
                    <a:lnTo>
                      <a:pt x="3526" y="3176"/>
                    </a:lnTo>
                    <a:lnTo>
                      <a:pt x="3526" y="3176"/>
                    </a:lnTo>
                    <a:close/>
                    <a:moveTo>
                      <a:pt x="3432" y="3438"/>
                    </a:moveTo>
                    <a:lnTo>
                      <a:pt x="3432" y="3438"/>
                    </a:lnTo>
                    <a:lnTo>
                      <a:pt x="3432" y="3442"/>
                    </a:lnTo>
                    <a:lnTo>
                      <a:pt x="3434" y="3442"/>
                    </a:lnTo>
                    <a:lnTo>
                      <a:pt x="3440" y="3436"/>
                    </a:lnTo>
                    <a:lnTo>
                      <a:pt x="3446" y="3428"/>
                    </a:lnTo>
                    <a:lnTo>
                      <a:pt x="3448" y="3424"/>
                    </a:lnTo>
                    <a:lnTo>
                      <a:pt x="3448" y="3422"/>
                    </a:lnTo>
                    <a:lnTo>
                      <a:pt x="3448" y="3422"/>
                    </a:lnTo>
                    <a:lnTo>
                      <a:pt x="3444" y="3422"/>
                    </a:lnTo>
                    <a:lnTo>
                      <a:pt x="3438" y="3424"/>
                    </a:lnTo>
                    <a:lnTo>
                      <a:pt x="3434" y="3430"/>
                    </a:lnTo>
                    <a:lnTo>
                      <a:pt x="3432" y="3434"/>
                    </a:lnTo>
                    <a:lnTo>
                      <a:pt x="3432" y="3438"/>
                    </a:lnTo>
                    <a:lnTo>
                      <a:pt x="3432" y="3438"/>
                    </a:lnTo>
                    <a:close/>
                    <a:moveTo>
                      <a:pt x="3434" y="3100"/>
                    </a:moveTo>
                    <a:lnTo>
                      <a:pt x="3434" y="3100"/>
                    </a:lnTo>
                    <a:lnTo>
                      <a:pt x="3432" y="3102"/>
                    </a:lnTo>
                    <a:lnTo>
                      <a:pt x="3430" y="3106"/>
                    </a:lnTo>
                    <a:lnTo>
                      <a:pt x="3430" y="3110"/>
                    </a:lnTo>
                    <a:lnTo>
                      <a:pt x="3428" y="3116"/>
                    </a:lnTo>
                    <a:lnTo>
                      <a:pt x="3428" y="3116"/>
                    </a:lnTo>
                    <a:lnTo>
                      <a:pt x="3426" y="3126"/>
                    </a:lnTo>
                    <a:lnTo>
                      <a:pt x="3426" y="3130"/>
                    </a:lnTo>
                    <a:lnTo>
                      <a:pt x="3426" y="3130"/>
                    </a:lnTo>
                    <a:lnTo>
                      <a:pt x="3426" y="3130"/>
                    </a:lnTo>
                    <a:lnTo>
                      <a:pt x="3428" y="3128"/>
                    </a:lnTo>
                    <a:lnTo>
                      <a:pt x="3430" y="3124"/>
                    </a:lnTo>
                    <a:lnTo>
                      <a:pt x="3432" y="3120"/>
                    </a:lnTo>
                    <a:lnTo>
                      <a:pt x="3434" y="3114"/>
                    </a:lnTo>
                    <a:lnTo>
                      <a:pt x="3434" y="3114"/>
                    </a:lnTo>
                    <a:lnTo>
                      <a:pt x="3436" y="3110"/>
                    </a:lnTo>
                    <a:lnTo>
                      <a:pt x="3438" y="3104"/>
                    </a:lnTo>
                    <a:lnTo>
                      <a:pt x="3438" y="3100"/>
                    </a:lnTo>
                    <a:lnTo>
                      <a:pt x="3436" y="3100"/>
                    </a:lnTo>
                    <a:lnTo>
                      <a:pt x="3434" y="3100"/>
                    </a:lnTo>
                    <a:lnTo>
                      <a:pt x="3434" y="3100"/>
                    </a:lnTo>
                    <a:close/>
                    <a:moveTo>
                      <a:pt x="4106" y="2564"/>
                    </a:moveTo>
                    <a:lnTo>
                      <a:pt x="4106" y="2564"/>
                    </a:lnTo>
                    <a:lnTo>
                      <a:pt x="4098" y="2576"/>
                    </a:lnTo>
                    <a:lnTo>
                      <a:pt x="4088" y="2586"/>
                    </a:lnTo>
                    <a:lnTo>
                      <a:pt x="4084" y="2594"/>
                    </a:lnTo>
                    <a:lnTo>
                      <a:pt x="4082" y="2598"/>
                    </a:lnTo>
                    <a:lnTo>
                      <a:pt x="4084" y="2604"/>
                    </a:lnTo>
                    <a:lnTo>
                      <a:pt x="4084" y="2604"/>
                    </a:lnTo>
                    <a:lnTo>
                      <a:pt x="4086" y="2604"/>
                    </a:lnTo>
                    <a:lnTo>
                      <a:pt x="4088" y="2602"/>
                    </a:lnTo>
                    <a:lnTo>
                      <a:pt x="4094" y="2592"/>
                    </a:lnTo>
                    <a:lnTo>
                      <a:pt x="4098" y="2586"/>
                    </a:lnTo>
                    <a:lnTo>
                      <a:pt x="4104" y="2580"/>
                    </a:lnTo>
                    <a:lnTo>
                      <a:pt x="4112" y="2574"/>
                    </a:lnTo>
                    <a:lnTo>
                      <a:pt x="4122" y="2570"/>
                    </a:lnTo>
                    <a:lnTo>
                      <a:pt x="4122" y="2570"/>
                    </a:lnTo>
                    <a:lnTo>
                      <a:pt x="4126" y="2568"/>
                    </a:lnTo>
                    <a:lnTo>
                      <a:pt x="4126" y="2566"/>
                    </a:lnTo>
                    <a:lnTo>
                      <a:pt x="4120" y="2562"/>
                    </a:lnTo>
                    <a:lnTo>
                      <a:pt x="4112" y="2562"/>
                    </a:lnTo>
                    <a:lnTo>
                      <a:pt x="4108" y="2562"/>
                    </a:lnTo>
                    <a:lnTo>
                      <a:pt x="4106" y="2564"/>
                    </a:lnTo>
                    <a:lnTo>
                      <a:pt x="4106" y="2564"/>
                    </a:lnTo>
                    <a:close/>
                    <a:moveTo>
                      <a:pt x="3472" y="4884"/>
                    </a:moveTo>
                    <a:lnTo>
                      <a:pt x="3472" y="4884"/>
                    </a:lnTo>
                    <a:lnTo>
                      <a:pt x="3474" y="4884"/>
                    </a:lnTo>
                    <a:lnTo>
                      <a:pt x="3476" y="4884"/>
                    </a:lnTo>
                    <a:lnTo>
                      <a:pt x="3484" y="4882"/>
                    </a:lnTo>
                    <a:lnTo>
                      <a:pt x="3488" y="4880"/>
                    </a:lnTo>
                    <a:lnTo>
                      <a:pt x="3490" y="4878"/>
                    </a:lnTo>
                    <a:lnTo>
                      <a:pt x="3488" y="4878"/>
                    </a:lnTo>
                    <a:lnTo>
                      <a:pt x="3488" y="4878"/>
                    </a:lnTo>
                    <a:lnTo>
                      <a:pt x="3478" y="4878"/>
                    </a:lnTo>
                    <a:lnTo>
                      <a:pt x="3472" y="4880"/>
                    </a:lnTo>
                    <a:lnTo>
                      <a:pt x="3472" y="4882"/>
                    </a:lnTo>
                    <a:lnTo>
                      <a:pt x="3472" y="4884"/>
                    </a:lnTo>
                    <a:lnTo>
                      <a:pt x="3472" y="4884"/>
                    </a:lnTo>
                    <a:close/>
                    <a:moveTo>
                      <a:pt x="3468" y="3214"/>
                    </a:moveTo>
                    <a:lnTo>
                      <a:pt x="3468" y="3214"/>
                    </a:lnTo>
                    <a:lnTo>
                      <a:pt x="3468" y="3212"/>
                    </a:lnTo>
                    <a:lnTo>
                      <a:pt x="3466" y="3212"/>
                    </a:lnTo>
                    <a:lnTo>
                      <a:pt x="3462" y="3212"/>
                    </a:lnTo>
                    <a:lnTo>
                      <a:pt x="3460" y="3218"/>
                    </a:lnTo>
                    <a:lnTo>
                      <a:pt x="3460" y="3224"/>
                    </a:lnTo>
                    <a:lnTo>
                      <a:pt x="3460" y="3224"/>
                    </a:lnTo>
                    <a:lnTo>
                      <a:pt x="3460" y="3226"/>
                    </a:lnTo>
                    <a:lnTo>
                      <a:pt x="3462" y="3226"/>
                    </a:lnTo>
                    <a:lnTo>
                      <a:pt x="3464" y="3224"/>
                    </a:lnTo>
                    <a:lnTo>
                      <a:pt x="3468" y="3220"/>
                    </a:lnTo>
                    <a:lnTo>
                      <a:pt x="3468" y="3214"/>
                    </a:lnTo>
                    <a:lnTo>
                      <a:pt x="3468" y="3214"/>
                    </a:lnTo>
                    <a:close/>
                    <a:moveTo>
                      <a:pt x="3482" y="3322"/>
                    </a:moveTo>
                    <a:lnTo>
                      <a:pt x="3482" y="3322"/>
                    </a:lnTo>
                    <a:lnTo>
                      <a:pt x="3478" y="3322"/>
                    </a:lnTo>
                    <a:lnTo>
                      <a:pt x="3476" y="3326"/>
                    </a:lnTo>
                    <a:lnTo>
                      <a:pt x="3478" y="3330"/>
                    </a:lnTo>
                    <a:lnTo>
                      <a:pt x="3478" y="3330"/>
                    </a:lnTo>
                    <a:lnTo>
                      <a:pt x="3482" y="3332"/>
                    </a:lnTo>
                    <a:lnTo>
                      <a:pt x="3482" y="3332"/>
                    </a:lnTo>
                    <a:lnTo>
                      <a:pt x="3486" y="3332"/>
                    </a:lnTo>
                    <a:lnTo>
                      <a:pt x="3486" y="3328"/>
                    </a:lnTo>
                    <a:lnTo>
                      <a:pt x="3484" y="3324"/>
                    </a:lnTo>
                    <a:lnTo>
                      <a:pt x="3482" y="3322"/>
                    </a:lnTo>
                    <a:lnTo>
                      <a:pt x="3482" y="3322"/>
                    </a:lnTo>
                    <a:close/>
                    <a:moveTo>
                      <a:pt x="3652" y="3124"/>
                    </a:moveTo>
                    <a:lnTo>
                      <a:pt x="3652" y="3124"/>
                    </a:lnTo>
                    <a:lnTo>
                      <a:pt x="3654" y="3126"/>
                    </a:lnTo>
                    <a:lnTo>
                      <a:pt x="3656" y="3124"/>
                    </a:lnTo>
                    <a:lnTo>
                      <a:pt x="3658" y="3118"/>
                    </a:lnTo>
                    <a:lnTo>
                      <a:pt x="3662" y="3112"/>
                    </a:lnTo>
                    <a:lnTo>
                      <a:pt x="3662" y="3106"/>
                    </a:lnTo>
                    <a:lnTo>
                      <a:pt x="3662" y="3106"/>
                    </a:lnTo>
                    <a:lnTo>
                      <a:pt x="3662" y="3104"/>
                    </a:lnTo>
                    <a:lnTo>
                      <a:pt x="3660" y="3104"/>
                    </a:lnTo>
                    <a:lnTo>
                      <a:pt x="3656" y="3110"/>
                    </a:lnTo>
                    <a:lnTo>
                      <a:pt x="3652" y="3116"/>
                    </a:lnTo>
                    <a:lnTo>
                      <a:pt x="3652" y="3120"/>
                    </a:lnTo>
                    <a:lnTo>
                      <a:pt x="3652" y="3124"/>
                    </a:lnTo>
                    <a:lnTo>
                      <a:pt x="3652" y="3124"/>
                    </a:lnTo>
                    <a:close/>
                    <a:moveTo>
                      <a:pt x="3482" y="4890"/>
                    </a:moveTo>
                    <a:lnTo>
                      <a:pt x="3482" y="4890"/>
                    </a:lnTo>
                    <a:lnTo>
                      <a:pt x="3486" y="4896"/>
                    </a:lnTo>
                    <a:lnTo>
                      <a:pt x="3492" y="4904"/>
                    </a:lnTo>
                    <a:lnTo>
                      <a:pt x="3492" y="4904"/>
                    </a:lnTo>
                    <a:lnTo>
                      <a:pt x="3494" y="4904"/>
                    </a:lnTo>
                    <a:lnTo>
                      <a:pt x="3494" y="4904"/>
                    </a:lnTo>
                    <a:lnTo>
                      <a:pt x="3498" y="4898"/>
                    </a:lnTo>
                    <a:lnTo>
                      <a:pt x="3498" y="4890"/>
                    </a:lnTo>
                    <a:lnTo>
                      <a:pt x="3498" y="4888"/>
                    </a:lnTo>
                    <a:lnTo>
                      <a:pt x="3496" y="4886"/>
                    </a:lnTo>
                    <a:lnTo>
                      <a:pt x="3496" y="4886"/>
                    </a:lnTo>
                    <a:lnTo>
                      <a:pt x="3492" y="4884"/>
                    </a:lnTo>
                    <a:lnTo>
                      <a:pt x="3486" y="4884"/>
                    </a:lnTo>
                    <a:lnTo>
                      <a:pt x="3482" y="4886"/>
                    </a:lnTo>
                    <a:lnTo>
                      <a:pt x="3482" y="4888"/>
                    </a:lnTo>
                    <a:lnTo>
                      <a:pt x="3482" y="4890"/>
                    </a:lnTo>
                    <a:lnTo>
                      <a:pt x="3482" y="4890"/>
                    </a:lnTo>
                    <a:close/>
                    <a:moveTo>
                      <a:pt x="3640" y="3122"/>
                    </a:moveTo>
                    <a:lnTo>
                      <a:pt x="3640" y="3122"/>
                    </a:lnTo>
                    <a:lnTo>
                      <a:pt x="3634" y="3120"/>
                    </a:lnTo>
                    <a:lnTo>
                      <a:pt x="3628" y="3116"/>
                    </a:lnTo>
                    <a:lnTo>
                      <a:pt x="3620" y="3116"/>
                    </a:lnTo>
                    <a:lnTo>
                      <a:pt x="3612" y="3120"/>
                    </a:lnTo>
                    <a:lnTo>
                      <a:pt x="3612" y="3120"/>
                    </a:lnTo>
                    <a:lnTo>
                      <a:pt x="3608" y="3122"/>
                    </a:lnTo>
                    <a:lnTo>
                      <a:pt x="3604" y="3126"/>
                    </a:lnTo>
                    <a:lnTo>
                      <a:pt x="3602" y="3132"/>
                    </a:lnTo>
                    <a:lnTo>
                      <a:pt x="3600" y="3136"/>
                    </a:lnTo>
                    <a:lnTo>
                      <a:pt x="3598" y="3138"/>
                    </a:lnTo>
                    <a:lnTo>
                      <a:pt x="3596" y="3136"/>
                    </a:lnTo>
                    <a:lnTo>
                      <a:pt x="3596" y="3136"/>
                    </a:lnTo>
                    <a:lnTo>
                      <a:pt x="3592" y="3136"/>
                    </a:lnTo>
                    <a:lnTo>
                      <a:pt x="3590" y="3136"/>
                    </a:lnTo>
                    <a:lnTo>
                      <a:pt x="3586" y="3138"/>
                    </a:lnTo>
                    <a:lnTo>
                      <a:pt x="3582" y="3140"/>
                    </a:lnTo>
                    <a:lnTo>
                      <a:pt x="3580" y="3136"/>
                    </a:lnTo>
                    <a:lnTo>
                      <a:pt x="3580" y="3136"/>
                    </a:lnTo>
                    <a:lnTo>
                      <a:pt x="3580" y="3130"/>
                    </a:lnTo>
                    <a:lnTo>
                      <a:pt x="3578" y="3128"/>
                    </a:lnTo>
                    <a:lnTo>
                      <a:pt x="3576" y="3128"/>
                    </a:lnTo>
                    <a:lnTo>
                      <a:pt x="3574" y="3132"/>
                    </a:lnTo>
                    <a:lnTo>
                      <a:pt x="3568" y="3144"/>
                    </a:lnTo>
                    <a:lnTo>
                      <a:pt x="3568" y="3144"/>
                    </a:lnTo>
                    <a:lnTo>
                      <a:pt x="3564" y="3150"/>
                    </a:lnTo>
                    <a:lnTo>
                      <a:pt x="3560" y="3156"/>
                    </a:lnTo>
                    <a:lnTo>
                      <a:pt x="3550" y="3164"/>
                    </a:lnTo>
                    <a:lnTo>
                      <a:pt x="3544" y="3168"/>
                    </a:lnTo>
                    <a:lnTo>
                      <a:pt x="3548" y="3168"/>
                    </a:lnTo>
                    <a:lnTo>
                      <a:pt x="3548" y="3168"/>
                    </a:lnTo>
                    <a:lnTo>
                      <a:pt x="3554" y="3168"/>
                    </a:lnTo>
                    <a:lnTo>
                      <a:pt x="3556" y="3170"/>
                    </a:lnTo>
                    <a:lnTo>
                      <a:pt x="3558" y="3172"/>
                    </a:lnTo>
                    <a:lnTo>
                      <a:pt x="3558" y="3174"/>
                    </a:lnTo>
                    <a:lnTo>
                      <a:pt x="3558" y="3182"/>
                    </a:lnTo>
                    <a:lnTo>
                      <a:pt x="3558" y="3186"/>
                    </a:lnTo>
                    <a:lnTo>
                      <a:pt x="3562" y="3190"/>
                    </a:lnTo>
                    <a:lnTo>
                      <a:pt x="3562" y="3190"/>
                    </a:lnTo>
                    <a:lnTo>
                      <a:pt x="3564" y="3192"/>
                    </a:lnTo>
                    <a:lnTo>
                      <a:pt x="3564" y="3196"/>
                    </a:lnTo>
                    <a:lnTo>
                      <a:pt x="3564" y="3198"/>
                    </a:lnTo>
                    <a:lnTo>
                      <a:pt x="3562" y="3200"/>
                    </a:lnTo>
                    <a:lnTo>
                      <a:pt x="3564" y="3200"/>
                    </a:lnTo>
                    <a:lnTo>
                      <a:pt x="3574" y="3202"/>
                    </a:lnTo>
                    <a:lnTo>
                      <a:pt x="3574" y="3202"/>
                    </a:lnTo>
                    <a:lnTo>
                      <a:pt x="3578" y="3202"/>
                    </a:lnTo>
                    <a:lnTo>
                      <a:pt x="3580" y="3198"/>
                    </a:lnTo>
                    <a:lnTo>
                      <a:pt x="3584" y="3186"/>
                    </a:lnTo>
                    <a:lnTo>
                      <a:pt x="3588" y="3178"/>
                    </a:lnTo>
                    <a:lnTo>
                      <a:pt x="3590" y="3172"/>
                    </a:lnTo>
                    <a:lnTo>
                      <a:pt x="3594" y="3166"/>
                    </a:lnTo>
                    <a:lnTo>
                      <a:pt x="3602" y="3164"/>
                    </a:lnTo>
                    <a:lnTo>
                      <a:pt x="3602" y="3164"/>
                    </a:lnTo>
                    <a:lnTo>
                      <a:pt x="3608" y="3162"/>
                    </a:lnTo>
                    <a:lnTo>
                      <a:pt x="3614" y="3164"/>
                    </a:lnTo>
                    <a:lnTo>
                      <a:pt x="3620" y="3170"/>
                    </a:lnTo>
                    <a:lnTo>
                      <a:pt x="3624" y="3172"/>
                    </a:lnTo>
                    <a:lnTo>
                      <a:pt x="3626" y="3172"/>
                    </a:lnTo>
                    <a:lnTo>
                      <a:pt x="3628" y="3170"/>
                    </a:lnTo>
                    <a:lnTo>
                      <a:pt x="3630" y="3166"/>
                    </a:lnTo>
                    <a:lnTo>
                      <a:pt x="3630" y="3166"/>
                    </a:lnTo>
                    <a:lnTo>
                      <a:pt x="3632" y="3160"/>
                    </a:lnTo>
                    <a:lnTo>
                      <a:pt x="3636" y="3156"/>
                    </a:lnTo>
                    <a:lnTo>
                      <a:pt x="3642" y="3150"/>
                    </a:lnTo>
                    <a:lnTo>
                      <a:pt x="3646" y="3148"/>
                    </a:lnTo>
                    <a:lnTo>
                      <a:pt x="3648" y="3144"/>
                    </a:lnTo>
                    <a:lnTo>
                      <a:pt x="3646" y="3140"/>
                    </a:lnTo>
                    <a:lnTo>
                      <a:pt x="3646" y="3140"/>
                    </a:lnTo>
                    <a:lnTo>
                      <a:pt x="3644" y="3132"/>
                    </a:lnTo>
                    <a:lnTo>
                      <a:pt x="3644" y="3128"/>
                    </a:lnTo>
                    <a:lnTo>
                      <a:pt x="3644" y="3126"/>
                    </a:lnTo>
                    <a:lnTo>
                      <a:pt x="3640" y="3122"/>
                    </a:lnTo>
                    <a:lnTo>
                      <a:pt x="3640" y="3122"/>
                    </a:lnTo>
                    <a:close/>
                    <a:moveTo>
                      <a:pt x="3450" y="4936"/>
                    </a:moveTo>
                    <a:lnTo>
                      <a:pt x="3450" y="4936"/>
                    </a:lnTo>
                    <a:lnTo>
                      <a:pt x="3456" y="4938"/>
                    </a:lnTo>
                    <a:lnTo>
                      <a:pt x="3462" y="4940"/>
                    </a:lnTo>
                    <a:lnTo>
                      <a:pt x="3468" y="4940"/>
                    </a:lnTo>
                    <a:lnTo>
                      <a:pt x="3470" y="4938"/>
                    </a:lnTo>
                    <a:lnTo>
                      <a:pt x="3472" y="4934"/>
                    </a:lnTo>
                    <a:lnTo>
                      <a:pt x="3472" y="4934"/>
                    </a:lnTo>
                    <a:lnTo>
                      <a:pt x="3474" y="4926"/>
                    </a:lnTo>
                    <a:lnTo>
                      <a:pt x="3472" y="4922"/>
                    </a:lnTo>
                    <a:lnTo>
                      <a:pt x="3466" y="4922"/>
                    </a:lnTo>
                    <a:lnTo>
                      <a:pt x="3458" y="4924"/>
                    </a:lnTo>
                    <a:lnTo>
                      <a:pt x="3458" y="4924"/>
                    </a:lnTo>
                    <a:lnTo>
                      <a:pt x="3448" y="4930"/>
                    </a:lnTo>
                    <a:lnTo>
                      <a:pt x="3448" y="4932"/>
                    </a:lnTo>
                    <a:lnTo>
                      <a:pt x="3450" y="4936"/>
                    </a:lnTo>
                    <a:lnTo>
                      <a:pt x="3450" y="4936"/>
                    </a:lnTo>
                    <a:close/>
                    <a:moveTo>
                      <a:pt x="3012" y="5270"/>
                    </a:moveTo>
                    <a:lnTo>
                      <a:pt x="3012" y="5270"/>
                    </a:lnTo>
                    <a:lnTo>
                      <a:pt x="3008" y="5266"/>
                    </a:lnTo>
                    <a:lnTo>
                      <a:pt x="3006" y="5264"/>
                    </a:lnTo>
                    <a:lnTo>
                      <a:pt x="3008" y="5262"/>
                    </a:lnTo>
                    <a:lnTo>
                      <a:pt x="3012" y="5264"/>
                    </a:lnTo>
                    <a:lnTo>
                      <a:pt x="3012" y="5264"/>
                    </a:lnTo>
                    <a:lnTo>
                      <a:pt x="3020" y="5266"/>
                    </a:lnTo>
                    <a:lnTo>
                      <a:pt x="3022" y="5266"/>
                    </a:lnTo>
                    <a:lnTo>
                      <a:pt x="3022" y="5264"/>
                    </a:lnTo>
                    <a:lnTo>
                      <a:pt x="3022" y="5264"/>
                    </a:lnTo>
                    <a:lnTo>
                      <a:pt x="3022" y="5258"/>
                    </a:lnTo>
                    <a:lnTo>
                      <a:pt x="3020" y="5250"/>
                    </a:lnTo>
                    <a:lnTo>
                      <a:pt x="3014" y="5244"/>
                    </a:lnTo>
                    <a:lnTo>
                      <a:pt x="3010" y="5242"/>
                    </a:lnTo>
                    <a:lnTo>
                      <a:pt x="3008" y="5244"/>
                    </a:lnTo>
                    <a:lnTo>
                      <a:pt x="3008" y="5244"/>
                    </a:lnTo>
                    <a:lnTo>
                      <a:pt x="3006" y="5246"/>
                    </a:lnTo>
                    <a:lnTo>
                      <a:pt x="3004" y="5246"/>
                    </a:lnTo>
                    <a:lnTo>
                      <a:pt x="3000" y="5242"/>
                    </a:lnTo>
                    <a:lnTo>
                      <a:pt x="2998" y="5240"/>
                    </a:lnTo>
                    <a:lnTo>
                      <a:pt x="2994" y="5240"/>
                    </a:lnTo>
                    <a:lnTo>
                      <a:pt x="2992" y="5242"/>
                    </a:lnTo>
                    <a:lnTo>
                      <a:pt x="2992" y="5242"/>
                    </a:lnTo>
                    <a:lnTo>
                      <a:pt x="2988" y="5244"/>
                    </a:lnTo>
                    <a:lnTo>
                      <a:pt x="2986" y="5244"/>
                    </a:lnTo>
                    <a:lnTo>
                      <a:pt x="2982" y="5240"/>
                    </a:lnTo>
                    <a:lnTo>
                      <a:pt x="2978" y="5236"/>
                    </a:lnTo>
                    <a:lnTo>
                      <a:pt x="2974" y="5234"/>
                    </a:lnTo>
                    <a:lnTo>
                      <a:pt x="2970" y="5234"/>
                    </a:lnTo>
                    <a:lnTo>
                      <a:pt x="2970" y="5234"/>
                    </a:lnTo>
                    <a:lnTo>
                      <a:pt x="2966" y="5236"/>
                    </a:lnTo>
                    <a:lnTo>
                      <a:pt x="2964" y="5238"/>
                    </a:lnTo>
                    <a:lnTo>
                      <a:pt x="2964" y="5240"/>
                    </a:lnTo>
                    <a:lnTo>
                      <a:pt x="2966" y="5244"/>
                    </a:lnTo>
                    <a:lnTo>
                      <a:pt x="2970" y="5250"/>
                    </a:lnTo>
                    <a:lnTo>
                      <a:pt x="2974" y="5252"/>
                    </a:lnTo>
                    <a:lnTo>
                      <a:pt x="2974" y="5252"/>
                    </a:lnTo>
                    <a:lnTo>
                      <a:pt x="2978" y="5252"/>
                    </a:lnTo>
                    <a:lnTo>
                      <a:pt x="2984" y="5256"/>
                    </a:lnTo>
                    <a:lnTo>
                      <a:pt x="2986" y="5260"/>
                    </a:lnTo>
                    <a:lnTo>
                      <a:pt x="2984" y="5260"/>
                    </a:lnTo>
                    <a:lnTo>
                      <a:pt x="2982" y="5260"/>
                    </a:lnTo>
                    <a:lnTo>
                      <a:pt x="2982" y="5260"/>
                    </a:lnTo>
                    <a:lnTo>
                      <a:pt x="2976" y="5262"/>
                    </a:lnTo>
                    <a:lnTo>
                      <a:pt x="2972" y="5264"/>
                    </a:lnTo>
                    <a:lnTo>
                      <a:pt x="2970" y="5264"/>
                    </a:lnTo>
                    <a:lnTo>
                      <a:pt x="2966" y="5260"/>
                    </a:lnTo>
                    <a:lnTo>
                      <a:pt x="2966" y="5260"/>
                    </a:lnTo>
                    <a:lnTo>
                      <a:pt x="2960" y="5252"/>
                    </a:lnTo>
                    <a:lnTo>
                      <a:pt x="2956" y="5252"/>
                    </a:lnTo>
                    <a:lnTo>
                      <a:pt x="2954" y="5252"/>
                    </a:lnTo>
                    <a:lnTo>
                      <a:pt x="2954" y="5252"/>
                    </a:lnTo>
                    <a:lnTo>
                      <a:pt x="2948" y="5250"/>
                    </a:lnTo>
                    <a:lnTo>
                      <a:pt x="2944" y="5248"/>
                    </a:lnTo>
                    <a:lnTo>
                      <a:pt x="2940" y="5246"/>
                    </a:lnTo>
                    <a:lnTo>
                      <a:pt x="2938" y="5248"/>
                    </a:lnTo>
                    <a:lnTo>
                      <a:pt x="2936" y="5250"/>
                    </a:lnTo>
                    <a:lnTo>
                      <a:pt x="2936" y="5250"/>
                    </a:lnTo>
                    <a:lnTo>
                      <a:pt x="2932" y="5254"/>
                    </a:lnTo>
                    <a:lnTo>
                      <a:pt x="2928" y="5256"/>
                    </a:lnTo>
                    <a:lnTo>
                      <a:pt x="2926" y="5258"/>
                    </a:lnTo>
                    <a:lnTo>
                      <a:pt x="2926" y="5266"/>
                    </a:lnTo>
                    <a:lnTo>
                      <a:pt x="2926" y="5266"/>
                    </a:lnTo>
                    <a:lnTo>
                      <a:pt x="2926" y="5270"/>
                    </a:lnTo>
                    <a:lnTo>
                      <a:pt x="2926" y="5276"/>
                    </a:lnTo>
                    <a:lnTo>
                      <a:pt x="2926" y="5278"/>
                    </a:lnTo>
                    <a:lnTo>
                      <a:pt x="2928" y="5280"/>
                    </a:lnTo>
                    <a:lnTo>
                      <a:pt x="2938" y="5282"/>
                    </a:lnTo>
                    <a:lnTo>
                      <a:pt x="2938" y="5282"/>
                    </a:lnTo>
                    <a:lnTo>
                      <a:pt x="2948" y="5282"/>
                    </a:lnTo>
                    <a:lnTo>
                      <a:pt x="2960" y="5278"/>
                    </a:lnTo>
                    <a:lnTo>
                      <a:pt x="2970" y="5274"/>
                    </a:lnTo>
                    <a:lnTo>
                      <a:pt x="2978" y="5272"/>
                    </a:lnTo>
                    <a:lnTo>
                      <a:pt x="2978" y="5272"/>
                    </a:lnTo>
                    <a:lnTo>
                      <a:pt x="2984" y="5272"/>
                    </a:lnTo>
                    <a:lnTo>
                      <a:pt x="2986" y="5268"/>
                    </a:lnTo>
                    <a:lnTo>
                      <a:pt x="2988" y="5268"/>
                    </a:lnTo>
                    <a:lnTo>
                      <a:pt x="2990" y="5270"/>
                    </a:lnTo>
                    <a:lnTo>
                      <a:pt x="2990" y="5270"/>
                    </a:lnTo>
                    <a:lnTo>
                      <a:pt x="2992" y="5272"/>
                    </a:lnTo>
                    <a:lnTo>
                      <a:pt x="2994" y="5270"/>
                    </a:lnTo>
                    <a:lnTo>
                      <a:pt x="2998" y="5270"/>
                    </a:lnTo>
                    <a:lnTo>
                      <a:pt x="3004" y="5270"/>
                    </a:lnTo>
                    <a:lnTo>
                      <a:pt x="3004" y="5270"/>
                    </a:lnTo>
                    <a:lnTo>
                      <a:pt x="3014" y="5272"/>
                    </a:lnTo>
                    <a:lnTo>
                      <a:pt x="3016" y="5272"/>
                    </a:lnTo>
                    <a:lnTo>
                      <a:pt x="3012" y="5270"/>
                    </a:lnTo>
                    <a:lnTo>
                      <a:pt x="3012" y="5270"/>
                    </a:lnTo>
                    <a:close/>
                    <a:moveTo>
                      <a:pt x="3240" y="4810"/>
                    </a:moveTo>
                    <a:lnTo>
                      <a:pt x="3240" y="4810"/>
                    </a:lnTo>
                    <a:lnTo>
                      <a:pt x="3258" y="4782"/>
                    </a:lnTo>
                    <a:lnTo>
                      <a:pt x="3262" y="4776"/>
                    </a:lnTo>
                    <a:lnTo>
                      <a:pt x="3264" y="4770"/>
                    </a:lnTo>
                    <a:lnTo>
                      <a:pt x="3264" y="4764"/>
                    </a:lnTo>
                    <a:lnTo>
                      <a:pt x="3262" y="4760"/>
                    </a:lnTo>
                    <a:lnTo>
                      <a:pt x="3262" y="4760"/>
                    </a:lnTo>
                    <a:lnTo>
                      <a:pt x="3258" y="4756"/>
                    </a:lnTo>
                    <a:lnTo>
                      <a:pt x="3254" y="4756"/>
                    </a:lnTo>
                    <a:lnTo>
                      <a:pt x="3250" y="4758"/>
                    </a:lnTo>
                    <a:lnTo>
                      <a:pt x="3246" y="4764"/>
                    </a:lnTo>
                    <a:lnTo>
                      <a:pt x="3236" y="4776"/>
                    </a:lnTo>
                    <a:lnTo>
                      <a:pt x="3228" y="4792"/>
                    </a:lnTo>
                    <a:lnTo>
                      <a:pt x="3228" y="4792"/>
                    </a:lnTo>
                    <a:lnTo>
                      <a:pt x="3222" y="4796"/>
                    </a:lnTo>
                    <a:lnTo>
                      <a:pt x="3216" y="4798"/>
                    </a:lnTo>
                    <a:lnTo>
                      <a:pt x="3208" y="4798"/>
                    </a:lnTo>
                    <a:lnTo>
                      <a:pt x="3198" y="4798"/>
                    </a:lnTo>
                    <a:lnTo>
                      <a:pt x="3182" y="4794"/>
                    </a:lnTo>
                    <a:lnTo>
                      <a:pt x="3176" y="4794"/>
                    </a:lnTo>
                    <a:lnTo>
                      <a:pt x="3174" y="4796"/>
                    </a:lnTo>
                    <a:lnTo>
                      <a:pt x="3174" y="4796"/>
                    </a:lnTo>
                    <a:lnTo>
                      <a:pt x="3170" y="4798"/>
                    </a:lnTo>
                    <a:lnTo>
                      <a:pt x="3168" y="4798"/>
                    </a:lnTo>
                    <a:lnTo>
                      <a:pt x="3158" y="4794"/>
                    </a:lnTo>
                    <a:lnTo>
                      <a:pt x="3146" y="4792"/>
                    </a:lnTo>
                    <a:lnTo>
                      <a:pt x="3138" y="4790"/>
                    </a:lnTo>
                    <a:lnTo>
                      <a:pt x="3130" y="4790"/>
                    </a:lnTo>
                    <a:lnTo>
                      <a:pt x="3130" y="4790"/>
                    </a:lnTo>
                    <a:lnTo>
                      <a:pt x="3122" y="4790"/>
                    </a:lnTo>
                    <a:lnTo>
                      <a:pt x="3118" y="4788"/>
                    </a:lnTo>
                    <a:lnTo>
                      <a:pt x="3116" y="4786"/>
                    </a:lnTo>
                    <a:lnTo>
                      <a:pt x="3114" y="4784"/>
                    </a:lnTo>
                    <a:lnTo>
                      <a:pt x="3114" y="4780"/>
                    </a:lnTo>
                    <a:lnTo>
                      <a:pt x="3114" y="4778"/>
                    </a:lnTo>
                    <a:lnTo>
                      <a:pt x="3112" y="4778"/>
                    </a:lnTo>
                    <a:lnTo>
                      <a:pt x="3112" y="4778"/>
                    </a:lnTo>
                    <a:lnTo>
                      <a:pt x="3104" y="4778"/>
                    </a:lnTo>
                    <a:lnTo>
                      <a:pt x="3098" y="4776"/>
                    </a:lnTo>
                    <a:lnTo>
                      <a:pt x="3092" y="4776"/>
                    </a:lnTo>
                    <a:lnTo>
                      <a:pt x="3090" y="4778"/>
                    </a:lnTo>
                    <a:lnTo>
                      <a:pt x="3088" y="4780"/>
                    </a:lnTo>
                    <a:lnTo>
                      <a:pt x="3088" y="4780"/>
                    </a:lnTo>
                    <a:lnTo>
                      <a:pt x="3084" y="4788"/>
                    </a:lnTo>
                    <a:lnTo>
                      <a:pt x="3080" y="4796"/>
                    </a:lnTo>
                    <a:lnTo>
                      <a:pt x="3078" y="4800"/>
                    </a:lnTo>
                    <a:lnTo>
                      <a:pt x="3074" y="4800"/>
                    </a:lnTo>
                    <a:lnTo>
                      <a:pt x="3072" y="4800"/>
                    </a:lnTo>
                    <a:lnTo>
                      <a:pt x="3068" y="4796"/>
                    </a:lnTo>
                    <a:lnTo>
                      <a:pt x="3068" y="4796"/>
                    </a:lnTo>
                    <a:lnTo>
                      <a:pt x="3066" y="4792"/>
                    </a:lnTo>
                    <a:lnTo>
                      <a:pt x="3064" y="4792"/>
                    </a:lnTo>
                    <a:lnTo>
                      <a:pt x="3060" y="4798"/>
                    </a:lnTo>
                    <a:lnTo>
                      <a:pt x="3056" y="4810"/>
                    </a:lnTo>
                    <a:lnTo>
                      <a:pt x="3052" y="4820"/>
                    </a:lnTo>
                    <a:lnTo>
                      <a:pt x="3052" y="4820"/>
                    </a:lnTo>
                    <a:lnTo>
                      <a:pt x="3048" y="4824"/>
                    </a:lnTo>
                    <a:lnTo>
                      <a:pt x="3048" y="4828"/>
                    </a:lnTo>
                    <a:lnTo>
                      <a:pt x="3048" y="4834"/>
                    </a:lnTo>
                    <a:lnTo>
                      <a:pt x="3048" y="4838"/>
                    </a:lnTo>
                    <a:lnTo>
                      <a:pt x="3046" y="4840"/>
                    </a:lnTo>
                    <a:lnTo>
                      <a:pt x="3044" y="4842"/>
                    </a:lnTo>
                    <a:lnTo>
                      <a:pt x="3044" y="4842"/>
                    </a:lnTo>
                    <a:lnTo>
                      <a:pt x="3040" y="4844"/>
                    </a:lnTo>
                    <a:lnTo>
                      <a:pt x="3040" y="4848"/>
                    </a:lnTo>
                    <a:lnTo>
                      <a:pt x="3042" y="4854"/>
                    </a:lnTo>
                    <a:lnTo>
                      <a:pt x="3044" y="4864"/>
                    </a:lnTo>
                    <a:lnTo>
                      <a:pt x="3044" y="4864"/>
                    </a:lnTo>
                    <a:lnTo>
                      <a:pt x="3040" y="4876"/>
                    </a:lnTo>
                    <a:lnTo>
                      <a:pt x="3034" y="4886"/>
                    </a:lnTo>
                    <a:lnTo>
                      <a:pt x="3030" y="4900"/>
                    </a:lnTo>
                    <a:lnTo>
                      <a:pt x="3030" y="4908"/>
                    </a:lnTo>
                    <a:lnTo>
                      <a:pt x="3030" y="4918"/>
                    </a:lnTo>
                    <a:lnTo>
                      <a:pt x="3030" y="4918"/>
                    </a:lnTo>
                    <a:lnTo>
                      <a:pt x="3030" y="4932"/>
                    </a:lnTo>
                    <a:lnTo>
                      <a:pt x="3028" y="4934"/>
                    </a:lnTo>
                    <a:lnTo>
                      <a:pt x="3026" y="4936"/>
                    </a:lnTo>
                    <a:lnTo>
                      <a:pt x="3024" y="4936"/>
                    </a:lnTo>
                    <a:lnTo>
                      <a:pt x="3024" y="4938"/>
                    </a:lnTo>
                    <a:lnTo>
                      <a:pt x="3022" y="4944"/>
                    </a:lnTo>
                    <a:lnTo>
                      <a:pt x="3020" y="4952"/>
                    </a:lnTo>
                    <a:lnTo>
                      <a:pt x="3020" y="4952"/>
                    </a:lnTo>
                    <a:lnTo>
                      <a:pt x="3020" y="4960"/>
                    </a:lnTo>
                    <a:lnTo>
                      <a:pt x="3016" y="4964"/>
                    </a:lnTo>
                    <a:lnTo>
                      <a:pt x="3014" y="4968"/>
                    </a:lnTo>
                    <a:lnTo>
                      <a:pt x="3010" y="4968"/>
                    </a:lnTo>
                    <a:lnTo>
                      <a:pt x="3006" y="4970"/>
                    </a:lnTo>
                    <a:lnTo>
                      <a:pt x="3006" y="4972"/>
                    </a:lnTo>
                    <a:lnTo>
                      <a:pt x="3008" y="4976"/>
                    </a:lnTo>
                    <a:lnTo>
                      <a:pt x="3008" y="4976"/>
                    </a:lnTo>
                    <a:lnTo>
                      <a:pt x="3010" y="4984"/>
                    </a:lnTo>
                    <a:lnTo>
                      <a:pt x="3008" y="4986"/>
                    </a:lnTo>
                    <a:lnTo>
                      <a:pt x="3006" y="4990"/>
                    </a:lnTo>
                    <a:lnTo>
                      <a:pt x="3008" y="5002"/>
                    </a:lnTo>
                    <a:lnTo>
                      <a:pt x="3008" y="5002"/>
                    </a:lnTo>
                    <a:lnTo>
                      <a:pt x="3012" y="5008"/>
                    </a:lnTo>
                    <a:lnTo>
                      <a:pt x="3014" y="5010"/>
                    </a:lnTo>
                    <a:lnTo>
                      <a:pt x="3018" y="5010"/>
                    </a:lnTo>
                    <a:lnTo>
                      <a:pt x="3020" y="5010"/>
                    </a:lnTo>
                    <a:lnTo>
                      <a:pt x="3024" y="5010"/>
                    </a:lnTo>
                    <a:lnTo>
                      <a:pt x="3028" y="5010"/>
                    </a:lnTo>
                    <a:lnTo>
                      <a:pt x="3032" y="5014"/>
                    </a:lnTo>
                    <a:lnTo>
                      <a:pt x="3036" y="5022"/>
                    </a:lnTo>
                    <a:lnTo>
                      <a:pt x="3036" y="5022"/>
                    </a:lnTo>
                    <a:lnTo>
                      <a:pt x="3040" y="5034"/>
                    </a:lnTo>
                    <a:lnTo>
                      <a:pt x="3040" y="5046"/>
                    </a:lnTo>
                    <a:lnTo>
                      <a:pt x="3038" y="5058"/>
                    </a:lnTo>
                    <a:lnTo>
                      <a:pt x="3036" y="5070"/>
                    </a:lnTo>
                    <a:lnTo>
                      <a:pt x="3032" y="5082"/>
                    </a:lnTo>
                    <a:lnTo>
                      <a:pt x="3030" y="5092"/>
                    </a:lnTo>
                    <a:lnTo>
                      <a:pt x="3030" y="5102"/>
                    </a:lnTo>
                    <a:lnTo>
                      <a:pt x="3034" y="5112"/>
                    </a:lnTo>
                    <a:lnTo>
                      <a:pt x="3034" y="5112"/>
                    </a:lnTo>
                    <a:lnTo>
                      <a:pt x="3038" y="5116"/>
                    </a:lnTo>
                    <a:lnTo>
                      <a:pt x="3042" y="5118"/>
                    </a:lnTo>
                    <a:lnTo>
                      <a:pt x="3046" y="5118"/>
                    </a:lnTo>
                    <a:lnTo>
                      <a:pt x="3050" y="5116"/>
                    </a:lnTo>
                    <a:lnTo>
                      <a:pt x="3058" y="5114"/>
                    </a:lnTo>
                    <a:lnTo>
                      <a:pt x="3068" y="5112"/>
                    </a:lnTo>
                    <a:lnTo>
                      <a:pt x="3068" y="5112"/>
                    </a:lnTo>
                    <a:lnTo>
                      <a:pt x="3072" y="5112"/>
                    </a:lnTo>
                    <a:lnTo>
                      <a:pt x="3072" y="5110"/>
                    </a:lnTo>
                    <a:lnTo>
                      <a:pt x="3070" y="5100"/>
                    </a:lnTo>
                    <a:lnTo>
                      <a:pt x="3068" y="5088"/>
                    </a:lnTo>
                    <a:lnTo>
                      <a:pt x="3068" y="5082"/>
                    </a:lnTo>
                    <a:lnTo>
                      <a:pt x="3070" y="5076"/>
                    </a:lnTo>
                    <a:lnTo>
                      <a:pt x="3070" y="5076"/>
                    </a:lnTo>
                    <a:lnTo>
                      <a:pt x="3072" y="5070"/>
                    </a:lnTo>
                    <a:lnTo>
                      <a:pt x="3074" y="5064"/>
                    </a:lnTo>
                    <a:lnTo>
                      <a:pt x="3072" y="5050"/>
                    </a:lnTo>
                    <a:lnTo>
                      <a:pt x="3072" y="5034"/>
                    </a:lnTo>
                    <a:lnTo>
                      <a:pt x="3072" y="5014"/>
                    </a:lnTo>
                    <a:lnTo>
                      <a:pt x="3072" y="5014"/>
                    </a:lnTo>
                    <a:lnTo>
                      <a:pt x="3074" y="5004"/>
                    </a:lnTo>
                    <a:lnTo>
                      <a:pt x="3072" y="4998"/>
                    </a:lnTo>
                    <a:lnTo>
                      <a:pt x="3068" y="4990"/>
                    </a:lnTo>
                    <a:lnTo>
                      <a:pt x="3068" y="4988"/>
                    </a:lnTo>
                    <a:lnTo>
                      <a:pt x="3068" y="4984"/>
                    </a:lnTo>
                    <a:lnTo>
                      <a:pt x="3076" y="4974"/>
                    </a:lnTo>
                    <a:lnTo>
                      <a:pt x="3076" y="4974"/>
                    </a:lnTo>
                    <a:lnTo>
                      <a:pt x="3084" y="4970"/>
                    </a:lnTo>
                    <a:lnTo>
                      <a:pt x="3090" y="4968"/>
                    </a:lnTo>
                    <a:lnTo>
                      <a:pt x="3094" y="4968"/>
                    </a:lnTo>
                    <a:lnTo>
                      <a:pt x="3098" y="4972"/>
                    </a:lnTo>
                    <a:lnTo>
                      <a:pt x="3100" y="4976"/>
                    </a:lnTo>
                    <a:lnTo>
                      <a:pt x="3100" y="4982"/>
                    </a:lnTo>
                    <a:lnTo>
                      <a:pt x="3098" y="4990"/>
                    </a:lnTo>
                    <a:lnTo>
                      <a:pt x="3094" y="4996"/>
                    </a:lnTo>
                    <a:lnTo>
                      <a:pt x="3094" y="4996"/>
                    </a:lnTo>
                    <a:lnTo>
                      <a:pt x="3092" y="5002"/>
                    </a:lnTo>
                    <a:lnTo>
                      <a:pt x="3090" y="5008"/>
                    </a:lnTo>
                    <a:lnTo>
                      <a:pt x="3092" y="5012"/>
                    </a:lnTo>
                    <a:lnTo>
                      <a:pt x="3094" y="5016"/>
                    </a:lnTo>
                    <a:lnTo>
                      <a:pt x="3102" y="5024"/>
                    </a:lnTo>
                    <a:lnTo>
                      <a:pt x="3112" y="5034"/>
                    </a:lnTo>
                    <a:lnTo>
                      <a:pt x="3112" y="5034"/>
                    </a:lnTo>
                    <a:lnTo>
                      <a:pt x="3116" y="5040"/>
                    </a:lnTo>
                    <a:lnTo>
                      <a:pt x="3116" y="5046"/>
                    </a:lnTo>
                    <a:lnTo>
                      <a:pt x="3114" y="5062"/>
                    </a:lnTo>
                    <a:lnTo>
                      <a:pt x="3114" y="5068"/>
                    </a:lnTo>
                    <a:lnTo>
                      <a:pt x="3116" y="5074"/>
                    </a:lnTo>
                    <a:lnTo>
                      <a:pt x="3120" y="5076"/>
                    </a:lnTo>
                    <a:lnTo>
                      <a:pt x="3130" y="5078"/>
                    </a:lnTo>
                    <a:lnTo>
                      <a:pt x="3130" y="5078"/>
                    </a:lnTo>
                    <a:lnTo>
                      <a:pt x="3136" y="5076"/>
                    </a:lnTo>
                    <a:lnTo>
                      <a:pt x="3138" y="5076"/>
                    </a:lnTo>
                    <a:lnTo>
                      <a:pt x="3140" y="5072"/>
                    </a:lnTo>
                    <a:lnTo>
                      <a:pt x="3140" y="5070"/>
                    </a:lnTo>
                    <a:lnTo>
                      <a:pt x="3140" y="5062"/>
                    </a:lnTo>
                    <a:lnTo>
                      <a:pt x="3142" y="5060"/>
                    </a:lnTo>
                    <a:lnTo>
                      <a:pt x="3148" y="5056"/>
                    </a:lnTo>
                    <a:lnTo>
                      <a:pt x="3148" y="5056"/>
                    </a:lnTo>
                    <a:lnTo>
                      <a:pt x="3152" y="5056"/>
                    </a:lnTo>
                    <a:lnTo>
                      <a:pt x="3156" y="5054"/>
                    </a:lnTo>
                    <a:lnTo>
                      <a:pt x="3164" y="5056"/>
                    </a:lnTo>
                    <a:lnTo>
                      <a:pt x="3166" y="5056"/>
                    </a:lnTo>
                    <a:lnTo>
                      <a:pt x="3168" y="5056"/>
                    </a:lnTo>
                    <a:lnTo>
                      <a:pt x="3172" y="5048"/>
                    </a:lnTo>
                    <a:lnTo>
                      <a:pt x="3172" y="5048"/>
                    </a:lnTo>
                    <a:lnTo>
                      <a:pt x="3172" y="5042"/>
                    </a:lnTo>
                    <a:lnTo>
                      <a:pt x="3170" y="5036"/>
                    </a:lnTo>
                    <a:lnTo>
                      <a:pt x="3164" y="5032"/>
                    </a:lnTo>
                    <a:lnTo>
                      <a:pt x="3158" y="5028"/>
                    </a:lnTo>
                    <a:lnTo>
                      <a:pt x="3152" y="5026"/>
                    </a:lnTo>
                    <a:lnTo>
                      <a:pt x="3148" y="5022"/>
                    </a:lnTo>
                    <a:lnTo>
                      <a:pt x="3146" y="5016"/>
                    </a:lnTo>
                    <a:lnTo>
                      <a:pt x="3148" y="5012"/>
                    </a:lnTo>
                    <a:lnTo>
                      <a:pt x="3148" y="5012"/>
                    </a:lnTo>
                    <a:lnTo>
                      <a:pt x="3152" y="5006"/>
                    </a:lnTo>
                    <a:lnTo>
                      <a:pt x="3152" y="4998"/>
                    </a:lnTo>
                    <a:lnTo>
                      <a:pt x="3150" y="4990"/>
                    </a:lnTo>
                    <a:lnTo>
                      <a:pt x="3148" y="4980"/>
                    </a:lnTo>
                    <a:lnTo>
                      <a:pt x="3136" y="4962"/>
                    </a:lnTo>
                    <a:lnTo>
                      <a:pt x="3122" y="4946"/>
                    </a:lnTo>
                    <a:lnTo>
                      <a:pt x="3122" y="4946"/>
                    </a:lnTo>
                    <a:lnTo>
                      <a:pt x="3118" y="4940"/>
                    </a:lnTo>
                    <a:lnTo>
                      <a:pt x="3118" y="4934"/>
                    </a:lnTo>
                    <a:lnTo>
                      <a:pt x="3122" y="4930"/>
                    </a:lnTo>
                    <a:lnTo>
                      <a:pt x="3128" y="4926"/>
                    </a:lnTo>
                    <a:lnTo>
                      <a:pt x="3146" y="4916"/>
                    </a:lnTo>
                    <a:lnTo>
                      <a:pt x="3154" y="4908"/>
                    </a:lnTo>
                    <a:lnTo>
                      <a:pt x="3162" y="4898"/>
                    </a:lnTo>
                    <a:lnTo>
                      <a:pt x="3162" y="4898"/>
                    </a:lnTo>
                    <a:lnTo>
                      <a:pt x="3168" y="4888"/>
                    </a:lnTo>
                    <a:lnTo>
                      <a:pt x="3172" y="4884"/>
                    </a:lnTo>
                    <a:lnTo>
                      <a:pt x="3176" y="4884"/>
                    </a:lnTo>
                    <a:lnTo>
                      <a:pt x="3180" y="4886"/>
                    </a:lnTo>
                    <a:lnTo>
                      <a:pt x="3186" y="4890"/>
                    </a:lnTo>
                    <a:lnTo>
                      <a:pt x="3190" y="4890"/>
                    </a:lnTo>
                    <a:lnTo>
                      <a:pt x="3192" y="4888"/>
                    </a:lnTo>
                    <a:lnTo>
                      <a:pt x="3192" y="4888"/>
                    </a:lnTo>
                    <a:lnTo>
                      <a:pt x="3196" y="4880"/>
                    </a:lnTo>
                    <a:lnTo>
                      <a:pt x="3196" y="4876"/>
                    </a:lnTo>
                    <a:lnTo>
                      <a:pt x="3194" y="4874"/>
                    </a:lnTo>
                    <a:lnTo>
                      <a:pt x="3192" y="4872"/>
                    </a:lnTo>
                    <a:lnTo>
                      <a:pt x="3188" y="4870"/>
                    </a:lnTo>
                    <a:lnTo>
                      <a:pt x="3170" y="4870"/>
                    </a:lnTo>
                    <a:lnTo>
                      <a:pt x="3170" y="4870"/>
                    </a:lnTo>
                    <a:lnTo>
                      <a:pt x="3160" y="4872"/>
                    </a:lnTo>
                    <a:lnTo>
                      <a:pt x="3152" y="4874"/>
                    </a:lnTo>
                    <a:lnTo>
                      <a:pt x="3144" y="4880"/>
                    </a:lnTo>
                    <a:lnTo>
                      <a:pt x="3136" y="4884"/>
                    </a:lnTo>
                    <a:lnTo>
                      <a:pt x="3130" y="4884"/>
                    </a:lnTo>
                    <a:lnTo>
                      <a:pt x="3124" y="4884"/>
                    </a:lnTo>
                    <a:lnTo>
                      <a:pt x="3124" y="4884"/>
                    </a:lnTo>
                    <a:lnTo>
                      <a:pt x="3116" y="4882"/>
                    </a:lnTo>
                    <a:lnTo>
                      <a:pt x="3112" y="4886"/>
                    </a:lnTo>
                    <a:lnTo>
                      <a:pt x="3108" y="4890"/>
                    </a:lnTo>
                    <a:lnTo>
                      <a:pt x="3106" y="4894"/>
                    </a:lnTo>
                    <a:lnTo>
                      <a:pt x="3104" y="4900"/>
                    </a:lnTo>
                    <a:lnTo>
                      <a:pt x="3100" y="4904"/>
                    </a:lnTo>
                    <a:lnTo>
                      <a:pt x="3096" y="4908"/>
                    </a:lnTo>
                    <a:lnTo>
                      <a:pt x="3088" y="4908"/>
                    </a:lnTo>
                    <a:lnTo>
                      <a:pt x="3088" y="4908"/>
                    </a:lnTo>
                    <a:lnTo>
                      <a:pt x="3082" y="4906"/>
                    </a:lnTo>
                    <a:lnTo>
                      <a:pt x="3078" y="4904"/>
                    </a:lnTo>
                    <a:lnTo>
                      <a:pt x="3078" y="4902"/>
                    </a:lnTo>
                    <a:lnTo>
                      <a:pt x="3078" y="4898"/>
                    </a:lnTo>
                    <a:lnTo>
                      <a:pt x="3076" y="4892"/>
                    </a:lnTo>
                    <a:lnTo>
                      <a:pt x="3074" y="4888"/>
                    </a:lnTo>
                    <a:lnTo>
                      <a:pt x="3068" y="4882"/>
                    </a:lnTo>
                    <a:lnTo>
                      <a:pt x="3068" y="4882"/>
                    </a:lnTo>
                    <a:lnTo>
                      <a:pt x="3064" y="4880"/>
                    </a:lnTo>
                    <a:lnTo>
                      <a:pt x="3062" y="4876"/>
                    </a:lnTo>
                    <a:lnTo>
                      <a:pt x="3058" y="4866"/>
                    </a:lnTo>
                    <a:lnTo>
                      <a:pt x="3058" y="4852"/>
                    </a:lnTo>
                    <a:lnTo>
                      <a:pt x="3060" y="4840"/>
                    </a:lnTo>
                    <a:lnTo>
                      <a:pt x="3066" y="4828"/>
                    </a:lnTo>
                    <a:lnTo>
                      <a:pt x="3072" y="4818"/>
                    </a:lnTo>
                    <a:lnTo>
                      <a:pt x="3074" y="4816"/>
                    </a:lnTo>
                    <a:lnTo>
                      <a:pt x="3078" y="4814"/>
                    </a:lnTo>
                    <a:lnTo>
                      <a:pt x="3082" y="4814"/>
                    </a:lnTo>
                    <a:lnTo>
                      <a:pt x="3086" y="4816"/>
                    </a:lnTo>
                    <a:lnTo>
                      <a:pt x="3086" y="4816"/>
                    </a:lnTo>
                    <a:lnTo>
                      <a:pt x="3092" y="4818"/>
                    </a:lnTo>
                    <a:lnTo>
                      <a:pt x="3096" y="4820"/>
                    </a:lnTo>
                    <a:lnTo>
                      <a:pt x="3106" y="4818"/>
                    </a:lnTo>
                    <a:lnTo>
                      <a:pt x="3116" y="4818"/>
                    </a:lnTo>
                    <a:lnTo>
                      <a:pt x="3122" y="4818"/>
                    </a:lnTo>
                    <a:lnTo>
                      <a:pt x="3126" y="4818"/>
                    </a:lnTo>
                    <a:lnTo>
                      <a:pt x="3126" y="4818"/>
                    </a:lnTo>
                    <a:lnTo>
                      <a:pt x="3132" y="4820"/>
                    </a:lnTo>
                    <a:lnTo>
                      <a:pt x="3140" y="4820"/>
                    </a:lnTo>
                    <a:lnTo>
                      <a:pt x="3156" y="4818"/>
                    </a:lnTo>
                    <a:lnTo>
                      <a:pt x="3172" y="4816"/>
                    </a:lnTo>
                    <a:lnTo>
                      <a:pt x="3178" y="4818"/>
                    </a:lnTo>
                    <a:lnTo>
                      <a:pt x="3182" y="4820"/>
                    </a:lnTo>
                    <a:lnTo>
                      <a:pt x="3182" y="4820"/>
                    </a:lnTo>
                    <a:lnTo>
                      <a:pt x="3186" y="4822"/>
                    </a:lnTo>
                    <a:lnTo>
                      <a:pt x="3192" y="4824"/>
                    </a:lnTo>
                    <a:lnTo>
                      <a:pt x="3200" y="4826"/>
                    </a:lnTo>
                    <a:lnTo>
                      <a:pt x="3208" y="4826"/>
                    </a:lnTo>
                    <a:lnTo>
                      <a:pt x="3218" y="4824"/>
                    </a:lnTo>
                    <a:lnTo>
                      <a:pt x="3226" y="4822"/>
                    </a:lnTo>
                    <a:lnTo>
                      <a:pt x="3234" y="4816"/>
                    </a:lnTo>
                    <a:lnTo>
                      <a:pt x="3240" y="4810"/>
                    </a:lnTo>
                    <a:lnTo>
                      <a:pt x="3240" y="4810"/>
                    </a:lnTo>
                    <a:close/>
                    <a:moveTo>
                      <a:pt x="2954" y="5244"/>
                    </a:moveTo>
                    <a:lnTo>
                      <a:pt x="2954" y="5244"/>
                    </a:lnTo>
                    <a:lnTo>
                      <a:pt x="2954" y="5248"/>
                    </a:lnTo>
                    <a:lnTo>
                      <a:pt x="2956" y="5246"/>
                    </a:lnTo>
                    <a:lnTo>
                      <a:pt x="2960" y="5240"/>
                    </a:lnTo>
                    <a:lnTo>
                      <a:pt x="2960" y="5240"/>
                    </a:lnTo>
                    <a:lnTo>
                      <a:pt x="2962" y="5238"/>
                    </a:lnTo>
                    <a:lnTo>
                      <a:pt x="2960" y="5236"/>
                    </a:lnTo>
                    <a:lnTo>
                      <a:pt x="2958" y="5236"/>
                    </a:lnTo>
                    <a:lnTo>
                      <a:pt x="2954" y="5240"/>
                    </a:lnTo>
                    <a:lnTo>
                      <a:pt x="2954" y="5244"/>
                    </a:lnTo>
                    <a:lnTo>
                      <a:pt x="2954" y="5244"/>
                    </a:lnTo>
                    <a:close/>
                    <a:moveTo>
                      <a:pt x="3346" y="4878"/>
                    </a:moveTo>
                    <a:lnTo>
                      <a:pt x="3346" y="4878"/>
                    </a:lnTo>
                    <a:lnTo>
                      <a:pt x="3350" y="4878"/>
                    </a:lnTo>
                    <a:lnTo>
                      <a:pt x="3352" y="4876"/>
                    </a:lnTo>
                    <a:lnTo>
                      <a:pt x="3350" y="4874"/>
                    </a:lnTo>
                    <a:lnTo>
                      <a:pt x="3348" y="4872"/>
                    </a:lnTo>
                    <a:lnTo>
                      <a:pt x="3348" y="4872"/>
                    </a:lnTo>
                    <a:lnTo>
                      <a:pt x="3346" y="4872"/>
                    </a:lnTo>
                    <a:lnTo>
                      <a:pt x="3344" y="4874"/>
                    </a:lnTo>
                    <a:lnTo>
                      <a:pt x="3344" y="4876"/>
                    </a:lnTo>
                    <a:lnTo>
                      <a:pt x="3346" y="4878"/>
                    </a:lnTo>
                    <a:lnTo>
                      <a:pt x="3346" y="4878"/>
                    </a:lnTo>
                    <a:close/>
                    <a:moveTo>
                      <a:pt x="3352" y="4858"/>
                    </a:moveTo>
                    <a:lnTo>
                      <a:pt x="3352" y="4858"/>
                    </a:lnTo>
                    <a:lnTo>
                      <a:pt x="3350" y="4862"/>
                    </a:lnTo>
                    <a:lnTo>
                      <a:pt x="3354" y="4868"/>
                    </a:lnTo>
                    <a:lnTo>
                      <a:pt x="3354" y="4868"/>
                    </a:lnTo>
                    <a:lnTo>
                      <a:pt x="3358" y="4874"/>
                    </a:lnTo>
                    <a:lnTo>
                      <a:pt x="3360" y="4876"/>
                    </a:lnTo>
                    <a:lnTo>
                      <a:pt x="3364" y="4874"/>
                    </a:lnTo>
                    <a:lnTo>
                      <a:pt x="3364" y="4866"/>
                    </a:lnTo>
                    <a:lnTo>
                      <a:pt x="3364" y="4866"/>
                    </a:lnTo>
                    <a:lnTo>
                      <a:pt x="3362" y="4858"/>
                    </a:lnTo>
                    <a:lnTo>
                      <a:pt x="3360" y="4854"/>
                    </a:lnTo>
                    <a:lnTo>
                      <a:pt x="3356" y="4854"/>
                    </a:lnTo>
                    <a:lnTo>
                      <a:pt x="3352" y="4858"/>
                    </a:lnTo>
                    <a:lnTo>
                      <a:pt x="3352" y="4858"/>
                    </a:lnTo>
                    <a:close/>
                    <a:moveTo>
                      <a:pt x="3452" y="4980"/>
                    </a:moveTo>
                    <a:lnTo>
                      <a:pt x="3452" y="4980"/>
                    </a:lnTo>
                    <a:lnTo>
                      <a:pt x="3440" y="4974"/>
                    </a:lnTo>
                    <a:lnTo>
                      <a:pt x="3438" y="4974"/>
                    </a:lnTo>
                    <a:lnTo>
                      <a:pt x="3436" y="4976"/>
                    </a:lnTo>
                    <a:lnTo>
                      <a:pt x="3428" y="4978"/>
                    </a:lnTo>
                    <a:lnTo>
                      <a:pt x="3422" y="4980"/>
                    </a:lnTo>
                    <a:lnTo>
                      <a:pt x="3414" y="4978"/>
                    </a:lnTo>
                    <a:lnTo>
                      <a:pt x="3414" y="4978"/>
                    </a:lnTo>
                    <a:lnTo>
                      <a:pt x="3404" y="4978"/>
                    </a:lnTo>
                    <a:lnTo>
                      <a:pt x="3396" y="4978"/>
                    </a:lnTo>
                    <a:lnTo>
                      <a:pt x="3390" y="4980"/>
                    </a:lnTo>
                    <a:lnTo>
                      <a:pt x="3384" y="4982"/>
                    </a:lnTo>
                    <a:lnTo>
                      <a:pt x="3378" y="4986"/>
                    </a:lnTo>
                    <a:lnTo>
                      <a:pt x="3376" y="4990"/>
                    </a:lnTo>
                    <a:lnTo>
                      <a:pt x="3374" y="4996"/>
                    </a:lnTo>
                    <a:lnTo>
                      <a:pt x="3374" y="5002"/>
                    </a:lnTo>
                    <a:lnTo>
                      <a:pt x="3374" y="5002"/>
                    </a:lnTo>
                    <a:lnTo>
                      <a:pt x="3376" y="5010"/>
                    </a:lnTo>
                    <a:lnTo>
                      <a:pt x="3378" y="5006"/>
                    </a:lnTo>
                    <a:lnTo>
                      <a:pt x="3380" y="4998"/>
                    </a:lnTo>
                    <a:lnTo>
                      <a:pt x="3382" y="4994"/>
                    </a:lnTo>
                    <a:lnTo>
                      <a:pt x="3384" y="4992"/>
                    </a:lnTo>
                    <a:lnTo>
                      <a:pt x="3384" y="4992"/>
                    </a:lnTo>
                    <a:lnTo>
                      <a:pt x="3386" y="4992"/>
                    </a:lnTo>
                    <a:lnTo>
                      <a:pt x="3388" y="4994"/>
                    </a:lnTo>
                    <a:lnTo>
                      <a:pt x="3392" y="5000"/>
                    </a:lnTo>
                    <a:lnTo>
                      <a:pt x="3396" y="5002"/>
                    </a:lnTo>
                    <a:lnTo>
                      <a:pt x="3400" y="5004"/>
                    </a:lnTo>
                    <a:lnTo>
                      <a:pt x="3404" y="5004"/>
                    </a:lnTo>
                    <a:lnTo>
                      <a:pt x="3408" y="5000"/>
                    </a:lnTo>
                    <a:lnTo>
                      <a:pt x="3408" y="5000"/>
                    </a:lnTo>
                    <a:lnTo>
                      <a:pt x="3414" y="4998"/>
                    </a:lnTo>
                    <a:lnTo>
                      <a:pt x="3418" y="4998"/>
                    </a:lnTo>
                    <a:lnTo>
                      <a:pt x="3428" y="5002"/>
                    </a:lnTo>
                    <a:lnTo>
                      <a:pt x="3436" y="5006"/>
                    </a:lnTo>
                    <a:lnTo>
                      <a:pt x="3438" y="5008"/>
                    </a:lnTo>
                    <a:lnTo>
                      <a:pt x="3440" y="5006"/>
                    </a:lnTo>
                    <a:lnTo>
                      <a:pt x="3440" y="5006"/>
                    </a:lnTo>
                    <a:lnTo>
                      <a:pt x="3442" y="5002"/>
                    </a:lnTo>
                    <a:lnTo>
                      <a:pt x="3446" y="5002"/>
                    </a:lnTo>
                    <a:lnTo>
                      <a:pt x="3456" y="5006"/>
                    </a:lnTo>
                    <a:lnTo>
                      <a:pt x="3468" y="5014"/>
                    </a:lnTo>
                    <a:lnTo>
                      <a:pt x="3482" y="5022"/>
                    </a:lnTo>
                    <a:lnTo>
                      <a:pt x="3482" y="5022"/>
                    </a:lnTo>
                    <a:lnTo>
                      <a:pt x="3488" y="5026"/>
                    </a:lnTo>
                    <a:lnTo>
                      <a:pt x="3492" y="5028"/>
                    </a:lnTo>
                    <a:lnTo>
                      <a:pt x="3494" y="5026"/>
                    </a:lnTo>
                    <a:lnTo>
                      <a:pt x="3496" y="5024"/>
                    </a:lnTo>
                    <a:lnTo>
                      <a:pt x="3494" y="5012"/>
                    </a:lnTo>
                    <a:lnTo>
                      <a:pt x="3484" y="4994"/>
                    </a:lnTo>
                    <a:lnTo>
                      <a:pt x="3484" y="4994"/>
                    </a:lnTo>
                    <a:lnTo>
                      <a:pt x="3478" y="4988"/>
                    </a:lnTo>
                    <a:lnTo>
                      <a:pt x="3476" y="4984"/>
                    </a:lnTo>
                    <a:lnTo>
                      <a:pt x="3472" y="4982"/>
                    </a:lnTo>
                    <a:lnTo>
                      <a:pt x="3470" y="4984"/>
                    </a:lnTo>
                    <a:lnTo>
                      <a:pt x="3464" y="4984"/>
                    </a:lnTo>
                    <a:lnTo>
                      <a:pt x="3458" y="4984"/>
                    </a:lnTo>
                    <a:lnTo>
                      <a:pt x="3452" y="4980"/>
                    </a:lnTo>
                    <a:lnTo>
                      <a:pt x="3452" y="4980"/>
                    </a:lnTo>
                    <a:close/>
                    <a:moveTo>
                      <a:pt x="3092" y="4546"/>
                    </a:moveTo>
                    <a:lnTo>
                      <a:pt x="3092" y="4546"/>
                    </a:lnTo>
                    <a:lnTo>
                      <a:pt x="3090" y="4552"/>
                    </a:lnTo>
                    <a:lnTo>
                      <a:pt x="3092" y="4552"/>
                    </a:lnTo>
                    <a:lnTo>
                      <a:pt x="3094" y="4552"/>
                    </a:lnTo>
                    <a:lnTo>
                      <a:pt x="3098" y="4552"/>
                    </a:lnTo>
                    <a:lnTo>
                      <a:pt x="3104" y="4552"/>
                    </a:lnTo>
                    <a:lnTo>
                      <a:pt x="3104" y="4552"/>
                    </a:lnTo>
                    <a:lnTo>
                      <a:pt x="3108" y="4554"/>
                    </a:lnTo>
                    <a:lnTo>
                      <a:pt x="3112" y="4552"/>
                    </a:lnTo>
                    <a:lnTo>
                      <a:pt x="3112" y="4548"/>
                    </a:lnTo>
                    <a:lnTo>
                      <a:pt x="3110" y="4548"/>
                    </a:lnTo>
                    <a:lnTo>
                      <a:pt x="3110" y="4548"/>
                    </a:lnTo>
                    <a:lnTo>
                      <a:pt x="3106" y="4546"/>
                    </a:lnTo>
                    <a:lnTo>
                      <a:pt x="3102" y="4542"/>
                    </a:lnTo>
                    <a:lnTo>
                      <a:pt x="3100" y="4540"/>
                    </a:lnTo>
                    <a:lnTo>
                      <a:pt x="3098" y="4540"/>
                    </a:lnTo>
                    <a:lnTo>
                      <a:pt x="3096" y="4542"/>
                    </a:lnTo>
                    <a:lnTo>
                      <a:pt x="3092" y="4546"/>
                    </a:lnTo>
                    <a:lnTo>
                      <a:pt x="3092" y="4546"/>
                    </a:lnTo>
                    <a:close/>
                    <a:moveTo>
                      <a:pt x="3058" y="4324"/>
                    </a:moveTo>
                    <a:lnTo>
                      <a:pt x="3058" y="4324"/>
                    </a:lnTo>
                    <a:lnTo>
                      <a:pt x="3058" y="4324"/>
                    </a:lnTo>
                    <a:lnTo>
                      <a:pt x="3056" y="4322"/>
                    </a:lnTo>
                    <a:lnTo>
                      <a:pt x="3052" y="4322"/>
                    </a:lnTo>
                    <a:lnTo>
                      <a:pt x="3048" y="4326"/>
                    </a:lnTo>
                    <a:lnTo>
                      <a:pt x="3048" y="4326"/>
                    </a:lnTo>
                    <a:lnTo>
                      <a:pt x="3048" y="4330"/>
                    </a:lnTo>
                    <a:lnTo>
                      <a:pt x="3050" y="4330"/>
                    </a:lnTo>
                    <a:lnTo>
                      <a:pt x="3058" y="4324"/>
                    </a:lnTo>
                    <a:lnTo>
                      <a:pt x="3058" y="4324"/>
                    </a:lnTo>
                    <a:close/>
                    <a:moveTo>
                      <a:pt x="3358" y="4790"/>
                    </a:moveTo>
                    <a:lnTo>
                      <a:pt x="3358" y="4790"/>
                    </a:lnTo>
                    <a:lnTo>
                      <a:pt x="3360" y="4800"/>
                    </a:lnTo>
                    <a:lnTo>
                      <a:pt x="3358" y="4806"/>
                    </a:lnTo>
                    <a:lnTo>
                      <a:pt x="3358" y="4812"/>
                    </a:lnTo>
                    <a:lnTo>
                      <a:pt x="3358" y="4816"/>
                    </a:lnTo>
                    <a:lnTo>
                      <a:pt x="3362" y="4820"/>
                    </a:lnTo>
                    <a:lnTo>
                      <a:pt x="3362" y="4820"/>
                    </a:lnTo>
                    <a:lnTo>
                      <a:pt x="3364" y="4826"/>
                    </a:lnTo>
                    <a:lnTo>
                      <a:pt x="3364" y="4830"/>
                    </a:lnTo>
                    <a:lnTo>
                      <a:pt x="3364" y="4838"/>
                    </a:lnTo>
                    <a:lnTo>
                      <a:pt x="3364" y="4846"/>
                    </a:lnTo>
                    <a:lnTo>
                      <a:pt x="3364" y="4850"/>
                    </a:lnTo>
                    <a:lnTo>
                      <a:pt x="3368" y="4856"/>
                    </a:lnTo>
                    <a:lnTo>
                      <a:pt x="3368" y="4856"/>
                    </a:lnTo>
                    <a:lnTo>
                      <a:pt x="3382" y="4876"/>
                    </a:lnTo>
                    <a:lnTo>
                      <a:pt x="3388" y="4882"/>
                    </a:lnTo>
                    <a:lnTo>
                      <a:pt x="3390" y="4884"/>
                    </a:lnTo>
                    <a:lnTo>
                      <a:pt x="3394" y="4884"/>
                    </a:lnTo>
                    <a:lnTo>
                      <a:pt x="3394" y="4884"/>
                    </a:lnTo>
                    <a:lnTo>
                      <a:pt x="3394" y="4882"/>
                    </a:lnTo>
                    <a:lnTo>
                      <a:pt x="3394" y="4880"/>
                    </a:lnTo>
                    <a:lnTo>
                      <a:pt x="3390" y="4876"/>
                    </a:lnTo>
                    <a:lnTo>
                      <a:pt x="3384" y="4868"/>
                    </a:lnTo>
                    <a:lnTo>
                      <a:pt x="3384" y="4868"/>
                    </a:lnTo>
                    <a:lnTo>
                      <a:pt x="3380" y="4860"/>
                    </a:lnTo>
                    <a:lnTo>
                      <a:pt x="3376" y="4848"/>
                    </a:lnTo>
                    <a:lnTo>
                      <a:pt x="3374" y="4836"/>
                    </a:lnTo>
                    <a:lnTo>
                      <a:pt x="3374" y="4826"/>
                    </a:lnTo>
                    <a:lnTo>
                      <a:pt x="3374" y="4826"/>
                    </a:lnTo>
                    <a:lnTo>
                      <a:pt x="3376" y="4820"/>
                    </a:lnTo>
                    <a:lnTo>
                      <a:pt x="3380" y="4818"/>
                    </a:lnTo>
                    <a:lnTo>
                      <a:pt x="3382" y="4818"/>
                    </a:lnTo>
                    <a:lnTo>
                      <a:pt x="3390" y="4820"/>
                    </a:lnTo>
                    <a:lnTo>
                      <a:pt x="3402" y="4824"/>
                    </a:lnTo>
                    <a:lnTo>
                      <a:pt x="3402" y="4824"/>
                    </a:lnTo>
                    <a:lnTo>
                      <a:pt x="3406" y="4826"/>
                    </a:lnTo>
                    <a:lnTo>
                      <a:pt x="3410" y="4826"/>
                    </a:lnTo>
                    <a:lnTo>
                      <a:pt x="3410" y="4826"/>
                    </a:lnTo>
                    <a:lnTo>
                      <a:pt x="3410" y="4822"/>
                    </a:lnTo>
                    <a:lnTo>
                      <a:pt x="3406" y="4816"/>
                    </a:lnTo>
                    <a:lnTo>
                      <a:pt x="3400" y="4812"/>
                    </a:lnTo>
                    <a:lnTo>
                      <a:pt x="3394" y="4810"/>
                    </a:lnTo>
                    <a:lnTo>
                      <a:pt x="3394" y="4810"/>
                    </a:lnTo>
                    <a:lnTo>
                      <a:pt x="3390" y="4806"/>
                    </a:lnTo>
                    <a:lnTo>
                      <a:pt x="3386" y="4804"/>
                    </a:lnTo>
                    <a:lnTo>
                      <a:pt x="3386" y="4802"/>
                    </a:lnTo>
                    <a:lnTo>
                      <a:pt x="3388" y="4800"/>
                    </a:lnTo>
                    <a:lnTo>
                      <a:pt x="3394" y="4796"/>
                    </a:lnTo>
                    <a:lnTo>
                      <a:pt x="3400" y="4792"/>
                    </a:lnTo>
                    <a:lnTo>
                      <a:pt x="3400" y="4792"/>
                    </a:lnTo>
                    <a:lnTo>
                      <a:pt x="3404" y="4788"/>
                    </a:lnTo>
                    <a:lnTo>
                      <a:pt x="3406" y="4784"/>
                    </a:lnTo>
                    <a:lnTo>
                      <a:pt x="3408" y="4774"/>
                    </a:lnTo>
                    <a:lnTo>
                      <a:pt x="3406" y="4770"/>
                    </a:lnTo>
                    <a:lnTo>
                      <a:pt x="3404" y="4766"/>
                    </a:lnTo>
                    <a:lnTo>
                      <a:pt x="3400" y="4766"/>
                    </a:lnTo>
                    <a:lnTo>
                      <a:pt x="3396" y="4766"/>
                    </a:lnTo>
                    <a:lnTo>
                      <a:pt x="3396" y="4766"/>
                    </a:lnTo>
                    <a:lnTo>
                      <a:pt x="3390" y="4770"/>
                    </a:lnTo>
                    <a:lnTo>
                      <a:pt x="3386" y="4774"/>
                    </a:lnTo>
                    <a:lnTo>
                      <a:pt x="3378" y="4788"/>
                    </a:lnTo>
                    <a:lnTo>
                      <a:pt x="3372" y="4800"/>
                    </a:lnTo>
                    <a:lnTo>
                      <a:pt x="3370" y="4800"/>
                    </a:lnTo>
                    <a:lnTo>
                      <a:pt x="3368" y="4798"/>
                    </a:lnTo>
                    <a:lnTo>
                      <a:pt x="3368" y="4798"/>
                    </a:lnTo>
                    <a:lnTo>
                      <a:pt x="3366" y="4792"/>
                    </a:lnTo>
                    <a:lnTo>
                      <a:pt x="3368" y="4788"/>
                    </a:lnTo>
                    <a:lnTo>
                      <a:pt x="3372" y="4782"/>
                    </a:lnTo>
                    <a:lnTo>
                      <a:pt x="3378" y="4772"/>
                    </a:lnTo>
                    <a:lnTo>
                      <a:pt x="3378" y="4772"/>
                    </a:lnTo>
                    <a:lnTo>
                      <a:pt x="3378" y="4766"/>
                    </a:lnTo>
                    <a:lnTo>
                      <a:pt x="3378" y="4762"/>
                    </a:lnTo>
                    <a:lnTo>
                      <a:pt x="3376" y="4754"/>
                    </a:lnTo>
                    <a:lnTo>
                      <a:pt x="3374" y="4750"/>
                    </a:lnTo>
                    <a:lnTo>
                      <a:pt x="3374" y="4748"/>
                    </a:lnTo>
                    <a:lnTo>
                      <a:pt x="3374" y="4744"/>
                    </a:lnTo>
                    <a:lnTo>
                      <a:pt x="3374" y="4744"/>
                    </a:lnTo>
                    <a:lnTo>
                      <a:pt x="3378" y="4734"/>
                    </a:lnTo>
                    <a:lnTo>
                      <a:pt x="3378" y="4732"/>
                    </a:lnTo>
                    <a:lnTo>
                      <a:pt x="3376" y="4732"/>
                    </a:lnTo>
                    <a:lnTo>
                      <a:pt x="3370" y="4736"/>
                    </a:lnTo>
                    <a:lnTo>
                      <a:pt x="3370" y="4736"/>
                    </a:lnTo>
                    <a:lnTo>
                      <a:pt x="3366" y="4740"/>
                    </a:lnTo>
                    <a:lnTo>
                      <a:pt x="3362" y="4746"/>
                    </a:lnTo>
                    <a:lnTo>
                      <a:pt x="3356" y="4760"/>
                    </a:lnTo>
                    <a:lnTo>
                      <a:pt x="3356" y="4776"/>
                    </a:lnTo>
                    <a:lnTo>
                      <a:pt x="3356" y="4784"/>
                    </a:lnTo>
                    <a:lnTo>
                      <a:pt x="3358" y="4790"/>
                    </a:lnTo>
                    <a:lnTo>
                      <a:pt x="3358" y="4790"/>
                    </a:lnTo>
                    <a:close/>
                    <a:moveTo>
                      <a:pt x="3086" y="4178"/>
                    </a:moveTo>
                    <a:lnTo>
                      <a:pt x="3086" y="4178"/>
                    </a:lnTo>
                    <a:lnTo>
                      <a:pt x="3076" y="4178"/>
                    </a:lnTo>
                    <a:lnTo>
                      <a:pt x="3070" y="4180"/>
                    </a:lnTo>
                    <a:lnTo>
                      <a:pt x="3068" y="4184"/>
                    </a:lnTo>
                    <a:lnTo>
                      <a:pt x="3072" y="4186"/>
                    </a:lnTo>
                    <a:lnTo>
                      <a:pt x="3072" y="4186"/>
                    </a:lnTo>
                    <a:lnTo>
                      <a:pt x="3076" y="4188"/>
                    </a:lnTo>
                    <a:lnTo>
                      <a:pt x="3076" y="4190"/>
                    </a:lnTo>
                    <a:lnTo>
                      <a:pt x="3078" y="4194"/>
                    </a:lnTo>
                    <a:lnTo>
                      <a:pt x="3080" y="4196"/>
                    </a:lnTo>
                    <a:lnTo>
                      <a:pt x="3080" y="4196"/>
                    </a:lnTo>
                    <a:lnTo>
                      <a:pt x="3084" y="4202"/>
                    </a:lnTo>
                    <a:lnTo>
                      <a:pt x="3088" y="4212"/>
                    </a:lnTo>
                    <a:lnTo>
                      <a:pt x="3092" y="4224"/>
                    </a:lnTo>
                    <a:lnTo>
                      <a:pt x="3098" y="4238"/>
                    </a:lnTo>
                    <a:lnTo>
                      <a:pt x="3098" y="4238"/>
                    </a:lnTo>
                    <a:lnTo>
                      <a:pt x="3102" y="4244"/>
                    </a:lnTo>
                    <a:lnTo>
                      <a:pt x="3104" y="4244"/>
                    </a:lnTo>
                    <a:lnTo>
                      <a:pt x="3106" y="4244"/>
                    </a:lnTo>
                    <a:lnTo>
                      <a:pt x="3112" y="4240"/>
                    </a:lnTo>
                    <a:lnTo>
                      <a:pt x="3116" y="4232"/>
                    </a:lnTo>
                    <a:lnTo>
                      <a:pt x="3116" y="4232"/>
                    </a:lnTo>
                    <a:lnTo>
                      <a:pt x="3118" y="4224"/>
                    </a:lnTo>
                    <a:lnTo>
                      <a:pt x="3118" y="4220"/>
                    </a:lnTo>
                    <a:lnTo>
                      <a:pt x="3116" y="4216"/>
                    </a:lnTo>
                    <a:lnTo>
                      <a:pt x="3116" y="4208"/>
                    </a:lnTo>
                    <a:lnTo>
                      <a:pt x="3116" y="4208"/>
                    </a:lnTo>
                    <a:lnTo>
                      <a:pt x="3118" y="4204"/>
                    </a:lnTo>
                    <a:lnTo>
                      <a:pt x="3116" y="4198"/>
                    </a:lnTo>
                    <a:lnTo>
                      <a:pt x="3114" y="4194"/>
                    </a:lnTo>
                    <a:lnTo>
                      <a:pt x="3110" y="4190"/>
                    </a:lnTo>
                    <a:lnTo>
                      <a:pt x="3100" y="4184"/>
                    </a:lnTo>
                    <a:lnTo>
                      <a:pt x="3086" y="4178"/>
                    </a:lnTo>
                    <a:lnTo>
                      <a:pt x="3086" y="4178"/>
                    </a:lnTo>
                    <a:close/>
                    <a:moveTo>
                      <a:pt x="3138" y="4192"/>
                    </a:moveTo>
                    <a:lnTo>
                      <a:pt x="3138" y="4192"/>
                    </a:lnTo>
                    <a:lnTo>
                      <a:pt x="3140" y="4190"/>
                    </a:lnTo>
                    <a:lnTo>
                      <a:pt x="3142" y="4186"/>
                    </a:lnTo>
                    <a:lnTo>
                      <a:pt x="3140" y="4180"/>
                    </a:lnTo>
                    <a:lnTo>
                      <a:pt x="3138" y="4178"/>
                    </a:lnTo>
                    <a:lnTo>
                      <a:pt x="3134" y="4178"/>
                    </a:lnTo>
                    <a:lnTo>
                      <a:pt x="3134" y="4178"/>
                    </a:lnTo>
                    <a:lnTo>
                      <a:pt x="3132" y="4178"/>
                    </a:lnTo>
                    <a:lnTo>
                      <a:pt x="3130" y="4178"/>
                    </a:lnTo>
                    <a:lnTo>
                      <a:pt x="3130" y="4184"/>
                    </a:lnTo>
                    <a:lnTo>
                      <a:pt x="3130" y="4184"/>
                    </a:lnTo>
                    <a:lnTo>
                      <a:pt x="3130" y="4188"/>
                    </a:lnTo>
                    <a:lnTo>
                      <a:pt x="3132" y="4192"/>
                    </a:lnTo>
                    <a:lnTo>
                      <a:pt x="3134" y="4194"/>
                    </a:lnTo>
                    <a:lnTo>
                      <a:pt x="3138" y="4192"/>
                    </a:lnTo>
                    <a:lnTo>
                      <a:pt x="3138" y="4192"/>
                    </a:lnTo>
                    <a:close/>
                    <a:moveTo>
                      <a:pt x="3386" y="4736"/>
                    </a:moveTo>
                    <a:lnTo>
                      <a:pt x="3386" y="4736"/>
                    </a:lnTo>
                    <a:lnTo>
                      <a:pt x="3388" y="4742"/>
                    </a:lnTo>
                    <a:lnTo>
                      <a:pt x="3392" y="4742"/>
                    </a:lnTo>
                    <a:lnTo>
                      <a:pt x="3396" y="4740"/>
                    </a:lnTo>
                    <a:lnTo>
                      <a:pt x="3398" y="4736"/>
                    </a:lnTo>
                    <a:lnTo>
                      <a:pt x="3402" y="4732"/>
                    </a:lnTo>
                    <a:lnTo>
                      <a:pt x="3404" y="4726"/>
                    </a:lnTo>
                    <a:lnTo>
                      <a:pt x="3404" y="4720"/>
                    </a:lnTo>
                    <a:lnTo>
                      <a:pt x="3404" y="4714"/>
                    </a:lnTo>
                    <a:lnTo>
                      <a:pt x="3404" y="4714"/>
                    </a:lnTo>
                    <a:lnTo>
                      <a:pt x="3400" y="4712"/>
                    </a:lnTo>
                    <a:lnTo>
                      <a:pt x="3398" y="4712"/>
                    </a:lnTo>
                    <a:lnTo>
                      <a:pt x="3394" y="4714"/>
                    </a:lnTo>
                    <a:lnTo>
                      <a:pt x="3392" y="4718"/>
                    </a:lnTo>
                    <a:lnTo>
                      <a:pt x="3388" y="4726"/>
                    </a:lnTo>
                    <a:lnTo>
                      <a:pt x="3386" y="4736"/>
                    </a:lnTo>
                    <a:lnTo>
                      <a:pt x="3386" y="4736"/>
                    </a:lnTo>
                    <a:close/>
                    <a:moveTo>
                      <a:pt x="3378" y="4912"/>
                    </a:moveTo>
                    <a:lnTo>
                      <a:pt x="3378" y="4912"/>
                    </a:lnTo>
                    <a:lnTo>
                      <a:pt x="3374" y="4908"/>
                    </a:lnTo>
                    <a:lnTo>
                      <a:pt x="3370" y="4906"/>
                    </a:lnTo>
                    <a:lnTo>
                      <a:pt x="3364" y="4904"/>
                    </a:lnTo>
                    <a:lnTo>
                      <a:pt x="3362" y="4904"/>
                    </a:lnTo>
                    <a:lnTo>
                      <a:pt x="3358" y="4906"/>
                    </a:lnTo>
                    <a:lnTo>
                      <a:pt x="3356" y="4908"/>
                    </a:lnTo>
                    <a:lnTo>
                      <a:pt x="3354" y="4912"/>
                    </a:lnTo>
                    <a:lnTo>
                      <a:pt x="3354" y="4916"/>
                    </a:lnTo>
                    <a:lnTo>
                      <a:pt x="3354" y="4916"/>
                    </a:lnTo>
                    <a:lnTo>
                      <a:pt x="3354" y="4922"/>
                    </a:lnTo>
                    <a:lnTo>
                      <a:pt x="3358" y="4924"/>
                    </a:lnTo>
                    <a:lnTo>
                      <a:pt x="3366" y="4922"/>
                    </a:lnTo>
                    <a:lnTo>
                      <a:pt x="3366" y="4922"/>
                    </a:lnTo>
                    <a:lnTo>
                      <a:pt x="3382" y="4922"/>
                    </a:lnTo>
                    <a:lnTo>
                      <a:pt x="3384" y="4922"/>
                    </a:lnTo>
                    <a:lnTo>
                      <a:pt x="3384" y="4920"/>
                    </a:lnTo>
                    <a:lnTo>
                      <a:pt x="3378" y="4912"/>
                    </a:lnTo>
                    <a:lnTo>
                      <a:pt x="3378" y="4912"/>
                    </a:lnTo>
                    <a:close/>
                    <a:moveTo>
                      <a:pt x="3378" y="5236"/>
                    </a:moveTo>
                    <a:lnTo>
                      <a:pt x="3378" y="5236"/>
                    </a:lnTo>
                    <a:lnTo>
                      <a:pt x="3374" y="5234"/>
                    </a:lnTo>
                    <a:lnTo>
                      <a:pt x="3370" y="5234"/>
                    </a:lnTo>
                    <a:lnTo>
                      <a:pt x="3368" y="5236"/>
                    </a:lnTo>
                    <a:lnTo>
                      <a:pt x="3372" y="5240"/>
                    </a:lnTo>
                    <a:lnTo>
                      <a:pt x="3372" y="5240"/>
                    </a:lnTo>
                    <a:lnTo>
                      <a:pt x="3376" y="5242"/>
                    </a:lnTo>
                    <a:lnTo>
                      <a:pt x="3380" y="5240"/>
                    </a:lnTo>
                    <a:lnTo>
                      <a:pt x="3380" y="5238"/>
                    </a:lnTo>
                    <a:lnTo>
                      <a:pt x="3378" y="5236"/>
                    </a:lnTo>
                    <a:lnTo>
                      <a:pt x="3378" y="5236"/>
                    </a:lnTo>
                    <a:close/>
                    <a:moveTo>
                      <a:pt x="3444" y="5230"/>
                    </a:moveTo>
                    <a:lnTo>
                      <a:pt x="3444" y="5230"/>
                    </a:lnTo>
                    <a:lnTo>
                      <a:pt x="3448" y="5232"/>
                    </a:lnTo>
                    <a:lnTo>
                      <a:pt x="3450" y="5230"/>
                    </a:lnTo>
                    <a:lnTo>
                      <a:pt x="3452" y="5228"/>
                    </a:lnTo>
                    <a:lnTo>
                      <a:pt x="3452" y="5224"/>
                    </a:lnTo>
                    <a:lnTo>
                      <a:pt x="3452" y="5224"/>
                    </a:lnTo>
                    <a:lnTo>
                      <a:pt x="3448" y="5220"/>
                    </a:lnTo>
                    <a:lnTo>
                      <a:pt x="3442" y="5218"/>
                    </a:lnTo>
                    <a:lnTo>
                      <a:pt x="3442" y="5218"/>
                    </a:lnTo>
                    <a:lnTo>
                      <a:pt x="3440" y="5220"/>
                    </a:lnTo>
                    <a:lnTo>
                      <a:pt x="3442" y="5224"/>
                    </a:lnTo>
                    <a:lnTo>
                      <a:pt x="3444" y="5230"/>
                    </a:lnTo>
                    <a:lnTo>
                      <a:pt x="3444" y="5230"/>
                    </a:lnTo>
                    <a:close/>
                    <a:moveTo>
                      <a:pt x="3364" y="4876"/>
                    </a:moveTo>
                    <a:lnTo>
                      <a:pt x="3364" y="4876"/>
                    </a:lnTo>
                    <a:lnTo>
                      <a:pt x="3364" y="4878"/>
                    </a:lnTo>
                    <a:lnTo>
                      <a:pt x="3366" y="4880"/>
                    </a:lnTo>
                    <a:lnTo>
                      <a:pt x="3370" y="4882"/>
                    </a:lnTo>
                    <a:lnTo>
                      <a:pt x="3372" y="4880"/>
                    </a:lnTo>
                    <a:lnTo>
                      <a:pt x="3372" y="4880"/>
                    </a:lnTo>
                    <a:lnTo>
                      <a:pt x="3374" y="4876"/>
                    </a:lnTo>
                    <a:lnTo>
                      <a:pt x="3372" y="4874"/>
                    </a:lnTo>
                    <a:lnTo>
                      <a:pt x="3368" y="4874"/>
                    </a:lnTo>
                    <a:lnTo>
                      <a:pt x="3364" y="4876"/>
                    </a:lnTo>
                    <a:lnTo>
                      <a:pt x="3364" y="4876"/>
                    </a:lnTo>
                    <a:close/>
                    <a:moveTo>
                      <a:pt x="3374" y="5022"/>
                    </a:moveTo>
                    <a:lnTo>
                      <a:pt x="3374" y="5022"/>
                    </a:lnTo>
                    <a:lnTo>
                      <a:pt x="3378" y="5024"/>
                    </a:lnTo>
                    <a:lnTo>
                      <a:pt x="3384" y="5022"/>
                    </a:lnTo>
                    <a:lnTo>
                      <a:pt x="3388" y="5018"/>
                    </a:lnTo>
                    <a:lnTo>
                      <a:pt x="3390" y="5012"/>
                    </a:lnTo>
                    <a:lnTo>
                      <a:pt x="3390" y="5012"/>
                    </a:lnTo>
                    <a:lnTo>
                      <a:pt x="3390" y="5010"/>
                    </a:lnTo>
                    <a:lnTo>
                      <a:pt x="3388" y="5010"/>
                    </a:lnTo>
                    <a:lnTo>
                      <a:pt x="3382" y="5012"/>
                    </a:lnTo>
                    <a:lnTo>
                      <a:pt x="3376" y="5018"/>
                    </a:lnTo>
                    <a:lnTo>
                      <a:pt x="3374" y="5020"/>
                    </a:lnTo>
                    <a:lnTo>
                      <a:pt x="3374" y="5022"/>
                    </a:lnTo>
                    <a:lnTo>
                      <a:pt x="3374" y="5022"/>
                    </a:lnTo>
                    <a:close/>
                    <a:moveTo>
                      <a:pt x="3412" y="3200"/>
                    </a:moveTo>
                    <a:lnTo>
                      <a:pt x="3412" y="3200"/>
                    </a:lnTo>
                    <a:lnTo>
                      <a:pt x="3408" y="3200"/>
                    </a:lnTo>
                    <a:lnTo>
                      <a:pt x="3406" y="3202"/>
                    </a:lnTo>
                    <a:lnTo>
                      <a:pt x="3404" y="3206"/>
                    </a:lnTo>
                    <a:lnTo>
                      <a:pt x="3406" y="3208"/>
                    </a:lnTo>
                    <a:lnTo>
                      <a:pt x="3408" y="3208"/>
                    </a:lnTo>
                    <a:lnTo>
                      <a:pt x="3408" y="3208"/>
                    </a:lnTo>
                    <a:lnTo>
                      <a:pt x="3414" y="3206"/>
                    </a:lnTo>
                    <a:lnTo>
                      <a:pt x="3416" y="3204"/>
                    </a:lnTo>
                    <a:lnTo>
                      <a:pt x="3416" y="3202"/>
                    </a:lnTo>
                    <a:lnTo>
                      <a:pt x="3412" y="3200"/>
                    </a:lnTo>
                    <a:lnTo>
                      <a:pt x="3412" y="3200"/>
                    </a:lnTo>
                    <a:close/>
                    <a:moveTo>
                      <a:pt x="3402" y="3084"/>
                    </a:moveTo>
                    <a:lnTo>
                      <a:pt x="3402" y="3084"/>
                    </a:lnTo>
                    <a:lnTo>
                      <a:pt x="3400" y="3088"/>
                    </a:lnTo>
                    <a:lnTo>
                      <a:pt x="3398" y="3092"/>
                    </a:lnTo>
                    <a:lnTo>
                      <a:pt x="3400" y="3096"/>
                    </a:lnTo>
                    <a:lnTo>
                      <a:pt x="3402" y="3098"/>
                    </a:lnTo>
                    <a:lnTo>
                      <a:pt x="3404" y="3096"/>
                    </a:lnTo>
                    <a:lnTo>
                      <a:pt x="3404" y="3096"/>
                    </a:lnTo>
                    <a:lnTo>
                      <a:pt x="3406" y="3092"/>
                    </a:lnTo>
                    <a:lnTo>
                      <a:pt x="3406" y="3088"/>
                    </a:lnTo>
                    <a:lnTo>
                      <a:pt x="3406" y="3084"/>
                    </a:lnTo>
                    <a:lnTo>
                      <a:pt x="3404" y="3084"/>
                    </a:lnTo>
                    <a:lnTo>
                      <a:pt x="3402" y="3084"/>
                    </a:lnTo>
                    <a:lnTo>
                      <a:pt x="3402" y="3084"/>
                    </a:lnTo>
                    <a:close/>
                    <a:moveTo>
                      <a:pt x="3416" y="3464"/>
                    </a:moveTo>
                    <a:lnTo>
                      <a:pt x="3416" y="3464"/>
                    </a:lnTo>
                    <a:lnTo>
                      <a:pt x="3420" y="3466"/>
                    </a:lnTo>
                    <a:lnTo>
                      <a:pt x="3422" y="3464"/>
                    </a:lnTo>
                    <a:lnTo>
                      <a:pt x="3422" y="3460"/>
                    </a:lnTo>
                    <a:lnTo>
                      <a:pt x="3420" y="3454"/>
                    </a:lnTo>
                    <a:lnTo>
                      <a:pt x="3420" y="3454"/>
                    </a:lnTo>
                    <a:lnTo>
                      <a:pt x="3418" y="3452"/>
                    </a:lnTo>
                    <a:lnTo>
                      <a:pt x="3416" y="3454"/>
                    </a:lnTo>
                    <a:lnTo>
                      <a:pt x="3414" y="3458"/>
                    </a:lnTo>
                    <a:lnTo>
                      <a:pt x="3416" y="3464"/>
                    </a:lnTo>
                    <a:lnTo>
                      <a:pt x="3416" y="3464"/>
                    </a:lnTo>
                    <a:close/>
                    <a:moveTo>
                      <a:pt x="2806" y="3776"/>
                    </a:moveTo>
                    <a:lnTo>
                      <a:pt x="2806" y="3776"/>
                    </a:lnTo>
                    <a:lnTo>
                      <a:pt x="2810" y="3778"/>
                    </a:lnTo>
                    <a:lnTo>
                      <a:pt x="2814" y="3778"/>
                    </a:lnTo>
                    <a:lnTo>
                      <a:pt x="2816" y="3776"/>
                    </a:lnTo>
                    <a:lnTo>
                      <a:pt x="2818" y="3774"/>
                    </a:lnTo>
                    <a:lnTo>
                      <a:pt x="2818" y="3774"/>
                    </a:lnTo>
                    <a:lnTo>
                      <a:pt x="2820" y="3768"/>
                    </a:lnTo>
                    <a:lnTo>
                      <a:pt x="2818" y="3762"/>
                    </a:lnTo>
                    <a:lnTo>
                      <a:pt x="2818" y="3762"/>
                    </a:lnTo>
                    <a:lnTo>
                      <a:pt x="2820" y="3758"/>
                    </a:lnTo>
                    <a:lnTo>
                      <a:pt x="2820" y="3754"/>
                    </a:lnTo>
                    <a:lnTo>
                      <a:pt x="2820" y="3754"/>
                    </a:lnTo>
                    <a:lnTo>
                      <a:pt x="2820" y="3752"/>
                    </a:lnTo>
                    <a:lnTo>
                      <a:pt x="2818" y="3752"/>
                    </a:lnTo>
                    <a:lnTo>
                      <a:pt x="2814" y="3752"/>
                    </a:lnTo>
                    <a:lnTo>
                      <a:pt x="2814" y="3752"/>
                    </a:lnTo>
                    <a:lnTo>
                      <a:pt x="2812" y="3752"/>
                    </a:lnTo>
                    <a:lnTo>
                      <a:pt x="2814" y="3752"/>
                    </a:lnTo>
                    <a:lnTo>
                      <a:pt x="2814" y="3750"/>
                    </a:lnTo>
                    <a:lnTo>
                      <a:pt x="2814" y="3750"/>
                    </a:lnTo>
                    <a:lnTo>
                      <a:pt x="2814" y="3750"/>
                    </a:lnTo>
                    <a:lnTo>
                      <a:pt x="2812" y="3748"/>
                    </a:lnTo>
                    <a:lnTo>
                      <a:pt x="2810" y="3750"/>
                    </a:lnTo>
                    <a:lnTo>
                      <a:pt x="2808" y="3752"/>
                    </a:lnTo>
                    <a:lnTo>
                      <a:pt x="2808" y="3752"/>
                    </a:lnTo>
                    <a:lnTo>
                      <a:pt x="2808" y="3756"/>
                    </a:lnTo>
                    <a:lnTo>
                      <a:pt x="2806" y="3758"/>
                    </a:lnTo>
                    <a:lnTo>
                      <a:pt x="2802" y="3760"/>
                    </a:lnTo>
                    <a:lnTo>
                      <a:pt x="2802" y="3760"/>
                    </a:lnTo>
                    <a:lnTo>
                      <a:pt x="2802" y="3766"/>
                    </a:lnTo>
                    <a:lnTo>
                      <a:pt x="2802" y="3774"/>
                    </a:lnTo>
                    <a:lnTo>
                      <a:pt x="2802" y="3774"/>
                    </a:lnTo>
                    <a:lnTo>
                      <a:pt x="2800" y="3774"/>
                    </a:lnTo>
                    <a:lnTo>
                      <a:pt x="2802" y="3774"/>
                    </a:lnTo>
                    <a:lnTo>
                      <a:pt x="2804" y="3774"/>
                    </a:lnTo>
                    <a:lnTo>
                      <a:pt x="2806" y="3776"/>
                    </a:lnTo>
                    <a:lnTo>
                      <a:pt x="2806" y="3776"/>
                    </a:lnTo>
                    <a:close/>
                    <a:moveTo>
                      <a:pt x="3380" y="3090"/>
                    </a:moveTo>
                    <a:lnTo>
                      <a:pt x="3380" y="3090"/>
                    </a:lnTo>
                    <a:lnTo>
                      <a:pt x="3378" y="3088"/>
                    </a:lnTo>
                    <a:lnTo>
                      <a:pt x="3376" y="3086"/>
                    </a:lnTo>
                    <a:lnTo>
                      <a:pt x="3372" y="3088"/>
                    </a:lnTo>
                    <a:lnTo>
                      <a:pt x="3372" y="3088"/>
                    </a:lnTo>
                    <a:lnTo>
                      <a:pt x="3370" y="3090"/>
                    </a:lnTo>
                    <a:lnTo>
                      <a:pt x="3370" y="3092"/>
                    </a:lnTo>
                    <a:lnTo>
                      <a:pt x="3376" y="3096"/>
                    </a:lnTo>
                    <a:lnTo>
                      <a:pt x="3376" y="3096"/>
                    </a:lnTo>
                    <a:lnTo>
                      <a:pt x="3378" y="3096"/>
                    </a:lnTo>
                    <a:lnTo>
                      <a:pt x="3380" y="3096"/>
                    </a:lnTo>
                    <a:lnTo>
                      <a:pt x="3380" y="3090"/>
                    </a:lnTo>
                    <a:lnTo>
                      <a:pt x="3380" y="3090"/>
                    </a:lnTo>
                    <a:close/>
                    <a:moveTo>
                      <a:pt x="3918" y="2740"/>
                    </a:moveTo>
                    <a:lnTo>
                      <a:pt x="3918" y="2740"/>
                    </a:lnTo>
                    <a:lnTo>
                      <a:pt x="3918" y="2736"/>
                    </a:lnTo>
                    <a:lnTo>
                      <a:pt x="3918" y="2734"/>
                    </a:lnTo>
                    <a:lnTo>
                      <a:pt x="3914" y="2732"/>
                    </a:lnTo>
                    <a:lnTo>
                      <a:pt x="3908" y="2730"/>
                    </a:lnTo>
                    <a:lnTo>
                      <a:pt x="3902" y="2728"/>
                    </a:lnTo>
                    <a:lnTo>
                      <a:pt x="3902" y="2728"/>
                    </a:lnTo>
                    <a:lnTo>
                      <a:pt x="3900" y="2726"/>
                    </a:lnTo>
                    <a:lnTo>
                      <a:pt x="3898" y="2728"/>
                    </a:lnTo>
                    <a:lnTo>
                      <a:pt x="3894" y="2736"/>
                    </a:lnTo>
                    <a:lnTo>
                      <a:pt x="3894" y="2740"/>
                    </a:lnTo>
                    <a:lnTo>
                      <a:pt x="3894" y="2744"/>
                    </a:lnTo>
                    <a:lnTo>
                      <a:pt x="3898" y="2746"/>
                    </a:lnTo>
                    <a:lnTo>
                      <a:pt x="3902" y="2744"/>
                    </a:lnTo>
                    <a:lnTo>
                      <a:pt x="3902" y="2744"/>
                    </a:lnTo>
                    <a:lnTo>
                      <a:pt x="3906" y="2744"/>
                    </a:lnTo>
                    <a:lnTo>
                      <a:pt x="3910" y="2746"/>
                    </a:lnTo>
                    <a:lnTo>
                      <a:pt x="3910" y="2748"/>
                    </a:lnTo>
                    <a:lnTo>
                      <a:pt x="3912" y="2752"/>
                    </a:lnTo>
                    <a:lnTo>
                      <a:pt x="3908" y="2760"/>
                    </a:lnTo>
                    <a:lnTo>
                      <a:pt x="3906" y="2762"/>
                    </a:lnTo>
                    <a:lnTo>
                      <a:pt x="3904" y="2760"/>
                    </a:lnTo>
                    <a:lnTo>
                      <a:pt x="3904" y="2760"/>
                    </a:lnTo>
                    <a:lnTo>
                      <a:pt x="3900" y="2758"/>
                    </a:lnTo>
                    <a:lnTo>
                      <a:pt x="3898" y="2760"/>
                    </a:lnTo>
                    <a:lnTo>
                      <a:pt x="3894" y="2762"/>
                    </a:lnTo>
                    <a:lnTo>
                      <a:pt x="3890" y="2764"/>
                    </a:lnTo>
                    <a:lnTo>
                      <a:pt x="3890" y="2764"/>
                    </a:lnTo>
                    <a:lnTo>
                      <a:pt x="3888" y="2762"/>
                    </a:lnTo>
                    <a:lnTo>
                      <a:pt x="3888" y="2756"/>
                    </a:lnTo>
                    <a:lnTo>
                      <a:pt x="3888" y="2756"/>
                    </a:lnTo>
                    <a:lnTo>
                      <a:pt x="3886" y="2746"/>
                    </a:lnTo>
                    <a:lnTo>
                      <a:pt x="3884" y="2742"/>
                    </a:lnTo>
                    <a:lnTo>
                      <a:pt x="3880" y="2740"/>
                    </a:lnTo>
                    <a:lnTo>
                      <a:pt x="3878" y="2742"/>
                    </a:lnTo>
                    <a:lnTo>
                      <a:pt x="3876" y="2744"/>
                    </a:lnTo>
                    <a:lnTo>
                      <a:pt x="3874" y="2750"/>
                    </a:lnTo>
                    <a:lnTo>
                      <a:pt x="3874" y="2758"/>
                    </a:lnTo>
                    <a:lnTo>
                      <a:pt x="3874" y="2758"/>
                    </a:lnTo>
                    <a:lnTo>
                      <a:pt x="3872" y="2764"/>
                    </a:lnTo>
                    <a:lnTo>
                      <a:pt x="3870" y="2768"/>
                    </a:lnTo>
                    <a:lnTo>
                      <a:pt x="3866" y="2768"/>
                    </a:lnTo>
                    <a:lnTo>
                      <a:pt x="3862" y="2770"/>
                    </a:lnTo>
                    <a:lnTo>
                      <a:pt x="3858" y="2770"/>
                    </a:lnTo>
                    <a:lnTo>
                      <a:pt x="3856" y="2772"/>
                    </a:lnTo>
                    <a:lnTo>
                      <a:pt x="3856" y="2776"/>
                    </a:lnTo>
                    <a:lnTo>
                      <a:pt x="3856" y="2786"/>
                    </a:lnTo>
                    <a:lnTo>
                      <a:pt x="3856" y="2786"/>
                    </a:lnTo>
                    <a:lnTo>
                      <a:pt x="3858" y="2796"/>
                    </a:lnTo>
                    <a:lnTo>
                      <a:pt x="3860" y="2802"/>
                    </a:lnTo>
                    <a:lnTo>
                      <a:pt x="3858" y="2806"/>
                    </a:lnTo>
                    <a:lnTo>
                      <a:pt x="3856" y="2808"/>
                    </a:lnTo>
                    <a:lnTo>
                      <a:pt x="3852" y="2810"/>
                    </a:lnTo>
                    <a:lnTo>
                      <a:pt x="3850" y="2812"/>
                    </a:lnTo>
                    <a:lnTo>
                      <a:pt x="3850" y="2814"/>
                    </a:lnTo>
                    <a:lnTo>
                      <a:pt x="3850" y="2814"/>
                    </a:lnTo>
                    <a:lnTo>
                      <a:pt x="3850" y="2816"/>
                    </a:lnTo>
                    <a:lnTo>
                      <a:pt x="3852" y="2818"/>
                    </a:lnTo>
                    <a:lnTo>
                      <a:pt x="3854" y="2818"/>
                    </a:lnTo>
                    <a:lnTo>
                      <a:pt x="3858" y="2820"/>
                    </a:lnTo>
                    <a:lnTo>
                      <a:pt x="3860" y="2824"/>
                    </a:lnTo>
                    <a:lnTo>
                      <a:pt x="3860" y="2832"/>
                    </a:lnTo>
                    <a:lnTo>
                      <a:pt x="3858" y="2846"/>
                    </a:lnTo>
                    <a:lnTo>
                      <a:pt x="3854" y="2866"/>
                    </a:lnTo>
                    <a:lnTo>
                      <a:pt x="3854" y="2866"/>
                    </a:lnTo>
                    <a:lnTo>
                      <a:pt x="3850" y="2884"/>
                    </a:lnTo>
                    <a:lnTo>
                      <a:pt x="3844" y="2896"/>
                    </a:lnTo>
                    <a:lnTo>
                      <a:pt x="3840" y="2904"/>
                    </a:lnTo>
                    <a:lnTo>
                      <a:pt x="3834" y="2912"/>
                    </a:lnTo>
                    <a:lnTo>
                      <a:pt x="3822" y="2926"/>
                    </a:lnTo>
                    <a:lnTo>
                      <a:pt x="3808" y="2942"/>
                    </a:lnTo>
                    <a:lnTo>
                      <a:pt x="3808" y="2942"/>
                    </a:lnTo>
                    <a:lnTo>
                      <a:pt x="3802" y="2952"/>
                    </a:lnTo>
                    <a:lnTo>
                      <a:pt x="3794" y="2960"/>
                    </a:lnTo>
                    <a:lnTo>
                      <a:pt x="3788" y="2964"/>
                    </a:lnTo>
                    <a:lnTo>
                      <a:pt x="3782" y="2968"/>
                    </a:lnTo>
                    <a:lnTo>
                      <a:pt x="3768" y="2974"/>
                    </a:lnTo>
                    <a:lnTo>
                      <a:pt x="3760" y="2978"/>
                    </a:lnTo>
                    <a:lnTo>
                      <a:pt x="3752" y="2984"/>
                    </a:lnTo>
                    <a:lnTo>
                      <a:pt x="3752" y="2984"/>
                    </a:lnTo>
                    <a:lnTo>
                      <a:pt x="3742" y="2990"/>
                    </a:lnTo>
                    <a:lnTo>
                      <a:pt x="3742" y="2988"/>
                    </a:lnTo>
                    <a:lnTo>
                      <a:pt x="3742" y="2986"/>
                    </a:lnTo>
                    <a:lnTo>
                      <a:pt x="3744" y="2978"/>
                    </a:lnTo>
                    <a:lnTo>
                      <a:pt x="3744" y="2974"/>
                    </a:lnTo>
                    <a:lnTo>
                      <a:pt x="3740" y="2970"/>
                    </a:lnTo>
                    <a:lnTo>
                      <a:pt x="3740" y="2970"/>
                    </a:lnTo>
                    <a:lnTo>
                      <a:pt x="3740" y="2968"/>
                    </a:lnTo>
                    <a:lnTo>
                      <a:pt x="3740" y="2966"/>
                    </a:lnTo>
                    <a:lnTo>
                      <a:pt x="3748" y="2960"/>
                    </a:lnTo>
                    <a:lnTo>
                      <a:pt x="3754" y="2952"/>
                    </a:lnTo>
                    <a:lnTo>
                      <a:pt x="3756" y="2948"/>
                    </a:lnTo>
                    <a:lnTo>
                      <a:pt x="3754" y="2944"/>
                    </a:lnTo>
                    <a:lnTo>
                      <a:pt x="3754" y="2944"/>
                    </a:lnTo>
                    <a:lnTo>
                      <a:pt x="3752" y="2944"/>
                    </a:lnTo>
                    <a:lnTo>
                      <a:pt x="3748" y="2944"/>
                    </a:lnTo>
                    <a:lnTo>
                      <a:pt x="3738" y="2948"/>
                    </a:lnTo>
                    <a:lnTo>
                      <a:pt x="3734" y="2952"/>
                    </a:lnTo>
                    <a:lnTo>
                      <a:pt x="3730" y="2956"/>
                    </a:lnTo>
                    <a:lnTo>
                      <a:pt x="3728" y="2962"/>
                    </a:lnTo>
                    <a:lnTo>
                      <a:pt x="3730" y="2966"/>
                    </a:lnTo>
                    <a:lnTo>
                      <a:pt x="3730" y="2966"/>
                    </a:lnTo>
                    <a:lnTo>
                      <a:pt x="3730" y="2976"/>
                    </a:lnTo>
                    <a:lnTo>
                      <a:pt x="3728" y="2986"/>
                    </a:lnTo>
                    <a:lnTo>
                      <a:pt x="3722" y="2996"/>
                    </a:lnTo>
                    <a:lnTo>
                      <a:pt x="3716" y="3006"/>
                    </a:lnTo>
                    <a:lnTo>
                      <a:pt x="3704" y="3022"/>
                    </a:lnTo>
                    <a:lnTo>
                      <a:pt x="3700" y="3026"/>
                    </a:lnTo>
                    <a:lnTo>
                      <a:pt x="3698" y="3030"/>
                    </a:lnTo>
                    <a:lnTo>
                      <a:pt x="3698" y="3030"/>
                    </a:lnTo>
                    <a:lnTo>
                      <a:pt x="3700" y="3036"/>
                    </a:lnTo>
                    <a:lnTo>
                      <a:pt x="3700" y="3044"/>
                    </a:lnTo>
                    <a:lnTo>
                      <a:pt x="3698" y="3046"/>
                    </a:lnTo>
                    <a:lnTo>
                      <a:pt x="3694" y="3050"/>
                    </a:lnTo>
                    <a:lnTo>
                      <a:pt x="3690" y="3052"/>
                    </a:lnTo>
                    <a:lnTo>
                      <a:pt x="3682" y="3054"/>
                    </a:lnTo>
                    <a:lnTo>
                      <a:pt x="3682" y="3054"/>
                    </a:lnTo>
                    <a:lnTo>
                      <a:pt x="3676" y="3054"/>
                    </a:lnTo>
                    <a:lnTo>
                      <a:pt x="3672" y="3052"/>
                    </a:lnTo>
                    <a:lnTo>
                      <a:pt x="3672" y="3052"/>
                    </a:lnTo>
                    <a:lnTo>
                      <a:pt x="3672" y="3048"/>
                    </a:lnTo>
                    <a:lnTo>
                      <a:pt x="3674" y="3044"/>
                    </a:lnTo>
                    <a:lnTo>
                      <a:pt x="3672" y="3042"/>
                    </a:lnTo>
                    <a:lnTo>
                      <a:pt x="3668" y="3040"/>
                    </a:lnTo>
                    <a:lnTo>
                      <a:pt x="3668" y="3040"/>
                    </a:lnTo>
                    <a:lnTo>
                      <a:pt x="3662" y="3042"/>
                    </a:lnTo>
                    <a:lnTo>
                      <a:pt x="3652" y="3044"/>
                    </a:lnTo>
                    <a:lnTo>
                      <a:pt x="3626" y="3052"/>
                    </a:lnTo>
                    <a:lnTo>
                      <a:pt x="3614" y="3056"/>
                    </a:lnTo>
                    <a:lnTo>
                      <a:pt x="3602" y="3058"/>
                    </a:lnTo>
                    <a:lnTo>
                      <a:pt x="3594" y="3058"/>
                    </a:lnTo>
                    <a:lnTo>
                      <a:pt x="3592" y="3056"/>
                    </a:lnTo>
                    <a:lnTo>
                      <a:pt x="3590" y="3054"/>
                    </a:lnTo>
                    <a:lnTo>
                      <a:pt x="3590" y="3054"/>
                    </a:lnTo>
                    <a:lnTo>
                      <a:pt x="3588" y="3050"/>
                    </a:lnTo>
                    <a:lnTo>
                      <a:pt x="3584" y="3050"/>
                    </a:lnTo>
                    <a:lnTo>
                      <a:pt x="3580" y="3050"/>
                    </a:lnTo>
                    <a:lnTo>
                      <a:pt x="3574" y="3052"/>
                    </a:lnTo>
                    <a:lnTo>
                      <a:pt x="3562" y="3062"/>
                    </a:lnTo>
                    <a:lnTo>
                      <a:pt x="3548" y="3080"/>
                    </a:lnTo>
                    <a:lnTo>
                      <a:pt x="3548" y="3080"/>
                    </a:lnTo>
                    <a:lnTo>
                      <a:pt x="3542" y="3088"/>
                    </a:lnTo>
                    <a:lnTo>
                      <a:pt x="3536" y="3092"/>
                    </a:lnTo>
                    <a:lnTo>
                      <a:pt x="3530" y="3096"/>
                    </a:lnTo>
                    <a:lnTo>
                      <a:pt x="3524" y="3098"/>
                    </a:lnTo>
                    <a:lnTo>
                      <a:pt x="3518" y="3106"/>
                    </a:lnTo>
                    <a:lnTo>
                      <a:pt x="3518" y="3106"/>
                    </a:lnTo>
                    <a:lnTo>
                      <a:pt x="3514" y="3112"/>
                    </a:lnTo>
                    <a:lnTo>
                      <a:pt x="3510" y="3114"/>
                    </a:lnTo>
                    <a:lnTo>
                      <a:pt x="3502" y="3114"/>
                    </a:lnTo>
                    <a:lnTo>
                      <a:pt x="3500" y="3116"/>
                    </a:lnTo>
                    <a:lnTo>
                      <a:pt x="3498" y="3116"/>
                    </a:lnTo>
                    <a:lnTo>
                      <a:pt x="3496" y="3120"/>
                    </a:lnTo>
                    <a:lnTo>
                      <a:pt x="3496" y="3126"/>
                    </a:lnTo>
                    <a:lnTo>
                      <a:pt x="3496" y="3126"/>
                    </a:lnTo>
                    <a:lnTo>
                      <a:pt x="3496" y="3132"/>
                    </a:lnTo>
                    <a:lnTo>
                      <a:pt x="3500" y="3136"/>
                    </a:lnTo>
                    <a:lnTo>
                      <a:pt x="3504" y="3136"/>
                    </a:lnTo>
                    <a:lnTo>
                      <a:pt x="3508" y="3136"/>
                    </a:lnTo>
                    <a:lnTo>
                      <a:pt x="3522" y="3134"/>
                    </a:lnTo>
                    <a:lnTo>
                      <a:pt x="3528" y="3134"/>
                    </a:lnTo>
                    <a:lnTo>
                      <a:pt x="3536" y="3138"/>
                    </a:lnTo>
                    <a:lnTo>
                      <a:pt x="3536" y="3138"/>
                    </a:lnTo>
                    <a:lnTo>
                      <a:pt x="3542" y="3140"/>
                    </a:lnTo>
                    <a:lnTo>
                      <a:pt x="3544" y="3140"/>
                    </a:lnTo>
                    <a:lnTo>
                      <a:pt x="3546" y="3138"/>
                    </a:lnTo>
                    <a:lnTo>
                      <a:pt x="3546" y="3134"/>
                    </a:lnTo>
                    <a:lnTo>
                      <a:pt x="3546" y="3124"/>
                    </a:lnTo>
                    <a:lnTo>
                      <a:pt x="3548" y="3120"/>
                    </a:lnTo>
                    <a:lnTo>
                      <a:pt x="3550" y="3118"/>
                    </a:lnTo>
                    <a:lnTo>
                      <a:pt x="3550" y="3118"/>
                    </a:lnTo>
                    <a:lnTo>
                      <a:pt x="3556" y="3116"/>
                    </a:lnTo>
                    <a:lnTo>
                      <a:pt x="3558" y="3118"/>
                    </a:lnTo>
                    <a:lnTo>
                      <a:pt x="3562" y="3120"/>
                    </a:lnTo>
                    <a:lnTo>
                      <a:pt x="3570" y="3120"/>
                    </a:lnTo>
                    <a:lnTo>
                      <a:pt x="3570" y="3120"/>
                    </a:lnTo>
                    <a:lnTo>
                      <a:pt x="3596" y="3116"/>
                    </a:lnTo>
                    <a:lnTo>
                      <a:pt x="3620" y="3108"/>
                    </a:lnTo>
                    <a:lnTo>
                      <a:pt x="3620" y="3108"/>
                    </a:lnTo>
                    <a:lnTo>
                      <a:pt x="3626" y="3104"/>
                    </a:lnTo>
                    <a:lnTo>
                      <a:pt x="3630" y="3102"/>
                    </a:lnTo>
                    <a:lnTo>
                      <a:pt x="3632" y="3098"/>
                    </a:lnTo>
                    <a:lnTo>
                      <a:pt x="3632" y="3096"/>
                    </a:lnTo>
                    <a:lnTo>
                      <a:pt x="3636" y="3096"/>
                    </a:lnTo>
                    <a:lnTo>
                      <a:pt x="3648" y="3098"/>
                    </a:lnTo>
                    <a:lnTo>
                      <a:pt x="3648" y="3098"/>
                    </a:lnTo>
                    <a:lnTo>
                      <a:pt x="3656" y="3100"/>
                    </a:lnTo>
                    <a:lnTo>
                      <a:pt x="3662" y="3100"/>
                    </a:lnTo>
                    <a:lnTo>
                      <a:pt x="3670" y="3098"/>
                    </a:lnTo>
                    <a:lnTo>
                      <a:pt x="3674" y="3098"/>
                    </a:lnTo>
                    <a:lnTo>
                      <a:pt x="3676" y="3102"/>
                    </a:lnTo>
                    <a:lnTo>
                      <a:pt x="3676" y="3102"/>
                    </a:lnTo>
                    <a:lnTo>
                      <a:pt x="3678" y="3106"/>
                    </a:lnTo>
                    <a:lnTo>
                      <a:pt x="3676" y="3110"/>
                    </a:lnTo>
                    <a:lnTo>
                      <a:pt x="3672" y="3114"/>
                    </a:lnTo>
                    <a:lnTo>
                      <a:pt x="3666" y="3118"/>
                    </a:lnTo>
                    <a:lnTo>
                      <a:pt x="3666" y="3120"/>
                    </a:lnTo>
                    <a:lnTo>
                      <a:pt x="3666" y="3124"/>
                    </a:lnTo>
                    <a:lnTo>
                      <a:pt x="3666" y="3124"/>
                    </a:lnTo>
                    <a:lnTo>
                      <a:pt x="3666" y="3130"/>
                    </a:lnTo>
                    <a:lnTo>
                      <a:pt x="3664" y="3136"/>
                    </a:lnTo>
                    <a:lnTo>
                      <a:pt x="3664" y="3142"/>
                    </a:lnTo>
                    <a:lnTo>
                      <a:pt x="3664" y="3144"/>
                    </a:lnTo>
                    <a:lnTo>
                      <a:pt x="3668" y="3146"/>
                    </a:lnTo>
                    <a:lnTo>
                      <a:pt x="3668" y="3146"/>
                    </a:lnTo>
                    <a:lnTo>
                      <a:pt x="3674" y="3150"/>
                    </a:lnTo>
                    <a:lnTo>
                      <a:pt x="3674" y="3152"/>
                    </a:lnTo>
                    <a:lnTo>
                      <a:pt x="3676" y="3156"/>
                    </a:lnTo>
                    <a:lnTo>
                      <a:pt x="3684" y="3162"/>
                    </a:lnTo>
                    <a:lnTo>
                      <a:pt x="3684" y="3164"/>
                    </a:lnTo>
                    <a:lnTo>
                      <a:pt x="3684" y="3164"/>
                    </a:lnTo>
                    <a:lnTo>
                      <a:pt x="3688" y="3166"/>
                    </a:lnTo>
                    <a:lnTo>
                      <a:pt x="3692" y="3164"/>
                    </a:lnTo>
                    <a:lnTo>
                      <a:pt x="3696" y="3160"/>
                    </a:lnTo>
                    <a:lnTo>
                      <a:pt x="3700" y="3156"/>
                    </a:lnTo>
                    <a:lnTo>
                      <a:pt x="3716" y="3130"/>
                    </a:lnTo>
                    <a:lnTo>
                      <a:pt x="3716" y="3130"/>
                    </a:lnTo>
                    <a:lnTo>
                      <a:pt x="3720" y="3124"/>
                    </a:lnTo>
                    <a:lnTo>
                      <a:pt x="3724" y="3122"/>
                    </a:lnTo>
                    <a:lnTo>
                      <a:pt x="3734" y="3118"/>
                    </a:lnTo>
                    <a:lnTo>
                      <a:pt x="3738" y="3116"/>
                    </a:lnTo>
                    <a:lnTo>
                      <a:pt x="3738" y="3114"/>
                    </a:lnTo>
                    <a:lnTo>
                      <a:pt x="3736" y="3112"/>
                    </a:lnTo>
                    <a:lnTo>
                      <a:pt x="3730" y="3108"/>
                    </a:lnTo>
                    <a:lnTo>
                      <a:pt x="3730" y="3108"/>
                    </a:lnTo>
                    <a:lnTo>
                      <a:pt x="3724" y="3104"/>
                    </a:lnTo>
                    <a:lnTo>
                      <a:pt x="3722" y="3098"/>
                    </a:lnTo>
                    <a:lnTo>
                      <a:pt x="3722" y="3090"/>
                    </a:lnTo>
                    <a:lnTo>
                      <a:pt x="3724" y="3086"/>
                    </a:lnTo>
                    <a:lnTo>
                      <a:pt x="3728" y="3082"/>
                    </a:lnTo>
                    <a:lnTo>
                      <a:pt x="3732" y="3080"/>
                    </a:lnTo>
                    <a:lnTo>
                      <a:pt x="3734" y="3082"/>
                    </a:lnTo>
                    <a:lnTo>
                      <a:pt x="3734" y="3086"/>
                    </a:lnTo>
                    <a:lnTo>
                      <a:pt x="3734" y="3086"/>
                    </a:lnTo>
                    <a:lnTo>
                      <a:pt x="3736" y="3092"/>
                    </a:lnTo>
                    <a:lnTo>
                      <a:pt x="3738" y="3094"/>
                    </a:lnTo>
                    <a:lnTo>
                      <a:pt x="3742" y="3096"/>
                    </a:lnTo>
                    <a:lnTo>
                      <a:pt x="3746" y="3096"/>
                    </a:lnTo>
                    <a:lnTo>
                      <a:pt x="3750" y="3096"/>
                    </a:lnTo>
                    <a:lnTo>
                      <a:pt x="3746" y="3100"/>
                    </a:lnTo>
                    <a:lnTo>
                      <a:pt x="3746" y="3100"/>
                    </a:lnTo>
                    <a:lnTo>
                      <a:pt x="3742" y="3104"/>
                    </a:lnTo>
                    <a:lnTo>
                      <a:pt x="3742" y="3104"/>
                    </a:lnTo>
                    <a:lnTo>
                      <a:pt x="3750" y="3104"/>
                    </a:lnTo>
                    <a:lnTo>
                      <a:pt x="3762" y="3102"/>
                    </a:lnTo>
                    <a:lnTo>
                      <a:pt x="3774" y="3102"/>
                    </a:lnTo>
                    <a:lnTo>
                      <a:pt x="3774" y="3102"/>
                    </a:lnTo>
                    <a:lnTo>
                      <a:pt x="3782" y="3104"/>
                    </a:lnTo>
                    <a:lnTo>
                      <a:pt x="3786" y="3104"/>
                    </a:lnTo>
                    <a:lnTo>
                      <a:pt x="3788" y="3100"/>
                    </a:lnTo>
                    <a:lnTo>
                      <a:pt x="3792" y="3092"/>
                    </a:lnTo>
                    <a:lnTo>
                      <a:pt x="3792" y="3092"/>
                    </a:lnTo>
                    <a:lnTo>
                      <a:pt x="3800" y="3082"/>
                    </a:lnTo>
                    <a:lnTo>
                      <a:pt x="3806" y="3076"/>
                    </a:lnTo>
                    <a:lnTo>
                      <a:pt x="3810" y="3076"/>
                    </a:lnTo>
                    <a:lnTo>
                      <a:pt x="3810" y="3078"/>
                    </a:lnTo>
                    <a:lnTo>
                      <a:pt x="3812" y="3082"/>
                    </a:lnTo>
                    <a:lnTo>
                      <a:pt x="3810" y="3090"/>
                    </a:lnTo>
                    <a:lnTo>
                      <a:pt x="3810" y="3090"/>
                    </a:lnTo>
                    <a:lnTo>
                      <a:pt x="3810" y="3096"/>
                    </a:lnTo>
                    <a:lnTo>
                      <a:pt x="3810" y="3102"/>
                    </a:lnTo>
                    <a:lnTo>
                      <a:pt x="3812" y="3104"/>
                    </a:lnTo>
                    <a:lnTo>
                      <a:pt x="3814" y="3104"/>
                    </a:lnTo>
                    <a:lnTo>
                      <a:pt x="3820" y="3098"/>
                    </a:lnTo>
                    <a:lnTo>
                      <a:pt x="3824" y="3086"/>
                    </a:lnTo>
                    <a:lnTo>
                      <a:pt x="3824" y="3086"/>
                    </a:lnTo>
                    <a:lnTo>
                      <a:pt x="3826" y="3076"/>
                    </a:lnTo>
                    <a:lnTo>
                      <a:pt x="3828" y="3068"/>
                    </a:lnTo>
                    <a:lnTo>
                      <a:pt x="3830" y="3066"/>
                    </a:lnTo>
                    <a:lnTo>
                      <a:pt x="3834" y="3066"/>
                    </a:lnTo>
                    <a:lnTo>
                      <a:pt x="3842" y="3070"/>
                    </a:lnTo>
                    <a:lnTo>
                      <a:pt x="3842" y="3070"/>
                    </a:lnTo>
                    <a:lnTo>
                      <a:pt x="3848" y="3074"/>
                    </a:lnTo>
                    <a:lnTo>
                      <a:pt x="3848" y="3074"/>
                    </a:lnTo>
                    <a:lnTo>
                      <a:pt x="3848" y="3072"/>
                    </a:lnTo>
                    <a:lnTo>
                      <a:pt x="3848" y="3064"/>
                    </a:lnTo>
                    <a:lnTo>
                      <a:pt x="3848" y="3060"/>
                    </a:lnTo>
                    <a:lnTo>
                      <a:pt x="3850" y="3054"/>
                    </a:lnTo>
                    <a:lnTo>
                      <a:pt x="3850" y="3054"/>
                    </a:lnTo>
                    <a:lnTo>
                      <a:pt x="3852" y="3050"/>
                    </a:lnTo>
                    <a:lnTo>
                      <a:pt x="3856" y="3048"/>
                    </a:lnTo>
                    <a:lnTo>
                      <a:pt x="3862" y="3046"/>
                    </a:lnTo>
                    <a:lnTo>
                      <a:pt x="3864" y="3048"/>
                    </a:lnTo>
                    <a:lnTo>
                      <a:pt x="3864" y="3050"/>
                    </a:lnTo>
                    <a:lnTo>
                      <a:pt x="3864" y="3052"/>
                    </a:lnTo>
                    <a:lnTo>
                      <a:pt x="3862" y="3056"/>
                    </a:lnTo>
                    <a:lnTo>
                      <a:pt x="3862" y="3056"/>
                    </a:lnTo>
                    <a:lnTo>
                      <a:pt x="3858" y="3066"/>
                    </a:lnTo>
                    <a:lnTo>
                      <a:pt x="3854" y="3080"/>
                    </a:lnTo>
                    <a:lnTo>
                      <a:pt x="3854" y="3090"/>
                    </a:lnTo>
                    <a:lnTo>
                      <a:pt x="3856" y="3090"/>
                    </a:lnTo>
                    <a:lnTo>
                      <a:pt x="3860" y="3086"/>
                    </a:lnTo>
                    <a:lnTo>
                      <a:pt x="3860" y="3086"/>
                    </a:lnTo>
                    <a:lnTo>
                      <a:pt x="3864" y="3080"/>
                    </a:lnTo>
                    <a:lnTo>
                      <a:pt x="3866" y="3078"/>
                    </a:lnTo>
                    <a:lnTo>
                      <a:pt x="3872" y="3076"/>
                    </a:lnTo>
                    <a:lnTo>
                      <a:pt x="3874" y="3076"/>
                    </a:lnTo>
                    <a:lnTo>
                      <a:pt x="3876" y="3072"/>
                    </a:lnTo>
                    <a:lnTo>
                      <a:pt x="3878" y="3060"/>
                    </a:lnTo>
                    <a:lnTo>
                      <a:pt x="3878" y="3060"/>
                    </a:lnTo>
                    <a:lnTo>
                      <a:pt x="3880" y="3052"/>
                    </a:lnTo>
                    <a:lnTo>
                      <a:pt x="3886" y="3048"/>
                    </a:lnTo>
                    <a:lnTo>
                      <a:pt x="3890" y="3048"/>
                    </a:lnTo>
                    <a:lnTo>
                      <a:pt x="3894" y="3048"/>
                    </a:lnTo>
                    <a:lnTo>
                      <a:pt x="3898" y="3048"/>
                    </a:lnTo>
                    <a:lnTo>
                      <a:pt x="3900" y="3046"/>
                    </a:lnTo>
                    <a:lnTo>
                      <a:pt x="3898" y="3042"/>
                    </a:lnTo>
                    <a:lnTo>
                      <a:pt x="3892" y="3034"/>
                    </a:lnTo>
                    <a:lnTo>
                      <a:pt x="3892" y="3034"/>
                    </a:lnTo>
                    <a:lnTo>
                      <a:pt x="3888" y="3028"/>
                    </a:lnTo>
                    <a:lnTo>
                      <a:pt x="3886" y="3022"/>
                    </a:lnTo>
                    <a:lnTo>
                      <a:pt x="3884" y="3010"/>
                    </a:lnTo>
                    <a:lnTo>
                      <a:pt x="3886" y="3000"/>
                    </a:lnTo>
                    <a:lnTo>
                      <a:pt x="3892" y="2988"/>
                    </a:lnTo>
                    <a:lnTo>
                      <a:pt x="3896" y="2978"/>
                    </a:lnTo>
                    <a:lnTo>
                      <a:pt x="3902" y="2966"/>
                    </a:lnTo>
                    <a:lnTo>
                      <a:pt x="3902" y="2952"/>
                    </a:lnTo>
                    <a:lnTo>
                      <a:pt x="3900" y="2938"/>
                    </a:lnTo>
                    <a:lnTo>
                      <a:pt x="3900" y="2938"/>
                    </a:lnTo>
                    <a:lnTo>
                      <a:pt x="3898" y="2928"/>
                    </a:lnTo>
                    <a:lnTo>
                      <a:pt x="3898" y="2920"/>
                    </a:lnTo>
                    <a:lnTo>
                      <a:pt x="3898" y="2912"/>
                    </a:lnTo>
                    <a:lnTo>
                      <a:pt x="3900" y="2906"/>
                    </a:lnTo>
                    <a:lnTo>
                      <a:pt x="3904" y="2902"/>
                    </a:lnTo>
                    <a:lnTo>
                      <a:pt x="3908" y="2900"/>
                    </a:lnTo>
                    <a:lnTo>
                      <a:pt x="3912" y="2900"/>
                    </a:lnTo>
                    <a:lnTo>
                      <a:pt x="3918" y="2902"/>
                    </a:lnTo>
                    <a:lnTo>
                      <a:pt x="3918" y="2902"/>
                    </a:lnTo>
                    <a:lnTo>
                      <a:pt x="3922" y="2906"/>
                    </a:lnTo>
                    <a:lnTo>
                      <a:pt x="3924" y="2906"/>
                    </a:lnTo>
                    <a:lnTo>
                      <a:pt x="3924" y="2898"/>
                    </a:lnTo>
                    <a:lnTo>
                      <a:pt x="3924" y="2884"/>
                    </a:lnTo>
                    <a:lnTo>
                      <a:pt x="3926" y="2876"/>
                    </a:lnTo>
                    <a:lnTo>
                      <a:pt x="3930" y="2868"/>
                    </a:lnTo>
                    <a:lnTo>
                      <a:pt x="3930" y="2868"/>
                    </a:lnTo>
                    <a:lnTo>
                      <a:pt x="3936" y="2860"/>
                    </a:lnTo>
                    <a:lnTo>
                      <a:pt x="3940" y="2850"/>
                    </a:lnTo>
                    <a:lnTo>
                      <a:pt x="3942" y="2840"/>
                    </a:lnTo>
                    <a:lnTo>
                      <a:pt x="3944" y="2830"/>
                    </a:lnTo>
                    <a:lnTo>
                      <a:pt x="3942" y="2820"/>
                    </a:lnTo>
                    <a:lnTo>
                      <a:pt x="3940" y="2810"/>
                    </a:lnTo>
                    <a:lnTo>
                      <a:pt x="3936" y="2802"/>
                    </a:lnTo>
                    <a:lnTo>
                      <a:pt x="3932" y="2794"/>
                    </a:lnTo>
                    <a:lnTo>
                      <a:pt x="3932" y="2794"/>
                    </a:lnTo>
                    <a:lnTo>
                      <a:pt x="3926" y="2788"/>
                    </a:lnTo>
                    <a:lnTo>
                      <a:pt x="3922" y="2780"/>
                    </a:lnTo>
                    <a:lnTo>
                      <a:pt x="3918" y="2766"/>
                    </a:lnTo>
                    <a:lnTo>
                      <a:pt x="3918" y="2752"/>
                    </a:lnTo>
                    <a:lnTo>
                      <a:pt x="3918" y="2740"/>
                    </a:lnTo>
                    <a:lnTo>
                      <a:pt x="3918" y="2740"/>
                    </a:lnTo>
                    <a:close/>
                    <a:moveTo>
                      <a:pt x="3276" y="3612"/>
                    </a:moveTo>
                    <a:lnTo>
                      <a:pt x="3276" y="3612"/>
                    </a:lnTo>
                    <a:lnTo>
                      <a:pt x="3274" y="3610"/>
                    </a:lnTo>
                    <a:lnTo>
                      <a:pt x="3270" y="3612"/>
                    </a:lnTo>
                    <a:lnTo>
                      <a:pt x="3268" y="3614"/>
                    </a:lnTo>
                    <a:lnTo>
                      <a:pt x="3268" y="3618"/>
                    </a:lnTo>
                    <a:lnTo>
                      <a:pt x="3268" y="3618"/>
                    </a:lnTo>
                    <a:lnTo>
                      <a:pt x="3272" y="3618"/>
                    </a:lnTo>
                    <a:lnTo>
                      <a:pt x="3274" y="3618"/>
                    </a:lnTo>
                    <a:lnTo>
                      <a:pt x="3276" y="3614"/>
                    </a:lnTo>
                    <a:lnTo>
                      <a:pt x="3276" y="3612"/>
                    </a:lnTo>
                    <a:lnTo>
                      <a:pt x="3276" y="3612"/>
                    </a:lnTo>
                    <a:close/>
                    <a:moveTo>
                      <a:pt x="3322" y="3130"/>
                    </a:moveTo>
                    <a:lnTo>
                      <a:pt x="3322" y="3130"/>
                    </a:lnTo>
                    <a:lnTo>
                      <a:pt x="3324" y="3128"/>
                    </a:lnTo>
                    <a:lnTo>
                      <a:pt x="3322" y="3126"/>
                    </a:lnTo>
                    <a:lnTo>
                      <a:pt x="3318" y="3126"/>
                    </a:lnTo>
                    <a:lnTo>
                      <a:pt x="3318" y="3126"/>
                    </a:lnTo>
                    <a:lnTo>
                      <a:pt x="3316" y="3128"/>
                    </a:lnTo>
                    <a:lnTo>
                      <a:pt x="3318" y="3130"/>
                    </a:lnTo>
                    <a:lnTo>
                      <a:pt x="3320" y="3130"/>
                    </a:lnTo>
                    <a:lnTo>
                      <a:pt x="3322" y="3130"/>
                    </a:lnTo>
                    <a:lnTo>
                      <a:pt x="3322" y="3130"/>
                    </a:lnTo>
                    <a:close/>
                    <a:moveTo>
                      <a:pt x="3302" y="3176"/>
                    </a:moveTo>
                    <a:lnTo>
                      <a:pt x="3302" y="3176"/>
                    </a:lnTo>
                    <a:lnTo>
                      <a:pt x="3304" y="3178"/>
                    </a:lnTo>
                    <a:lnTo>
                      <a:pt x="3310" y="3178"/>
                    </a:lnTo>
                    <a:lnTo>
                      <a:pt x="3320" y="3176"/>
                    </a:lnTo>
                    <a:lnTo>
                      <a:pt x="3330" y="3170"/>
                    </a:lnTo>
                    <a:lnTo>
                      <a:pt x="3334" y="3166"/>
                    </a:lnTo>
                    <a:lnTo>
                      <a:pt x="3334" y="3162"/>
                    </a:lnTo>
                    <a:lnTo>
                      <a:pt x="3334" y="3162"/>
                    </a:lnTo>
                    <a:lnTo>
                      <a:pt x="3332" y="3158"/>
                    </a:lnTo>
                    <a:lnTo>
                      <a:pt x="3326" y="3158"/>
                    </a:lnTo>
                    <a:lnTo>
                      <a:pt x="3322" y="3158"/>
                    </a:lnTo>
                    <a:lnTo>
                      <a:pt x="3314" y="3160"/>
                    </a:lnTo>
                    <a:lnTo>
                      <a:pt x="3310" y="3164"/>
                    </a:lnTo>
                    <a:lnTo>
                      <a:pt x="3304" y="3166"/>
                    </a:lnTo>
                    <a:lnTo>
                      <a:pt x="3302" y="3172"/>
                    </a:lnTo>
                    <a:lnTo>
                      <a:pt x="3302" y="3176"/>
                    </a:lnTo>
                    <a:lnTo>
                      <a:pt x="3302" y="3176"/>
                    </a:lnTo>
                    <a:close/>
                    <a:moveTo>
                      <a:pt x="3372" y="3542"/>
                    </a:moveTo>
                    <a:lnTo>
                      <a:pt x="3372" y="3542"/>
                    </a:lnTo>
                    <a:lnTo>
                      <a:pt x="3374" y="3538"/>
                    </a:lnTo>
                    <a:lnTo>
                      <a:pt x="3376" y="3534"/>
                    </a:lnTo>
                    <a:lnTo>
                      <a:pt x="3386" y="3520"/>
                    </a:lnTo>
                    <a:lnTo>
                      <a:pt x="3386" y="3520"/>
                    </a:lnTo>
                    <a:lnTo>
                      <a:pt x="3392" y="3512"/>
                    </a:lnTo>
                    <a:lnTo>
                      <a:pt x="3394" y="3508"/>
                    </a:lnTo>
                    <a:lnTo>
                      <a:pt x="3390" y="3508"/>
                    </a:lnTo>
                    <a:lnTo>
                      <a:pt x="3384" y="3512"/>
                    </a:lnTo>
                    <a:lnTo>
                      <a:pt x="3384" y="3512"/>
                    </a:lnTo>
                    <a:lnTo>
                      <a:pt x="3374" y="3522"/>
                    </a:lnTo>
                    <a:lnTo>
                      <a:pt x="3370" y="3528"/>
                    </a:lnTo>
                    <a:lnTo>
                      <a:pt x="3366" y="3538"/>
                    </a:lnTo>
                    <a:lnTo>
                      <a:pt x="3366" y="3538"/>
                    </a:lnTo>
                    <a:lnTo>
                      <a:pt x="3366" y="3544"/>
                    </a:lnTo>
                    <a:lnTo>
                      <a:pt x="3368" y="3546"/>
                    </a:lnTo>
                    <a:lnTo>
                      <a:pt x="3372" y="3544"/>
                    </a:lnTo>
                    <a:lnTo>
                      <a:pt x="3372" y="3542"/>
                    </a:lnTo>
                    <a:lnTo>
                      <a:pt x="3372" y="3542"/>
                    </a:lnTo>
                    <a:close/>
                    <a:moveTo>
                      <a:pt x="3932" y="2136"/>
                    </a:moveTo>
                    <a:lnTo>
                      <a:pt x="3932" y="2136"/>
                    </a:lnTo>
                    <a:lnTo>
                      <a:pt x="3930" y="2138"/>
                    </a:lnTo>
                    <a:lnTo>
                      <a:pt x="3932" y="2138"/>
                    </a:lnTo>
                    <a:lnTo>
                      <a:pt x="3936" y="2142"/>
                    </a:lnTo>
                    <a:lnTo>
                      <a:pt x="3942" y="2150"/>
                    </a:lnTo>
                    <a:lnTo>
                      <a:pt x="3950" y="2162"/>
                    </a:lnTo>
                    <a:lnTo>
                      <a:pt x="3950" y="2162"/>
                    </a:lnTo>
                    <a:lnTo>
                      <a:pt x="3952" y="2168"/>
                    </a:lnTo>
                    <a:lnTo>
                      <a:pt x="3952" y="2174"/>
                    </a:lnTo>
                    <a:lnTo>
                      <a:pt x="3948" y="2186"/>
                    </a:lnTo>
                    <a:lnTo>
                      <a:pt x="3944" y="2198"/>
                    </a:lnTo>
                    <a:lnTo>
                      <a:pt x="3944" y="2206"/>
                    </a:lnTo>
                    <a:lnTo>
                      <a:pt x="3946" y="2214"/>
                    </a:lnTo>
                    <a:lnTo>
                      <a:pt x="3946" y="2214"/>
                    </a:lnTo>
                    <a:lnTo>
                      <a:pt x="3948" y="2224"/>
                    </a:lnTo>
                    <a:lnTo>
                      <a:pt x="3948" y="2236"/>
                    </a:lnTo>
                    <a:lnTo>
                      <a:pt x="3948" y="2266"/>
                    </a:lnTo>
                    <a:lnTo>
                      <a:pt x="3944" y="2294"/>
                    </a:lnTo>
                    <a:lnTo>
                      <a:pt x="3940" y="2304"/>
                    </a:lnTo>
                    <a:lnTo>
                      <a:pt x="3938" y="2312"/>
                    </a:lnTo>
                    <a:lnTo>
                      <a:pt x="3938" y="2312"/>
                    </a:lnTo>
                    <a:lnTo>
                      <a:pt x="3936" y="2316"/>
                    </a:lnTo>
                    <a:lnTo>
                      <a:pt x="3938" y="2320"/>
                    </a:lnTo>
                    <a:lnTo>
                      <a:pt x="3944" y="2330"/>
                    </a:lnTo>
                    <a:lnTo>
                      <a:pt x="3946" y="2336"/>
                    </a:lnTo>
                    <a:lnTo>
                      <a:pt x="3948" y="2344"/>
                    </a:lnTo>
                    <a:lnTo>
                      <a:pt x="3946" y="2356"/>
                    </a:lnTo>
                    <a:lnTo>
                      <a:pt x="3942" y="2370"/>
                    </a:lnTo>
                    <a:lnTo>
                      <a:pt x="3942" y="2370"/>
                    </a:lnTo>
                    <a:lnTo>
                      <a:pt x="3940" y="2378"/>
                    </a:lnTo>
                    <a:lnTo>
                      <a:pt x="3940" y="2386"/>
                    </a:lnTo>
                    <a:lnTo>
                      <a:pt x="3942" y="2400"/>
                    </a:lnTo>
                    <a:lnTo>
                      <a:pt x="3944" y="2412"/>
                    </a:lnTo>
                    <a:lnTo>
                      <a:pt x="3944" y="2418"/>
                    </a:lnTo>
                    <a:lnTo>
                      <a:pt x="3940" y="2424"/>
                    </a:lnTo>
                    <a:lnTo>
                      <a:pt x="3940" y="2424"/>
                    </a:lnTo>
                    <a:lnTo>
                      <a:pt x="3936" y="2436"/>
                    </a:lnTo>
                    <a:lnTo>
                      <a:pt x="3934" y="2444"/>
                    </a:lnTo>
                    <a:lnTo>
                      <a:pt x="3936" y="2454"/>
                    </a:lnTo>
                    <a:lnTo>
                      <a:pt x="3938" y="2468"/>
                    </a:lnTo>
                    <a:lnTo>
                      <a:pt x="3938" y="2468"/>
                    </a:lnTo>
                    <a:lnTo>
                      <a:pt x="3942" y="2478"/>
                    </a:lnTo>
                    <a:lnTo>
                      <a:pt x="3944" y="2478"/>
                    </a:lnTo>
                    <a:lnTo>
                      <a:pt x="3946" y="2478"/>
                    </a:lnTo>
                    <a:lnTo>
                      <a:pt x="3950" y="2470"/>
                    </a:lnTo>
                    <a:lnTo>
                      <a:pt x="3954" y="2456"/>
                    </a:lnTo>
                    <a:lnTo>
                      <a:pt x="3954" y="2456"/>
                    </a:lnTo>
                    <a:lnTo>
                      <a:pt x="3958" y="2442"/>
                    </a:lnTo>
                    <a:lnTo>
                      <a:pt x="3962" y="2434"/>
                    </a:lnTo>
                    <a:lnTo>
                      <a:pt x="3966" y="2432"/>
                    </a:lnTo>
                    <a:lnTo>
                      <a:pt x="3968" y="2432"/>
                    </a:lnTo>
                    <a:lnTo>
                      <a:pt x="3972" y="2434"/>
                    </a:lnTo>
                    <a:lnTo>
                      <a:pt x="3972" y="2434"/>
                    </a:lnTo>
                    <a:lnTo>
                      <a:pt x="3976" y="2438"/>
                    </a:lnTo>
                    <a:lnTo>
                      <a:pt x="3980" y="2440"/>
                    </a:lnTo>
                    <a:lnTo>
                      <a:pt x="3984" y="2438"/>
                    </a:lnTo>
                    <a:lnTo>
                      <a:pt x="3990" y="2440"/>
                    </a:lnTo>
                    <a:lnTo>
                      <a:pt x="3990" y="2440"/>
                    </a:lnTo>
                    <a:lnTo>
                      <a:pt x="3994" y="2442"/>
                    </a:lnTo>
                    <a:lnTo>
                      <a:pt x="3996" y="2446"/>
                    </a:lnTo>
                    <a:lnTo>
                      <a:pt x="3998" y="2456"/>
                    </a:lnTo>
                    <a:lnTo>
                      <a:pt x="4000" y="2464"/>
                    </a:lnTo>
                    <a:lnTo>
                      <a:pt x="4000" y="2466"/>
                    </a:lnTo>
                    <a:lnTo>
                      <a:pt x="4002" y="2466"/>
                    </a:lnTo>
                    <a:lnTo>
                      <a:pt x="4002" y="2466"/>
                    </a:lnTo>
                    <a:lnTo>
                      <a:pt x="4006" y="2454"/>
                    </a:lnTo>
                    <a:lnTo>
                      <a:pt x="4006" y="2448"/>
                    </a:lnTo>
                    <a:lnTo>
                      <a:pt x="4004" y="2444"/>
                    </a:lnTo>
                    <a:lnTo>
                      <a:pt x="4002" y="2434"/>
                    </a:lnTo>
                    <a:lnTo>
                      <a:pt x="4002" y="2434"/>
                    </a:lnTo>
                    <a:lnTo>
                      <a:pt x="4002" y="2426"/>
                    </a:lnTo>
                    <a:lnTo>
                      <a:pt x="4002" y="2426"/>
                    </a:lnTo>
                    <a:lnTo>
                      <a:pt x="3998" y="2426"/>
                    </a:lnTo>
                    <a:lnTo>
                      <a:pt x="3992" y="2426"/>
                    </a:lnTo>
                    <a:lnTo>
                      <a:pt x="3992" y="2426"/>
                    </a:lnTo>
                    <a:lnTo>
                      <a:pt x="3990" y="2422"/>
                    </a:lnTo>
                    <a:lnTo>
                      <a:pt x="3986" y="2420"/>
                    </a:lnTo>
                    <a:lnTo>
                      <a:pt x="3984" y="2410"/>
                    </a:lnTo>
                    <a:lnTo>
                      <a:pt x="3980" y="2400"/>
                    </a:lnTo>
                    <a:lnTo>
                      <a:pt x="3976" y="2394"/>
                    </a:lnTo>
                    <a:lnTo>
                      <a:pt x="3972" y="2390"/>
                    </a:lnTo>
                    <a:lnTo>
                      <a:pt x="3972" y="2390"/>
                    </a:lnTo>
                    <a:lnTo>
                      <a:pt x="3966" y="2382"/>
                    </a:lnTo>
                    <a:lnTo>
                      <a:pt x="3964" y="2372"/>
                    </a:lnTo>
                    <a:lnTo>
                      <a:pt x="3964" y="2362"/>
                    </a:lnTo>
                    <a:lnTo>
                      <a:pt x="3964" y="2350"/>
                    </a:lnTo>
                    <a:lnTo>
                      <a:pt x="3970" y="2328"/>
                    </a:lnTo>
                    <a:lnTo>
                      <a:pt x="3978" y="2314"/>
                    </a:lnTo>
                    <a:lnTo>
                      <a:pt x="3978" y="2314"/>
                    </a:lnTo>
                    <a:lnTo>
                      <a:pt x="3980" y="2308"/>
                    </a:lnTo>
                    <a:lnTo>
                      <a:pt x="3982" y="2304"/>
                    </a:lnTo>
                    <a:lnTo>
                      <a:pt x="3982" y="2294"/>
                    </a:lnTo>
                    <a:lnTo>
                      <a:pt x="3984" y="2290"/>
                    </a:lnTo>
                    <a:lnTo>
                      <a:pt x="3984" y="2288"/>
                    </a:lnTo>
                    <a:lnTo>
                      <a:pt x="3988" y="2284"/>
                    </a:lnTo>
                    <a:lnTo>
                      <a:pt x="3994" y="2282"/>
                    </a:lnTo>
                    <a:lnTo>
                      <a:pt x="3994" y="2282"/>
                    </a:lnTo>
                    <a:lnTo>
                      <a:pt x="4004" y="2280"/>
                    </a:lnTo>
                    <a:lnTo>
                      <a:pt x="4014" y="2280"/>
                    </a:lnTo>
                    <a:lnTo>
                      <a:pt x="4026" y="2286"/>
                    </a:lnTo>
                    <a:lnTo>
                      <a:pt x="4036" y="2294"/>
                    </a:lnTo>
                    <a:lnTo>
                      <a:pt x="4036" y="2294"/>
                    </a:lnTo>
                    <a:lnTo>
                      <a:pt x="4048" y="2314"/>
                    </a:lnTo>
                    <a:lnTo>
                      <a:pt x="4052" y="2316"/>
                    </a:lnTo>
                    <a:lnTo>
                      <a:pt x="4052" y="2312"/>
                    </a:lnTo>
                    <a:lnTo>
                      <a:pt x="4052" y="2312"/>
                    </a:lnTo>
                    <a:lnTo>
                      <a:pt x="4048" y="2302"/>
                    </a:lnTo>
                    <a:lnTo>
                      <a:pt x="4040" y="2294"/>
                    </a:lnTo>
                    <a:lnTo>
                      <a:pt x="4034" y="2282"/>
                    </a:lnTo>
                    <a:lnTo>
                      <a:pt x="4032" y="2276"/>
                    </a:lnTo>
                    <a:lnTo>
                      <a:pt x="4030" y="2268"/>
                    </a:lnTo>
                    <a:lnTo>
                      <a:pt x="4030" y="2268"/>
                    </a:lnTo>
                    <a:lnTo>
                      <a:pt x="4026" y="2252"/>
                    </a:lnTo>
                    <a:lnTo>
                      <a:pt x="4020" y="2234"/>
                    </a:lnTo>
                    <a:lnTo>
                      <a:pt x="4012" y="2214"/>
                    </a:lnTo>
                    <a:lnTo>
                      <a:pt x="4010" y="2206"/>
                    </a:lnTo>
                    <a:lnTo>
                      <a:pt x="4010" y="2196"/>
                    </a:lnTo>
                    <a:lnTo>
                      <a:pt x="4010" y="2196"/>
                    </a:lnTo>
                    <a:lnTo>
                      <a:pt x="4008" y="2180"/>
                    </a:lnTo>
                    <a:lnTo>
                      <a:pt x="4004" y="2168"/>
                    </a:lnTo>
                    <a:lnTo>
                      <a:pt x="4002" y="2158"/>
                    </a:lnTo>
                    <a:lnTo>
                      <a:pt x="3998" y="2148"/>
                    </a:lnTo>
                    <a:lnTo>
                      <a:pt x="3998" y="2148"/>
                    </a:lnTo>
                    <a:lnTo>
                      <a:pt x="3998" y="2144"/>
                    </a:lnTo>
                    <a:lnTo>
                      <a:pt x="3998" y="2144"/>
                    </a:lnTo>
                    <a:lnTo>
                      <a:pt x="3994" y="2146"/>
                    </a:lnTo>
                    <a:lnTo>
                      <a:pt x="3994" y="2146"/>
                    </a:lnTo>
                    <a:lnTo>
                      <a:pt x="3992" y="2146"/>
                    </a:lnTo>
                    <a:lnTo>
                      <a:pt x="3992" y="2138"/>
                    </a:lnTo>
                    <a:lnTo>
                      <a:pt x="3992" y="2138"/>
                    </a:lnTo>
                    <a:lnTo>
                      <a:pt x="3994" y="2128"/>
                    </a:lnTo>
                    <a:lnTo>
                      <a:pt x="3994" y="2128"/>
                    </a:lnTo>
                    <a:lnTo>
                      <a:pt x="3992" y="2128"/>
                    </a:lnTo>
                    <a:lnTo>
                      <a:pt x="3990" y="2128"/>
                    </a:lnTo>
                    <a:lnTo>
                      <a:pt x="3988" y="2124"/>
                    </a:lnTo>
                    <a:lnTo>
                      <a:pt x="3988" y="2124"/>
                    </a:lnTo>
                    <a:lnTo>
                      <a:pt x="3988" y="2116"/>
                    </a:lnTo>
                    <a:lnTo>
                      <a:pt x="3988" y="2108"/>
                    </a:lnTo>
                    <a:lnTo>
                      <a:pt x="3992" y="2096"/>
                    </a:lnTo>
                    <a:lnTo>
                      <a:pt x="3994" y="2090"/>
                    </a:lnTo>
                    <a:lnTo>
                      <a:pt x="3996" y="2082"/>
                    </a:lnTo>
                    <a:lnTo>
                      <a:pt x="3996" y="2072"/>
                    </a:lnTo>
                    <a:lnTo>
                      <a:pt x="3994" y="2058"/>
                    </a:lnTo>
                    <a:lnTo>
                      <a:pt x="3994" y="2058"/>
                    </a:lnTo>
                    <a:lnTo>
                      <a:pt x="3990" y="2042"/>
                    </a:lnTo>
                    <a:lnTo>
                      <a:pt x="3988" y="2036"/>
                    </a:lnTo>
                    <a:lnTo>
                      <a:pt x="3986" y="2034"/>
                    </a:lnTo>
                    <a:lnTo>
                      <a:pt x="3988" y="2032"/>
                    </a:lnTo>
                    <a:lnTo>
                      <a:pt x="3988" y="2032"/>
                    </a:lnTo>
                    <a:lnTo>
                      <a:pt x="3988" y="2028"/>
                    </a:lnTo>
                    <a:lnTo>
                      <a:pt x="3986" y="2026"/>
                    </a:lnTo>
                    <a:lnTo>
                      <a:pt x="3984" y="2026"/>
                    </a:lnTo>
                    <a:lnTo>
                      <a:pt x="3982" y="2022"/>
                    </a:lnTo>
                    <a:lnTo>
                      <a:pt x="3982" y="2022"/>
                    </a:lnTo>
                    <a:lnTo>
                      <a:pt x="3982" y="2014"/>
                    </a:lnTo>
                    <a:lnTo>
                      <a:pt x="3978" y="2010"/>
                    </a:lnTo>
                    <a:lnTo>
                      <a:pt x="3978" y="2006"/>
                    </a:lnTo>
                    <a:lnTo>
                      <a:pt x="3980" y="2000"/>
                    </a:lnTo>
                    <a:lnTo>
                      <a:pt x="3980" y="2000"/>
                    </a:lnTo>
                    <a:lnTo>
                      <a:pt x="3984" y="1994"/>
                    </a:lnTo>
                    <a:lnTo>
                      <a:pt x="3982" y="1988"/>
                    </a:lnTo>
                    <a:lnTo>
                      <a:pt x="3978" y="1984"/>
                    </a:lnTo>
                    <a:lnTo>
                      <a:pt x="3974" y="1976"/>
                    </a:lnTo>
                    <a:lnTo>
                      <a:pt x="3974" y="1976"/>
                    </a:lnTo>
                    <a:lnTo>
                      <a:pt x="3970" y="1972"/>
                    </a:lnTo>
                    <a:lnTo>
                      <a:pt x="3970" y="1974"/>
                    </a:lnTo>
                    <a:lnTo>
                      <a:pt x="3966" y="1978"/>
                    </a:lnTo>
                    <a:lnTo>
                      <a:pt x="3962" y="1980"/>
                    </a:lnTo>
                    <a:lnTo>
                      <a:pt x="3958" y="1982"/>
                    </a:lnTo>
                    <a:lnTo>
                      <a:pt x="3958" y="1982"/>
                    </a:lnTo>
                    <a:lnTo>
                      <a:pt x="3954" y="1982"/>
                    </a:lnTo>
                    <a:lnTo>
                      <a:pt x="3954" y="1984"/>
                    </a:lnTo>
                    <a:lnTo>
                      <a:pt x="3960" y="1990"/>
                    </a:lnTo>
                    <a:lnTo>
                      <a:pt x="3966" y="1998"/>
                    </a:lnTo>
                    <a:lnTo>
                      <a:pt x="3968" y="2004"/>
                    </a:lnTo>
                    <a:lnTo>
                      <a:pt x="3970" y="2008"/>
                    </a:lnTo>
                    <a:lnTo>
                      <a:pt x="3970" y="2008"/>
                    </a:lnTo>
                    <a:lnTo>
                      <a:pt x="3966" y="2016"/>
                    </a:lnTo>
                    <a:lnTo>
                      <a:pt x="3964" y="2018"/>
                    </a:lnTo>
                    <a:lnTo>
                      <a:pt x="3962" y="2018"/>
                    </a:lnTo>
                    <a:lnTo>
                      <a:pt x="3960" y="2020"/>
                    </a:lnTo>
                    <a:lnTo>
                      <a:pt x="3960" y="2020"/>
                    </a:lnTo>
                    <a:lnTo>
                      <a:pt x="3960" y="2024"/>
                    </a:lnTo>
                    <a:lnTo>
                      <a:pt x="3962" y="2024"/>
                    </a:lnTo>
                    <a:lnTo>
                      <a:pt x="3964" y="2026"/>
                    </a:lnTo>
                    <a:lnTo>
                      <a:pt x="3966" y="2028"/>
                    </a:lnTo>
                    <a:lnTo>
                      <a:pt x="3966" y="2030"/>
                    </a:lnTo>
                    <a:lnTo>
                      <a:pt x="3962" y="2034"/>
                    </a:lnTo>
                    <a:lnTo>
                      <a:pt x="3962" y="2034"/>
                    </a:lnTo>
                    <a:lnTo>
                      <a:pt x="3958" y="2038"/>
                    </a:lnTo>
                    <a:lnTo>
                      <a:pt x="3954" y="2038"/>
                    </a:lnTo>
                    <a:lnTo>
                      <a:pt x="3954" y="2036"/>
                    </a:lnTo>
                    <a:lnTo>
                      <a:pt x="3952" y="2034"/>
                    </a:lnTo>
                    <a:lnTo>
                      <a:pt x="3952" y="2030"/>
                    </a:lnTo>
                    <a:lnTo>
                      <a:pt x="3950" y="2028"/>
                    </a:lnTo>
                    <a:lnTo>
                      <a:pt x="3946" y="2030"/>
                    </a:lnTo>
                    <a:lnTo>
                      <a:pt x="3946" y="2030"/>
                    </a:lnTo>
                    <a:lnTo>
                      <a:pt x="3940" y="2032"/>
                    </a:lnTo>
                    <a:lnTo>
                      <a:pt x="3936" y="2034"/>
                    </a:lnTo>
                    <a:lnTo>
                      <a:pt x="3932" y="2036"/>
                    </a:lnTo>
                    <a:lnTo>
                      <a:pt x="3934" y="2044"/>
                    </a:lnTo>
                    <a:lnTo>
                      <a:pt x="3934" y="2044"/>
                    </a:lnTo>
                    <a:lnTo>
                      <a:pt x="3936" y="2054"/>
                    </a:lnTo>
                    <a:lnTo>
                      <a:pt x="3938" y="2066"/>
                    </a:lnTo>
                    <a:lnTo>
                      <a:pt x="3936" y="2078"/>
                    </a:lnTo>
                    <a:lnTo>
                      <a:pt x="3930" y="2090"/>
                    </a:lnTo>
                    <a:lnTo>
                      <a:pt x="3930" y="2090"/>
                    </a:lnTo>
                    <a:lnTo>
                      <a:pt x="3928" y="2098"/>
                    </a:lnTo>
                    <a:lnTo>
                      <a:pt x="3928" y="2104"/>
                    </a:lnTo>
                    <a:lnTo>
                      <a:pt x="3930" y="2108"/>
                    </a:lnTo>
                    <a:lnTo>
                      <a:pt x="3928" y="2118"/>
                    </a:lnTo>
                    <a:lnTo>
                      <a:pt x="3928" y="2118"/>
                    </a:lnTo>
                    <a:lnTo>
                      <a:pt x="3926" y="2124"/>
                    </a:lnTo>
                    <a:lnTo>
                      <a:pt x="3928" y="2128"/>
                    </a:lnTo>
                    <a:lnTo>
                      <a:pt x="3930" y="2132"/>
                    </a:lnTo>
                    <a:lnTo>
                      <a:pt x="3934" y="2134"/>
                    </a:lnTo>
                    <a:lnTo>
                      <a:pt x="3934" y="2136"/>
                    </a:lnTo>
                    <a:lnTo>
                      <a:pt x="3932" y="2136"/>
                    </a:lnTo>
                    <a:lnTo>
                      <a:pt x="3932" y="2136"/>
                    </a:lnTo>
                    <a:close/>
                    <a:moveTo>
                      <a:pt x="4070" y="2610"/>
                    </a:moveTo>
                    <a:lnTo>
                      <a:pt x="4070" y="2610"/>
                    </a:lnTo>
                    <a:lnTo>
                      <a:pt x="4068" y="2602"/>
                    </a:lnTo>
                    <a:lnTo>
                      <a:pt x="4068" y="2594"/>
                    </a:lnTo>
                    <a:lnTo>
                      <a:pt x="4070" y="2586"/>
                    </a:lnTo>
                    <a:lnTo>
                      <a:pt x="4072" y="2580"/>
                    </a:lnTo>
                    <a:lnTo>
                      <a:pt x="4078" y="2572"/>
                    </a:lnTo>
                    <a:lnTo>
                      <a:pt x="4078" y="2570"/>
                    </a:lnTo>
                    <a:lnTo>
                      <a:pt x="4076" y="2568"/>
                    </a:lnTo>
                    <a:lnTo>
                      <a:pt x="4076" y="2568"/>
                    </a:lnTo>
                    <a:lnTo>
                      <a:pt x="4072" y="2570"/>
                    </a:lnTo>
                    <a:lnTo>
                      <a:pt x="4068" y="2572"/>
                    </a:lnTo>
                    <a:lnTo>
                      <a:pt x="4062" y="2582"/>
                    </a:lnTo>
                    <a:lnTo>
                      <a:pt x="4054" y="2590"/>
                    </a:lnTo>
                    <a:lnTo>
                      <a:pt x="4050" y="2592"/>
                    </a:lnTo>
                    <a:lnTo>
                      <a:pt x="4044" y="2592"/>
                    </a:lnTo>
                    <a:lnTo>
                      <a:pt x="4044" y="2592"/>
                    </a:lnTo>
                    <a:lnTo>
                      <a:pt x="4040" y="2592"/>
                    </a:lnTo>
                    <a:lnTo>
                      <a:pt x="4038" y="2590"/>
                    </a:lnTo>
                    <a:lnTo>
                      <a:pt x="4036" y="2586"/>
                    </a:lnTo>
                    <a:lnTo>
                      <a:pt x="4034" y="2582"/>
                    </a:lnTo>
                    <a:lnTo>
                      <a:pt x="4032" y="2580"/>
                    </a:lnTo>
                    <a:lnTo>
                      <a:pt x="4028" y="2578"/>
                    </a:lnTo>
                    <a:lnTo>
                      <a:pt x="4022" y="2578"/>
                    </a:lnTo>
                    <a:lnTo>
                      <a:pt x="4022" y="2578"/>
                    </a:lnTo>
                    <a:lnTo>
                      <a:pt x="4012" y="2576"/>
                    </a:lnTo>
                    <a:lnTo>
                      <a:pt x="4004" y="2570"/>
                    </a:lnTo>
                    <a:lnTo>
                      <a:pt x="3994" y="2562"/>
                    </a:lnTo>
                    <a:lnTo>
                      <a:pt x="3984" y="2554"/>
                    </a:lnTo>
                    <a:lnTo>
                      <a:pt x="3966" y="2534"/>
                    </a:lnTo>
                    <a:lnTo>
                      <a:pt x="3952" y="2516"/>
                    </a:lnTo>
                    <a:lnTo>
                      <a:pt x="3952" y="2516"/>
                    </a:lnTo>
                    <a:lnTo>
                      <a:pt x="3946" y="2510"/>
                    </a:lnTo>
                    <a:lnTo>
                      <a:pt x="3940" y="2506"/>
                    </a:lnTo>
                    <a:lnTo>
                      <a:pt x="3934" y="2504"/>
                    </a:lnTo>
                    <a:lnTo>
                      <a:pt x="3930" y="2504"/>
                    </a:lnTo>
                    <a:lnTo>
                      <a:pt x="3926" y="2508"/>
                    </a:lnTo>
                    <a:lnTo>
                      <a:pt x="3924" y="2512"/>
                    </a:lnTo>
                    <a:lnTo>
                      <a:pt x="3924" y="2520"/>
                    </a:lnTo>
                    <a:lnTo>
                      <a:pt x="3928" y="2530"/>
                    </a:lnTo>
                    <a:lnTo>
                      <a:pt x="3928" y="2530"/>
                    </a:lnTo>
                    <a:lnTo>
                      <a:pt x="3932" y="2540"/>
                    </a:lnTo>
                    <a:lnTo>
                      <a:pt x="3932" y="2546"/>
                    </a:lnTo>
                    <a:lnTo>
                      <a:pt x="3932" y="2552"/>
                    </a:lnTo>
                    <a:lnTo>
                      <a:pt x="3930" y="2556"/>
                    </a:lnTo>
                    <a:lnTo>
                      <a:pt x="3928" y="2564"/>
                    </a:lnTo>
                    <a:lnTo>
                      <a:pt x="3926" y="2568"/>
                    </a:lnTo>
                    <a:lnTo>
                      <a:pt x="3928" y="2574"/>
                    </a:lnTo>
                    <a:lnTo>
                      <a:pt x="3928" y="2574"/>
                    </a:lnTo>
                    <a:lnTo>
                      <a:pt x="3928" y="2580"/>
                    </a:lnTo>
                    <a:lnTo>
                      <a:pt x="3928" y="2584"/>
                    </a:lnTo>
                    <a:lnTo>
                      <a:pt x="3922" y="2594"/>
                    </a:lnTo>
                    <a:lnTo>
                      <a:pt x="3918" y="2602"/>
                    </a:lnTo>
                    <a:lnTo>
                      <a:pt x="3916" y="2606"/>
                    </a:lnTo>
                    <a:lnTo>
                      <a:pt x="3916" y="2610"/>
                    </a:lnTo>
                    <a:lnTo>
                      <a:pt x="3916" y="2610"/>
                    </a:lnTo>
                    <a:lnTo>
                      <a:pt x="3918" y="2620"/>
                    </a:lnTo>
                    <a:lnTo>
                      <a:pt x="3918" y="2630"/>
                    </a:lnTo>
                    <a:lnTo>
                      <a:pt x="3914" y="2634"/>
                    </a:lnTo>
                    <a:lnTo>
                      <a:pt x="3912" y="2636"/>
                    </a:lnTo>
                    <a:lnTo>
                      <a:pt x="3906" y="2636"/>
                    </a:lnTo>
                    <a:lnTo>
                      <a:pt x="3900" y="2632"/>
                    </a:lnTo>
                    <a:lnTo>
                      <a:pt x="3900" y="2632"/>
                    </a:lnTo>
                    <a:lnTo>
                      <a:pt x="3886" y="2626"/>
                    </a:lnTo>
                    <a:lnTo>
                      <a:pt x="3876" y="2624"/>
                    </a:lnTo>
                    <a:lnTo>
                      <a:pt x="3874" y="2624"/>
                    </a:lnTo>
                    <a:lnTo>
                      <a:pt x="3872" y="2628"/>
                    </a:lnTo>
                    <a:lnTo>
                      <a:pt x="3874" y="2630"/>
                    </a:lnTo>
                    <a:lnTo>
                      <a:pt x="3878" y="2636"/>
                    </a:lnTo>
                    <a:lnTo>
                      <a:pt x="3878" y="2636"/>
                    </a:lnTo>
                    <a:lnTo>
                      <a:pt x="3880" y="2640"/>
                    </a:lnTo>
                    <a:lnTo>
                      <a:pt x="3880" y="2642"/>
                    </a:lnTo>
                    <a:lnTo>
                      <a:pt x="3878" y="2648"/>
                    </a:lnTo>
                    <a:lnTo>
                      <a:pt x="3872" y="2656"/>
                    </a:lnTo>
                    <a:lnTo>
                      <a:pt x="3866" y="2662"/>
                    </a:lnTo>
                    <a:lnTo>
                      <a:pt x="3858" y="2670"/>
                    </a:lnTo>
                    <a:lnTo>
                      <a:pt x="3854" y="2676"/>
                    </a:lnTo>
                    <a:lnTo>
                      <a:pt x="3852" y="2680"/>
                    </a:lnTo>
                    <a:lnTo>
                      <a:pt x="3852" y="2682"/>
                    </a:lnTo>
                    <a:lnTo>
                      <a:pt x="3854" y="2686"/>
                    </a:lnTo>
                    <a:lnTo>
                      <a:pt x="3856" y="2690"/>
                    </a:lnTo>
                    <a:lnTo>
                      <a:pt x="3856" y="2690"/>
                    </a:lnTo>
                    <a:lnTo>
                      <a:pt x="3862" y="2694"/>
                    </a:lnTo>
                    <a:lnTo>
                      <a:pt x="3866" y="2700"/>
                    </a:lnTo>
                    <a:lnTo>
                      <a:pt x="3866" y="2706"/>
                    </a:lnTo>
                    <a:lnTo>
                      <a:pt x="3864" y="2710"/>
                    </a:lnTo>
                    <a:lnTo>
                      <a:pt x="3860" y="2722"/>
                    </a:lnTo>
                    <a:lnTo>
                      <a:pt x="3862" y="2726"/>
                    </a:lnTo>
                    <a:lnTo>
                      <a:pt x="3864" y="2732"/>
                    </a:lnTo>
                    <a:lnTo>
                      <a:pt x="3864" y="2732"/>
                    </a:lnTo>
                    <a:lnTo>
                      <a:pt x="3866" y="2734"/>
                    </a:lnTo>
                    <a:lnTo>
                      <a:pt x="3870" y="2736"/>
                    </a:lnTo>
                    <a:lnTo>
                      <a:pt x="3874" y="2732"/>
                    </a:lnTo>
                    <a:lnTo>
                      <a:pt x="3880" y="2720"/>
                    </a:lnTo>
                    <a:lnTo>
                      <a:pt x="3880" y="2720"/>
                    </a:lnTo>
                    <a:lnTo>
                      <a:pt x="3884" y="2712"/>
                    </a:lnTo>
                    <a:lnTo>
                      <a:pt x="3888" y="2710"/>
                    </a:lnTo>
                    <a:lnTo>
                      <a:pt x="3890" y="2712"/>
                    </a:lnTo>
                    <a:lnTo>
                      <a:pt x="3896" y="2714"/>
                    </a:lnTo>
                    <a:lnTo>
                      <a:pt x="3900" y="2714"/>
                    </a:lnTo>
                    <a:lnTo>
                      <a:pt x="3908" y="2712"/>
                    </a:lnTo>
                    <a:lnTo>
                      <a:pt x="3908" y="2712"/>
                    </a:lnTo>
                    <a:lnTo>
                      <a:pt x="3912" y="2710"/>
                    </a:lnTo>
                    <a:lnTo>
                      <a:pt x="3910" y="2706"/>
                    </a:lnTo>
                    <a:lnTo>
                      <a:pt x="3894" y="2698"/>
                    </a:lnTo>
                    <a:lnTo>
                      <a:pt x="3886" y="2692"/>
                    </a:lnTo>
                    <a:lnTo>
                      <a:pt x="3878" y="2686"/>
                    </a:lnTo>
                    <a:lnTo>
                      <a:pt x="3874" y="2680"/>
                    </a:lnTo>
                    <a:lnTo>
                      <a:pt x="3874" y="2676"/>
                    </a:lnTo>
                    <a:lnTo>
                      <a:pt x="3876" y="2672"/>
                    </a:lnTo>
                    <a:lnTo>
                      <a:pt x="3876" y="2672"/>
                    </a:lnTo>
                    <a:lnTo>
                      <a:pt x="3882" y="2666"/>
                    </a:lnTo>
                    <a:lnTo>
                      <a:pt x="3886" y="2666"/>
                    </a:lnTo>
                    <a:lnTo>
                      <a:pt x="3888" y="2668"/>
                    </a:lnTo>
                    <a:lnTo>
                      <a:pt x="3892" y="2670"/>
                    </a:lnTo>
                    <a:lnTo>
                      <a:pt x="3896" y="2674"/>
                    </a:lnTo>
                    <a:lnTo>
                      <a:pt x="3900" y="2676"/>
                    </a:lnTo>
                    <a:lnTo>
                      <a:pt x="3906" y="2676"/>
                    </a:lnTo>
                    <a:lnTo>
                      <a:pt x="3912" y="2674"/>
                    </a:lnTo>
                    <a:lnTo>
                      <a:pt x="3912" y="2674"/>
                    </a:lnTo>
                    <a:lnTo>
                      <a:pt x="3918" y="2670"/>
                    </a:lnTo>
                    <a:lnTo>
                      <a:pt x="3924" y="2668"/>
                    </a:lnTo>
                    <a:lnTo>
                      <a:pt x="3930" y="2666"/>
                    </a:lnTo>
                    <a:lnTo>
                      <a:pt x="3936" y="2668"/>
                    </a:lnTo>
                    <a:lnTo>
                      <a:pt x="3954" y="2678"/>
                    </a:lnTo>
                    <a:lnTo>
                      <a:pt x="3984" y="2698"/>
                    </a:lnTo>
                    <a:lnTo>
                      <a:pt x="3984" y="2698"/>
                    </a:lnTo>
                    <a:lnTo>
                      <a:pt x="3992" y="2700"/>
                    </a:lnTo>
                    <a:lnTo>
                      <a:pt x="3996" y="2698"/>
                    </a:lnTo>
                    <a:lnTo>
                      <a:pt x="4000" y="2692"/>
                    </a:lnTo>
                    <a:lnTo>
                      <a:pt x="4002" y="2684"/>
                    </a:lnTo>
                    <a:lnTo>
                      <a:pt x="4008" y="2664"/>
                    </a:lnTo>
                    <a:lnTo>
                      <a:pt x="4012" y="2656"/>
                    </a:lnTo>
                    <a:lnTo>
                      <a:pt x="4018" y="2652"/>
                    </a:lnTo>
                    <a:lnTo>
                      <a:pt x="4018" y="2652"/>
                    </a:lnTo>
                    <a:lnTo>
                      <a:pt x="4030" y="2648"/>
                    </a:lnTo>
                    <a:lnTo>
                      <a:pt x="4042" y="2646"/>
                    </a:lnTo>
                    <a:lnTo>
                      <a:pt x="4054" y="2644"/>
                    </a:lnTo>
                    <a:lnTo>
                      <a:pt x="4068" y="2640"/>
                    </a:lnTo>
                    <a:lnTo>
                      <a:pt x="4068" y="2640"/>
                    </a:lnTo>
                    <a:lnTo>
                      <a:pt x="4090" y="2630"/>
                    </a:lnTo>
                    <a:lnTo>
                      <a:pt x="4096" y="2626"/>
                    </a:lnTo>
                    <a:lnTo>
                      <a:pt x="4096" y="2624"/>
                    </a:lnTo>
                    <a:lnTo>
                      <a:pt x="4094" y="2622"/>
                    </a:lnTo>
                    <a:lnTo>
                      <a:pt x="4094" y="2622"/>
                    </a:lnTo>
                    <a:lnTo>
                      <a:pt x="4092" y="2620"/>
                    </a:lnTo>
                    <a:lnTo>
                      <a:pt x="4090" y="2620"/>
                    </a:lnTo>
                    <a:lnTo>
                      <a:pt x="4084" y="2622"/>
                    </a:lnTo>
                    <a:lnTo>
                      <a:pt x="4082" y="2622"/>
                    </a:lnTo>
                    <a:lnTo>
                      <a:pt x="4078" y="2622"/>
                    </a:lnTo>
                    <a:lnTo>
                      <a:pt x="4074" y="2618"/>
                    </a:lnTo>
                    <a:lnTo>
                      <a:pt x="4070" y="2610"/>
                    </a:lnTo>
                    <a:lnTo>
                      <a:pt x="4070" y="2610"/>
                    </a:lnTo>
                    <a:close/>
                    <a:moveTo>
                      <a:pt x="3802" y="2924"/>
                    </a:moveTo>
                    <a:lnTo>
                      <a:pt x="3802" y="2924"/>
                    </a:lnTo>
                    <a:lnTo>
                      <a:pt x="3806" y="2916"/>
                    </a:lnTo>
                    <a:lnTo>
                      <a:pt x="3806" y="2908"/>
                    </a:lnTo>
                    <a:lnTo>
                      <a:pt x="3804" y="2906"/>
                    </a:lnTo>
                    <a:lnTo>
                      <a:pt x="3802" y="2904"/>
                    </a:lnTo>
                    <a:lnTo>
                      <a:pt x="3800" y="2906"/>
                    </a:lnTo>
                    <a:lnTo>
                      <a:pt x="3796" y="2910"/>
                    </a:lnTo>
                    <a:lnTo>
                      <a:pt x="3796" y="2910"/>
                    </a:lnTo>
                    <a:lnTo>
                      <a:pt x="3792" y="2914"/>
                    </a:lnTo>
                    <a:lnTo>
                      <a:pt x="3792" y="2918"/>
                    </a:lnTo>
                    <a:lnTo>
                      <a:pt x="3792" y="2922"/>
                    </a:lnTo>
                    <a:lnTo>
                      <a:pt x="3792" y="2924"/>
                    </a:lnTo>
                    <a:lnTo>
                      <a:pt x="3794" y="2926"/>
                    </a:lnTo>
                    <a:lnTo>
                      <a:pt x="3798" y="2928"/>
                    </a:lnTo>
                    <a:lnTo>
                      <a:pt x="3800" y="2926"/>
                    </a:lnTo>
                    <a:lnTo>
                      <a:pt x="3802" y="2924"/>
                    </a:lnTo>
                    <a:lnTo>
                      <a:pt x="3802" y="2924"/>
                    </a:lnTo>
                    <a:close/>
                    <a:moveTo>
                      <a:pt x="3594" y="3018"/>
                    </a:moveTo>
                    <a:lnTo>
                      <a:pt x="3594" y="3018"/>
                    </a:lnTo>
                    <a:lnTo>
                      <a:pt x="3596" y="3016"/>
                    </a:lnTo>
                    <a:lnTo>
                      <a:pt x="3596" y="3014"/>
                    </a:lnTo>
                    <a:lnTo>
                      <a:pt x="3594" y="3010"/>
                    </a:lnTo>
                    <a:lnTo>
                      <a:pt x="3592" y="3010"/>
                    </a:lnTo>
                    <a:lnTo>
                      <a:pt x="3592" y="3010"/>
                    </a:lnTo>
                    <a:lnTo>
                      <a:pt x="3590" y="3012"/>
                    </a:lnTo>
                    <a:lnTo>
                      <a:pt x="3588" y="3014"/>
                    </a:lnTo>
                    <a:lnTo>
                      <a:pt x="3590" y="3018"/>
                    </a:lnTo>
                    <a:lnTo>
                      <a:pt x="3594" y="3018"/>
                    </a:lnTo>
                    <a:lnTo>
                      <a:pt x="3594" y="3018"/>
                    </a:lnTo>
                    <a:close/>
                    <a:moveTo>
                      <a:pt x="3048" y="4040"/>
                    </a:moveTo>
                    <a:lnTo>
                      <a:pt x="3048" y="4040"/>
                    </a:lnTo>
                    <a:lnTo>
                      <a:pt x="3046" y="4042"/>
                    </a:lnTo>
                    <a:lnTo>
                      <a:pt x="3044" y="4044"/>
                    </a:lnTo>
                    <a:lnTo>
                      <a:pt x="3042" y="4050"/>
                    </a:lnTo>
                    <a:lnTo>
                      <a:pt x="3044" y="4056"/>
                    </a:lnTo>
                    <a:lnTo>
                      <a:pt x="3046" y="4062"/>
                    </a:lnTo>
                    <a:lnTo>
                      <a:pt x="3046" y="4062"/>
                    </a:lnTo>
                    <a:lnTo>
                      <a:pt x="3048" y="4064"/>
                    </a:lnTo>
                    <a:lnTo>
                      <a:pt x="3050" y="4068"/>
                    </a:lnTo>
                    <a:lnTo>
                      <a:pt x="3052" y="4098"/>
                    </a:lnTo>
                    <a:lnTo>
                      <a:pt x="3052" y="4098"/>
                    </a:lnTo>
                    <a:lnTo>
                      <a:pt x="3054" y="4116"/>
                    </a:lnTo>
                    <a:lnTo>
                      <a:pt x="3056" y="4120"/>
                    </a:lnTo>
                    <a:lnTo>
                      <a:pt x="3058" y="4120"/>
                    </a:lnTo>
                    <a:lnTo>
                      <a:pt x="3062" y="4120"/>
                    </a:lnTo>
                    <a:lnTo>
                      <a:pt x="3064" y="4122"/>
                    </a:lnTo>
                    <a:lnTo>
                      <a:pt x="3066" y="4126"/>
                    </a:lnTo>
                    <a:lnTo>
                      <a:pt x="3066" y="4126"/>
                    </a:lnTo>
                    <a:lnTo>
                      <a:pt x="3070" y="4134"/>
                    </a:lnTo>
                    <a:lnTo>
                      <a:pt x="3074" y="4138"/>
                    </a:lnTo>
                    <a:lnTo>
                      <a:pt x="3076" y="4134"/>
                    </a:lnTo>
                    <a:lnTo>
                      <a:pt x="3076" y="4128"/>
                    </a:lnTo>
                    <a:lnTo>
                      <a:pt x="3076" y="4128"/>
                    </a:lnTo>
                    <a:lnTo>
                      <a:pt x="3078" y="4120"/>
                    </a:lnTo>
                    <a:lnTo>
                      <a:pt x="3078" y="4118"/>
                    </a:lnTo>
                    <a:lnTo>
                      <a:pt x="3082" y="4118"/>
                    </a:lnTo>
                    <a:lnTo>
                      <a:pt x="3086" y="4122"/>
                    </a:lnTo>
                    <a:lnTo>
                      <a:pt x="3086" y="4122"/>
                    </a:lnTo>
                    <a:lnTo>
                      <a:pt x="3090" y="4126"/>
                    </a:lnTo>
                    <a:lnTo>
                      <a:pt x="3092" y="4130"/>
                    </a:lnTo>
                    <a:lnTo>
                      <a:pt x="3090" y="4134"/>
                    </a:lnTo>
                    <a:lnTo>
                      <a:pt x="3086" y="4140"/>
                    </a:lnTo>
                    <a:lnTo>
                      <a:pt x="3086" y="4140"/>
                    </a:lnTo>
                    <a:lnTo>
                      <a:pt x="3080" y="4146"/>
                    </a:lnTo>
                    <a:lnTo>
                      <a:pt x="3076" y="4156"/>
                    </a:lnTo>
                    <a:lnTo>
                      <a:pt x="3078" y="4164"/>
                    </a:lnTo>
                    <a:lnTo>
                      <a:pt x="3078" y="4166"/>
                    </a:lnTo>
                    <a:lnTo>
                      <a:pt x="3082" y="4166"/>
                    </a:lnTo>
                    <a:lnTo>
                      <a:pt x="3082" y="4166"/>
                    </a:lnTo>
                    <a:lnTo>
                      <a:pt x="3084" y="4164"/>
                    </a:lnTo>
                    <a:lnTo>
                      <a:pt x="3088" y="4166"/>
                    </a:lnTo>
                    <a:lnTo>
                      <a:pt x="3092" y="4170"/>
                    </a:lnTo>
                    <a:lnTo>
                      <a:pt x="3096" y="4174"/>
                    </a:lnTo>
                    <a:lnTo>
                      <a:pt x="3100" y="4176"/>
                    </a:lnTo>
                    <a:lnTo>
                      <a:pt x="3104" y="4178"/>
                    </a:lnTo>
                    <a:lnTo>
                      <a:pt x="3104" y="4178"/>
                    </a:lnTo>
                    <a:lnTo>
                      <a:pt x="3112" y="4176"/>
                    </a:lnTo>
                    <a:lnTo>
                      <a:pt x="3112" y="4174"/>
                    </a:lnTo>
                    <a:lnTo>
                      <a:pt x="3112" y="4168"/>
                    </a:lnTo>
                    <a:lnTo>
                      <a:pt x="3112" y="4166"/>
                    </a:lnTo>
                    <a:lnTo>
                      <a:pt x="3116" y="4164"/>
                    </a:lnTo>
                    <a:lnTo>
                      <a:pt x="3116" y="4164"/>
                    </a:lnTo>
                    <a:lnTo>
                      <a:pt x="3120" y="4160"/>
                    </a:lnTo>
                    <a:lnTo>
                      <a:pt x="3124" y="4160"/>
                    </a:lnTo>
                    <a:lnTo>
                      <a:pt x="3138" y="4172"/>
                    </a:lnTo>
                    <a:lnTo>
                      <a:pt x="3138" y="4172"/>
                    </a:lnTo>
                    <a:lnTo>
                      <a:pt x="3144" y="4176"/>
                    </a:lnTo>
                    <a:lnTo>
                      <a:pt x="3148" y="4180"/>
                    </a:lnTo>
                    <a:lnTo>
                      <a:pt x="3152" y="4188"/>
                    </a:lnTo>
                    <a:lnTo>
                      <a:pt x="3154" y="4196"/>
                    </a:lnTo>
                    <a:lnTo>
                      <a:pt x="3156" y="4198"/>
                    </a:lnTo>
                    <a:lnTo>
                      <a:pt x="3158" y="4198"/>
                    </a:lnTo>
                    <a:lnTo>
                      <a:pt x="3158" y="4198"/>
                    </a:lnTo>
                    <a:lnTo>
                      <a:pt x="3162" y="4198"/>
                    </a:lnTo>
                    <a:lnTo>
                      <a:pt x="3162" y="4196"/>
                    </a:lnTo>
                    <a:lnTo>
                      <a:pt x="3162" y="4188"/>
                    </a:lnTo>
                    <a:lnTo>
                      <a:pt x="3154" y="4170"/>
                    </a:lnTo>
                    <a:lnTo>
                      <a:pt x="3154" y="4170"/>
                    </a:lnTo>
                    <a:lnTo>
                      <a:pt x="3154" y="4166"/>
                    </a:lnTo>
                    <a:lnTo>
                      <a:pt x="3154" y="4164"/>
                    </a:lnTo>
                    <a:lnTo>
                      <a:pt x="3160" y="4164"/>
                    </a:lnTo>
                    <a:lnTo>
                      <a:pt x="3164" y="4168"/>
                    </a:lnTo>
                    <a:lnTo>
                      <a:pt x="3168" y="4174"/>
                    </a:lnTo>
                    <a:lnTo>
                      <a:pt x="3168" y="4174"/>
                    </a:lnTo>
                    <a:lnTo>
                      <a:pt x="3172" y="4180"/>
                    </a:lnTo>
                    <a:lnTo>
                      <a:pt x="3176" y="4182"/>
                    </a:lnTo>
                    <a:lnTo>
                      <a:pt x="3180" y="4186"/>
                    </a:lnTo>
                    <a:lnTo>
                      <a:pt x="3184" y="4192"/>
                    </a:lnTo>
                    <a:lnTo>
                      <a:pt x="3184" y="4192"/>
                    </a:lnTo>
                    <a:lnTo>
                      <a:pt x="3186" y="4198"/>
                    </a:lnTo>
                    <a:lnTo>
                      <a:pt x="3186" y="4202"/>
                    </a:lnTo>
                    <a:lnTo>
                      <a:pt x="3188" y="4206"/>
                    </a:lnTo>
                    <a:lnTo>
                      <a:pt x="3196" y="4210"/>
                    </a:lnTo>
                    <a:lnTo>
                      <a:pt x="3196" y="4210"/>
                    </a:lnTo>
                    <a:lnTo>
                      <a:pt x="3206" y="4216"/>
                    </a:lnTo>
                    <a:lnTo>
                      <a:pt x="3210" y="4218"/>
                    </a:lnTo>
                    <a:lnTo>
                      <a:pt x="3212" y="4222"/>
                    </a:lnTo>
                    <a:lnTo>
                      <a:pt x="3212" y="4228"/>
                    </a:lnTo>
                    <a:lnTo>
                      <a:pt x="3212" y="4228"/>
                    </a:lnTo>
                    <a:lnTo>
                      <a:pt x="3216" y="4232"/>
                    </a:lnTo>
                    <a:lnTo>
                      <a:pt x="3218" y="4230"/>
                    </a:lnTo>
                    <a:lnTo>
                      <a:pt x="3220" y="4224"/>
                    </a:lnTo>
                    <a:lnTo>
                      <a:pt x="3222" y="4216"/>
                    </a:lnTo>
                    <a:lnTo>
                      <a:pt x="3222" y="4216"/>
                    </a:lnTo>
                    <a:lnTo>
                      <a:pt x="3222" y="4208"/>
                    </a:lnTo>
                    <a:lnTo>
                      <a:pt x="3220" y="4204"/>
                    </a:lnTo>
                    <a:lnTo>
                      <a:pt x="3218" y="4202"/>
                    </a:lnTo>
                    <a:lnTo>
                      <a:pt x="3210" y="4200"/>
                    </a:lnTo>
                    <a:lnTo>
                      <a:pt x="3210" y="4200"/>
                    </a:lnTo>
                    <a:lnTo>
                      <a:pt x="3206" y="4200"/>
                    </a:lnTo>
                    <a:lnTo>
                      <a:pt x="3206" y="4196"/>
                    </a:lnTo>
                    <a:lnTo>
                      <a:pt x="3206" y="4194"/>
                    </a:lnTo>
                    <a:lnTo>
                      <a:pt x="3206" y="4192"/>
                    </a:lnTo>
                    <a:lnTo>
                      <a:pt x="3204" y="4186"/>
                    </a:lnTo>
                    <a:lnTo>
                      <a:pt x="3198" y="4182"/>
                    </a:lnTo>
                    <a:lnTo>
                      <a:pt x="3198" y="4182"/>
                    </a:lnTo>
                    <a:lnTo>
                      <a:pt x="3196" y="4178"/>
                    </a:lnTo>
                    <a:lnTo>
                      <a:pt x="3194" y="4174"/>
                    </a:lnTo>
                    <a:lnTo>
                      <a:pt x="3196" y="4174"/>
                    </a:lnTo>
                    <a:lnTo>
                      <a:pt x="3198" y="4174"/>
                    </a:lnTo>
                    <a:lnTo>
                      <a:pt x="3206" y="4174"/>
                    </a:lnTo>
                    <a:lnTo>
                      <a:pt x="3210" y="4172"/>
                    </a:lnTo>
                    <a:lnTo>
                      <a:pt x="3212" y="4172"/>
                    </a:lnTo>
                    <a:lnTo>
                      <a:pt x="3212" y="4172"/>
                    </a:lnTo>
                    <a:lnTo>
                      <a:pt x="3214" y="4168"/>
                    </a:lnTo>
                    <a:lnTo>
                      <a:pt x="3210" y="4164"/>
                    </a:lnTo>
                    <a:lnTo>
                      <a:pt x="3194" y="4156"/>
                    </a:lnTo>
                    <a:lnTo>
                      <a:pt x="3194" y="4156"/>
                    </a:lnTo>
                    <a:lnTo>
                      <a:pt x="3190" y="4154"/>
                    </a:lnTo>
                    <a:lnTo>
                      <a:pt x="3186" y="4156"/>
                    </a:lnTo>
                    <a:lnTo>
                      <a:pt x="3186" y="4158"/>
                    </a:lnTo>
                    <a:lnTo>
                      <a:pt x="3184" y="4162"/>
                    </a:lnTo>
                    <a:lnTo>
                      <a:pt x="3184" y="4170"/>
                    </a:lnTo>
                    <a:lnTo>
                      <a:pt x="3182" y="4172"/>
                    </a:lnTo>
                    <a:lnTo>
                      <a:pt x="3180" y="4170"/>
                    </a:lnTo>
                    <a:lnTo>
                      <a:pt x="3180" y="4170"/>
                    </a:lnTo>
                    <a:lnTo>
                      <a:pt x="3178" y="4168"/>
                    </a:lnTo>
                    <a:lnTo>
                      <a:pt x="3176" y="4164"/>
                    </a:lnTo>
                    <a:lnTo>
                      <a:pt x="3176" y="4158"/>
                    </a:lnTo>
                    <a:lnTo>
                      <a:pt x="3176" y="4154"/>
                    </a:lnTo>
                    <a:lnTo>
                      <a:pt x="3174" y="4150"/>
                    </a:lnTo>
                    <a:lnTo>
                      <a:pt x="3170" y="4146"/>
                    </a:lnTo>
                    <a:lnTo>
                      <a:pt x="3164" y="4142"/>
                    </a:lnTo>
                    <a:lnTo>
                      <a:pt x="3164" y="4142"/>
                    </a:lnTo>
                    <a:lnTo>
                      <a:pt x="3158" y="4140"/>
                    </a:lnTo>
                    <a:lnTo>
                      <a:pt x="3154" y="4140"/>
                    </a:lnTo>
                    <a:lnTo>
                      <a:pt x="3152" y="4140"/>
                    </a:lnTo>
                    <a:lnTo>
                      <a:pt x="3150" y="4142"/>
                    </a:lnTo>
                    <a:lnTo>
                      <a:pt x="3148" y="4146"/>
                    </a:lnTo>
                    <a:lnTo>
                      <a:pt x="3148" y="4146"/>
                    </a:lnTo>
                    <a:lnTo>
                      <a:pt x="3144" y="4146"/>
                    </a:lnTo>
                    <a:lnTo>
                      <a:pt x="3144" y="4146"/>
                    </a:lnTo>
                    <a:lnTo>
                      <a:pt x="3142" y="4146"/>
                    </a:lnTo>
                    <a:lnTo>
                      <a:pt x="3140" y="4148"/>
                    </a:lnTo>
                    <a:lnTo>
                      <a:pt x="3140" y="4152"/>
                    </a:lnTo>
                    <a:lnTo>
                      <a:pt x="3140" y="4158"/>
                    </a:lnTo>
                    <a:lnTo>
                      <a:pt x="3138" y="4158"/>
                    </a:lnTo>
                    <a:lnTo>
                      <a:pt x="3136" y="4158"/>
                    </a:lnTo>
                    <a:lnTo>
                      <a:pt x="3136" y="4158"/>
                    </a:lnTo>
                    <a:lnTo>
                      <a:pt x="3130" y="4156"/>
                    </a:lnTo>
                    <a:lnTo>
                      <a:pt x="3126" y="4152"/>
                    </a:lnTo>
                    <a:lnTo>
                      <a:pt x="3122" y="4142"/>
                    </a:lnTo>
                    <a:lnTo>
                      <a:pt x="3120" y="4132"/>
                    </a:lnTo>
                    <a:lnTo>
                      <a:pt x="3120" y="4124"/>
                    </a:lnTo>
                    <a:lnTo>
                      <a:pt x="3120" y="4124"/>
                    </a:lnTo>
                    <a:lnTo>
                      <a:pt x="3120" y="4120"/>
                    </a:lnTo>
                    <a:lnTo>
                      <a:pt x="3120" y="4116"/>
                    </a:lnTo>
                    <a:lnTo>
                      <a:pt x="3116" y="4104"/>
                    </a:lnTo>
                    <a:lnTo>
                      <a:pt x="3112" y="4092"/>
                    </a:lnTo>
                    <a:lnTo>
                      <a:pt x="3112" y="4086"/>
                    </a:lnTo>
                    <a:lnTo>
                      <a:pt x="3116" y="4082"/>
                    </a:lnTo>
                    <a:lnTo>
                      <a:pt x="3116" y="4082"/>
                    </a:lnTo>
                    <a:lnTo>
                      <a:pt x="3120" y="4072"/>
                    </a:lnTo>
                    <a:lnTo>
                      <a:pt x="3120" y="4066"/>
                    </a:lnTo>
                    <a:lnTo>
                      <a:pt x="3120" y="4062"/>
                    </a:lnTo>
                    <a:lnTo>
                      <a:pt x="3124" y="4054"/>
                    </a:lnTo>
                    <a:lnTo>
                      <a:pt x="3124" y="4054"/>
                    </a:lnTo>
                    <a:lnTo>
                      <a:pt x="3128" y="4052"/>
                    </a:lnTo>
                    <a:lnTo>
                      <a:pt x="3130" y="4050"/>
                    </a:lnTo>
                    <a:lnTo>
                      <a:pt x="3132" y="4052"/>
                    </a:lnTo>
                    <a:lnTo>
                      <a:pt x="3134" y="4052"/>
                    </a:lnTo>
                    <a:lnTo>
                      <a:pt x="3136" y="4056"/>
                    </a:lnTo>
                    <a:lnTo>
                      <a:pt x="3136" y="4056"/>
                    </a:lnTo>
                    <a:lnTo>
                      <a:pt x="3138" y="4056"/>
                    </a:lnTo>
                    <a:lnTo>
                      <a:pt x="3138" y="4056"/>
                    </a:lnTo>
                    <a:lnTo>
                      <a:pt x="3144" y="4046"/>
                    </a:lnTo>
                    <a:lnTo>
                      <a:pt x="3148" y="4034"/>
                    </a:lnTo>
                    <a:lnTo>
                      <a:pt x="3154" y="4008"/>
                    </a:lnTo>
                    <a:lnTo>
                      <a:pt x="3154" y="4008"/>
                    </a:lnTo>
                    <a:lnTo>
                      <a:pt x="3154" y="4006"/>
                    </a:lnTo>
                    <a:lnTo>
                      <a:pt x="3152" y="4002"/>
                    </a:lnTo>
                    <a:lnTo>
                      <a:pt x="3146" y="3992"/>
                    </a:lnTo>
                    <a:lnTo>
                      <a:pt x="3144" y="3986"/>
                    </a:lnTo>
                    <a:lnTo>
                      <a:pt x="3142" y="3978"/>
                    </a:lnTo>
                    <a:lnTo>
                      <a:pt x="3142" y="3970"/>
                    </a:lnTo>
                    <a:lnTo>
                      <a:pt x="3144" y="3960"/>
                    </a:lnTo>
                    <a:lnTo>
                      <a:pt x="3144" y="3960"/>
                    </a:lnTo>
                    <a:lnTo>
                      <a:pt x="3148" y="3944"/>
                    </a:lnTo>
                    <a:lnTo>
                      <a:pt x="3146" y="3936"/>
                    </a:lnTo>
                    <a:lnTo>
                      <a:pt x="3146" y="3934"/>
                    </a:lnTo>
                    <a:lnTo>
                      <a:pt x="3142" y="3934"/>
                    </a:lnTo>
                    <a:lnTo>
                      <a:pt x="3140" y="3936"/>
                    </a:lnTo>
                    <a:lnTo>
                      <a:pt x="3136" y="3942"/>
                    </a:lnTo>
                    <a:lnTo>
                      <a:pt x="3136" y="3942"/>
                    </a:lnTo>
                    <a:lnTo>
                      <a:pt x="3132" y="3946"/>
                    </a:lnTo>
                    <a:lnTo>
                      <a:pt x="3126" y="3944"/>
                    </a:lnTo>
                    <a:lnTo>
                      <a:pt x="3122" y="3942"/>
                    </a:lnTo>
                    <a:lnTo>
                      <a:pt x="3114" y="3938"/>
                    </a:lnTo>
                    <a:lnTo>
                      <a:pt x="3100" y="3930"/>
                    </a:lnTo>
                    <a:lnTo>
                      <a:pt x="3094" y="3926"/>
                    </a:lnTo>
                    <a:lnTo>
                      <a:pt x="3086" y="3928"/>
                    </a:lnTo>
                    <a:lnTo>
                      <a:pt x="3086" y="3928"/>
                    </a:lnTo>
                    <a:lnTo>
                      <a:pt x="3076" y="3932"/>
                    </a:lnTo>
                    <a:lnTo>
                      <a:pt x="3076" y="3936"/>
                    </a:lnTo>
                    <a:lnTo>
                      <a:pt x="3074" y="3938"/>
                    </a:lnTo>
                    <a:lnTo>
                      <a:pt x="3074" y="3946"/>
                    </a:lnTo>
                    <a:lnTo>
                      <a:pt x="3074" y="3952"/>
                    </a:lnTo>
                    <a:lnTo>
                      <a:pt x="3072" y="3958"/>
                    </a:lnTo>
                    <a:lnTo>
                      <a:pt x="3072" y="3958"/>
                    </a:lnTo>
                    <a:lnTo>
                      <a:pt x="3068" y="3966"/>
                    </a:lnTo>
                    <a:lnTo>
                      <a:pt x="3068" y="3972"/>
                    </a:lnTo>
                    <a:lnTo>
                      <a:pt x="3068" y="3986"/>
                    </a:lnTo>
                    <a:lnTo>
                      <a:pt x="3070" y="4000"/>
                    </a:lnTo>
                    <a:lnTo>
                      <a:pt x="3068" y="4010"/>
                    </a:lnTo>
                    <a:lnTo>
                      <a:pt x="3066" y="4018"/>
                    </a:lnTo>
                    <a:lnTo>
                      <a:pt x="3066" y="4018"/>
                    </a:lnTo>
                    <a:lnTo>
                      <a:pt x="3064" y="4026"/>
                    </a:lnTo>
                    <a:lnTo>
                      <a:pt x="3062" y="4032"/>
                    </a:lnTo>
                    <a:lnTo>
                      <a:pt x="3064" y="4038"/>
                    </a:lnTo>
                    <a:lnTo>
                      <a:pt x="3066" y="4040"/>
                    </a:lnTo>
                    <a:lnTo>
                      <a:pt x="3068" y="4046"/>
                    </a:lnTo>
                    <a:lnTo>
                      <a:pt x="3070" y="4050"/>
                    </a:lnTo>
                    <a:lnTo>
                      <a:pt x="3068" y="4054"/>
                    </a:lnTo>
                    <a:lnTo>
                      <a:pt x="3068" y="4054"/>
                    </a:lnTo>
                    <a:lnTo>
                      <a:pt x="3066" y="4058"/>
                    </a:lnTo>
                    <a:lnTo>
                      <a:pt x="3062" y="4060"/>
                    </a:lnTo>
                    <a:lnTo>
                      <a:pt x="3060" y="4056"/>
                    </a:lnTo>
                    <a:lnTo>
                      <a:pt x="3058" y="4054"/>
                    </a:lnTo>
                    <a:lnTo>
                      <a:pt x="3052" y="4044"/>
                    </a:lnTo>
                    <a:lnTo>
                      <a:pt x="3050" y="4042"/>
                    </a:lnTo>
                    <a:lnTo>
                      <a:pt x="3048" y="4040"/>
                    </a:lnTo>
                    <a:lnTo>
                      <a:pt x="3048" y="4040"/>
                    </a:lnTo>
                    <a:close/>
                    <a:moveTo>
                      <a:pt x="3012" y="4336"/>
                    </a:moveTo>
                    <a:lnTo>
                      <a:pt x="3012" y="4336"/>
                    </a:lnTo>
                    <a:lnTo>
                      <a:pt x="2996" y="4362"/>
                    </a:lnTo>
                    <a:lnTo>
                      <a:pt x="2978" y="4384"/>
                    </a:lnTo>
                    <a:lnTo>
                      <a:pt x="2978" y="4384"/>
                    </a:lnTo>
                    <a:lnTo>
                      <a:pt x="2960" y="4400"/>
                    </a:lnTo>
                    <a:lnTo>
                      <a:pt x="2950" y="4412"/>
                    </a:lnTo>
                    <a:lnTo>
                      <a:pt x="2948" y="4420"/>
                    </a:lnTo>
                    <a:lnTo>
                      <a:pt x="2944" y="4428"/>
                    </a:lnTo>
                    <a:lnTo>
                      <a:pt x="2944" y="4428"/>
                    </a:lnTo>
                    <a:lnTo>
                      <a:pt x="2944" y="4432"/>
                    </a:lnTo>
                    <a:lnTo>
                      <a:pt x="2946" y="4434"/>
                    </a:lnTo>
                    <a:lnTo>
                      <a:pt x="2946" y="4434"/>
                    </a:lnTo>
                    <a:lnTo>
                      <a:pt x="2950" y="4432"/>
                    </a:lnTo>
                    <a:lnTo>
                      <a:pt x="2954" y="4426"/>
                    </a:lnTo>
                    <a:lnTo>
                      <a:pt x="2960" y="4422"/>
                    </a:lnTo>
                    <a:lnTo>
                      <a:pt x="2960" y="4422"/>
                    </a:lnTo>
                    <a:lnTo>
                      <a:pt x="2968" y="4410"/>
                    </a:lnTo>
                    <a:lnTo>
                      <a:pt x="2994" y="4388"/>
                    </a:lnTo>
                    <a:lnTo>
                      <a:pt x="2994" y="4388"/>
                    </a:lnTo>
                    <a:lnTo>
                      <a:pt x="3002" y="4380"/>
                    </a:lnTo>
                    <a:lnTo>
                      <a:pt x="3006" y="4372"/>
                    </a:lnTo>
                    <a:lnTo>
                      <a:pt x="3008" y="4368"/>
                    </a:lnTo>
                    <a:lnTo>
                      <a:pt x="3008" y="4364"/>
                    </a:lnTo>
                    <a:lnTo>
                      <a:pt x="3010" y="4358"/>
                    </a:lnTo>
                    <a:lnTo>
                      <a:pt x="3012" y="4356"/>
                    </a:lnTo>
                    <a:lnTo>
                      <a:pt x="3016" y="4354"/>
                    </a:lnTo>
                    <a:lnTo>
                      <a:pt x="3016" y="4354"/>
                    </a:lnTo>
                    <a:lnTo>
                      <a:pt x="3022" y="4352"/>
                    </a:lnTo>
                    <a:lnTo>
                      <a:pt x="3024" y="4350"/>
                    </a:lnTo>
                    <a:lnTo>
                      <a:pt x="3028" y="4344"/>
                    </a:lnTo>
                    <a:lnTo>
                      <a:pt x="3030" y="4338"/>
                    </a:lnTo>
                    <a:lnTo>
                      <a:pt x="3030" y="4336"/>
                    </a:lnTo>
                    <a:lnTo>
                      <a:pt x="3034" y="4336"/>
                    </a:lnTo>
                    <a:lnTo>
                      <a:pt x="3034" y="4336"/>
                    </a:lnTo>
                    <a:lnTo>
                      <a:pt x="3038" y="4334"/>
                    </a:lnTo>
                    <a:lnTo>
                      <a:pt x="3042" y="4330"/>
                    </a:lnTo>
                    <a:lnTo>
                      <a:pt x="3044" y="4324"/>
                    </a:lnTo>
                    <a:lnTo>
                      <a:pt x="3042" y="4316"/>
                    </a:lnTo>
                    <a:lnTo>
                      <a:pt x="3042" y="4316"/>
                    </a:lnTo>
                    <a:lnTo>
                      <a:pt x="3040" y="4312"/>
                    </a:lnTo>
                    <a:lnTo>
                      <a:pt x="3040" y="4306"/>
                    </a:lnTo>
                    <a:lnTo>
                      <a:pt x="3040" y="4296"/>
                    </a:lnTo>
                    <a:lnTo>
                      <a:pt x="3040" y="4288"/>
                    </a:lnTo>
                    <a:lnTo>
                      <a:pt x="3038" y="4286"/>
                    </a:lnTo>
                    <a:lnTo>
                      <a:pt x="3036" y="4284"/>
                    </a:lnTo>
                    <a:lnTo>
                      <a:pt x="3036" y="4284"/>
                    </a:lnTo>
                    <a:lnTo>
                      <a:pt x="3034" y="4284"/>
                    </a:lnTo>
                    <a:lnTo>
                      <a:pt x="3032" y="4286"/>
                    </a:lnTo>
                    <a:lnTo>
                      <a:pt x="3032" y="4294"/>
                    </a:lnTo>
                    <a:lnTo>
                      <a:pt x="3030" y="4302"/>
                    </a:lnTo>
                    <a:lnTo>
                      <a:pt x="3028" y="4304"/>
                    </a:lnTo>
                    <a:lnTo>
                      <a:pt x="3026" y="4306"/>
                    </a:lnTo>
                    <a:lnTo>
                      <a:pt x="3026" y="4306"/>
                    </a:lnTo>
                    <a:lnTo>
                      <a:pt x="3024" y="4306"/>
                    </a:lnTo>
                    <a:lnTo>
                      <a:pt x="3024" y="4308"/>
                    </a:lnTo>
                    <a:lnTo>
                      <a:pt x="3026" y="4312"/>
                    </a:lnTo>
                    <a:lnTo>
                      <a:pt x="3028" y="4318"/>
                    </a:lnTo>
                    <a:lnTo>
                      <a:pt x="3028" y="4322"/>
                    </a:lnTo>
                    <a:lnTo>
                      <a:pt x="3026" y="4326"/>
                    </a:lnTo>
                    <a:lnTo>
                      <a:pt x="3026" y="4326"/>
                    </a:lnTo>
                    <a:lnTo>
                      <a:pt x="3022" y="4330"/>
                    </a:lnTo>
                    <a:lnTo>
                      <a:pt x="3020" y="4328"/>
                    </a:lnTo>
                    <a:lnTo>
                      <a:pt x="3018" y="4328"/>
                    </a:lnTo>
                    <a:lnTo>
                      <a:pt x="3012" y="4336"/>
                    </a:lnTo>
                    <a:lnTo>
                      <a:pt x="3012" y="4336"/>
                    </a:lnTo>
                    <a:close/>
                    <a:moveTo>
                      <a:pt x="3126" y="3596"/>
                    </a:moveTo>
                    <a:lnTo>
                      <a:pt x="3126" y="3596"/>
                    </a:lnTo>
                    <a:lnTo>
                      <a:pt x="3122" y="3592"/>
                    </a:lnTo>
                    <a:lnTo>
                      <a:pt x="3118" y="3590"/>
                    </a:lnTo>
                    <a:lnTo>
                      <a:pt x="3116" y="3590"/>
                    </a:lnTo>
                    <a:lnTo>
                      <a:pt x="3114" y="3590"/>
                    </a:lnTo>
                    <a:lnTo>
                      <a:pt x="3110" y="3594"/>
                    </a:lnTo>
                    <a:lnTo>
                      <a:pt x="3104" y="3598"/>
                    </a:lnTo>
                    <a:lnTo>
                      <a:pt x="3104" y="3598"/>
                    </a:lnTo>
                    <a:lnTo>
                      <a:pt x="3098" y="3600"/>
                    </a:lnTo>
                    <a:lnTo>
                      <a:pt x="3092" y="3608"/>
                    </a:lnTo>
                    <a:lnTo>
                      <a:pt x="3072" y="3644"/>
                    </a:lnTo>
                    <a:lnTo>
                      <a:pt x="3072" y="3644"/>
                    </a:lnTo>
                    <a:lnTo>
                      <a:pt x="3062" y="3662"/>
                    </a:lnTo>
                    <a:lnTo>
                      <a:pt x="3060" y="3678"/>
                    </a:lnTo>
                    <a:lnTo>
                      <a:pt x="3060" y="3694"/>
                    </a:lnTo>
                    <a:lnTo>
                      <a:pt x="3062" y="3712"/>
                    </a:lnTo>
                    <a:lnTo>
                      <a:pt x="3062" y="3712"/>
                    </a:lnTo>
                    <a:lnTo>
                      <a:pt x="3066" y="3726"/>
                    </a:lnTo>
                    <a:lnTo>
                      <a:pt x="3070" y="3730"/>
                    </a:lnTo>
                    <a:lnTo>
                      <a:pt x="3074" y="3734"/>
                    </a:lnTo>
                    <a:lnTo>
                      <a:pt x="3078" y="3742"/>
                    </a:lnTo>
                    <a:lnTo>
                      <a:pt x="3078" y="3742"/>
                    </a:lnTo>
                    <a:lnTo>
                      <a:pt x="3082" y="3752"/>
                    </a:lnTo>
                    <a:lnTo>
                      <a:pt x="3086" y="3762"/>
                    </a:lnTo>
                    <a:lnTo>
                      <a:pt x="3088" y="3764"/>
                    </a:lnTo>
                    <a:lnTo>
                      <a:pt x="3090" y="3762"/>
                    </a:lnTo>
                    <a:lnTo>
                      <a:pt x="3090" y="3756"/>
                    </a:lnTo>
                    <a:lnTo>
                      <a:pt x="3090" y="3748"/>
                    </a:lnTo>
                    <a:lnTo>
                      <a:pt x="3090" y="3748"/>
                    </a:lnTo>
                    <a:lnTo>
                      <a:pt x="3092" y="3738"/>
                    </a:lnTo>
                    <a:lnTo>
                      <a:pt x="3094" y="3730"/>
                    </a:lnTo>
                    <a:lnTo>
                      <a:pt x="3096" y="3726"/>
                    </a:lnTo>
                    <a:lnTo>
                      <a:pt x="3098" y="3722"/>
                    </a:lnTo>
                    <a:lnTo>
                      <a:pt x="3102" y="3718"/>
                    </a:lnTo>
                    <a:lnTo>
                      <a:pt x="3106" y="3712"/>
                    </a:lnTo>
                    <a:lnTo>
                      <a:pt x="3110" y="3702"/>
                    </a:lnTo>
                    <a:lnTo>
                      <a:pt x="3114" y="3690"/>
                    </a:lnTo>
                    <a:lnTo>
                      <a:pt x="3114" y="3690"/>
                    </a:lnTo>
                    <a:lnTo>
                      <a:pt x="3120" y="3662"/>
                    </a:lnTo>
                    <a:lnTo>
                      <a:pt x="3126" y="3644"/>
                    </a:lnTo>
                    <a:lnTo>
                      <a:pt x="3130" y="3632"/>
                    </a:lnTo>
                    <a:lnTo>
                      <a:pt x="3130" y="3628"/>
                    </a:lnTo>
                    <a:lnTo>
                      <a:pt x="3128" y="3622"/>
                    </a:lnTo>
                    <a:lnTo>
                      <a:pt x="3128" y="3622"/>
                    </a:lnTo>
                    <a:lnTo>
                      <a:pt x="3128" y="3618"/>
                    </a:lnTo>
                    <a:lnTo>
                      <a:pt x="3128" y="3614"/>
                    </a:lnTo>
                    <a:lnTo>
                      <a:pt x="3130" y="3610"/>
                    </a:lnTo>
                    <a:lnTo>
                      <a:pt x="3132" y="3608"/>
                    </a:lnTo>
                    <a:lnTo>
                      <a:pt x="3132" y="3604"/>
                    </a:lnTo>
                    <a:lnTo>
                      <a:pt x="3130" y="3600"/>
                    </a:lnTo>
                    <a:lnTo>
                      <a:pt x="3126" y="3596"/>
                    </a:lnTo>
                    <a:lnTo>
                      <a:pt x="3126" y="3596"/>
                    </a:lnTo>
                    <a:close/>
                    <a:moveTo>
                      <a:pt x="4186" y="2510"/>
                    </a:moveTo>
                    <a:lnTo>
                      <a:pt x="4186" y="2510"/>
                    </a:lnTo>
                    <a:lnTo>
                      <a:pt x="4182" y="2506"/>
                    </a:lnTo>
                    <a:lnTo>
                      <a:pt x="4182" y="2510"/>
                    </a:lnTo>
                    <a:lnTo>
                      <a:pt x="4180" y="2516"/>
                    </a:lnTo>
                    <a:lnTo>
                      <a:pt x="4180" y="2518"/>
                    </a:lnTo>
                    <a:lnTo>
                      <a:pt x="4176" y="2522"/>
                    </a:lnTo>
                    <a:lnTo>
                      <a:pt x="4176" y="2522"/>
                    </a:lnTo>
                    <a:lnTo>
                      <a:pt x="4166" y="2526"/>
                    </a:lnTo>
                    <a:lnTo>
                      <a:pt x="4156" y="2534"/>
                    </a:lnTo>
                    <a:lnTo>
                      <a:pt x="4148" y="2544"/>
                    </a:lnTo>
                    <a:lnTo>
                      <a:pt x="4140" y="2558"/>
                    </a:lnTo>
                    <a:lnTo>
                      <a:pt x="4140" y="2558"/>
                    </a:lnTo>
                    <a:lnTo>
                      <a:pt x="4140" y="2560"/>
                    </a:lnTo>
                    <a:lnTo>
                      <a:pt x="4140" y="2562"/>
                    </a:lnTo>
                    <a:lnTo>
                      <a:pt x="4142" y="2564"/>
                    </a:lnTo>
                    <a:lnTo>
                      <a:pt x="4144" y="2562"/>
                    </a:lnTo>
                    <a:lnTo>
                      <a:pt x="4152" y="2556"/>
                    </a:lnTo>
                    <a:lnTo>
                      <a:pt x="4162" y="2546"/>
                    </a:lnTo>
                    <a:lnTo>
                      <a:pt x="4162" y="2546"/>
                    </a:lnTo>
                    <a:lnTo>
                      <a:pt x="4170" y="2536"/>
                    </a:lnTo>
                    <a:lnTo>
                      <a:pt x="4176" y="2532"/>
                    </a:lnTo>
                    <a:lnTo>
                      <a:pt x="4182" y="2528"/>
                    </a:lnTo>
                    <a:lnTo>
                      <a:pt x="4192" y="2522"/>
                    </a:lnTo>
                    <a:lnTo>
                      <a:pt x="4192" y="2522"/>
                    </a:lnTo>
                    <a:lnTo>
                      <a:pt x="4196" y="2518"/>
                    </a:lnTo>
                    <a:lnTo>
                      <a:pt x="4202" y="2516"/>
                    </a:lnTo>
                    <a:lnTo>
                      <a:pt x="4212" y="2512"/>
                    </a:lnTo>
                    <a:lnTo>
                      <a:pt x="4216" y="2510"/>
                    </a:lnTo>
                    <a:lnTo>
                      <a:pt x="4218" y="2508"/>
                    </a:lnTo>
                    <a:lnTo>
                      <a:pt x="4218" y="2506"/>
                    </a:lnTo>
                    <a:lnTo>
                      <a:pt x="4216" y="2502"/>
                    </a:lnTo>
                    <a:lnTo>
                      <a:pt x="4216" y="2502"/>
                    </a:lnTo>
                    <a:lnTo>
                      <a:pt x="4214" y="2500"/>
                    </a:lnTo>
                    <a:lnTo>
                      <a:pt x="4210" y="2500"/>
                    </a:lnTo>
                    <a:lnTo>
                      <a:pt x="4204" y="2504"/>
                    </a:lnTo>
                    <a:lnTo>
                      <a:pt x="4194" y="2510"/>
                    </a:lnTo>
                    <a:lnTo>
                      <a:pt x="4190" y="2510"/>
                    </a:lnTo>
                    <a:lnTo>
                      <a:pt x="4186" y="2510"/>
                    </a:lnTo>
                    <a:lnTo>
                      <a:pt x="4186" y="2510"/>
                    </a:lnTo>
                    <a:close/>
                    <a:moveTo>
                      <a:pt x="3264" y="4226"/>
                    </a:moveTo>
                    <a:lnTo>
                      <a:pt x="3264" y="4226"/>
                    </a:lnTo>
                    <a:lnTo>
                      <a:pt x="3258" y="4226"/>
                    </a:lnTo>
                    <a:lnTo>
                      <a:pt x="3250" y="4226"/>
                    </a:lnTo>
                    <a:lnTo>
                      <a:pt x="3242" y="4228"/>
                    </a:lnTo>
                    <a:lnTo>
                      <a:pt x="3234" y="4226"/>
                    </a:lnTo>
                    <a:lnTo>
                      <a:pt x="3234" y="4226"/>
                    </a:lnTo>
                    <a:lnTo>
                      <a:pt x="3230" y="4226"/>
                    </a:lnTo>
                    <a:lnTo>
                      <a:pt x="3228" y="4228"/>
                    </a:lnTo>
                    <a:lnTo>
                      <a:pt x="3228" y="4234"/>
                    </a:lnTo>
                    <a:lnTo>
                      <a:pt x="3234" y="4244"/>
                    </a:lnTo>
                    <a:lnTo>
                      <a:pt x="3242" y="4252"/>
                    </a:lnTo>
                    <a:lnTo>
                      <a:pt x="3242" y="4252"/>
                    </a:lnTo>
                    <a:lnTo>
                      <a:pt x="3246" y="4258"/>
                    </a:lnTo>
                    <a:lnTo>
                      <a:pt x="3248" y="4260"/>
                    </a:lnTo>
                    <a:lnTo>
                      <a:pt x="3250" y="4262"/>
                    </a:lnTo>
                    <a:lnTo>
                      <a:pt x="3254" y="4264"/>
                    </a:lnTo>
                    <a:lnTo>
                      <a:pt x="3254" y="4264"/>
                    </a:lnTo>
                    <a:lnTo>
                      <a:pt x="3258" y="4266"/>
                    </a:lnTo>
                    <a:lnTo>
                      <a:pt x="3258" y="4268"/>
                    </a:lnTo>
                    <a:lnTo>
                      <a:pt x="3256" y="4272"/>
                    </a:lnTo>
                    <a:lnTo>
                      <a:pt x="3254" y="4276"/>
                    </a:lnTo>
                    <a:lnTo>
                      <a:pt x="3254" y="4276"/>
                    </a:lnTo>
                    <a:lnTo>
                      <a:pt x="3252" y="4276"/>
                    </a:lnTo>
                    <a:lnTo>
                      <a:pt x="3252" y="4278"/>
                    </a:lnTo>
                    <a:lnTo>
                      <a:pt x="3256" y="4282"/>
                    </a:lnTo>
                    <a:lnTo>
                      <a:pt x="3260" y="4288"/>
                    </a:lnTo>
                    <a:lnTo>
                      <a:pt x="3264" y="4296"/>
                    </a:lnTo>
                    <a:lnTo>
                      <a:pt x="3264" y="4296"/>
                    </a:lnTo>
                    <a:lnTo>
                      <a:pt x="3266" y="4298"/>
                    </a:lnTo>
                    <a:lnTo>
                      <a:pt x="3268" y="4300"/>
                    </a:lnTo>
                    <a:lnTo>
                      <a:pt x="3272" y="4298"/>
                    </a:lnTo>
                    <a:lnTo>
                      <a:pt x="3276" y="4298"/>
                    </a:lnTo>
                    <a:lnTo>
                      <a:pt x="3280" y="4298"/>
                    </a:lnTo>
                    <a:lnTo>
                      <a:pt x="3282" y="4300"/>
                    </a:lnTo>
                    <a:lnTo>
                      <a:pt x="3282" y="4300"/>
                    </a:lnTo>
                    <a:lnTo>
                      <a:pt x="3286" y="4302"/>
                    </a:lnTo>
                    <a:lnTo>
                      <a:pt x="3288" y="4300"/>
                    </a:lnTo>
                    <a:lnTo>
                      <a:pt x="3286" y="4296"/>
                    </a:lnTo>
                    <a:lnTo>
                      <a:pt x="3282" y="4292"/>
                    </a:lnTo>
                    <a:lnTo>
                      <a:pt x="3282" y="4292"/>
                    </a:lnTo>
                    <a:lnTo>
                      <a:pt x="3282" y="4290"/>
                    </a:lnTo>
                    <a:lnTo>
                      <a:pt x="3282" y="4288"/>
                    </a:lnTo>
                    <a:lnTo>
                      <a:pt x="3282" y="4284"/>
                    </a:lnTo>
                    <a:lnTo>
                      <a:pt x="3278" y="4280"/>
                    </a:lnTo>
                    <a:lnTo>
                      <a:pt x="3278" y="4280"/>
                    </a:lnTo>
                    <a:lnTo>
                      <a:pt x="3276" y="4276"/>
                    </a:lnTo>
                    <a:lnTo>
                      <a:pt x="3276" y="4272"/>
                    </a:lnTo>
                    <a:lnTo>
                      <a:pt x="3276" y="4260"/>
                    </a:lnTo>
                    <a:lnTo>
                      <a:pt x="3276" y="4248"/>
                    </a:lnTo>
                    <a:lnTo>
                      <a:pt x="3276" y="4242"/>
                    </a:lnTo>
                    <a:lnTo>
                      <a:pt x="3274" y="4240"/>
                    </a:lnTo>
                    <a:lnTo>
                      <a:pt x="3274" y="4240"/>
                    </a:lnTo>
                    <a:lnTo>
                      <a:pt x="3270" y="4236"/>
                    </a:lnTo>
                    <a:lnTo>
                      <a:pt x="3270" y="4234"/>
                    </a:lnTo>
                    <a:lnTo>
                      <a:pt x="3268" y="4230"/>
                    </a:lnTo>
                    <a:lnTo>
                      <a:pt x="3264" y="4226"/>
                    </a:lnTo>
                    <a:lnTo>
                      <a:pt x="3264" y="4226"/>
                    </a:lnTo>
                    <a:close/>
                    <a:moveTo>
                      <a:pt x="2906" y="4970"/>
                    </a:moveTo>
                    <a:lnTo>
                      <a:pt x="2906" y="4970"/>
                    </a:lnTo>
                    <a:lnTo>
                      <a:pt x="2908" y="4964"/>
                    </a:lnTo>
                    <a:lnTo>
                      <a:pt x="2910" y="4962"/>
                    </a:lnTo>
                    <a:lnTo>
                      <a:pt x="2914" y="4960"/>
                    </a:lnTo>
                    <a:lnTo>
                      <a:pt x="2918" y="4958"/>
                    </a:lnTo>
                    <a:lnTo>
                      <a:pt x="2918" y="4956"/>
                    </a:lnTo>
                    <a:lnTo>
                      <a:pt x="2918" y="4950"/>
                    </a:lnTo>
                    <a:lnTo>
                      <a:pt x="2916" y="4942"/>
                    </a:lnTo>
                    <a:lnTo>
                      <a:pt x="2916" y="4942"/>
                    </a:lnTo>
                    <a:lnTo>
                      <a:pt x="2914" y="4932"/>
                    </a:lnTo>
                    <a:lnTo>
                      <a:pt x="2914" y="4924"/>
                    </a:lnTo>
                    <a:lnTo>
                      <a:pt x="2916" y="4918"/>
                    </a:lnTo>
                    <a:lnTo>
                      <a:pt x="2920" y="4912"/>
                    </a:lnTo>
                    <a:lnTo>
                      <a:pt x="2930" y="4902"/>
                    </a:lnTo>
                    <a:lnTo>
                      <a:pt x="2934" y="4898"/>
                    </a:lnTo>
                    <a:lnTo>
                      <a:pt x="2938" y="4892"/>
                    </a:lnTo>
                    <a:lnTo>
                      <a:pt x="2938" y="4892"/>
                    </a:lnTo>
                    <a:lnTo>
                      <a:pt x="2940" y="4888"/>
                    </a:lnTo>
                    <a:lnTo>
                      <a:pt x="2944" y="4886"/>
                    </a:lnTo>
                    <a:lnTo>
                      <a:pt x="2952" y="4882"/>
                    </a:lnTo>
                    <a:lnTo>
                      <a:pt x="2954" y="4882"/>
                    </a:lnTo>
                    <a:lnTo>
                      <a:pt x="2958" y="4878"/>
                    </a:lnTo>
                    <a:lnTo>
                      <a:pt x="2958" y="4872"/>
                    </a:lnTo>
                    <a:lnTo>
                      <a:pt x="2958" y="4862"/>
                    </a:lnTo>
                    <a:lnTo>
                      <a:pt x="2958" y="4862"/>
                    </a:lnTo>
                    <a:lnTo>
                      <a:pt x="2956" y="4840"/>
                    </a:lnTo>
                    <a:lnTo>
                      <a:pt x="2958" y="4822"/>
                    </a:lnTo>
                    <a:lnTo>
                      <a:pt x="2962" y="4808"/>
                    </a:lnTo>
                    <a:lnTo>
                      <a:pt x="2964" y="4804"/>
                    </a:lnTo>
                    <a:lnTo>
                      <a:pt x="2968" y="4800"/>
                    </a:lnTo>
                    <a:lnTo>
                      <a:pt x="2968" y="4800"/>
                    </a:lnTo>
                    <a:lnTo>
                      <a:pt x="2972" y="4796"/>
                    </a:lnTo>
                    <a:lnTo>
                      <a:pt x="2974" y="4792"/>
                    </a:lnTo>
                    <a:lnTo>
                      <a:pt x="2978" y="4792"/>
                    </a:lnTo>
                    <a:lnTo>
                      <a:pt x="2982" y="4796"/>
                    </a:lnTo>
                    <a:lnTo>
                      <a:pt x="2982" y="4796"/>
                    </a:lnTo>
                    <a:lnTo>
                      <a:pt x="2988" y="4800"/>
                    </a:lnTo>
                    <a:lnTo>
                      <a:pt x="2992" y="4802"/>
                    </a:lnTo>
                    <a:lnTo>
                      <a:pt x="3002" y="4802"/>
                    </a:lnTo>
                    <a:lnTo>
                      <a:pt x="3010" y="4800"/>
                    </a:lnTo>
                    <a:lnTo>
                      <a:pt x="3012" y="4798"/>
                    </a:lnTo>
                    <a:lnTo>
                      <a:pt x="3014" y="4796"/>
                    </a:lnTo>
                    <a:lnTo>
                      <a:pt x="3014" y="4796"/>
                    </a:lnTo>
                    <a:lnTo>
                      <a:pt x="3012" y="4792"/>
                    </a:lnTo>
                    <a:lnTo>
                      <a:pt x="3006" y="4786"/>
                    </a:lnTo>
                    <a:lnTo>
                      <a:pt x="2988" y="4770"/>
                    </a:lnTo>
                    <a:lnTo>
                      <a:pt x="2980" y="4760"/>
                    </a:lnTo>
                    <a:lnTo>
                      <a:pt x="2972" y="4752"/>
                    </a:lnTo>
                    <a:lnTo>
                      <a:pt x="2970" y="4744"/>
                    </a:lnTo>
                    <a:lnTo>
                      <a:pt x="2970" y="4742"/>
                    </a:lnTo>
                    <a:lnTo>
                      <a:pt x="2970" y="4738"/>
                    </a:lnTo>
                    <a:lnTo>
                      <a:pt x="2970" y="4738"/>
                    </a:lnTo>
                    <a:lnTo>
                      <a:pt x="2974" y="4734"/>
                    </a:lnTo>
                    <a:lnTo>
                      <a:pt x="2976" y="4730"/>
                    </a:lnTo>
                    <a:lnTo>
                      <a:pt x="2974" y="4726"/>
                    </a:lnTo>
                    <a:lnTo>
                      <a:pt x="2972" y="4722"/>
                    </a:lnTo>
                    <a:lnTo>
                      <a:pt x="2966" y="4714"/>
                    </a:lnTo>
                    <a:lnTo>
                      <a:pt x="2964" y="4708"/>
                    </a:lnTo>
                    <a:lnTo>
                      <a:pt x="2962" y="4702"/>
                    </a:lnTo>
                    <a:lnTo>
                      <a:pt x="2962" y="4702"/>
                    </a:lnTo>
                    <a:lnTo>
                      <a:pt x="2960" y="4696"/>
                    </a:lnTo>
                    <a:lnTo>
                      <a:pt x="2958" y="4692"/>
                    </a:lnTo>
                    <a:lnTo>
                      <a:pt x="2954" y="4690"/>
                    </a:lnTo>
                    <a:lnTo>
                      <a:pt x="2950" y="4686"/>
                    </a:lnTo>
                    <a:lnTo>
                      <a:pt x="2948" y="4684"/>
                    </a:lnTo>
                    <a:lnTo>
                      <a:pt x="2950" y="4678"/>
                    </a:lnTo>
                    <a:lnTo>
                      <a:pt x="2950" y="4678"/>
                    </a:lnTo>
                    <a:lnTo>
                      <a:pt x="2950" y="4672"/>
                    </a:lnTo>
                    <a:lnTo>
                      <a:pt x="2952" y="4668"/>
                    </a:lnTo>
                    <a:lnTo>
                      <a:pt x="2956" y="4666"/>
                    </a:lnTo>
                    <a:lnTo>
                      <a:pt x="2958" y="4666"/>
                    </a:lnTo>
                    <a:lnTo>
                      <a:pt x="2964" y="4666"/>
                    </a:lnTo>
                    <a:lnTo>
                      <a:pt x="2966" y="4666"/>
                    </a:lnTo>
                    <a:lnTo>
                      <a:pt x="2966" y="4666"/>
                    </a:lnTo>
                    <a:lnTo>
                      <a:pt x="2966" y="4666"/>
                    </a:lnTo>
                    <a:lnTo>
                      <a:pt x="2966" y="4662"/>
                    </a:lnTo>
                    <a:lnTo>
                      <a:pt x="2964" y="4658"/>
                    </a:lnTo>
                    <a:lnTo>
                      <a:pt x="2956" y="4648"/>
                    </a:lnTo>
                    <a:lnTo>
                      <a:pt x="2956" y="4648"/>
                    </a:lnTo>
                    <a:lnTo>
                      <a:pt x="2954" y="4644"/>
                    </a:lnTo>
                    <a:lnTo>
                      <a:pt x="2954" y="4642"/>
                    </a:lnTo>
                    <a:lnTo>
                      <a:pt x="2954" y="4640"/>
                    </a:lnTo>
                    <a:lnTo>
                      <a:pt x="2956" y="4638"/>
                    </a:lnTo>
                    <a:lnTo>
                      <a:pt x="2956" y="4638"/>
                    </a:lnTo>
                    <a:lnTo>
                      <a:pt x="2958" y="4638"/>
                    </a:lnTo>
                    <a:lnTo>
                      <a:pt x="2960" y="4636"/>
                    </a:lnTo>
                    <a:lnTo>
                      <a:pt x="2958" y="4630"/>
                    </a:lnTo>
                    <a:lnTo>
                      <a:pt x="2958" y="4628"/>
                    </a:lnTo>
                    <a:lnTo>
                      <a:pt x="2966" y="4632"/>
                    </a:lnTo>
                    <a:lnTo>
                      <a:pt x="2966" y="4632"/>
                    </a:lnTo>
                    <a:lnTo>
                      <a:pt x="2972" y="4636"/>
                    </a:lnTo>
                    <a:lnTo>
                      <a:pt x="2976" y="4636"/>
                    </a:lnTo>
                    <a:lnTo>
                      <a:pt x="2980" y="4632"/>
                    </a:lnTo>
                    <a:lnTo>
                      <a:pt x="2986" y="4632"/>
                    </a:lnTo>
                    <a:lnTo>
                      <a:pt x="2986" y="4632"/>
                    </a:lnTo>
                    <a:lnTo>
                      <a:pt x="2992" y="4630"/>
                    </a:lnTo>
                    <a:lnTo>
                      <a:pt x="2998" y="4628"/>
                    </a:lnTo>
                    <a:lnTo>
                      <a:pt x="2998" y="4626"/>
                    </a:lnTo>
                    <a:lnTo>
                      <a:pt x="2998" y="4624"/>
                    </a:lnTo>
                    <a:lnTo>
                      <a:pt x="2990" y="4618"/>
                    </a:lnTo>
                    <a:lnTo>
                      <a:pt x="2990" y="4618"/>
                    </a:lnTo>
                    <a:lnTo>
                      <a:pt x="2982" y="4610"/>
                    </a:lnTo>
                    <a:lnTo>
                      <a:pt x="2980" y="4606"/>
                    </a:lnTo>
                    <a:lnTo>
                      <a:pt x="2982" y="4602"/>
                    </a:lnTo>
                    <a:lnTo>
                      <a:pt x="2986" y="4598"/>
                    </a:lnTo>
                    <a:lnTo>
                      <a:pt x="2986" y="4598"/>
                    </a:lnTo>
                    <a:lnTo>
                      <a:pt x="2988" y="4598"/>
                    </a:lnTo>
                    <a:lnTo>
                      <a:pt x="2990" y="4598"/>
                    </a:lnTo>
                    <a:lnTo>
                      <a:pt x="2994" y="4600"/>
                    </a:lnTo>
                    <a:lnTo>
                      <a:pt x="3002" y="4600"/>
                    </a:lnTo>
                    <a:lnTo>
                      <a:pt x="3002" y="4600"/>
                    </a:lnTo>
                    <a:lnTo>
                      <a:pt x="3014" y="4596"/>
                    </a:lnTo>
                    <a:lnTo>
                      <a:pt x="3020" y="4592"/>
                    </a:lnTo>
                    <a:lnTo>
                      <a:pt x="3024" y="4586"/>
                    </a:lnTo>
                    <a:lnTo>
                      <a:pt x="3024" y="4580"/>
                    </a:lnTo>
                    <a:lnTo>
                      <a:pt x="3024" y="4580"/>
                    </a:lnTo>
                    <a:lnTo>
                      <a:pt x="3022" y="4578"/>
                    </a:lnTo>
                    <a:lnTo>
                      <a:pt x="3022" y="4576"/>
                    </a:lnTo>
                    <a:lnTo>
                      <a:pt x="3018" y="4576"/>
                    </a:lnTo>
                    <a:lnTo>
                      <a:pt x="3014" y="4578"/>
                    </a:lnTo>
                    <a:lnTo>
                      <a:pt x="3012" y="4578"/>
                    </a:lnTo>
                    <a:lnTo>
                      <a:pt x="3010" y="4576"/>
                    </a:lnTo>
                    <a:lnTo>
                      <a:pt x="3010" y="4576"/>
                    </a:lnTo>
                    <a:lnTo>
                      <a:pt x="3006" y="4572"/>
                    </a:lnTo>
                    <a:lnTo>
                      <a:pt x="3004" y="4572"/>
                    </a:lnTo>
                    <a:lnTo>
                      <a:pt x="3000" y="4570"/>
                    </a:lnTo>
                    <a:lnTo>
                      <a:pt x="2998" y="4566"/>
                    </a:lnTo>
                    <a:lnTo>
                      <a:pt x="2998" y="4566"/>
                    </a:lnTo>
                    <a:lnTo>
                      <a:pt x="2994" y="4562"/>
                    </a:lnTo>
                    <a:lnTo>
                      <a:pt x="2988" y="4560"/>
                    </a:lnTo>
                    <a:lnTo>
                      <a:pt x="2984" y="4560"/>
                    </a:lnTo>
                    <a:lnTo>
                      <a:pt x="2982" y="4560"/>
                    </a:lnTo>
                    <a:lnTo>
                      <a:pt x="2982" y="4560"/>
                    </a:lnTo>
                    <a:lnTo>
                      <a:pt x="2976" y="4564"/>
                    </a:lnTo>
                    <a:lnTo>
                      <a:pt x="2974" y="4564"/>
                    </a:lnTo>
                    <a:lnTo>
                      <a:pt x="2972" y="4562"/>
                    </a:lnTo>
                    <a:lnTo>
                      <a:pt x="2972" y="4562"/>
                    </a:lnTo>
                    <a:lnTo>
                      <a:pt x="2972" y="4560"/>
                    </a:lnTo>
                    <a:lnTo>
                      <a:pt x="2974" y="4558"/>
                    </a:lnTo>
                    <a:lnTo>
                      <a:pt x="2976" y="4556"/>
                    </a:lnTo>
                    <a:lnTo>
                      <a:pt x="2976" y="4550"/>
                    </a:lnTo>
                    <a:lnTo>
                      <a:pt x="2976" y="4550"/>
                    </a:lnTo>
                    <a:lnTo>
                      <a:pt x="2974" y="4548"/>
                    </a:lnTo>
                    <a:lnTo>
                      <a:pt x="2972" y="4548"/>
                    </a:lnTo>
                    <a:lnTo>
                      <a:pt x="2968" y="4548"/>
                    </a:lnTo>
                    <a:lnTo>
                      <a:pt x="2964" y="4550"/>
                    </a:lnTo>
                    <a:lnTo>
                      <a:pt x="2962" y="4550"/>
                    </a:lnTo>
                    <a:lnTo>
                      <a:pt x="2960" y="4548"/>
                    </a:lnTo>
                    <a:lnTo>
                      <a:pt x="2960" y="4548"/>
                    </a:lnTo>
                    <a:lnTo>
                      <a:pt x="2960" y="4542"/>
                    </a:lnTo>
                    <a:lnTo>
                      <a:pt x="2960" y="4536"/>
                    </a:lnTo>
                    <a:lnTo>
                      <a:pt x="2962" y="4530"/>
                    </a:lnTo>
                    <a:lnTo>
                      <a:pt x="2958" y="4522"/>
                    </a:lnTo>
                    <a:lnTo>
                      <a:pt x="2958" y="4522"/>
                    </a:lnTo>
                    <a:lnTo>
                      <a:pt x="2954" y="4518"/>
                    </a:lnTo>
                    <a:lnTo>
                      <a:pt x="2952" y="4520"/>
                    </a:lnTo>
                    <a:lnTo>
                      <a:pt x="2952" y="4520"/>
                    </a:lnTo>
                    <a:lnTo>
                      <a:pt x="2948" y="4520"/>
                    </a:lnTo>
                    <a:lnTo>
                      <a:pt x="2946" y="4518"/>
                    </a:lnTo>
                    <a:lnTo>
                      <a:pt x="2944" y="4510"/>
                    </a:lnTo>
                    <a:lnTo>
                      <a:pt x="2942" y="4504"/>
                    </a:lnTo>
                    <a:lnTo>
                      <a:pt x="2940" y="4502"/>
                    </a:lnTo>
                    <a:lnTo>
                      <a:pt x="2938" y="4502"/>
                    </a:lnTo>
                    <a:lnTo>
                      <a:pt x="2938" y="4502"/>
                    </a:lnTo>
                    <a:lnTo>
                      <a:pt x="2936" y="4504"/>
                    </a:lnTo>
                    <a:lnTo>
                      <a:pt x="2934" y="4508"/>
                    </a:lnTo>
                    <a:lnTo>
                      <a:pt x="2932" y="4514"/>
                    </a:lnTo>
                    <a:lnTo>
                      <a:pt x="2928" y="4520"/>
                    </a:lnTo>
                    <a:lnTo>
                      <a:pt x="2928" y="4520"/>
                    </a:lnTo>
                    <a:lnTo>
                      <a:pt x="2926" y="4522"/>
                    </a:lnTo>
                    <a:lnTo>
                      <a:pt x="2924" y="4520"/>
                    </a:lnTo>
                    <a:lnTo>
                      <a:pt x="2926" y="4512"/>
                    </a:lnTo>
                    <a:lnTo>
                      <a:pt x="2928" y="4504"/>
                    </a:lnTo>
                    <a:lnTo>
                      <a:pt x="2926" y="4500"/>
                    </a:lnTo>
                    <a:lnTo>
                      <a:pt x="2924" y="4500"/>
                    </a:lnTo>
                    <a:lnTo>
                      <a:pt x="2924" y="4500"/>
                    </a:lnTo>
                    <a:lnTo>
                      <a:pt x="2920" y="4502"/>
                    </a:lnTo>
                    <a:lnTo>
                      <a:pt x="2918" y="4506"/>
                    </a:lnTo>
                    <a:lnTo>
                      <a:pt x="2916" y="4514"/>
                    </a:lnTo>
                    <a:lnTo>
                      <a:pt x="2910" y="4528"/>
                    </a:lnTo>
                    <a:lnTo>
                      <a:pt x="2910" y="4528"/>
                    </a:lnTo>
                    <a:lnTo>
                      <a:pt x="2904" y="4538"/>
                    </a:lnTo>
                    <a:lnTo>
                      <a:pt x="2900" y="4542"/>
                    </a:lnTo>
                    <a:lnTo>
                      <a:pt x="2896" y="4544"/>
                    </a:lnTo>
                    <a:lnTo>
                      <a:pt x="2896" y="4548"/>
                    </a:lnTo>
                    <a:lnTo>
                      <a:pt x="2896" y="4548"/>
                    </a:lnTo>
                    <a:lnTo>
                      <a:pt x="2894" y="4556"/>
                    </a:lnTo>
                    <a:lnTo>
                      <a:pt x="2892" y="4558"/>
                    </a:lnTo>
                    <a:lnTo>
                      <a:pt x="2890" y="4560"/>
                    </a:lnTo>
                    <a:lnTo>
                      <a:pt x="2890" y="4562"/>
                    </a:lnTo>
                    <a:lnTo>
                      <a:pt x="2890" y="4562"/>
                    </a:lnTo>
                    <a:lnTo>
                      <a:pt x="2888" y="4570"/>
                    </a:lnTo>
                    <a:lnTo>
                      <a:pt x="2884" y="4572"/>
                    </a:lnTo>
                    <a:lnTo>
                      <a:pt x="2882" y="4574"/>
                    </a:lnTo>
                    <a:lnTo>
                      <a:pt x="2880" y="4572"/>
                    </a:lnTo>
                    <a:lnTo>
                      <a:pt x="2880" y="4572"/>
                    </a:lnTo>
                    <a:lnTo>
                      <a:pt x="2876" y="4570"/>
                    </a:lnTo>
                    <a:lnTo>
                      <a:pt x="2874" y="4572"/>
                    </a:lnTo>
                    <a:lnTo>
                      <a:pt x="2868" y="4580"/>
                    </a:lnTo>
                    <a:lnTo>
                      <a:pt x="2868" y="4580"/>
                    </a:lnTo>
                    <a:lnTo>
                      <a:pt x="2868" y="4582"/>
                    </a:lnTo>
                    <a:lnTo>
                      <a:pt x="2868" y="4584"/>
                    </a:lnTo>
                    <a:lnTo>
                      <a:pt x="2872" y="4586"/>
                    </a:lnTo>
                    <a:lnTo>
                      <a:pt x="2876" y="4592"/>
                    </a:lnTo>
                    <a:lnTo>
                      <a:pt x="2874" y="4594"/>
                    </a:lnTo>
                    <a:lnTo>
                      <a:pt x="2872" y="4598"/>
                    </a:lnTo>
                    <a:lnTo>
                      <a:pt x="2872" y="4598"/>
                    </a:lnTo>
                    <a:lnTo>
                      <a:pt x="2868" y="4602"/>
                    </a:lnTo>
                    <a:lnTo>
                      <a:pt x="2864" y="4600"/>
                    </a:lnTo>
                    <a:lnTo>
                      <a:pt x="2862" y="4600"/>
                    </a:lnTo>
                    <a:lnTo>
                      <a:pt x="2858" y="4604"/>
                    </a:lnTo>
                    <a:lnTo>
                      <a:pt x="2854" y="4608"/>
                    </a:lnTo>
                    <a:lnTo>
                      <a:pt x="2854" y="4604"/>
                    </a:lnTo>
                    <a:lnTo>
                      <a:pt x="2854" y="4604"/>
                    </a:lnTo>
                    <a:lnTo>
                      <a:pt x="2856" y="4598"/>
                    </a:lnTo>
                    <a:lnTo>
                      <a:pt x="2856" y="4596"/>
                    </a:lnTo>
                    <a:lnTo>
                      <a:pt x="2854" y="4596"/>
                    </a:lnTo>
                    <a:lnTo>
                      <a:pt x="2850" y="4598"/>
                    </a:lnTo>
                    <a:lnTo>
                      <a:pt x="2850" y="4598"/>
                    </a:lnTo>
                    <a:lnTo>
                      <a:pt x="2844" y="4602"/>
                    </a:lnTo>
                    <a:lnTo>
                      <a:pt x="2836" y="4610"/>
                    </a:lnTo>
                    <a:lnTo>
                      <a:pt x="2828" y="4616"/>
                    </a:lnTo>
                    <a:lnTo>
                      <a:pt x="2822" y="4618"/>
                    </a:lnTo>
                    <a:lnTo>
                      <a:pt x="2816" y="4618"/>
                    </a:lnTo>
                    <a:lnTo>
                      <a:pt x="2816" y="4618"/>
                    </a:lnTo>
                    <a:lnTo>
                      <a:pt x="2814" y="4618"/>
                    </a:lnTo>
                    <a:lnTo>
                      <a:pt x="2812" y="4618"/>
                    </a:lnTo>
                    <a:lnTo>
                      <a:pt x="2812" y="4630"/>
                    </a:lnTo>
                    <a:lnTo>
                      <a:pt x="2812" y="4630"/>
                    </a:lnTo>
                    <a:lnTo>
                      <a:pt x="2810" y="4634"/>
                    </a:lnTo>
                    <a:lnTo>
                      <a:pt x="2806" y="4640"/>
                    </a:lnTo>
                    <a:lnTo>
                      <a:pt x="2798" y="4652"/>
                    </a:lnTo>
                    <a:lnTo>
                      <a:pt x="2786" y="4666"/>
                    </a:lnTo>
                    <a:lnTo>
                      <a:pt x="2780" y="4674"/>
                    </a:lnTo>
                    <a:lnTo>
                      <a:pt x="2778" y="4684"/>
                    </a:lnTo>
                    <a:lnTo>
                      <a:pt x="2778" y="4684"/>
                    </a:lnTo>
                    <a:lnTo>
                      <a:pt x="2774" y="4688"/>
                    </a:lnTo>
                    <a:lnTo>
                      <a:pt x="2766" y="4692"/>
                    </a:lnTo>
                    <a:lnTo>
                      <a:pt x="2746" y="4696"/>
                    </a:lnTo>
                    <a:lnTo>
                      <a:pt x="2724" y="4700"/>
                    </a:lnTo>
                    <a:lnTo>
                      <a:pt x="2716" y="4704"/>
                    </a:lnTo>
                    <a:lnTo>
                      <a:pt x="2712" y="4706"/>
                    </a:lnTo>
                    <a:lnTo>
                      <a:pt x="2712" y="4706"/>
                    </a:lnTo>
                    <a:lnTo>
                      <a:pt x="2710" y="4710"/>
                    </a:lnTo>
                    <a:lnTo>
                      <a:pt x="2708" y="4716"/>
                    </a:lnTo>
                    <a:lnTo>
                      <a:pt x="2710" y="4724"/>
                    </a:lnTo>
                    <a:lnTo>
                      <a:pt x="2708" y="4728"/>
                    </a:lnTo>
                    <a:lnTo>
                      <a:pt x="2708" y="4728"/>
                    </a:lnTo>
                    <a:lnTo>
                      <a:pt x="2704" y="4726"/>
                    </a:lnTo>
                    <a:lnTo>
                      <a:pt x="2704" y="4726"/>
                    </a:lnTo>
                    <a:lnTo>
                      <a:pt x="2702" y="4724"/>
                    </a:lnTo>
                    <a:lnTo>
                      <a:pt x="2700" y="4724"/>
                    </a:lnTo>
                    <a:lnTo>
                      <a:pt x="2698" y="4728"/>
                    </a:lnTo>
                    <a:lnTo>
                      <a:pt x="2698" y="4734"/>
                    </a:lnTo>
                    <a:lnTo>
                      <a:pt x="2700" y="4738"/>
                    </a:lnTo>
                    <a:lnTo>
                      <a:pt x="2700" y="4738"/>
                    </a:lnTo>
                    <a:lnTo>
                      <a:pt x="2702" y="4738"/>
                    </a:lnTo>
                    <a:lnTo>
                      <a:pt x="2702" y="4740"/>
                    </a:lnTo>
                    <a:lnTo>
                      <a:pt x="2700" y="4742"/>
                    </a:lnTo>
                    <a:lnTo>
                      <a:pt x="2698" y="4750"/>
                    </a:lnTo>
                    <a:lnTo>
                      <a:pt x="2698" y="4750"/>
                    </a:lnTo>
                    <a:lnTo>
                      <a:pt x="2696" y="4756"/>
                    </a:lnTo>
                    <a:lnTo>
                      <a:pt x="2692" y="4760"/>
                    </a:lnTo>
                    <a:lnTo>
                      <a:pt x="2692" y="4764"/>
                    </a:lnTo>
                    <a:lnTo>
                      <a:pt x="2696" y="4768"/>
                    </a:lnTo>
                    <a:lnTo>
                      <a:pt x="2696" y="4768"/>
                    </a:lnTo>
                    <a:lnTo>
                      <a:pt x="2698" y="4772"/>
                    </a:lnTo>
                    <a:lnTo>
                      <a:pt x="2698" y="4774"/>
                    </a:lnTo>
                    <a:lnTo>
                      <a:pt x="2690" y="4768"/>
                    </a:lnTo>
                    <a:lnTo>
                      <a:pt x="2690" y="4768"/>
                    </a:lnTo>
                    <a:lnTo>
                      <a:pt x="2684" y="4766"/>
                    </a:lnTo>
                    <a:lnTo>
                      <a:pt x="2678" y="4766"/>
                    </a:lnTo>
                    <a:lnTo>
                      <a:pt x="2672" y="4764"/>
                    </a:lnTo>
                    <a:lnTo>
                      <a:pt x="2672" y="4762"/>
                    </a:lnTo>
                    <a:lnTo>
                      <a:pt x="2672" y="4760"/>
                    </a:lnTo>
                    <a:lnTo>
                      <a:pt x="2672" y="4760"/>
                    </a:lnTo>
                    <a:lnTo>
                      <a:pt x="2674" y="4756"/>
                    </a:lnTo>
                    <a:lnTo>
                      <a:pt x="2672" y="4756"/>
                    </a:lnTo>
                    <a:lnTo>
                      <a:pt x="2670" y="4756"/>
                    </a:lnTo>
                    <a:lnTo>
                      <a:pt x="2666" y="4754"/>
                    </a:lnTo>
                    <a:lnTo>
                      <a:pt x="2666" y="4754"/>
                    </a:lnTo>
                    <a:lnTo>
                      <a:pt x="2664" y="4752"/>
                    </a:lnTo>
                    <a:lnTo>
                      <a:pt x="2664" y="4754"/>
                    </a:lnTo>
                    <a:lnTo>
                      <a:pt x="2662" y="4756"/>
                    </a:lnTo>
                    <a:lnTo>
                      <a:pt x="2656" y="4758"/>
                    </a:lnTo>
                    <a:lnTo>
                      <a:pt x="2656" y="4758"/>
                    </a:lnTo>
                    <a:lnTo>
                      <a:pt x="2650" y="4758"/>
                    </a:lnTo>
                    <a:lnTo>
                      <a:pt x="2644" y="4756"/>
                    </a:lnTo>
                    <a:lnTo>
                      <a:pt x="2640" y="4750"/>
                    </a:lnTo>
                    <a:lnTo>
                      <a:pt x="2638" y="4742"/>
                    </a:lnTo>
                    <a:lnTo>
                      <a:pt x="2638" y="4742"/>
                    </a:lnTo>
                    <a:lnTo>
                      <a:pt x="2632" y="4744"/>
                    </a:lnTo>
                    <a:lnTo>
                      <a:pt x="2628" y="4746"/>
                    </a:lnTo>
                    <a:lnTo>
                      <a:pt x="2622" y="4750"/>
                    </a:lnTo>
                    <a:lnTo>
                      <a:pt x="2620" y="4758"/>
                    </a:lnTo>
                    <a:lnTo>
                      <a:pt x="2618" y="4764"/>
                    </a:lnTo>
                    <a:lnTo>
                      <a:pt x="2618" y="4764"/>
                    </a:lnTo>
                    <a:lnTo>
                      <a:pt x="2614" y="4772"/>
                    </a:lnTo>
                    <a:lnTo>
                      <a:pt x="2610" y="4780"/>
                    </a:lnTo>
                    <a:lnTo>
                      <a:pt x="2606" y="4802"/>
                    </a:lnTo>
                    <a:lnTo>
                      <a:pt x="2606" y="4812"/>
                    </a:lnTo>
                    <a:lnTo>
                      <a:pt x="2608" y="4820"/>
                    </a:lnTo>
                    <a:lnTo>
                      <a:pt x="2610" y="4826"/>
                    </a:lnTo>
                    <a:lnTo>
                      <a:pt x="2616" y="4830"/>
                    </a:lnTo>
                    <a:lnTo>
                      <a:pt x="2616" y="4830"/>
                    </a:lnTo>
                    <a:lnTo>
                      <a:pt x="2620" y="4834"/>
                    </a:lnTo>
                    <a:lnTo>
                      <a:pt x="2620" y="4836"/>
                    </a:lnTo>
                    <a:lnTo>
                      <a:pt x="2616" y="4844"/>
                    </a:lnTo>
                    <a:lnTo>
                      <a:pt x="2614" y="4848"/>
                    </a:lnTo>
                    <a:lnTo>
                      <a:pt x="2614" y="4854"/>
                    </a:lnTo>
                    <a:lnTo>
                      <a:pt x="2614" y="4858"/>
                    </a:lnTo>
                    <a:lnTo>
                      <a:pt x="2618" y="4864"/>
                    </a:lnTo>
                    <a:lnTo>
                      <a:pt x="2618" y="4864"/>
                    </a:lnTo>
                    <a:lnTo>
                      <a:pt x="2622" y="4870"/>
                    </a:lnTo>
                    <a:lnTo>
                      <a:pt x="2624" y="4874"/>
                    </a:lnTo>
                    <a:lnTo>
                      <a:pt x="2624" y="4876"/>
                    </a:lnTo>
                    <a:lnTo>
                      <a:pt x="2622" y="4878"/>
                    </a:lnTo>
                    <a:lnTo>
                      <a:pt x="2620" y="4880"/>
                    </a:lnTo>
                    <a:lnTo>
                      <a:pt x="2626" y="4882"/>
                    </a:lnTo>
                    <a:lnTo>
                      <a:pt x="2626" y="4882"/>
                    </a:lnTo>
                    <a:lnTo>
                      <a:pt x="2630" y="4886"/>
                    </a:lnTo>
                    <a:lnTo>
                      <a:pt x="2632" y="4888"/>
                    </a:lnTo>
                    <a:lnTo>
                      <a:pt x="2632" y="4890"/>
                    </a:lnTo>
                    <a:lnTo>
                      <a:pt x="2630" y="4892"/>
                    </a:lnTo>
                    <a:lnTo>
                      <a:pt x="2628" y="4898"/>
                    </a:lnTo>
                    <a:lnTo>
                      <a:pt x="2626" y="4900"/>
                    </a:lnTo>
                    <a:lnTo>
                      <a:pt x="2628" y="4902"/>
                    </a:lnTo>
                    <a:lnTo>
                      <a:pt x="2628" y="4902"/>
                    </a:lnTo>
                    <a:lnTo>
                      <a:pt x="2632" y="4904"/>
                    </a:lnTo>
                    <a:lnTo>
                      <a:pt x="2634" y="4904"/>
                    </a:lnTo>
                    <a:lnTo>
                      <a:pt x="2640" y="4900"/>
                    </a:lnTo>
                    <a:lnTo>
                      <a:pt x="2646" y="4898"/>
                    </a:lnTo>
                    <a:lnTo>
                      <a:pt x="2650" y="4898"/>
                    </a:lnTo>
                    <a:lnTo>
                      <a:pt x="2652" y="4902"/>
                    </a:lnTo>
                    <a:lnTo>
                      <a:pt x="2652" y="4902"/>
                    </a:lnTo>
                    <a:lnTo>
                      <a:pt x="2652" y="4908"/>
                    </a:lnTo>
                    <a:lnTo>
                      <a:pt x="2652" y="4910"/>
                    </a:lnTo>
                    <a:lnTo>
                      <a:pt x="2650" y="4918"/>
                    </a:lnTo>
                    <a:lnTo>
                      <a:pt x="2648" y="4926"/>
                    </a:lnTo>
                    <a:lnTo>
                      <a:pt x="2648" y="4934"/>
                    </a:lnTo>
                    <a:lnTo>
                      <a:pt x="2652" y="4942"/>
                    </a:lnTo>
                    <a:lnTo>
                      <a:pt x="2652" y="4942"/>
                    </a:lnTo>
                    <a:lnTo>
                      <a:pt x="2658" y="4960"/>
                    </a:lnTo>
                    <a:lnTo>
                      <a:pt x="2660" y="4972"/>
                    </a:lnTo>
                    <a:lnTo>
                      <a:pt x="2660" y="4980"/>
                    </a:lnTo>
                    <a:lnTo>
                      <a:pt x="2660" y="4984"/>
                    </a:lnTo>
                    <a:lnTo>
                      <a:pt x="2660" y="4986"/>
                    </a:lnTo>
                    <a:lnTo>
                      <a:pt x="2666" y="4986"/>
                    </a:lnTo>
                    <a:lnTo>
                      <a:pt x="2666" y="4986"/>
                    </a:lnTo>
                    <a:lnTo>
                      <a:pt x="2678" y="4988"/>
                    </a:lnTo>
                    <a:lnTo>
                      <a:pt x="2684" y="4992"/>
                    </a:lnTo>
                    <a:lnTo>
                      <a:pt x="2692" y="4992"/>
                    </a:lnTo>
                    <a:lnTo>
                      <a:pt x="2698" y="4986"/>
                    </a:lnTo>
                    <a:lnTo>
                      <a:pt x="2698" y="4986"/>
                    </a:lnTo>
                    <a:lnTo>
                      <a:pt x="2702" y="4982"/>
                    </a:lnTo>
                    <a:lnTo>
                      <a:pt x="2706" y="4982"/>
                    </a:lnTo>
                    <a:lnTo>
                      <a:pt x="2712" y="4982"/>
                    </a:lnTo>
                    <a:lnTo>
                      <a:pt x="2716" y="4984"/>
                    </a:lnTo>
                    <a:lnTo>
                      <a:pt x="2720" y="4986"/>
                    </a:lnTo>
                    <a:lnTo>
                      <a:pt x="2722" y="4992"/>
                    </a:lnTo>
                    <a:lnTo>
                      <a:pt x="2724" y="4996"/>
                    </a:lnTo>
                    <a:lnTo>
                      <a:pt x="2724" y="5002"/>
                    </a:lnTo>
                    <a:lnTo>
                      <a:pt x="2724" y="5002"/>
                    </a:lnTo>
                    <a:lnTo>
                      <a:pt x="2724" y="5010"/>
                    </a:lnTo>
                    <a:lnTo>
                      <a:pt x="2726" y="5012"/>
                    </a:lnTo>
                    <a:lnTo>
                      <a:pt x="2728" y="5012"/>
                    </a:lnTo>
                    <a:lnTo>
                      <a:pt x="2734" y="5010"/>
                    </a:lnTo>
                    <a:lnTo>
                      <a:pt x="2740" y="5004"/>
                    </a:lnTo>
                    <a:lnTo>
                      <a:pt x="2740" y="5004"/>
                    </a:lnTo>
                    <a:lnTo>
                      <a:pt x="2742" y="5002"/>
                    </a:lnTo>
                    <a:lnTo>
                      <a:pt x="2746" y="5002"/>
                    </a:lnTo>
                    <a:lnTo>
                      <a:pt x="2754" y="5004"/>
                    </a:lnTo>
                    <a:lnTo>
                      <a:pt x="2756" y="5004"/>
                    </a:lnTo>
                    <a:lnTo>
                      <a:pt x="2760" y="5004"/>
                    </a:lnTo>
                    <a:lnTo>
                      <a:pt x="2764" y="5002"/>
                    </a:lnTo>
                    <a:lnTo>
                      <a:pt x="2768" y="4998"/>
                    </a:lnTo>
                    <a:lnTo>
                      <a:pt x="2768" y="4998"/>
                    </a:lnTo>
                    <a:lnTo>
                      <a:pt x="2770" y="4992"/>
                    </a:lnTo>
                    <a:lnTo>
                      <a:pt x="2774" y="4990"/>
                    </a:lnTo>
                    <a:lnTo>
                      <a:pt x="2776" y="4990"/>
                    </a:lnTo>
                    <a:lnTo>
                      <a:pt x="2778" y="4992"/>
                    </a:lnTo>
                    <a:lnTo>
                      <a:pt x="2784" y="4996"/>
                    </a:lnTo>
                    <a:lnTo>
                      <a:pt x="2788" y="4998"/>
                    </a:lnTo>
                    <a:lnTo>
                      <a:pt x="2792" y="4998"/>
                    </a:lnTo>
                    <a:lnTo>
                      <a:pt x="2792" y="4998"/>
                    </a:lnTo>
                    <a:lnTo>
                      <a:pt x="2794" y="4998"/>
                    </a:lnTo>
                    <a:lnTo>
                      <a:pt x="2796" y="5000"/>
                    </a:lnTo>
                    <a:lnTo>
                      <a:pt x="2796" y="5004"/>
                    </a:lnTo>
                    <a:lnTo>
                      <a:pt x="2796" y="5006"/>
                    </a:lnTo>
                    <a:lnTo>
                      <a:pt x="2798" y="5008"/>
                    </a:lnTo>
                    <a:lnTo>
                      <a:pt x="2800" y="5008"/>
                    </a:lnTo>
                    <a:lnTo>
                      <a:pt x="2806" y="5006"/>
                    </a:lnTo>
                    <a:lnTo>
                      <a:pt x="2806" y="5006"/>
                    </a:lnTo>
                    <a:lnTo>
                      <a:pt x="2814" y="5004"/>
                    </a:lnTo>
                    <a:lnTo>
                      <a:pt x="2820" y="5004"/>
                    </a:lnTo>
                    <a:lnTo>
                      <a:pt x="2826" y="5008"/>
                    </a:lnTo>
                    <a:lnTo>
                      <a:pt x="2830" y="5012"/>
                    </a:lnTo>
                    <a:lnTo>
                      <a:pt x="2834" y="5016"/>
                    </a:lnTo>
                    <a:lnTo>
                      <a:pt x="2836" y="5022"/>
                    </a:lnTo>
                    <a:lnTo>
                      <a:pt x="2836" y="5030"/>
                    </a:lnTo>
                    <a:lnTo>
                      <a:pt x="2836" y="5036"/>
                    </a:lnTo>
                    <a:lnTo>
                      <a:pt x="2836" y="5036"/>
                    </a:lnTo>
                    <a:lnTo>
                      <a:pt x="2836" y="5040"/>
                    </a:lnTo>
                    <a:lnTo>
                      <a:pt x="2840" y="5042"/>
                    </a:lnTo>
                    <a:lnTo>
                      <a:pt x="2846" y="5040"/>
                    </a:lnTo>
                    <a:lnTo>
                      <a:pt x="2852" y="5036"/>
                    </a:lnTo>
                    <a:lnTo>
                      <a:pt x="2868" y="5026"/>
                    </a:lnTo>
                    <a:lnTo>
                      <a:pt x="2876" y="5024"/>
                    </a:lnTo>
                    <a:lnTo>
                      <a:pt x="2882" y="5022"/>
                    </a:lnTo>
                    <a:lnTo>
                      <a:pt x="2882" y="5022"/>
                    </a:lnTo>
                    <a:lnTo>
                      <a:pt x="2886" y="5020"/>
                    </a:lnTo>
                    <a:lnTo>
                      <a:pt x="2890" y="5018"/>
                    </a:lnTo>
                    <a:lnTo>
                      <a:pt x="2894" y="5008"/>
                    </a:lnTo>
                    <a:lnTo>
                      <a:pt x="2896" y="4996"/>
                    </a:lnTo>
                    <a:lnTo>
                      <a:pt x="2898" y="4986"/>
                    </a:lnTo>
                    <a:lnTo>
                      <a:pt x="2898" y="4986"/>
                    </a:lnTo>
                    <a:lnTo>
                      <a:pt x="2898" y="4982"/>
                    </a:lnTo>
                    <a:lnTo>
                      <a:pt x="2902" y="4980"/>
                    </a:lnTo>
                    <a:lnTo>
                      <a:pt x="2904" y="4978"/>
                    </a:lnTo>
                    <a:lnTo>
                      <a:pt x="2906" y="4970"/>
                    </a:lnTo>
                    <a:lnTo>
                      <a:pt x="2906" y="4970"/>
                    </a:lnTo>
                    <a:close/>
                    <a:moveTo>
                      <a:pt x="2606" y="3938"/>
                    </a:moveTo>
                    <a:lnTo>
                      <a:pt x="2606" y="3938"/>
                    </a:lnTo>
                    <a:lnTo>
                      <a:pt x="2616" y="3942"/>
                    </a:lnTo>
                    <a:lnTo>
                      <a:pt x="2622" y="3944"/>
                    </a:lnTo>
                    <a:lnTo>
                      <a:pt x="2624" y="3944"/>
                    </a:lnTo>
                    <a:lnTo>
                      <a:pt x="2626" y="3944"/>
                    </a:lnTo>
                    <a:lnTo>
                      <a:pt x="2626" y="3944"/>
                    </a:lnTo>
                    <a:lnTo>
                      <a:pt x="2630" y="3948"/>
                    </a:lnTo>
                    <a:lnTo>
                      <a:pt x="2634" y="3950"/>
                    </a:lnTo>
                    <a:lnTo>
                      <a:pt x="2638" y="3948"/>
                    </a:lnTo>
                    <a:lnTo>
                      <a:pt x="2640" y="3942"/>
                    </a:lnTo>
                    <a:lnTo>
                      <a:pt x="2640" y="3942"/>
                    </a:lnTo>
                    <a:lnTo>
                      <a:pt x="2640" y="3940"/>
                    </a:lnTo>
                    <a:lnTo>
                      <a:pt x="2642" y="3940"/>
                    </a:lnTo>
                    <a:lnTo>
                      <a:pt x="2646" y="3940"/>
                    </a:lnTo>
                    <a:lnTo>
                      <a:pt x="2652" y="3938"/>
                    </a:lnTo>
                    <a:lnTo>
                      <a:pt x="2654" y="3938"/>
                    </a:lnTo>
                    <a:lnTo>
                      <a:pt x="2654" y="3934"/>
                    </a:lnTo>
                    <a:lnTo>
                      <a:pt x="2654" y="3934"/>
                    </a:lnTo>
                    <a:lnTo>
                      <a:pt x="2656" y="3930"/>
                    </a:lnTo>
                    <a:lnTo>
                      <a:pt x="2658" y="3928"/>
                    </a:lnTo>
                    <a:lnTo>
                      <a:pt x="2664" y="3926"/>
                    </a:lnTo>
                    <a:lnTo>
                      <a:pt x="2666" y="3924"/>
                    </a:lnTo>
                    <a:lnTo>
                      <a:pt x="2670" y="3922"/>
                    </a:lnTo>
                    <a:lnTo>
                      <a:pt x="2670" y="3918"/>
                    </a:lnTo>
                    <a:lnTo>
                      <a:pt x="2672" y="3912"/>
                    </a:lnTo>
                    <a:lnTo>
                      <a:pt x="2672" y="3912"/>
                    </a:lnTo>
                    <a:lnTo>
                      <a:pt x="2674" y="3902"/>
                    </a:lnTo>
                    <a:lnTo>
                      <a:pt x="2678" y="3892"/>
                    </a:lnTo>
                    <a:lnTo>
                      <a:pt x="2684" y="3884"/>
                    </a:lnTo>
                    <a:lnTo>
                      <a:pt x="2690" y="3878"/>
                    </a:lnTo>
                    <a:lnTo>
                      <a:pt x="2690" y="3878"/>
                    </a:lnTo>
                    <a:lnTo>
                      <a:pt x="2692" y="3874"/>
                    </a:lnTo>
                    <a:lnTo>
                      <a:pt x="2692" y="3868"/>
                    </a:lnTo>
                    <a:lnTo>
                      <a:pt x="2690" y="3862"/>
                    </a:lnTo>
                    <a:lnTo>
                      <a:pt x="2686" y="3858"/>
                    </a:lnTo>
                    <a:lnTo>
                      <a:pt x="2686" y="3858"/>
                    </a:lnTo>
                    <a:lnTo>
                      <a:pt x="2682" y="3856"/>
                    </a:lnTo>
                    <a:lnTo>
                      <a:pt x="2680" y="3854"/>
                    </a:lnTo>
                    <a:lnTo>
                      <a:pt x="2676" y="3852"/>
                    </a:lnTo>
                    <a:lnTo>
                      <a:pt x="2674" y="3854"/>
                    </a:lnTo>
                    <a:lnTo>
                      <a:pt x="2674" y="3854"/>
                    </a:lnTo>
                    <a:lnTo>
                      <a:pt x="2670" y="3856"/>
                    </a:lnTo>
                    <a:lnTo>
                      <a:pt x="2666" y="3856"/>
                    </a:lnTo>
                    <a:lnTo>
                      <a:pt x="2660" y="3856"/>
                    </a:lnTo>
                    <a:lnTo>
                      <a:pt x="2654" y="3858"/>
                    </a:lnTo>
                    <a:lnTo>
                      <a:pt x="2654" y="3858"/>
                    </a:lnTo>
                    <a:lnTo>
                      <a:pt x="2652" y="3860"/>
                    </a:lnTo>
                    <a:lnTo>
                      <a:pt x="2648" y="3860"/>
                    </a:lnTo>
                    <a:lnTo>
                      <a:pt x="2642" y="3858"/>
                    </a:lnTo>
                    <a:lnTo>
                      <a:pt x="2636" y="3858"/>
                    </a:lnTo>
                    <a:lnTo>
                      <a:pt x="2634" y="3858"/>
                    </a:lnTo>
                    <a:lnTo>
                      <a:pt x="2632" y="3862"/>
                    </a:lnTo>
                    <a:lnTo>
                      <a:pt x="2632" y="3862"/>
                    </a:lnTo>
                    <a:lnTo>
                      <a:pt x="2630" y="3864"/>
                    </a:lnTo>
                    <a:lnTo>
                      <a:pt x="2626" y="3864"/>
                    </a:lnTo>
                    <a:lnTo>
                      <a:pt x="2622" y="3862"/>
                    </a:lnTo>
                    <a:lnTo>
                      <a:pt x="2620" y="3864"/>
                    </a:lnTo>
                    <a:lnTo>
                      <a:pt x="2618" y="3866"/>
                    </a:lnTo>
                    <a:lnTo>
                      <a:pt x="2618" y="3866"/>
                    </a:lnTo>
                    <a:lnTo>
                      <a:pt x="2616" y="3870"/>
                    </a:lnTo>
                    <a:lnTo>
                      <a:pt x="2616" y="3872"/>
                    </a:lnTo>
                    <a:lnTo>
                      <a:pt x="2614" y="3874"/>
                    </a:lnTo>
                    <a:lnTo>
                      <a:pt x="2608" y="3882"/>
                    </a:lnTo>
                    <a:lnTo>
                      <a:pt x="2608" y="3882"/>
                    </a:lnTo>
                    <a:lnTo>
                      <a:pt x="2604" y="3886"/>
                    </a:lnTo>
                    <a:lnTo>
                      <a:pt x="2598" y="3890"/>
                    </a:lnTo>
                    <a:lnTo>
                      <a:pt x="2596" y="3896"/>
                    </a:lnTo>
                    <a:lnTo>
                      <a:pt x="2596" y="3908"/>
                    </a:lnTo>
                    <a:lnTo>
                      <a:pt x="2596" y="3908"/>
                    </a:lnTo>
                    <a:lnTo>
                      <a:pt x="2596" y="3920"/>
                    </a:lnTo>
                    <a:lnTo>
                      <a:pt x="2596" y="3926"/>
                    </a:lnTo>
                    <a:lnTo>
                      <a:pt x="2600" y="3932"/>
                    </a:lnTo>
                    <a:lnTo>
                      <a:pt x="2606" y="3938"/>
                    </a:lnTo>
                    <a:lnTo>
                      <a:pt x="2606" y="3938"/>
                    </a:lnTo>
                    <a:close/>
                    <a:moveTo>
                      <a:pt x="3234" y="3626"/>
                    </a:moveTo>
                    <a:lnTo>
                      <a:pt x="3234" y="3626"/>
                    </a:lnTo>
                    <a:lnTo>
                      <a:pt x="3234" y="3624"/>
                    </a:lnTo>
                    <a:lnTo>
                      <a:pt x="3232" y="3624"/>
                    </a:lnTo>
                    <a:lnTo>
                      <a:pt x="3226" y="3626"/>
                    </a:lnTo>
                    <a:lnTo>
                      <a:pt x="3222" y="3632"/>
                    </a:lnTo>
                    <a:lnTo>
                      <a:pt x="3222" y="3634"/>
                    </a:lnTo>
                    <a:lnTo>
                      <a:pt x="3224" y="3636"/>
                    </a:lnTo>
                    <a:lnTo>
                      <a:pt x="3224" y="3636"/>
                    </a:lnTo>
                    <a:lnTo>
                      <a:pt x="3226" y="3636"/>
                    </a:lnTo>
                    <a:lnTo>
                      <a:pt x="3230" y="3634"/>
                    </a:lnTo>
                    <a:lnTo>
                      <a:pt x="3234" y="3626"/>
                    </a:lnTo>
                    <a:lnTo>
                      <a:pt x="3234" y="3626"/>
                    </a:lnTo>
                    <a:close/>
                    <a:moveTo>
                      <a:pt x="3140" y="4236"/>
                    </a:moveTo>
                    <a:lnTo>
                      <a:pt x="3140" y="4236"/>
                    </a:lnTo>
                    <a:lnTo>
                      <a:pt x="3142" y="4224"/>
                    </a:lnTo>
                    <a:lnTo>
                      <a:pt x="3142" y="4222"/>
                    </a:lnTo>
                    <a:lnTo>
                      <a:pt x="3138" y="4224"/>
                    </a:lnTo>
                    <a:lnTo>
                      <a:pt x="3138" y="4224"/>
                    </a:lnTo>
                    <a:lnTo>
                      <a:pt x="3136" y="4226"/>
                    </a:lnTo>
                    <a:lnTo>
                      <a:pt x="3136" y="4226"/>
                    </a:lnTo>
                    <a:lnTo>
                      <a:pt x="3136" y="4230"/>
                    </a:lnTo>
                    <a:lnTo>
                      <a:pt x="3134" y="4236"/>
                    </a:lnTo>
                    <a:lnTo>
                      <a:pt x="3134" y="4236"/>
                    </a:lnTo>
                    <a:lnTo>
                      <a:pt x="3134" y="4240"/>
                    </a:lnTo>
                    <a:lnTo>
                      <a:pt x="3136" y="4242"/>
                    </a:lnTo>
                    <a:lnTo>
                      <a:pt x="3138" y="4242"/>
                    </a:lnTo>
                    <a:lnTo>
                      <a:pt x="3140" y="4236"/>
                    </a:lnTo>
                    <a:lnTo>
                      <a:pt x="3140" y="4236"/>
                    </a:lnTo>
                    <a:close/>
                    <a:moveTo>
                      <a:pt x="3216" y="3638"/>
                    </a:moveTo>
                    <a:lnTo>
                      <a:pt x="3216" y="3638"/>
                    </a:lnTo>
                    <a:lnTo>
                      <a:pt x="3216" y="3634"/>
                    </a:lnTo>
                    <a:lnTo>
                      <a:pt x="3212" y="3632"/>
                    </a:lnTo>
                    <a:lnTo>
                      <a:pt x="3208" y="3632"/>
                    </a:lnTo>
                    <a:lnTo>
                      <a:pt x="3208" y="3632"/>
                    </a:lnTo>
                    <a:lnTo>
                      <a:pt x="3206" y="3636"/>
                    </a:lnTo>
                    <a:lnTo>
                      <a:pt x="3206" y="3636"/>
                    </a:lnTo>
                    <a:lnTo>
                      <a:pt x="3208" y="3638"/>
                    </a:lnTo>
                    <a:lnTo>
                      <a:pt x="3210" y="3640"/>
                    </a:lnTo>
                    <a:lnTo>
                      <a:pt x="3214" y="3640"/>
                    </a:lnTo>
                    <a:lnTo>
                      <a:pt x="3216" y="3638"/>
                    </a:lnTo>
                    <a:lnTo>
                      <a:pt x="3216" y="3638"/>
                    </a:lnTo>
                    <a:close/>
                    <a:moveTo>
                      <a:pt x="3130" y="4102"/>
                    </a:moveTo>
                    <a:lnTo>
                      <a:pt x="3130" y="4102"/>
                    </a:lnTo>
                    <a:lnTo>
                      <a:pt x="3128" y="4106"/>
                    </a:lnTo>
                    <a:lnTo>
                      <a:pt x="3128" y="4108"/>
                    </a:lnTo>
                    <a:lnTo>
                      <a:pt x="3132" y="4120"/>
                    </a:lnTo>
                    <a:lnTo>
                      <a:pt x="3132" y="4120"/>
                    </a:lnTo>
                    <a:lnTo>
                      <a:pt x="3134" y="4124"/>
                    </a:lnTo>
                    <a:lnTo>
                      <a:pt x="3136" y="4124"/>
                    </a:lnTo>
                    <a:lnTo>
                      <a:pt x="3136" y="4120"/>
                    </a:lnTo>
                    <a:lnTo>
                      <a:pt x="3136" y="4116"/>
                    </a:lnTo>
                    <a:lnTo>
                      <a:pt x="3136" y="4116"/>
                    </a:lnTo>
                    <a:lnTo>
                      <a:pt x="3134" y="4104"/>
                    </a:lnTo>
                    <a:lnTo>
                      <a:pt x="3132" y="4102"/>
                    </a:lnTo>
                    <a:lnTo>
                      <a:pt x="3130" y="4102"/>
                    </a:lnTo>
                    <a:lnTo>
                      <a:pt x="3130" y="4102"/>
                    </a:lnTo>
                    <a:close/>
                    <a:moveTo>
                      <a:pt x="3462" y="5402"/>
                    </a:moveTo>
                    <a:lnTo>
                      <a:pt x="3462" y="5402"/>
                    </a:lnTo>
                    <a:lnTo>
                      <a:pt x="3462" y="5410"/>
                    </a:lnTo>
                    <a:lnTo>
                      <a:pt x="3462" y="5414"/>
                    </a:lnTo>
                    <a:lnTo>
                      <a:pt x="3466" y="5416"/>
                    </a:lnTo>
                    <a:lnTo>
                      <a:pt x="3472" y="5418"/>
                    </a:lnTo>
                    <a:lnTo>
                      <a:pt x="3472" y="5418"/>
                    </a:lnTo>
                    <a:lnTo>
                      <a:pt x="3476" y="5418"/>
                    </a:lnTo>
                    <a:lnTo>
                      <a:pt x="3478" y="5416"/>
                    </a:lnTo>
                    <a:lnTo>
                      <a:pt x="3478" y="5412"/>
                    </a:lnTo>
                    <a:lnTo>
                      <a:pt x="3474" y="5404"/>
                    </a:lnTo>
                    <a:lnTo>
                      <a:pt x="3474" y="5404"/>
                    </a:lnTo>
                    <a:lnTo>
                      <a:pt x="3468" y="5398"/>
                    </a:lnTo>
                    <a:lnTo>
                      <a:pt x="3464" y="5394"/>
                    </a:lnTo>
                    <a:lnTo>
                      <a:pt x="3462" y="5396"/>
                    </a:lnTo>
                    <a:lnTo>
                      <a:pt x="3462" y="5402"/>
                    </a:lnTo>
                    <a:lnTo>
                      <a:pt x="3462" y="5402"/>
                    </a:lnTo>
                    <a:close/>
                    <a:moveTo>
                      <a:pt x="4244" y="2492"/>
                    </a:moveTo>
                    <a:lnTo>
                      <a:pt x="4244" y="2492"/>
                    </a:lnTo>
                    <a:lnTo>
                      <a:pt x="4244" y="2496"/>
                    </a:lnTo>
                    <a:lnTo>
                      <a:pt x="4248" y="2496"/>
                    </a:lnTo>
                    <a:lnTo>
                      <a:pt x="4256" y="2492"/>
                    </a:lnTo>
                    <a:lnTo>
                      <a:pt x="4264" y="2486"/>
                    </a:lnTo>
                    <a:lnTo>
                      <a:pt x="4280" y="2470"/>
                    </a:lnTo>
                    <a:lnTo>
                      <a:pt x="4284" y="2464"/>
                    </a:lnTo>
                    <a:lnTo>
                      <a:pt x="4284" y="2460"/>
                    </a:lnTo>
                    <a:lnTo>
                      <a:pt x="4284" y="2460"/>
                    </a:lnTo>
                    <a:lnTo>
                      <a:pt x="4282" y="2460"/>
                    </a:lnTo>
                    <a:lnTo>
                      <a:pt x="4276" y="2460"/>
                    </a:lnTo>
                    <a:lnTo>
                      <a:pt x="4266" y="2466"/>
                    </a:lnTo>
                    <a:lnTo>
                      <a:pt x="4254" y="2476"/>
                    </a:lnTo>
                    <a:lnTo>
                      <a:pt x="4248" y="2484"/>
                    </a:lnTo>
                    <a:lnTo>
                      <a:pt x="4244" y="2492"/>
                    </a:lnTo>
                    <a:lnTo>
                      <a:pt x="4244" y="2492"/>
                    </a:lnTo>
                    <a:close/>
                    <a:moveTo>
                      <a:pt x="4364" y="2396"/>
                    </a:moveTo>
                    <a:lnTo>
                      <a:pt x="4364" y="2396"/>
                    </a:lnTo>
                    <a:lnTo>
                      <a:pt x="4368" y="2398"/>
                    </a:lnTo>
                    <a:lnTo>
                      <a:pt x="4370" y="2396"/>
                    </a:lnTo>
                    <a:lnTo>
                      <a:pt x="4370" y="2394"/>
                    </a:lnTo>
                    <a:lnTo>
                      <a:pt x="4368" y="2392"/>
                    </a:lnTo>
                    <a:lnTo>
                      <a:pt x="4368" y="2392"/>
                    </a:lnTo>
                    <a:lnTo>
                      <a:pt x="4366" y="2390"/>
                    </a:lnTo>
                    <a:lnTo>
                      <a:pt x="4364" y="2392"/>
                    </a:lnTo>
                    <a:lnTo>
                      <a:pt x="4364" y="2394"/>
                    </a:lnTo>
                    <a:lnTo>
                      <a:pt x="4364" y="2396"/>
                    </a:lnTo>
                    <a:lnTo>
                      <a:pt x="4364" y="2396"/>
                    </a:lnTo>
                    <a:close/>
                    <a:moveTo>
                      <a:pt x="4388" y="2374"/>
                    </a:moveTo>
                    <a:lnTo>
                      <a:pt x="4388" y="2374"/>
                    </a:lnTo>
                    <a:lnTo>
                      <a:pt x="4392" y="2376"/>
                    </a:lnTo>
                    <a:lnTo>
                      <a:pt x="4392" y="2374"/>
                    </a:lnTo>
                    <a:lnTo>
                      <a:pt x="4394" y="2370"/>
                    </a:lnTo>
                    <a:lnTo>
                      <a:pt x="4392" y="2368"/>
                    </a:lnTo>
                    <a:lnTo>
                      <a:pt x="4392" y="2368"/>
                    </a:lnTo>
                    <a:lnTo>
                      <a:pt x="4390" y="2366"/>
                    </a:lnTo>
                    <a:lnTo>
                      <a:pt x="4388" y="2368"/>
                    </a:lnTo>
                    <a:lnTo>
                      <a:pt x="4388" y="2372"/>
                    </a:lnTo>
                    <a:lnTo>
                      <a:pt x="4388" y="2374"/>
                    </a:lnTo>
                    <a:lnTo>
                      <a:pt x="4388" y="2374"/>
                    </a:lnTo>
                    <a:close/>
                    <a:moveTo>
                      <a:pt x="264" y="3518"/>
                    </a:moveTo>
                    <a:lnTo>
                      <a:pt x="264" y="3518"/>
                    </a:lnTo>
                    <a:lnTo>
                      <a:pt x="266" y="3518"/>
                    </a:lnTo>
                    <a:lnTo>
                      <a:pt x="264" y="3518"/>
                    </a:lnTo>
                    <a:lnTo>
                      <a:pt x="264" y="3518"/>
                    </a:lnTo>
                    <a:lnTo>
                      <a:pt x="264" y="3518"/>
                    </a:lnTo>
                    <a:lnTo>
                      <a:pt x="264" y="3518"/>
                    </a:lnTo>
                    <a:close/>
                    <a:moveTo>
                      <a:pt x="5798" y="1166"/>
                    </a:moveTo>
                    <a:lnTo>
                      <a:pt x="5798" y="1166"/>
                    </a:lnTo>
                    <a:lnTo>
                      <a:pt x="5790" y="1156"/>
                    </a:lnTo>
                    <a:lnTo>
                      <a:pt x="5782" y="1148"/>
                    </a:lnTo>
                    <a:lnTo>
                      <a:pt x="5772" y="1144"/>
                    </a:lnTo>
                    <a:lnTo>
                      <a:pt x="5760" y="1140"/>
                    </a:lnTo>
                    <a:lnTo>
                      <a:pt x="5732" y="1138"/>
                    </a:lnTo>
                    <a:lnTo>
                      <a:pt x="5698" y="1136"/>
                    </a:lnTo>
                    <a:lnTo>
                      <a:pt x="5698" y="1136"/>
                    </a:lnTo>
                    <a:lnTo>
                      <a:pt x="5692" y="1138"/>
                    </a:lnTo>
                    <a:lnTo>
                      <a:pt x="5688" y="1140"/>
                    </a:lnTo>
                    <a:lnTo>
                      <a:pt x="5686" y="1144"/>
                    </a:lnTo>
                    <a:lnTo>
                      <a:pt x="5686" y="1148"/>
                    </a:lnTo>
                    <a:lnTo>
                      <a:pt x="5690" y="1160"/>
                    </a:lnTo>
                    <a:lnTo>
                      <a:pt x="5696" y="1172"/>
                    </a:lnTo>
                    <a:lnTo>
                      <a:pt x="5702" y="1184"/>
                    </a:lnTo>
                    <a:lnTo>
                      <a:pt x="5704" y="1190"/>
                    </a:lnTo>
                    <a:lnTo>
                      <a:pt x="5704" y="1192"/>
                    </a:lnTo>
                    <a:lnTo>
                      <a:pt x="5700" y="1192"/>
                    </a:lnTo>
                    <a:lnTo>
                      <a:pt x="5684" y="1186"/>
                    </a:lnTo>
                    <a:lnTo>
                      <a:pt x="5684" y="1186"/>
                    </a:lnTo>
                    <a:lnTo>
                      <a:pt x="5676" y="1180"/>
                    </a:lnTo>
                    <a:lnTo>
                      <a:pt x="5670" y="1174"/>
                    </a:lnTo>
                    <a:lnTo>
                      <a:pt x="5666" y="1168"/>
                    </a:lnTo>
                    <a:lnTo>
                      <a:pt x="5664" y="1162"/>
                    </a:lnTo>
                    <a:lnTo>
                      <a:pt x="5664" y="1150"/>
                    </a:lnTo>
                    <a:lnTo>
                      <a:pt x="5666" y="1138"/>
                    </a:lnTo>
                    <a:lnTo>
                      <a:pt x="5666" y="1126"/>
                    </a:lnTo>
                    <a:lnTo>
                      <a:pt x="5664" y="1120"/>
                    </a:lnTo>
                    <a:lnTo>
                      <a:pt x="5660" y="1114"/>
                    </a:lnTo>
                    <a:lnTo>
                      <a:pt x="5654" y="1106"/>
                    </a:lnTo>
                    <a:lnTo>
                      <a:pt x="5646" y="1100"/>
                    </a:lnTo>
                    <a:lnTo>
                      <a:pt x="5634" y="1092"/>
                    </a:lnTo>
                    <a:lnTo>
                      <a:pt x="5618" y="1084"/>
                    </a:lnTo>
                    <a:lnTo>
                      <a:pt x="5618" y="1084"/>
                    </a:lnTo>
                    <a:lnTo>
                      <a:pt x="5580" y="1068"/>
                    </a:lnTo>
                    <a:lnTo>
                      <a:pt x="5546" y="1050"/>
                    </a:lnTo>
                    <a:lnTo>
                      <a:pt x="5478" y="1014"/>
                    </a:lnTo>
                    <a:lnTo>
                      <a:pt x="5478" y="1008"/>
                    </a:lnTo>
                    <a:lnTo>
                      <a:pt x="5478" y="1008"/>
                    </a:lnTo>
                    <a:lnTo>
                      <a:pt x="5448" y="994"/>
                    </a:lnTo>
                    <a:lnTo>
                      <a:pt x="5418" y="982"/>
                    </a:lnTo>
                    <a:lnTo>
                      <a:pt x="5386" y="970"/>
                    </a:lnTo>
                    <a:lnTo>
                      <a:pt x="5356" y="962"/>
                    </a:lnTo>
                    <a:lnTo>
                      <a:pt x="5356" y="962"/>
                    </a:lnTo>
                    <a:lnTo>
                      <a:pt x="5310" y="952"/>
                    </a:lnTo>
                    <a:lnTo>
                      <a:pt x="5294" y="946"/>
                    </a:lnTo>
                    <a:lnTo>
                      <a:pt x="5270" y="944"/>
                    </a:lnTo>
                    <a:lnTo>
                      <a:pt x="5210" y="940"/>
                    </a:lnTo>
                    <a:lnTo>
                      <a:pt x="5210" y="940"/>
                    </a:lnTo>
                    <a:lnTo>
                      <a:pt x="5170" y="936"/>
                    </a:lnTo>
                    <a:lnTo>
                      <a:pt x="5144" y="930"/>
                    </a:lnTo>
                    <a:lnTo>
                      <a:pt x="5126" y="924"/>
                    </a:lnTo>
                    <a:lnTo>
                      <a:pt x="5116" y="918"/>
                    </a:lnTo>
                    <a:lnTo>
                      <a:pt x="5108" y="916"/>
                    </a:lnTo>
                    <a:lnTo>
                      <a:pt x="5102" y="918"/>
                    </a:lnTo>
                    <a:lnTo>
                      <a:pt x="5096" y="926"/>
                    </a:lnTo>
                    <a:lnTo>
                      <a:pt x="5086" y="942"/>
                    </a:lnTo>
                    <a:lnTo>
                      <a:pt x="5086" y="942"/>
                    </a:lnTo>
                    <a:lnTo>
                      <a:pt x="5080" y="950"/>
                    </a:lnTo>
                    <a:lnTo>
                      <a:pt x="5078" y="958"/>
                    </a:lnTo>
                    <a:lnTo>
                      <a:pt x="5078" y="964"/>
                    </a:lnTo>
                    <a:lnTo>
                      <a:pt x="5080" y="968"/>
                    </a:lnTo>
                    <a:lnTo>
                      <a:pt x="5084" y="972"/>
                    </a:lnTo>
                    <a:lnTo>
                      <a:pt x="5088" y="974"/>
                    </a:lnTo>
                    <a:lnTo>
                      <a:pt x="5100" y="978"/>
                    </a:lnTo>
                    <a:lnTo>
                      <a:pt x="5110" y="982"/>
                    </a:lnTo>
                    <a:lnTo>
                      <a:pt x="5114" y="986"/>
                    </a:lnTo>
                    <a:lnTo>
                      <a:pt x="5116" y="988"/>
                    </a:lnTo>
                    <a:lnTo>
                      <a:pt x="5116" y="992"/>
                    </a:lnTo>
                    <a:lnTo>
                      <a:pt x="5114" y="998"/>
                    </a:lnTo>
                    <a:lnTo>
                      <a:pt x="5108" y="1004"/>
                    </a:lnTo>
                    <a:lnTo>
                      <a:pt x="5100" y="1012"/>
                    </a:lnTo>
                    <a:lnTo>
                      <a:pt x="5100" y="1012"/>
                    </a:lnTo>
                    <a:lnTo>
                      <a:pt x="5084" y="1024"/>
                    </a:lnTo>
                    <a:lnTo>
                      <a:pt x="5076" y="1028"/>
                    </a:lnTo>
                    <a:lnTo>
                      <a:pt x="5072" y="1030"/>
                    </a:lnTo>
                    <a:lnTo>
                      <a:pt x="5068" y="1028"/>
                    </a:lnTo>
                    <a:lnTo>
                      <a:pt x="5064" y="1026"/>
                    </a:lnTo>
                    <a:lnTo>
                      <a:pt x="5058" y="1020"/>
                    </a:lnTo>
                    <a:lnTo>
                      <a:pt x="5052" y="1012"/>
                    </a:lnTo>
                    <a:lnTo>
                      <a:pt x="5044" y="1004"/>
                    </a:lnTo>
                    <a:lnTo>
                      <a:pt x="5040" y="1000"/>
                    </a:lnTo>
                    <a:lnTo>
                      <a:pt x="5034" y="996"/>
                    </a:lnTo>
                    <a:lnTo>
                      <a:pt x="5028" y="996"/>
                    </a:lnTo>
                    <a:lnTo>
                      <a:pt x="5020" y="994"/>
                    </a:lnTo>
                    <a:lnTo>
                      <a:pt x="5020" y="994"/>
                    </a:lnTo>
                    <a:lnTo>
                      <a:pt x="5012" y="994"/>
                    </a:lnTo>
                    <a:lnTo>
                      <a:pt x="5006" y="992"/>
                    </a:lnTo>
                    <a:lnTo>
                      <a:pt x="5004" y="990"/>
                    </a:lnTo>
                    <a:lnTo>
                      <a:pt x="5002" y="988"/>
                    </a:lnTo>
                    <a:lnTo>
                      <a:pt x="5000" y="978"/>
                    </a:lnTo>
                    <a:lnTo>
                      <a:pt x="5000" y="970"/>
                    </a:lnTo>
                    <a:lnTo>
                      <a:pt x="5000" y="962"/>
                    </a:lnTo>
                    <a:lnTo>
                      <a:pt x="4998" y="960"/>
                    </a:lnTo>
                    <a:lnTo>
                      <a:pt x="4994" y="958"/>
                    </a:lnTo>
                    <a:lnTo>
                      <a:pt x="4988" y="956"/>
                    </a:lnTo>
                    <a:lnTo>
                      <a:pt x="4980" y="958"/>
                    </a:lnTo>
                    <a:lnTo>
                      <a:pt x="4958" y="964"/>
                    </a:lnTo>
                    <a:lnTo>
                      <a:pt x="4958" y="964"/>
                    </a:lnTo>
                    <a:lnTo>
                      <a:pt x="4944" y="968"/>
                    </a:lnTo>
                    <a:lnTo>
                      <a:pt x="4930" y="970"/>
                    </a:lnTo>
                    <a:lnTo>
                      <a:pt x="4920" y="972"/>
                    </a:lnTo>
                    <a:lnTo>
                      <a:pt x="4908" y="972"/>
                    </a:lnTo>
                    <a:lnTo>
                      <a:pt x="4890" y="968"/>
                    </a:lnTo>
                    <a:lnTo>
                      <a:pt x="4870" y="964"/>
                    </a:lnTo>
                    <a:lnTo>
                      <a:pt x="4850" y="958"/>
                    </a:lnTo>
                    <a:lnTo>
                      <a:pt x="4828" y="954"/>
                    </a:lnTo>
                    <a:lnTo>
                      <a:pt x="4814" y="954"/>
                    </a:lnTo>
                    <a:lnTo>
                      <a:pt x="4800" y="954"/>
                    </a:lnTo>
                    <a:lnTo>
                      <a:pt x="4784" y="956"/>
                    </a:lnTo>
                    <a:lnTo>
                      <a:pt x="4766" y="958"/>
                    </a:lnTo>
                    <a:lnTo>
                      <a:pt x="4766" y="958"/>
                    </a:lnTo>
                    <a:lnTo>
                      <a:pt x="4732" y="966"/>
                    </a:lnTo>
                    <a:lnTo>
                      <a:pt x="4706" y="966"/>
                    </a:lnTo>
                    <a:lnTo>
                      <a:pt x="4686" y="964"/>
                    </a:lnTo>
                    <a:lnTo>
                      <a:pt x="4674" y="960"/>
                    </a:lnTo>
                    <a:lnTo>
                      <a:pt x="4668" y="956"/>
                    </a:lnTo>
                    <a:lnTo>
                      <a:pt x="4666" y="952"/>
                    </a:lnTo>
                    <a:lnTo>
                      <a:pt x="4662" y="944"/>
                    </a:lnTo>
                    <a:lnTo>
                      <a:pt x="4664" y="934"/>
                    </a:lnTo>
                    <a:lnTo>
                      <a:pt x="4668" y="924"/>
                    </a:lnTo>
                    <a:lnTo>
                      <a:pt x="4668" y="924"/>
                    </a:lnTo>
                    <a:lnTo>
                      <a:pt x="4670" y="918"/>
                    </a:lnTo>
                    <a:lnTo>
                      <a:pt x="4670" y="912"/>
                    </a:lnTo>
                    <a:lnTo>
                      <a:pt x="4668" y="906"/>
                    </a:lnTo>
                    <a:lnTo>
                      <a:pt x="4662" y="898"/>
                    </a:lnTo>
                    <a:lnTo>
                      <a:pt x="4656" y="892"/>
                    </a:lnTo>
                    <a:lnTo>
                      <a:pt x="4648" y="884"/>
                    </a:lnTo>
                    <a:lnTo>
                      <a:pt x="4636" y="878"/>
                    </a:lnTo>
                    <a:lnTo>
                      <a:pt x="4624" y="872"/>
                    </a:lnTo>
                    <a:lnTo>
                      <a:pt x="4608" y="868"/>
                    </a:lnTo>
                    <a:lnTo>
                      <a:pt x="4592" y="862"/>
                    </a:lnTo>
                    <a:lnTo>
                      <a:pt x="4572" y="860"/>
                    </a:lnTo>
                    <a:lnTo>
                      <a:pt x="4552" y="856"/>
                    </a:lnTo>
                    <a:lnTo>
                      <a:pt x="4528" y="856"/>
                    </a:lnTo>
                    <a:lnTo>
                      <a:pt x="4504" y="856"/>
                    </a:lnTo>
                    <a:lnTo>
                      <a:pt x="4476" y="860"/>
                    </a:lnTo>
                    <a:lnTo>
                      <a:pt x="4448" y="864"/>
                    </a:lnTo>
                    <a:lnTo>
                      <a:pt x="4448" y="864"/>
                    </a:lnTo>
                    <a:lnTo>
                      <a:pt x="4420" y="868"/>
                    </a:lnTo>
                    <a:lnTo>
                      <a:pt x="4396" y="870"/>
                    </a:lnTo>
                    <a:lnTo>
                      <a:pt x="4374" y="868"/>
                    </a:lnTo>
                    <a:lnTo>
                      <a:pt x="4358" y="866"/>
                    </a:lnTo>
                    <a:lnTo>
                      <a:pt x="4342" y="860"/>
                    </a:lnTo>
                    <a:lnTo>
                      <a:pt x="4328" y="854"/>
                    </a:lnTo>
                    <a:lnTo>
                      <a:pt x="4318" y="848"/>
                    </a:lnTo>
                    <a:lnTo>
                      <a:pt x="4308" y="840"/>
                    </a:lnTo>
                    <a:lnTo>
                      <a:pt x="4292" y="822"/>
                    </a:lnTo>
                    <a:lnTo>
                      <a:pt x="4278" y="804"/>
                    </a:lnTo>
                    <a:lnTo>
                      <a:pt x="4264" y="788"/>
                    </a:lnTo>
                    <a:lnTo>
                      <a:pt x="4256" y="782"/>
                    </a:lnTo>
                    <a:lnTo>
                      <a:pt x="4246" y="778"/>
                    </a:lnTo>
                    <a:lnTo>
                      <a:pt x="4246" y="778"/>
                    </a:lnTo>
                    <a:lnTo>
                      <a:pt x="4228" y="772"/>
                    </a:lnTo>
                    <a:lnTo>
                      <a:pt x="4214" y="768"/>
                    </a:lnTo>
                    <a:lnTo>
                      <a:pt x="4186" y="768"/>
                    </a:lnTo>
                    <a:lnTo>
                      <a:pt x="4154" y="764"/>
                    </a:lnTo>
                    <a:lnTo>
                      <a:pt x="4130" y="762"/>
                    </a:lnTo>
                    <a:lnTo>
                      <a:pt x="4100" y="754"/>
                    </a:lnTo>
                    <a:lnTo>
                      <a:pt x="4100" y="754"/>
                    </a:lnTo>
                    <a:lnTo>
                      <a:pt x="4068" y="748"/>
                    </a:lnTo>
                    <a:lnTo>
                      <a:pt x="4044" y="744"/>
                    </a:lnTo>
                    <a:lnTo>
                      <a:pt x="4002" y="740"/>
                    </a:lnTo>
                    <a:lnTo>
                      <a:pt x="3964" y="738"/>
                    </a:lnTo>
                    <a:lnTo>
                      <a:pt x="3944" y="734"/>
                    </a:lnTo>
                    <a:lnTo>
                      <a:pt x="3922" y="730"/>
                    </a:lnTo>
                    <a:lnTo>
                      <a:pt x="3922" y="730"/>
                    </a:lnTo>
                    <a:lnTo>
                      <a:pt x="3902" y="724"/>
                    </a:lnTo>
                    <a:lnTo>
                      <a:pt x="3892" y="724"/>
                    </a:lnTo>
                    <a:lnTo>
                      <a:pt x="3892" y="726"/>
                    </a:lnTo>
                    <a:lnTo>
                      <a:pt x="3890" y="728"/>
                    </a:lnTo>
                    <a:lnTo>
                      <a:pt x="3890" y="734"/>
                    </a:lnTo>
                    <a:lnTo>
                      <a:pt x="3892" y="740"/>
                    </a:lnTo>
                    <a:lnTo>
                      <a:pt x="3890" y="744"/>
                    </a:lnTo>
                    <a:lnTo>
                      <a:pt x="3888" y="746"/>
                    </a:lnTo>
                    <a:lnTo>
                      <a:pt x="3882" y="750"/>
                    </a:lnTo>
                    <a:lnTo>
                      <a:pt x="3876" y="752"/>
                    </a:lnTo>
                    <a:lnTo>
                      <a:pt x="3854" y="754"/>
                    </a:lnTo>
                    <a:lnTo>
                      <a:pt x="3854" y="754"/>
                    </a:lnTo>
                    <a:lnTo>
                      <a:pt x="3842" y="756"/>
                    </a:lnTo>
                    <a:lnTo>
                      <a:pt x="3834" y="758"/>
                    </a:lnTo>
                    <a:lnTo>
                      <a:pt x="3830" y="764"/>
                    </a:lnTo>
                    <a:lnTo>
                      <a:pt x="3830" y="768"/>
                    </a:lnTo>
                    <a:lnTo>
                      <a:pt x="3832" y="776"/>
                    </a:lnTo>
                    <a:lnTo>
                      <a:pt x="3836" y="782"/>
                    </a:lnTo>
                    <a:lnTo>
                      <a:pt x="3846" y="798"/>
                    </a:lnTo>
                    <a:lnTo>
                      <a:pt x="3856" y="812"/>
                    </a:lnTo>
                    <a:lnTo>
                      <a:pt x="3860" y="818"/>
                    </a:lnTo>
                    <a:lnTo>
                      <a:pt x="3862" y="822"/>
                    </a:lnTo>
                    <a:lnTo>
                      <a:pt x="3860" y="826"/>
                    </a:lnTo>
                    <a:lnTo>
                      <a:pt x="3856" y="828"/>
                    </a:lnTo>
                    <a:lnTo>
                      <a:pt x="3848" y="826"/>
                    </a:lnTo>
                    <a:lnTo>
                      <a:pt x="3836" y="824"/>
                    </a:lnTo>
                    <a:lnTo>
                      <a:pt x="3836" y="824"/>
                    </a:lnTo>
                    <a:lnTo>
                      <a:pt x="3810" y="818"/>
                    </a:lnTo>
                    <a:lnTo>
                      <a:pt x="3792" y="818"/>
                    </a:lnTo>
                    <a:lnTo>
                      <a:pt x="3778" y="818"/>
                    </a:lnTo>
                    <a:lnTo>
                      <a:pt x="3770" y="820"/>
                    </a:lnTo>
                    <a:lnTo>
                      <a:pt x="3760" y="824"/>
                    </a:lnTo>
                    <a:lnTo>
                      <a:pt x="3750" y="824"/>
                    </a:lnTo>
                    <a:lnTo>
                      <a:pt x="3736" y="824"/>
                    </a:lnTo>
                    <a:lnTo>
                      <a:pt x="3716" y="820"/>
                    </a:lnTo>
                    <a:lnTo>
                      <a:pt x="3716" y="820"/>
                    </a:lnTo>
                    <a:lnTo>
                      <a:pt x="3704" y="818"/>
                    </a:lnTo>
                    <a:lnTo>
                      <a:pt x="3694" y="818"/>
                    </a:lnTo>
                    <a:lnTo>
                      <a:pt x="3686" y="818"/>
                    </a:lnTo>
                    <a:lnTo>
                      <a:pt x="3676" y="820"/>
                    </a:lnTo>
                    <a:lnTo>
                      <a:pt x="3662" y="826"/>
                    </a:lnTo>
                    <a:lnTo>
                      <a:pt x="3650" y="832"/>
                    </a:lnTo>
                    <a:lnTo>
                      <a:pt x="3638" y="836"/>
                    </a:lnTo>
                    <a:lnTo>
                      <a:pt x="3632" y="838"/>
                    </a:lnTo>
                    <a:lnTo>
                      <a:pt x="3624" y="836"/>
                    </a:lnTo>
                    <a:lnTo>
                      <a:pt x="3616" y="836"/>
                    </a:lnTo>
                    <a:lnTo>
                      <a:pt x="3608" y="832"/>
                    </a:lnTo>
                    <a:lnTo>
                      <a:pt x="3598" y="826"/>
                    </a:lnTo>
                    <a:lnTo>
                      <a:pt x="3586" y="818"/>
                    </a:lnTo>
                    <a:lnTo>
                      <a:pt x="3586" y="818"/>
                    </a:lnTo>
                    <a:lnTo>
                      <a:pt x="3576" y="812"/>
                    </a:lnTo>
                    <a:lnTo>
                      <a:pt x="3566" y="810"/>
                    </a:lnTo>
                    <a:lnTo>
                      <a:pt x="3558" y="810"/>
                    </a:lnTo>
                    <a:lnTo>
                      <a:pt x="3552" y="814"/>
                    </a:lnTo>
                    <a:lnTo>
                      <a:pt x="3546" y="820"/>
                    </a:lnTo>
                    <a:lnTo>
                      <a:pt x="3540" y="828"/>
                    </a:lnTo>
                    <a:lnTo>
                      <a:pt x="3530" y="848"/>
                    </a:lnTo>
                    <a:lnTo>
                      <a:pt x="3520" y="864"/>
                    </a:lnTo>
                    <a:lnTo>
                      <a:pt x="3514" y="872"/>
                    </a:lnTo>
                    <a:lnTo>
                      <a:pt x="3508" y="876"/>
                    </a:lnTo>
                    <a:lnTo>
                      <a:pt x="3500" y="878"/>
                    </a:lnTo>
                    <a:lnTo>
                      <a:pt x="3492" y="878"/>
                    </a:lnTo>
                    <a:lnTo>
                      <a:pt x="3482" y="872"/>
                    </a:lnTo>
                    <a:lnTo>
                      <a:pt x="3470" y="864"/>
                    </a:lnTo>
                    <a:lnTo>
                      <a:pt x="3470" y="864"/>
                    </a:lnTo>
                    <a:lnTo>
                      <a:pt x="3428" y="824"/>
                    </a:lnTo>
                    <a:lnTo>
                      <a:pt x="3402" y="796"/>
                    </a:lnTo>
                    <a:lnTo>
                      <a:pt x="3390" y="784"/>
                    </a:lnTo>
                    <a:lnTo>
                      <a:pt x="3380" y="776"/>
                    </a:lnTo>
                    <a:lnTo>
                      <a:pt x="3368" y="768"/>
                    </a:lnTo>
                    <a:lnTo>
                      <a:pt x="3352" y="762"/>
                    </a:lnTo>
                    <a:lnTo>
                      <a:pt x="3352" y="762"/>
                    </a:lnTo>
                    <a:lnTo>
                      <a:pt x="3346" y="760"/>
                    </a:lnTo>
                    <a:lnTo>
                      <a:pt x="3342" y="760"/>
                    </a:lnTo>
                    <a:lnTo>
                      <a:pt x="3338" y="762"/>
                    </a:lnTo>
                    <a:lnTo>
                      <a:pt x="3338" y="764"/>
                    </a:lnTo>
                    <a:lnTo>
                      <a:pt x="3340" y="772"/>
                    </a:lnTo>
                    <a:lnTo>
                      <a:pt x="3344" y="782"/>
                    </a:lnTo>
                    <a:lnTo>
                      <a:pt x="3348" y="792"/>
                    </a:lnTo>
                    <a:lnTo>
                      <a:pt x="3350" y="798"/>
                    </a:lnTo>
                    <a:lnTo>
                      <a:pt x="3348" y="798"/>
                    </a:lnTo>
                    <a:lnTo>
                      <a:pt x="3346" y="798"/>
                    </a:lnTo>
                    <a:lnTo>
                      <a:pt x="3336" y="790"/>
                    </a:lnTo>
                    <a:lnTo>
                      <a:pt x="3336" y="790"/>
                    </a:lnTo>
                    <a:lnTo>
                      <a:pt x="3318" y="778"/>
                    </a:lnTo>
                    <a:lnTo>
                      <a:pt x="3296" y="766"/>
                    </a:lnTo>
                    <a:lnTo>
                      <a:pt x="3270" y="754"/>
                    </a:lnTo>
                    <a:lnTo>
                      <a:pt x="3242" y="744"/>
                    </a:lnTo>
                    <a:lnTo>
                      <a:pt x="3208" y="734"/>
                    </a:lnTo>
                    <a:lnTo>
                      <a:pt x="3170" y="728"/>
                    </a:lnTo>
                    <a:lnTo>
                      <a:pt x="3128" y="722"/>
                    </a:lnTo>
                    <a:lnTo>
                      <a:pt x="3082" y="716"/>
                    </a:lnTo>
                    <a:lnTo>
                      <a:pt x="3082" y="716"/>
                    </a:lnTo>
                    <a:lnTo>
                      <a:pt x="3030" y="712"/>
                    </a:lnTo>
                    <a:lnTo>
                      <a:pt x="3012" y="708"/>
                    </a:lnTo>
                    <a:lnTo>
                      <a:pt x="3000" y="704"/>
                    </a:lnTo>
                    <a:lnTo>
                      <a:pt x="2994" y="702"/>
                    </a:lnTo>
                    <a:lnTo>
                      <a:pt x="2992" y="698"/>
                    </a:lnTo>
                    <a:lnTo>
                      <a:pt x="2992" y="694"/>
                    </a:lnTo>
                    <a:lnTo>
                      <a:pt x="2994" y="690"/>
                    </a:lnTo>
                    <a:lnTo>
                      <a:pt x="3002" y="684"/>
                    </a:lnTo>
                    <a:lnTo>
                      <a:pt x="3008" y="678"/>
                    </a:lnTo>
                    <a:lnTo>
                      <a:pt x="3008" y="676"/>
                    </a:lnTo>
                    <a:lnTo>
                      <a:pt x="3006" y="674"/>
                    </a:lnTo>
                    <a:lnTo>
                      <a:pt x="3002" y="672"/>
                    </a:lnTo>
                    <a:lnTo>
                      <a:pt x="2992" y="670"/>
                    </a:lnTo>
                    <a:lnTo>
                      <a:pt x="2992" y="670"/>
                    </a:lnTo>
                    <a:lnTo>
                      <a:pt x="2946" y="666"/>
                    </a:lnTo>
                    <a:lnTo>
                      <a:pt x="2904" y="664"/>
                    </a:lnTo>
                    <a:lnTo>
                      <a:pt x="2864" y="664"/>
                    </a:lnTo>
                    <a:lnTo>
                      <a:pt x="2844" y="666"/>
                    </a:lnTo>
                    <a:lnTo>
                      <a:pt x="2822" y="670"/>
                    </a:lnTo>
                    <a:lnTo>
                      <a:pt x="2822" y="670"/>
                    </a:lnTo>
                    <a:lnTo>
                      <a:pt x="2814" y="670"/>
                    </a:lnTo>
                    <a:lnTo>
                      <a:pt x="2806" y="670"/>
                    </a:lnTo>
                    <a:lnTo>
                      <a:pt x="2800" y="670"/>
                    </a:lnTo>
                    <a:lnTo>
                      <a:pt x="2794" y="668"/>
                    </a:lnTo>
                    <a:lnTo>
                      <a:pt x="2790" y="662"/>
                    </a:lnTo>
                    <a:lnTo>
                      <a:pt x="2786" y="654"/>
                    </a:lnTo>
                    <a:lnTo>
                      <a:pt x="2784" y="648"/>
                    </a:lnTo>
                    <a:lnTo>
                      <a:pt x="2780" y="644"/>
                    </a:lnTo>
                    <a:lnTo>
                      <a:pt x="2778" y="642"/>
                    </a:lnTo>
                    <a:lnTo>
                      <a:pt x="2774" y="642"/>
                    </a:lnTo>
                    <a:lnTo>
                      <a:pt x="2762" y="648"/>
                    </a:lnTo>
                    <a:lnTo>
                      <a:pt x="2762" y="648"/>
                    </a:lnTo>
                    <a:lnTo>
                      <a:pt x="2748" y="654"/>
                    </a:lnTo>
                    <a:lnTo>
                      <a:pt x="2738" y="654"/>
                    </a:lnTo>
                    <a:lnTo>
                      <a:pt x="2730" y="652"/>
                    </a:lnTo>
                    <a:lnTo>
                      <a:pt x="2722" y="648"/>
                    </a:lnTo>
                    <a:lnTo>
                      <a:pt x="2714" y="644"/>
                    </a:lnTo>
                    <a:lnTo>
                      <a:pt x="2704" y="640"/>
                    </a:lnTo>
                    <a:lnTo>
                      <a:pt x="2692" y="638"/>
                    </a:lnTo>
                    <a:lnTo>
                      <a:pt x="2676" y="640"/>
                    </a:lnTo>
                    <a:lnTo>
                      <a:pt x="2676" y="640"/>
                    </a:lnTo>
                    <a:lnTo>
                      <a:pt x="2660" y="644"/>
                    </a:lnTo>
                    <a:lnTo>
                      <a:pt x="2652" y="650"/>
                    </a:lnTo>
                    <a:lnTo>
                      <a:pt x="2650" y="658"/>
                    </a:lnTo>
                    <a:lnTo>
                      <a:pt x="2648" y="664"/>
                    </a:lnTo>
                    <a:lnTo>
                      <a:pt x="2642" y="672"/>
                    </a:lnTo>
                    <a:lnTo>
                      <a:pt x="2634" y="680"/>
                    </a:lnTo>
                    <a:lnTo>
                      <a:pt x="2614" y="686"/>
                    </a:lnTo>
                    <a:lnTo>
                      <a:pt x="2586" y="692"/>
                    </a:lnTo>
                    <a:lnTo>
                      <a:pt x="2586" y="692"/>
                    </a:lnTo>
                    <a:lnTo>
                      <a:pt x="2554" y="696"/>
                    </a:lnTo>
                    <a:lnTo>
                      <a:pt x="2530" y="698"/>
                    </a:lnTo>
                    <a:lnTo>
                      <a:pt x="2516" y="696"/>
                    </a:lnTo>
                    <a:lnTo>
                      <a:pt x="2512" y="694"/>
                    </a:lnTo>
                    <a:lnTo>
                      <a:pt x="2512" y="692"/>
                    </a:lnTo>
                    <a:lnTo>
                      <a:pt x="2512" y="690"/>
                    </a:lnTo>
                    <a:lnTo>
                      <a:pt x="2516" y="686"/>
                    </a:lnTo>
                    <a:lnTo>
                      <a:pt x="2528" y="676"/>
                    </a:lnTo>
                    <a:lnTo>
                      <a:pt x="2550" y="666"/>
                    </a:lnTo>
                    <a:lnTo>
                      <a:pt x="2580" y="652"/>
                    </a:lnTo>
                    <a:lnTo>
                      <a:pt x="2580" y="652"/>
                    </a:lnTo>
                    <a:lnTo>
                      <a:pt x="2610" y="640"/>
                    </a:lnTo>
                    <a:lnTo>
                      <a:pt x="2632" y="628"/>
                    </a:lnTo>
                    <a:lnTo>
                      <a:pt x="2660" y="610"/>
                    </a:lnTo>
                    <a:lnTo>
                      <a:pt x="2672" y="602"/>
                    </a:lnTo>
                    <a:lnTo>
                      <a:pt x="2688" y="594"/>
                    </a:lnTo>
                    <a:lnTo>
                      <a:pt x="2706" y="586"/>
                    </a:lnTo>
                    <a:lnTo>
                      <a:pt x="2734" y="576"/>
                    </a:lnTo>
                    <a:lnTo>
                      <a:pt x="2734" y="576"/>
                    </a:lnTo>
                    <a:lnTo>
                      <a:pt x="2762" y="566"/>
                    </a:lnTo>
                    <a:lnTo>
                      <a:pt x="2782" y="554"/>
                    </a:lnTo>
                    <a:lnTo>
                      <a:pt x="2788" y="548"/>
                    </a:lnTo>
                    <a:lnTo>
                      <a:pt x="2794" y="542"/>
                    </a:lnTo>
                    <a:lnTo>
                      <a:pt x="2802" y="528"/>
                    </a:lnTo>
                    <a:lnTo>
                      <a:pt x="2806" y="514"/>
                    </a:lnTo>
                    <a:lnTo>
                      <a:pt x="2806" y="502"/>
                    </a:lnTo>
                    <a:lnTo>
                      <a:pt x="2802" y="490"/>
                    </a:lnTo>
                    <a:lnTo>
                      <a:pt x="2798" y="478"/>
                    </a:lnTo>
                    <a:lnTo>
                      <a:pt x="2798" y="478"/>
                    </a:lnTo>
                    <a:lnTo>
                      <a:pt x="2792" y="470"/>
                    </a:lnTo>
                    <a:lnTo>
                      <a:pt x="2784" y="464"/>
                    </a:lnTo>
                    <a:lnTo>
                      <a:pt x="2776" y="462"/>
                    </a:lnTo>
                    <a:lnTo>
                      <a:pt x="2768" y="460"/>
                    </a:lnTo>
                    <a:lnTo>
                      <a:pt x="2748" y="454"/>
                    </a:lnTo>
                    <a:lnTo>
                      <a:pt x="2738" y="448"/>
                    </a:lnTo>
                    <a:lnTo>
                      <a:pt x="2724" y="438"/>
                    </a:lnTo>
                    <a:lnTo>
                      <a:pt x="2724" y="438"/>
                    </a:lnTo>
                    <a:lnTo>
                      <a:pt x="2712" y="430"/>
                    </a:lnTo>
                    <a:lnTo>
                      <a:pt x="2700" y="426"/>
                    </a:lnTo>
                    <a:lnTo>
                      <a:pt x="2686" y="424"/>
                    </a:lnTo>
                    <a:lnTo>
                      <a:pt x="2672" y="424"/>
                    </a:lnTo>
                    <a:lnTo>
                      <a:pt x="2644" y="428"/>
                    </a:lnTo>
                    <a:lnTo>
                      <a:pt x="2628" y="428"/>
                    </a:lnTo>
                    <a:lnTo>
                      <a:pt x="2612" y="426"/>
                    </a:lnTo>
                    <a:lnTo>
                      <a:pt x="2612" y="426"/>
                    </a:lnTo>
                    <a:lnTo>
                      <a:pt x="2598" y="424"/>
                    </a:lnTo>
                    <a:lnTo>
                      <a:pt x="2590" y="424"/>
                    </a:lnTo>
                    <a:lnTo>
                      <a:pt x="2582" y="426"/>
                    </a:lnTo>
                    <a:lnTo>
                      <a:pt x="2578" y="428"/>
                    </a:lnTo>
                    <a:lnTo>
                      <a:pt x="2574" y="432"/>
                    </a:lnTo>
                    <a:lnTo>
                      <a:pt x="2566" y="436"/>
                    </a:lnTo>
                    <a:lnTo>
                      <a:pt x="2554" y="440"/>
                    </a:lnTo>
                    <a:lnTo>
                      <a:pt x="2538" y="444"/>
                    </a:lnTo>
                    <a:lnTo>
                      <a:pt x="2538" y="444"/>
                    </a:lnTo>
                    <a:lnTo>
                      <a:pt x="2516" y="444"/>
                    </a:lnTo>
                    <a:lnTo>
                      <a:pt x="2512" y="444"/>
                    </a:lnTo>
                    <a:lnTo>
                      <a:pt x="2512" y="442"/>
                    </a:lnTo>
                    <a:lnTo>
                      <a:pt x="2516" y="436"/>
                    </a:lnTo>
                    <a:lnTo>
                      <a:pt x="2528" y="428"/>
                    </a:lnTo>
                    <a:lnTo>
                      <a:pt x="2538" y="420"/>
                    </a:lnTo>
                    <a:lnTo>
                      <a:pt x="2540" y="416"/>
                    </a:lnTo>
                    <a:lnTo>
                      <a:pt x="2542" y="412"/>
                    </a:lnTo>
                    <a:lnTo>
                      <a:pt x="2540" y="410"/>
                    </a:lnTo>
                    <a:lnTo>
                      <a:pt x="2534" y="406"/>
                    </a:lnTo>
                    <a:lnTo>
                      <a:pt x="2524" y="404"/>
                    </a:lnTo>
                    <a:lnTo>
                      <a:pt x="2508" y="402"/>
                    </a:lnTo>
                    <a:lnTo>
                      <a:pt x="2508" y="402"/>
                    </a:lnTo>
                    <a:lnTo>
                      <a:pt x="2478" y="400"/>
                    </a:lnTo>
                    <a:lnTo>
                      <a:pt x="2458" y="398"/>
                    </a:lnTo>
                    <a:lnTo>
                      <a:pt x="2448" y="394"/>
                    </a:lnTo>
                    <a:lnTo>
                      <a:pt x="2446" y="394"/>
                    </a:lnTo>
                    <a:lnTo>
                      <a:pt x="2446" y="392"/>
                    </a:lnTo>
                    <a:lnTo>
                      <a:pt x="2450" y="388"/>
                    </a:lnTo>
                    <a:lnTo>
                      <a:pt x="2458" y="386"/>
                    </a:lnTo>
                    <a:lnTo>
                      <a:pt x="2486" y="378"/>
                    </a:lnTo>
                    <a:lnTo>
                      <a:pt x="2486" y="378"/>
                    </a:lnTo>
                    <a:lnTo>
                      <a:pt x="2492" y="376"/>
                    </a:lnTo>
                    <a:lnTo>
                      <a:pt x="2496" y="374"/>
                    </a:lnTo>
                    <a:lnTo>
                      <a:pt x="2496" y="370"/>
                    </a:lnTo>
                    <a:lnTo>
                      <a:pt x="2496" y="366"/>
                    </a:lnTo>
                    <a:lnTo>
                      <a:pt x="2492" y="364"/>
                    </a:lnTo>
                    <a:lnTo>
                      <a:pt x="2486" y="360"/>
                    </a:lnTo>
                    <a:lnTo>
                      <a:pt x="2470" y="352"/>
                    </a:lnTo>
                    <a:lnTo>
                      <a:pt x="2448" y="348"/>
                    </a:lnTo>
                    <a:lnTo>
                      <a:pt x="2422" y="348"/>
                    </a:lnTo>
                    <a:lnTo>
                      <a:pt x="2408" y="348"/>
                    </a:lnTo>
                    <a:lnTo>
                      <a:pt x="2392" y="352"/>
                    </a:lnTo>
                    <a:lnTo>
                      <a:pt x="2378" y="356"/>
                    </a:lnTo>
                    <a:lnTo>
                      <a:pt x="2362" y="362"/>
                    </a:lnTo>
                    <a:lnTo>
                      <a:pt x="2362" y="362"/>
                    </a:lnTo>
                    <a:lnTo>
                      <a:pt x="2342" y="370"/>
                    </a:lnTo>
                    <a:lnTo>
                      <a:pt x="2326" y="380"/>
                    </a:lnTo>
                    <a:lnTo>
                      <a:pt x="2314" y="388"/>
                    </a:lnTo>
                    <a:lnTo>
                      <a:pt x="2304" y="396"/>
                    </a:lnTo>
                    <a:lnTo>
                      <a:pt x="2296" y="402"/>
                    </a:lnTo>
                    <a:lnTo>
                      <a:pt x="2292" y="408"/>
                    </a:lnTo>
                    <a:lnTo>
                      <a:pt x="2286" y="420"/>
                    </a:lnTo>
                    <a:lnTo>
                      <a:pt x="2284" y="428"/>
                    </a:lnTo>
                    <a:lnTo>
                      <a:pt x="2280" y="434"/>
                    </a:lnTo>
                    <a:lnTo>
                      <a:pt x="2276" y="436"/>
                    </a:lnTo>
                    <a:lnTo>
                      <a:pt x="2272" y="438"/>
                    </a:lnTo>
                    <a:lnTo>
                      <a:pt x="2256" y="440"/>
                    </a:lnTo>
                    <a:lnTo>
                      <a:pt x="2256" y="440"/>
                    </a:lnTo>
                    <a:lnTo>
                      <a:pt x="2224" y="442"/>
                    </a:lnTo>
                    <a:lnTo>
                      <a:pt x="2208" y="444"/>
                    </a:lnTo>
                    <a:lnTo>
                      <a:pt x="2206" y="444"/>
                    </a:lnTo>
                    <a:lnTo>
                      <a:pt x="2206" y="446"/>
                    </a:lnTo>
                    <a:lnTo>
                      <a:pt x="2206" y="448"/>
                    </a:lnTo>
                    <a:lnTo>
                      <a:pt x="2210" y="452"/>
                    </a:lnTo>
                    <a:lnTo>
                      <a:pt x="2208" y="456"/>
                    </a:lnTo>
                    <a:lnTo>
                      <a:pt x="2206" y="458"/>
                    </a:lnTo>
                    <a:lnTo>
                      <a:pt x="2192" y="464"/>
                    </a:lnTo>
                    <a:lnTo>
                      <a:pt x="2162" y="472"/>
                    </a:lnTo>
                    <a:lnTo>
                      <a:pt x="2162" y="472"/>
                    </a:lnTo>
                    <a:lnTo>
                      <a:pt x="2132" y="478"/>
                    </a:lnTo>
                    <a:lnTo>
                      <a:pt x="2118" y="478"/>
                    </a:lnTo>
                    <a:lnTo>
                      <a:pt x="2114" y="476"/>
                    </a:lnTo>
                    <a:lnTo>
                      <a:pt x="2112" y="474"/>
                    </a:lnTo>
                    <a:lnTo>
                      <a:pt x="2112" y="470"/>
                    </a:lnTo>
                    <a:lnTo>
                      <a:pt x="2110" y="468"/>
                    </a:lnTo>
                    <a:lnTo>
                      <a:pt x="2108" y="464"/>
                    </a:lnTo>
                    <a:lnTo>
                      <a:pt x="2106" y="462"/>
                    </a:lnTo>
                    <a:lnTo>
                      <a:pt x="2098" y="462"/>
                    </a:lnTo>
                    <a:lnTo>
                      <a:pt x="2076" y="460"/>
                    </a:lnTo>
                    <a:lnTo>
                      <a:pt x="2034" y="464"/>
                    </a:lnTo>
                    <a:lnTo>
                      <a:pt x="2034" y="464"/>
                    </a:lnTo>
                    <a:lnTo>
                      <a:pt x="1994" y="472"/>
                    </a:lnTo>
                    <a:lnTo>
                      <a:pt x="1982" y="474"/>
                    </a:lnTo>
                    <a:lnTo>
                      <a:pt x="1974" y="478"/>
                    </a:lnTo>
                    <a:lnTo>
                      <a:pt x="1970" y="482"/>
                    </a:lnTo>
                    <a:lnTo>
                      <a:pt x="1968" y="484"/>
                    </a:lnTo>
                    <a:lnTo>
                      <a:pt x="1970" y="490"/>
                    </a:lnTo>
                    <a:lnTo>
                      <a:pt x="1970" y="494"/>
                    </a:lnTo>
                    <a:lnTo>
                      <a:pt x="1970" y="496"/>
                    </a:lnTo>
                    <a:lnTo>
                      <a:pt x="1968" y="500"/>
                    </a:lnTo>
                    <a:lnTo>
                      <a:pt x="1964" y="502"/>
                    </a:lnTo>
                    <a:lnTo>
                      <a:pt x="1954" y="504"/>
                    </a:lnTo>
                    <a:lnTo>
                      <a:pt x="1942" y="506"/>
                    </a:lnTo>
                    <a:lnTo>
                      <a:pt x="1898" y="512"/>
                    </a:lnTo>
                    <a:lnTo>
                      <a:pt x="1898" y="512"/>
                    </a:lnTo>
                    <a:lnTo>
                      <a:pt x="1850" y="516"/>
                    </a:lnTo>
                    <a:lnTo>
                      <a:pt x="1818" y="522"/>
                    </a:lnTo>
                    <a:lnTo>
                      <a:pt x="1800" y="526"/>
                    </a:lnTo>
                    <a:lnTo>
                      <a:pt x="1790" y="532"/>
                    </a:lnTo>
                    <a:lnTo>
                      <a:pt x="1784" y="538"/>
                    </a:lnTo>
                    <a:lnTo>
                      <a:pt x="1776" y="542"/>
                    </a:lnTo>
                    <a:lnTo>
                      <a:pt x="1764" y="546"/>
                    </a:lnTo>
                    <a:lnTo>
                      <a:pt x="1742" y="550"/>
                    </a:lnTo>
                    <a:lnTo>
                      <a:pt x="1742" y="550"/>
                    </a:lnTo>
                    <a:lnTo>
                      <a:pt x="1728" y="550"/>
                    </a:lnTo>
                    <a:lnTo>
                      <a:pt x="1718" y="554"/>
                    </a:lnTo>
                    <a:lnTo>
                      <a:pt x="1708" y="558"/>
                    </a:lnTo>
                    <a:lnTo>
                      <a:pt x="1698" y="562"/>
                    </a:lnTo>
                    <a:lnTo>
                      <a:pt x="1692" y="566"/>
                    </a:lnTo>
                    <a:lnTo>
                      <a:pt x="1686" y="572"/>
                    </a:lnTo>
                    <a:lnTo>
                      <a:pt x="1682" y="578"/>
                    </a:lnTo>
                    <a:lnTo>
                      <a:pt x="1680" y="584"/>
                    </a:lnTo>
                    <a:lnTo>
                      <a:pt x="1678" y="590"/>
                    </a:lnTo>
                    <a:lnTo>
                      <a:pt x="1678" y="596"/>
                    </a:lnTo>
                    <a:lnTo>
                      <a:pt x="1680" y="602"/>
                    </a:lnTo>
                    <a:lnTo>
                      <a:pt x="1682" y="608"/>
                    </a:lnTo>
                    <a:lnTo>
                      <a:pt x="1686" y="612"/>
                    </a:lnTo>
                    <a:lnTo>
                      <a:pt x="1690" y="616"/>
                    </a:lnTo>
                    <a:lnTo>
                      <a:pt x="1696" y="618"/>
                    </a:lnTo>
                    <a:lnTo>
                      <a:pt x="1704" y="620"/>
                    </a:lnTo>
                    <a:lnTo>
                      <a:pt x="1704" y="620"/>
                    </a:lnTo>
                    <a:lnTo>
                      <a:pt x="1716" y="622"/>
                    </a:lnTo>
                    <a:lnTo>
                      <a:pt x="1724" y="624"/>
                    </a:lnTo>
                    <a:lnTo>
                      <a:pt x="1726" y="628"/>
                    </a:lnTo>
                    <a:lnTo>
                      <a:pt x="1724" y="634"/>
                    </a:lnTo>
                    <a:lnTo>
                      <a:pt x="1716" y="638"/>
                    </a:lnTo>
                    <a:lnTo>
                      <a:pt x="1704" y="644"/>
                    </a:lnTo>
                    <a:lnTo>
                      <a:pt x="1690" y="648"/>
                    </a:lnTo>
                    <a:lnTo>
                      <a:pt x="1672" y="652"/>
                    </a:lnTo>
                    <a:lnTo>
                      <a:pt x="1672" y="652"/>
                    </a:lnTo>
                    <a:lnTo>
                      <a:pt x="1638" y="658"/>
                    </a:lnTo>
                    <a:lnTo>
                      <a:pt x="1604" y="662"/>
                    </a:lnTo>
                    <a:lnTo>
                      <a:pt x="1542" y="662"/>
                    </a:lnTo>
                    <a:lnTo>
                      <a:pt x="1514" y="662"/>
                    </a:lnTo>
                    <a:lnTo>
                      <a:pt x="1490" y="666"/>
                    </a:lnTo>
                    <a:lnTo>
                      <a:pt x="1480" y="668"/>
                    </a:lnTo>
                    <a:lnTo>
                      <a:pt x="1470" y="672"/>
                    </a:lnTo>
                    <a:lnTo>
                      <a:pt x="1462" y="676"/>
                    </a:lnTo>
                    <a:lnTo>
                      <a:pt x="1458" y="682"/>
                    </a:lnTo>
                    <a:lnTo>
                      <a:pt x="1458" y="682"/>
                    </a:lnTo>
                    <a:lnTo>
                      <a:pt x="1450" y="692"/>
                    </a:lnTo>
                    <a:lnTo>
                      <a:pt x="1450" y="696"/>
                    </a:lnTo>
                    <a:lnTo>
                      <a:pt x="1452" y="698"/>
                    </a:lnTo>
                    <a:lnTo>
                      <a:pt x="1456" y="702"/>
                    </a:lnTo>
                    <a:lnTo>
                      <a:pt x="1462" y="704"/>
                    </a:lnTo>
                    <a:lnTo>
                      <a:pt x="1470" y="706"/>
                    </a:lnTo>
                    <a:lnTo>
                      <a:pt x="1476" y="710"/>
                    </a:lnTo>
                    <a:lnTo>
                      <a:pt x="1476" y="714"/>
                    </a:lnTo>
                    <a:lnTo>
                      <a:pt x="1476" y="718"/>
                    </a:lnTo>
                    <a:lnTo>
                      <a:pt x="1476" y="724"/>
                    </a:lnTo>
                    <a:lnTo>
                      <a:pt x="1472" y="732"/>
                    </a:lnTo>
                    <a:lnTo>
                      <a:pt x="1472" y="732"/>
                    </a:lnTo>
                    <a:lnTo>
                      <a:pt x="1468" y="738"/>
                    </a:lnTo>
                    <a:lnTo>
                      <a:pt x="1468" y="744"/>
                    </a:lnTo>
                    <a:lnTo>
                      <a:pt x="1468" y="748"/>
                    </a:lnTo>
                    <a:lnTo>
                      <a:pt x="1472" y="752"/>
                    </a:lnTo>
                    <a:lnTo>
                      <a:pt x="1480" y="756"/>
                    </a:lnTo>
                    <a:lnTo>
                      <a:pt x="1492" y="758"/>
                    </a:lnTo>
                    <a:lnTo>
                      <a:pt x="1506" y="760"/>
                    </a:lnTo>
                    <a:lnTo>
                      <a:pt x="1520" y="764"/>
                    </a:lnTo>
                    <a:lnTo>
                      <a:pt x="1524" y="766"/>
                    </a:lnTo>
                    <a:lnTo>
                      <a:pt x="1528" y="770"/>
                    </a:lnTo>
                    <a:lnTo>
                      <a:pt x="1532" y="774"/>
                    </a:lnTo>
                    <a:lnTo>
                      <a:pt x="1532" y="780"/>
                    </a:lnTo>
                    <a:lnTo>
                      <a:pt x="1532" y="780"/>
                    </a:lnTo>
                    <a:lnTo>
                      <a:pt x="1534" y="786"/>
                    </a:lnTo>
                    <a:lnTo>
                      <a:pt x="1536" y="790"/>
                    </a:lnTo>
                    <a:lnTo>
                      <a:pt x="1540" y="792"/>
                    </a:lnTo>
                    <a:lnTo>
                      <a:pt x="1546" y="794"/>
                    </a:lnTo>
                    <a:lnTo>
                      <a:pt x="1556" y="796"/>
                    </a:lnTo>
                    <a:lnTo>
                      <a:pt x="1568" y="796"/>
                    </a:lnTo>
                    <a:lnTo>
                      <a:pt x="1580" y="798"/>
                    </a:lnTo>
                    <a:lnTo>
                      <a:pt x="1584" y="800"/>
                    </a:lnTo>
                    <a:lnTo>
                      <a:pt x="1586" y="804"/>
                    </a:lnTo>
                    <a:lnTo>
                      <a:pt x="1588" y="806"/>
                    </a:lnTo>
                    <a:lnTo>
                      <a:pt x="1588" y="812"/>
                    </a:lnTo>
                    <a:lnTo>
                      <a:pt x="1586" y="818"/>
                    </a:lnTo>
                    <a:lnTo>
                      <a:pt x="1582" y="828"/>
                    </a:lnTo>
                    <a:lnTo>
                      <a:pt x="1582" y="828"/>
                    </a:lnTo>
                    <a:lnTo>
                      <a:pt x="1578" y="836"/>
                    </a:lnTo>
                    <a:lnTo>
                      <a:pt x="1576" y="844"/>
                    </a:lnTo>
                    <a:lnTo>
                      <a:pt x="1576" y="852"/>
                    </a:lnTo>
                    <a:lnTo>
                      <a:pt x="1578" y="858"/>
                    </a:lnTo>
                    <a:lnTo>
                      <a:pt x="1582" y="868"/>
                    </a:lnTo>
                    <a:lnTo>
                      <a:pt x="1590" y="876"/>
                    </a:lnTo>
                    <a:lnTo>
                      <a:pt x="1596" y="882"/>
                    </a:lnTo>
                    <a:lnTo>
                      <a:pt x="1598" y="886"/>
                    </a:lnTo>
                    <a:lnTo>
                      <a:pt x="1598" y="890"/>
                    </a:lnTo>
                    <a:lnTo>
                      <a:pt x="1598" y="896"/>
                    </a:lnTo>
                    <a:lnTo>
                      <a:pt x="1596" y="900"/>
                    </a:lnTo>
                    <a:lnTo>
                      <a:pt x="1590" y="906"/>
                    </a:lnTo>
                    <a:lnTo>
                      <a:pt x="1584" y="912"/>
                    </a:lnTo>
                    <a:lnTo>
                      <a:pt x="1584" y="912"/>
                    </a:lnTo>
                    <a:lnTo>
                      <a:pt x="1570" y="922"/>
                    </a:lnTo>
                    <a:lnTo>
                      <a:pt x="1566" y="924"/>
                    </a:lnTo>
                    <a:lnTo>
                      <a:pt x="1564" y="922"/>
                    </a:lnTo>
                    <a:lnTo>
                      <a:pt x="1566" y="912"/>
                    </a:lnTo>
                    <a:lnTo>
                      <a:pt x="1568" y="898"/>
                    </a:lnTo>
                    <a:lnTo>
                      <a:pt x="1572" y="884"/>
                    </a:lnTo>
                    <a:lnTo>
                      <a:pt x="1572" y="878"/>
                    </a:lnTo>
                    <a:lnTo>
                      <a:pt x="1572" y="872"/>
                    </a:lnTo>
                    <a:lnTo>
                      <a:pt x="1570" y="866"/>
                    </a:lnTo>
                    <a:lnTo>
                      <a:pt x="1566" y="864"/>
                    </a:lnTo>
                    <a:lnTo>
                      <a:pt x="1560" y="864"/>
                    </a:lnTo>
                    <a:lnTo>
                      <a:pt x="1552" y="866"/>
                    </a:lnTo>
                    <a:lnTo>
                      <a:pt x="1552" y="866"/>
                    </a:lnTo>
                    <a:lnTo>
                      <a:pt x="1542" y="868"/>
                    </a:lnTo>
                    <a:lnTo>
                      <a:pt x="1538" y="868"/>
                    </a:lnTo>
                    <a:lnTo>
                      <a:pt x="1536" y="866"/>
                    </a:lnTo>
                    <a:lnTo>
                      <a:pt x="1536" y="864"/>
                    </a:lnTo>
                    <a:lnTo>
                      <a:pt x="1542" y="856"/>
                    </a:lnTo>
                    <a:lnTo>
                      <a:pt x="1550" y="844"/>
                    </a:lnTo>
                    <a:lnTo>
                      <a:pt x="1560" y="832"/>
                    </a:lnTo>
                    <a:lnTo>
                      <a:pt x="1562" y="826"/>
                    </a:lnTo>
                    <a:lnTo>
                      <a:pt x="1564" y="820"/>
                    </a:lnTo>
                    <a:lnTo>
                      <a:pt x="1562" y="816"/>
                    </a:lnTo>
                    <a:lnTo>
                      <a:pt x="1558" y="812"/>
                    </a:lnTo>
                    <a:lnTo>
                      <a:pt x="1552" y="810"/>
                    </a:lnTo>
                    <a:lnTo>
                      <a:pt x="1540" y="810"/>
                    </a:lnTo>
                    <a:lnTo>
                      <a:pt x="1540" y="810"/>
                    </a:lnTo>
                    <a:lnTo>
                      <a:pt x="1518" y="810"/>
                    </a:lnTo>
                    <a:lnTo>
                      <a:pt x="1504" y="806"/>
                    </a:lnTo>
                    <a:lnTo>
                      <a:pt x="1492" y="798"/>
                    </a:lnTo>
                    <a:lnTo>
                      <a:pt x="1482" y="792"/>
                    </a:lnTo>
                    <a:lnTo>
                      <a:pt x="1472" y="782"/>
                    </a:lnTo>
                    <a:lnTo>
                      <a:pt x="1460" y="774"/>
                    </a:lnTo>
                    <a:lnTo>
                      <a:pt x="1442" y="768"/>
                    </a:lnTo>
                    <a:lnTo>
                      <a:pt x="1416" y="762"/>
                    </a:lnTo>
                    <a:lnTo>
                      <a:pt x="1416" y="762"/>
                    </a:lnTo>
                    <a:lnTo>
                      <a:pt x="1400" y="760"/>
                    </a:lnTo>
                    <a:lnTo>
                      <a:pt x="1386" y="760"/>
                    </a:lnTo>
                    <a:lnTo>
                      <a:pt x="1374" y="760"/>
                    </a:lnTo>
                    <a:lnTo>
                      <a:pt x="1364" y="762"/>
                    </a:lnTo>
                    <a:lnTo>
                      <a:pt x="1358" y="764"/>
                    </a:lnTo>
                    <a:lnTo>
                      <a:pt x="1352" y="768"/>
                    </a:lnTo>
                    <a:lnTo>
                      <a:pt x="1346" y="776"/>
                    </a:lnTo>
                    <a:lnTo>
                      <a:pt x="1342" y="784"/>
                    </a:lnTo>
                    <a:lnTo>
                      <a:pt x="1340" y="790"/>
                    </a:lnTo>
                    <a:lnTo>
                      <a:pt x="1336" y="794"/>
                    </a:lnTo>
                    <a:lnTo>
                      <a:pt x="1334" y="794"/>
                    </a:lnTo>
                    <a:lnTo>
                      <a:pt x="1330" y="792"/>
                    </a:lnTo>
                    <a:lnTo>
                      <a:pt x="1330" y="792"/>
                    </a:lnTo>
                    <a:lnTo>
                      <a:pt x="1316" y="788"/>
                    </a:lnTo>
                    <a:lnTo>
                      <a:pt x="1302" y="788"/>
                    </a:lnTo>
                    <a:lnTo>
                      <a:pt x="1292" y="792"/>
                    </a:lnTo>
                    <a:lnTo>
                      <a:pt x="1284" y="796"/>
                    </a:lnTo>
                    <a:lnTo>
                      <a:pt x="1282" y="800"/>
                    </a:lnTo>
                    <a:lnTo>
                      <a:pt x="1282" y="804"/>
                    </a:lnTo>
                    <a:lnTo>
                      <a:pt x="1282" y="808"/>
                    </a:lnTo>
                    <a:lnTo>
                      <a:pt x="1284" y="812"/>
                    </a:lnTo>
                    <a:lnTo>
                      <a:pt x="1288" y="816"/>
                    </a:lnTo>
                    <a:lnTo>
                      <a:pt x="1294" y="820"/>
                    </a:lnTo>
                    <a:lnTo>
                      <a:pt x="1314" y="828"/>
                    </a:lnTo>
                    <a:lnTo>
                      <a:pt x="1314" y="828"/>
                    </a:lnTo>
                    <a:lnTo>
                      <a:pt x="1332" y="834"/>
                    </a:lnTo>
                    <a:lnTo>
                      <a:pt x="1342" y="840"/>
                    </a:lnTo>
                    <a:lnTo>
                      <a:pt x="1344" y="842"/>
                    </a:lnTo>
                    <a:lnTo>
                      <a:pt x="1344" y="844"/>
                    </a:lnTo>
                    <a:lnTo>
                      <a:pt x="1340" y="846"/>
                    </a:lnTo>
                    <a:lnTo>
                      <a:pt x="1332" y="848"/>
                    </a:lnTo>
                    <a:lnTo>
                      <a:pt x="1318" y="848"/>
                    </a:lnTo>
                    <a:lnTo>
                      <a:pt x="1280" y="844"/>
                    </a:lnTo>
                    <a:lnTo>
                      <a:pt x="1280" y="844"/>
                    </a:lnTo>
                    <a:lnTo>
                      <a:pt x="1270" y="842"/>
                    </a:lnTo>
                    <a:lnTo>
                      <a:pt x="1264" y="840"/>
                    </a:lnTo>
                    <a:lnTo>
                      <a:pt x="1260" y="836"/>
                    </a:lnTo>
                    <a:lnTo>
                      <a:pt x="1256" y="830"/>
                    </a:lnTo>
                    <a:lnTo>
                      <a:pt x="1256" y="824"/>
                    </a:lnTo>
                    <a:lnTo>
                      <a:pt x="1256" y="818"/>
                    </a:lnTo>
                    <a:lnTo>
                      <a:pt x="1260" y="804"/>
                    </a:lnTo>
                    <a:lnTo>
                      <a:pt x="1264" y="788"/>
                    </a:lnTo>
                    <a:lnTo>
                      <a:pt x="1268" y="772"/>
                    </a:lnTo>
                    <a:lnTo>
                      <a:pt x="1270" y="758"/>
                    </a:lnTo>
                    <a:lnTo>
                      <a:pt x="1268" y="750"/>
                    </a:lnTo>
                    <a:lnTo>
                      <a:pt x="1266" y="744"/>
                    </a:lnTo>
                    <a:lnTo>
                      <a:pt x="1266" y="744"/>
                    </a:lnTo>
                    <a:lnTo>
                      <a:pt x="1258" y="734"/>
                    </a:lnTo>
                    <a:lnTo>
                      <a:pt x="1250" y="726"/>
                    </a:lnTo>
                    <a:lnTo>
                      <a:pt x="1244" y="722"/>
                    </a:lnTo>
                    <a:lnTo>
                      <a:pt x="1240" y="722"/>
                    </a:lnTo>
                    <a:lnTo>
                      <a:pt x="1236" y="724"/>
                    </a:lnTo>
                    <a:lnTo>
                      <a:pt x="1234" y="730"/>
                    </a:lnTo>
                    <a:lnTo>
                      <a:pt x="1234" y="738"/>
                    </a:lnTo>
                    <a:lnTo>
                      <a:pt x="1238" y="752"/>
                    </a:lnTo>
                    <a:lnTo>
                      <a:pt x="1238" y="752"/>
                    </a:lnTo>
                    <a:lnTo>
                      <a:pt x="1240" y="762"/>
                    </a:lnTo>
                    <a:lnTo>
                      <a:pt x="1238" y="772"/>
                    </a:lnTo>
                    <a:lnTo>
                      <a:pt x="1236" y="778"/>
                    </a:lnTo>
                    <a:lnTo>
                      <a:pt x="1230" y="784"/>
                    </a:lnTo>
                    <a:lnTo>
                      <a:pt x="1224" y="788"/>
                    </a:lnTo>
                    <a:lnTo>
                      <a:pt x="1216" y="792"/>
                    </a:lnTo>
                    <a:lnTo>
                      <a:pt x="1198" y="798"/>
                    </a:lnTo>
                    <a:lnTo>
                      <a:pt x="1182" y="804"/>
                    </a:lnTo>
                    <a:lnTo>
                      <a:pt x="1176" y="808"/>
                    </a:lnTo>
                    <a:lnTo>
                      <a:pt x="1170" y="812"/>
                    </a:lnTo>
                    <a:lnTo>
                      <a:pt x="1168" y="818"/>
                    </a:lnTo>
                    <a:lnTo>
                      <a:pt x="1168" y="824"/>
                    </a:lnTo>
                    <a:lnTo>
                      <a:pt x="1172" y="832"/>
                    </a:lnTo>
                    <a:lnTo>
                      <a:pt x="1178" y="842"/>
                    </a:lnTo>
                    <a:lnTo>
                      <a:pt x="1178" y="842"/>
                    </a:lnTo>
                    <a:lnTo>
                      <a:pt x="1200" y="870"/>
                    </a:lnTo>
                    <a:lnTo>
                      <a:pt x="1208" y="878"/>
                    </a:lnTo>
                    <a:lnTo>
                      <a:pt x="1212" y="886"/>
                    </a:lnTo>
                    <a:lnTo>
                      <a:pt x="1212" y="894"/>
                    </a:lnTo>
                    <a:lnTo>
                      <a:pt x="1210" y="902"/>
                    </a:lnTo>
                    <a:lnTo>
                      <a:pt x="1204" y="912"/>
                    </a:lnTo>
                    <a:lnTo>
                      <a:pt x="1194" y="926"/>
                    </a:lnTo>
                    <a:lnTo>
                      <a:pt x="1194" y="926"/>
                    </a:lnTo>
                    <a:lnTo>
                      <a:pt x="1184" y="940"/>
                    </a:lnTo>
                    <a:lnTo>
                      <a:pt x="1180" y="950"/>
                    </a:lnTo>
                    <a:lnTo>
                      <a:pt x="1180" y="956"/>
                    </a:lnTo>
                    <a:lnTo>
                      <a:pt x="1182" y="962"/>
                    </a:lnTo>
                    <a:lnTo>
                      <a:pt x="1190" y="974"/>
                    </a:lnTo>
                    <a:lnTo>
                      <a:pt x="1192" y="982"/>
                    </a:lnTo>
                    <a:lnTo>
                      <a:pt x="1194" y="992"/>
                    </a:lnTo>
                    <a:lnTo>
                      <a:pt x="1194" y="992"/>
                    </a:lnTo>
                    <a:lnTo>
                      <a:pt x="1194" y="996"/>
                    </a:lnTo>
                    <a:lnTo>
                      <a:pt x="1196" y="1000"/>
                    </a:lnTo>
                    <a:lnTo>
                      <a:pt x="1200" y="1002"/>
                    </a:lnTo>
                    <a:lnTo>
                      <a:pt x="1204" y="1002"/>
                    </a:lnTo>
                    <a:lnTo>
                      <a:pt x="1218" y="1000"/>
                    </a:lnTo>
                    <a:lnTo>
                      <a:pt x="1234" y="996"/>
                    </a:lnTo>
                    <a:lnTo>
                      <a:pt x="1254" y="992"/>
                    </a:lnTo>
                    <a:lnTo>
                      <a:pt x="1276" y="992"/>
                    </a:lnTo>
                    <a:lnTo>
                      <a:pt x="1288" y="992"/>
                    </a:lnTo>
                    <a:lnTo>
                      <a:pt x="1298" y="994"/>
                    </a:lnTo>
                    <a:lnTo>
                      <a:pt x="1310" y="998"/>
                    </a:lnTo>
                    <a:lnTo>
                      <a:pt x="1322" y="1004"/>
                    </a:lnTo>
                    <a:lnTo>
                      <a:pt x="1322" y="1004"/>
                    </a:lnTo>
                    <a:lnTo>
                      <a:pt x="1340" y="1016"/>
                    </a:lnTo>
                    <a:lnTo>
                      <a:pt x="1352" y="1028"/>
                    </a:lnTo>
                    <a:lnTo>
                      <a:pt x="1358" y="1036"/>
                    </a:lnTo>
                    <a:lnTo>
                      <a:pt x="1360" y="1044"/>
                    </a:lnTo>
                    <a:lnTo>
                      <a:pt x="1360" y="1050"/>
                    </a:lnTo>
                    <a:lnTo>
                      <a:pt x="1356" y="1054"/>
                    </a:lnTo>
                    <a:lnTo>
                      <a:pt x="1350" y="1066"/>
                    </a:lnTo>
                    <a:lnTo>
                      <a:pt x="1350" y="1066"/>
                    </a:lnTo>
                    <a:lnTo>
                      <a:pt x="1342" y="1078"/>
                    </a:lnTo>
                    <a:lnTo>
                      <a:pt x="1334" y="1092"/>
                    </a:lnTo>
                    <a:lnTo>
                      <a:pt x="1332" y="1096"/>
                    </a:lnTo>
                    <a:lnTo>
                      <a:pt x="1330" y="1098"/>
                    </a:lnTo>
                    <a:lnTo>
                      <a:pt x="1330" y="1092"/>
                    </a:lnTo>
                    <a:lnTo>
                      <a:pt x="1332" y="1082"/>
                    </a:lnTo>
                    <a:lnTo>
                      <a:pt x="1332" y="1082"/>
                    </a:lnTo>
                    <a:lnTo>
                      <a:pt x="1334" y="1066"/>
                    </a:lnTo>
                    <a:lnTo>
                      <a:pt x="1334" y="1052"/>
                    </a:lnTo>
                    <a:lnTo>
                      <a:pt x="1330" y="1038"/>
                    </a:lnTo>
                    <a:lnTo>
                      <a:pt x="1322" y="1026"/>
                    </a:lnTo>
                    <a:lnTo>
                      <a:pt x="1318" y="1020"/>
                    </a:lnTo>
                    <a:lnTo>
                      <a:pt x="1312" y="1016"/>
                    </a:lnTo>
                    <a:lnTo>
                      <a:pt x="1304" y="1014"/>
                    </a:lnTo>
                    <a:lnTo>
                      <a:pt x="1298" y="1012"/>
                    </a:lnTo>
                    <a:lnTo>
                      <a:pt x="1288" y="1010"/>
                    </a:lnTo>
                    <a:lnTo>
                      <a:pt x="1278" y="1010"/>
                    </a:lnTo>
                    <a:lnTo>
                      <a:pt x="1266" y="1012"/>
                    </a:lnTo>
                    <a:lnTo>
                      <a:pt x="1254" y="1016"/>
                    </a:lnTo>
                    <a:lnTo>
                      <a:pt x="1254" y="1016"/>
                    </a:lnTo>
                    <a:lnTo>
                      <a:pt x="1242" y="1020"/>
                    </a:lnTo>
                    <a:lnTo>
                      <a:pt x="1234" y="1026"/>
                    </a:lnTo>
                    <a:lnTo>
                      <a:pt x="1228" y="1032"/>
                    </a:lnTo>
                    <a:lnTo>
                      <a:pt x="1224" y="1036"/>
                    </a:lnTo>
                    <a:lnTo>
                      <a:pt x="1222" y="1044"/>
                    </a:lnTo>
                    <a:lnTo>
                      <a:pt x="1222" y="1050"/>
                    </a:lnTo>
                    <a:lnTo>
                      <a:pt x="1226" y="1062"/>
                    </a:lnTo>
                    <a:lnTo>
                      <a:pt x="1230" y="1076"/>
                    </a:lnTo>
                    <a:lnTo>
                      <a:pt x="1234" y="1088"/>
                    </a:lnTo>
                    <a:lnTo>
                      <a:pt x="1234" y="1092"/>
                    </a:lnTo>
                    <a:lnTo>
                      <a:pt x="1232" y="1098"/>
                    </a:lnTo>
                    <a:lnTo>
                      <a:pt x="1228" y="1102"/>
                    </a:lnTo>
                    <a:lnTo>
                      <a:pt x="1222" y="1106"/>
                    </a:lnTo>
                    <a:lnTo>
                      <a:pt x="1222" y="1106"/>
                    </a:lnTo>
                    <a:lnTo>
                      <a:pt x="1210" y="1112"/>
                    </a:lnTo>
                    <a:lnTo>
                      <a:pt x="1202" y="1120"/>
                    </a:lnTo>
                    <a:lnTo>
                      <a:pt x="1198" y="1128"/>
                    </a:lnTo>
                    <a:lnTo>
                      <a:pt x="1196" y="1136"/>
                    </a:lnTo>
                    <a:lnTo>
                      <a:pt x="1194" y="1144"/>
                    </a:lnTo>
                    <a:lnTo>
                      <a:pt x="1188" y="1152"/>
                    </a:lnTo>
                    <a:lnTo>
                      <a:pt x="1180" y="1160"/>
                    </a:lnTo>
                    <a:lnTo>
                      <a:pt x="1166" y="1168"/>
                    </a:lnTo>
                    <a:lnTo>
                      <a:pt x="1166" y="1168"/>
                    </a:lnTo>
                    <a:lnTo>
                      <a:pt x="1152" y="1176"/>
                    </a:lnTo>
                    <a:lnTo>
                      <a:pt x="1144" y="1184"/>
                    </a:lnTo>
                    <a:lnTo>
                      <a:pt x="1136" y="1196"/>
                    </a:lnTo>
                    <a:lnTo>
                      <a:pt x="1130" y="1200"/>
                    </a:lnTo>
                    <a:lnTo>
                      <a:pt x="1118" y="1202"/>
                    </a:lnTo>
                    <a:lnTo>
                      <a:pt x="1100" y="1200"/>
                    </a:lnTo>
                    <a:lnTo>
                      <a:pt x="1070" y="1196"/>
                    </a:lnTo>
                    <a:lnTo>
                      <a:pt x="1070" y="1196"/>
                    </a:lnTo>
                    <a:lnTo>
                      <a:pt x="1044" y="1190"/>
                    </a:lnTo>
                    <a:lnTo>
                      <a:pt x="1036" y="1186"/>
                    </a:lnTo>
                    <a:lnTo>
                      <a:pt x="1036" y="1186"/>
                    </a:lnTo>
                    <a:lnTo>
                      <a:pt x="1040" y="1184"/>
                    </a:lnTo>
                    <a:lnTo>
                      <a:pt x="1052" y="1180"/>
                    </a:lnTo>
                    <a:lnTo>
                      <a:pt x="1072" y="1176"/>
                    </a:lnTo>
                    <a:lnTo>
                      <a:pt x="1094" y="1168"/>
                    </a:lnTo>
                    <a:lnTo>
                      <a:pt x="1104" y="1162"/>
                    </a:lnTo>
                    <a:lnTo>
                      <a:pt x="1114" y="1156"/>
                    </a:lnTo>
                    <a:lnTo>
                      <a:pt x="1122" y="1148"/>
                    </a:lnTo>
                    <a:lnTo>
                      <a:pt x="1128" y="1138"/>
                    </a:lnTo>
                    <a:lnTo>
                      <a:pt x="1128" y="1138"/>
                    </a:lnTo>
                    <a:lnTo>
                      <a:pt x="1138" y="1122"/>
                    </a:lnTo>
                    <a:lnTo>
                      <a:pt x="1146" y="1112"/>
                    </a:lnTo>
                    <a:lnTo>
                      <a:pt x="1154" y="1106"/>
                    </a:lnTo>
                    <a:lnTo>
                      <a:pt x="1160" y="1104"/>
                    </a:lnTo>
                    <a:lnTo>
                      <a:pt x="1166" y="1100"/>
                    </a:lnTo>
                    <a:lnTo>
                      <a:pt x="1170" y="1096"/>
                    </a:lnTo>
                    <a:lnTo>
                      <a:pt x="1174" y="1088"/>
                    </a:lnTo>
                    <a:lnTo>
                      <a:pt x="1176" y="1072"/>
                    </a:lnTo>
                    <a:lnTo>
                      <a:pt x="1176" y="1072"/>
                    </a:lnTo>
                    <a:lnTo>
                      <a:pt x="1176" y="1058"/>
                    </a:lnTo>
                    <a:lnTo>
                      <a:pt x="1174" y="1044"/>
                    </a:lnTo>
                    <a:lnTo>
                      <a:pt x="1166" y="1034"/>
                    </a:lnTo>
                    <a:lnTo>
                      <a:pt x="1160" y="1026"/>
                    </a:lnTo>
                    <a:lnTo>
                      <a:pt x="1152" y="1016"/>
                    </a:lnTo>
                    <a:lnTo>
                      <a:pt x="1146" y="1004"/>
                    </a:lnTo>
                    <a:lnTo>
                      <a:pt x="1142" y="988"/>
                    </a:lnTo>
                    <a:lnTo>
                      <a:pt x="1142" y="968"/>
                    </a:lnTo>
                    <a:lnTo>
                      <a:pt x="1142" y="968"/>
                    </a:lnTo>
                    <a:lnTo>
                      <a:pt x="1150" y="928"/>
                    </a:lnTo>
                    <a:lnTo>
                      <a:pt x="1152" y="910"/>
                    </a:lnTo>
                    <a:lnTo>
                      <a:pt x="1154" y="896"/>
                    </a:lnTo>
                    <a:lnTo>
                      <a:pt x="1152" y="882"/>
                    </a:lnTo>
                    <a:lnTo>
                      <a:pt x="1148" y="868"/>
                    </a:lnTo>
                    <a:lnTo>
                      <a:pt x="1140" y="856"/>
                    </a:lnTo>
                    <a:lnTo>
                      <a:pt x="1126" y="844"/>
                    </a:lnTo>
                    <a:lnTo>
                      <a:pt x="1126" y="844"/>
                    </a:lnTo>
                    <a:lnTo>
                      <a:pt x="1116" y="832"/>
                    </a:lnTo>
                    <a:lnTo>
                      <a:pt x="1114" y="828"/>
                    </a:lnTo>
                    <a:lnTo>
                      <a:pt x="1112" y="824"/>
                    </a:lnTo>
                    <a:lnTo>
                      <a:pt x="1114" y="822"/>
                    </a:lnTo>
                    <a:lnTo>
                      <a:pt x="1118" y="818"/>
                    </a:lnTo>
                    <a:lnTo>
                      <a:pt x="1126" y="812"/>
                    </a:lnTo>
                    <a:lnTo>
                      <a:pt x="1136" y="804"/>
                    </a:lnTo>
                    <a:lnTo>
                      <a:pt x="1146" y="796"/>
                    </a:lnTo>
                    <a:lnTo>
                      <a:pt x="1150" y="790"/>
                    </a:lnTo>
                    <a:lnTo>
                      <a:pt x="1154" y="782"/>
                    </a:lnTo>
                    <a:lnTo>
                      <a:pt x="1156" y="774"/>
                    </a:lnTo>
                    <a:lnTo>
                      <a:pt x="1156" y="764"/>
                    </a:lnTo>
                    <a:lnTo>
                      <a:pt x="1156" y="764"/>
                    </a:lnTo>
                    <a:lnTo>
                      <a:pt x="1156" y="754"/>
                    </a:lnTo>
                    <a:lnTo>
                      <a:pt x="1152" y="744"/>
                    </a:lnTo>
                    <a:lnTo>
                      <a:pt x="1148" y="738"/>
                    </a:lnTo>
                    <a:lnTo>
                      <a:pt x="1142" y="732"/>
                    </a:lnTo>
                    <a:lnTo>
                      <a:pt x="1134" y="728"/>
                    </a:lnTo>
                    <a:lnTo>
                      <a:pt x="1126" y="724"/>
                    </a:lnTo>
                    <a:lnTo>
                      <a:pt x="1106" y="722"/>
                    </a:lnTo>
                    <a:lnTo>
                      <a:pt x="1086" y="722"/>
                    </a:lnTo>
                    <a:lnTo>
                      <a:pt x="1064" y="724"/>
                    </a:lnTo>
                    <a:lnTo>
                      <a:pt x="1044" y="724"/>
                    </a:lnTo>
                    <a:lnTo>
                      <a:pt x="1028" y="722"/>
                    </a:lnTo>
                    <a:lnTo>
                      <a:pt x="1028" y="722"/>
                    </a:lnTo>
                    <a:lnTo>
                      <a:pt x="1020" y="722"/>
                    </a:lnTo>
                    <a:lnTo>
                      <a:pt x="1012" y="722"/>
                    </a:lnTo>
                    <a:lnTo>
                      <a:pt x="1006" y="726"/>
                    </a:lnTo>
                    <a:lnTo>
                      <a:pt x="1002" y="732"/>
                    </a:lnTo>
                    <a:lnTo>
                      <a:pt x="994" y="748"/>
                    </a:lnTo>
                    <a:lnTo>
                      <a:pt x="988" y="766"/>
                    </a:lnTo>
                    <a:lnTo>
                      <a:pt x="980" y="788"/>
                    </a:lnTo>
                    <a:lnTo>
                      <a:pt x="970" y="808"/>
                    </a:lnTo>
                    <a:lnTo>
                      <a:pt x="964" y="816"/>
                    </a:lnTo>
                    <a:lnTo>
                      <a:pt x="958" y="824"/>
                    </a:lnTo>
                    <a:lnTo>
                      <a:pt x="948" y="832"/>
                    </a:lnTo>
                    <a:lnTo>
                      <a:pt x="938" y="838"/>
                    </a:lnTo>
                    <a:lnTo>
                      <a:pt x="938" y="838"/>
                    </a:lnTo>
                    <a:lnTo>
                      <a:pt x="916" y="848"/>
                    </a:lnTo>
                    <a:lnTo>
                      <a:pt x="908" y="854"/>
                    </a:lnTo>
                    <a:lnTo>
                      <a:pt x="906" y="858"/>
                    </a:lnTo>
                    <a:lnTo>
                      <a:pt x="904" y="862"/>
                    </a:lnTo>
                    <a:lnTo>
                      <a:pt x="906" y="866"/>
                    </a:lnTo>
                    <a:lnTo>
                      <a:pt x="912" y="874"/>
                    </a:lnTo>
                    <a:lnTo>
                      <a:pt x="920" y="884"/>
                    </a:lnTo>
                    <a:lnTo>
                      <a:pt x="922" y="888"/>
                    </a:lnTo>
                    <a:lnTo>
                      <a:pt x="926" y="894"/>
                    </a:lnTo>
                    <a:lnTo>
                      <a:pt x="926" y="902"/>
                    </a:lnTo>
                    <a:lnTo>
                      <a:pt x="926" y="910"/>
                    </a:lnTo>
                    <a:lnTo>
                      <a:pt x="922" y="918"/>
                    </a:lnTo>
                    <a:lnTo>
                      <a:pt x="916" y="928"/>
                    </a:lnTo>
                    <a:lnTo>
                      <a:pt x="916" y="928"/>
                    </a:lnTo>
                    <a:lnTo>
                      <a:pt x="912" y="938"/>
                    </a:lnTo>
                    <a:lnTo>
                      <a:pt x="910" y="948"/>
                    </a:lnTo>
                    <a:lnTo>
                      <a:pt x="912" y="954"/>
                    </a:lnTo>
                    <a:lnTo>
                      <a:pt x="916" y="962"/>
                    </a:lnTo>
                    <a:lnTo>
                      <a:pt x="924" y="968"/>
                    </a:lnTo>
                    <a:lnTo>
                      <a:pt x="932" y="974"/>
                    </a:lnTo>
                    <a:lnTo>
                      <a:pt x="952" y="986"/>
                    </a:lnTo>
                    <a:lnTo>
                      <a:pt x="974" y="996"/>
                    </a:lnTo>
                    <a:lnTo>
                      <a:pt x="982" y="1002"/>
                    </a:lnTo>
                    <a:lnTo>
                      <a:pt x="990" y="1008"/>
                    </a:lnTo>
                    <a:lnTo>
                      <a:pt x="996" y="1014"/>
                    </a:lnTo>
                    <a:lnTo>
                      <a:pt x="998" y="1022"/>
                    </a:lnTo>
                    <a:lnTo>
                      <a:pt x="998" y="1030"/>
                    </a:lnTo>
                    <a:lnTo>
                      <a:pt x="992" y="1040"/>
                    </a:lnTo>
                    <a:lnTo>
                      <a:pt x="992" y="1040"/>
                    </a:lnTo>
                    <a:lnTo>
                      <a:pt x="982" y="1054"/>
                    </a:lnTo>
                    <a:lnTo>
                      <a:pt x="978" y="1058"/>
                    </a:lnTo>
                    <a:lnTo>
                      <a:pt x="974" y="1060"/>
                    </a:lnTo>
                    <a:lnTo>
                      <a:pt x="970" y="1060"/>
                    </a:lnTo>
                    <a:lnTo>
                      <a:pt x="966" y="1060"/>
                    </a:lnTo>
                    <a:lnTo>
                      <a:pt x="956" y="1052"/>
                    </a:lnTo>
                    <a:lnTo>
                      <a:pt x="942" y="1040"/>
                    </a:lnTo>
                    <a:lnTo>
                      <a:pt x="918" y="1024"/>
                    </a:lnTo>
                    <a:lnTo>
                      <a:pt x="884" y="1004"/>
                    </a:lnTo>
                    <a:lnTo>
                      <a:pt x="862" y="994"/>
                    </a:lnTo>
                    <a:lnTo>
                      <a:pt x="838" y="984"/>
                    </a:lnTo>
                    <a:lnTo>
                      <a:pt x="838" y="984"/>
                    </a:lnTo>
                    <a:lnTo>
                      <a:pt x="810" y="974"/>
                    </a:lnTo>
                    <a:lnTo>
                      <a:pt x="786" y="966"/>
                    </a:lnTo>
                    <a:lnTo>
                      <a:pt x="762" y="960"/>
                    </a:lnTo>
                    <a:lnTo>
                      <a:pt x="742" y="956"/>
                    </a:lnTo>
                    <a:lnTo>
                      <a:pt x="724" y="954"/>
                    </a:lnTo>
                    <a:lnTo>
                      <a:pt x="706" y="952"/>
                    </a:lnTo>
                    <a:lnTo>
                      <a:pt x="692" y="952"/>
                    </a:lnTo>
                    <a:lnTo>
                      <a:pt x="678" y="954"/>
                    </a:lnTo>
                    <a:lnTo>
                      <a:pt x="668" y="956"/>
                    </a:lnTo>
                    <a:lnTo>
                      <a:pt x="660" y="960"/>
                    </a:lnTo>
                    <a:lnTo>
                      <a:pt x="654" y="964"/>
                    </a:lnTo>
                    <a:lnTo>
                      <a:pt x="650" y="968"/>
                    </a:lnTo>
                    <a:lnTo>
                      <a:pt x="650" y="974"/>
                    </a:lnTo>
                    <a:lnTo>
                      <a:pt x="650" y="980"/>
                    </a:lnTo>
                    <a:lnTo>
                      <a:pt x="654" y="986"/>
                    </a:lnTo>
                    <a:lnTo>
                      <a:pt x="660" y="994"/>
                    </a:lnTo>
                    <a:lnTo>
                      <a:pt x="660" y="994"/>
                    </a:lnTo>
                    <a:lnTo>
                      <a:pt x="664" y="998"/>
                    </a:lnTo>
                    <a:lnTo>
                      <a:pt x="664" y="1004"/>
                    </a:lnTo>
                    <a:lnTo>
                      <a:pt x="664" y="1010"/>
                    </a:lnTo>
                    <a:lnTo>
                      <a:pt x="662" y="1016"/>
                    </a:lnTo>
                    <a:lnTo>
                      <a:pt x="654" y="1028"/>
                    </a:lnTo>
                    <a:lnTo>
                      <a:pt x="642" y="1038"/>
                    </a:lnTo>
                    <a:lnTo>
                      <a:pt x="628" y="1044"/>
                    </a:lnTo>
                    <a:lnTo>
                      <a:pt x="622" y="1046"/>
                    </a:lnTo>
                    <a:lnTo>
                      <a:pt x="618" y="1046"/>
                    </a:lnTo>
                    <a:lnTo>
                      <a:pt x="612" y="1046"/>
                    </a:lnTo>
                    <a:lnTo>
                      <a:pt x="608" y="1042"/>
                    </a:lnTo>
                    <a:lnTo>
                      <a:pt x="606" y="1038"/>
                    </a:lnTo>
                    <a:lnTo>
                      <a:pt x="606" y="1030"/>
                    </a:lnTo>
                    <a:lnTo>
                      <a:pt x="606" y="1030"/>
                    </a:lnTo>
                    <a:lnTo>
                      <a:pt x="604" y="1018"/>
                    </a:lnTo>
                    <a:lnTo>
                      <a:pt x="602" y="1010"/>
                    </a:lnTo>
                    <a:lnTo>
                      <a:pt x="596" y="1006"/>
                    </a:lnTo>
                    <a:lnTo>
                      <a:pt x="590" y="1006"/>
                    </a:lnTo>
                    <a:lnTo>
                      <a:pt x="582" y="1010"/>
                    </a:lnTo>
                    <a:lnTo>
                      <a:pt x="570" y="1016"/>
                    </a:lnTo>
                    <a:lnTo>
                      <a:pt x="542" y="1034"/>
                    </a:lnTo>
                    <a:lnTo>
                      <a:pt x="542" y="1034"/>
                    </a:lnTo>
                    <a:lnTo>
                      <a:pt x="526" y="1042"/>
                    </a:lnTo>
                    <a:lnTo>
                      <a:pt x="520" y="1042"/>
                    </a:lnTo>
                    <a:lnTo>
                      <a:pt x="516" y="1042"/>
                    </a:lnTo>
                    <a:lnTo>
                      <a:pt x="506" y="1040"/>
                    </a:lnTo>
                    <a:lnTo>
                      <a:pt x="498" y="1036"/>
                    </a:lnTo>
                    <a:lnTo>
                      <a:pt x="488" y="1032"/>
                    </a:lnTo>
                    <a:lnTo>
                      <a:pt x="478" y="1032"/>
                    </a:lnTo>
                    <a:lnTo>
                      <a:pt x="470" y="1032"/>
                    </a:lnTo>
                    <a:lnTo>
                      <a:pt x="462" y="1034"/>
                    </a:lnTo>
                    <a:lnTo>
                      <a:pt x="440" y="1046"/>
                    </a:lnTo>
                    <a:lnTo>
                      <a:pt x="440" y="1046"/>
                    </a:lnTo>
                    <a:lnTo>
                      <a:pt x="420" y="1056"/>
                    </a:lnTo>
                    <a:lnTo>
                      <a:pt x="412" y="1060"/>
                    </a:lnTo>
                    <a:lnTo>
                      <a:pt x="406" y="1060"/>
                    </a:lnTo>
                    <a:lnTo>
                      <a:pt x="400" y="1060"/>
                    </a:lnTo>
                    <a:lnTo>
                      <a:pt x="396" y="1058"/>
                    </a:lnTo>
                    <a:lnTo>
                      <a:pt x="392" y="1054"/>
                    </a:lnTo>
                    <a:lnTo>
                      <a:pt x="390" y="1052"/>
                    </a:lnTo>
                    <a:lnTo>
                      <a:pt x="388" y="1042"/>
                    </a:lnTo>
                    <a:lnTo>
                      <a:pt x="392" y="1030"/>
                    </a:lnTo>
                    <a:lnTo>
                      <a:pt x="396" y="1020"/>
                    </a:lnTo>
                    <a:lnTo>
                      <a:pt x="406" y="1012"/>
                    </a:lnTo>
                    <a:lnTo>
                      <a:pt x="406" y="1012"/>
                    </a:lnTo>
                    <a:lnTo>
                      <a:pt x="410" y="1006"/>
                    </a:lnTo>
                    <a:lnTo>
                      <a:pt x="412" y="1004"/>
                    </a:lnTo>
                    <a:lnTo>
                      <a:pt x="410" y="1004"/>
                    </a:lnTo>
                    <a:lnTo>
                      <a:pt x="402" y="1004"/>
                    </a:lnTo>
                    <a:lnTo>
                      <a:pt x="388" y="1008"/>
                    </a:lnTo>
                    <a:lnTo>
                      <a:pt x="368" y="1014"/>
                    </a:lnTo>
                    <a:lnTo>
                      <a:pt x="342" y="1024"/>
                    </a:lnTo>
                    <a:lnTo>
                      <a:pt x="312" y="1038"/>
                    </a:lnTo>
                    <a:lnTo>
                      <a:pt x="276" y="1054"/>
                    </a:lnTo>
                    <a:lnTo>
                      <a:pt x="276" y="1054"/>
                    </a:lnTo>
                    <a:lnTo>
                      <a:pt x="242" y="1070"/>
                    </a:lnTo>
                    <a:lnTo>
                      <a:pt x="216" y="1078"/>
                    </a:lnTo>
                    <a:lnTo>
                      <a:pt x="196" y="1084"/>
                    </a:lnTo>
                    <a:lnTo>
                      <a:pt x="180" y="1086"/>
                    </a:lnTo>
                    <a:lnTo>
                      <a:pt x="168" y="1088"/>
                    </a:lnTo>
                    <a:lnTo>
                      <a:pt x="158" y="1094"/>
                    </a:lnTo>
                    <a:lnTo>
                      <a:pt x="152" y="1106"/>
                    </a:lnTo>
                    <a:lnTo>
                      <a:pt x="144" y="1124"/>
                    </a:lnTo>
                    <a:lnTo>
                      <a:pt x="144" y="1124"/>
                    </a:lnTo>
                    <a:lnTo>
                      <a:pt x="138" y="1142"/>
                    </a:lnTo>
                    <a:lnTo>
                      <a:pt x="132" y="1152"/>
                    </a:lnTo>
                    <a:lnTo>
                      <a:pt x="126" y="1158"/>
                    </a:lnTo>
                    <a:lnTo>
                      <a:pt x="120" y="1158"/>
                    </a:lnTo>
                    <a:lnTo>
                      <a:pt x="106" y="1156"/>
                    </a:lnTo>
                    <a:lnTo>
                      <a:pt x="98" y="1156"/>
                    </a:lnTo>
                    <a:lnTo>
                      <a:pt x="86" y="1160"/>
                    </a:lnTo>
                    <a:lnTo>
                      <a:pt x="86" y="1160"/>
                    </a:lnTo>
                    <a:lnTo>
                      <a:pt x="78" y="1164"/>
                    </a:lnTo>
                    <a:lnTo>
                      <a:pt x="78" y="1164"/>
                    </a:lnTo>
                    <a:lnTo>
                      <a:pt x="54" y="1230"/>
                    </a:lnTo>
                    <a:lnTo>
                      <a:pt x="44" y="1256"/>
                    </a:lnTo>
                    <a:lnTo>
                      <a:pt x="36" y="1274"/>
                    </a:lnTo>
                    <a:lnTo>
                      <a:pt x="36" y="1274"/>
                    </a:lnTo>
                    <a:lnTo>
                      <a:pt x="28" y="1292"/>
                    </a:lnTo>
                    <a:lnTo>
                      <a:pt x="20" y="1312"/>
                    </a:lnTo>
                    <a:lnTo>
                      <a:pt x="8" y="1346"/>
                    </a:lnTo>
                    <a:lnTo>
                      <a:pt x="0" y="1382"/>
                    </a:lnTo>
                    <a:lnTo>
                      <a:pt x="0" y="1562"/>
                    </a:lnTo>
                    <a:lnTo>
                      <a:pt x="60" y="1706"/>
                    </a:lnTo>
                    <a:lnTo>
                      <a:pt x="180" y="1898"/>
                    </a:lnTo>
                    <a:lnTo>
                      <a:pt x="236" y="2142"/>
                    </a:lnTo>
                    <a:lnTo>
                      <a:pt x="172" y="2176"/>
                    </a:lnTo>
                    <a:lnTo>
                      <a:pt x="166" y="2200"/>
                    </a:lnTo>
                    <a:lnTo>
                      <a:pt x="124" y="2214"/>
                    </a:lnTo>
                    <a:lnTo>
                      <a:pt x="124" y="2214"/>
                    </a:lnTo>
                    <a:lnTo>
                      <a:pt x="104" y="2206"/>
                    </a:lnTo>
                    <a:lnTo>
                      <a:pt x="92" y="2204"/>
                    </a:lnTo>
                    <a:lnTo>
                      <a:pt x="86" y="2204"/>
                    </a:lnTo>
                    <a:lnTo>
                      <a:pt x="84" y="2208"/>
                    </a:lnTo>
                    <a:lnTo>
                      <a:pt x="84" y="2208"/>
                    </a:lnTo>
                    <a:lnTo>
                      <a:pt x="70" y="2258"/>
                    </a:lnTo>
                    <a:lnTo>
                      <a:pt x="60" y="2304"/>
                    </a:lnTo>
                    <a:lnTo>
                      <a:pt x="76" y="2364"/>
                    </a:lnTo>
                    <a:lnTo>
                      <a:pt x="114" y="2388"/>
                    </a:lnTo>
                    <a:lnTo>
                      <a:pt x="142" y="2422"/>
                    </a:lnTo>
                    <a:lnTo>
                      <a:pt x="148" y="2454"/>
                    </a:lnTo>
                    <a:lnTo>
                      <a:pt x="130" y="2486"/>
                    </a:lnTo>
                    <a:lnTo>
                      <a:pt x="98" y="2508"/>
                    </a:lnTo>
                    <a:lnTo>
                      <a:pt x="70" y="2552"/>
                    </a:lnTo>
                    <a:lnTo>
                      <a:pt x="80" y="2588"/>
                    </a:lnTo>
                    <a:lnTo>
                      <a:pt x="132" y="2652"/>
                    </a:lnTo>
                    <a:lnTo>
                      <a:pt x="156" y="2704"/>
                    </a:lnTo>
                    <a:lnTo>
                      <a:pt x="182" y="2744"/>
                    </a:lnTo>
                    <a:lnTo>
                      <a:pt x="180" y="2776"/>
                    </a:lnTo>
                    <a:lnTo>
                      <a:pt x="182" y="2792"/>
                    </a:lnTo>
                    <a:lnTo>
                      <a:pt x="186" y="2844"/>
                    </a:lnTo>
                    <a:lnTo>
                      <a:pt x="190" y="2864"/>
                    </a:lnTo>
                    <a:lnTo>
                      <a:pt x="190" y="2864"/>
                    </a:lnTo>
                    <a:lnTo>
                      <a:pt x="186" y="2882"/>
                    </a:lnTo>
                    <a:lnTo>
                      <a:pt x="188" y="2896"/>
                    </a:lnTo>
                    <a:lnTo>
                      <a:pt x="188" y="2896"/>
                    </a:lnTo>
                    <a:lnTo>
                      <a:pt x="182" y="2898"/>
                    </a:lnTo>
                    <a:lnTo>
                      <a:pt x="178" y="2898"/>
                    </a:lnTo>
                    <a:lnTo>
                      <a:pt x="176" y="2896"/>
                    </a:lnTo>
                    <a:lnTo>
                      <a:pt x="176" y="2894"/>
                    </a:lnTo>
                    <a:lnTo>
                      <a:pt x="174" y="2888"/>
                    </a:lnTo>
                    <a:lnTo>
                      <a:pt x="172" y="2886"/>
                    </a:lnTo>
                    <a:lnTo>
                      <a:pt x="170" y="2886"/>
                    </a:lnTo>
                    <a:lnTo>
                      <a:pt x="170" y="2886"/>
                    </a:lnTo>
                    <a:lnTo>
                      <a:pt x="172" y="2886"/>
                    </a:lnTo>
                    <a:lnTo>
                      <a:pt x="174" y="2888"/>
                    </a:lnTo>
                    <a:lnTo>
                      <a:pt x="176" y="2894"/>
                    </a:lnTo>
                    <a:lnTo>
                      <a:pt x="176" y="2896"/>
                    </a:lnTo>
                    <a:lnTo>
                      <a:pt x="178" y="2898"/>
                    </a:lnTo>
                    <a:lnTo>
                      <a:pt x="182" y="2898"/>
                    </a:lnTo>
                    <a:lnTo>
                      <a:pt x="188" y="2896"/>
                    </a:lnTo>
                    <a:lnTo>
                      <a:pt x="174" y="2986"/>
                    </a:lnTo>
                    <a:lnTo>
                      <a:pt x="174" y="3028"/>
                    </a:lnTo>
                    <a:lnTo>
                      <a:pt x="168" y="3124"/>
                    </a:lnTo>
                    <a:lnTo>
                      <a:pt x="174" y="3168"/>
                    </a:lnTo>
                    <a:lnTo>
                      <a:pt x="210" y="3264"/>
                    </a:lnTo>
                    <a:lnTo>
                      <a:pt x="248" y="3338"/>
                    </a:lnTo>
                    <a:lnTo>
                      <a:pt x="248" y="3362"/>
                    </a:lnTo>
                    <a:lnTo>
                      <a:pt x="248" y="3362"/>
                    </a:lnTo>
                    <a:lnTo>
                      <a:pt x="248" y="3362"/>
                    </a:lnTo>
                    <a:lnTo>
                      <a:pt x="248" y="3362"/>
                    </a:lnTo>
                    <a:lnTo>
                      <a:pt x="254" y="3368"/>
                    </a:lnTo>
                    <a:lnTo>
                      <a:pt x="258" y="3372"/>
                    </a:lnTo>
                    <a:lnTo>
                      <a:pt x="262" y="3384"/>
                    </a:lnTo>
                    <a:lnTo>
                      <a:pt x="264" y="3394"/>
                    </a:lnTo>
                    <a:lnTo>
                      <a:pt x="268" y="3400"/>
                    </a:lnTo>
                    <a:lnTo>
                      <a:pt x="272" y="3406"/>
                    </a:lnTo>
                    <a:lnTo>
                      <a:pt x="272" y="3406"/>
                    </a:lnTo>
                    <a:lnTo>
                      <a:pt x="276" y="3412"/>
                    </a:lnTo>
                    <a:lnTo>
                      <a:pt x="278" y="3416"/>
                    </a:lnTo>
                    <a:lnTo>
                      <a:pt x="278" y="3424"/>
                    </a:lnTo>
                    <a:lnTo>
                      <a:pt x="280" y="3432"/>
                    </a:lnTo>
                    <a:lnTo>
                      <a:pt x="282" y="3438"/>
                    </a:lnTo>
                    <a:lnTo>
                      <a:pt x="286" y="3444"/>
                    </a:lnTo>
                    <a:lnTo>
                      <a:pt x="286" y="3444"/>
                    </a:lnTo>
                    <a:lnTo>
                      <a:pt x="294" y="3452"/>
                    </a:lnTo>
                    <a:lnTo>
                      <a:pt x="302" y="3456"/>
                    </a:lnTo>
                    <a:lnTo>
                      <a:pt x="320" y="3464"/>
                    </a:lnTo>
                    <a:lnTo>
                      <a:pt x="334" y="3470"/>
                    </a:lnTo>
                    <a:lnTo>
                      <a:pt x="338" y="3474"/>
                    </a:lnTo>
                    <a:lnTo>
                      <a:pt x="338" y="3478"/>
                    </a:lnTo>
                    <a:lnTo>
                      <a:pt x="338" y="3478"/>
                    </a:lnTo>
                    <a:lnTo>
                      <a:pt x="338" y="3480"/>
                    </a:lnTo>
                    <a:lnTo>
                      <a:pt x="340" y="3484"/>
                    </a:lnTo>
                    <a:lnTo>
                      <a:pt x="350" y="3490"/>
                    </a:lnTo>
                    <a:lnTo>
                      <a:pt x="360" y="3496"/>
                    </a:lnTo>
                    <a:lnTo>
                      <a:pt x="366" y="3500"/>
                    </a:lnTo>
                    <a:lnTo>
                      <a:pt x="366" y="3500"/>
                    </a:lnTo>
                    <a:lnTo>
                      <a:pt x="374" y="3508"/>
                    </a:lnTo>
                    <a:lnTo>
                      <a:pt x="382" y="3512"/>
                    </a:lnTo>
                    <a:lnTo>
                      <a:pt x="388" y="3514"/>
                    </a:lnTo>
                    <a:lnTo>
                      <a:pt x="394" y="3514"/>
                    </a:lnTo>
                    <a:lnTo>
                      <a:pt x="404" y="3516"/>
                    </a:lnTo>
                    <a:lnTo>
                      <a:pt x="410" y="3516"/>
                    </a:lnTo>
                    <a:lnTo>
                      <a:pt x="414" y="3522"/>
                    </a:lnTo>
                    <a:lnTo>
                      <a:pt x="414" y="3522"/>
                    </a:lnTo>
                    <a:lnTo>
                      <a:pt x="420" y="3524"/>
                    </a:lnTo>
                    <a:lnTo>
                      <a:pt x="424" y="3526"/>
                    </a:lnTo>
                    <a:lnTo>
                      <a:pt x="428" y="3524"/>
                    </a:lnTo>
                    <a:lnTo>
                      <a:pt x="432" y="3522"/>
                    </a:lnTo>
                    <a:lnTo>
                      <a:pt x="442" y="3514"/>
                    </a:lnTo>
                    <a:lnTo>
                      <a:pt x="446" y="3512"/>
                    </a:lnTo>
                    <a:lnTo>
                      <a:pt x="450" y="3512"/>
                    </a:lnTo>
                    <a:lnTo>
                      <a:pt x="450" y="3512"/>
                    </a:lnTo>
                    <a:lnTo>
                      <a:pt x="456" y="3510"/>
                    </a:lnTo>
                    <a:lnTo>
                      <a:pt x="458" y="3508"/>
                    </a:lnTo>
                    <a:lnTo>
                      <a:pt x="462" y="3504"/>
                    </a:lnTo>
                    <a:lnTo>
                      <a:pt x="464" y="3502"/>
                    </a:lnTo>
                    <a:lnTo>
                      <a:pt x="468" y="3502"/>
                    </a:lnTo>
                    <a:lnTo>
                      <a:pt x="468" y="3502"/>
                    </a:lnTo>
                    <a:lnTo>
                      <a:pt x="472" y="3500"/>
                    </a:lnTo>
                    <a:lnTo>
                      <a:pt x="476" y="3498"/>
                    </a:lnTo>
                    <a:lnTo>
                      <a:pt x="480" y="3494"/>
                    </a:lnTo>
                    <a:lnTo>
                      <a:pt x="482" y="3492"/>
                    </a:lnTo>
                    <a:lnTo>
                      <a:pt x="488" y="3490"/>
                    </a:lnTo>
                    <a:lnTo>
                      <a:pt x="492" y="3490"/>
                    </a:lnTo>
                    <a:lnTo>
                      <a:pt x="500" y="3492"/>
                    </a:lnTo>
                    <a:lnTo>
                      <a:pt x="500" y="3492"/>
                    </a:lnTo>
                    <a:lnTo>
                      <a:pt x="508" y="3496"/>
                    </a:lnTo>
                    <a:lnTo>
                      <a:pt x="514" y="3502"/>
                    </a:lnTo>
                    <a:lnTo>
                      <a:pt x="518" y="3512"/>
                    </a:lnTo>
                    <a:lnTo>
                      <a:pt x="520" y="3522"/>
                    </a:lnTo>
                    <a:lnTo>
                      <a:pt x="524" y="3542"/>
                    </a:lnTo>
                    <a:lnTo>
                      <a:pt x="526" y="3558"/>
                    </a:lnTo>
                    <a:lnTo>
                      <a:pt x="526" y="3558"/>
                    </a:lnTo>
                    <a:lnTo>
                      <a:pt x="528" y="3562"/>
                    </a:lnTo>
                    <a:lnTo>
                      <a:pt x="532" y="3564"/>
                    </a:lnTo>
                    <a:lnTo>
                      <a:pt x="542" y="3566"/>
                    </a:lnTo>
                    <a:lnTo>
                      <a:pt x="550" y="3568"/>
                    </a:lnTo>
                    <a:lnTo>
                      <a:pt x="554" y="3570"/>
                    </a:lnTo>
                    <a:lnTo>
                      <a:pt x="558" y="3572"/>
                    </a:lnTo>
                    <a:lnTo>
                      <a:pt x="558" y="3572"/>
                    </a:lnTo>
                    <a:lnTo>
                      <a:pt x="562" y="3576"/>
                    </a:lnTo>
                    <a:lnTo>
                      <a:pt x="566" y="3574"/>
                    </a:lnTo>
                    <a:lnTo>
                      <a:pt x="570" y="3574"/>
                    </a:lnTo>
                    <a:lnTo>
                      <a:pt x="580" y="3574"/>
                    </a:lnTo>
                    <a:lnTo>
                      <a:pt x="580" y="3574"/>
                    </a:lnTo>
                    <a:lnTo>
                      <a:pt x="586" y="3574"/>
                    </a:lnTo>
                    <a:lnTo>
                      <a:pt x="590" y="3576"/>
                    </a:lnTo>
                    <a:lnTo>
                      <a:pt x="596" y="3580"/>
                    </a:lnTo>
                    <a:lnTo>
                      <a:pt x="600" y="3584"/>
                    </a:lnTo>
                    <a:lnTo>
                      <a:pt x="604" y="3584"/>
                    </a:lnTo>
                    <a:lnTo>
                      <a:pt x="608" y="3582"/>
                    </a:lnTo>
                    <a:lnTo>
                      <a:pt x="608" y="3582"/>
                    </a:lnTo>
                    <a:lnTo>
                      <a:pt x="614" y="3580"/>
                    </a:lnTo>
                    <a:lnTo>
                      <a:pt x="620" y="3582"/>
                    </a:lnTo>
                    <a:lnTo>
                      <a:pt x="636" y="3584"/>
                    </a:lnTo>
                    <a:lnTo>
                      <a:pt x="650" y="3588"/>
                    </a:lnTo>
                    <a:lnTo>
                      <a:pt x="652" y="3588"/>
                    </a:lnTo>
                    <a:lnTo>
                      <a:pt x="654" y="3586"/>
                    </a:lnTo>
                    <a:lnTo>
                      <a:pt x="654" y="3586"/>
                    </a:lnTo>
                    <a:lnTo>
                      <a:pt x="654" y="3582"/>
                    </a:lnTo>
                    <a:lnTo>
                      <a:pt x="656" y="3580"/>
                    </a:lnTo>
                    <a:lnTo>
                      <a:pt x="658" y="3582"/>
                    </a:lnTo>
                    <a:lnTo>
                      <a:pt x="662" y="3586"/>
                    </a:lnTo>
                    <a:lnTo>
                      <a:pt x="662" y="3586"/>
                    </a:lnTo>
                    <a:lnTo>
                      <a:pt x="664" y="3590"/>
                    </a:lnTo>
                    <a:lnTo>
                      <a:pt x="670" y="3592"/>
                    </a:lnTo>
                    <a:lnTo>
                      <a:pt x="678" y="3594"/>
                    </a:lnTo>
                    <a:lnTo>
                      <a:pt x="688" y="3598"/>
                    </a:lnTo>
                    <a:lnTo>
                      <a:pt x="688" y="3598"/>
                    </a:lnTo>
                    <a:lnTo>
                      <a:pt x="692" y="3600"/>
                    </a:lnTo>
                    <a:lnTo>
                      <a:pt x="696" y="3600"/>
                    </a:lnTo>
                    <a:lnTo>
                      <a:pt x="696" y="3596"/>
                    </a:lnTo>
                    <a:lnTo>
                      <a:pt x="698" y="3592"/>
                    </a:lnTo>
                    <a:lnTo>
                      <a:pt x="700" y="3592"/>
                    </a:lnTo>
                    <a:lnTo>
                      <a:pt x="702" y="3592"/>
                    </a:lnTo>
                    <a:lnTo>
                      <a:pt x="702" y="3592"/>
                    </a:lnTo>
                    <a:lnTo>
                      <a:pt x="706" y="3598"/>
                    </a:lnTo>
                    <a:lnTo>
                      <a:pt x="710" y="3600"/>
                    </a:lnTo>
                    <a:lnTo>
                      <a:pt x="712" y="3600"/>
                    </a:lnTo>
                    <a:lnTo>
                      <a:pt x="716" y="3598"/>
                    </a:lnTo>
                    <a:lnTo>
                      <a:pt x="724" y="3594"/>
                    </a:lnTo>
                    <a:lnTo>
                      <a:pt x="726" y="3592"/>
                    </a:lnTo>
                    <a:lnTo>
                      <a:pt x="730" y="3594"/>
                    </a:lnTo>
                    <a:lnTo>
                      <a:pt x="730" y="3594"/>
                    </a:lnTo>
                    <a:lnTo>
                      <a:pt x="732" y="3594"/>
                    </a:lnTo>
                    <a:lnTo>
                      <a:pt x="734" y="3594"/>
                    </a:lnTo>
                    <a:lnTo>
                      <a:pt x="738" y="3590"/>
                    </a:lnTo>
                    <a:lnTo>
                      <a:pt x="740" y="3588"/>
                    </a:lnTo>
                    <a:lnTo>
                      <a:pt x="746" y="3588"/>
                    </a:lnTo>
                    <a:lnTo>
                      <a:pt x="752" y="3588"/>
                    </a:lnTo>
                    <a:lnTo>
                      <a:pt x="762" y="3590"/>
                    </a:lnTo>
                    <a:lnTo>
                      <a:pt x="762" y="3590"/>
                    </a:lnTo>
                    <a:lnTo>
                      <a:pt x="770" y="3594"/>
                    </a:lnTo>
                    <a:lnTo>
                      <a:pt x="774" y="3594"/>
                    </a:lnTo>
                    <a:lnTo>
                      <a:pt x="776" y="3592"/>
                    </a:lnTo>
                    <a:lnTo>
                      <a:pt x="778" y="3590"/>
                    </a:lnTo>
                    <a:lnTo>
                      <a:pt x="780" y="3588"/>
                    </a:lnTo>
                    <a:lnTo>
                      <a:pt x="782" y="3586"/>
                    </a:lnTo>
                    <a:lnTo>
                      <a:pt x="786" y="3586"/>
                    </a:lnTo>
                    <a:lnTo>
                      <a:pt x="794" y="3586"/>
                    </a:lnTo>
                    <a:lnTo>
                      <a:pt x="794" y="3586"/>
                    </a:lnTo>
                    <a:lnTo>
                      <a:pt x="810" y="3590"/>
                    </a:lnTo>
                    <a:lnTo>
                      <a:pt x="820" y="3594"/>
                    </a:lnTo>
                    <a:lnTo>
                      <a:pt x="824" y="3594"/>
                    </a:lnTo>
                    <a:lnTo>
                      <a:pt x="828" y="3590"/>
                    </a:lnTo>
                    <a:lnTo>
                      <a:pt x="828" y="3590"/>
                    </a:lnTo>
                    <a:lnTo>
                      <a:pt x="832" y="3588"/>
                    </a:lnTo>
                    <a:lnTo>
                      <a:pt x="840" y="3586"/>
                    </a:lnTo>
                    <a:lnTo>
                      <a:pt x="866" y="3582"/>
                    </a:lnTo>
                    <a:lnTo>
                      <a:pt x="892" y="3582"/>
                    </a:lnTo>
                    <a:lnTo>
                      <a:pt x="900" y="3584"/>
                    </a:lnTo>
                    <a:lnTo>
                      <a:pt x="904" y="3586"/>
                    </a:lnTo>
                    <a:lnTo>
                      <a:pt x="904" y="3588"/>
                    </a:lnTo>
                    <a:lnTo>
                      <a:pt x="904" y="3588"/>
                    </a:lnTo>
                    <a:lnTo>
                      <a:pt x="904" y="3598"/>
                    </a:lnTo>
                    <a:lnTo>
                      <a:pt x="904" y="3606"/>
                    </a:lnTo>
                    <a:lnTo>
                      <a:pt x="904" y="3608"/>
                    </a:lnTo>
                    <a:lnTo>
                      <a:pt x="906" y="3610"/>
                    </a:lnTo>
                    <a:lnTo>
                      <a:pt x="916" y="3612"/>
                    </a:lnTo>
                    <a:lnTo>
                      <a:pt x="916" y="3612"/>
                    </a:lnTo>
                    <a:lnTo>
                      <a:pt x="920" y="3612"/>
                    </a:lnTo>
                    <a:lnTo>
                      <a:pt x="924" y="3614"/>
                    </a:lnTo>
                    <a:lnTo>
                      <a:pt x="926" y="3616"/>
                    </a:lnTo>
                    <a:lnTo>
                      <a:pt x="926" y="3620"/>
                    </a:lnTo>
                    <a:lnTo>
                      <a:pt x="926" y="3626"/>
                    </a:lnTo>
                    <a:lnTo>
                      <a:pt x="926" y="3630"/>
                    </a:lnTo>
                    <a:lnTo>
                      <a:pt x="928" y="3634"/>
                    </a:lnTo>
                    <a:lnTo>
                      <a:pt x="928" y="3634"/>
                    </a:lnTo>
                    <a:lnTo>
                      <a:pt x="932" y="3638"/>
                    </a:lnTo>
                    <a:lnTo>
                      <a:pt x="932" y="3642"/>
                    </a:lnTo>
                    <a:lnTo>
                      <a:pt x="932" y="3646"/>
                    </a:lnTo>
                    <a:lnTo>
                      <a:pt x="934" y="3652"/>
                    </a:lnTo>
                    <a:lnTo>
                      <a:pt x="934" y="3652"/>
                    </a:lnTo>
                    <a:lnTo>
                      <a:pt x="938" y="3654"/>
                    </a:lnTo>
                    <a:lnTo>
                      <a:pt x="936" y="3656"/>
                    </a:lnTo>
                    <a:lnTo>
                      <a:pt x="936" y="3658"/>
                    </a:lnTo>
                    <a:lnTo>
                      <a:pt x="940" y="3662"/>
                    </a:lnTo>
                    <a:lnTo>
                      <a:pt x="940" y="3662"/>
                    </a:lnTo>
                    <a:lnTo>
                      <a:pt x="944" y="3664"/>
                    </a:lnTo>
                    <a:lnTo>
                      <a:pt x="946" y="3664"/>
                    </a:lnTo>
                    <a:lnTo>
                      <a:pt x="950" y="3664"/>
                    </a:lnTo>
                    <a:lnTo>
                      <a:pt x="952" y="3662"/>
                    </a:lnTo>
                    <a:lnTo>
                      <a:pt x="956" y="3664"/>
                    </a:lnTo>
                    <a:lnTo>
                      <a:pt x="958" y="3666"/>
                    </a:lnTo>
                    <a:lnTo>
                      <a:pt x="962" y="3670"/>
                    </a:lnTo>
                    <a:lnTo>
                      <a:pt x="962" y="3670"/>
                    </a:lnTo>
                    <a:lnTo>
                      <a:pt x="966" y="3674"/>
                    </a:lnTo>
                    <a:lnTo>
                      <a:pt x="972" y="3676"/>
                    </a:lnTo>
                    <a:lnTo>
                      <a:pt x="976" y="3680"/>
                    </a:lnTo>
                    <a:lnTo>
                      <a:pt x="982" y="3690"/>
                    </a:lnTo>
                    <a:lnTo>
                      <a:pt x="982" y="3690"/>
                    </a:lnTo>
                    <a:lnTo>
                      <a:pt x="986" y="3696"/>
                    </a:lnTo>
                    <a:lnTo>
                      <a:pt x="992" y="3702"/>
                    </a:lnTo>
                    <a:lnTo>
                      <a:pt x="1000" y="3708"/>
                    </a:lnTo>
                    <a:lnTo>
                      <a:pt x="1008" y="3712"/>
                    </a:lnTo>
                    <a:lnTo>
                      <a:pt x="1016" y="3716"/>
                    </a:lnTo>
                    <a:lnTo>
                      <a:pt x="1024" y="3716"/>
                    </a:lnTo>
                    <a:lnTo>
                      <a:pt x="1032" y="3716"/>
                    </a:lnTo>
                    <a:lnTo>
                      <a:pt x="1038" y="3712"/>
                    </a:lnTo>
                    <a:lnTo>
                      <a:pt x="1038" y="3712"/>
                    </a:lnTo>
                    <a:lnTo>
                      <a:pt x="1044" y="3708"/>
                    </a:lnTo>
                    <a:lnTo>
                      <a:pt x="1048" y="3708"/>
                    </a:lnTo>
                    <a:lnTo>
                      <a:pt x="1052" y="3710"/>
                    </a:lnTo>
                    <a:lnTo>
                      <a:pt x="1052" y="3714"/>
                    </a:lnTo>
                    <a:lnTo>
                      <a:pt x="1050" y="3720"/>
                    </a:lnTo>
                    <a:lnTo>
                      <a:pt x="1046" y="3726"/>
                    </a:lnTo>
                    <a:lnTo>
                      <a:pt x="1040" y="3730"/>
                    </a:lnTo>
                    <a:lnTo>
                      <a:pt x="1028" y="3734"/>
                    </a:lnTo>
                    <a:lnTo>
                      <a:pt x="1028" y="3734"/>
                    </a:lnTo>
                    <a:lnTo>
                      <a:pt x="1016" y="3736"/>
                    </a:lnTo>
                    <a:lnTo>
                      <a:pt x="1006" y="3734"/>
                    </a:lnTo>
                    <a:lnTo>
                      <a:pt x="992" y="3732"/>
                    </a:lnTo>
                    <a:lnTo>
                      <a:pt x="992" y="3734"/>
                    </a:lnTo>
                    <a:lnTo>
                      <a:pt x="992" y="3734"/>
                    </a:lnTo>
                    <a:lnTo>
                      <a:pt x="994" y="3740"/>
                    </a:lnTo>
                    <a:lnTo>
                      <a:pt x="1018" y="3770"/>
                    </a:lnTo>
                    <a:lnTo>
                      <a:pt x="1018" y="3770"/>
                    </a:lnTo>
                    <a:lnTo>
                      <a:pt x="1048" y="3804"/>
                    </a:lnTo>
                    <a:lnTo>
                      <a:pt x="1060" y="3814"/>
                    </a:lnTo>
                    <a:lnTo>
                      <a:pt x="1070" y="3820"/>
                    </a:lnTo>
                    <a:lnTo>
                      <a:pt x="1078" y="3822"/>
                    </a:lnTo>
                    <a:lnTo>
                      <a:pt x="1090" y="3818"/>
                    </a:lnTo>
                    <a:lnTo>
                      <a:pt x="1102" y="3810"/>
                    </a:lnTo>
                    <a:lnTo>
                      <a:pt x="1116" y="3798"/>
                    </a:lnTo>
                    <a:lnTo>
                      <a:pt x="1116" y="3798"/>
                    </a:lnTo>
                    <a:lnTo>
                      <a:pt x="1124" y="3790"/>
                    </a:lnTo>
                    <a:lnTo>
                      <a:pt x="1128" y="3782"/>
                    </a:lnTo>
                    <a:lnTo>
                      <a:pt x="1128" y="3772"/>
                    </a:lnTo>
                    <a:lnTo>
                      <a:pt x="1128" y="3764"/>
                    </a:lnTo>
                    <a:lnTo>
                      <a:pt x="1128" y="3756"/>
                    </a:lnTo>
                    <a:lnTo>
                      <a:pt x="1128" y="3750"/>
                    </a:lnTo>
                    <a:lnTo>
                      <a:pt x="1132" y="3744"/>
                    </a:lnTo>
                    <a:lnTo>
                      <a:pt x="1138" y="3742"/>
                    </a:lnTo>
                    <a:lnTo>
                      <a:pt x="1138" y="3742"/>
                    </a:lnTo>
                    <a:lnTo>
                      <a:pt x="1144" y="3740"/>
                    </a:lnTo>
                    <a:lnTo>
                      <a:pt x="1148" y="3740"/>
                    </a:lnTo>
                    <a:lnTo>
                      <a:pt x="1148" y="3742"/>
                    </a:lnTo>
                    <a:lnTo>
                      <a:pt x="1146" y="3746"/>
                    </a:lnTo>
                    <a:lnTo>
                      <a:pt x="1142" y="3754"/>
                    </a:lnTo>
                    <a:lnTo>
                      <a:pt x="1142" y="3760"/>
                    </a:lnTo>
                    <a:lnTo>
                      <a:pt x="1144" y="3764"/>
                    </a:lnTo>
                    <a:lnTo>
                      <a:pt x="1144" y="3764"/>
                    </a:lnTo>
                    <a:lnTo>
                      <a:pt x="1146" y="3770"/>
                    </a:lnTo>
                    <a:lnTo>
                      <a:pt x="1146" y="3774"/>
                    </a:lnTo>
                    <a:lnTo>
                      <a:pt x="1144" y="3778"/>
                    </a:lnTo>
                    <a:lnTo>
                      <a:pt x="1144" y="3782"/>
                    </a:lnTo>
                    <a:lnTo>
                      <a:pt x="1144" y="3788"/>
                    </a:lnTo>
                    <a:lnTo>
                      <a:pt x="1146" y="3794"/>
                    </a:lnTo>
                    <a:lnTo>
                      <a:pt x="1150" y="3804"/>
                    </a:lnTo>
                    <a:lnTo>
                      <a:pt x="1150" y="3804"/>
                    </a:lnTo>
                    <a:lnTo>
                      <a:pt x="1154" y="3814"/>
                    </a:lnTo>
                    <a:lnTo>
                      <a:pt x="1154" y="3822"/>
                    </a:lnTo>
                    <a:lnTo>
                      <a:pt x="1150" y="3838"/>
                    </a:lnTo>
                    <a:lnTo>
                      <a:pt x="1148" y="3848"/>
                    </a:lnTo>
                    <a:lnTo>
                      <a:pt x="1148" y="3864"/>
                    </a:lnTo>
                    <a:lnTo>
                      <a:pt x="1148" y="3884"/>
                    </a:lnTo>
                    <a:lnTo>
                      <a:pt x="1152" y="3912"/>
                    </a:lnTo>
                    <a:lnTo>
                      <a:pt x="1152" y="3912"/>
                    </a:lnTo>
                    <a:lnTo>
                      <a:pt x="1170" y="4010"/>
                    </a:lnTo>
                    <a:lnTo>
                      <a:pt x="1176" y="4042"/>
                    </a:lnTo>
                    <a:lnTo>
                      <a:pt x="1184" y="4060"/>
                    </a:lnTo>
                    <a:lnTo>
                      <a:pt x="1184" y="4060"/>
                    </a:lnTo>
                    <a:lnTo>
                      <a:pt x="1194" y="4084"/>
                    </a:lnTo>
                    <a:lnTo>
                      <a:pt x="1210" y="4122"/>
                    </a:lnTo>
                    <a:lnTo>
                      <a:pt x="1224" y="4164"/>
                    </a:lnTo>
                    <a:lnTo>
                      <a:pt x="1230" y="4184"/>
                    </a:lnTo>
                    <a:lnTo>
                      <a:pt x="1232" y="4204"/>
                    </a:lnTo>
                    <a:lnTo>
                      <a:pt x="1232" y="4204"/>
                    </a:lnTo>
                    <a:lnTo>
                      <a:pt x="1236" y="4220"/>
                    </a:lnTo>
                    <a:lnTo>
                      <a:pt x="1240" y="4232"/>
                    </a:lnTo>
                    <a:lnTo>
                      <a:pt x="1254" y="4256"/>
                    </a:lnTo>
                    <a:lnTo>
                      <a:pt x="1262" y="4268"/>
                    </a:lnTo>
                    <a:lnTo>
                      <a:pt x="1268" y="4284"/>
                    </a:lnTo>
                    <a:lnTo>
                      <a:pt x="1276" y="4304"/>
                    </a:lnTo>
                    <a:lnTo>
                      <a:pt x="1282" y="4330"/>
                    </a:lnTo>
                    <a:lnTo>
                      <a:pt x="1282" y="4330"/>
                    </a:lnTo>
                    <a:lnTo>
                      <a:pt x="1290" y="4358"/>
                    </a:lnTo>
                    <a:lnTo>
                      <a:pt x="1296" y="4384"/>
                    </a:lnTo>
                    <a:lnTo>
                      <a:pt x="1306" y="4406"/>
                    </a:lnTo>
                    <a:lnTo>
                      <a:pt x="1314" y="4424"/>
                    </a:lnTo>
                    <a:lnTo>
                      <a:pt x="1324" y="4436"/>
                    </a:lnTo>
                    <a:lnTo>
                      <a:pt x="1328" y="4442"/>
                    </a:lnTo>
                    <a:lnTo>
                      <a:pt x="1334" y="4444"/>
                    </a:lnTo>
                    <a:lnTo>
                      <a:pt x="1338" y="4446"/>
                    </a:lnTo>
                    <a:lnTo>
                      <a:pt x="1344" y="4446"/>
                    </a:lnTo>
                    <a:lnTo>
                      <a:pt x="1348" y="4444"/>
                    </a:lnTo>
                    <a:lnTo>
                      <a:pt x="1354" y="4440"/>
                    </a:lnTo>
                    <a:lnTo>
                      <a:pt x="1354" y="4440"/>
                    </a:lnTo>
                    <a:lnTo>
                      <a:pt x="1362" y="4432"/>
                    </a:lnTo>
                    <a:lnTo>
                      <a:pt x="1366" y="4424"/>
                    </a:lnTo>
                    <a:lnTo>
                      <a:pt x="1368" y="4416"/>
                    </a:lnTo>
                    <a:lnTo>
                      <a:pt x="1368" y="4410"/>
                    </a:lnTo>
                    <a:lnTo>
                      <a:pt x="1368" y="4406"/>
                    </a:lnTo>
                    <a:lnTo>
                      <a:pt x="1372" y="4400"/>
                    </a:lnTo>
                    <a:lnTo>
                      <a:pt x="1376" y="4396"/>
                    </a:lnTo>
                    <a:lnTo>
                      <a:pt x="1384" y="4394"/>
                    </a:lnTo>
                    <a:lnTo>
                      <a:pt x="1384" y="4394"/>
                    </a:lnTo>
                    <a:lnTo>
                      <a:pt x="1402" y="4390"/>
                    </a:lnTo>
                    <a:lnTo>
                      <a:pt x="1412" y="4390"/>
                    </a:lnTo>
                    <a:lnTo>
                      <a:pt x="1418" y="4390"/>
                    </a:lnTo>
                    <a:lnTo>
                      <a:pt x="1420" y="4390"/>
                    </a:lnTo>
                    <a:lnTo>
                      <a:pt x="1420" y="4388"/>
                    </a:lnTo>
                    <a:lnTo>
                      <a:pt x="1420" y="4388"/>
                    </a:lnTo>
                    <a:lnTo>
                      <a:pt x="1420" y="4386"/>
                    </a:lnTo>
                    <a:lnTo>
                      <a:pt x="1416" y="4384"/>
                    </a:lnTo>
                    <a:lnTo>
                      <a:pt x="1408" y="4382"/>
                    </a:lnTo>
                    <a:lnTo>
                      <a:pt x="1404" y="4380"/>
                    </a:lnTo>
                    <a:lnTo>
                      <a:pt x="1400" y="4376"/>
                    </a:lnTo>
                    <a:lnTo>
                      <a:pt x="1402" y="4370"/>
                    </a:lnTo>
                    <a:lnTo>
                      <a:pt x="1406" y="4362"/>
                    </a:lnTo>
                    <a:lnTo>
                      <a:pt x="1406" y="4362"/>
                    </a:lnTo>
                    <a:lnTo>
                      <a:pt x="1410" y="4354"/>
                    </a:lnTo>
                    <a:lnTo>
                      <a:pt x="1412" y="4348"/>
                    </a:lnTo>
                    <a:lnTo>
                      <a:pt x="1412" y="4342"/>
                    </a:lnTo>
                    <a:lnTo>
                      <a:pt x="1414" y="4340"/>
                    </a:lnTo>
                    <a:lnTo>
                      <a:pt x="1414" y="4340"/>
                    </a:lnTo>
                    <a:lnTo>
                      <a:pt x="1428" y="4338"/>
                    </a:lnTo>
                    <a:lnTo>
                      <a:pt x="1428" y="4338"/>
                    </a:lnTo>
                    <a:lnTo>
                      <a:pt x="1434" y="4336"/>
                    </a:lnTo>
                    <a:lnTo>
                      <a:pt x="1436" y="4334"/>
                    </a:lnTo>
                    <a:lnTo>
                      <a:pt x="1438" y="4332"/>
                    </a:lnTo>
                    <a:lnTo>
                      <a:pt x="1438" y="4322"/>
                    </a:lnTo>
                    <a:lnTo>
                      <a:pt x="1436" y="4312"/>
                    </a:lnTo>
                    <a:lnTo>
                      <a:pt x="1434" y="4298"/>
                    </a:lnTo>
                    <a:lnTo>
                      <a:pt x="1432" y="4284"/>
                    </a:lnTo>
                    <a:lnTo>
                      <a:pt x="1434" y="4266"/>
                    </a:lnTo>
                    <a:lnTo>
                      <a:pt x="1440" y="4246"/>
                    </a:lnTo>
                    <a:lnTo>
                      <a:pt x="1440" y="4246"/>
                    </a:lnTo>
                    <a:lnTo>
                      <a:pt x="1448" y="4226"/>
                    </a:lnTo>
                    <a:lnTo>
                      <a:pt x="1454" y="4206"/>
                    </a:lnTo>
                    <a:lnTo>
                      <a:pt x="1456" y="4196"/>
                    </a:lnTo>
                    <a:lnTo>
                      <a:pt x="1454" y="4186"/>
                    </a:lnTo>
                    <a:lnTo>
                      <a:pt x="1452" y="4172"/>
                    </a:lnTo>
                    <a:lnTo>
                      <a:pt x="1448" y="4154"/>
                    </a:lnTo>
                    <a:lnTo>
                      <a:pt x="1448" y="4154"/>
                    </a:lnTo>
                    <a:lnTo>
                      <a:pt x="1448" y="4144"/>
                    </a:lnTo>
                    <a:lnTo>
                      <a:pt x="1450" y="4138"/>
                    </a:lnTo>
                    <a:lnTo>
                      <a:pt x="1450" y="4128"/>
                    </a:lnTo>
                    <a:lnTo>
                      <a:pt x="1446" y="4108"/>
                    </a:lnTo>
                    <a:lnTo>
                      <a:pt x="1446" y="4108"/>
                    </a:lnTo>
                    <a:lnTo>
                      <a:pt x="1444" y="4098"/>
                    </a:lnTo>
                    <a:lnTo>
                      <a:pt x="1442" y="4088"/>
                    </a:lnTo>
                    <a:lnTo>
                      <a:pt x="1444" y="4082"/>
                    </a:lnTo>
                    <a:lnTo>
                      <a:pt x="1444" y="4076"/>
                    </a:lnTo>
                    <a:lnTo>
                      <a:pt x="1448" y="4074"/>
                    </a:lnTo>
                    <a:lnTo>
                      <a:pt x="1452" y="4070"/>
                    </a:lnTo>
                    <a:lnTo>
                      <a:pt x="1460" y="4068"/>
                    </a:lnTo>
                    <a:lnTo>
                      <a:pt x="1470" y="4066"/>
                    </a:lnTo>
                    <a:lnTo>
                      <a:pt x="1480" y="4064"/>
                    </a:lnTo>
                    <a:lnTo>
                      <a:pt x="1488" y="4058"/>
                    </a:lnTo>
                    <a:lnTo>
                      <a:pt x="1490" y="4054"/>
                    </a:lnTo>
                    <a:lnTo>
                      <a:pt x="1492" y="4050"/>
                    </a:lnTo>
                    <a:lnTo>
                      <a:pt x="1492" y="4050"/>
                    </a:lnTo>
                    <a:lnTo>
                      <a:pt x="1494" y="4040"/>
                    </a:lnTo>
                    <a:lnTo>
                      <a:pt x="1496" y="4038"/>
                    </a:lnTo>
                    <a:lnTo>
                      <a:pt x="1498" y="4038"/>
                    </a:lnTo>
                    <a:lnTo>
                      <a:pt x="1502" y="4040"/>
                    </a:lnTo>
                    <a:lnTo>
                      <a:pt x="1506" y="4042"/>
                    </a:lnTo>
                    <a:lnTo>
                      <a:pt x="1512" y="4042"/>
                    </a:lnTo>
                    <a:lnTo>
                      <a:pt x="1520" y="4040"/>
                    </a:lnTo>
                    <a:lnTo>
                      <a:pt x="1530" y="4032"/>
                    </a:lnTo>
                    <a:lnTo>
                      <a:pt x="1530" y="4032"/>
                    </a:lnTo>
                    <a:lnTo>
                      <a:pt x="1536" y="4024"/>
                    </a:lnTo>
                    <a:lnTo>
                      <a:pt x="1538" y="4020"/>
                    </a:lnTo>
                    <a:lnTo>
                      <a:pt x="1538" y="4016"/>
                    </a:lnTo>
                    <a:lnTo>
                      <a:pt x="1538" y="4014"/>
                    </a:lnTo>
                    <a:lnTo>
                      <a:pt x="1538" y="4010"/>
                    </a:lnTo>
                    <a:lnTo>
                      <a:pt x="1542" y="4004"/>
                    </a:lnTo>
                    <a:lnTo>
                      <a:pt x="1550" y="3996"/>
                    </a:lnTo>
                    <a:lnTo>
                      <a:pt x="1566" y="3982"/>
                    </a:lnTo>
                    <a:lnTo>
                      <a:pt x="1566" y="3982"/>
                    </a:lnTo>
                    <a:lnTo>
                      <a:pt x="1584" y="3966"/>
                    </a:lnTo>
                    <a:lnTo>
                      <a:pt x="1600" y="3950"/>
                    </a:lnTo>
                    <a:lnTo>
                      <a:pt x="1624" y="3918"/>
                    </a:lnTo>
                    <a:lnTo>
                      <a:pt x="1644" y="3892"/>
                    </a:lnTo>
                    <a:lnTo>
                      <a:pt x="1654" y="3880"/>
                    </a:lnTo>
                    <a:lnTo>
                      <a:pt x="1666" y="3870"/>
                    </a:lnTo>
                    <a:lnTo>
                      <a:pt x="1666" y="3870"/>
                    </a:lnTo>
                    <a:lnTo>
                      <a:pt x="1674" y="3866"/>
                    </a:lnTo>
                    <a:lnTo>
                      <a:pt x="1680" y="3864"/>
                    </a:lnTo>
                    <a:lnTo>
                      <a:pt x="1688" y="3864"/>
                    </a:lnTo>
                    <a:lnTo>
                      <a:pt x="1692" y="3864"/>
                    </a:lnTo>
                    <a:lnTo>
                      <a:pt x="1696" y="3860"/>
                    </a:lnTo>
                    <a:lnTo>
                      <a:pt x="1704" y="3852"/>
                    </a:lnTo>
                    <a:lnTo>
                      <a:pt x="1714" y="3840"/>
                    </a:lnTo>
                    <a:lnTo>
                      <a:pt x="1714" y="3840"/>
                    </a:lnTo>
                    <a:lnTo>
                      <a:pt x="1722" y="3828"/>
                    </a:lnTo>
                    <a:lnTo>
                      <a:pt x="1724" y="3816"/>
                    </a:lnTo>
                    <a:lnTo>
                      <a:pt x="1724" y="3808"/>
                    </a:lnTo>
                    <a:lnTo>
                      <a:pt x="1722" y="3802"/>
                    </a:lnTo>
                    <a:lnTo>
                      <a:pt x="1720" y="3796"/>
                    </a:lnTo>
                    <a:lnTo>
                      <a:pt x="1720" y="3790"/>
                    </a:lnTo>
                    <a:lnTo>
                      <a:pt x="1724" y="3784"/>
                    </a:lnTo>
                    <a:lnTo>
                      <a:pt x="1736" y="3778"/>
                    </a:lnTo>
                    <a:lnTo>
                      <a:pt x="1736" y="3778"/>
                    </a:lnTo>
                    <a:lnTo>
                      <a:pt x="1748" y="3772"/>
                    </a:lnTo>
                    <a:lnTo>
                      <a:pt x="1756" y="3766"/>
                    </a:lnTo>
                    <a:lnTo>
                      <a:pt x="1768" y="3758"/>
                    </a:lnTo>
                    <a:lnTo>
                      <a:pt x="1770" y="3756"/>
                    </a:lnTo>
                    <a:lnTo>
                      <a:pt x="1772" y="3756"/>
                    </a:lnTo>
                    <a:lnTo>
                      <a:pt x="1774" y="3766"/>
                    </a:lnTo>
                    <a:lnTo>
                      <a:pt x="1774" y="3766"/>
                    </a:lnTo>
                    <a:lnTo>
                      <a:pt x="1774" y="3772"/>
                    </a:lnTo>
                    <a:lnTo>
                      <a:pt x="1778" y="3776"/>
                    </a:lnTo>
                    <a:lnTo>
                      <a:pt x="1780" y="3778"/>
                    </a:lnTo>
                    <a:lnTo>
                      <a:pt x="1784" y="3778"/>
                    </a:lnTo>
                    <a:lnTo>
                      <a:pt x="1790" y="3774"/>
                    </a:lnTo>
                    <a:lnTo>
                      <a:pt x="1794" y="3774"/>
                    </a:lnTo>
                    <a:lnTo>
                      <a:pt x="1798" y="3774"/>
                    </a:lnTo>
                    <a:lnTo>
                      <a:pt x="1798" y="3774"/>
                    </a:lnTo>
                    <a:lnTo>
                      <a:pt x="1804" y="3776"/>
                    </a:lnTo>
                    <a:lnTo>
                      <a:pt x="1808" y="3776"/>
                    </a:lnTo>
                    <a:lnTo>
                      <a:pt x="1810" y="3774"/>
                    </a:lnTo>
                    <a:lnTo>
                      <a:pt x="1808" y="3768"/>
                    </a:lnTo>
                    <a:lnTo>
                      <a:pt x="1808" y="3768"/>
                    </a:lnTo>
                    <a:lnTo>
                      <a:pt x="1806" y="3760"/>
                    </a:lnTo>
                    <a:lnTo>
                      <a:pt x="1806" y="3758"/>
                    </a:lnTo>
                    <a:lnTo>
                      <a:pt x="1810" y="3756"/>
                    </a:lnTo>
                    <a:lnTo>
                      <a:pt x="1810" y="3756"/>
                    </a:lnTo>
                    <a:lnTo>
                      <a:pt x="1812" y="3762"/>
                    </a:lnTo>
                    <a:lnTo>
                      <a:pt x="1816" y="3766"/>
                    </a:lnTo>
                    <a:lnTo>
                      <a:pt x="1818" y="3766"/>
                    </a:lnTo>
                    <a:lnTo>
                      <a:pt x="1820" y="3766"/>
                    </a:lnTo>
                    <a:lnTo>
                      <a:pt x="1824" y="3766"/>
                    </a:lnTo>
                    <a:lnTo>
                      <a:pt x="1826" y="3766"/>
                    </a:lnTo>
                    <a:lnTo>
                      <a:pt x="1828" y="3768"/>
                    </a:lnTo>
                    <a:lnTo>
                      <a:pt x="1828" y="3768"/>
                    </a:lnTo>
                    <a:lnTo>
                      <a:pt x="1830" y="3770"/>
                    </a:lnTo>
                    <a:lnTo>
                      <a:pt x="1832" y="3770"/>
                    </a:lnTo>
                    <a:lnTo>
                      <a:pt x="1836" y="3764"/>
                    </a:lnTo>
                    <a:lnTo>
                      <a:pt x="1842" y="3760"/>
                    </a:lnTo>
                    <a:lnTo>
                      <a:pt x="1844" y="3760"/>
                    </a:lnTo>
                    <a:lnTo>
                      <a:pt x="1848" y="3762"/>
                    </a:lnTo>
                    <a:lnTo>
                      <a:pt x="1848" y="3762"/>
                    </a:lnTo>
                    <a:lnTo>
                      <a:pt x="1852" y="3766"/>
                    </a:lnTo>
                    <a:lnTo>
                      <a:pt x="1856" y="3764"/>
                    </a:lnTo>
                    <a:lnTo>
                      <a:pt x="1860" y="3762"/>
                    </a:lnTo>
                    <a:lnTo>
                      <a:pt x="1864" y="3756"/>
                    </a:lnTo>
                    <a:lnTo>
                      <a:pt x="1866" y="3748"/>
                    </a:lnTo>
                    <a:lnTo>
                      <a:pt x="1868" y="3740"/>
                    </a:lnTo>
                    <a:lnTo>
                      <a:pt x="1868" y="3734"/>
                    </a:lnTo>
                    <a:lnTo>
                      <a:pt x="1866" y="3726"/>
                    </a:lnTo>
                    <a:lnTo>
                      <a:pt x="1866" y="3726"/>
                    </a:lnTo>
                    <a:lnTo>
                      <a:pt x="1864" y="3716"/>
                    </a:lnTo>
                    <a:lnTo>
                      <a:pt x="1866" y="3706"/>
                    </a:lnTo>
                    <a:lnTo>
                      <a:pt x="1866" y="3698"/>
                    </a:lnTo>
                    <a:lnTo>
                      <a:pt x="1866" y="3690"/>
                    </a:lnTo>
                    <a:lnTo>
                      <a:pt x="1866" y="3690"/>
                    </a:lnTo>
                    <a:lnTo>
                      <a:pt x="1864" y="3686"/>
                    </a:lnTo>
                    <a:lnTo>
                      <a:pt x="1866" y="3684"/>
                    </a:lnTo>
                    <a:lnTo>
                      <a:pt x="1868" y="3680"/>
                    </a:lnTo>
                    <a:lnTo>
                      <a:pt x="1868" y="3680"/>
                    </a:lnTo>
                    <a:lnTo>
                      <a:pt x="1870" y="3676"/>
                    </a:lnTo>
                    <a:lnTo>
                      <a:pt x="1872" y="3678"/>
                    </a:lnTo>
                    <a:lnTo>
                      <a:pt x="1872" y="3684"/>
                    </a:lnTo>
                    <a:lnTo>
                      <a:pt x="1876" y="3710"/>
                    </a:lnTo>
                    <a:lnTo>
                      <a:pt x="1876" y="3710"/>
                    </a:lnTo>
                    <a:lnTo>
                      <a:pt x="1880" y="3720"/>
                    </a:lnTo>
                    <a:lnTo>
                      <a:pt x="1882" y="3724"/>
                    </a:lnTo>
                    <a:lnTo>
                      <a:pt x="1884" y="3726"/>
                    </a:lnTo>
                    <a:lnTo>
                      <a:pt x="1888" y="3726"/>
                    </a:lnTo>
                    <a:lnTo>
                      <a:pt x="1890" y="3726"/>
                    </a:lnTo>
                    <a:lnTo>
                      <a:pt x="1898" y="3722"/>
                    </a:lnTo>
                    <a:lnTo>
                      <a:pt x="1898" y="3722"/>
                    </a:lnTo>
                    <a:lnTo>
                      <a:pt x="1900" y="3720"/>
                    </a:lnTo>
                    <a:lnTo>
                      <a:pt x="1904" y="3720"/>
                    </a:lnTo>
                    <a:lnTo>
                      <a:pt x="1906" y="3722"/>
                    </a:lnTo>
                    <a:lnTo>
                      <a:pt x="1910" y="3726"/>
                    </a:lnTo>
                    <a:lnTo>
                      <a:pt x="1916" y="3738"/>
                    </a:lnTo>
                    <a:lnTo>
                      <a:pt x="1922" y="3760"/>
                    </a:lnTo>
                    <a:lnTo>
                      <a:pt x="1922" y="3760"/>
                    </a:lnTo>
                    <a:lnTo>
                      <a:pt x="1926" y="3768"/>
                    </a:lnTo>
                    <a:lnTo>
                      <a:pt x="1928" y="3772"/>
                    </a:lnTo>
                    <a:lnTo>
                      <a:pt x="1928" y="3774"/>
                    </a:lnTo>
                    <a:lnTo>
                      <a:pt x="1928" y="3780"/>
                    </a:lnTo>
                    <a:lnTo>
                      <a:pt x="1928" y="3780"/>
                    </a:lnTo>
                    <a:lnTo>
                      <a:pt x="1926" y="3786"/>
                    </a:lnTo>
                    <a:lnTo>
                      <a:pt x="1926" y="3792"/>
                    </a:lnTo>
                    <a:lnTo>
                      <a:pt x="1930" y="3804"/>
                    </a:lnTo>
                    <a:lnTo>
                      <a:pt x="1930" y="3804"/>
                    </a:lnTo>
                    <a:lnTo>
                      <a:pt x="1934" y="3814"/>
                    </a:lnTo>
                    <a:lnTo>
                      <a:pt x="1936" y="3810"/>
                    </a:lnTo>
                    <a:lnTo>
                      <a:pt x="1936" y="3800"/>
                    </a:lnTo>
                    <a:lnTo>
                      <a:pt x="1936" y="3800"/>
                    </a:lnTo>
                    <a:lnTo>
                      <a:pt x="1938" y="3806"/>
                    </a:lnTo>
                    <a:lnTo>
                      <a:pt x="1942" y="3816"/>
                    </a:lnTo>
                    <a:lnTo>
                      <a:pt x="1946" y="3828"/>
                    </a:lnTo>
                    <a:lnTo>
                      <a:pt x="1952" y="3838"/>
                    </a:lnTo>
                    <a:lnTo>
                      <a:pt x="1952" y="3838"/>
                    </a:lnTo>
                    <a:lnTo>
                      <a:pt x="1968" y="3862"/>
                    </a:lnTo>
                    <a:lnTo>
                      <a:pt x="1972" y="3864"/>
                    </a:lnTo>
                    <a:lnTo>
                      <a:pt x="1974" y="3860"/>
                    </a:lnTo>
                    <a:lnTo>
                      <a:pt x="1974" y="3860"/>
                    </a:lnTo>
                    <a:lnTo>
                      <a:pt x="1976" y="3856"/>
                    </a:lnTo>
                    <a:lnTo>
                      <a:pt x="1978" y="3854"/>
                    </a:lnTo>
                    <a:lnTo>
                      <a:pt x="1980" y="3854"/>
                    </a:lnTo>
                    <a:lnTo>
                      <a:pt x="1982" y="3854"/>
                    </a:lnTo>
                    <a:lnTo>
                      <a:pt x="1990" y="3862"/>
                    </a:lnTo>
                    <a:lnTo>
                      <a:pt x="1994" y="3870"/>
                    </a:lnTo>
                    <a:lnTo>
                      <a:pt x="1994" y="3870"/>
                    </a:lnTo>
                    <a:lnTo>
                      <a:pt x="1998" y="3876"/>
                    </a:lnTo>
                    <a:lnTo>
                      <a:pt x="2004" y="3882"/>
                    </a:lnTo>
                    <a:lnTo>
                      <a:pt x="2008" y="3886"/>
                    </a:lnTo>
                    <a:lnTo>
                      <a:pt x="2008" y="3888"/>
                    </a:lnTo>
                    <a:lnTo>
                      <a:pt x="2006" y="3890"/>
                    </a:lnTo>
                    <a:lnTo>
                      <a:pt x="2006" y="3890"/>
                    </a:lnTo>
                    <a:lnTo>
                      <a:pt x="2002" y="3892"/>
                    </a:lnTo>
                    <a:lnTo>
                      <a:pt x="2000" y="3892"/>
                    </a:lnTo>
                    <a:lnTo>
                      <a:pt x="1996" y="3890"/>
                    </a:lnTo>
                    <a:lnTo>
                      <a:pt x="1992" y="3886"/>
                    </a:lnTo>
                    <a:lnTo>
                      <a:pt x="1990" y="3886"/>
                    </a:lnTo>
                    <a:lnTo>
                      <a:pt x="1988" y="3888"/>
                    </a:lnTo>
                    <a:lnTo>
                      <a:pt x="1988" y="3888"/>
                    </a:lnTo>
                    <a:lnTo>
                      <a:pt x="1986" y="3890"/>
                    </a:lnTo>
                    <a:lnTo>
                      <a:pt x="1986" y="3894"/>
                    </a:lnTo>
                    <a:lnTo>
                      <a:pt x="1992" y="3904"/>
                    </a:lnTo>
                    <a:lnTo>
                      <a:pt x="1998" y="3910"/>
                    </a:lnTo>
                    <a:lnTo>
                      <a:pt x="2000" y="3912"/>
                    </a:lnTo>
                    <a:lnTo>
                      <a:pt x="2000" y="3910"/>
                    </a:lnTo>
                    <a:lnTo>
                      <a:pt x="2000" y="3910"/>
                    </a:lnTo>
                    <a:lnTo>
                      <a:pt x="2002" y="3904"/>
                    </a:lnTo>
                    <a:lnTo>
                      <a:pt x="2004" y="3900"/>
                    </a:lnTo>
                    <a:lnTo>
                      <a:pt x="2006" y="3900"/>
                    </a:lnTo>
                    <a:lnTo>
                      <a:pt x="2006" y="3900"/>
                    </a:lnTo>
                    <a:lnTo>
                      <a:pt x="2010" y="3912"/>
                    </a:lnTo>
                    <a:lnTo>
                      <a:pt x="2010" y="3912"/>
                    </a:lnTo>
                    <a:lnTo>
                      <a:pt x="2016" y="3930"/>
                    </a:lnTo>
                    <a:lnTo>
                      <a:pt x="2024" y="3950"/>
                    </a:lnTo>
                    <a:lnTo>
                      <a:pt x="2028" y="3960"/>
                    </a:lnTo>
                    <a:lnTo>
                      <a:pt x="2032" y="3972"/>
                    </a:lnTo>
                    <a:lnTo>
                      <a:pt x="2032" y="3982"/>
                    </a:lnTo>
                    <a:lnTo>
                      <a:pt x="2030" y="3992"/>
                    </a:lnTo>
                    <a:lnTo>
                      <a:pt x="2030" y="3992"/>
                    </a:lnTo>
                    <a:lnTo>
                      <a:pt x="2016" y="4034"/>
                    </a:lnTo>
                    <a:lnTo>
                      <a:pt x="2014" y="4050"/>
                    </a:lnTo>
                    <a:lnTo>
                      <a:pt x="2014" y="4056"/>
                    </a:lnTo>
                    <a:lnTo>
                      <a:pt x="2016" y="4058"/>
                    </a:lnTo>
                    <a:lnTo>
                      <a:pt x="2016" y="4058"/>
                    </a:lnTo>
                    <a:lnTo>
                      <a:pt x="2020" y="4058"/>
                    </a:lnTo>
                    <a:lnTo>
                      <a:pt x="2022" y="4056"/>
                    </a:lnTo>
                    <a:lnTo>
                      <a:pt x="2026" y="4050"/>
                    </a:lnTo>
                    <a:lnTo>
                      <a:pt x="2028" y="4044"/>
                    </a:lnTo>
                    <a:lnTo>
                      <a:pt x="2030" y="4042"/>
                    </a:lnTo>
                    <a:lnTo>
                      <a:pt x="2034" y="4042"/>
                    </a:lnTo>
                    <a:lnTo>
                      <a:pt x="2034" y="4042"/>
                    </a:lnTo>
                    <a:lnTo>
                      <a:pt x="2036" y="4042"/>
                    </a:lnTo>
                    <a:lnTo>
                      <a:pt x="2036" y="4044"/>
                    </a:lnTo>
                    <a:lnTo>
                      <a:pt x="2032" y="4048"/>
                    </a:lnTo>
                    <a:lnTo>
                      <a:pt x="2032" y="4054"/>
                    </a:lnTo>
                    <a:lnTo>
                      <a:pt x="2032" y="4056"/>
                    </a:lnTo>
                    <a:lnTo>
                      <a:pt x="2036" y="4060"/>
                    </a:lnTo>
                    <a:lnTo>
                      <a:pt x="2036" y="4060"/>
                    </a:lnTo>
                    <a:lnTo>
                      <a:pt x="2040" y="4064"/>
                    </a:lnTo>
                    <a:lnTo>
                      <a:pt x="2042" y="4064"/>
                    </a:lnTo>
                    <a:lnTo>
                      <a:pt x="2046" y="4062"/>
                    </a:lnTo>
                    <a:lnTo>
                      <a:pt x="2048" y="4060"/>
                    </a:lnTo>
                    <a:lnTo>
                      <a:pt x="2050" y="4060"/>
                    </a:lnTo>
                    <a:lnTo>
                      <a:pt x="2052" y="4062"/>
                    </a:lnTo>
                    <a:lnTo>
                      <a:pt x="2056" y="4066"/>
                    </a:lnTo>
                    <a:lnTo>
                      <a:pt x="2056" y="4066"/>
                    </a:lnTo>
                    <a:lnTo>
                      <a:pt x="2062" y="4070"/>
                    </a:lnTo>
                    <a:lnTo>
                      <a:pt x="2066" y="4068"/>
                    </a:lnTo>
                    <a:lnTo>
                      <a:pt x="2068" y="4066"/>
                    </a:lnTo>
                    <a:lnTo>
                      <a:pt x="2072" y="4060"/>
                    </a:lnTo>
                    <a:lnTo>
                      <a:pt x="2080" y="4048"/>
                    </a:lnTo>
                    <a:lnTo>
                      <a:pt x="2086" y="4042"/>
                    </a:lnTo>
                    <a:lnTo>
                      <a:pt x="2092" y="4038"/>
                    </a:lnTo>
                    <a:lnTo>
                      <a:pt x="2092" y="4038"/>
                    </a:lnTo>
                    <a:lnTo>
                      <a:pt x="2106" y="4032"/>
                    </a:lnTo>
                    <a:lnTo>
                      <a:pt x="2112" y="4028"/>
                    </a:lnTo>
                    <a:lnTo>
                      <a:pt x="2118" y="4024"/>
                    </a:lnTo>
                    <a:lnTo>
                      <a:pt x="2122" y="4016"/>
                    </a:lnTo>
                    <a:lnTo>
                      <a:pt x="2124" y="4008"/>
                    </a:lnTo>
                    <a:lnTo>
                      <a:pt x="2126" y="3998"/>
                    </a:lnTo>
                    <a:lnTo>
                      <a:pt x="2122" y="3986"/>
                    </a:lnTo>
                    <a:lnTo>
                      <a:pt x="2122" y="3986"/>
                    </a:lnTo>
                    <a:lnTo>
                      <a:pt x="2128" y="3990"/>
                    </a:lnTo>
                    <a:lnTo>
                      <a:pt x="2130" y="3992"/>
                    </a:lnTo>
                    <a:lnTo>
                      <a:pt x="2132" y="3998"/>
                    </a:lnTo>
                    <a:lnTo>
                      <a:pt x="2132" y="3998"/>
                    </a:lnTo>
                    <a:lnTo>
                      <a:pt x="2132" y="4002"/>
                    </a:lnTo>
                    <a:lnTo>
                      <a:pt x="2136" y="4004"/>
                    </a:lnTo>
                    <a:lnTo>
                      <a:pt x="2138" y="4008"/>
                    </a:lnTo>
                    <a:lnTo>
                      <a:pt x="2140" y="4020"/>
                    </a:lnTo>
                    <a:lnTo>
                      <a:pt x="2140" y="4020"/>
                    </a:lnTo>
                    <a:lnTo>
                      <a:pt x="2144" y="4028"/>
                    </a:lnTo>
                    <a:lnTo>
                      <a:pt x="2146" y="4030"/>
                    </a:lnTo>
                    <a:lnTo>
                      <a:pt x="2148" y="4032"/>
                    </a:lnTo>
                    <a:lnTo>
                      <a:pt x="2152" y="4030"/>
                    </a:lnTo>
                    <a:lnTo>
                      <a:pt x="2156" y="4028"/>
                    </a:lnTo>
                    <a:lnTo>
                      <a:pt x="2156" y="4028"/>
                    </a:lnTo>
                    <a:lnTo>
                      <a:pt x="2158" y="4028"/>
                    </a:lnTo>
                    <a:lnTo>
                      <a:pt x="2158" y="4028"/>
                    </a:lnTo>
                    <a:lnTo>
                      <a:pt x="2156" y="4032"/>
                    </a:lnTo>
                    <a:lnTo>
                      <a:pt x="2152" y="4040"/>
                    </a:lnTo>
                    <a:lnTo>
                      <a:pt x="2150" y="4046"/>
                    </a:lnTo>
                    <a:lnTo>
                      <a:pt x="2150" y="4046"/>
                    </a:lnTo>
                    <a:lnTo>
                      <a:pt x="2150" y="4052"/>
                    </a:lnTo>
                    <a:lnTo>
                      <a:pt x="2154" y="4060"/>
                    </a:lnTo>
                    <a:lnTo>
                      <a:pt x="2156" y="4070"/>
                    </a:lnTo>
                    <a:lnTo>
                      <a:pt x="2158" y="4092"/>
                    </a:lnTo>
                    <a:lnTo>
                      <a:pt x="2158" y="4092"/>
                    </a:lnTo>
                    <a:lnTo>
                      <a:pt x="2160" y="4114"/>
                    </a:lnTo>
                    <a:lnTo>
                      <a:pt x="2164" y="4128"/>
                    </a:lnTo>
                    <a:lnTo>
                      <a:pt x="2168" y="4140"/>
                    </a:lnTo>
                    <a:lnTo>
                      <a:pt x="2172" y="4154"/>
                    </a:lnTo>
                    <a:lnTo>
                      <a:pt x="2172" y="4154"/>
                    </a:lnTo>
                    <a:lnTo>
                      <a:pt x="2172" y="4172"/>
                    </a:lnTo>
                    <a:lnTo>
                      <a:pt x="2174" y="4172"/>
                    </a:lnTo>
                    <a:lnTo>
                      <a:pt x="2174" y="4172"/>
                    </a:lnTo>
                    <a:lnTo>
                      <a:pt x="2176" y="4166"/>
                    </a:lnTo>
                    <a:lnTo>
                      <a:pt x="2178" y="4168"/>
                    </a:lnTo>
                    <a:lnTo>
                      <a:pt x="2180" y="4172"/>
                    </a:lnTo>
                    <a:lnTo>
                      <a:pt x="2180" y="4172"/>
                    </a:lnTo>
                    <a:lnTo>
                      <a:pt x="2184" y="4186"/>
                    </a:lnTo>
                    <a:lnTo>
                      <a:pt x="2188" y="4198"/>
                    </a:lnTo>
                    <a:lnTo>
                      <a:pt x="2190" y="4208"/>
                    </a:lnTo>
                    <a:lnTo>
                      <a:pt x="2192" y="4216"/>
                    </a:lnTo>
                    <a:lnTo>
                      <a:pt x="2192" y="4216"/>
                    </a:lnTo>
                    <a:lnTo>
                      <a:pt x="2194" y="4224"/>
                    </a:lnTo>
                    <a:lnTo>
                      <a:pt x="2192" y="4232"/>
                    </a:lnTo>
                    <a:lnTo>
                      <a:pt x="2192" y="4240"/>
                    </a:lnTo>
                    <a:lnTo>
                      <a:pt x="2192" y="4242"/>
                    </a:lnTo>
                    <a:lnTo>
                      <a:pt x="2194" y="4246"/>
                    </a:lnTo>
                    <a:lnTo>
                      <a:pt x="2194" y="4246"/>
                    </a:lnTo>
                    <a:lnTo>
                      <a:pt x="2194" y="4248"/>
                    </a:lnTo>
                    <a:lnTo>
                      <a:pt x="2194" y="4250"/>
                    </a:lnTo>
                    <a:lnTo>
                      <a:pt x="2192" y="4258"/>
                    </a:lnTo>
                    <a:lnTo>
                      <a:pt x="2190" y="4266"/>
                    </a:lnTo>
                    <a:lnTo>
                      <a:pt x="2192" y="4268"/>
                    </a:lnTo>
                    <a:lnTo>
                      <a:pt x="2196" y="4268"/>
                    </a:lnTo>
                    <a:lnTo>
                      <a:pt x="2196" y="4268"/>
                    </a:lnTo>
                    <a:lnTo>
                      <a:pt x="2198" y="4268"/>
                    </a:lnTo>
                    <a:lnTo>
                      <a:pt x="2200" y="4270"/>
                    </a:lnTo>
                    <a:lnTo>
                      <a:pt x="2200" y="4276"/>
                    </a:lnTo>
                    <a:lnTo>
                      <a:pt x="2196" y="4286"/>
                    </a:lnTo>
                    <a:lnTo>
                      <a:pt x="2196" y="4298"/>
                    </a:lnTo>
                    <a:lnTo>
                      <a:pt x="2196" y="4298"/>
                    </a:lnTo>
                    <a:lnTo>
                      <a:pt x="2194" y="4306"/>
                    </a:lnTo>
                    <a:lnTo>
                      <a:pt x="2192" y="4310"/>
                    </a:lnTo>
                    <a:lnTo>
                      <a:pt x="2190" y="4320"/>
                    </a:lnTo>
                    <a:lnTo>
                      <a:pt x="2188" y="4344"/>
                    </a:lnTo>
                    <a:lnTo>
                      <a:pt x="2188" y="4344"/>
                    </a:lnTo>
                    <a:lnTo>
                      <a:pt x="2188" y="4352"/>
                    </a:lnTo>
                    <a:lnTo>
                      <a:pt x="2190" y="4352"/>
                    </a:lnTo>
                    <a:lnTo>
                      <a:pt x="2190" y="4352"/>
                    </a:lnTo>
                    <a:lnTo>
                      <a:pt x="2198" y="4336"/>
                    </a:lnTo>
                    <a:lnTo>
                      <a:pt x="2198" y="4336"/>
                    </a:lnTo>
                    <a:lnTo>
                      <a:pt x="2198" y="4340"/>
                    </a:lnTo>
                    <a:lnTo>
                      <a:pt x="2198" y="4346"/>
                    </a:lnTo>
                    <a:lnTo>
                      <a:pt x="2190" y="4360"/>
                    </a:lnTo>
                    <a:lnTo>
                      <a:pt x="2190" y="4360"/>
                    </a:lnTo>
                    <a:lnTo>
                      <a:pt x="2186" y="4368"/>
                    </a:lnTo>
                    <a:lnTo>
                      <a:pt x="2188" y="4372"/>
                    </a:lnTo>
                    <a:lnTo>
                      <a:pt x="2188" y="4374"/>
                    </a:lnTo>
                    <a:lnTo>
                      <a:pt x="2186" y="4380"/>
                    </a:lnTo>
                    <a:lnTo>
                      <a:pt x="2186" y="4380"/>
                    </a:lnTo>
                    <a:lnTo>
                      <a:pt x="2182" y="4390"/>
                    </a:lnTo>
                    <a:lnTo>
                      <a:pt x="2182" y="4396"/>
                    </a:lnTo>
                    <a:lnTo>
                      <a:pt x="2182" y="4400"/>
                    </a:lnTo>
                    <a:lnTo>
                      <a:pt x="2180" y="4406"/>
                    </a:lnTo>
                    <a:lnTo>
                      <a:pt x="2180" y="4406"/>
                    </a:lnTo>
                    <a:lnTo>
                      <a:pt x="2178" y="4416"/>
                    </a:lnTo>
                    <a:lnTo>
                      <a:pt x="2176" y="4426"/>
                    </a:lnTo>
                    <a:lnTo>
                      <a:pt x="2178" y="4434"/>
                    </a:lnTo>
                    <a:lnTo>
                      <a:pt x="2180" y="4440"/>
                    </a:lnTo>
                    <a:lnTo>
                      <a:pt x="2180" y="4440"/>
                    </a:lnTo>
                    <a:lnTo>
                      <a:pt x="2182" y="4442"/>
                    </a:lnTo>
                    <a:lnTo>
                      <a:pt x="2184" y="4442"/>
                    </a:lnTo>
                    <a:lnTo>
                      <a:pt x="2186" y="4438"/>
                    </a:lnTo>
                    <a:lnTo>
                      <a:pt x="2190" y="4432"/>
                    </a:lnTo>
                    <a:lnTo>
                      <a:pt x="2190" y="4430"/>
                    </a:lnTo>
                    <a:lnTo>
                      <a:pt x="2192" y="4430"/>
                    </a:lnTo>
                    <a:lnTo>
                      <a:pt x="2192" y="4430"/>
                    </a:lnTo>
                    <a:lnTo>
                      <a:pt x="2198" y="4438"/>
                    </a:lnTo>
                    <a:lnTo>
                      <a:pt x="2204" y="4450"/>
                    </a:lnTo>
                    <a:lnTo>
                      <a:pt x="2210" y="4464"/>
                    </a:lnTo>
                    <a:lnTo>
                      <a:pt x="2220" y="4480"/>
                    </a:lnTo>
                    <a:lnTo>
                      <a:pt x="2220" y="4480"/>
                    </a:lnTo>
                    <a:lnTo>
                      <a:pt x="2224" y="4484"/>
                    </a:lnTo>
                    <a:lnTo>
                      <a:pt x="2228" y="4484"/>
                    </a:lnTo>
                    <a:lnTo>
                      <a:pt x="2232" y="4486"/>
                    </a:lnTo>
                    <a:lnTo>
                      <a:pt x="2234" y="4488"/>
                    </a:lnTo>
                    <a:lnTo>
                      <a:pt x="2234" y="4488"/>
                    </a:lnTo>
                    <a:lnTo>
                      <a:pt x="2234" y="4494"/>
                    </a:lnTo>
                    <a:lnTo>
                      <a:pt x="2234" y="4498"/>
                    </a:lnTo>
                    <a:lnTo>
                      <a:pt x="2236" y="4502"/>
                    </a:lnTo>
                    <a:lnTo>
                      <a:pt x="2238" y="4508"/>
                    </a:lnTo>
                    <a:lnTo>
                      <a:pt x="2238" y="4508"/>
                    </a:lnTo>
                    <a:lnTo>
                      <a:pt x="2248" y="4516"/>
                    </a:lnTo>
                    <a:lnTo>
                      <a:pt x="2254" y="4526"/>
                    </a:lnTo>
                    <a:lnTo>
                      <a:pt x="2254" y="4526"/>
                    </a:lnTo>
                    <a:lnTo>
                      <a:pt x="2258" y="4536"/>
                    </a:lnTo>
                    <a:lnTo>
                      <a:pt x="2262" y="4544"/>
                    </a:lnTo>
                    <a:lnTo>
                      <a:pt x="2266" y="4562"/>
                    </a:lnTo>
                    <a:lnTo>
                      <a:pt x="2266" y="4578"/>
                    </a:lnTo>
                    <a:lnTo>
                      <a:pt x="2266" y="4588"/>
                    </a:lnTo>
                    <a:lnTo>
                      <a:pt x="2266" y="4588"/>
                    </a:lnTo>
                    <a:lnTo>
                      <a:pt x="2264" y="4592"/>
                    </a:lnTo>
                    <a:lnTo>
                      <a:pt x="2264" y="4596"/>
                    </a:lnTo>
                    <a:lnTo>
                      <a:pt x="2268" y="4600"/>
                    </a:lnTo>
                    <a:lnTo>
                      <a:pt x="2270" y="4602"/>
                    </a:lnTo>
                    <a:lnTo>
                      <a:pt x="2272" y="4606"/>
                    </a:lnTo>
                    <a:lnTo>
                      <a:pt x="2274" y="4612"/>
                    </a:lnTo>
                    <a:lnTo>
                      <a:pt x="2272" y="4622"/>
                    </a:lnTo>
                    <a:lnTo>
                      <a:pt x="2272" y="4622"/>
                    </a:lnTo>
                    <a:lnTo>
                      <a:pt x="2272" y="4634"/>
                    </a:lnTo>
                    <a:lnTo>
                      <a:pt x="2276" y="4638"/>
                    </a:lnTo>
                    <a:lnTo>
                      <a:pt x="2278" y="4640"/>
                    </a:lnTo>
                    <a:lnTo>
                      <a:pt x="2278" y="4644"/>
                    </a:lnTo>
                    <a:lnTo>
                      <a:pt x="2278" y="4644"/>
                    </a:lnTo>
                    <a:lnTo>
                      <a:pt x="2278" y="4648"/>
                    </a:lnTo>
                    <a:lnTo>
                      <a:pt x="2282" y="4654"/>
                    </a:lnTo>
                    <a:lnTo>
                      <a:pt x="2292" y="4666"/>
                    </a:lnTo>
                    <a:lnTo>
                      <a:pt x="2296" y="4672"/>
                    </a:lnTo>
                    <a:lnTo>
                      <a:pt x="2300" y="4680"/>
                    </a:lnTo>
                    <a:lnTo>
                      <a:pt x="2302" y="4688"/>
                    </a:lnTo>
                    <a:lnTo>
                      <a:pt x="2302" y="4696"/>
                    </a:lnTo>
                    <a:lnTo>
                      <a:pt x="2302" y="4696"/>
                    </a:lnTo>
                    <a:lnTo>
                      <a:pt x="2302" y="4700"/>
                    </a:lnTo>
                    <a:lnTo>
                      <a:pt x="2302" y="4702"/>
                    </a:lnTo>
                    <a:lnTo>
                      <a:pt x="2308" y="4708"/>
                    </a:lnTo>
                    <a:lnTo>
                      <a:pt x="2320" y="4716"/>
                    </a:lnTo>
                    <a:lnTo>
                      <a:pt x="2330" y="4724"/>
                    </a:lnTo>
                    <a:lnTo>
                      <a:pt x="2344" y="4736"/>
                    </a:lnTo>
                    <a:lnTo>
                      <a:pt x="2344" y="4736"/>
                    </a:lnTo>
                    <a:lnTo>
                      <a:pt x="2354" y="4746"/>
                    </a:lnTo>
                    <a:lnTo>
                      <a:pt x="2364" y="4754"/>
                    </a:lnTo>
                    <a:lnTo>
                      <a:pt x="2376" y="4760"/>
                    </a:lnTo>
                    <a:lnTo>
                      <a:pt x="2382" y="4764"/>
                    </a:lnTo>
                    <a:lnTo>
                      <a:pt x="2384" y="4766"/>
                    </a:lnTo>
                    <a:lnTo>
                      <a:pt x="2386" y="4770"/>
                    </a:lnTo>
                    <a:lnTo>
                      <a:pt x="2386" y="4770"/>
                    </a:lnTo>
                    <a:lnTo>
                      <a:pt x="2390" y="4776"/>
                    </a:lnTo>
                    <a:lnTo>
                      <a:pt x="2392" y="4774"/>
                    </a:lnTo>
                    <a:lnTo>
                      <a:pt x="2396" y="4770"/>
                    </a:lnTo>
                    <a:lnTo>
                      <a:pt x="2400" y="4770"/>
                    </a:lnTo>
                    <a:lnTo>
                      <a:pt x="2404" y="4770"/>
                    </a:lnTo>
                    <a:lnTo>
                      <a:pt x="2404" y="4770"/>
                    </a:lnTo>
                    <a:lnTo>
                      <a:pt x="2408" y="4770"/>
                    </a:lnTo>
                    <a:lnTo>
                      <a:pt x="2410" y="4768"/>
                    </a:lnTo>
                    <a:lnTo>
                      <a:pt x="2410" y="4764"/>
                    </a:lnTo>
                    <a:lnTo>
                      <a:pt x="2414" y="4764"/>
                    </a:lnTo>
                    <a:lnTo>
                      <a:pt x="2414" y="4764"/>
                    </a:lnTo>
                    <a:lnTo>
                      <a:pt x="2416" y="4766"/>
                    </a:lnTo>
                    <a:lnTo>
                      <a:pt x="2414" y="4770"/>
                    </a:lnTo>
                    <a:lnTo>
                      <a:pt x="2414" y="4772"/>
                    </a:lnTo>
                    <a:lnTo>
                      <a:pt x="2418" y="4774"/>
                    </a:lnTo>
                    <a:lnTo>
                      <a:pt x="2418" y="4774"/>
                    </a:lnTo>
                    <a:lnTo>
                      <a:pt x="2420" y="4774"/>
                    </a:lnTo>
                    <a:lnTo>
                      <a:pt x="2422" y="4772"/>
                    </a:lnTo>
                    <a:lnTo>
                      <a:pt x="2422" y="4766"/>
                    </a:lnTo>
                    <a:lnTo>
                      <a:pt x="2420" y="4756"/>
                    </a:lnTo>
                    <a:lnTo>
                      <a:pt x="2416" y="4750"/>
                    </a:lnTo>
                    <a:lnTo>
                      <a:pt x="2416" y="4750"/>
                    </a:lnTo>
                    <a:lnTo>
                      <a:pt x="2414" y="4744"/>
                    </a:lnTo>
                    <a:lnTo>
                      <a:pt x="2412" y="4740"/>
                    </a:lnTo>
                    <a:lnTo>
                      <a:pt x="2410" y="4730"/>
                    </a:lnTo>
                    <a:lnTo>
                      <a:pt x="2406" y="4718"/>
                    </a:lnTo>
                    <a:lnTo>
                      <a:pt x="2402" y="4714"/>
                    </a:lnTo>
                    <a:lnTo>
                      <a:pt x="2398" y="4708"/>
                    </a:lnTo>
                    <a:lnTo>
                      <a:pt x="2398" y="4708"/>
                    </a:lnTo>
                    <a:lnTo>
                      <a:pt x="2392" y="4704"/>
                    </a:lnTo>
                    <a:lnTo>
                      <a:pt x="2388" y="4698"/>
                    </a:lnTo>
                    <a:lnTo>
                      <a:pt x="2388" y="4690"/>
                    </a:lnTo>
                    <a:lnTo>
                      <a:pt x="2388" y="4684"/>
                    </a:lnTo>
                    <a:lnTo>
                      <a:pt x="2390" y="4672"/>
                    </a:lnTo>
                    <a:lnTo>
                      <a:pt x="2390" y="4668"/>
                    </a:lnTo>
                    <a:lnTo>
                      <a:pt x="2386" y="4664"/>
                    </a:lnTo>
                    <a:lnTo>
                      <a:pt x="2386" y="4664"/>
                    </a:lnTo>
                    <a:lnTo>
                      <a:pt x="2384" y="4658"/>
                    </a:lnTo>
                    <a:lnTo>
                      <a:pt x="2386" y="4654"/>
                    </a:lnTo>
                    <a:lnTo>
                      <a:pt x="2386" y="4648"/>
                    </a:lnTo>
                    <a:lnTo>
                      <a:pt x="2388" y="4642"/>
                    </a:lnTo>
                    <a:lnTo>
                      <a:pt x="2388" y="4642"/>
                    </a:lnTo>
                    <a:lnTo>
                      <a:pt x="2388" y="4636"/>
                    </a:lnTo>
                    <a:lnTo>
                      <a:pt x="2388" y="4628"/>
                    </a:lnTo>
                    <a:lnTo>
                      <a:pt x="2390" y="4616"/>
                    </a:lnTo>
                    <a:lnTo>
                      <a:pt x="2386" y="4600"/>
                    </a:lnTo>
                    <a:lnTo>
                      <a:pt x="2386" y="4600"/>
                    </a:lnTo>
                    <a:lnTo>
                      <a:pt x="2384" y="4592"/>
                    </a:lnTo>
                    <a:lnTo>
                      <a:pt x="2378" y="4584"/>
                    </a:lnTo>
                    <a:lnTo>
                      <a:pt x="2366" y="4570"/>
                    </a:lnTo>
                    <a:lnTo>
                      <a:pt x="2354" y="4558"/>
                    </a:lnTo>
                    <a:lnTo>
                      <a:pt x="2350" y="4552"/>
                    </a:lnTo>
                    <a:lnTo>
                      <a:pt x="2348" y="4546"/>
                    </a:lnTo>
                    <a:lnTo>
                      <a:pt x="2348" y="4546"/>
                    </a:lnTo>
                    <a:lnTo>
                      <a:pt x="2344" y="4540"/>
                    </a:lnTo>
                    <a:lnTo>
                      <a:pt x="2342" y="4538"/>
                    </a:lnTo>
                    <a:lnTo>
                      <a:pt x="2334" y="4536"/>
                    </a:lnTo>
                    <a:lnTo>
                      <a:pt x="2334" y="4536"/>
                    </a:lnTo>
                    <a:lnTo>
                      <a:pt x="2324" y="4526"/>
                    </a:lnTo>
                    <a:lnTo>
                      <a:pt x="2310" y="4508"/>
                    </a:lnTo>
                    <a:lnTo>
                      <a:pt x="2310" y="4508"/>
                    </a:lnTo>
                    <a:lnTo>
                      <a:pt x="2306" y="4502"/>
                    </a:lnTo>
                    <a:lnTo>
                      <a:pt x="2304" y="4502"/>
                    </a:lnTo>
                    <a:lnTo>
                      <a:pt x="2300" y="4504"/>
                    </a:lnTo>
                    <a:lnTo>
                      <a:pt x="2296" y="4504"/>
                    </a:lnTo>
                    <a:lnTo>
                      <a:pt x="2292" y="4504"/>
                    </a:lnTo>
                    <a:lnTo>
                      <a:pt x="2286" y="4500"/>
                    </a:lnTo>
                    <a:lnTo>
                      <a:pt x="2276" y="4494"/>
                    </a:lnTo>
                    <a:lnTo>
                      <a:pt x="2276" y="4494"/>
                    </a:lnTo>
                    <a:lnTo>
                      <a:pt x="2272" y="4486"/>
                    </a:lnTo>
                    <a:lnTo>
                      <a:pt x="2270" y="4476"/>
                    </a:lnTo>
                    <a:lnTo>
                      <a:pt x="2264" y="4454"/>
                    </a:lnTo>
                    <a:lnTo>
                      <a:pt x="2262" y="4434"/>
                    </a:lnTo>
                    <a:lnTo>
                      <a:pt x="2260" y="4428"/>
                    </a:lnTo>
                    <a:lnTo>
                      <a:pt x="2258" y="4426"/>
                    </a:lnTo>
                    <a:lnTo>
                      <a:pt x="2258" y="4426"/>
                    </a:lnTo>
                    <a:lnTo>
                      <a:pt x="2258" y="4426"/>
                    </a:lnTo>
                    <a:lnTo>
                      <a:pt x="2254" y="4426"/>
                    </a:lnTo>
                    <a:lnTo>
                      <a:pt x="2252" y="4424"/>
                    </a:lnTo>
                    <a:lnTo>
                      <a:pt x="2248" y="4416"/>
                    </a:lnTo>
                    <a:lnTo>
                      <a:pt x="2244" y="4402"/>
                    </a:lnTo>
                    <a:lnTo>
                      <a:pt x="2244" y="4388"/>
                    </a:lnTo>
                    <a:lnTo>
                      <a:pt x="2244" y="4388"/>
                    </a:lnTo>
                    <a:lnTo>
                      <a:pt x="2242" y="4386"/>
                    </a:lnTo>
                    <a:lnTo>
                      <a:pt x="2240" y="4384"/>
                    </a:lnTo>
                    <a:lnTo>
                      <a:pt x="2230" y="4388"/>
                    </a:lnTo>
                    <a:lnTo>
                      <a:pt x="2226" y="4390"/>
                    </a:lnTo>
                    <a:lnTo>
                      <a:pt x="2222" y="4390"/>
                    </a:lnTo>
                    <a:lnTo>
                      <a:pt x="2220" y="4388"/>
                    </a:lnTo>
                    <a:lnTo>
                      <a:pt x="2220" y="4382"/>
                    </a:lnTo>
                    <a:lnTo>
                      <a:pt x="2220" y="4382"/>
                    </a:lnTo>
                    <a:lnTo>
                      <a:pt x="2218" y="4352"/>
                    </a:lnTo>
                    <a:lnTo>
                      <a:pt x="2218" y="4330"/>
                    </a:lnTo>
                    <a:lnTo>
                      <a:pt x="2220" y="4320"/>
                    </a:lnTo>
                    <a:lnTo>
                      <a:pt x="2224" y="4316"/>
                    </a:lnTo>
                    <a:lnTo>
                      <a:pt x="2224" y="4316"/>
                    </a:lnTo>
                    <a:lnTo>
                      <a:pt x="2226" y="4310"/>
                    </a:lnTo>
                    <a:lnTo>
                      <a:pt x="2228" y="4306"/>
                    </a:lnTo>
                    <a:lnTo>
                      <a:pt x="2232" y="4296"/>
                    </a:lnTo>
                    <a:lnTo>
                      <a:pt x="2234" y="4284"/>
                    </a:lnTo>
                    <a:lnTo>
                      <a:pt x="2236" y="4274"/>
                    </a:lnTo>
                    <a:lnTo>
                      <a:pt x="2236" y="4274"/>
                    </a:lnTo>
                    <a:lnTo>
                      <a:pt x="2242" y="4258"/>
                    </a:lnTo>
                    <a:lnTo>
                      <a:pt x="2248" y="4232"/>
                    </a:lnTo>
                    <a:lnTo>
                      <a:pt x="2252" y="4208"/>
                    </a:lnTo>
                    <a:lnTo>
                      <a:pt x="2252" y="4200"/>
                    </a:lnTo>
                    <a:lnTo>
                      <a:pt x="2252" y="4196"/>
                    </a:lnTo>
                    <a:lnTo>
                      <a:pt x="2252" y="4196"/>
                    </a:lnTo>
                    <a:lnTo>
                      <a:pt x="2248" y="4192"/>
                    </a:lnTo>
                    <a:lnTo>
                      <a:pt x="2248" y="4190"/>
                    </a:lnTo>
                    <a:lnTo>
                      <a:pt x="2248" y="4186"/>
                    </a:lnTo>
                    <a:lnTo>
                      <a:pt x="2250" y="4184"/>
                    </a:lnTo>
                    <a:lnTo>
                      <a:pt x="2252" y="4180"/>
                    </a:lnTo>
                    <a:lnTo>
                      <a:pt x="2256" y="4178"/>
                    </a:lnTo>
                    <a:lnTo>
                      <a:pt x="2272" y="4176"/>
                    </a:lnTo>
                    <a:lnTo>
                      <a:pt x="2272" y="4176"/>
                    </a:lnTo>
                    <a:lnTo>
                      <a:pt x="2278" y="4178"/>
                    </a:lnTo>
                    <a:lnTo>
                      <a:pt x="2282" y="4180"/>
                    </a:lnTo>
                    <a:lnTo>
                      <a:pt x="2286" y="4182"/>
                    </a:lnTo>
                    <a:lnTo>
                      <a:pt x="2286" y="4184"/>
                    </a:lnTo>
                    <a:lnTo>
                      <a:pt x="2284" y="4194"/>
                    </a:lnTo>
                    <a:lnTo>
                      <a:pt x="2282" y="4210"/>
                    </a:lnTo>
                    <a:lnTo>
                      <a:pt x="2282" y="4210"/>
                    </a:lnTo>
                    <a:lnTo>
                      <a:pt x="2282" y="4220"/>
                    </a:lnTo>
                    <a:lnTo>
                      <a:pt x="2284" y="4222"/>
                    </a:lnTo>
                    <a:lnTo>
                      <a:pt x="2286" y="4222"/>
                    </a:lnTo>
                    <a:lnTo>
                      <a:pt x="2292" y="4222"/>
                    </a:lnTo>
                    <a:lnTo>
                      <a:pt x="2296" y="4222"/>
                    </a:lnTo>
                    <a:lnTo>
                      <a:pt x="2300" y="4222"/>
                    </a:lnTo>
                    <a:lnTo>
                      <a:pt x="2300" y="4222"/>
                    </a:lnTo>
                    <a:lnTo>
                      <a:pt x="2304" y="4224"/>
                    </a:lnTo>
                    <a:lnTo>
                      <a:pt x="2306" y="4224"/>
                    </a:lnTo>
                    <a:lnTo>
                      <a:pt x="2310" y="4220"/>
                    </a:lnTo>
                    <a:lnTo>
                      <a:pt x="2316" y="4218"/>
                    </a:lnTo>
                    <a:lnTo>
                      <a:pt x="2318" y="4218"/>
                    </a:lnTo>
                    <a:lnTo>
                      <a:pt x="2322" y="4220"/>
                    </a:lnTo>
                    <a:lnTo>
                      <a:pt x="2322" y="4220"/>
                    </a:lnTo>
                    <a:lnTo>
                      <a:pt x="2330" y="4228"/>
                    </a:lnTo>
                    <a:lnTo>
                      <a:pt x="2336" y="4236"/>
                    </a:lnTo>
                    <a:lnTo>
                      <a:pt x="2342" y="4244"/>
                    </a:lnTo>
                    <a:lnTo>
                      <a:pt x="2346" y="4246"/>
                    </a:lnTo>
                    <a:lnTo>
                      <a:pt x="2350" y="4248"/>
                    </a:lnTo>
                    <a:lnTo>
                      <a:pt x="2350" y="4248"/>
                    </a:lnTo>
                    <a:lnTo>
                      <a:pt x="2354" y="4250"/>
                    </a:lnTo>
                    <a:lnTo>
                      <a:pt x="2356" y="4252"/>
                    </a:lnTo>
                    <a:lnTo>
                      <a:pt x="2360" y="4258"/>
                    </a:lnTo>
                    <a:lnTo>
                      <a:pt x="2362" y="4266"/>
                    </a:lnTo>
                    <a:lnTo>
                      <a:pt x="2364" y="4268"/>
                    </a:lnTo>
                    <a:lnTo>
                      <a:pt x="2368" y="4268"/>
                    </a:lnTo>
                    <a:lnTo>
                      <a:pt x="2368" y="4268"/>
                    </a:lnTo>
                    <a:lnTo>
                      <a:pt x="2362" y="4256"/>
                    </a:lnTo>
                    <a:lnTo>
                      <a:pt x="2362" y="4246"/>
                    </a:lnTo>
                    <a:lnTo>
                      <a:pt x="2362" y="4246"/>
                    </a:lnTo>
                    <a:lnTo>
                      <a:pt x="2362" y="4256"/>
                    </a:lnTo>
                    <a:lnTo>
                      <a:pt x="2368" y="4268"/>
                    </a:lnTo>
                    <a:lnTo>
                      <a:pt x="2368" y="4268"/>
                    </a:lnTo>
                    <a:lnTo>
                      <a:pt x="2374" y="4280"/>
                    </a:lnTo>
                    <a:lnTo>
                      <a:pt x="2376" y="4286"/>
                    </a:lnTo>
                    <a:lnTo>
                      <a:pt x="2374" y="4292"/>
                    </a:lnTo>
                    <a:lnTo>
                      <a:pt x="2374" y="4300"/>
                    </a:lnTo>
                    <a:lnTo>
                      <a:pt x="2374" y="4300"/>
                    </a:lnTo>
                    <a:lnTo>
                      <a:pt x="2376" y="4310"/>
                    </a:lnTo>
                    <a:lnTo>
                      <a:pt x="2376" y="4310"/>
                    </a:lnTo>
                    <a:lnTo>
                      <a:pt x="2378" y="4310"/>
                    </a:lnTo>
                    <a:lnTo>
                      <a:pt x="2380" y="4308"/>
                    </a:lnTo>
                    <a:lnTo>
                      <a:pt x="2386" y="4308"/>
                    </a:lnTo>
                    <a:lnTo>
                      <a:pt x="2386" y="4308"/>
                    </a:lnTo>
                    <a:lnTo>
                      <a:pt x="2388" y="4308"/>
                    </a:lnTo>
                    <a:lnTo>
                      <a:pt x="2388" y="4304"/>
                    </a:lnTo>
                    <a:lnTo>
                      <a:pt x="2388" y="4298"/>
                    </a:lnTo>
                    <a:lnTo>
                      <a:pt x="2388" y="4296"/>
                    </a:lnTo>
                    <a:lnTo>
                      <a:pt x="2390" y="4294"/>
                    </a:lnTo>
                    <a:lnTo>
                      <a:pt x="2392" y="4296"/>
                    </a:lnTo>
                    <a:lnTo>
                      <a:pt x="2396" y="4300"/>
                    </a:lnTo>
                    <a:lnTo>
                      <a:pt x="2396" y="4300"/>
                    </a:lnTo>
                    <a:lnTo>
                      <a:pt x="2398" y="4304"/>
                    </a:lnTo>
                    <a:lnTo>
                      <a:pt x="2398" y="4308"/>
                    </a:lnTo>
                    <a:lnTo>
                      <a:pt x="2394" y="4314"/>
                    </a:lnTo>
                    <a:lnTo>
                      <a:pt x="2390" y="4320"/>
                    </a:lnTo>
                    <a:lnTo>
                      <a:pt x="2390" y="4322"/>
                    </a:lnTo>
                    <a:lnTo>
                      <a:pt x="2392" y="4324"/>
                    </a:lnTo>
                    <a:lnTo>
                      <a:pt x="2392" y="4324"/>
                    </a:lnTo>
                    <a:lnTo>
                      <a:pt x="2396" y="4326"/>
                    </a:lnTo>
                    <a:lnTo>
                      <a:pt x="2398" y="4326"/>
                    </a:lnTo>
                    <a:lnTo>
                      <a:pt x="2402" y="4324"/>
                    </a:lnTo>
                    <a:lnTo>
                      <a:pt x="2404" y="4322"/>
                    </a:lnTo>
                    <a:lnTo>
                      <a:pt x="2406" y="4320"/>
                    </a:lnTo>
                    <a:lnTo>
                      <a:pt x="2406" y="4322"/>
                    </a:lnTo>
                    <a:lnTo>
                      <a:pt x="2406" y="4322"/>
                    </a:lnTo>
                    <a:lnTo>
                      <a:pt x="2412" y="4324"/>
                    </a:lnTo>
                    <a:lnTo>
                      <a:pt x="2416" y="4324"/>
                    </a:lnTo>
                    <a:lnTo>
                      <a:pt x="2422" y="4326"/>
                    </a:lnTo>
                    <a:lnTo>
                      <a:pt x="2424" y="4328"/>
                    </a:lnTo>
                    <a:lnTo>
                      <a:pt x="2428" y="4334"/>
                    </a:lnTo>
                    <a:lnTo>
                      <a:pt x="2428" y="4334"/>
                    </a:lnTo>
                    <a:lnTo>
                      <a:pt x="2430" y="4340"/>
                    </a:lnTo>
                    <a:lnTo>
                      <a:pt x="2434" y="4344"/>
                    </a:lnTo>
                    <a:lnTo>
                      <a:pt x="2436" y="4344"/>
                    </a:lnTo>
                    <a:lnTo>
                      <a:pt x="2438" y="4344"/>
                    </a:lnTo>
                    <a:lnTo>
                      <a:pt x="2444" y="4342"/>
                    </a:lnTo>
                    <a:lnTo>
                      <a:pt x="2446" y="4342"/>
                    </a:lnTo>
                    <a:lnTo>
                      <a:pt x="2450" y="4346"/>
                    </a:lnTo>
                    <a:lnTo>
                      <a:pt x="2450" y="4346"/>
                    </a:lnTo>
                    <a:lnTo>
                      <a:pt x="2452" y="4350"/>
                    </a:lnTo>
                    <a:lnTo>
                      <a:pt x="2452" y="4352"/>
                    </a:lnTo>
                    <a:lnTo>
                      <a:pt x="2448" y="4360"/>
                    </a:lnTo>
                    <a:lnTo>
                      <a:pt x="2444" y="4370"/>
                    </a:lnTo>
                    <a:lnTo>
                      <a:pt x="2442" y="4378"/>
                    </a:lnTo>
                    <a:lnTo>
                      <a:pt x="2440" y="4388"/>
                    </a:lnTo>
                    <a:lnTo>
                      <a:pt x="2440" y="4388"/>
                    </a:lnTo>
                    <a:lnTo>
                      <a:pt x="2440" y="4410"/>
                    </a:lnTo>
                    <a:lnTo>
                      <a:pt x="2442" y="4422"/>
                    </a:lnTo>
                    <a:lnTo>
                      <a:pt x="2444" y="4424"/>
                    </a:lnTo>
                    <a:lnTo>
                      <a:pt x="2446" y="4424"/>
                    </a:lnTo>
                    <a:lnTo>
                      <a:pt x="2450" y="4422"/>
                    </a:lnTo>
                    <a:lnTo>
                      <a:pt x="2456" y="4416"/>
                    </a:lnTo>
                    <a:lnTo>
                      <a:pt x="2456" y="4416"/>
                    </a:lnTo>
                    <a:lnTo>
                      <a:pt x="2478" y="4396"/>
                    </a:lnTo>
                    <a:lnTo>
                      <a:pt x="2488" y="4388"/>
                    </a:lnTo>
                    <a:lnTo>
                      <a:pt x="2496" y="4384"/>
                    </a:lnTo>
                    <a:lnTo>
                      <a:pt x="2496" y="4384"/>
                    </a:lnTo>
                    <a:lnTo>
                      <a:pt x="2500" y="4382"/>
                    </a:lnTo>
                    <a:lnTo>
                      <a:pt x="2502" y="4380"/>
                    </a:lnTo>
                    <a:lnTo>
                      <a:pt x="2502" y="4376"/>
                    </a:lnTo>
                    <a:lnTo>
                      <a:pt x="2502" y="4374"/>
                    </a:lnTo>
                    <a:lnTo>
                      <a:pt x="2508" y="4372"/>
                    </a:lnTo>
                    <a:lnTo>
                      <a:pt x="2508" y="4372"/>
                    </a:lnTo>
                    <a:lnTo>
                      <a:pt x="2512" y="4370"/>
                    </a:lnTo>
                    <a:lnTo>
                      <a:pt x="2516" y="4364"/>
                    </a:lnTo>
                    <a:lnTo>
                      <a:pt x="2520" y="4346"/>
                    </a:lnTo>
                    <a:lnTo>
                      <a:pt x="2524" y="4328"/>
                    </a:lnTo>
                    <a:lnTo>
                      <a:pt x="2526" y="4324"/>
                    </a:lnTo>
                    <a:lnTo>
                      <a:pt x="2526" y="4322"/>
                    </a:lnTo>
                    <a:lnTo>
                      <a:pt x="2528" y="4324"/>
                    </a:lnTo>
                    <a:lnTo>
                      <a:pt x="2528" y="4324"/>
                    </a:lnTo>
                    <a:lnTo>
                      <a:pt x="2534" y="4328"/>
                    </a:lnTo>
                    <a:lnTo>
                      <a:pt x="2536" y="4330"/>
                    </a:lnTo>
                    <a:lnTo>
                      <a:pt x="2538" y="4332"/>
                    </a:lnTo>
                    <a:lnTo>
                      <a:pt x="2544" y="4332"/>
                    </a:lnTo>
                    <a:lnTo>
                      <a:pt x="2548" y="4330"/>
                    </a:lnTo>
                    <a:lnTo>
                      <a:pt x="2556" y="4326"/>
                    </a:lnTo>
                    <a:lnTo>
                      <a:pt x="2566" y="4318"/>
                    </a:lnTo>
                    <a:lnTo>
                      <a:pt x="2566" y="4318"/>
                    </a:lnTo>
                    <a:lnTo>
                      <a:pt x="2576" y="4310"/>
                    </a:lnTo>
                    <a:lnTo>
                      <a:pt x="2584" y="4304"/>
                    </a:lnTo>
                    <a:lnTo>
                      <a:pt x="2598" y="4296"/>
                    </a:lnTo>
                    <a:lnTo>
                      <a:pt x="2604" y="4292"/>
                    </a:lnTo>
                    <a:lnTo>
                      <a:pt x="2610" y="4286"/>
                    </a:lnTo>
                    <a:lnTo>
                      <a:pt x="2614" y="4280"/>
                    </a:lnTo>
                    <a:lnTo>
                      <a:pt x="2618" y="4272"/>
                    </a:lnTo>
                    <a:lnTo>
                      <a:pt x="2618" y="4272"/>
                    </a:lnTo>
                    <a:lnTo>
                      <a:pt x="2622" y="4252"/>
                    </a:lnTo>
                    <a:lnTo>
                      <a:pt x="2622" y="4238"/>
                    </a:lnTo>
                    <a:lnTo>
                      <a:pt x="2624" y="4228"/>
                    </a:lnTo>
                    <a:lnTo>
                      <a:pt x="2624" y="4224"/>
                    </a:lnTo>
                    <a:lnTo>
                      <a:pt x="2626" y="4222"/>
                    </a:lnTo>
                    <a:lnTo>
                      <a:pt x="2626" y="4222"/>
                    </a:lnTo>
                    <a:lnTo>
                      <a:pt x="2628" y="4222"/>
                    </a:lnTo>
                    <a:lnTo>
                      <a:pt x="2630" y="4220"/>
                    </a:lnTo>
                    <a:lnTo>
                      <a:pt x="2630" y="4214"/>
                    </a:lnTo>
                    <a:lnTo>
                      <a:pt x="2628" y="4206"/>
                    </a:lnTo>
                    <a:lnTo>
                      <a:pt x="2624" y="4198"/>
                    </a:lnTo>
                    <a:lnTo>
                      <a:pt x="2624" y="4198"/>
                    </a:lnTo>
                    <a:lnTo>
                      <a:pt x="2622" y="4194"/>
                    </a:lnTo>
                    <a:lnTo>
                      <a:pt x="2622" y="4190"/>
                    </a:lnTo>
                    <a:lnTo>
                      <a:pt x="2624" y="4174"/>
                    </a:lnTo>
                    <a:lnTo>
                      <a:pt x="2624" y="4152"/>
                    </a:lnTo>
                    <a:lnTo>
                      <a:pt x="2622" y="4138"/>
                    </a:lnTo>
                    <a:lnTo>
                      <a:pt x="2616" y="4122"/>
                    </a:lnTo>
                    <a:lnTo>
                      <a:pt x="2616" y="4122"/>
                    </a:lnTo>
                    <a:lnTo>
                      <a:pt x="2606" y="4096"/>
                    </a:lnTo>
                    <a:lnTo>
                      <a:pt x="2598" y="4080"/>
                    </a:lnTo>
                    <a:lnTo>
                      <a:pt x="2590" y="4068"/>
                    </a:lnTo>
                    <a:lnTo>
                      <a:pt x="2584" y="4056"/>
                    </a:lnTo>
                    <a:lnTo>
                      <a:pt x="2584" y="4056"/>
                    </a:lnTo>
                    <a:lnTo>
                      <a:pt x="2580" y="4046"/>
                    </a:lnTo>
                    <a:lnTo>
                      <a:pt x="2572" y="4042"/>
                    </a:lnTo>
                    <a:lnTo>
                      <a:pt x="2562" y="4034"/>
                    </a:lnTo>
                    <a:lnTo>
                      <a:pt x="2548" y="4020"/>
                    </a:lnTo>
                    <a:lnTo>
                      <a:pt x="2548" y="4020"/>
                    </a:lnTo>
                    <a:lnTo>
                      <a:pt x="2534" y="4002"/>
                    </a:lnTo>
                    <a:lnTo>
                      <a:pt x="2522" y="3986"/>
                    </a:lnTo>
                    <a:lnTo>
                      <a:pt x="2514" y="3972"/>
                    </a:lnTo>
                    <a:lnTo>
                      <a:pt x="2510" y="3966"/>
                    </a:lnTo>
                    <a:lnTo>
                      <a:pt x="2510" y="3960"/>
                    </a:lnTo>
                    <a:lnTo>
                      <a:pt x="2510" y="3960"/>
                    </a:lnTo>
                    <a:lnTo>
                      <a:pt x="2508" y="3954"/>
                    </a:lnTo>
                    <a:lnTo>
                      <a:pt x="2506" y="3950"/>
                    </a:lnTo>
                    <a:lnTo>
                      <a:pt x="2500" y="3946"/>
                    </a:lnTo>
                    <a:lnTo>
                      <a:pt x="2492" y="3940"/>
                    </a:lnTo>
                    <a:lnTo>
                      <a:pt x="2486" y="3934"/>
                    </a:lnTo>
                    <a:lnTo>
                      <a:pt x="2482" y="3926"/>
                    </a:lnTo>
                    <a:lnTo>
                      <a:pt x="2482" y="3926"/>
                    </a:lnTo>
                    <a:lnTo>
                      <a:pt x="2478" y="3916"/>
                    </a:lnTo>
                    <a:lnTo>
                      <a:pt x="2478" y="3904"/>
                    </a:lnTo>
                    <a:lnTo>
                      <a:pt x="2480" y="3894"/>
                    </a:lnTo>
                    <a:lnTo>
                      <a:pt x="2482" y="3884"/>
                    </a:lnTo>
                    <a:lnTo>
                      <a:pt x="2486" y="3874"/>
                    </a:lnTo>
                    <a:lnTo>
                      <a:pt x="2492" y="3864"/>
                    </a:lnTo>
                    <a:lnTo>
                      <a:pt x="2498" y="3856"/>
                    </a:lnTo>
                    <a:lnTo>
                      <a:pt x="2506" y="3848"/>
                    </a:lnTo>
                    <a:lnTo>
                      <a:pt x="2506" y="3848"/>
                    </a:lnTo>
                    <a:lnTo>
                      <a:pt x="2512" y="3842"/>
                    </a:lnTo>
                    <a:lnTo>
                      <a:pt x="2516" y="3836"/>
                    </a:lnTo>
                    <a:lnTo>
                      <a:pt x="2518" y="3826"/>
                    </a:lnTo>
                    <a:lnTo>
                      <a:pt x="2520" y="3816"/>
                    </a:lnTo>
                    <a:lnTo>
                      <a:pt x="2522" y="3812"/>
                    </a:lnTo>
                    <a:lnTo>
                      <a:pt x="2526" y="3808"/>
                    </a:lnTo>
                    <a:lnTo>
                      <a:pt x="2526" y="3808"/>
                    </a:lnTo>
                    <a:lnTo>
                      <a:pt x="2532" y="3806"/>
                    </a:lnTo>
                    <a:lnTo>
                      <a:pt x="2534" y="3806"/>
                    </a:lnTo>
                    <a:lnTo>
                      <a:pt x="2536" y="3808"/>
                    </a:lnTo>
                    <a:lnTo>
                      <a:pt x="2540" y="3808"/>
                    </a:lnTo>
                    <a:lnTo>
                      <a:pt x="2540" y="3808"/>
                    </a:lnTo>
                    <a:lnTo>
                      <a:pt x="2544" y="3804"/>
                    </a:lnTo>
                    <a:lnTo>
                      <a:pt x="2546" y="3800"/>
                    </a:lnTo>
                    <a:lnTo>
                      <a:pt x="2548" y="3794"/>
                    </a:lnTo>
                    <a:lnTo>
                      <a:pt x="2554" y="3790"/>
                    </a:lnTo>
                    <a:lnTo>
                      <a:pt x="2554" y="3790"/>
                    </a:lnTo>
                    <a:lnTo>
                      <a:pt x="2562" y="3784"/>
                    </a:lnTo>
                    <a:lnTo>
                      <a:pt x="2568" y="3782"/>
                    </a:lnTo>
                    <a:lnTo>
                      <a:pt x="2572" y="3782"/>
                    </a:lnTo>
                    <a:lnTo>
                      <a:pt x="2574" y="3778"/>
                    </a:lnTo>
                    <a:lnTo>
                      <a:pt x="2574" y="3778"/>
                    </a:lnTo>
                    <a:lnTo>
                      <a:pt x="2576" y="3780"/>
                    </a:lnTo>
                    <a:lnTo>
                      <a:pt x="2578" y="3780"/>
                    </a:lnTo>
                    <a:lnTo>
                      <a:pt x="2582" y="3780"/>
                    </a:lnTo>
                    <a:lnTo>
                      <a:pt x="2584" y="3776"/>
                    </a:lnTo>
                    <a:lnTo>
                      <a:pt x="2584" y="3776"/>
                    </a:lnTo>
                    <a:lnTo>
                      <a:pt x="2584" y="3774"/>
                    </a:lnTo>
                    <a:lnTo>
                      <a:pt x="2586" y="3776"/>
                    </a:lnTo>
                    <a:lnTo>
                      <a:pt x="2590" y="3778"/>
                    </a:lnTo>
                    <a:lnTo>
                      <a:pt x="2592" y="3778"/>
                    </a:lnTo>
                    <a:lnTo>
                      <a:pt x="2592" y="3778"/>
                    </a:lnTo>
                    <a:lnTo>
                      <a:pt x="2594" y="3774"/>
                    </a:lnTo>
                    <a:lnTo>
                      <a:pt x="2592" y="3772"/>
                    </a:lnTo>
                    <a:lnTo>
                      <a:pt x="2592" y="3768"/>
                    </a:lnTo>
                    <a:lnTo>
                      <a:pt x="2592" y="3762"/>
                    </a:lnTo>
                    <a:lnTo>
                      <a:pt x="2592" y="3762"/>
                    </a:lnTo>
                    <a:lnTo>
                      <a:pt x="2592" y="3760"/>
                    </a:lnTo>
                    <a:lnTo>
                      <a:pt x="2594" y="3762"/>
                    </a:lnTo>
                    <a:lnTo>
                      <a:pt x="2596" y="3766"/>
                    </a:lnTo>
                    <a:lnTo>
                      <a:pt x="2602" y="3772"/>
                    </a:lnTo>
                    <a:lnTo>
                      <a:pt x="2604" y="3774"/>
                    </a:lnTo>
                    <a:lnTo>
                      <a:pt x="2610" y="3776"/>
                    </a:lnTo>
                    <a:lnTo>
                      <a:pt x="2610" y="3776"/>
                    </a:lnTo>
                    <a:lnTo>
                      <a:pt x="2614" y="3776"/>
                    </a:lnTo>
                    <a:lnTo>
                      <a:pt x="2616" y="3778"/>
                    </a:lnTo>
                    <a:lnTo>
                      <a:pt x="2614" y="3782"/>
                    </a:lnTo>
                    <a:lnTo>
                      <a:pt x="2614" y="3784"/>
                    </a:lnTo>
                    <a:lnTo>
                      <a:pt x="2616" y="3786"/>
                    </a:lnTo>
                    <a:lnTo>
                      <a:pt x="2620" y="3786"/>
                    </a:lnTo>
                    <a:lnTo>
                      <a:pt x="2620" y="3786"/>
                    </a:lnTo>
                    <a:lnTo>
                      <a:pt x="2630" y="3784"/>
                    </a:lnTo>
                    <a:lnTo>
                      <a:pt x="2632" y="3782"/>
                    </a:lnTo>
                    <a:lnTo>
                      <a:pt x="2634" y="3778"/>
                    </a:lnTo>
                    <a:lnTo>
                      <a:pt x="2634" y="3778"/>
                    </a:lnTo>
                    <a:lnTo>
                      <a:pt x="2632" y="3772"/>
                    </a:lnTo>
                    <a:lnTo>
                      <a:pt x="2634" y="3772"/>
                    </a:lnTo>
                    <a:lnTo>
                      <a:pt x="2636" y="3778"/>
                    </a:lnTo>
                    <a:lnTo>
                      <a:pt x="2636" y="3778"/>
                    </a:lnTo>
                    <a:lnTo>
                      <a:pt x="2640" y="3782"/>
                    </a:lnTo>
                    <a:lnTo>
                      <a:pt x="2642" y="3782"/>
                    </a:lnTo>
                    <a:lnTo>
                      <a:pt x="2644" y="3782"/>
                    </a:lnTo>
                    <a:lnTo>
                      <a:pt x="2648" y="3784"/>
                    </a:lnTo>
                    <a:lnTo>
                      <a:pt x="2648" y="3784"/>
                    </a:lnTo>
                    <a:lnTo>
                      <a:pt x="2648" y="3786"/>
                    </a:lnTo>
                    <a:lnTo>
                      <a:pt x="2646" y="3788"/>
                    </a:lnTo>
                    <a:lnTo>
                      <a:pt x="2642" y="3794"/>
                    </a:lnTo>
                    <a:lnTo>
                      <a:pt x="2640" y="3802"/>
                    </a:lnTo>
                    <a:lnTo>
                      <a:pt x="2640" y="3802"/>
                    </a:lnTo>
                    <a:lnTo>
                      <a:pt x="2638" y="3810"/>
                    </a:lnTo>
                    <a:lnTo>
                      <a:pt x="2640" y="3816"/>
                    </a:lnTo>
                    <a:lnTo>
                      <a:pt x="2642" y="3818"/>
                    </a:lnTo>
                    <a:lnTo>
                      <a:pt x="2642" y="3820"/>
                    </a:lnTo>
                    <a:lnTo>
                      <a:pt x="2642" y="3820"/>
                    </a:lnTo>
                    <a:lnTo>
                      <a:pt x="2642" y="3824"/>
                    </a:lnTo>
                    <a:lnTo>
                      <a:pt x="2644" y="3828"/>
                    </a:lnTo>
                    <a:lnTo>
                      <a:pt x="2646" y="3832"/>
                    </a:lnTo>
                    <a:lnTo>
                      <a:pt x="2648" y="3836"/>
                    </a:lnTo>
                    <a:lnTo>
                      <a:pt x="2648" y="3836"/>
                    </a:lnTo>
                    <a:lnTo>
                      <a:pt x="2648" y="3840"/>
                    </a:lnTo>
                    <a:lnTo>
                      <a:pt x="2648" y="3842"/>
                    </a:lnTo>
                    <a:lnTo>
                      <a:pt x="2652" y="3844"/>
                    </a:lnTo>
                    <a:lnTo>
                      <a:pt x="2664" y="3842"/>
                    </a:lnTo>
                    <a:lnTo>
                      <a:pt x="2664" y="3842"/>
                    </a:lnTo>
                    <a:lnTo>
                      <a:pt x="2672" y="3838"/>
                    </a:lnTo>
                    <a:lnTo>
                      <a:pt x="2674" y="3836"/>
                    </a:lnTo>
                    <a:lnTo>
                      <a:pt x="2674" y="3834"/>
                    </a:lnTo>
                    <a:lnTo>
                      <a:pt x="2670" y="3828"/>
                    </a:lnTo>
                    <a:lnTo>
                      <a:pt x="2668" y="3820"/>
                    </a:lnTo>
                    <a:lnTo>
                      <a:pt x="2668" y="3820"/>
                    </a:lnTo>
                    <a:lnTo>
                      <a:pt x="2666" y="3814"/>
                    </a:lnTo>
                    <a:lnTo>
                      <a:pt x="2662" y="3812"/>
                    </a:lnTo>
                    <a:lnTo>
                      <a:pt x="2660" y="3812"/>
                    </a:lnTo>
                    <a:lnTo>
                      <a:pt x="2658" y="3810"/>
                    </a:lnTo>
                    <a:lnTo>
                      <a:pt x="2658" y="3810"/>
                    </a:lnTo>
                    <a:lnTo>
                      <a:pt x="2660" y="3804"/>
                    </a:lnTo>
                    <a:lnTo>
                      <a:pt x="2666" y="3800"/>
                    </a:lnTo>
                    <a:lnTo>
                      <a:pt x="2684" y="3788"/>
                    </a:lnTo>
                    <a:lnTo>
                      <a:pt x="2684" y="3788"/>
                    </a:lnTo>
                    <a:lnTo>
                      <a:pt x="2692" y="3784"/>
                    </a:lnTo>
                    <a:lnTo>
                      <a:pt x="2698" y="3782"/>
                    </a:lnTo>
                    <a:lnTo>
                      <a:pt x="2704" y="3784"/>
                    </a:lnTo>
                    <a:lnTo>
                      <a:pt x="2716" y="3780"/>
                    </a:lnTo>
                    <a:lnTo>
                      <a:pt x="2716" y="3780"/>
                    </a:lnTo>
                    <a:lnTo>
                      <a:pt x="2722" y="3778"/>
                    </a:lnTo>
                    <a:lnTo>
                      <a:pt x="2726" y="3774"/>
                    </a:lnTo>
                    <a:lnTo>
                      <a:pt x="2730" y="3768"/>
                    </a:lnTo>
                    <a:lnTo>
                      <a:pt x="2730" y="3764"/>
                    </a:lnTo>
                    <a:lnTo>
                      <a:pt x="2736" y="3766"/>
                    </a:lnTo>
                    <a:lnTo>
                      <a:pt x="2736" y="3766"/>
                    </a:lnTo>
                    <a:lnTo>
                      <a:pt x="2740" y="3768"/>
                    </a:lnTo>
                    <a:lnTo>
                      <a:pt x="2742" y="3772"/>
                    </a:lnTo>
                    <a:lnTo>
                      <a:pt x="2742" y="3772"/>
                    </a:lnTo>
                    <a:lnTo>
                      <a:pt x="2746" y="3768"/>
                    </a:lnTo>
                    <a:lnTo>
                      <a:pt x="2746" y="3768"/>
                    </a:lnTo>
                    <a:lnTo>
                      <a:pt x="2750" y="3764"/>
                    </a:lnTo>
                    <a:lnTo>
                      <a:pt x="2752" y="3766"/>
                    </a:lnTo>
                    <a:lnTo>
                      <a:pt x="2754" y="3768"/>
                    </a:lnTo>
                    <a:lnTo>
                      <a:pt x="2758" y="3764"/>
                    </a:lnTo>
                    <a:lnTo>
                      <a:pt x="2758" y="3764"/>
                    </a:lnTo>
                    <a:lnTo>
                      <a:pt x="2762" y="3760"/>
                    </a:lnTo>
                    <a:lnTo>
                      <a:pt x="2764" y="3760"/>
                    </a:lnTo>
                    <a:lnTo>
                      <a:pt x="2768" y="3760"/>
                    </a:lnTo>
                    <a:lnTo>
                      <a:pt x="2772" y="3762"/>
                    </a:lnTo>
                    <a:lnTo>
                      <a:pt x="2774" y="3760"/>
                    </a:lnTo>
                    <a:lnTo>
                      <a:pt x="2774" y="3756"/>
                    </a:lnTo>
                    <a:lnTo>
                      <a:pt x="2774" y="3756"/>
                    </a:lnTo>
                    <a:lnTo>
                      <a:pt x="2776" y="3750"/>
                    </a:lnTo>
                    <a:lnTo>
                      <a:pt x="2778" y="3752"/>
                    </a:lnTo>
                    <a:lnTo>
                      <a:pt x="2780" y="3754"/>
                    </a:lnTo>
                    <a:lnTo>
                      <a:pt x="2782" y="3754"/>
                    </a:lnTo>
                    <a:lnTo>
                      <a:pt x="2784" y="3752"/>
                    </a:lnTo>
                    <a:lnTo>
                      <a:pt x="2784" y="3752"/>
                    </a:lnTo>
                    <a:lnTo>
                      <a:pt x="2788" y="3748"/>
                    </a:lnTo>
                    <a:lnTo>
                      <a:pt x="2790" y="3748"/>
                    </a:lnTo>
                    <a:lnTo>
                      <a:pt x="2792" y="3748"/>
                    </a:lnTo>
                    <a:lnTo>
                      <a:pt x="2796" y="3744"/>
                    </a:lnTo>
                    <a:lnTo>
                      <a:pt x="2796" y="3744"/>
                    </a:lnTo>
                    <a:lnTo>
                      <a:pt x="2798" y="3740"/>
                    </a:lnTo>
                    <a:lnTo>
                      <a:pt x="2798" y="3736"/>
                    </a:lnTo>
                    <a:lnTo>
                      <a:pt x="2794" y="3724"/>
                    </a:lnTo>
                    <a:lnTo>
                      <a:pt x="2792" y="3714"/>
                    </a:lnTo>
                    <a:lnTo>
                      <a:pt x="2790" y="3712"/>
                    </a:lnTo>
                    <a:lnTo>
                      <a:pt x="2792" y="3708"/>
                    </a:lnTo>
                    <a:lnTo>
                      <a:pt x="2792" y="3708"/>
                    </a:lnTo>
                    <a:lnTo>
                      <a:pt x="2794" y="3708"/>
                    </a:lnTo>
                    <a:lnTo>
                      <a:pt x="2796" y="3710"/>
                    </a:lnTo>
                    <a:lnTo>
                      <a:pt x="2804" y="3720"/>
                    </a:lnTo>
                    <a:lnTo>
                      <a:pt x="2804" y="3720"/>
                    </a:lnTo>
                    <a:lnTo>
                      <a:pt x="2808" y="3726"/>
                    </a:lnTo>
                    <a:lnTo>
                      <a:pt x="2808" y="3726"/>
                    </a:lnTo>
                    <a:lnTo>
                      <a:pt x="2812" y="3730"/>
                    </a:lnTo>
                    <a:lnTo>
                      <a:pt x="2810" y="3734"/>
                    </a:lnTo>
                    <a:lnTo>
                      <a:pt x="2810" y="3738"/>
                    </a:lnTo>
                    <a:lnTo>
                      <a:pt x="2812" y="3738"/>
                    </a:lnTo>
                    <a:lnTo>
                      <a:pt x="2812" y="3738"/>
                    </a:lnTo>
                    <a:lnTo>
                      <a:pt x="2818" y="3740"/>
                    </a:lnTo>
                    <a:lnTo>
                      <a:pt x="2820" y="3742"/>
                    </a:lnTo>
                    <a:lnTo>
                      <a:pt x="2824" y="3742"/>
                    </a:lnTo>
                    <a:lnTo>
                      <a:pt x="2826" y="3740"/>
                    </a:lnTo>
                    <a:lnTo>
                      <a:pt x="2826" y="3740"/>
                    </a:lnTo>
                    <a:lnTo>
                      <a:pt x="2828" y="3736"/>
                    </a:lnTo>
                    <a:lnTo>
                      <a:pt x="2828" y="3734"/>
                    </a:lnTo>
                    <a:lnTo>
                      <a:pt x="2826" y="3730"/>
                    </a:lnTo>
                    <a:lnTo>
                      <a:pt x="2826" y="3726"/>
                    </a:lnTo>
                    <a:lnTo>
                      <a:pt x="2826" y="3726"/>
                    </a:lnTo>
                    <a:lnTo>
                      <a:pt x="2826" y="3724"/>
                    </a:lnTo>
                    <a:lnTo>
                      <a:pt x="2828" y="3724"/>
                    </a:lnTo>
                    <a:lnTo>
                      <a:pt x="2830" y="3728"/>
                    </a:lnTo>
                    <a:lnTo>
                      <a:pt x="2834" y="3730"/>
                    </a:lnTo>
                    <a:lnTo>
                      <a:pt x="2836" y="3732"/>
                    </a:lnTo>
                    <a:lnTo>
                      <a:pt x="2838" y="3730"/>
                    </a:lnTo>
                    <a:lnTo>
                      <a:pt x="2838" y="3730"/>
                    </a:lnTo>
                    <a:lnTo>
                      <a:pt x="2840" y="3728"/>
                    </a:lnTo>
                    <a:lnTo>
                      <a:pt x="2838" y="3724"/>
                    </a:lnTo>
                    <a:lnTo>
                      <a:pt x="2838" y="3724"/>
                    </a:lnTo>
                    <a:lnTo>
                      <a:pt x="2836" y="3720"/>
                    </a:lnTo>
                    <a:lnTo>
                      <a:pt x="2838" y="3718"/>
                    </a:lnTo>
                    <a:lnTo>
                      <a:pt x="2840" y="3716"/>
                    </a:lnTo>
                    <a:lnTo>
                      <a:pt x="2840" y="3716"/>
                    </a:lnTo>
                    <a:lnTo>
                      <a:pt x="2842" y="3716"/>
                    </a:lnTo>
                    <a:lnTo>
                      <a:pt x="2844" y="3718"/>
                    </a:lnTo>
                    <a:lnTo>
                      <a:pt x="2846" y="3724"/>
                    </a:lnTo>
                    <a:lnTo>
                      <a:pt x="2846" y="3726"/>
                    </a:lnTo>
                    <a:lnTo>
                      <a:pt x="2848" y="3728"/>
                    </a:lnTo>
                    <a:lnTo>
                      <a:pt x="2850" y="3728"/>
                    </a:lnTo>
                    <a:lnTo>
                      <a:pt x="2854" y="3724"/>
                    </a:lnTo>
                    <a:lnTo>
                      <a:pt x="2854" y="3724"/>
                    </a:lnTo>
                    <a:lnTo>
                      <a:pt x="2860" y="3718"/>
                    </a:lnTo>
                    <a:lnTo>
                      <a:pt x="2864" y="3716"/>
                    </a:lnTo>
                    <a:lnTo>
                      <a:pt x="2874" y="3722"/>
                    </a:lnTo>
                    <a:lnTo>
                      <a:pt x="2874" y="3722"/>
                    </a:lnTo>
                    <a:lnTo>
                      <a:pt x="2876" y="3722"/>
                    </a:lnTo>
                    <a:lnTo>
                      <a:pt x="2878" y="3722"/>
                    </a:lnTo>
                    <a:lnTo>
                      <a:pt x="2878" y="3718"/>
                    </a:lnTo>
                    <a:lnTo>
                      <a:pt x="2878" y="3714"/>
                    </a:lnTo>
                    <a:lnTo>
                      <a:pt x="2878" y="3712"/>
                    </a:lnTo>
                    <a:lnTo>
                      <a:pt x="2880" y="3712"/>
                    </a:lnTo>
                    <a:lnTo>
                      <a:pt x="2880" y="3712"/>
                    </a:lnTo>
                    <a:lnTo>
                      <a:pt x="2882" y="3712"/>
                    </a:lnTo>
                    <a:lnTo>
                      <a:pt x="2882" y="3712"/>
                    </a:lnTo>
                    <a:lnTo>
                      <a:pt x="2884" y="3716"/>
                    </a:lnTo>
                    <a:lnTo>
                      <a:pt x="2886" y="3718"/>
                    </a:lnTo>
                    <a:lnTo>
                      <a:pt x="2894" y="3716"/>
                    </a:lnTo>
                    <a:lnTo>
                      <a:pt x="2894" y="3716"/>
                    </a:lnTo>
                    <a:lnTo>
                      <a:pt x="2902" y="3712"/>
                    </a:lnTo>
                    <a:lnTo>
                      <a:pt x="2910" y="3710"/>
                    </a:lnTo>
                    <a:lnTo>
                      <a:pt x="2914" y="3706"/>
                    </a:lnTo>
                    <a:lnTo>
                      <a:pt x="2916" y="3702"/>
                    </a:lnTo>
                    <a:lnTo>
                      <a:pt x="2916" y="3702"/>
                    </a:lnTo>
                    <a:lnTo>
                      <a:pt x="2918" y="3698"/>
                    </a:lnTo>
                    <a:lnTo>
                      <a:pt x="2918" y="3696"/>
                    </a:lnTo>
                    <a:lnTo>
                      <a:pt x="2922" y="3694"/>
                    </a:lnTo>
                    <a:lnTo>
                      <a:pt x="2926" y="3692"/>
                    </a:lnTo>
                    <a:lnTo>
                      <a:pt x="2924" y="3690"/>
                    </a:lnTo>
                    <a:lnTo>
                      <a:pt x="2924" y="3690"/>
                    </a:lnTo>
                    <a:lnTo>
                      <a:pt x="2922" y="3688"/>
                    </a:lnTo>
                    <a:lnTo>
                      <a:pt x="2924" y="3686"/>
                    </a:lnTo>
                    <a:lnTo>
                      <a:pt x="2926" y="3684"/>
                    </a:lnTo>
                    <a:lnTo>
                      <a:pt x="2930" y="3678"/>
                    </a:lnTo>
                    <a:lnTo>
                      <a:pt x="2930" y="3678"/>
                    </a:lnTo>
                    <a:lnTo>
                      <a:pt x="2932" y="3674"/>
                    </a:lnTo>
                    <a:lnTo>
                      <a:pt x="2936" y="3674"/>
                    </a:lnTo>
                    <a:lnTo>
                      <a:pt x="2940" y="3674"/>
                    </a:lnTo>
                    <a:lnTo>
                      <a:pt x="2944" y="3672"/>
                    </a:lnTo>
                    <a:lnTo>
                      <a:pt x="2948" y="3668"/>
                    </a:lnTo>
                    <a:lnTo>
                      <a:pt x="2948" y="3668"/>
                    </a:lnTo>
                    <a:lnTo>
                      <a:pt x="2954" y="3662"/>
                    </a:lnTo>
                    <a:lnTo>
                      <a:pt x="2956" y="3662"/>
                    </a:lnTo>
                    <a:lnTo>
                      <a:pt x="2956" y="3664"/>
                    </a:lnTo>
                    <a:lnTo>
                      <a:pt x="2958" y="3666"/>
                    </a:lnTo>
                    <a:lnTo>
                      <a:pt x="2960" y="3662"/>
                    </a:lnTo>
                    <a:lnTo>
                      <a:pt x="2960" y="3662"/>
                    </a:lnTo>
                    <a:lnTo>
                      <a:pt x="2974" y="3648"/>
                    </a:lnTo>
                    <a:lnTo>
                      <a:pt x="2980" y="3642"/>
                    </a:lnTo>
                    <a:lnTo>
                      <a:pt x="2980" y="3638"/>
                    </a:lnTo>
                    <a:lnTo>
                      <a:pt x="2978" y="3636"/>
                    </a:lnTo>
                    <a:lnTo>
                      <a:pt x="2978" y="3636"/>
                    </a:lnTo>
                    <a:lnTo>
                      <a:pt x="2976" y="3632"/>
                    </a:lnTo>
                    <a:lnTo>
                      <a:pt x="2978" y="3626"/>
                    </a:lnTo>
                    <a:lnTo>
                      <a:pt x="2980" y="3624"/>
                    </a:lnTo>
                    <a:lnTo>
                      <a:pt x="2982" y="3624"/>
                    </a:lnTo>
                    <a:lnTo>
                      <a:pt x="2984" y="3626"/>
                    </a:lnTo>
                    <a:lnTo>
                      <a:pt x="2984" y="3626"/>
                    </a:lnTo>
                    <a:lnTo>
                      <a:pt x="2986" y="3628"/>
                    </a:lnTo>
                    <a:lnTo>
                      <a:pt x="2988" y="3626"/>
                    </a:lnTo>
                    <a:lnTo>
                      <a:pt x="2990" y="3626"/>
                    </a:lnTo>
                    <a:lnTo>
                      <a:pt x="2994" y="3628"/>
                    </a:lnTo>
                    <a:lnTo>
                      <a:pt x="2994" y="3628"/>
                    </a:lnTo>
                    <a:lnTo>
                      <a:pt x="2998" y="3630"/>
                    </a:lnTo>
                    <a:lnTo>
                      <a:pt x="2998" y="3630"/>
                    </a:lnTo>
                    <a:lnTo>
                      <a:pt x="3000" y="3624"/>
                    </a:lnTo>
                    <a:lnTo>
                      <a:pt x="3004" y="3616"/>
                    </a:lnTo>
                    <a:lnTo>
                      <a:pt x="3008" y="3614"/>
                    </a:lnTo>
                    <a:lnTo>
                      <a:pt x="3012" y="3610"/>
                    </a:lnTo>
                    <a:lnTo>
                      <a:pt x="3012" y="3610"/>
                    </a:lnTo>
                    <a:lnTo>
                      <a:pt x="3016" y="3608"/>
                    </a:lnTo>
                    <a:lnTo>
                      <a:pt x="3016" y="3606"/>
                    </a:lnTo>
                    <a:lnTo>
                      <a:pt x="3012" y="3602"/>
                    </a:lnTo>
                    <a:lnTo>
                      <a:pt x="3010" y="3598"/>
                    </a:lnTo>
                    <a:lnTo>
                      <a:pt x="3010" y="3594"/>
                    </a:lnTo>
                    <a:lnTo>
                      <a:pt x="3010" y="3594"/>
                    </a:lnTo>
                    <a:lnTo>
                      <a:pt x="3012" y="3590"/>
                    </a:lnTo>
                    <a:lnTo>
                      <a:pt x="3014" y="3594"/>
                    </a:lnTo>
                    <a:lnTo>
                      <a:pt x="3018" y="3596"/>
                    </a:lnTo>
                    <a:lnTo>
                      <a:pt x="3022" y="3596"/>
                    </a:lnTo>
                    <a:lnTo>
                      <a:pt x="3026" y="3594"/>
                    </a:lnTo>
                    <a:lnTo>
                      <a:pt x="3026" y="3594"/>
                    </a:lnTo>
                    <a:lnTo>
                      <a:pt x="3030" y="3590"/>
                    </a:lnTo>
                    <a:lnTo>
                      <a:pt x="3030" y="3588"/>
                    </a:lnTo>
                    <a:lnTo>
                      <a:pt x="3028" y="3588"/>
                    </a:lnTo>
                    <a:lnTo>
                      <a:pt x="3024" y="3588"/>
                    </a:lnTo>
                    <a:lnTo>
                      <a:pt x="3020" y="3586"/>
                    </a:lnTo>
                    <a:lnTo>
                      <a:pt x="3020" y="3586"/>
                    </a:lnTo>
                    <a:lnTo>
                      <a:pt x="3020" y="3582"/>
                    </a:lnTo>
                    <a:lnTo>
                      <a:pt x="3022" y="3578"/>
                    </a:lnTo>
                    <a:lnTo>
                      <a:pt x="3024" y="3576"/>
                    </a:lnTo>
                    <a:lnTo>
                      <a:pt x="3026" y="3576"/>
                    </a:lnTo>
                    <a:lnTo>
                      <a:pt x="3030" y="3578"/>
                    </a:lnTo>
                    <a:lnTo>
                      <a:pt x="3032" y="3580"/>
                    </a:lnTo>
                    <a:lnTo>
                      <a:pt x="3032" y="3580"/>
                    </a:lnTo>
                    <a:lnTo>
                      <a:pt x="3038" y="3586"/>
                    </a:lnTo>
                    <a:lnTo>
                      <a:pt x="3040" y="3586"/>
                    </a:lnTo>
                    <a:lnTo>
                      <a:pt x="3042" y="3582"/>
                    </a:lnTo>
                    <a:lnTo>
                      <a:pt x="3038" y="3576"/>
                    </a:lnTo>
                    <a:lnTo>
                      <a:pt x="3038" y="3576"/>
                    </a:lnTo>
                    <a:lnTo>
                      <a:pt x="3036" y="3572"/>
                    </a:lnTo>
                    <a:lnTo>
                      <a:pt x="3038" y="3568"/>
                    </a:lnTo>
                    <a:lnTo>
                      <a:pt x="3042" y="3558"/>
                    </a:lnTo>
                    <a:lnTo>
                      <a:pt x="3044" y="3552"/>
                    </a:lnTo>
                    <a:lnTo>
                      <a:pt x="3044" y="3552"/>
                    </a:lnTo>
                    <a:lnTo>
                      <a:pt x="3040" y="3552"/>
                    </a:lnTo>
                    <a:lnTo>
                      <a:pt x="3040" y="3552"/>
                    </a:lnTo>
                    <a:lnTo>
                      <a:pt x="3038" y="3552"/>
                    </a:lnTo>
                    <a:lnTo>
                      <a:pt x="3036" y="3550"/>
                    </a:lnTo>
                    <a:lnTo>
                      <a:pt x="3038" y="3546"/>
                    </a:lnTo>
                    <a:lnTo>
                      <a:pt x="3042" y="3540"/>
                    </a:lnTo>
                    <a:lnTo>
                      <a:pt x="3048" y="3536"/>
                    </a:lnTo>
                    <a:lnTo>
                      <a:pt x="3048" y="3536"/>
                    </a:lnTo>
                    <a:lnTo>
                      <a:pt x="3052" y="3534"/>
                    </a:lnTo>
                    <a:lnTo>
                      <a:pt x="3052" y="3532"/>
                    </a:lnTo>
                    <a:lnTo>
                      <a:pt x="3050" y="3532"/>
                    </a:lnTo>
                    <a:lnTo>
                      <a:pt x="3046" y="3526"/>
                    </a:lnTo>
                    <a:lnTo>
                      <a:pt x="3046" y="3526"/>
                    </a:lnTo>
                    <a:lnTo>
                      <a:pt x="3042" y="3522"/>
                    </a:lnTo>
                    <a:lnTo>
                      <a:pt x="3040" y="3518"/>
                    </a:lnTo>
                    <a:lnTo>
                      <a:pt x="3038" y="3518"/>
                    </a:lnTo>
                    <a:lnTo>
                      <a:pt x="3042" y="3516"/>
                    </a:lnTo>
                    <a:lnTo>
                      <a:pt x="3042" y="3516"/>
                    </a:lnTo>
                    <a:lnTo>
                      <a:pt x="3046" y="3514"/>
                    </a:lnTo>
                    <a:lnTo>
                      <a:pt x="3046" y="3516"/>
                    </a:lnTo>
                    <a:lnTo>
                      <a:pt x="3048" y="3520"/>
                    </a:lnTo>
                    <a:lnTo>
                      <a:pt x="3050" y="3524"/>
                    </a:lnTo>
                    <a:lnTo>
                      <a:pt x="3054" y="3524"/>
                    </a:lnTo>
                    <a:lnTo>
                      <a:pt x="3058" y="3522"/>
                    </a:lnTo>
                    <a:lnTo>
                      <a:pt x="3058" y="3522"/>
                    </a:lnTo>
                    <a:lnTo>
                      <a:pt x="3060" y="3520"/>
                    </a:lnTo>
                    <a:lnTo>
                      <a:pt x="3062" y="3518"/>
                    </a:lnTo>
                    <a:lnTo>
                      <a:pt x="3062" y="3512"/>
                    </a:lnTo>
                    <a:lnTo>
                      <a:pt x="3060" y="3510"/>
                    </a:lnTo>
                    <a:lnTo>
                      <a:pt x="3060" y="3508"/>
                    </a:lnTo>
                    <a:lnTo>
                      <a:pt x="3062" y="3506"/>
                    </a:lnTo>
                    <a:lnTo>
                      <a:pt x="3062" y="3506"/>
                    </a:lnTo>
                    <a:lnTo>
                      <a:pt x="3068" y="3502"/>
                    </a:lnTo>
                    <a:lnTo>
                      <a:pt x="3074" y="3492"/>
                    </a:lnTo>
                    <a:lnTo>
                      <a:pt x="3080" y="3482"/>
                    </a:lnTo>
                    <a:lnTo>
                      <a:pt x="3080" y="3478"/>
                    </a:lnTo>
                    <a:lnTo>
                      <a:pt x="3080" y="3474"/>
                    </a:lnTo>
                    <a:lnTo>
                      <a:pt x="3080" y="3474"/>
                    </a:lnTo>
                    <a:lnTo>
                      <a:pt x="3080" y="3470"/>
                    </a:lnTo>
                    <a:lnTo>
                      <a:pt x="3080" y="3468"/>
                    </a:lnTo>
                    <a:lnTo>
                      <a:pt x="3084" y="3462"/>
                    </a:lnTo>
                    <a:lnTo>
                      <a:pt x="3090" y="3454"/>
                    </a:lnTo>
                    <a:lnTo>
                      <a:pt x="3098" y="3440"/>
                    </a:lnTo>
                    <a:lnTo>
                      <a:pt x="3098" y="3440"/>
                    </a:lnTo>
                    <a:lnTo>
                      <a:pt x="3100" y="3436"/>
                    </a:lnTo>
                    <a:lnTo>
                      <a:pt x="3102" y="3432"/>
                    </a:lnTo>
                    <a:lnTo>
                      <a:pt x="3104" y="3434"/>
                    </a:lnTo>
                    <a:lnTo>
                      <a:pt x="3106" y="3436"/>
                    </a:lnTo>
                    <a:lnTo>
                      <a:pt x="3108" y="3440"/>
                    </a:lnTo>
                    <a:lnTo>
                      <a:pt x="3110" y="3440"/>
                    </a:lnTo>
                    <a:lnTo>
                      <a:pt x="3112" y="3440"/>
                    </a:lnTo>
                    <a:lnTo>
                      <a:pt x="3112" y="3440"/>
                    </a:lnTo>
                    <a:lnTo>
                      <a:pt x="3116" y="3436"/>
                    </a:lnTo>
                    <a:lnTo>
                      <a:pt x="3120" y="3434"/>
                    </a:lnTo>
                    <a:lnTo>
                      <a:pt x="3120" y="3434"/>
                    </a:lnTo>
                    <a:lnTo>
                      <a:pt x="3122" y="3432"/>
                    </a:lnTo>
                    <a:lnTo>
                      <a:pt x="3118" y="3424"/>
                    </a:lnTo>
                    <a:lnTo>
                      <a:pt x="3118" y="3424"/>
                    </a:lnTo>
                    <a:lnTo>
                      <a:pt x="3116" y="3420"/>
                    </a:lnTo>
                    <a:lnTo>
                      <a:pt x="3116" y="3416"/>
                    </a:lnTo>
                    <a:lnTo>
                      <a:pt x="3118" y="3414"/>
                    </a:lnTo>
                    <a:lnTo>
                      <a:pt x="3118" y="3414"/>
                    </a:lnTo>
                    <a:lnTo>
                      <a:pt x="3122" y="3412"/>
                    </a:lnTo>
                    <a:lnTo>
                      <a:pt x="3122" y="3410"/>
                    </a:lnTo>
                    <a:lnTo>
                      <a:pt x="3122" y="3408"/>
                    </a:lnTo>
                    <a:lnTo>
                      <a:pt x="3122" y="3408"/>
                    </a:lnTo>
                    <a:lnTo>
                      <a:pt x="3122" y="3402"/>
                    </a:lnTo>
                    <a:lnTo>
                      <a:pt x="3122" y="3400"/>
                    </a:lnTo>
                    <a:lnTo>
                      <a:pt x="3124" y="3398"/>
                    </a:lnTo>
                    <a:lnTo>
                      <a:pt x="3120" y="3392"/>
                    </a:lnTo>
                    <a:lnTo>
                      <a:pt x="3120" y="3392"/>
                    </a:lnTo>
                    <a:lnTo>
                      <a:pt x="3118" y="3390"/>
                    </a:lnTo>
                    <a:lnTo>
                      <a:pt x="3118" y="3390"/>
                    </a:lnTo>
                    <a:lnTo>
                      <a:pt x="3124" y="3390"/>
                    </a:lnTo>
                    <a:lnTo>
                      <a:pt x="3128" y="3390"/>
                    </a:lnTo>
                    <a:lnTo>
                      <a:pt x="3132" y="3388"/>
                    </a:lnTo>
                    <a:lnTo>
                      <a:pt x="3134" y="3384"/>
                    </a:lnTo>
                    <a:lnTo>
                      <a:pt x="3134" y="3376"/>
                    </a:lnTo>
                    <a:lnTo>
                      <a:pt x="3134" y="3376"/>
                    </a:lnTo>
                    <a:lnTo>
                      <a:pt x="3134" y="3370"/>
                    </a:lnTo>
                    <a:lnTo>
                      <a:pt x="3132" y="3366"/>
                    </a:lnTo>
                    <a:lnTo>
                      <a:pt x="3128" y="3362"/>
                    </a:lnTo>
                    <a:lnTo>
                      <a:pt x="3128" y="3362"/>
                    </a:lnTo>
                    <a:lnTo>
                      <a:pt x="3128" y="3362"/>
                    </a:lnTo>
                    <a:lnTo>
                      <a:pt x="3136" y="3356"/>
                    </a:lnTo>
                    <a:lnTo>
                      <a:pt x="3136" y="3356"/>
                    </a:lnTo>
                    <a:lnTo>
                      <a:pt x="3140" y="3352"/>
                    </a:lnTo>
                    <a:lnTo>
                      <a:pt x="3136" y="3350"/>
                    </a:lnTo>
                    <a:lnTo>
                      <a:pt x="3128" y="3348"/>
                    </a:lnTo>
                    <a:lnTo>
                      <a:pt x="3122" y="3344"/>
                    </a:lnTo>
                    <a:lnTo>
                      <a:pt x="3118" y="3338"/>
                    </a:lnTo>
                    <a:lnTo>
                      <a:pt x="3118" y="3338"/>
                    </a:lnTo>
                    <a:lnTo>
                      <a:pt x="3112" y="3332"/>
                    </a:lnTo>
                    <a:lnTo>
                      <a:pt x="3108" y="3330"/>
                    </a:lnTo>
                    <a:lnTo>
                      <a:pt x="3102" y="3330"/>
                    </a:lnTo>
                    <a:lnTo>
                      <a:pt x="3096" y="3334"/>
                    </a:lnTo>
                    <a:lnTo>
                      <a:pt x="3086" y="3338"/>
                    </a:lnTo>
                    <a:lnTo>
                      <a:pt x="3082" y="3338"/>
                    </a:lnTo>
                    <a:lnTo>
                      <a:pt x="3078" y="3334"/>
                    </a:lnTo>
                    <a:lnTo>
                      <a:pt x="3078" y="3334"/>
                    </a:lnTo>
                    <a:lnTo>
                      <a:pt x="3076" y="3332"/>
                    </a:lnTo>
                    <a:lnTo>
                      <a:pt x="3074" y="3330"/>
                    </a:lnTo>
                    <a:lnTo>
                      <a:pt x="3070" y="3332"/>
                    </a:lnTo>
                    <a:lnTo>
                      <a:pt x="3070" y="3332"/>
                    </a:lnTo>
                    <a:lnTo>
                      <a:pt x="3070" y="3328"/>
                    </a:lnTo>
                    <a:lnTo>
                      <a:pt x="3070" y="3328"/>
                    </a:lnTo>
                    <a:lnTo>
                      <a:pt x="3072" y="3326"/>
                    </a:lnTo>
                    <a:lnTo>
                      <a:pt x="3074" y="3324"/>
                    </a:lnTo>
                    <a:lnTo>
                      <a:pt x="3082" y="3326"/>
                    </a:lnTo>
                    <a:lnTo>
                      <a:pt x="3088" y="3326"/>
                    </a:lnTo>
                    <a:lnTo>
                      <a:pt x="3090" y="3326"/>
                    </a:lnTo>
                    <a:lnTo>
                      <a:pt x="3092" y="3324"/>
                    </a:lnTo>
                    <a:lnTo>
                      <a:pt x="3092" y="3324"/>
                    </a:lnTo>
                    <a:lnTo>
                      <a:pt x="3098" y="3316"/>
                    </a:lnTo>
                    <a:lnTo>
                      <a:pt x="3106" y="3310"/>
                    </a:lnTo>
                    <a:lnTo>
                      <a:pt x="3116" y="3304"/>
                    </a:lnTo>
                    <a:lnTo>
                      <a:pt x="3124" y="3302"/>
                    </a:lnTo>
                    <a:lnTo>
                      <a:pt x="3124" y="3302"/>
                    </a:lnTo>
                    <a:lnTo>
                      <a:pt x="3128" y="3300"/>
                    </a:lnTo>
                    <a:lnTo>
                      <a:pt x="3132" y="3298"/>
                    </a:lnTo>
                    <a:lnTo>
                      <a:pt x="3132" y="3294"/>
                    </a:lnTo>
                    <a:lnTo>
                      <a:pt x="3130" y="3290"/>
                    </a:lnTo>
                    <a:lnTo>
                      <a:pt x="3122" y="3278"/>
                    </a:lnTo>
                    <a:lnTo>
                      <a:pt x="3110" y="3268"/>
                    </a:lnTo>
                    <a:lnTo>
                      <a:pt x="3110" y="3268"/>
                    </a:lnTo>
                    <a:lnTo>
                      <a:pt x="3100" y="3258"/>
                    </a:lnTo>
                    <a:lnTo>
                      <a:pt x="3090" y="3254"/>
                    </a:lnTo>
                    <a:lnTo>
                      <a:pt x="3086" y="3252"/>
                    </a:lnTo>
                    <a:lnTo>
                      <a:pt x="3086" y="3250"/>
                    </a:lnTo>
                    <a:lnTo>
                      <a:pt x="3086" y="3248"/>
                    </a:lnTo>
                    <a:lnTo>
                      <a:pt x="3086" y="3248"/>
                    </a:lnTo>
                    <a:lnTo>
                      <a:pt x="3086" y="3246"/>
                    </a:lnTo>
                    <a:lnTo>
                      <a:pt x="3086" y="3244"/>
                    </a:lnTo>
                    <a:lnTo>
                      <a:pt x="3082" y="3242"/>
                    </a:lnTo>
                    <a:lnTo>
                      <a:pt x="3078" y="3240"/>
                    </a:lnTo>
                    <a:lnTo>
                      <a:pt x="3074" y="3242"/>
                    </a:lnTo>
                    <a:lnTo>
                      <a:pt x="3074" y="3242"/>
                    </a:lnTo>
                    <a:lnTo>
                      <a:pt x="3068" y="3246"/>
                    </a:lnTo>
                    <a:lnTo>
                      <a:pt x="3062" y="3246"/>
                    </a:lnTo>
                    <a:lnTo>
                      <a:pt x="3056" y="3244"/>
                    </a:lnTo>
                    <a:lnTo>
                      <a:pt x="3050" y="3242"/>
                    </a:lnTo>
                    <a:lnTo>
                      <a:pt x="3046" y="3236"/>
                    </a:lnTo>
                    <a:lnTo>
                      <a:pt x="3044" y="3232"/>
                    </a:lnTo>
                    <a:lnTo>
                      <a:pt x="3042" y="3228"/>
                    </a:lnTo>
                    <a:lnTo>
                      <a:pt x="3044" y="3224"/>
                    </a:lnTo>
                    <a:lnTo>
                      <a:pt x="3044" y="3224"/>
                    </a:lnTo>
                    <a:lnTo>
                      <a:pt x="3046" y="3224"/>
                    </a:lnTo>
                    <a:lnTo>
                      <a:pt x="3048" y="3224"/>
                    </a:lnTo>
                    <a:lnTo>
                      <a:pt x="3052" y="3230"/>
                    </a:lnTo>
                    <a:lnTo>
                      <a:pt x="3056" y="3238"/>
                    </a:lnTo>
                    <a:lnTo>
                      <a:pt x="3060" y="3242"/>
                    </a:lnTo>
                    <a:lnTo>
                      <a:pt x="3060" y="3242"/>
                    </a:lnTo>
                    <a:lnTo>
                      <a:pt x="3062" y="3244"/>
                    </a:lnTo>
                    <a:lnTo>
                      <a:pt x="3066" y="3242"/>
                    </a:lnTo>
                    <a:lnTo>
                      <a:pt x="3072" y="3240"/>
                    </a:lnTo>
                    <a:lnTo>
                      <a:pt x="3078" y="3236"/>
                    </a:lnTo>
                    <a:lnTo>
                      <a:pt x="3080" y="3236"/>
                    </a:lnTo>
                    <a:lnTo>
                      <a:pt x="3084" y="3236"/>
                    </a:lnTo>
                    <a:lnTo>
                      <a:pt x="3084" y="3236"/>
                    </a:lnTo>
                    <a:lnTo>
                      <a:pt x="3088" y="3240"/>
                    </a:lnTo>
                    <a:lnTo>
                      <a:pt x="3090" y="3242"/>
                    </a:lnTo>
                    <a:lnTo>
                      <a:pt x="3092" y="3246"/>
                    </a:lnTo>
                    <a:lnTo>
                      <a:pt x="3094" y="3248"/>
                    </a:lnTo>
                    <a:lnTo>
                      <a:pt x="3094" y="3248"/>
                    </a:lnTo>
                    <a:lnTo>
                      <a:pt x="3098" y="3248"/>
                    </a:lnTo>
                    <a:lnTo>
                      <a:pt x="3104" y="3248"/>
                    </a:lnTo>
                    <a:lnTo>
                      <a:pt x="3110" y="3250"/>
                    </a:lnTo>
                    <a:lnTo>
                      <a:pt x="3122" y="3256"/>
                    </a:lnTo>
                    <a:lnTo>
                      <a:pt x="3122" y="3256"/>
                    </a:lnTo>
                    <a:lnTo>
                      <a:pt x="3128" y="3258"/>
                    </a:lnTo>
                    <a:lnTo>
                      <a:pt x="3130" y="3258"/>
                    </a:lnTo>
                    <a:lnTo>
                      <a:pt x="3132" y="3256"/>
                    </a:lnTo>
                    <a:lnTo>
                      <a:pt x="3132" y="3254"/>
                    </a:lnTo>
                    <a:lnTo>
                      <a:pt x="3128" y="3244"/>
                    </a:lnTo>
                    <a:lnTo>
                      <a:pt x="3120" y="3236"/>
                    </a:lnTo>
                    <a:lnTo>
                      <a:pt x="3120" y="3236"/>
                    </a:lnTo>
                    <a:lnTo>
                      <a:pt x="3114" y="3230"/>
                    </a:lnTo>
                    <a:lnTo>
                      <a:pt x="3112" y="3226"/>
                    </a:lnTo>
                    <a:lnTo>
                      <a:pt x="3108" y="3220"/>
                    </a:lnTo>
                    <a:lnTo>
                      <a:pt x="3100" y="3212"/>
                    </a:lnTo>
                    <a:lnTo>
                      <a:pt x="3100" y="3212"/>
                    </a:lnTo>
                    <a:lnTo>
                      <a:pt x="3092" y="3206"/>
                    </a:lnTo>
                    <a:lnTo>
                      <a:pt x="3090" y="3200"/>
                    </a:lnTo>
                    <a:lnTo>
                      <a:pt x="3090" y="3192"/>
                    </a:lnTo>
                    <a:lnTo>
                      <a:pt x="3088" y="3186"/>
                    </a:lnTo>
                    <a:lnTo>
                      <a:pt x="3086" y="3178"/>
                    </a:lnTo>
                    <a:lnTo>
                      <a:pt x="3086" y="3178"/>
                    </a:lnTo>
                    <a:lnTo>
                      <a:pt x="3082" y="3168"/>
                    </a:lnTo>
                    <a:lnTo>
                      <a:pt x="3078" y="3158"/>
                    </a:lnTo>
                    <a:lnTo>
                      <a:pt x="3072" y="3138"/>
                    </a:lnTo>
                    <a:lnTo>
                      <a:pt x="3070" y="3130"/>
                    </a:lnTo>
                    <a:lnTo>
                      <a:pt x="3066" y="3122"/>
                    </a:lnTo>
                    <a:lnTo>
                      <a:pt x="3060" y="3116"/>
                    </a:lnTo>
                    <a:lnTo>
                      <a:pt x="3052" y="3112"/>
                    </a:lnTo>
                    <a:lnTo>
                      <a:pt x="3052" y="3112"/>
                    </a:lnTo>
                    <a:lnTo>
                      <a:pt x="3044" y="3108"/>
                    </a:lnTo>
                    <a:lnTo>
                      <a:pt x="3040" y="3104"/>
                    </a:lnTo>
                    <a:lnTo>
                      <a:pt x="3036" y="3098"/>
                    </a:lnTo>
                    <a:lnTo>
                      <a:pt x="3034" y="3094"/>
                    </a:lnTo>
                    <a:lnTo>
                      <a:pt x="3032" y="3094"/>
                    </a:lnTo>
                    <a:lnTo>
                      <a:pt x="3026" y="3096"/>
                    </a:lnTo>
                    <a:lnTo>
                      <a:pt x="3026" y="3096"/>
                    </a:lnTo>
                    <a:lnTo>
                      <a:pt x="3022" y="3096"/>
                    </a:lnTo>
                    <a:lnTo>
                      <a:pt x="3022" y="3092"/>
                    </a:lnTo>
                    <a:lnTo>
                      <a:pt x="3024" y="3084"/>
                    </a:lnTo>
                    <a:lnTo>
                      <a:pt x="3026" y="3076"/>
                    </a:lnTo>
                    <a:lnTo>
                      <a:pt x="3038" y="3058"/>
                    </a:lnTo>
                    <a:lnTo>
                      <a:pt x="3044" y="3052"/>
                    </a:lnTo>
                    <a:lnTo>
                      <a:pt x="3048" y="3048"/>
                    </a:lnTo>
                    <a:lnTo>
                      <a:pt x="3048" y="3048"/>
                    </a:lnTo>
                    <a:lnTo>
                      <a:pt x="3054" y="3044"/>
                    </a:lnTo>
                    <a:lnTo>
                      <a:pt x="3056" y="3042"/>
                    </a:lnTo>
                    <a:lnTo>
                      <a:pt x="3058" y="3038"/>
                    </a:lnTo>
                    <a:lnTo>
                      <a:pt x="3062" y="3034"/>
                    </a:lnTo>
                    <a:lnTo>
                      <a:pt x="3062" y="3034"/>
                    </a:lnTo>
                    <a:lnTo>
                      <a:pt x="3064" y="3032"/>
                    </a:lnTo>
                    <a:lnTo>
                      <a:pt x="3064" y="3028"/>
                    </a:lnTo>
                    <a:lnTo>
                      <a:pt x="3062" y="3024"/>
                    </a:lnTo>
                    <a:lnTo>
                      <a:pt x="3060" y="3020"/>
                    </a:lnTo>
                    <a:lnTo>
                      <a:pt x="3060" y="3018"/>
                    </a:lnTo>
                    <a:lnTo>
                      <a:pt x="3062" y="3018"/>
                    </a:lnTo>
                    <a:lnTo>
                      <a:pt x="3062" y="3018"/>
                    </a:lnTo>
                    <a:lnTo>
                      <a:pt x="3064" y="3016"/>
                    </a:lnTo>
                    <a:lnTo>
                      <a:pt x="3066" y="3016"/>
                    </a:lnTo>
                    <a:lnTo>
                      <a:pt x="3066" y="3020"/>
                    </a:lnTo>
                    <a:lnTo>
                      <a:pt x="3068" y="3022"/>
                    </a:lnTo>
                    <a:lnTo>
                      <a:pt x="3070" y="3024"/>
                    </a:lnTo>
                    <a:lnTo>
                      <a:pt x="3072" y="3024"/>
                    </a:lnTo>
                    <a:lnTo>
                      <a:pt x="3076" y="3022"/>
                    </a:lnTo>
                    <a:lnTo>
                      <a:pt x="3076" y="3022"/>
                    </a:lnTo>
                    <a:lnTo>
                      <a:pt x="3080" y="3020"/>
                    </a:lnTo>
                    <a:lnTo>
                      <a:pt x="3082" y="3018"/>
                    </a:lnTo>
                    <a:lnTo>
                      <a:pt x="3084" y="3012"/>
                    </a:lnTo>
                    <a:lnTo>
                      <a:pt x="3086" y="3008"/>
                    </a:lnTo>
                    <a:lnTo>
                      <a:pt x="3088" y="3006"/>
                    </a:lnTo>
                    <a:lnTo>
                      <a:pt x="3090" y="3008"/>
                    </a:lnTo>
                    <a:lnTo>
                      <a:pt x="3090" y="3008"/>
                    </a:lnTo>
                    <a:lnTo>
                      <a:pt x="3092" y="3008"/>
                    </a:lnTo>
                    <a:lnTo>
                      <a:pt x="3094" y="3006"/>
                    </a:lnTo>
                    <a:lnTo>
                      <a:pt x="3096" y="3002"/>
                    </a:lnTo>
                    <a:lnTo>
                      <a:pt x="3100" y="2996"/>
                    </a:lnTo>
                    <a:lnTo>
                      <a:pt x="3106" y="2990"/>
                    </a:lnTo>
                    <a:lnTo>
                      <a:pt x="3106" y="2990"/>
                    </a:lnTo>
                    <a:lnTo>
                      <a:pt x="3114" y="2988"/>
                    </a:lnTo>
                    <a:lnTo>
                      <a:pt x="3118" y="2988"/>
                    </a:lnTo>
                    <a:lnTo>
                      <a:pt x="3122" y="2986"/>
                    </a:lnTo>
                    <a:lnTo>
                      <a:pt x="3128" y="2982"/>
                    </a:lnTo>
                    <a:lnTo>
                      <a:pt x="3128" y="2982"/>
                    </a:lnTo>
                    <a:lnTo>
                      <a:pt x="3134" y="2976"/>
                    </a:lnTo>
                    <a:lnTo>
                      <a:pt x="3136" y="2976"/>
                    </a:lnTo>
                    <a:lnTo>
                      <a:pt x="3138" y="2978"/>
                    </a:lnTo>
                    <a:lnTo>
                      <a:pt x="3140" y="2978"/>
                    </a:lnTo>
                    <a:lnTo>
                      <a:pt x="3140" y="2978"/>
                    </a:lnTo>
                    <a:lnTo>
                      <a:pt x="3142" y="2976"/>
                    </a:lnTo>
                    <a:lnTo>
                      <a:pt x="3142" y="2978"/>
                    </a:lnTo>
                    <a:lnTo>
                      <a:pt x="3144" y="2980"/>
                    </a:lnTo>
                    <a:lnTo>
                      <a:pt x="3144" y="2982"/>
                    </a:lnTo>
                    <a:lnTo>
                      <a:pt x="3144" y="2982"/>
                    </a:lnTo>
                    <a:lnTo>
                      <a:pt x="3148" y="2984"/>
                    </a:lnTo>
                    <a:lnTo>
                      <a:pt x="3152" y="2982"/>
                    </a:lnTo>
                    <a:lnTo>
                      <a:pt x="3152" y="2982"/>
                    </a:lnTo>
                    <a:lnTo>
                      <a:pt x="3156" y="2980"/>
                    </a:lnTo>
                    <a:lnTo>
                      <a:pt x="3158" y="2978"/>
                    </a:lnTo>
                    <a:lnTo>
                      <a:pt x="3156" y="2974"/>
                    </a:lnTo>
                    <a:lnTo>
                      <a:pt x="3156" y="2972"/>
                    </a:lnTo>
                    <a:lnTo>
                      <a:pt x="3156" y="2970"/>
                    </a:lnTo>
                    <a:lnTo>
                      <a:pt x="3158" y="2966"/>
                    </a:lnTo>
                    <a:lnTo>
                      <a:pt x="3162" y="2960"/>
                    </a:lnTo>
                    <a:lnTo>
                      <a:pt x="3162" y="2960"/>
                    </a:lnTo>
                    <a:lnTo>
                      <a:pt x="3164" y="2958"/>
                    </a:lnTo>
                    <a:lnTo>
                      <a:pt x="3164" y="2956"/>
                    </a:lnTo>
                    <a:lnTo>
                      <a:pt x="3158" y="2952"/>
                    </a:lnTo>
                    <a:lnTo>
                      <a:pt x="3150" y="2950"/>
                    </a:lnTo>
                    <a:lnTo>
                      <a:pt x="3144" y="2946"/>
                    </a:lnTo>
                    <a:lnTo>
                      <a:pt x="3144" y="2946"/>
                    </a:lnTo>
                    <a:lnTo>
                      <a:pt x="3140" y="2942"/>
                    </a:lnTo>
                    <a:lnTo>
                      <a:pt x="3138" y="2944"/>
                    </a:lnTo>
                    <a:lnTo>
                      <a:pt x="3134" y="2948"/>
                    </a:lnTo>
                    <a:lnTo>
                      <a:pt x="3132" y="2948"/>
                    </a:lnTo>
                    <a:lnTo>
                      <a:pt x="3126" y="2950"/>
                    </a:lnTo>
                    <a:lnTo>
                      <a:pt x="3126" y="2950"/>
                    </a:lnTo>
                    <a:lnTo>
                      <a:pt x="3116" y="2948"/>
                    </a:lnTo>
                    <a:lnTo>
                      <a:pt x="3114" y="2944"/>
                    </a:lnTo>
                    <a:lnTo>
                      <a:pt x="3112" y="2942"/>
                    </a:lnTo>
                    <a:lnTo>
                      <a:pt x="3108" y="2942"/>
                    </a:lnTo>
                    <a:lnTo>
                      <a:pt x="3108" y="2942"/>
                    </a:lnTo>
                    <a:lnTo>
                      <a:pt x="3102" y="2942"/>
                    </a:lnTo>
                    <a:lnTo>
                      <a:pt x="3102" y="2942"/>
                    </a:lnTo>
                    <a:lnTo>
                      <a:pt x="3100" y="2938"/>
                    </a:lnTo>
                    <a:lnTo>
                      <a:pt x="3096" y="2934"/>
                    </a:lnTo>
                    <a:lnTo>
                      <a:pt x="3096" y="2934"/>
                    </a:lnTo>
                    <a:lnTo>
                      <a:pt x="3094" y="2930"/>
                    </a:lnTo>
                    <a:lnTo>
                      <a:pt x="3090" y="2930"/>
                    </a:lnTo>
                    <a:lnTo>
                      <a:pt x="3080" y="2930"/>
                    </a:lnTo>
                    <a:lnTo>
                      <a:pt x="3072" y="2934"/>
                    </a:lnTo>
                    <a:lnTo>
                      <a:pt x="3066" y="2940"/>
                    </a:lnTo>
                    <a:lnTo>
                      <a:pt x="3066" y="2940"/>
                    </a:lnTo>
                    <a:lnTo>
                      <a:pt x="3062" y="2946"/>
                    </a:lnTo>
                    <a:lnTo>
                      <a:pt x="3056" y="2950"/>
                    </a:lnTo>
                    <a:lnTo>
                      <a:pt x="3052" y="2952"/>
                    </a:lnTo>
                    <a:lnTo>
                      <a:pt x="3050" y="2954"/>
                    </a:lnTo>
                    <a:lnTo>
                      <a:pt x="3050" y="2958"/>
                    </a:lnTo>
                    <a:lnTo>
                      <a:pt x="3050" y="2958"/>
                    </a:lnTo>
                    <a:lnTo>
                      <a:pt x="3052" y="2962"/>
                    </a:lnTo>
                    <a:lnTo>
                      <a:pt x="3050" y="2964"/>
                    </a:lnTo>
                    <a:lnTo>
                      <a:pt x="3044" y="2966"/>
                    </a:lnTo>
                    <a:lnTo>
                      <a:pt x="3032" y="2968"/>
                    </a:lnTo>
                    <a:lnTo>
                      <a:pt x="3032" y="2968"/>
                    </a:lnTo>
                    <a:lnTo>
                      <a:pt x="3026" y="2968"/>
                    </a:lnTo>
                    <a:lnTo>
                      <a:pt x="3020" y="2964"/>
                    </a:lnTo>
                    <a:lnTo>
                      <a:pt x="3018" y="2960"/>
                    </a:lnTo>
                    <a:lnTo>
                      <a:pt x="3014" y="2956"/>
                    </a:lnTo>
                    <a:lnTo>
                      <a:pt x="3014" y="2946"/>
                    </a:lnTo>
                    <a:lnTo>
                      <a:pt x="3014" y="2940"/>
                    </a:lnTo>
                    <a:lnTo>
                      <a:pt x="3016" y="2938"/>
                    </a:lnTo>
                    <a:lnTo>
                      <a:pt x="3016" y="2938"/>
                    </a:lnTo>
                    <a:lnTo>
                      <a:pt x="3018" y="2934"/>
                    </a:lnTo>
                    <a:lnTo>
                      <a:pt x="3018" y="2930"/>
                    </a:lnTo>
                    <a:lnTo>
                      <a:pt x="3014" y="2922"/>
                    </a:lnTo>
                    <a:lnTo>
                      <a:pt x="3008" y="2914"/>
                    </a:lnTo>
                    <a:lnTo>
                      <a:pt x="3004" y="2912"/>
                    </a:lnTo>
                    <a:lnTo>
                      <a:pt x="3002" y="2912"/>
                    </a:lnTo>
                    <a:lnTo>
                      <a:pt x="3002" y="2912"/>
                    </a:lnTo>
                    <a:lnTo>
                      <a:pt x="2996" y="2914"/>
                    </a:lnTo>
                    <a:lnTo>
                      <a:pt x="2988" y="2914"/>
                    </a:lnTo>
                    <a:lnTo>
                      <a:pt x="2980" y="2914"/>
                    </a:lnTo>
                    <a:lnTo>
                      <a:pt x="2976" y="2912"/>
                    </a:lnTo>
                    <a:lnTo>
                      <a:pt x="2974" y="2910"/>
                    </a:lnTo>
                    <a:lnTo>
                      <a:pt x="2974" y="2910"/>
                    </a:lnTo>
                    <a:lnTo>
                      <a:pt x="2970" y="2906"/>
                    </a:lnTo>
                    <a:lnTo>
                      <a:pt x="2966" y="2904"/>
                    </a:lnTo>
                    <a:lnTo>
                      <a:pt x="2962" y="2900"/>
                    </a:lnTo>
                    <a:lnTo>
                      <a:pt x="2958" y="2890"/>
                    </a:lnTo>
                    <a:lnTo>
                      <a:pt x="2958" y="2890"/>
                    </a:lnTo>
                    <a:lnTo>
                      <a:pt x="2958" y="2880"/>
                    </a:lnTo>
                    <a:lnTo>
                      <a:pt x="2960" y="2872"/>
                    </a:lnTo>
                    <a:lnTo>
                      <a:pt x="2962" y="2868"/>
                    </a:lnTo>
                    <a:lnTo>
                      <a:pt x="2964" y="2862"/>
                    </a:lnTo>
                    <a:lnTo>
                      <a:pt x="2964" y="2862"/>
                    </a:lnTo>
                    <a:lnTo>
                      <a:pt x="2966" y="2856"/>
                    </a:lnTo>
                    <a:lnTo>
                      <a:pt x="2970" y="2854"/>
                    </a:lnTo>
                    <a:lnTo>
                      <a:pt x="2976" y="2854"/>
                    </a:lnTo>
                    <a:lnTo>
                      <a:pt x="2982" y="2860"/>
                    </a:lnTo>
                    <a:lnTo>
                      <a:pt x="2982" y="2860"/>
                    </a:lnTo>
                    <a:lnTo>
                      <a:pt x="2986" y="2864"/>
                    </a:lnTo>
                    <a:lnTo>
                      <a:pt x="2988" y="2864"/>
                    </a:lnTo>
                    <a:lnTo>
                      <a:pt x="2992" y="2862"/>
                    </a:lnTo>
                    <a:lnTo>
                      <a:pt x="2996" y="2856"/>
                    </a:lnTo>
                    <a:lnTo>
                      <a:pt x="3000" y="2856"/>
                    </a:lnTo>
                    <a:lnTo>
                      <a:pt x="3002" y="2856"/>
                    </a:lnTo>
                    <a:lnTo>
                      <a:pt x="3002" y="2856"/>
                    </a:lnTo>
                    <a:lnTo>
                      <a:pt x="3010" y="2856"/>
                    </a:lnTo>
                    <a:lnTo>
                      <a:pt x="3018" y="2854"/>
                    </a:lnTo>
                    <a:lnTo>
                      <a:pt x="3024" y="2846"/>
                    </a:lnTo>
                    <a:lnTo>
                      <a:pt x="3026" y="2836"/>
                    </a:lnTo>
                    <a:lnTo>
                      <a:pt x="3026" y="2836"/>
                    </a:lnTo>
                    <a:lnTo>
                      <a:pt x="3026" y="2830"/>
                    </a:lnTo>
                    <a:lnTo>
                      <a:pt x="3032" y="2824"/>
                    </a:lnTo>
                    <a:lnTo>
                      <a:pt x="3044" y="2814"/>
                    </a:lnTo>
                    <a:lnTo>
                      <a:pt x="3058" y="2806"/>
                    </a:lnTo>
                    <a:lnTo>
                      <a:pt x="3070" y="2802"/>
                    </a:lnTo>
                    <a:lnTo>
                      <a:pt x="3070" y="2802"/>
                    </a:lnTo>
                    <a:lnTo>
                      <a:pt x="3076" y="2798"/>
                    </a:lnTo>
                    <a:lnTo>
                      <a:pt x="3078" y="2794"/>
                    </a:lnTo>
                    <a:lnTo>
                      <a:pt x="3080" y="2786"/>
                    </a:lnTo>
                    <a:lnTo>
                      <a:pt x="3088" y="2778"/>
                    </a:lnTo>
                    <a:lnTo>
                      <a:pt x="3088" y="2778"/>
                    </a:lnTo>
                    <a:lnTo>
                      <a:pt x="3094" y="2770"/>
                    </a:lnTo>
                    <a:lnTo>
                      <a:pt x="3094" y="2768"/>
                    </a:lnTo>
                    <a:lnTo>
                      <a:pt x="3096" y="2766"/>
                    </a:lnTo>
                    <a:lnTo>
                      <a:pt x="3100" y="2762"/>
                    </a:lnTo>
                    <a:lnTo>
                      <a:pt x="3100" y="2762"/>
                    </a:lnTo>
                    <a:lnTo>
                      <a:pt x="3104" y="2760"/>
                    </a:lnTo>
                    <a:lnTo>
                      <a:pt x="3108" y="2760"/>
                    </a:lnTo>
                    <a:lnTo>
                      <a:pt x="3114" y="2760"/>
                    </a:lnTo>
                    <a:lnTo>
                      <a:pt x="3120" y="2762"/>
                    </a:lnTo>
                    <a:lnTo>
                      <a:pt x="3122" y="2762"/>
                    </a:lnTo>
                    <a:lnTo>
                      <a:pt x="3124" y="2762"/>
                    </a:lnTo>
                    <a:lnTo>
                      <a:pt x="3124" y="2762"/>
                    </a:lnTo>
                    <a:lnTo>
                      <a:pt x="3128" y="2760"/>
                    </a:lnTo>
                    <a:lnTo>
                      <a:pt x="3130" y="2760"/>
                    </a:lnTo>
                    <a:lnTo>
                      <a:pt x="3132" y="2764"/>
                    </a:lnTo>
                    <a:lnTo>
                      <a:pt x="3138" y="2770"/>
                    </a:lnTo>
                    <a:lnTo>
                      <a:pt x="3138" y="2770"/>
                    </a:lnTo>
                    <a:lnTo>
                      <a:pt x="3144" y="2778"/>
                    </a:lnTo>
                    <a:lnTo>
                      <a:pt x="3146" y="2782"/>
                    </a:lnTo>
                    <a:lnTo>
                      <a:pt x="3144" y="2790"/>
                    </a:lnTo>
                    <a:lnTo>
                      <a:pt x="3138" y="2800"/>
                    </a:lnTo>
                    <a:lnTo>
                      <a:pt x="3138" y="2800"/>
                    </a:lnTo>
                    <a:lnTo>
                      <a:pt x="3132" y="2806"/>
                    </a:lnTo>
                    <a:lnTo>
                      <a:pt x="3128" y="2810"/>
                    </a:lnTo>
                    <a:lnTo>
                      <a:pt x="3120" y="2816"/>
                    </a:lnTo>
                    <a:lnTo>
                      <a:pt x="3114" y="2820"/>
                    </a:lnTo>
                    <a:lnTo>
                      <a:pt x="3114" y="2822"/>
                    </a:lnTo>
                    <a:lnTo>
                      <a:pt x="3114" y="2824"/>
                    </a:lnTo>
                    <a:lnTo>
                      <a:pt x="3114" y="2824"/>
                    </a:lnTo>
                    <a:lnTo>
                      <a:pt x="3116" y="2826"/>
                    </a:lnTo>
                    <a:lnTo>
                      <a:pt x="3114" y="2828"/>
                    </a:lnTo>
                    <a:lnTo>
                      <a:pt x="3110" y="2832"/>
                    </a:lnTo>
                    <a:lnTo>
                      <a:pt x="3104" y="2834"/>
                    </a:lnTo>
                    <a:lnTo>
                      <a:pt x="3104" y="2836"/>
                    </a:lnTo>
                    <a:lnTo>
                      <a:pt x="3106" y="2836"/>
                    </a:lnTo>
                    <a:lnTo>
                      <a:pt x="3106" y="2836"/>
                    </a:lnTo>
                    <a:lnTo>
                      <a:pt x="3110" y="2840"/>
                    </a:lnTo>
                    <a:lnTo>
                      <a:pt x="3116" y="2844"/>
                    </a:lnTo>
                    <a:lnTo>
                      <a:pt x="3120" y="2850"/>
                    </a:lnTo>
                    <a:lnTo>
                      <a:pt x="3122" y="2854"/>
                    </a:lnTo>
                    <a:lnTo>
                      <a:pt x="3122" y="2858"/>
                    </a:lnTo>
                    <a:lnTo>
                      <a:pt x="3122" y="2858"/>
                    </a:lnTo>
                    <a:lnTo>
                      <a:pt x="3120" y="2862"/>
                    </a:lnTo>
                    <a:lnTo>
                      <a:pt x="3118" y="2864"/>
                    </a:lnTo>
                    <a:lnTo>
                      <a:pt x="3116" y="2862"/>
                    </a:lnTo>
                    <a:lnTo>
                      <a:pt x="3112" y="2860"/>
                    </a:lnTo>
                    <a:lnTo>
                      <a:pt x="3110" y="2862"/>
                    </a:lnTo>
                    <a:lnTo>
                      <a:pt x="3108" y="2864"/>
                    </a:lnTo>
                    <a:lnTo>
                      <a:pt x="3108" y="2864"/>
                    </a:lnTo>
                    <a:lnTo>
                      <a:pt x="3106" y="2868"/>
                    </a:lnTo>
                    <a:lnTo>
                      <a:pt x="3102" y="2868"/>
                    </a:lnTo>
                    <a:lnTo>
                      <a:pt x="3102" y="2868"/>
                    </a:lnTo>
                    <a:lnTo>
                      <a:pt x="3100" y="2876"/>
                    </a:lnTo>
                    <a:lnTo>
                      <a:pt x="3100" y="2876"/>
                    </a:lnTo>
                    <a:lnTo>
                      <a:pt x="3100" y="2880"/>
                    </a:lnTo>
                    <a:lnTo>
                      <a:pt x="3102" y="2882"/>
                    </a:lnTo>
                    <a:lnTo>
                      <a:pt x="3104" y="2882"/>
                    </a:lnTo>
                    <a:lnTo>
                      <a:pt x="3106" y="2880"/>
                    </a:lnTo>
                    <a:lnTo>
                      <a:pt x="3112" y="2878"/>
                    </a:lnTo>
                    <a:lnTo>
                      <a:pt x="3120" y="2874"/>
                    </a:lnTo>
                    <a:lnTo>
                      <a:pt x="3120" y="2874"/>
                    </a:lnTo>
                    <a:lnTo>
                      <a:pt x="3124" y="2874"/>
                    </a:lnTo>
                    <a:lnTo>
                      <a:pt x="3124" y="2872"/>
                    </a:lnTo>
                    <a:lnTo>
                      <a:pt x="3124" y="2868"/>
                    </a:lnTo>
                    <a:lnTo>
                      <a:pt x="3124" y="2866"/>
                    </a:lnTo>
                    <a:lnTo>
                      <a:pt x="3124" y="2866"/>
                    </a:lnTo>
                    <a:lnTo>
                      <a:pt x="3128" y="2866"/>
                    </a:lnTo>
                    <a:lnTo>
                      <a:pt x="3132" y="2866"/>
                    </a:lnTo>
                    <a:lnTo>
                      <a:pt x="3136" y="2864"/>
                    </a:lnTo>
                    <a:lnTo>
                      <a:pt x="3142" y="2856"/>
                    </a:lnTo>
                    <a:lnTo>
                      <a:pt x="3142" y="2856"/>
                    </a:lnTo>
                    <a:lnTo>
                      <a:pt x="3148" y="2848"/>
                    </a:lnTo>
                    <a:lnTo>
                      <a:pt x="3152" y="2844"/>
                    </a:lnTo>
                    <a:lnTo>
                      <a:pt x="3156" y="2840"/>
                    </a:lnTo>
                    <a:lnTo>
                      <a:pt x="3162" y="2836"/>
                    </a:lnTo>
                    <a:lnTo>
                      <a:pt x="3162" y="2836"/>
                    </a:lnTo>
                    <a:lnTo>
                      <a:pt x="3164" y="2834"/>
                    </a:lnTo>
                    <a:lnTo>
                      <a:pt x="3168" y="2832"/>
                    </a:lnTo>
                    <a:lnTo>
                      <a:pt x="3176" y="2830"/>
                    </a:lnTo>
                    <a:lnTo>
                      <a:pt x="3182" y="2830"/>
                    </a:lnTo>
                    <a:lnTo>
                      <a:pt x="3186" y="2828"/>
                    </a:lnTo>
                    <a:lnTo>
                      <a:pt x="3188" y="2826"/>
                    </a:lnTo>
                    <a:lnTo>
                      <a:pt x="3188" y="2826"/>
                    </a:lnTo>
                    <a:lnTo>
                      <a:pt x="3190" y="2822"/>
                    </a:lnTo>
                    <a:lnTo>
                      <a:pt x="3194" y="2822"/>
                    </a:lnTo>
                    <a:lnTo>
                      <a:pt x="3196" y="2824"/>
                    </a:lnTo>
                    <a:lnTo>
                      <a:pt x="3200" y="2822"/>
                    </a:lnTo>
                    <a:lnTo>
                      <a:pt x="3200" y="2822"/>
                    </a:lnTo>
                    <a:lnTo>
                      <a:pt x="3202" y="2820"/>
                    </a:lnTo>
                    <a:lnTo>
                      <a:pt x="3206" y="2820"/>
                    </a:lnTo>
                    <a:lnTo>
                      <a:pt x="3212" y="2820"/>
                    </a:lnTo>
                    <a:lnTo>
                      <a:pt x="3220" y="2818"/>
                    </a:lnTo>
                    <a:lnTo>
                      <a:pt x="3226" y="2816"/>
                    </a:lnTo>
                    <a:lnTo>
                      <a:pt x="3230" y="2812"/>
                    </a:lnTo>
                    <a:lnTo>
                      <a:pt x="3232" y="2808"/>
                    </a:lnTo>
                    <a:lnTo>
                      <a:pt x="3230" y="2812"/>
                    </a:lnTo>
                    <a:lnTo>
                      <a:pt x="3230" y="2812"/>
                    </a:lnTo>
                    <a:lnTo>
                      <a:pt x="3232" y="2818"/>
                    </a:lnTo>
                    <a:lnTo>
                      <a:pt x="3236" y="2824"/>
                    </a:lnTo>
                    <a:lnTo>
                      <a:pt x="3242" y="2828"/>
                    </a:lnTo>
                    <a:lnTo>
                      <a:pt x="3244" y="2830"/>
                    </a:lnTo>
                    <a:lnTo>
                      <a:pt x="3246" y="2828"/>
                    </a:lnTo>
                    <a:lnTo>
                      <a:pt x="3246" y="2828"/>
                    </a:lnTo>
                    <a:lnTo>
                      <a:pt x="3250" y="2828"/>
                    </a:lnTo>
                    <a:lnTo>
                      <a:pt x="3254" y="2828"/>
                    </a:lnTo>
                    <a:lnTo>
                      <a:pt x="3264" y="2832"/>
                    </a:lnTo>
                    <a:lnTo>
                      <a:pt x="3268" y="2836"/>
                    </a:lnTo>
                    <a:lnTo>
                      <a:pt x="3272" y="2840"/>
                    </a:lnTo>
                    <a:lnTo>
                      <a:pt x="3274" y="2846"/>
                    </a:lnTo>
                    <a:lnTo>
                      <a:pt x="3272" y="2850"/>
                    </a:lnTo>
                    <a:lnTo>
                      <a:pt x="3272" y="2850"/>
                    </a:lnTo>
                    <a:lnTo>
                      <a:pt x="3264" y="2868"/>
                    </a:lnTo>
                    <a:lnTo>
                      <a:pt x="3262" y="2876"/>
                    </a:lnTo>
                    <a:lnTo>
                      <a:pt x="3262" y="2878"/>
                    </a:lnTo>
                    <a:lnTo>
                      <a:pt x="3264" y="2880"/>
                    </a:lnTo>
                    <a:lnTo>
                      <a:pt x="3264" y="2880"/>
                    </a:lnTo>
                    <a:lnTo>
                      <a:pt x="3266" y="2884"/>
                    </a:lnTo>
                    <a:lnTo>
                      <a:pt x="3262" y="2886"/>
                    </a:lnTo>
                    <a:lnTo>
                      <a:pt x="3258" y="2892"/>
                    </a:lnTo>
                    <a:lnTo>
                      <a:pt x="3254" y="2900"/>
                    </a:lnTo>
                    <a:lnTo>
                      <a:pt x="3254" y="2900"/>
                    </a:lnTo>
                    <a:lnTo>
                      <a:pt x="3250" y="2906"/>
                    </a:lnTo>
                    <a:lnTo>
                      <a:pt x="3248" y="2910"/>
                    </a:lnTo>
                    <a:lnTo>
                      <a:pt x="3244" y="2914"/>
                    </a:lnTo>
                    <a:lnTo>
                      <a:pt x="3242" y="2914"/>
                    </a:lnTo>
                    <a:lnTo>
                      <a:pt x="3242" y="2914"/>
                    </a:lnTo>
                    <a:lnTo>
                      <a:pt x="3252" y="2916"/>
                    </a:lnTo>
                    <a:lnTo>
                      <a:pt x="3252" y="2916"/>
                    </a:lnTo>
                    <a:lnTo>
                      <a:pt x="3258" y="2918"/>
                    </a:lnTo>
                    <a:lnTo>
                      <a:pt x="3260" y="2918"/>
                    </a:lnTo>
                    <a:lnTo>
                      <a:pt x="3258" y="2920"/>
                    </a:lnTo>
                    <a:lnTo>
                      <a:pt x="3258" y="2922"/>
                    </a:lnTo>
                    <a:lnTo>
                      <a:pt x="3254" y="2924"/>
                    </a:lnTo>
                    <a:lnTo>
                      <a:pt x="3256" y="2926"/>
                    </a:lnTo>
                    <a:lnTo>
                      <a:pt x="3262" y="2928"/>
                    </a:lnTo>
                    <a:lnTo>
                      <a:pt x="3262" y="2928"/>
                    </a:lnTo>
                    <a:lnTo>
                      <a:pt x="3268" y="2928"/>
                    </a:lnTo>
                    <a:lnTo>
                      <a:pt x="3270" y="2930"/>
                    </a:lnTo>
                    <a:lnTo>
                      <a:pt x="3270" y="2932"/>
                    </a:lnTo>
                    <a:lnTo>
                      <a:pt x="3270" y="2934"/>
                    </a:lnTo>
                    <a:lnTo>
                      <a:pt x="3270" y="2938"/>
                    </a:lnTo>
                    <a:lnTo>
                      <a:pt x="3274" y="2936"/>
                    </a:lnTo>
                    <a:lnTo>
                      <a:pt x="3274" y="2936"/>
                    </a:lnTo>
                    <a:lnTo>
                      <a:pt x="3278" y="2934"/>
                    </a:lnTo>
                    <a:lnTo>
                      <a:pt x="3280" y="2930"/>
                    </a:lnTo>
                    <a:lnTo>
                      <a:pt x="3282" y="2924"/>
                    </a:lnTo>
                    <a:lnTo>
                      <a:pt x="3284" y="2922"/>
                    </a:lnTo>
                    <a:lnTo>
                      <a:pt x="3284" y="2922"/>
                    </a:lnTo>
                    <a:lnTo>
                      <a:pt x="3292" y="2926"/>
                    </a:lnTo>
                    <a:lnTo>
                      <a:pt x="3292" y="2926"/>
                    </a:lnTo>
                    <a:lnTo>
                      <a:pt x="3300" y="2934"/>
                    </a:lnTo>
                    <a:lnTo>
                      <a:pt x="3302" y="2934"/>
                    </a:lnTo>
                    <a:lnTo>
                      <a:pt x="3304" y="2930"/>
                    </a:lnTo>
                    <a:lnTo>
                      <a:pt x="3304" y="2930"/>
                    </a:lnTo>
                    <a:lnTo>
                      <a:pt x="3304" y="2928"/>
                    </a:lnTo>
                    <a:lnTo>
                      <a:pt x="3306" y="2926"/>
                    </a:lnTo>
                    <a:lnTo>
                      <a:pt x="3312" y="2928"/>
                    </a:lnTo>
                    <a:lnTo>
                      <a:pt x="3318" y="2930"/>
                    </a:lnTo>
                    <a:lnTo>
                      <a:pt x="3324" y="2930"/>
                    </a:lnTo>
                    <a:lnTo>
                      <a:pt x="3324" y="2930"/>
                    </a:lnTo>
                    <a:lnTo>
                      <a:pt x="3324" y="2934"/>
                    </a:lnTo>
                    <a:lnTo>
                      <a:pt x="3324" y="2934"/>
                    </a:lnTo>
                    <a:lnTo>
                      <a:pt x="3322" y="2934"/>
                    </a:lnTo>
                    <a:lnTo>
                      <a:pt x="3320" y="2938"/>
                    </a:lnTo>
                    <a:lnTo>
                      <a:pt x="3320" y="2938"/>
                    </a:lnTo>
                    <a:lnTo>
                      <a:pt x="3320" y="2942"/>
                    </a:lnTo>
                    <a:lnTo>
                      <a:pt x="3324" y="2948"/>
                    </a:lnTo>
                    <a:lnTo>
                      <a:pt x="3326" y="2954"/>
                    </a:lnTo>
                    <a:lnTo>
                      <a:pt x="3326" y="2958"/>
                    </a:lnTo>
                    <a:lnTo>
                      <a:pt x="3324" y="2960"/>
                    </a:lnTo>
                    <a:lnTo>
                      <a:pt x="3324" y="2960"/>
                    </a:lnTo>
                    <a:lnTo>
                      <a:pt x="3324" y="2962"/>
                    </a:lnTo>
                    <a:lnTo>
                      <a:pt x="3324" y="2966"/>
                    </a:lnTo>
                    <a:lnTo>
                      <a:pt x="3328" y="2970"/>
                    </a:lnTo>
                    <a:lnTo>
                      <a:pt x="3332" y="2974"/>
                    </a:lnTo>
                    <a:lnTo>
                      <a:pt x="3334" y="2976"/>
                    </a:lnTo>
                    <a:lnTo>
                      <a:pt x="3334" y="2980"/>
                    </a:lnTo>
                    <a:lnTo>
                      <a:pt x="3334" y="2980"/>
                    </a:lnTo>
                    <a:lnTo>
                      <a:pt x="3332" y="2982"/>
                    </a:lnTo>
                    <a:lnTo>
                      <a:pt x="3330" y="2980"/>
                    </a:lnTo>
                    <a:lnTo>
                      <a:pt x="3328" y="2976"/>
                    </a:lnTo>
                    <a:lnTo>
                      <a:pt x="3326" y="2974"/>
                    </a:lnTo>
                    <a:lnTo>
                      <a:pt x="3322" y="2974"/>
                    </a:lnTo>
                    <a:lnTo>
                      <a:pt x="3322" y="2974"/>
                    </a:lnTo>
                    <a:lnTo>
                      <a:pt x="3312" y="2974"/>
                    </a:lnTo>
                    <a:lnTo>
                      <a:pt x="3310" y="2974"/>
                    </a:lnTo>
                    <a:lnTo>
                      <a:pt x="3312" y="2978"/>
                    </a:lnTo>
                    <a:lnTo>
                      <a:pt x="3312" y="2978"/>
                    </a:lnTo>
                    <a:lnTo>
                      <a:pt x="3312" y="2980"/>
                    </a:lnTo>
                    <a:lnTo>
                      <a:pt x="3312" y="2982"/>
                    </a:lnTo>
                    <a:lnTo>
                      <a:pt x="3310" y="2982"/>
                    </a:lnTo>
                    <a:lnTo>
                      <a:pt x="3308" y="2980"/>
                    </a:lnTo>
                    <a:lnTo>
                      <a:pt x="3308" y="2980"/>
                    </a:lnTo>
                    <a:lnTo>
                      <a:pt x="3306" y="2980"/>
                    </a:lnTo>
                    <a:lnTo>
                      <a:pt x="3302" y="2984"/>
                    </a:lnTo>
                    <a:lnTo>
                      <a:pt x="3302" y="2988"/>
                    </a:lnTo>
                    <a:lnTo>
                      <a:pt x="3304" y="2992"/>
                    </a:lnTo>
                    <a:lnTo>
                      <a:pt x="3304" y="2992"/>
                    </a:lnTo>
                    <a:lnTo>
                      <a:pt x="3308" y="2994"/>
                    </a:lnTo>
                    <a:lnTo>
                      <a:pt x="3312" y="2992"/>
                    </a:lnTo>
                    <a:lnTo>
                      <a:pt x="3314" y="2992"/>
                    </a:lnTo>
                    <a:lnTo>
                      <a:pt x="3316" y="2998"/>
                    </a:lnTo>
                    <a:lnTo>
                      <a:pt x="3316" y="2998"/>
                    </a:lnTo>
                    <a:lnTo>
                      <a:pt x="3318" y="3014"/>
                    </a:lnTo>
                    <a:lnTo>
                      <a:pt x="3318" y="3020"/>
                    </a:lnTo>
                    <a:lnTo>
                      <a:pt x="3320" y="3022"/>
                    </a:lnTo>
                    <a:lnTo>
                      <a:pt x="3320" y="3022"/>
                    </a:lnTo>
                    <a:lnTo>
                      <a:pt x="3324" y="3026"/>
                    </a:lnTo>
                    <a:lnTo>
                      <a:pt x="3324" y="3028"/>
                    </a:lnTo>
                    <a:lnTo>
                      <a:pt x="3322" y="3030"/>
                    </a:lnTo>
                    <a:lnTo>
                      <a:pt x="3324" y="3034"/>
                    </a:lnTo>
                    <a:lnTo>
                      <a:pt x="3324" y="3034"/>
                    </a:lnTo>
                    <a:lnTo>
                      <a:pt x="3326" y="3038"/>
                    </a:lnTo>
                    <a:lnTo>
                      <a:pt x="3324" y="3042"/>
                    </a:lnTo>
                    <a:lnTo>
                      <a:pt x="3320" y="3046"/>
                    </a:lnTo>
                    <a:lnTo>
                      <a:pt x="3316" y="3054"/>
                    </a:lnTo>
                    <a:lnTo>
                      <a:pt x="3316" y="3054"/>
                    </a:lnTo>
                    <a:lnTo>
                      <a:pt x="3308" y="3070"/>
                    </a:lnTo>
                    <a:lnTo>
                      <a:pt x="3308" y="3076"/>
                    </a:lnTo>
                    <a:lnTo>
                      <a:pt x="3308" y="3078"/>
                    </a:lnTo>
                    <a:lnTo>
                      <a:pt x="3308" y="3078"/>
                    </a:lnTo>
                    <a:lnTo>
                      <a:pt x="3310" y="3082"/>
                    </a:lnTo>
                    <a:lnTo>
                      <a:pt x="3310" y="3084"/>
                    </a:lnTo>
                    <a:lnTo>
                      <a:pt x="3312" y="3088"/>
                    </a:lnTo>
                    <a:lnTo>
                      <a:pt x="3312" y="3092"/>
                    </a:lnTo>
                    <a:lnTo>
                      <a:pt x="3312" y="3092"/>
                    </a:lnTo>
                    <a:lnTo>
                      <a:pt x="3314" y="3096"/>
                    </a:lnTo>
                    <a:lnTo>
                      <a:pt x="3312" y="3096"/>
                    </a:lnTo>
                    <a:lnTo>
                      <a:pt x="3308" y="3096"/>
                    </a:lnTo>
                    <a:lnTo>
                      <a:pt x="3308" y="3100"/>
                    </a:lnTo>
                    <a:lnTo>
                      <a:pt x="3308" y="3100"/>
                    </a:lnTo>
                    <a:lnTo>
                      <a:pt x="3310" y="3104"/>
                    </a:lnTo>
                    <a:lnTo>
                      <a:pt x="3312" y="3104"/>
                    </a:lnTo>
                    <a:lnTo>
                      <a:pt x="3316" y="3104"/>
                    </a:lnTo>
                    <a:lnTo>
                      <a:pt x="3316" y="3110"/>
                    </a:lnTo>
                    <a:lnTo>
                      <a:pt x="3316" y="3110"/>
                    </a:lnTo>
                    <a:lnTo>
                      <a:pt x="3316" y="3116"/>
                    </a:lnTo>
                    <a:lnTo>
                      <a:pt x="3318" y="3118"/>
                    </a:lnTo>
                    <a:lnTo>
                      <a:pt x="3322" y="3116"/>
                    </a:lnTo>
                    <a:lnTo>
                      <a:pt x="3326" y="3110"/>
                    </a:lnTo>
                    <a:lnTo>
                      <a:pt x="3326" y="3110"/>
                    </a:lnTo>
                    <a:lnTo>
                      <a:pt x="3330" y="3104"/>
                    </a:lnTo>
                    <a:lnTo>
                      <a:pt x="3330" y="3104"/>
                    </a:lnTo>
                    <a:lnTo>
                      <a:pt x="3330" y="3106"/>
                    </a:lnTo>
                    <a:lnTo>
                      <a:pt x="3330" y="3110"/>
                    </a:lnTo>
                    <a:lnTo>
                      <a:pt x="3330" y="3112"/>
                    </a:lnTo>
                    <a:lnTo>
                      <a:pt x="3330" y="3112"/>
                    </a:lnTo>
                    <a:lnTo>
                      <a:pt x="3334" y="3110"/>
                    </a:lnTo>
                    <a:lnTo>
                      <a:pt x="3334" y="3108"/>
                    </a:lnTo>
                    <a:lnTo>
                      <a:pt x="3338" y="3102"/>
                    </a:lnTo>
                    <a:lnTo>
                      <a:pt x="3342" y="3098"/>
                    </a:lnTo>
                    <a:lnTo>
                      <a:pt x="3342" y="3098"/>
                    </a:lnTo>
                    <a:lnTo>
                      <a:pt x="3346" y="3094"/>
                    </a:lnTo>
                    <a:lnTo>
                      <a:pt x="3348" y="3094"/>
                    </a:lnTo>
                    <a:lnTo>
                      <a:pt x="3348" y="3096"/>
                    </a:lnTo>
                    <a:lnTo>
                      <a:pt x="3346" y="3100"/>
                    </a:lnTo>
                    <a:lnTo>
                      <a:pt x="3346" y="3100"/>
                    </a:lnTo>
                    <a:lnTo>
                      <a:pt x="3344" y="3106"/>
                    </a:lnTo>
                    <a:lnTo>
                      <a:pt x="3346" y="3108"/>
                    </a:lnTo>
                    <a:lnTo>
                      <a:pt x="3350" y="3110"/>
                    </a:lnTo>
                    <a:lnTo>
                      <a:pt x="3354" y="3108"/>
                    </a:lnTo>
                    <a:lnTo>
                      <a:pt x="3354" y="3108"/>
                    </a:lnTo>
                    <a:lnTo>
                      <a:pt x="3356" y="3106"/>
                    </a:lnTo>
                    <a:lnTo>
                      <a:pt x="3356" y="3104"/>
                    </a:lnTo>
                    <a:lnTo>
                      <a:pt x="3354" y="3096"/>
                    </a:lnTo>
                    <a:lnTo>
                      <a:pt x="3354" y="3096"/>
                    </a:lnTo>
                    <a:lnTo>
                      <a:pt x="3354" y="3094"/>
                    </a:lnTo>
                    <a:lnTo>
                      <a:pt x="3356" y="3092"/>
                    </a:lnTo>
                    <a:lnTo>
                      <a:pt x="3358" y="3092"/>
                    </a:lnTo>
                    <a:lnTo>
                      <a:pt x="3358" y="3094"/>
                    </a:lnTo>
                    <a:lnTo>
                      <a:pt x="3358" y="3094"/>
                    </a:lnTo>
                    <a:lnTo>
                      <a:pt x="3360" y="3102"/>
                    </a:lnTo>
                    <a:lnTo>
                      <a:pt x="3362" y="3100"/>
                    </a:lnTo>
                    <a:lnTo>
                      <a:pt x="3366" y="3096"/>
                    </a:lnTo>
                    <a:lnTo>
                      <a:pt x="3366" y="3096"/>
                    </a:lnTo>
                    <a:lnTo>
                      <a:pt x="3368" y="3094"/>
                    </a:lnTo>
                    <a:lnTo>
                      <a:pt x="3368" y="3092"/>
                    </a:lnTo>
                    <a:lnTo>
                      <a:pt x="3364" y="3088"/>
                    </a:lnTo>
                    <a:lnTo>
                      <a:pt x="3362" y="3086"/>
                    </a:lnTo>
                    <a:lnTo>
                      <a:pt x="3366" y="3084"/>
                    </a:lnTo>
                    <a:lnTo>
                      <a:pt x="3366" y="3084"/>
                    </a:lnTo>
                    <a:lnTo>
                      <a:pt x="3376" y="3084"/>
                    </a:lnTo>
                    <a:lnTo>
                      <a:pt x="3384" y="3086"/>
                    </a:lnTo>
                    <a:lnTo>
                      <a:pt x="3390" y="3090"/>
                    </a:lnTo>
                    <a:lnTo>
                      <a:pt x="3394" y="3090"/>
                    </a:lnTo>
                    <a:lnTo>
                      <a:pt x="3394" y="3090"/>
                    </a:lnTo>
                    <a:lnTo>
                      <a:pt x="3396" y="3088"/>
                    </a:lnTo>
                    <a:lnTo>
                      <a:pt x="3396" y="3084"/>
                    </a:lnTo>
                    <a:lnTo>
                      <a:pt x="3396" y="3082"/>
                    </a:lnTo>
                    <a:lnTo>
                      <a:pt x="3400" y="3078"/>
                    </a:lnTo>
                    <a:lnTo>
                      <a:pt x="3400" y="3078"/>
                    </a:lnTo>
                    <a:lnTo>
                      <a:pt x="3406" y="3076"/>
                    </a:lnTo>
                    <a:lnTo>
                      <a:pt x="3412" y="3078"/>
                    </a:lnTo>
                    <a:lnTo>
                      <a:pt x="3418" y="3078"/>
                    </a:lnTo>
                    <a:lnTo>
                      <a:pt x="3422" y="3076"/>
                    </a:lnTo>
                    <a:lnTo>
                      <a:pt x="3422" y="3076"/>
                    </a:lnTo>
                    <a:lnTo>
                      <a:pt x="3428" y="3070"/>
                    </a:lnTo>
                    <a:lnTo>
                      <a:pt x="3434" y="3058"/>
                    </a:lnTo>
                    <a:lnTo>
                      <a:pt x="3438" y="3044"/>
                    </a:lnTo>
                    <a:lnTo>
                      <a:pt x="3440" y="3032"/>
                    </a:lnTo>
                    <a:lnTo>
                      <a:pt x="3440" y="3032"/>
                    </a:lnTo>
                    <a:lnTo>
                      <a:pt x="3440" y="3026"/>
                    </a:lnTo>
                    <a:lnTo>
                      <a:pt x="3436" y="3026"/>
                    </a:lnTo>
                    <a:lnTo>
                      <a:pt x="3434" y="3026"/>
                    </a:lnTo>
                    <a:lnTo>
                      <a:pt x="3432" y="3018"/>
                    </a:lnTo>
                    <a:lnTo>
                      <a:pt x="3432" y="3018"/>
                    </a:lnTo>
                    <a:lnTo>
                      <a:pt x="3434" y="3008"/>
                    </a:lnTo>
                    <a:lnTo>
                      <a:pt x="3436" y="3002"/>
                    </a:lnTo>
                    <a:lnTo>
                      <a:pt x="3436" y="2994"/>
                    </a:lnTo>
                    <a:lnTo>
                      <a:pt x="3436" y="2980"/>
                    </a:lnTo>
                    <a:lnTo>
                      <a:pt x="3436" y="2980"/>
                    </a:lnTo>
                    <a:lnTo>
                      <a:pt x="3432" y="2964"/>
                    </a:lnTo>
                    <a:lnTo>
                      <a:pt x="3426" y="2948"/>
                    </a:lnTo>
                    <a:lnTo>
                      <a:pt x="3418" y="2934"/>
                    </a:lnTo>
                    <a:lnTo>
                      <a:pt x="3410" y="2922"/>
                    </a:lnTo>
                    <a:lnTo>
                      <a:pt x="3410" y="2922"/>
                    </a:lnTo>
                    <a:lnTo>
                      <a:pt x="3402" y="2910"/>
                    </a:lnTo>
                    <a:lnTo>
                      <a:pt x="3398" y="2902"/>
                    </a:lnTo>
                    <a:lnTo>
                      <a:pt x="3392" y="2886"/>
                    </a:lnTo>
                    <a:lnTo>
                      <a:pt x="3392" y="2886"/>
                    </a:lnTo>
                    <a:lnTo>
                      <a:pt x="3388" y="2882"/>
                    </a:lnTo>
                    <a:lnTo>
                      <a:pt x="3386" y="2880"/>
                    </a:lnTo>
                    <a:lnTo>
                      <a:pt x="3380" y="2876"/>
                    </a:lnTo>
                    <a:lnTo>
                      <a:pt x="3374" y="2866"/>
                    </a:lnTo>
                    <a:lnTo>
                      <a:pt x="3374" y="2866"/>
                    </a:lnTo>
                    <a:lnTo>
                      <a:pt x="3370" y="2862"/>
                    </a:lnTo>
                    <a:lnTo>
                      <a:pt x="3366" y="2858"/>
                    </a:lnTo>
                    <a:lnTo>
                      <a:pt x="3360" y="2856"/>
                    </a:lnTo>
                    <a:lnTo>
                      <a:pt x="3354" y="2856"/>
                    </a:lnTo>
                    <a:lnTo>
                      <a:pt x="3352" y="2852"/>
                    </a:lnTo>
                    <a:lnTo>
                      <a:pt x="3352" y="2852"/>
                    </a:lnTo>
                    <a:lnTo>
                      <a:pt x="3352" y="2850"/>
                    </a:lnTo>
                    <a:lnTo>
                      <a:pt x="3354" y="2848"/>
                    </a:lnTo>
                    <a:lnTo>
                      <a:pt x="3356" y="2848"/>
                    </a:lnTo>
                    <a:lnTo>
                      <a:pt x="3358" y="2848"/>
                    </a:lnTo>
                    <a:lnTo>
                      <a:pt x="3360" y="2848"/>
                    </a:lnTo>
                    <a:lnTo>
                      <a:pt x="3360" y="2838"/>
                    </a:lnTo>
                    <a:lnTo>
                      <a:pt x="3360" y="2838"/>
                    </a:lnTo>
                    <a:lnTo>
                      <a:pt x="3358" y="2830"/>
                    </a:lnTo>
                    <a:lnTo>
                      <a:pt x="3358" y="2826"/>
                    </a:lnTo>
                    <a:lnTo>
                      <a:pt x="3360" y="2822"/>
                    </a:lnTo>
                    <a:lnTo>
                      <a:pt x="3362" y="2822"/>
                    </a:lnTo>
                    <a:lnTo>
                      <a:pt x="3368" y="2820"/>
                    </a:lnTo>
                    <a:lnTo>
                      <a:pt x="3372" y="2818"/>
                    </a:lnTo>
                    <a:lnTo>
                      <a:pt x="3374" y="2814"/>
                    </a:lnTo>
                    <a:lnTo>
                      <a:pt x="3374" y="2814"/>
                    </a:lnTo>
                    <a:lnTo>
                      <a:pt x="3376" y="2810"/>
                    </a:lnTo>
                    <a:lnTo>
                      <a:pt x="3378" y="2808"/>
                    </a:lnTo>
                    <a:lnTo>
                      <a:pt x="3384" y="2810"/>
                    </a:lnTo>
                    <a:lnTo>
                      <a:pt x="3386" y="2810"/>
                    </a:lnTo>
                    <a:lnTo>
                      <a:pt x="3390" y="2810"/>
                    </a:lnTo>
                    <a:lnTo>
                      <a:pt x="3396" y="2806"/>
                    </a:lnTo>
                    <a:lnTo>
                      <a:pt x="3402" y="2800"/>
                    </a:lnTo>
                    <a:lnTo>
                      <a:pt x="3402" y="2800"/>
                    </a:lnTo>
                    <a:lnTo>
                      <a:pt x="3426" y="2776"/>
                    </a:lnTo>
                    <a:lnTo>
                      <a:pt x="3434" y="2768"/>
                    </a:lnTo>
                    <a:lnTo>
                      <a:pt x="3442" y="2766"/>
                    </a:lnTo>
                    <a:lnTo>
                      <a:pt x="3442" y="2766"/>
                    </a:lnTo>
                    <a:lnTo>
                      <a:pt x="3444" y="2764"/>
                    </a:lnTo>
                    <a:lnTo>
                      <a:pt x="3446" y="2762"/>
                    </a:lnTo>
                    <a:lnTo>
                      <a:pt x="3448" y="2754"/>
                    </a:lnTo>
                    <a:lnTo>
                      <a:pt x="3448" y="2746"/>
                    </a:lnTo>
                    <a:lnTo>
                      <a:pt x="3448" y="2738"/>
                    </a:lnTo>
                    <a:lnTo>
                      <a:pt x="3448" y="2738"/>
                    </a:lnTo>
                    <a:lnTo>
                      <a:pt x="3448" y="2734"/>
                    </a:lnTo>
                    <a:lnTo>
                      <a:pt x="3448" y="2732"/>
                    </a:lnTo>
                    <a:lnTo>
                      <a:pt x="3446" y="2730"/>
                    </a:lnTo>
                    <a:lnTo>
                      <a:pt x="3444" y="2728"/>
                    </a:lnTo>
                    <a:lnTo>
                      <a:pt x="3444" y="2724"/>
                    </a:lnTo>
                    <a:lnTo>
                      <a:pt x="3450" y="2714"/>
                    </a:lnTo>
                    <a:lnTo>
                      <a:pt x="3450" y="2714"/>
                    </a:lnTo>
                    <a:lnTo>
                      <a:pt x="3464" y="2694"/>
                    </a:lnTo>
                    <a:lnTo>
                      <a:pt x="3474" y="2684"/>
                    </a:lnTo>
                    <a:lnTo>
                      <a:pt x="3474" y="2684"/>
                    </a:lnTo>
                    <a:lnTo>
                      <a:pt x="3478" y="2682"/>
                    </a:lnTo>
                    <a:lnTo>
                      <a:pt x="3480" y="2684"/>
                    </a:lnTo>
                    <a:lnTo>
                      <a:pt x="3482" y="2684"/>
                    </a:lnTo>
                    <a:lnTo>
                      <a:pt x="3488" y="2682"/>
                    </a:lnTo>
                    <a:lnTo>
                      <a:pt x="3488" y="2682"/>
                    </a:lnTo>
                    <a:lnTo>
                      <a:pt x="3488" y="2682"/>
                    </a:lnTo>
                    <a:lnTo>
                      <a:pt x="3492" y="2678"/>
                    </a:lnTo>
                    <a:lnTo>
                      <a:pt x="3492" y="2674"/>
                    </a:lnTo>
                    <a:lnTo>
                      <a:pt x="3492" y="2666"/>
                    </a:lnTo>
                    <a:lnTo>
                      <a:pt x="3492" y="2664"/>
                    </a:lnTo>
                    <a:lnTo>
                      <a:pt x="3498" y="2664"/>
                    </a:lnTo>
                    <a:lnTo>
                      <a:pt x="3498" y="2664"/>
                    </a:lnTo>
                    <a:lnTo>
                      <a:pt x="3506" y="2666"/>
                    </a:lnTo>
                    <a:lnTo>
                      <a:pt x="3510" y="2664"/>
                    </a:lnTo>
                    <a:lnTo>
                      <a:pt x="3514" y="2658"/>
                    </a:lnTo>
                    <a:lnTo>
                      <a:pt x="3518" y="2650"/>
                    </a:lnTo>
                    <a:lnTo>
                      <a:pt x="3518" y="2650"/>
                    </a:lnTo>
                    <a:lnTo>
                      <a:pt x="3524" y="2640"/>
                    </a:lnTo>
                    <a:lnTo>
                      <a:pt x="3524" y="2632"/>
                    </a:lnTo>
                    <a:lnTo>
                      <a:pt x="3526" y="2628"/>
                    </a:lnTo>
                    <a:lnTo>
                      <a:pt x="3528" y="2626"/>
                    </a:lnTo>
                    <a:lnTo>
                      <a:pt x="3532" y="2626"/>
                    </a:lnTo>
                    <a:lnTo>
                      <a:pt x="3532" y="2626"/>
                    </a:lnTo>
                    <a:lnTo>
                      <a:pt x="3536" y="2626"/>
                    </a:lnTo>
                    <a:lnTo>
                      <a:pt x="3536" y="2628"/>
                    </a:lnTo>
                    <a:lnTo>
                      <a:pt x="3536" y="2634"/>
                    </a:lnTo>
                    <a:lnTo>
                      <a:pt x="3534" y="2638"/>
                    </a:lnTo>
                    <a:lnTo>
                      <a:pt x="3536" y="2638"/>
                    </a:lnTo>
                    <a:lnTo>
                      <a:pt x="3538" y="2638"/>
                    </a:lnTo>
                    <a:lnTo>
                      <a:pt x="3542" y="2636"/>
                    </a:lnTo>
                    <a:lnTo>
                      <a:pt x="3542" y="2636"/>
                    </a:lnTo>
                    <a:lnTo>
                      <a:pt x="3548" y="2632"/>
                    </a:lnTo>
                    <a:lnTo>
                      <a:pt x="3550" y="2632"/>
                    </a:lnTo>
                    <a:lnTo>
                      <a:pt x="3552" y="2634"/>
                    </a:lnTo>
                    <a:lnTo>
                      <a:pt x="3552" y="2638"/>
                    </a:lnTo>
                    <a:lnTo>
                      <a:pt x="3552" y="2646"/>
                    </a:lnTo>
                    <a:lnTo>
                      <a:pt x="3554" y="2648"/>
                    </a:lnTo>
                    <a:lnTo>
                      <a:pt x="3556" y="2650"/>
                    </a:lnTo>
                    <a:lnTo>
                      <a:pt x="3556" y="2650"/>
                    </a:lnTo>
                    <a:lnTo>
                      <a:pt x="3570" y="2654"/>
                    </a:lnTo>
                    <a:lnTo>
                      <a:pt x="3580" y="2660"/>
                    </a:lnTo>
                    <a:lnTo>
                      <a:pt x="3580" y="2660"/>
                    </a:lnTo>
                    <a:lnTo>
                      <a:pt x="3584" y="2660"/>
                    </a:lnTo>
                    <a:lnTo>
                      <a:pt x="3590" y="2658"/>
                    </a:lnTo>
                    <a:lnTo>
                      <a:pt x="3598" y="2656"/>
                    </a:lnTo>
                    <a:lnTo>
                      <a:pt x="3608" y="2652"/>
                    </a:lnTo>
                    <a:lnTo>
                      <a:pt x="3608" y="2652"/>
                    </a:lnTo>
                    <a:lnTo>
                      <a:pt x="3616" y="2650"/>
                    </a:lnTo>
                    <a:lnTo>
                      <a:pt x="3622" y="2644"/>
                    </a:lnTo>
                    <a:lnTo>
                      <a:pt x="3632" y="2638"/>
                    </a:lnTo>
                    <a:lnTo>
                      <a:pt x="3648" y="2628"/>
                    </a:lnTo>
                    <a:lnTo>
                      <a:pt x="3648" y="2628"/>
                    </a:lnTo>
                    <a:lnTo>
                      <a:pt x="3658" y="2620"/>
                    </a:lnTo>
                    <a:lnTo>
                      <a:pt x="3666" y="2610"/>
                    </a:lnTo>
                    <a:lnTo>
                      <a:pt x="3686" y="2584"/>
                    </a:lnTo>
                    <a:lnTo>
                      <a:pt x="3712" y="2550"/>
                    </a:lnTo>
                    <a:lnTo>
                      <a:pt x="3728" y="2530"/>
                    </a:lnTo>
                    <a:lnTo>
                      <a:pt x="3748" y="2508"/>
                    </a:lnTo>
                    <a:lnTo>
                      <a:pt x="3748" y="2508"/>
                    </a:lnTo>
                    <a:lnTo>
                      <a:pt x="3768" y="2488"/>
                    </a:lnTo>
                    <a:lnTo>
                      <a:pt x="3780" y="2468"/>
                    </a:lnTo>
                    <a:lnTo>
                      <a:pt x="3790" y="2454"/>
                    </a:lnTo>
                    <a:lnTo>
                      <a:pt x="3796" y="2440"/>
                    </a:lnTo>
                    <a:lnTo>
                      <a:pt x="3804" y="2418"/>
                    </a:lnTo>
                    <a:lnTo>
                      <a:pt x="3808" y="2408"/>
                    </a:lnTo>
                    <a:lnTo>
                      <a:pt x="3816" y="2400"/>
                    </a:lnTo>
                    <a:lnTo>
                      <a:pt x="3816" y="2400"/>
                    </a:lnTo>
                    <a:lnTo>
                      <a:pt x="3824" y="2394"/>
                    </a:lnTo>
                    <a:lnTo>
                      <a:pt x="3828" y="2388"/>
                    </a:lnTo>
                    <a:lnTo>
                      <a:pt x="3832" y="2378"/>
                    </a:lnTo>
                    <a:lnTo>
                      <a:pt x="3834" y="2372"/>
                    </a:lnTo>
                    <a:lnTo>
                      <a:pt x="3838" y="2366"/>
                    </a:lnTo>
                    <a:lnTo>
                      <a:pt x="3844" y="2358"/>
                    </a:lnTo>
                    <a:lnTo>
                      <a:pt x="3854" y="2346"/>
                    </a:lnTo>
                    <a:lnTo>
                      <a:pt x="3854" y="2346"/>
                    </a:lnTo>
                    <a:lnTo>
                      <a:pt x="3860" y="2340"/>
                    </a:lnTo>
                    <a:lnTo>
                      <a:pt x="3866" y="2334"/>
                    </a:lnTo>
                    <a:lnTo>
                      <a:pt x="3874" y="2316"/>
                    </a:lnTo>
                    <a:lnTo>
                      <a:pt x="3880" y="2296"/>
                    </a:lnTo>
                    <a:lnTo>
                      <a:pt x="3882" y="2276"/>
                    </a:lnTo>
                    <a:lnTo>
                      <a:pt x="3884" y="2256"/>
                    </a:lnTo>
                    <a:lnTo>
                      <a:pt x="3884" y="2238"/>
                    </a:lnTo>
                    <a:lnTo>
                      <a:pt x="3882" y="2224"/>
                    </a:lnTo>
                    <a:lnTo>
                      <a:pt x="3880" y="2212"/>
                    </a:lnTo>
                    <a:lnTo>
                      <a:pt x="3880" y="2212"/>
                    </a:lnTo>
                    <a:lnTo>
                      <a:pt x="3878" y="2204"/>
                    </a:lnTo>
                    <a:lnTo>
                      <a:pt x="3878" y="2198"/>
                    </a:lnTo>
                    <a:lnTo>
                      <a:pt x="3880" y="2192"/>
                    </a:lnTo>
                    <a:lnTo>
                      <a:pt x="3882" y="2188"/>
                    </a:lnTo>
                    <a:lnTo>
                      <a:pt x="3888" y="2178"/>
                    </a:lnTo>
                    <a:lnTo>
                      <a:pt x="3892" y="2170"/>
                    </a:lnTo>
                    <a:lnTo>
                      <a:pt x="3896" y="2160"/>
                    </a:lnTo>
                    <a:lnTo>
                      <a:pt x="3896" y="2160"/>
                    </a:lnTo>
                    <a:lnTo>
                      <a:pt x="3898" y="2150"/>
                    </a:lnTo>
                    <a:lnTo>
                      <a:pt x="3904" y="2142"/>
                    </a:lnTo>
                    <a:lnTo>
                      <a:pt x="3914" y="2128"/>
                    </a:lnTo>
                    <a:lnTo>
                      <a:pt x="3920" y="2122"/>
                    </a:lnTo>
                    <a:lnTo>
                      <a:pt x="3922" y="2116"/>
                    </a:lnTo>
                    <a:lnTo>
                      <a:pt x="3920" y="2110"/>
                    </a:lnTo>
                    <a:lnTo>
                      <a:pt x="3916" y="2104"/>
                    </a:lnTo>
                    <a:lnTo>
                      <a:pt x="3916" y="2104"/>
                    </a:lnTo>
                    <a:lnTo>
                      <a:pt x="3910" y="2098"/>
                    </a:lnTo>
                    <a:lnTo>
                      <a:pt x="3908" y="2094"/>
                    </a:lnTo>
                    <a:lnTo>
                      <a:pt x="3908" y="2090"/>
                    </a:lnTo>
                    <a:lnTo>
                      <a:pt x="3910" y="2086"/>
                    </a:lnTo>
                    <a:lnTo>
                      <a:pt x="3910" y="2078"/>
                    </a:lnTo>
                    <a:lnTo>
                      <a:pt x="3910" y="2072"/>
                    </a:lnTo>
                    <a:lnTo>
                      <a:pt x="3906" y="2066"/>
                    </a:lnTo>
                    <a:lnTo>
                      <a:pt x="3906" y="2066"/>
                    </a:lnTo>
                    <a:lnTo>
                      <a:pt x="3904" y="2062"/>
                    </a:lnTo>
                    <a:lnTo>
                      <a:pt x="3906" y="2058"/>
                    </a:lnTo>
                    <a:lnTo>
                      <a:pt x="3914" y="2052"/>
                    </a:lnTo>
                    <a:lnTo>
                      <a:pt x="3918" y="2050"/>
                    </a:lnTo>
                    <a:lnTo>
                      <a:pt x="3920" y="2046"/>
                    </a:lnTo>
                    <a:lnTo>
                      <a:pt x="3918" y="2042"/>
                    </a:lnTo>
                    <a:lnTo>
                      <a:pt x="3910" y="2034"/>
                    </a:lnTo>
                    <a:lnTo>
                      <a:pt x="3910" y="2034"/>
                    </a:lnTo>
                    <a:lnTo>
                      <a:pt x="3892" y="2020"/>
                    </a:lnTo>
                    <a:lnTo>
                      <a:pt x="3880" y="2010"/>
                    </a:lnTo>
                    <a:lnTo>
                      <a:pt x="3864" y="1990"/>
                    </a:lnTo>
                    <a:lnTo>
                      <a:pt x="3864" y="1990"/>
                    </a:lnTo>
                    <a:lnTo>
                      <a:pt x="3858" y="1986"/>
                    </a:lnTo>
                    <a:lnTo>
                      <a:pt x="3854" y="1984"/>
                    </a:lnTo>
                    <a:lnTo>
                      <a:pt x="3842" y="1984"/>
                    </a:lnTo>
                    <a:lnTo>
                      <a:pt x="3832" y="1986"/>
                    </a:lnTo>
                    <a:lnTo>
                      <a:pt x="3826" y="1986"/>
                    </a:lnTo>
                    <a:lnTo>
                      <a:pt x="3820" y="1984"/>
                    </a:lnTo>
                    <a:lnTo>
                      <a:pt x="3820" y="1984"/>
                    </a:lnTo>
                    <a:lnTo>
                      <a:pt x="3814" y="1982"/>
                    </a:lnTo>
                    <a:lnTo>
                      <a:pt x="3812" y="1984"/>
                    </a:lnTo>
                    <a:lnTo>
                      <a:pt x="3808" y="1996"/>
                    </a:lnTo>
                    <a:lnTo>
                      <a:pt x="3804" y="2004"/>
                    </a:lnTo>
                    <a:lnTo>
                      <a:pt x="3800" y="2012"/>
                    </a:lnTo>
                    <a:lnTo>
                      <a:pt x="3792" y="2018"/>
                    </a:lnTo>
                    <a:lnTo>
                      <a:pt x="3780" y="2024"/>
                    </a:lnTo>
                    <a:lnTo>
                      <a:pt x="3780" y="2024"/>
                    </a:lnTo>
                    <a:lnTo>
                      <a:pt x="3772" y="2026"/>
                    </a:lnTo>
                    <a:lnTo>
                      <a:pt x="3766" y="2026"/>
                    </a:lnTo>
                    <a:lnTo>
                      <a:pt x="3764" y="2024"/>
                    </a:lnTo>
                    <a:lnTo>
                      <a:pt x="3762" y="2022"/>
                    </a:lnTo>
                    <a:lnTo>
                      <a:pt x="3760" y="2018"/>
                    </a:lnTo>
                    <a:lnTo>
                      <a:pt x="3762" y="2014"/>
                    </a:lnTo>
                    <a:lnTo>
                      <a:pt x="3764" y="2002"/>
                    </a:lnTo>
                    <a:lnTo>
                      <a:pt x="3768" y="1992"/>
                    </a:lnTo>
                    <a:lnTo>
                      <a:pt x="3772" y="1984"/>
                    </a:lnTo>
                    <a:lnTo>
                      <a:pt x="3770" y="1982"/>
                    </a:lnTo>
                    <a:lnTo>
                      <a:pt x="3768" y="1980"/>
                    </a:lnTo>
                    <a:lnTo>
                      <a:pt x="3766" y="1980"/>
                    </a:lnTo>
                    <a:lnTo>
                      <a:pt x="3760" y="1982"/>
                    </a:lnTo>
                    <a:lnTo>
                      <a:pt x="3760" y="1982"/>
                    </a:lnTo>
                    <a:lnTo>
                      <a:pt x="3750" y="1986"/>
                    </a:lnTo>
                    <a:lnTo>
                      <a:pt x="3746" y="1992"/>
                    </a:lnTo>
                    <a:lnTo>
                      <a:pt x="3746" y="1996"/>
                    </a:lnTo>
                    <a:lnTo>
                      <a:pt x="3748" y="2000"/>
                    </a:lnTo>
                    <a:lnTo>
                      <a:pt x="3750" y="2002"/>
                    </a:lnTo>
                    <a:lnTo>
                      <a:pt x="3750" y="2004"/>
                    </a:lnTo>
                    <a:lnTo>
                      <a:pt x="3746" y="2008"/>
                    </a:lnTo>
                    <a:lnTo>
                      <a:pt x="3738" y="2008"/>
                    </a:lnTo>
                    <a:lnTo>
                      <a:pt x="3738" y="2008"/>
                    </a:lnTo>
                    <a:lnTo>
                      <a:pt x="3732" y="2008"/>
                    </a:lnTo>
                    <a:lnTo>
                      <a:pt x="3730" y="2008"/>
                    </a:lnTo>
                    <a:lnTo>
                      <a:pt x="3728" y="2006"/>
                    </a:lnTo>
                    <a:lnTo>
                      <a:pt x="3728" y="2002"/>
                    </a:lnTo>
                    <a:lnTo>
                      <a:pt x="3730" y="1994"/>
                    </a:lnTo>
                    <a:lnTo>
                      <a:pt x="3734" y="1986"/>
                    </a:lnTo>
                    <a:lnTo>
                      <a:pt x="3736" y="1976"/>
                    </a:lnTo>
                    <a:lnTo>
                      <a:pt x="3736" y="1972"/>
                    </a:lnTo>
                    <a:lnTo>
                      <a:pt x="3734" y="1968"/>
                    </a:lnTo>
                    <a:lnTo>
                      <a:pt x="3732" y="1966"/>
                    </a:lnTo>
                    <a:lnTo>
                      <a:pt x="3728" y="1962"/>
                    </a:lnTo>
                    <a:lnTo>
                      <a:pt x="3722" y="1962"/>
                    </a:lnTo>
                    <a:lnTo>
                      <a:pt x="3714" y="1960"/>
                    </a:lnTo>
                    <a:lnTo>
                      <a:pt x="3714" y="1960"/>
                    </a:lnTo>
                    <a:lnTo>
                      <a:pt x="3696" y="1962"/>
                    </a:lnTo>
                    <a:lnTo>
                      <a:pt x="3682" y="1960"/>
                    </a:lnTo>
                    <a:lnTo>
                      <a:pt x="3672" y="1958"/>
                    </a:lnTo>
                    <a:lnTo>
                      <a:pt x="3666" y="1954"/>
                    </a:lnTo>
                    <a:lnTo>
                      <a:pt x="3666" y="1950"/>
                    </a:lnTo>
                    <a:lnTo>
                      <a:pt x="3666" y="1948"/>
                    </a:lnTo>
                    <a:lnTo>
                      <a:pt x="3674" y="1938"/>
                    </a:lnTo>
                    <a:lnTo>
                      <a:pt x="3686" y="1928"/>
                    </a:lnTo>
                    <a:lnTo>
                      <a:pt x="3706" y="1912"/>
                    </a:lnTo>
                    <a:lnTo>
                      <a:pt x="3706" y="1912"/>
                    </a:lnTo>
                    <a:lnTo>
                      <a:pt x="3746" y="1886"/>
                    </a:lnTo>
                    <a:lnTo>
                      <a:pt x="3768" y="1868"/>
                    </a:lnTo>
                    <a:lnTo>
                      <a:pt x="3776" y="1862"/>
                    </a:lnTo>
                    <a:lnTo>
                      <a:pt x="3782" y="1852"/>
                    </a:lnTo>
                    <a:lnTo>
                      <a:pt x="3788" y="1844"/>
                    </a:lnTo>
                    <a:lnTo>
                      <a:pt x="3794" y="1832"/>
                    </a:lnTo>
                    <a:lnTo>
                      <a:pt x="3794" y="1832"/>
                    </a:lnTo>
                    <a:lnTo>
                      <a:pt x="3802" y="1818"/>
                    </a:lnTo>
                    <a:lnTo>
                      <a:pt x="3812" y="1808"/>
                    </a:lnTo>
                    <a:lnTo>
                      <a:pt x="3824" y="1800"/>
                    </a:lnTo>
                    <a:lnTo>
                      <a:pt x="3838" y="1790"/>
                    </a:lnTo>
                    <a:lnTo>
                      <a:pt x="3852" y="1782"/>
                    </a:lnTo>
                    <a:lnTo>
                      <a:pt x="3866" y="1772"/>
                    </a:lnTo>
                    <a:lnTo>
                      <a:pt x="3878" y="1760"/>
                    </a:lnTo>
                    <a:lnTo>
                      <a:pt x="3882" y="1752"/>
                    </a:lnTo>
                    <a:lnTo>
                      <a:pt x="3886" y="1746"/>
                    </a:lnTo>
                    <a:lnTo>
                      <a:pt x="3886" y="1746"/>
                    </a:lnTo>
                    <a:lnTo>
                      <a:pt x="3894" y="1728"/>
                    </a:lnTo>
                    <a:lnTo>
                      <a:pt x="3908" y="1712"/>
                    </a:lnTo>
                    <a:lnTo>
                      <a:pt x="3926" y="1696"/>
                    </a:lnTo>
                    <a:lnTo>
                      <a:pt x="3944" y="1682"/>
                    </a:lnTo>
                    <a:lnTo>
                      <a:pt x="3966" y="1672"/>
                    </a:lnTo>
                    <a:lnTo>
                      <a:pt x="3986" y="1664"/>
                    </a:lnTo>
                    <a:lnTo>
                      <a:pt x="4006" y="1660"/>
                    </a:lnTo>
                    <a:lnTo>
                      <a:pt x="4014" y="1660"/>
                    </a:lnTo>
                    <a:lnTo>
                      <a:pt x="4022" y="1662"/>
                    </a:lnTo>
                    <a:lnTo>
                      <a:pt x="4022" y="1662"/>
                    </a:lnTo>
                    <a:lnTo>
                      <a:pt x="4036" y="1664"/>
                    </a:lnTo>
                    <a:lnTo>
                      <a:pt x="4048" y="1666"/>
                    </a:lnTo>
                    <a:lnTo>
                      <a:pt x="4068" y="1664"/>
                    </a:lnTo>
                    <a:lnTo>
                      <a:pt x="4082" y="1664"/>
                    </a:lnTo>
                    <a:lnTo>
                      <a:pt x="4090" y="1666"/>
                    </a:lnTo>
                    <a:lnTo>
                      <a:pt x="4098" y="1670"/>
                    </a:lnTo>
                    <a:lnTo>
                      <a:pt x="4098" y="1670"/>
                    </a:lnTo>
                    <a:lnTo>
                      <a:pt x="4104" y="1672"/>
                    </a:lnTo>
                    <a:lnTo>
                      <a:pt x="4108" y="1672"/>
                    </a:lnTo>
                    <a:lnTo>
                      <a:pt x="4110" y="1670"/>
                    </a:lnTo>
                    <a:lnTo>
                      <a:pt x="4112" y="1666"/>
                    </a:lnTo>
                    <a:lnTo>
                      <a:pt x="4116" y="1662"/>
                    </a:lnTo>
                    <a:lnTo>
                      <a:pt x="4124" y="1660"/>
                    </a:lnTo>
                    <a:lnTo>
                      <a:pt x="4136" y="1658"/>
                    </a:lnTo>
                    <a:lnTo>
                      <a:pt x="4154" y="1660"/>
                    </a:lnTo>
                    <a:lnTo>
                      <a:pt x="4154" y="1660"/>
                    </a:lnTo>
                    <a:lnTo>
                      <a:pt x="4188" y="1668"/>
                    </a:lnTo>
                    <a:lnTo>
                      <a:pt x="4200" y="1670"/>
                    </a:lnTo>
                    <a:lnTo>
                      <a:pt x="4208" y="1670"/>
                    </a:lnTo>
                    <a:lnTo>
                      <a:pt x="4214" y="1670"/>
                    </a:lnTo>
                    <a:lnTo>
                      <a:pt x="4220" y="1666"/>
                    </a:lnTo>
                    <a:lnTo>
                      <a:pt x="4224" y="1658"/>
                    </a:lnTo>
                    <a:lnTo>
                      <a:pt x="4228" y="1648"/>
                    </a:lnTo>
                    <a:lnTo>
                      <a:pt x="4228" y="1648"/>
                    </a:lnTo>
                    <a:lnTo>
                      <a:pt x="4230" y="1646"/>
                    </a:lnTo>
                    <a:lnTo>
                      <a:pt x="4236" y="1644"/>
                    </a:lnTo>
                    <a:lnTo>
                      <a:pt x="4250" y="1642"/>
                    </a:lnTo>
                    <a:lnTo>
                      <a:pt x="4272" y="1642"/>
                    </a:lnTo>
                    <a:lnTo>
                      <a:pt x="4294" y="1644"/>
                    </a:lnTo>
                    <a:lnTo>
                      <a:pt x="4314" y="1648"/>
                    </a:lnTo>
                    <a:lnTo>
                      <a:pt x="4322" y="1652"/>
                    </a:lnTo>
                    <a:lnTo>
                      <a:pt x="4328" y="1656"/>
                    </a:lnTo>
                    <a:lnTo>
                      <a:pt x="4330" y="1660"/>
                    </a:lnTo>
                    <a:lnTo>
                      <a:pt x="4330" y="1664"/>
                    </a:lnTo>
                    <a:lnTo>
                      <a:pt x="4328" y="1670"/>
                    </a:lnTo>
                    <a:lnTo>
                      <a:pt x="4320" y="1676"/>
                    </a:lnTo>
                    <a:lnTo>
                      <a:pt x="4320" y="1676"/>
                    </a:lnTo>
                    <a:lnTo>
                      <a:pt x="4314" y="1682"/>
                    </a:lnTo>
                    <a:lnTo>
                      <a:pt x="4312" y="1686"/>
                    </a:lnTo>
                    <a:lnTo>
                      <a:pt x="4312" y="1688"/>
                    </a:lnTo>
                    <a:lnTo>
                      <a:pt x="4314" y="1690"/>
                    </a:lnTo>
                    <a:lnTo>
                      <a:pt x="4324" y="1692"/>
                    </a:lnTo>
                    <a:lnTo>
                      <a:pt x="4340" y="1690"/>
                    </a:lnTo>
                    <a:lnTo>
                      <a:pt x="4358" y="1688"/>
                    </a:lnTo>
                    <a:lnTo>
                      <a:pt x="4374" y="1684"/>
                    </a:lnTo>
                    <a:lnTo>
                      <a:pt x="4386" y="1680"/>
                    </a:lnTo>
                    <a:lnTo>
                      <a:pt x="4394" y="1676"/>
                    </a:lnTo>
                    <a:lnTo>
                      <a:pt x="4394" y="1676"/>
                    </a:lnTo>
                    <a:lnTo>
                      <a:pt x="4398" y="1670"/>
                    </a:lnTo>
                    <a:lnTo>
                      <a:pt x="4404" y="1670"/>
                    </a:lnTo>
                    <a:lnTo>
                      <a:pt x="4410" y="1674"/>
                    </a:lnTo>
                    <a:lnTo>
                      <a:pt x="4418" y="1678"/>
                    </a:lnTo>
                    <a:lnTo>
                      <a:pt x="4426" y="1682"/>
                    </a:lnTo>
                    <a:lnTo>
                      <a:pt x="4436" y="1684"/>
                    </a:lnTo>
                    <a:lnTo>
                      <a:pt x="4448" y="1682"/>
                    </a:lnTo>
                    <a:lnTo>
                      <a:pt x="4454" y="1680"/>
                    </a:lnTo>
                    <a:lnTo>
                      <a:pt x="4462" y="1676"/>
                    </a:lnTo>
                    <a:lnTo>
                      <a:pt x="4462" y="1676"/>
                    </a:lnTo>
                    <a:lnTo>
                      <a:pt x="4466" y="1672"/>
                    </a:lnTo>
                    <a:lnTo>
                      <a:pt x="4468" y="1668"/>
                    </a:lnTo>
                    <a:lnTo>
                      <a:pt x="4468" y="1664"/>
                    </a:lnTo>
                    <a:lnTo>
                      <a:pt x="4466" y="1660"/>
                    </a:lnTo>
                    <a:lnTo>
                      <a:pt x="4458" y="1652"/>
                    </a:lnTo>
                    <a:lnTo>
                      <a:pt x="4448" y="1646"/>
                    </a:lnTo>
                    <a:lnTo>
                      <a:pt x="4442" y="1642"/>
                    </a:lnTo>
                    <a:lnTo>
                      <a:pt x="4440" y="1636"/>
                    </a:lnTo>
                    <a:lnTo>
                      <a:pt x="4438" y="1632"/>
                    </a:lnTo>
                    <a:lnTo>
                      <a:pt x="4438" y="1626"/>
                    </a:lnTo>
                    <a:lnTo>
                      <a:pt x="4440" y="1618"/>
                    </a:lnTo>
                    <a:lnTo>
                      <a:pt x="4446" y="1612"/>
                    </a:lnTo>
                    <a:lnTo>
                      <a:pt x="4456" y="1602"/>
                    </a:lnTo>
                    <a:lnTo>
                      <a:pt x="4468" y="1592"/>
                    </a:lnTo>
                    <a:lnTo>
                      <a:pt x="4468" y="1592"/>
                    </a:lnTo>
                    <a:lnTo>
                      <a:pt x="4496" y="1572"/>
                    </a:lnTo>
                    <a:lnTo>
                      <a:pt x="4514" y="1556"/>
                    </a:lnTo>
                    <a:lnTo>
                      <a:pt x="4536" y="1530"/>
                    </a:lnTo>
                    <a:lnTo>
                      <a:pt x="4546" y="1522"/>
                    </a:lnTo>
                    <a:lnTo>
                      <a:pt x="4562" y="1514"/>
                    </a:lnTo>
                    <a:lnTo>
                      <a:pt x="4584" y="1508"/>
                    </a:lnTo>
                    <a:lnTo>
                      <a:pt x="4616" y="1502"/>
                    </a:lnTo>
                    <a:lnTo>
                      <a:pt x="4616" y="1502"/>
                    </a:lnTo>
                    <a:lnTo>
                      <a:pt x="4630" y="1502"/>
                    </a:lnTo>
                    <a:lnTo>
                      <a:pt x="4642" y="1504"/>
                    </a:lnTo>
                    <a:lnTo>
                      <a:pt x="4650" y="1508"/>
                    </a:lnTo>
                    <a:lnTo>
                      <a:pt x="4656" y="1514"/>
                    </a:lnTo>
                    <a:lnTo>
                      <a:pt x="4660" y="1520"/>
                    </a:lnTo>
                    <a:lnTo>
                      <a:pt x="4664" y="1528"/>
                    </a:lnTo>
                    <a:lnTo>
                      <a:pt x="4664" y="1546"/>
                    </a:lnTo>
                    <a:lnTo>
                      <a:pt x="4666" y="1562"/>
                    </a:lnTo>
                    <a:lnTo>
                      <a:pt x="4666" y="1568"/>
                    </a:lnTo>
                    <a:lnTo>
                      <a:pt x="4668" y="1574"/>
                    </a:lnTo>
                    <a:lnTo>
                      <a:pt x="4672" y="1578"/>
                    </a:lnTo>
                    <a:lnTo>
                      <a:pt x="4676" y="1580"/>
                    </a:lnTo>
                    <a:lnTo>
                      <a:pt x="4684" y="1578"/>
                    </a:lnTo>
                    <a:lnTo>
                      <a:pt x="4694" y="1574"/>
                    </a:lnTo>
                    <a:lnTo>
                      <a:pt x="4694" y="1574"/>
                    </a:lnTo>
                    <a:lnTo>
                      <a:pt x="4714" y="1562"/>
                    </a:lnTo>
                    <a:lnTo>
                      <a:pt x="4728" y="1550"/>
                    </a:lnTo>
                    <a:lnTo>
                      <a:pt x="4738" y="1540"/>
                    </a:lnTo>
                    <a:lnTo>
                      <a:pt x="4746" y="1530"/>
                    </a:lnTo>
                    <a:lnTo>
                      <a:pt x="4752" y="1524"/>
                    </a:lnTo>
                    <a:lnTo>
                      <a:pt x="4758" y="1520"/>
                    </a:lnTo>
                    <a:lnTo>
                      <a:pt x="4766" y="1518"/>
                    </a:lnTo>
                    <a:lnTo>
                      <a:pt x="4778" y="1520"/>
                    </a:lnTo>
                    <a:lnTo>
                      <a:pt x="4778" y="1520"/>
                    </a:lnTo>
                    <a:lnTo>
                      <a:pt x="4784" y="1522"/>
                    </a:lnTo>
                    <a:lnTo>
                      <a:pt x="4788" y="1520"/>
                    </a:lnTo>
                    <a:lnTo>
                      <a:pt x="4790" y="1518"/>
                    </a:lnTo>
                    <a:lnTo>
                      <a:pt x="4792" y="1514"/>
                    </a:lnTo>
                    <a:lnTo>
                      <a:pt x="4790" y="1502"/>
                    </a:lnTo>
                    <a:lnTo>
                      <a:pt x="4788" y="1486"/>
                    </a:lnTo>
                    <a:lnTo>
                      <a:pt x="4788" y="1472"/>
                    </a:lnTo>
                    <a:lnTo>
                      <a:pt x="4790" y="1464"/>
                    </a:lnTo>
                    <a:lnTo>
                      <a:pt x="4792" y="1458"/>
                    </a:lnTo>
                    <a:lnTo>
                      <a:pt x="4796" y="1452"/>
                    </a:lnTo>
                    <a:lnTo>
                      <a:pt x="4802" y="1448"/>
                    </a:lnTo>
                    <a:lnTo>
                      <a:pt x="4812" y="1446"/>
                    </a:lnTo>
                    <a:lnTo>
                      <a:pt x="4824" y="1446"/>
                    </a:lnTo>
                    <a:lnTo>
                      <a:pt x="4824" y="1446"/>
                    </a:lnTo>
                    <a:lnTo>
                      <a:pt x="4854" y="1446"/>
                    </a:lnTo>
                    <a:lnTo>
                      <a:pt x="4856" y="1448"/>
                    </a:lnTo>
                    <a:lnTo>
                      <a:pt x="4858" y="1448"/>
                    </a:lnTo>
                    <a:lnTo>
                      <a:pt x="4854" y="1452"/>
                    </a:lnTo>
                    <a:lnTo>
                      <a:pt x="4848" y="1460"/>
                    </a:lnTo>
                    <a:lnTo>
                      <a:pt x="4838" y="1472"/>
                    </a:lnTo>
                    <a:lnTo>
                      <a:pt x="4830" y="1490"/>
                    </a:lnTo>
                    <a:lnTo>
                      <a:pt x="4828" y="1500"/>
                    </a:lnTo>
                    <a:lnTo>
                      <a:pt x="4824" y="1512"/>
                    </a:lnTo>
                    <a:lnTo>
                      <a:pt x="4824" y="1512"/>
                    </a:lnTo>
                    <a:lnTo>
                      <a:pt x="4822" y="1526"/>
                    </a:lnTo>
                    <a:lnTo>
                      <a:pt x="4818" y="1536"/>
                    </a:lnTo>
                    <a:lnTo>
                      <a:pt x="4814" y="1544"/>
                    </a:lnTo>
                    <a:lnTo>
                      <a:pt x="4810" y="1552"/>
                    </a:lnTo>
                    <a:lnTo>
                      <a:pt x="4798" y="1564"/>
                    </a:lnTo>
                    <a:lnTo>
                      <a:pt x="4784" y="1572"/>
                    </a:lnTo>
                    <a:lnTo>
                      <a:pt x="4766" y="1582"/>
                    </a:lnTo>
                    <a:lnTo>
                      <a:pt x="4748" y="1594"/>
                    </a:lnTo>
                    <a:lnTo>
                      <a:pt x="4726" y="1612"/>
                    </a:lnTo>
                    <a:lnTo>
                      <a:pt x="4716" y="1622"/>
                    </a:lnTo>
                    <a:lnTo>
                      <a:pt x="4704" y="1636"/>
                    </a:lnTo>
                    <a:lnTo>
                      <a:pt x="4704" y="1636"/>
                    </a:lnTo>
                    <a:lnTo>
                      <a:pt x="4664" y="1686"/>
                    </a:lnTo>
                    <a:lnTo>
                      <a:pt x="4646" y="1706"/>
                    </a:lnTo>
                    <a:lnTo>
                      <a:pt x="4630" y="1722"/>
                    </a:lnTo>
                    <a:lnTo>
                      <a:pt x="4614" y="1734"/>
                    </a:lnTo>
                    <a:lnTo>
                      <a:pt x="4600" y="1744"/>
                    </a:lnTo>
                    <a:lnTo>
                      <a:pt x="4584" y="1752"/>
                    </a:lnTo>
                    <a:lnTo>
                      <a:pt x="4568" y="1756"/>
                    </a:lnTo>
                    <a:lnTo>
                      <a:pt x="4568" y="1756"/>
                    </a:lnTo>
                    <a:lnTo>
                      <a:pt x="4554" y="1760"/>
                    </a:lnTo>
                    <a:lnTo>
                      <a:pt x="4546" y="1764"/>
                    </a:lnTo>
                    <a:lnTo>
                      <a:pt x="4544" y="1770"/>
                    </a:lnTo>
                    <a:lnTo>
                      <a:pt x="4542" y="1776"/>
                    </a:lnTo>
                    <a:lnTo>
                      <a:pt x="4542" y="1784"/>
                    </a:lnTo>
                    <a:lnTo>
                      <a:pt x="4540" y="1792"/>
                    </a:lnTo>
                    <a:lnTo>
                      <a:pt x="4532" y="1802"/>
                    </a:lnTo>
                    <a:lnTo>
                      <a:pt x="4520" y="1812"/>
                    </a:lnTo>
                    <a:lnTo>
                      <a:pt x="4520" y="1812"/>
                    </a:lnTo>
                    <a:lnTo>
                      <a:pt x="4514" y="1820"/>
                    </a:lnTo>
                    <a:lnTo>
                      <a:pt x="4508" y="1828"/>
                    </a:lnTo>
                    <a:lnTo>
                      <a:pt x="4502" y="1840"/>
                    </a:lnTo>
                    <a:lnTo>
                      <a:pt x="4498" y="1854"/>
                    </a:lnTo>
                    <a:lnTo>
                      <a:pt x="4496" y="1868"/>
                    </a:lnTo>
                    <a:lnTo>
                      <a:pt x="4494" y="1886"/>
                    </a:lnTo>
                    <a:lnTo>
                      <a:pt x="4494" y="1922"/>
                    </a:lnTo>
                    <a:lnTo>
                      <a:pt x="4496" y="1962"/>
                    </a:lnTo>
                    <a:lnTo>
                      <a:pt x="4502" y="2006"/>
                    </a:lnTo>
                    <a:lnTo>
                      <a:pt x="4508" y="2050"/>
                    </a:lnTo>
                    <a:lnTo>
                      <a:pt x="4518" y="2092"/>
                    </a:lnTo>
                    <a:lnTo>
                      <a:pt x="4518" y="2092"/>
                    </a:lnTo>
                    <a:lnTo>
                      <a:pt x="4520" y="2110"/>
                    </a:lnTo>
                    <a:lnTo>
                      <a:pt x="4522" y="2132"/>
                    </a:lnTo>
                    <a:lnTo>
                      <a:pt x="4526" y="2152"/>
                    </a:lnTo>
                    <a:lnTo>
                      <a:pt x="4530" y="2168"/>
                    </a:lnTo>
                    <a:lnTo>
                      <a:pt x="4532" y="2172"/>
                    </a:lnTo>
                    <a:lnTo>
                      <a:pt x="4536" y="2176"/>
                    </a:lnTo>
                    <a:lnTo>
                      <a:pt x="4542" y="2178"/>
                    </a:lnTo>
                    <a:lnTo>
                      <a:pt x="4548" y="2176"/>
                    </a:lnTo>
                    <a:lnTo>
                      <a:pt x="4556" y="2172"/>
                    </a:lnTo>
                    <a:lnTo>
                      <a:pt x="4564" y="2164"/>
                    </a:lnTo>
                    <a:lnTo>
                      <a:pt x="4574" y="2152"/>
                    </a:lnTo>
                    <a:lnTo>
                      <a:pt x="4588" y="2136"/>
                    </a:lnTo>
                    <a:lnTo>
                      <a:pt x="4588" y="2136"/>
                    </a:lnTo>
                    <a:lnTo>
                      <a:pt x="4594" y="2124"/>
                    </a:lnTo>
                    <a:lnTo>
                      <a:pt x="4600" y="2114"/>
                    </a:lnTo>
                    <a:lnTo>
                      <a:pt x="4608" y="2094"/>
                    </a:lnTo>
                    <a:lnTo>
                      <a:pt x="4610" y="2080"/>
                    </a:lnTo>
                    <a:lnTo>
                      <a:pt x="4612" y="2068"/>
                    </a:lnTo>
                    <a:lnTo>
                      <a:pt x="4612" y="2060"/>
                    </a:lnTo>
                    <a:lnTo>
                      <a:pt x="4614" y="2056"/>
                    </a:lnTo>
                    <a:lnTo>
                      <a:pt x="4618" y="2054"/>
                    </a:lnTo>
                    <a:lnTo>
                      <a:pt x="4626" y="2050"/>
                    </a:lnTo>
                    <a:lnTo>
                      <a:pt x="4644" y="2050"/>
                    </a:lnTo>
                    <a:lnTo>
                      <a:pt x="4644" y="2050"/>
                    </a:lnTo>
                    <a:lnTo>
                      <a:pt x="4654" y="2048"/>
                    </a:lnTo>
                    <a:lnTo>
                      <a:pt x="4660" y="2046"/>
                    </a:lnTo>
                    <a:lnTo>
                      <a:pt x="4664" y="2042"/>
                    </a:lnTo>
                    <a:lnTo>
                      <a:pt x="4668" y="2038"/>
                    </a:lnTo>
                    <a:lnTo>
                      <a:pt x="4670" y="2024"/>
                    </a:lnTo>
                    <a:lnTo>
                      <a:pt x="4670" y="2010"/>
                    </a:lnTo>
                    <a:lnTo>
                      <a:pt x="4670" y="1996"/>
                    </a:lnTo>
                    <a:lnTo>
                      <a:pt x="4672" y="1988"/>
                    </a:lnTo>
                    <a:lnTo>
                      <a:pt x="4676" y="1982"/>
                    </a:lnTo>
                    <a:lnTo>
                      <a:pt x="4680" y="1976"/>
                    </a:lnTo>
                    <a:lnTo>
                      <a:pt x="4686" y="1972"/>
                    </a:lnTo>
                    <a:lnTo>
                      <a:pt x="4694" y="1968"/>
                    </a:lnTo>
                    <a:lnTo>
                      <a:pt x="4704" y="1968"/>
                    </a:lnTo>
                    <a:lnTo>
                      <a:pt x="4704" y="1968"/>
                    </a:lnTo>
                    <a:lnTo>
                      <a:pt x="4730" y="1964"/>
                    </a:lnTo>
                    <a:lnTo>
                      <a:pt x="4740" y="1960"/>
                    </a:lnTo>
                    <a:lnTo>
                      <a:pt x="4744" y="1956"/>
                    </a:lnTo>
                    <a:lnTo>
                      <a:pt x="4748" y="1952"/>
                    </a:lnTo>
                    <a:lnTo>
                      <a:pt x="4750" y="1948"/>
                    </a:lnTo>
                    <a:lnTo>
                      <a:pt x="4750" y="1944"/>
                    </a:lnTo>
                    <a:lnTo>
                      <a:pt x="4748" y="1938"/>
                    </a:lnTo>
                    <a:lnTo>
                      <a:pt x="4744" y="1926"/>
                    </a:lnTo>
                    <a:lnTo>
                      <a:pt x="4740" y="1912"/>
                    </a:lnTo>
                    <a:lnTo>
                      <a:pt x="4738" y="1904"/>
                    </a:lnTo>
                    <a:lnTo>
                      <a:pt x="4738" y="1896"/>
                    </a:lnTo>
                    <a:lnTo>
                      <a:pt x="4740" y="1888"/>
                    </a:lnTo>
                    <a:lnTo>
                      <a:pt x="4744" y="1880"/>
                    </a:lnTo>
                    <a:lnTo>
                      <a:pt x="4744" y="1880"/>
                    </a:lnTo>
                    <a:lnTo>
                      <a:pt x="4748" y="1874"/>
                    </a:lnTo>
                    <a:lnTo>
                      <a:pt x="4752" y="1870"/>
                    </a:lnTo>
                    <a:lnTo>
                      <a:pt x="4756" y="1866"/>
                    </a:lnTo>
                    <a:lnTo>
                      <a:pt x="4760" y="1866"/>
                    </a:lnTo>
                    <a:lnTo>
                      <a:pt x="4770" y="1866"/>
                    </a:lnTo>
                    <a:lnTo>
                      <a:pt x="4778" y="1870"/>
                    </a:lnTo>
                    <a:lnTo>
                      <a:pt x="4784" y="1874"/>
                    </a:lnTo>
                    <a:lnTo>
                      <a:pt x="4792" y="1874"/>
                    </a:lnTo>
                    <a:lnTo>
                      <a:pt x="4794" y="1874"/>
                    </a:lnTo>
                    <a:lnTo>
                      <a:pt x="4796" y="1872"/>
                    </a:lnTo>
                    <a:lnTo>
                      <a:pt x="4800" y="1862"/>
                    </a:lnTo>
                    <a:lnTo>
                      <a:pt x="4800" y="1862"/>
                    </a:lnTo>
                    <a:lnTo>
                      <a:pt x="4800" y="1854"/>
                    </a:lnTo>
                    <a:lnTo>
                      <a:pt x="4800" y="1846"/>
                    </a:lnTo>
                    <a:lnTo>
                      <a:pt x="4798" y="1840"/>
                    </a:lnTo>
                    <a:lnTo>
                      <a:pt x="4796" y="1836"/>
                    </a:lnTo>
                    <a:lnTo>
                      <a:pt x="4788" y="1828"/>
                    </a:lnTo>
                    <a:lnTo>
                      <a:pt x="4782" y="1822"/>
                    </a:lnTo>
                    <a:lnTo>
                      <a:pt x="4774" y="1816"/>
                    </a:lnTo>
                    <a:lnTo>
                      <a:pt x="4772" y="1814"/>
                    </a:lnTo>
                    <a:lnTo>
                      <a:pt x="4772" y="1810"/>
                    </a:lnTo>
                    <a:lnTo>
                      <a:pt x="4772" y="1806"/>
                    </a:lnTo>
                    <a:lnTo>
                      <a:pt x="4774" y="1802"/>
                    </a:lnTo>
                    <a:lnTo>
                      <a:pt x="4782" y="1790"/>
                    </a:lnTo>
                    <a:lnTo>
                      <a:pt x="4782" y="1790"/>
                    </a:lnTo>
                    <a:lnTo>
                      <a:pt x="4790" y="1780"/>
                    </a:lnTo>
                    <a:lnTo>
                      <a:pt x="4794" y="1772"/>
                    </a:lnTo>
                    <a:lnTo>
                      <a:pt x="4794" y="1766"/>
                    </a:lnTo>
                    <a:lnTo>
                      <a:pt x="4792" y="1760"/>
                    </a:lnTo>
                    <a:lnTo>
                      <a:pt x="4788" y="1756"/>
                    </a:lnTo>
                    <a:lnTo>
                      <a:pt x="4782" y="1752"/>
                    </a:lnTo>
                    <a:lnTo>
                      <a:pt x="4768" y="1748"/>
                    </a:lnTo>
                    <a:lnTo>
                      <a:pt x="4756" y="1744"/>
                    </a:lnTo>
                    <a:lnTo>
                      <a:pt x="4750" y="1740"/>
                    </a:lnTo>
                    <a:lnTo>
                      <a:pt x="4746" y="1738"/>
                    </a:lnTo>
                    <a:lnTo>
                      <a:pt x="4746" y="1732"/>
                    </a:lnTo>
                    <a:lnTo>
                      <a:pt x="4748" y="1728"/>
                    </a:lnTo>
                    <a:lnTo>
                      <a:pt x="4752" y="1720"/>
                    </a:lnTo>
                    <a:lnTo>
                      <a:pt x="4762" y="1712"/>
                    </a:lnTo>
                    <a:lnTo>
                      <a:pt x="4762" y="1712"/>
                    </a:lnTo>
                    <a:lnTo>
                      <a:pt x="4782" y="1694"/>
                    </a:lnTo>
                    <a:lnTo>
                      <a:pt x="4794" y="1678"/>
                    </a:lnTo>
                    <a:lnTo>
                      <a:pt x="4800" y="1664"/>
                    </a:lnTo>
                    <a:lnTo>
                      <a:pt x="4804" y="1652"/>
                    </a:lnTo>
                    <a:lnTo>
                      <a:pt x="4806" y="1642"/>
                    </a:lnTo>
                    <a:lnTo>
                      <a:pt x="4810" y="1634"/>
                    </a:lnTo>
                    <a:lnTo>
                      <a:pt x="4816" y="1628"/>
                    </a:lnTo>
                    <a:lnTo>
                      <a:pt x="4828" y="1622"/>
                    </a:lnTo>
                    <a:lnTo>
                      <a:pt x="4828" y="1622"/>
                    </a:lnTo>
                    <a:lnTo>
                      <a:pt x="4840" y="1618"/>
                    </a:lnTo>
                    <a:lnTo>
                      <a:pt x="4848" y="1618"/>
                    </a:lnTo>
                    <a:lnTo>
                      <a:pt x="4852" y="1620"/>
                    </a:lnTo>
                    <a:lnTo>
                      <a:pt x="4854" y="1622"/>
                    </a:lnTo>
                    <a:lnTo>
                      <a:pt x="4856" y="1624"/>
                    </a:lnTo>
                    <a:lnTo>
                      <a:pt x="4862" y="1622"/>
                    </a:lnTo>
                    <a:lnTo>
                      <a:pt x="4872" y="1616"/>
                    </a:lnTo>
                    <a:lnTo>
                      <a:pt x="4888" y="1606"/>
                    </a:lnTo>
                    <a:lnTo>
                      <a:pt x="4888" y="1606"/>
                    </a:lnTo>
                    <a:lnTo>
                      <a:pt x="4900" y="1598"/>
                    </a:lnTo>
                    <a:lnTo>
                      <a:pt x="4908" y="1592"/>
                    </a:lnTo>
                    <a:lnTo>
                      <a:pt x="4914" y="1592"/>
                    </a:lnTo>
                    <a:lnTo>
                      <a:pt x="4916" y="1592"/>
                    </a:lnTo>
                    <a:lnTo>
                      <a:pt x="4918" y="1596"/>
                    </a:lnTo>
                    <a:lnTo>
                      <a:pt x="4918" y="1600"/>
                    </a:lnTo>
                    <a:lnTo>
                      <a:pt x="4914" y="1612"/>
                    </a:lnTo>
                    <a:lnTo>
                      <a:pt x="4910" y="1624"/>
                    </a:lnTo>
                    <a:lnTo>
                      <a:pt x="4910" y="1628"/>
                    </a:lnTo>
                    <a:lnTo>
                      <a:pt x="4910" y="1632"/>
                    </a:lnTo>
                    <a:lnTo>
                      <a:pt x="4912" y="1632"/>
                    </a:lnTo>
                    <a:lnTo>
                      <a:pt x="4916" y="1632"/>
                    </a:lnTo>
                    <a:lnTo>
                      <a:pt x="4934" y="1618"/>
                    </a:lnTo>
                    <a:lnTo>
                      <a:pt x="4934" y="1618"/>
                    </a:lnTo>
                    <a:lnTo>
                      <a:pt x="4958" y="1600"/>
                    </a:lnTo>
                    <a:lnTo>
                      <a:pt x="4980" y="1588"/>
                    </a:lnTo>
                    <a:lnTo>
                      <a:pt x="4990" y="1586"/>
                    </a:lnTo>
                    <a:lnTo>
                      <a:pt x="5000" y="1584"/>
                    </a:lnTo>
                    <a:lnTo>
                      <a:pt x="5016" y="1584"/>
                    </a:lnTo>
                    <a:lnTo>
                      <a:pt x="5032" y="1588"/>
                    </a:lnTo>
                    <a:lnTo>
                      <a:pt x="5048" y="1596"/>
                    </a:lnTo>
                    <a:lnTo>
                      <a:pt x="5060" y="1606"/>
                    </a:lnTo>
                    <a:lnTo>
                      <a:pt x="5072" y="1618"/>
                    </a:lnTo>
                    <a:lnTo>
                      <a:pt x="5072" y="1618"/>
                    </a:lnTo>
                    <a:lnTo>
                      <a:pt x="5080" y="1628"/>
                    </a:lnTo>
                    <a:lnTo>
                      <a:pt x="5082" y="1630"/>
                    </a:lnTo>
                    <a:lnTo>
                      <a:pt x="5084" y="1628"/>
                    </a:lnTo>
                    <a:lnTo>
                      <a:pt x="5086" y="1620"/>
                    </a:lnTo>
                    <a:lnTo>
                      <a:pt x="5094" y="1608"/>
                    </a:lnTo>
                    <a:lnTo>
                      <a:pt x="5108" y="1592"/>
                    </a:lnTo>
                    <a:lnTo>
                      <a:pt x="5118" y="1584"/>
                    </a:lnTo>
                    <a:lnTo>
                      <a:pt x="5132" y="1574"/>
                    </a:lnTo>
                    <a:lnTo>
                      <a:pt x="5148" y="1564"/>
                    </a:lnTo>
                    <a:lnTo>
                      <a:pt x="5168" y="1552"/>
                    </a:lnTo>
                    <a:lnTo>
                      <a:pt x="5168" y="1552"/>
                    </a:lnTo>
                    <a:lnTo>
                      <a:pt x="5186" y="1542"/>
                    </a:lnTo>
                    <a:lnTo>
                      <a:pt x="5202" y="1532"/>
                    </a:lnTo>
                    <a:lnTo>
                      <a:pt x="5236" y="1508"/>
                    </a:lnTo>
                    <a:lnTo>
                      <a:pt x="5252" y="1496"/>
                    </a:lnTo>
                    <a:lnTo>
                      <a:pt x="5272" y="1484"/>
                    </a:lnTo>
                    <a:lnTo>
                      <a:pt x="5290" y="1474"/>
                    </a:lnTo>
                    <a:lnTo>
                      <a:pt x="5312" y="1466"/>
                    </a:lnTo>
                    <a:lnTo>
                      <a:pt x="5312" y="1466"/>
                    </a:lnTo>
                    <a:lnTo>
                      <a:pt x="5330" y="1460"/>
                    </a:lnTo>
                    <a:lnTo>
                      <a:pt x="5348" y="1456"/>
                    </a:lnTo>
                    <a:lnTo>
                      <a:pt x="5362" y="1454"/>
                    </a:lnTo>
                    <a:lnTo>
                      <a:pt x="5374" y="1454"/>
                    </a:lnTo>
                    <a:lnTo>
                      <a:pt x="5396" y="1456"/>
                    </a:lnTo>
                    <a:lnTo>
                      <a:pt x="5410" y="1460"/>
                    </a:lnTo>
                    <a:lnTo>
                      <a:pt x="5422" y="1464"/>
                    </a:lnTo>
                    <a:lnTo>
                      <a:pt x="5430" y="1466"/>
                    </a:lnTo>
                    <a:lnTo>
                      <a:pt x="5434" y="1466"/>
                    </a:lnTo>
                    <a:lnTo>
                      <a:pt x="5438" y="1464"/>
                    </a:lnTo>
                    <a:lnTo>
                      <a:pt x="5448" y="1458"/>
                    </a:lnTo>
                    <a:lnTo>
                      <a:pt x="5448" y="1458"/>
                    </a:lnTo>
                    <a:lnTo>
                      <a:pt x="5454" y="1448"/>
                    </a:lnTo>
                    <a:lnTo>
                      <a:pt x="5458" y="1440"/>
                    </a:lnTo>
                    <a:lnTo>
                      <a:pt x="5456" y="1432"/>
                    </a:lnTo>
                    <a:lnTo>
                      <a:pt x="5450" y="1422"/>
                    </a:lnTo>
                    <a:lnTo>
                      <a:pt x="5436" y="1400"/>
                    </a:lnTo>
                    <a:lnTo>
                      <a:pt x="5428" y="1386"/>
                    </a:lnTo>
                    <a:lnTo>
                      <a:pt x="5420" y="1368"/>
                    </a:lnTo>
                    <a:lnTo>
                      <a:pt x="5420" y="1368"/>
                    </a:lnTo>
                    <a:lnTo>
                      <a:pt x="5412" y="1348"/>
                    </a:lnTo>
                    <a:lnTo>
                      <a:pt x="5404" y="1338"/>
                    </a:lnTo>
                    <a:lnTo>
                      <a:pt x="5400" y="1336"/>
                    </a:lnTo>
                    <a:lnTo>
                      <a:pt x="5396" y="1336"/>
                    </a:lnTo>
                    <a:lnTo>
                      <a:pt x="5390" y="1336"/>
                    </a:lnTo>
                    <a:lnTo>
                      <a:pt x="5384" y="1338"/>
                    </a:lnTo>
                    <a:lnTo>
                      <a:pt x="5378" y="1338"/>
                    </a:lnTo>
                    <a:lnTo>
                      <a:pt x="5376" y="1336"/>
                    </a:lnTo>
                    <a:lnTo>
                      <a:pt x="5374" y="1334"/>
                    </a:lnTo>
                    <a:lnTo>
                      <a:pt x="5368" y="1322"/>
                    </a:lnTo>
                    <a:lnTo>
                      <a:pt x="5368" y="1322"/>
                    </a:lnTo>
                    <a:lnTo>
                      <a:pt x="5368" y="1316"/>
                    </a:lnTo>
                    <a:lnTo>
                      <a:pt x="5368" y="1312"/>
                    </a:lnTo>
                    <a:lnTo>
                      <a:pt x="5372" y="1310"/>
                    </a:lnTo>
                    <a:lnTo>
                      <a:pt x="5374" y="1308"/>
                    </a:lnTo>
                    <a:lnTo>
                      <a:pt x="5384" y="1308"/>
                    </a:lnTo>
                    <a:lnTo>
                      <a:pt x="5398" y="1310"/>
                    </a:lnTo>
                    <a:lnTo>
                      <a:pt x="5414" y="1312"/>
                    </a:lnTo>
                    <a:lnTo>
                      <a:pt x="5432" y="1310"/>
                    </a:lnTo>
                    <a:lnTo>
                      <a:pt x="5440" y="1308"/>
                    </a:lnTo>
                    <a:lnTo>
                      <a:pt x="5448" y="1304"/>
                    </a:lnTo>
                    <a:lnTo>
                      <a:pt x="5454" y="1298"/>
                    </a:lnTo>
                    <a:lnTo>
                      <a:pt x="5462" y="1292"/>
                    </a:lnTo>
                    <a:lnTo>
                      <a:pt x="5462" y="1292"/>
                    </a:lnTo>
                    <a:lnTo>
                      <a:pt x="5478" y="1272"/>
                    </a:lnTo>
                    <a:lnTo>
                      <a:pt x="5478" y="1258"/>
                    </a:lnTo>
                    <a:lnTo>
                      <a:pt x="5478" y="1258"/>
                    </a:lnTo>
                    <a:lnTo>
                      <a:pt x="5486" y="1248"/>
                    </a:lnTo>
                    <a:lnTo>
                      <a:pt x="5490" y="1244"/>
                    </a:lnTo>
                    <a:lnTo>
                      <a:pt x="5490" y="1240"/>
                    </a:lnTo>
                    <a:lnTo>
                      <a:pt x="5490" y="1236"/>
                    </a:lnTo>
                    <a:lnTo>
                      <a:pt x="5488" y="1232"/>
                    </a:lnTo>
                    <a:lnTo>
                      <a:pt x="5480" y="1220"/>
                    </a:lnTo>
                    <a:lnTo>
                      <a:pt x="5480" y="1220"/>
                    </a:lnTo>
                    <a:lnTo>
                      <a:pt x="5478" y="1216"/>
                    </a:lnTo>
                    <a:lnTo>
                      <a:pt x="5478" y="1204"/>
                    </a:lnTo>
                    <a:lnTo>
                      <a:pt x="5478" y="1204"/>
                    </a:lnTo>
                    <a:lnTo>
                      <a:pt x="5480" y="1200"/>
                    </a:lnTo>
                    <a:lnTo>
                      <a:pt x="5484" y="1200"/>
                    </a:lnTo>
                    <a:lnTo>
                      <a:pt x="5490" y="1200"/>
                    </a:lnTo>
                    <a:lnTo>
                      <a:pt x="5496" y="1202"/>
                    </a:lnTo>
                    <a:lnTo>
                      <a:pt x="5502" y="1206"/>
                    </a:lnTo>
                    <a:lnTo>
                      <a:pt x="5510" y="1212"/>
                    </a:lnTo>
                    <a:lnTo>
                      <a:pt x="5516" y="1220"/>
                    </a:lnTo>
                    <a:lnTo>
                      <a:pt x="5520" y="1230"/>
                    </a:lnTo>
                    <a:lnTo>
                      <a:pt x="5520" y="1230"/>
                    </a:lnTo>
                    <a:lnTo>
                      <a:pt x="5524" y="1238"/>
                    </a:lnTo>
                    <a:lnTo>
                      <a:pt x="5530" y="1242"/>
                    </a:lnTo>
                    <a:lnTo>
                      <a:pt x="5536" y="1244"/>
                    </a:lnTo>
                    <a:lnTo>
                      <a:pt x="5542" y="1246"/>
                    </a:lnTo>
                    <a:lnTo>
                      <a:pt x="5556" y="1244"/>
                    </a:lnTo>
                    <a:lnTo>
                      <a:pt x="5572" y="1242"/>
                    </a:lnTo>
                    <a:lnTo>
                      <a:pt x="5588" y="1238"/>
                    </a:lnTo>
                    <a:lnTo>
                      <a:pt x="5596" y="1238"/>
                    </a:lnTo>
                    <a:lnTo>
                      <a:pt x="5604" y="1238"/>
                    </a:lnTo>
                    <a:lnTo>
                      <a:pt x="5610" y="1242"/>
                    </a:lnTo>
                    <a:lnTo>
                      <a:pt x="5618" y="1246"/>
                    </a:lnTo>
                    <a:lnTo>
                      <a:pt x="5624" y="1252"/>
                    </a:lnTo>
                    <a:lnTo>
                      <a:pt x="5628" y="1262"/>
                    </a:lnTo>
                    <a:lnTo>
                      <a:pt x="5628" y="1262"/>
                    </a:lnTo>
                    <a:lnTo>
                      <a:pt x="5638" y="1278"/>
                    </a:lnTo>
                    <a:lnTo>
                      <a:pt x="5648" y="1290"/>
                    </a:lnTo>
                    <a:lnTo>
                      <a:pt x="5656" y="1294"/>
                    </a:lnTo>
                    <a:lnTo>
                      <a:pt x="5664" y="1296"/>
                    </a:lnTo>
                    <a:lnTo>
                      <a:pt x="5674" y="1298"/>
                    </a:lnTo>
                    <a:lnTo>
                      <a:pt x="5682" y="1298"/>
                    </a:lnTo>
                    <a:lnTo>
                      <a:pt x="5690" y="1302"/>
                    </a:lnTo>
                    <a:lnTo>
                      <a:pt x="5696" y="1310"/>
                    </a:lnTo>
                    <a:lnTo>
                      <a:pt x="5696" y="1310"/>
                    </a:lnTo>
                    <a:lnTo>
                      <a:pt x="5700" y="1316"/>
                    </a:lnTo>
                    <a:lnTo>
                      <a:pt x="5706" y="1320"/>
                    </a:lnTo>
                    <a:lnTo>
                      <a:pt x="5710" y="1322"/>
                    </a:lnTo>
                    <a:lnTo>
                      <a:pt x="5716" y="1322"/>
                    </a:lnTo>
                    <a:lnTo>
                      <a:pt x="5726" y="1322"/>
                    </a:lnTo>
                    <a:lnTo>
                      <a:pt x="5738" y="1318"/>
                    </a:lnTo>
                    <a:lnTo>
                      <a:pt x="5748" y="1310"/>
                    </a:lnTo>
                    <a:lnTo>
                      <a:pt x="5756" y="1298"/>
                    </a:lnTo>
                    <a:lnTo>
                      <a:pt x="5764" y="1284"/>
                    </a:lnTo>
                    <a:lnTo>
                      <a:pt x="5766" y="1268"/>
                    </a:lnTo>
                    <a:lnTo>
                      <a:pt x="5766" y="1268"/>
                    </a:lnTo>
                    <a:lnTo>
                      <a:pt x="5768" y="1254"/>
                    </a:lnTo>
                    <a:lnTo>
                      <a:pt x="5770" y="1248"/>
                    </a:lnTo>
                    <a:lnTo>
                      <a:pt x="5774" y="1246"/>
                    </a:lnTo>
                    <a:lnTo>
                      <a:pt x="5782" y="1240"/>
                    </a:lnTo>
                    <a:lnTo>
                      <a:pt x="5792" y="1238"/>
                    </a:lnTo>
                    <a:lnTo>
                      <a:pt x="5802" y="1238"/>
                    </a:lnTo>
                    <a:lnTo>
                      <a:pt x="5816" y="1234"/>
                    </a:lnTo>
                    <a:lnTo>
                      <a:pt x="5830" y="1228"/>
                    </a:lnTo>
                    <a:lnTo>
                      <a:pt x="5836" y="1222"/>
                    </a:lnTo>
                    <a:lnTo>
                      <a:pt x="5844" y="1216"/>
                    </a:lnTo>
                    <a:lnTo>
                      <a:pt x="5844" y="1216"/>
                    </a:lnTo>
                    <a:lnTo>
                      <a:pt x="5854" y="1204"/>
                    </a:lnTo>
                    <a:lnTo>
                      <a:pt x="5856" y="1198"/>
                    </a:lnTo>
                    <a:lnTo>
                      <a:pt x="5856" y="1196"/>
                    </a:lnTo>
                    <a:lnTo>
                      <a:pt x="5854" y="1194"/>
                    </a:lnTo>
                    <a:lnTo>
                      <a:pt x="5846" y="1194"/>
                    </a:lnTo>
                    <a:lnTo>
                      <a:pt x="5836" y="1192"/>
                    </a:lnTo>
                    <a:lnTo>
                      <a:pt x="5824" y="1188"/>
                    </a:lnTo>
                    <a:lnTo>
                      <a:pt x="5816" y="1184"/>
                    </a:lnTo>
                    <a:lnTo>
                      <a:pt x="5810" y="1180"/>
                    </a:lnTo>
                    <a:lnTo>
                      <a:pt x="5804" y="1174"/>
                    </a:lnTo>
                    <a:lnTo>
                      <a:pt x="5798" y="1166"/>
                    </a:lnTo>
                    <a:lnTo>
                      <a:pt x="5798" y="116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grpSp>
        <p:sp>
          <p:nvSpPr>
            <p:cNvPr id="26" name="Freeform 16"/>
            <p:cNvSpPr>
              <a:spLocks/>
            </p:cNvSpPr>
            <p:nvPr/>
          </p:nvSpPr>
          <p:spPr bwMode="auto">
            <a:xfrm>
              <a:off x="2253323" y="2479274"/>
              <a:ext cx="1970740" cy="3370286"/>
            </a:xfrm>
            <a:custGeom>
              <a:avLst/>
              <a:gdLst/>
              <a:ahLst/>
              <a:cxnLst>
                <a:cxn ang="0">
                  <a:pos x="5457" y="16108"/>
                </a:cxn>
                <a:cxn ang="0">
                  <a:pos x="5123" y="16028"/>
                </a:cxn>
                <a:cxn ang="0">
                  <a:pos x="4795" y="15934"/>
                </a:cxn>
                <a:cxn ang="0">
                  <a:pos x="4474" y="15829"/>
                </a:cxn>
                <a:cxn ang="0">
                  <a:pos x="4161" y="15715"/>
                </a:cxn>
                <a:cxn ang="0">
                  <a:pos x="3853" y="15595"/>
                </a:cxn>
                <a:cxn ang="0">
                  <a:pos x="3553" y="15471"/>
                </a:cxn>
                <a:cxn ang="0">
                  <a:pos x="2968" y="15220"/>
                </a:cxn>
                <a:cxn ang="0">
                  <a:pos x="2405" y="14982"/>
                </a:cxn>
                <a:cxn ang="0">
                  <a:pos x="2341" y="14581"/>
                </a:cxn>
                <a:cxn ang="0">
                  <a:pos x="2273" y="14148"/>
                </a:cxn>
                <a:cxn ang="0">
                  <a:pos x="2202" y="13687"/>
                </a:cxn>
                <a:cxn ang="0">
                  <a:pos x="2130" y="13206"/>
                </a:cxn>
                <a:cxn ang="0">
                  <a:pos x="2057" y="12714"/>
                </a:cxn>
                <a:cxn ang="0">
                  <a:pos x="1975" y="12181"/>
                </a:cxn>
                <a:cxn ang="0">
                  <a:pos x="1857" y="11570"/>
                </a:cxn>
                <a:cxn ang="0">
                  <a:pos x="1711" y="10900"/>
                </a:cxn>
                <a:cxn ang="0">
                  <a:pos x="1539" y="10187"/>
                </a:cxn>
                <a:cxn ang="0">
                  <a:pos x="1349" y="9445"/>
                </a:cxn>
                <a:cxn ang="0">
                  <a:pos x="1147" y="8689"/>
                </a:cxn>
                <a:cxn ang="0">
                  <a:pos x="939" y="7933"/>
                </a:cxn>
                <a:cxn ang="0">
                  <a:pos x="528" y="6479"/>
                </a:cxn>
                <a:cxn ang="0">
                  <a:pos x="163" y="5200"/>
                </a:cxn>
                <a:cxn ang="0">
                  <a:pos x="99" y="4916"/>
                </a:cxn>
                <a:cxn ang="0">
                  <a:pos x="51" y="4589"/>
                </a:cxn>
                <a:cxn ang="0">
                  <a:pos x="20" y="4226"/>
                </a:cxn>
                <a:cxn ang="0">
                  <a:pos x="4" y="3831"/>
                </a:cxn>
                <a:cxn ang="0">
                  <a:pos x="2" y="3409"/>
                </a:cxn>
                <a:cxn ang="0">
                  <a:pos x="12" y="2964"/>
                </a:cxn>
                <a:cxn ang="0">
                  <a:pos x="32" y="2503"/>
                </a:cxn>
                <a:cxn ang="0">
                  <a:pos x="63" y="2029"/>
                </a:cxn>
                <a:cxn ang="0">
                  <a:pos x="101" y="1550"/>
                </a:cxn>
                <a:cxn ang="0">
                  <a:pos x="146" y="1067"/>
                </a:cxn>
                <a:cxn ang="0">
                  <a:pos x="204" y="648"/>
                </a:cxn>
                <a:cxn ang="0">
                  <a:pos x="276" y="362"/>
                </a:cxn>
                <a:cxn ang="0">
                  <a:pos x="347" y="89"/>
                </a:cxn>
                <a:cxn ang="0">
                  <a:pos x="343" y="433"/>
                </a:cxn>
                <a:cxn ang="0">
                  <a:pos x="319" y="980"/>
                </a:cxn>
                <a:cxn ang="0">
                  <a:pos x="311" y="1306"/>
                </a:cxn>
                <a:cxn ang="0">
                  <a:pos x="308" y="1628"/>
                </a:cxn>
                <a:cxn ang="0">
                  <a:pos x="312" y="1945"/>
                </a:cxn>
                <a:cxn ang="0">
                  <a:pos x="322" y="2253"/>
                </a:cxn>
                <a:cxn ang="0">
                  <a:pos x="340" y="2552"/>
                </a:cxn>
                <a:cxn ang="0">
                  <a:pos x="367" y="2839"/>
                </a:cxn>
                <a:cxn ang="0">
                  <a:pos x="402" y="3112"/>
                </a:cxn>
                <a:cxn ang="0">
                  <a:pos x="472" y="3506"/>
                </a:cxn>
                <a:cxn ang="0">
                  <a:pos x="653" y="4297"/>
                </a:cxn>
                <a:cxn ang="0">
                  <a:pos x="902" y="5247"/>
                </a:cxn>
                <a:cxn ang="0">
                  <a:pos x="1207" y="6314"/>
                </a:cxn>
                <a:cxn ang="0">
                  <a:pos x="1556" y="7453"/>
                </a:cxn>
                <a:cxn ang="0">
                  <a:pos x="1933" y="8619"/>
                </a:cxn>
                <a:cxn ang="0">
                  <a:pos x="2328" y="9768"/>
                </a:cxn>
                <a:cxn ang="0">
                  <a:pos x="2726" y="10857"/>
                </a:cxn>
                <a:cxn ang="0">
                  <a:pos x="3113" y="11842"/>
                </a:cxn>
                <a:cxn ang="0">
                  <a:pos x="3477" y="12677"/>
                </a:cxn>
                <a:cxn ang="0">
                  <a:pos x="3806" y="13320"/>
                </a:cxn>
                <a:cxn ang="0">
                  <a:pos x="4161" y="13883"/>
                </a:cxn>
                <a:cxn ang="0">
                  <a:pos x="4542" y="14464"/>
                </a:cxn>
                <a:cxn ang="0">
                  <a:pos x="4904" y="15008"/>
                </a:cxn>
                <a:cxn ang="0">
                  <a:pos x="5236" y="15499"/>
                </a:cxn>
                <a:cxn ang="0">
                  <a:pos x="5524" y="15920"/>
                </a:cxn>
              </a:cxnLst>
              <a:rect l="0" t="0" r="r" b="b"/>
              <a:pathLst>
                <a:path w="5685" h="16153">
                  <a:moveTo>
                    <a:pt x="5685" y="16153"/>
                  </a:moveTo>
                  <a:lnTo>
                    <a:pt x="5571" y="16132"/>
                  </a:lnTo>
                  <a:lnTo>
                    <a:pt x="5457" y="16108"/>
                  </a:lnTo>
                  <a:lnTo>
                    <a:pt x="5346" y="16083"/>
                  </a:lnTo>
                  <a:lnTo>
                    <a:pt x="5234" y="16057"/>
                  </a:lnTo>
                  <a:lnTo>
                    <a:pt x="5123" y="16028"/>
                  </a:lnTo>
                  <a:lnTo>
                    <a:pt x="5013" y="15999"/>
                  </a:lnTo>
                  <a:lnTo>
                    <a:pt x="4903" y="15967"/>
                  </a:lnTo>
                  <a:lnTo>
                    <a:pt x="4795" y="15934"/>
                  </a:lnTo>
                  <a:lnTo>
                    <a:pt x="4688" y="15901"/>
                  </a:lnTo>
                  <a:lnTo>
                    <a:pt x="4580" y="15866"/>
                  </a:lnTo>
                  <a:lnTo>
                    <a:pt x="4474" y="15829"/>
                  </a:lnTo>
                  <a:lnTo>
                    <a:pt x="4369" y="15792"/>
                  </a:lnTo>
                  <a:lnTo>
                    <a:pt x="4265" y="15755"/>
                  </a:lnTo>
                  <a:lnTo>
                    <a:pt x="4161" y="15715"/>
                  </a:lnTo>
                  <a:lnTo>
                    <a:pt x="4058" y="15676"/>
                  </a:lnTo>
                  <a:lnTo>
                    <a:pt x="3955" y="15636"/>
                  </a:lnTo>
                  <a:lnTo>
                    <a:pt x="3853" y="15595"/>
                  </a:lnTo>
                  <a:lnTo>
                    <a:pt x="3753" y="15554"/>
                  </a:lnTo>
                  <a:lnTo>
                    <a:pt x="3652" y="15512"/>
                  </a:lnTo>
                  <a:lnTo>
                    <a:pt x="3553" y="15471"/>
                  </a:lnTo>
                  <a:lnTo>
                    <a:pt x="3355" y="15387"/>
                  </a:lnTo>
                  <a:lnTo>
                    <a:pt x="3160" y="15302"/>
                  </a:lnTo>
                  <a:lnTo>
                    <a:pt x="2968" y="15220"/>
                  </a:lnTo>
                  <a:lnTo>
                    <a:pt x="2777" y="15138"/>
                  </a:lnTo>
                  <a:lnTo>
                    <a:pt x="2590" y="15059"/>
                  </a:lnTo>
                  <a:lnTo>
                    <a:pt x="2405" y="14982"/>
                  </a:lnTo>
                  <a:lnTo>
                    <a:pt x="2384" y="14852"/>
                  </a:lnTo>
                  <a:lnTo>
                    <a:pt x="2363" y="14719"/>
                  </a:lnTo>
                  <a:lnTo>
                    <a:pt x="2341" y="14581"/>
                  </a:lnTo>
                  <a:lnTo>
                    <a:pt x="2319" y="14440"/>
                  </a:lnTo>
                  <a:lnTo>
                    <a:pt x="2295" y="14295"/>
                  </a:lnTo>
                  <a:lnTo>
                    <a:pt x="2273" y="14148"/>
                  </a:lnTo>
                  <a:lnTo>
                    <a:pt x="2249" y="13996"/>
                  </a:lnTo>
                  <a:lnTo>
                    <a:pt x="2225" y="13843"/>
                  </a:lnTo>
                  <a:lnTo>
                    <a:pt x="2202" y="13687"/>
                  </a:lnTo>
                  <a:lnTo>
                    <a:pt x="2178" y="13529"/>
                  </a:lnTo>
                  <a:lnTo>
                    <a:pt x="2154" y="13369"/>
                  </a:lnTo>
                  <a:lnTo>
                    <a:pt x="2130" y="13206"/>
                  </a:lnTo>
                  <a:lnTo>
                    <a:pt x="2106" y="13044"/>
                  </a:lnTo>
                  <a:lnTo>
                    <a:pt x="2081" y="12880"/>
                  </a:lnTo>
                  <a:lnTo>
                    <a:pt x="2057" y="12714"/>
                  </a:lnTo>
                  <a:lnTo>
                    <a:pt x="2034" y="12549"/>
                  </a:lnTo>
                  <a:lnTo>
                    <a:pt x="2006" y="12370"/>
                  </a:lnTo>
                  <a:lnTo>
                    <a:pt x="1975" y="12181"/>
                  </a:lnTo>
                  <a:lnTo>
                    <a:pt x="1940" y="11985"/>
                  </a:lnTo>
                  <a:lnTo>
                    <a:pt x="1900" y="11781"/>
                  </a:lnTo>
                  <a:lnTo>
                    <a:pt x="1857" y="11570"/>
                  </a:lnTo>
                  <a:lnTo>
                    <a:pt x="1811" y="11352"/>
                  </a:lnTo>
                  <a:lnTo>
                    <a:pt x="1763" y="11128"/>
                  </a:lnTo>
                  <a:lnTo>
                    <a:pt x="1711" y="10900"/>
                  </a:lnTo>
                  <a:lnTo>
                    <a:pt x="1655" y="10667"/>
                  </a:lnTo>
                  <a:lnTo>
                    <a:pt x="1598" y="10428"/>
                  </a:lnTo>
                  <a:lnTo>
                    <a:pt x="1539" y="10187"/>
                  </a:lnTo>
                  <a:lnTo>
                    <a:pt x="1477" y="9942"/>
                  </a:lnTo>
                  <a:lnTo>
                    <a:pt x="1414" y="9695"/>
                  </a:lnTo>
                  <a:lnTo>
                    <a:pt x="1349" y="9445"/>
                  </a:lnTo>
                  <a:lnTo>
                    <a:pt x="1283" y="9194"/>
                  </a:lnTo>
                  <a:lnTo>
                    <a:pt x="1215" y="8942"/>
                  </a:lnTo>
                  <a:lnTo>
                    <a:pt x="1147" y="8689"/>
                  </a:lnTo>
                  <a:lnTo>
                    <a:pt x="1079" y="8436"/>
                  </a:lnTo>
                  <a:lnTo>
                    <a:pt x="1009" y="8183"/>
                  </a:lnTo>
                  <a:lnTo>
                    <a:pt x="939" y="7933"/>
                  </a:lnTo>
                  <a:lnTo>
                    <a:pt x="800" y="7436"/>
                  </a:lnTo>
                  <a:lnTo>
                    <a:pt x="662" y="6950"/>
                  </a:lnTo>
                  <a:lnTo>
                    <a:pt x="528" y="6479"/>
                  </a:lnTo>
                  <a:lnTo>
                    <a:pt x="399" y="6027"/>
                  </a:lnTo>
                  <a:lnTo>
                    <a:pt x="277" y="5600"/>
                  </a:lnTo>
                  <a:lnTo>
                    <a:pt x="163" y="5200"/>
                  </a:lnTo>
                  <a:lnTo>
                    <a:pt x="139" y="5110"/>
                  </a:lnTo>
                  <a:lnTo>
                    <a:pt x="118" y="5015"/>
                  </a:lnTo>
                  <a:lnTo>
                    <a:pt x="99" y="4916"/>
                  </a:lnTo>
                  <a:lnTo>
                    <a:pt x="81" y="4811"/>
                  </a:lnTo>
                  <a:lnTo>
                    <a:pt x="65" y="4702"/>
                  </a:lnTo>
                  <a:lnTo>
                    <a:pt x="51" y="4589"/>
                  </a:lnTo>
                  <a:lnTo>
                    <a:pt x="39" y="4472"/>
                  </a:lnTo>
                  <a:lnTo>
                    <a:pt x="29" y="4350"/>
                  </a:lnTo>
                  <a:lnTo>
                    <a:pt x="20" y="4226"/>
                  </a:lnTo>
                  <a:lnTo>
                    <a:pt x="13" y="4097"/>
                  </a:lnTo>
                  <a:lnTo>
                    <a:pt x="7" y="3965"/>
                  </a:lnTo>
                  <a:lnTo>
                    <a:pt x="4" y="3831"/>
                  </a:lnTo>
                  <a:lnTo>
                    <a:pt x="2" y="3692"/>
                  </a:lnTo>
                  <a:lnTo>
                    <a:pt x="0" y="3552"/>
                  </a:lnTo>
                  <a:lnTo>
                    <a:pt x="2" y="3409"/>
                  </a:lnTo>
                  <a:lnTo>
                    <a:pt x="4" y="3262"/>
                  </a:lnTo>
                  <a:lnTo>
                    <a:pt x="7" y="3114"/>
                  </a:lnTo>
                  <a:lnTo>
                    <a:pt x="12" y="2964"/>
                  </a:lnTo>
                  <a:lnTo>
                    <a:pt x="17" y="2812"/>
                  </a:lnTo>
                  <a:lnTo>
                    <a:pt x="24" y="2658"/>
                  </a:lnTo>
                  <a:lnTo>
                    <a:pt x="32" y="2503"/>
                  </a:lnTo>
                  <a:lnTo>
                    <a:pt x="41" y="2347"/>
                  </a:lnTo>
                  <a:lnTo>
                    <a:pt x="51" y="2189"/>
                  </a:lnTo>
                  <a:lnTo>
                    <a:pt x="63" y="2029"/>
                  </a:lnTo>
                  <a:lnTo>
                    <a:pt x="74" y="1870"/>
                  </a:lnTo>
                  <a:lnTo>
                    <a:pt x="87" y="1710"/>
                  </a:lnTo>
                  <a:lnTo>
                    <a:pt x="101" y="1550"/>
                  </a:lnTo>
                  <a:lnTo>
                    <a:pt x="115" y="1388"/>
                  </a:lnTo>
                  <a:lnTo>
                    <a:pt x="130" y="1227"/>
                  </a:lnTo>
                  <a:lnTo>
                    <a:pt x="146" y="1067"/>
                  </a:lnTo>
                  <a:lnTo>
                    <a:pt x="162" y="906"/>
                  </a:lnTo>
                  <a:lnTo>
                    <a:pt x="179" y="746"/>
                  </a:lnTo>
                  <a:lnTo>
                    <a:pt x="204" y="648"/>
                  </a:lnTo>
                  <a:lnTo>
                    <a:pt x="227" y="552"/>
                  </a:lnTo>
                  <a:lnTo>
                    <a:pt x="252" y="456"/>
                  </a:lnTo>
                  <a:lnTo>
                    <a:pt x="276" y="362"/>
                  </a:lnTo>
                  <a:lnTo>
                    <a:pt x="300" y="270"/>
                  </a:lnTo>
                  <a:lnTo>
                    <a:pt x="323" y="178"/>
                  </a:lnTo>
                  <a:lnTo>
                    <a:pt x="347" y="89"/>
                  </a:lnTo>
                  <a:lnTo>
                    <a:pt x="371" y="0"/>
                  </a:lnTo>
                  <a:lnTo>
                    <a:pt x="356" y="217"/>
                  </a:lnTo>
                  <a:lnTo>
                    <a:pt x="343" y="433"/>
                  </a:lnTo>
                  <a:lnTo>
                    <a:pt x="331" y="652"/>
                  </a:lnTo>
                  <a:lnTo>
                    <a:pt x="322" y="870"/>
                  </a:lnTo>
                  <a:lnTo>
                    <a:pt x="319" y="980"/>
                  </a:lnTo>
                  <a:lnTo>
                    <a:pt x="315" y="1088"/>
                  </a:lnTo>
                  <a:lnTo>
                    <a:pt x="312" y="1197"/>
                  </a:lnTo>
                  <a:lnTo>
                    <a:pt x="311" y="1306"/>
                  </a:lnTo>
                  <a:lnTo>
                    <a:pt x="309" y="1413"/>
                  </a:lnTo>
                  <a:lnTo>
                    <a:pt x="309" y="1520"/>
                  </a:lnTo>
                  <a:lnTo>
                    <a:pt x="308" y="1628"/>
                  </a:lnTo>
                  <a:lnTo>
                    <a:pt x="309" y="1734"/>
                  </a:lnTo>
                  <a:lnTo>
                    <a:pt x="310" y="1840"/>
                  </a:lnTo>
                  <a:lnTo>
                    <a:pt x="312" y="1945"/>
                  </a:lnTo>
                  <a:lnTo>
                    <a:pt x="314" y="2049"/>
                  </a:lnTo>
                  <a:lnTo>
                    <a:pt x="318" y="2151"/>
                  </a:lnTo>
                  <a:lnTo>
                    <a:pt x="322" y="2253"/>
                  </a:lnTo>
                  <a:lnTo>
                    <a:pt x="328" y="2353"/>
                  </a:lnTo>
                  <a:lnTo>
                    <a:pt x="334" y="2454"/>
                  </a:lnTo>
                  <a:lnTo>
                    <a:pt x="340" y="2552"/>
                  </a:lnTo>
                  <a:lnTo>
                    <a:pt x="348" y="2649"/>
                  </a:lnTo>
                  <a:lnTo>
                    <a:pt x="357" y="2745"/>
                  </a:lnTo>
                  <a:lnTo>
                    <a:pt x="367" y="2839"/>
                  </a:lnTo>
                  <a:lnTo>
                    <a:pt x="378" y="2931"/>
                  </a:lnTo>
                  <a:lnTo>
                    <a:pt x="389" y="3023"/>
                  </a:lnTo>
                  <a:lnTo>
                    <a:pt x="402" y="3112"/>
                  </a:lnTo>
                  <a:lnTo>
                    <a:pt x="416" y="3200"/>
                  </a:lnTo>
                  <a:lnTo>
                    <a:pt x="431" y="3285"/>
                  </a:lnTo>
                  <a:lnTo>
                    <a:pt x="472" y="3506"/>
                  </a:lnTo>
                  <a:lnTo>
                    <a:pt x="524" y="3748"/>
                  </a:lnTo>
                  <a:lnTo>
                    <a:pt x="584" y="4014"/>
                  </a:lnTo>
                  <a:lnTo>
                    <a:pt x="653" y="4297"/>
                  </a:lnTo>
                  <a:lnTo>
                    <a:pt x="729" y="4598"/>
                  </a:lnTo>
                  <a:lnTo>
                    <a:pt x="812" y="4916"/>
                  </a:lnTo>
                  <a:lnTo>
                    <a:pt x="902" y="5247"/>
                  </a:lnTo>
                  <a:lnTo>
                    <a:pt x="998" y="5593"/>
                  </a:lnTo>
                  <a:lnTo>
                    <a:pt x="1100" y="5948"/>
                  </a:lnTo>
                  <a:lnTo>
                    <a:pt x="1207" y="6314"/>
                  </a:lnTo>
                  <a:lnTo>
                    <a:pt x="1319" y="6688"/>
                  </a:lnTo>
                  <a:lnTo>
                    <a:pt x="1435" y="7068"/>
                  </a:lnTo>
                  <a:lnTo>
                    <a:pt x="1556" y="7453"/>
                  </a:lnTo>
                  <a:lnTo>
                    <a:pt x="1679" y="7840"/>
                  </a:lnTo>
                  <a:lnTo>
                    <a:pt x="1806" y="8230"/>
                  </a:lnTo>
                  <a:lnTo>
                    <a:pt x="1933" y="8619"/>
                  </a:lnTo>
                  <a:lnTo>
                    <a:pt x="2064" y="9006"/>
                  </a:lnTo>
                  <a:lnTo>
                    <a:pt x="2195" y="9390"/>
                  </a:lnTo>
                  <a:lnTo>
                    <a:pt x="2328" y="9768"/>
                  </a:lnTo>
                  <a:lnTo>
                    <a:pt x="2460" y="10139"/>
                  </a:lnTo>
                  <a:lnTo>
                    <a:pt x="2593" y="10503"/>
                  </a:lnTo>
                  <a:lnTo>
                    <a:pt x="2726" y="10857"/>
                  </a:lnTo>
                  <a:lnTo>
                    <a:pt x="2857" y="11199"/>
                  </a:lnTo>
                  <a:lnTo>
                    <a:pt x="2986" y="11528"/>
                  </a:lnTo>
                  <a:lnTo>
                    <a:pt x="3113" y="11842"/>
                  </a:lnTo>
                  <a:lnTo>
                    <a:pt x="3238" y="12138"/>
                  </a:lnTo>
                  <a:lnTo>
                    <a:pt x="3360" y="12418"/>
                  </a:lnTo>
                  <a:lnTo>
                    <a:pt x="3477" y="12677"/>
                  </a:lnTo>
                  <a:lnTo>
                    <a:pt x="3591" y="12915"/>
                  </a:lnTo>
                  <a:lnTo>
                    <a:pt x="3701" y="13131"/>
                  </a:lnTo>
                  <a:lnTo>
                    <a:pt x="3806" y="13320"/>
                  </a:lnTo>
                  <a:lnTo>
                    <a:pt x="3904" y="13485"/>
                  </a:lnTo>
                  <a:lnTo>
                    <a:pt x="4033" y="13685"/>
                  </a:lnTo>
                  <a:lnTo>
                    <a:pt x="4161" y="13883"/>
                  </a:lnTo>
                  <a:lnTo>
                    <a:pt x="4289" y="14080"/>
                  </a:lnTo>
                  <a:lnTo>
                    <a:pt x="4417" y="14274"/>
                  </a:lnTo>
                  <a:lnTo>
                    <a:pt x="4542" y="14464"/>
                  </a:lnTo>
                  <a:lnTo>
                    <a:pt x="4665" y="14650"/>
                  </a:lnTo>
                  <a:lnTo>
                    <a:pt x="4787" y="14832"/>
                  </a:lnTo>
                  <a:lnTo>
                    <a:pt x="4904" y="15008"/>
                  </a:lnTo>
                  <a:lnTo>
                    <a:pt x="5019" y="15178"/>
                  </a:lnTo>
                  <a:lnTo>
                    <a:pt x="5130" y="15342"/>
                  </a:lnTo>
                  <a:lnTo>
                    <a:pt x="5236" y="15499"/>
                  </a:lnTo>
                  <a:lnTo>
                    <a:pt x="5338" y="15648"/>
                  </a:lnTo>
                  <a:lnTo>
                    <a:pt x="5434" y="15789"/>
                  </a:lnTo>
                  <a:lnTo>
                    <a:pt x="5524" y="15920"/>
                  </a:lnTo>
                  <a:lnTo>
                    <a:pt x="5608" y="16042"/>
                  </a:lnTo>
                  <a:lnTo>
                    <a:pt x="5685" y="16153"/>
                  </a:lnTo>
                  <a:close/>
                </a:path>
              </a:pathLst>
            </a:custGeom>
            <a:gradFill flip="none" rotWithShape="1">
              <a:gsLst>
                <a:gs pos="0">
                  <a:schemeClr val="bg1">
                    <a:lumMod val="100000"/>
                    <a:alpha val="0"/>
                  </a:schemeClr>
                </a:gs>
                <a:gs pos="100000">
                  <a:schemeClr val="bg1">
                    <a:alpha val="46000"/>
                    <a:lumMod val="86000"/>
                  </a:schemeClr>
                </a:gs>
              </a:gsLst>
              <a:lin ang="18900000" scaled="1"/>
              <a:tileRect/>
            </a:gradFill>
            <a:ln w="9525">
              <a:noFill/>
              <a:round/>
              <a:headEnd/>
              <a:tailEnd/>
            </a:ln>
            <a:effectLst>
              <a:outerShdw blurRad="50800" dist="38100" dir="5400000" algn="t" rotWithShape="0">
                <a:prstClr val="black">
                  <a:alpha val="20000"/>
                </a:prstClr>
              </a:outerShdw>
            </a:effectLst>
          </p:spPr>
          <p:txBody>
            <a:bodyPr/>
            <a:lstStyle/>
            <a:p>
              <a:pPr defTabSz="457200">
                <a:defRPr/>
              </a:pPr>
              <a:endParaRPr lang="id-ID">
                <a:solidFill>
                  <a:prstClr val="black"/>
                </a:solidFill>
                <a:latin typeface="+mn-lt"/>
                <a:ea typeface="MS PGothic" pitchFamily="34" charset="-128"/>
                <a:cs typeface="+mn-cs"/>
              </a:endParaRPr>
            </a:p>
          </p:txBody>
        </p:sp>
        <p:sp>
          <p:nvSpPr>
            <p:cNvPr id="27" name="Freeform 17"/>
            <p:cNvSpPr>
              <a:spLocks/>
            </p:cNvSpPr>
            <p:nvPr/>
          </p:nvSpPr>
          <p:spPr bwMode="auto">
            <a:xfrm>
              <a:off x="3596192" y="2687994"/>
              <a:ext cx="579467" cy="1565397"/>
            </a:xfrm>
            <a:custGeom>
              <a:avLst/>
              <a:gdLst/>
              <a:ahLst/>
              <a:cxnLst>
                <a:cxn ang="0">
                  <a:pos x="604" y="38"/>
                </a:cxn>
                <a:cxn ang="0">
                  <a:pos x="679" y="112"/>
                </a:cxn>
                <a:cxn ang="0">
                  <a:pos x="787" y="226"/>
                </a:cxn>
                <a:cxn ang="0">
                  <a:pos x="923" y="366"/>
                </a:cxn>
                <a:cxn ang="0">
                  <a:pos x="1051" y="493"/>
                </a:cxn>
                <a:cxn ang="0">
                  <a:pos x="1174" y="607"/>
                </a:cxn>
                <a:cxn ang="0">
                  <a:pos x="1292" y="709"/>
                </a:cxn>
                <a:cxn ang="0">
                  <a:pos x="1405" y="801"/>
                </a:cxn>
                <a:cxn ang="0">
                  <a:pos x="1513" y="882"/>
                </a:cxn>
                <a:cxn ang="0">
                  <a:pos x="1620" y="953"/>
                </a:cxn>
                <a:cxn ang="0">
                  <a:pos x="1643" y="1050"/>
                </a:cxn>
                <a:cxn ang="0">
                  <a:pos x="1585" y="1181"/>
                </a:cxn>
                <a:cxn ang="0">
                  <a:pos x="1528" y="1313"/>
                </a:cxn>
                <a:cxn ang="0">
                  <a:pos x="1472" y="1444"/>
                </a:cxn>
                <a:cxn ang="0">
                  <a:pos x="1418" y="1575"/>
                </a:cxn>
                <a:cxn ang="0">
                  <a:pos x="1367" y="1705"/>
                </a:cxn>
                <a:cxn ang="0">
                  <a:pos x="1319" y="1834"/>
                </a:cxn>
                <a:cxn ang="0">
                  <a:pos x="1273" y="1960"/>
                </a:cxn>
                <a:cxn ang="0">
                  <a:pos x="1209" y="2151"/>
                </a:cxn>
                <a:cxn ang="0">
                  <a:pos x="1135" y="2455"/>
                </a:cxn>
                <a:cxn ang="0">
                  <a:pos x="1067" y="2812"/>
                </a:cxn>
                <a:cxn ang="0">
                  <a:pos x="1006" y="3211"/>
                </a:cxn>
                <a:cxn ang="0">
                  <a:pos x="953" y="3641"/>
                </a:cxn>
                <a:cxn ang="0">
                  <a:pos x="907" y="4092"/>
                </a:cxn>
                <a:cxn ang="0">
                  <a:pos x="866" y="4555"/>
                </a:cxn>
                <a:cxn ang="0">
                  <a:pos x="831" y="5017"/>
                </a:cxn>
                <a:cxn ang="0">
                  <a:pos x="802" y="5469"/>
                </a:cxn>
                <a:cxn ang="0">
                  <a:pos x="778" y="5902"/>
                </a:cxn>
                <a:cxn ang="0">
                  <a:pos x="750" y="6490"/>
                </a:cxn>
                <a:cxn ang="0">
                  <a:pos x="727" y="7105"/>
                </a:cxn>
                <a:cxn ang="0">
                  <a:pos x="717" y="7452"/>
                </a:cxn>
                <a:cxn ang="0">
                  <a:pos x="706" y="7463"/>
                </a:cxn>
                <a:cxn ang="0">
                  <a:pos x="631" y="7183"/>
                </a:cxn>
                <a:cxn ang="0">
                  <a:pos x="541" y="6818"/>
                </a:cxn>
                <a:cxn ang="0">
                  <a:pos x="471" y="6514"/>
                </a:cxn>
                <a:cxn ang="0">
                  <a:pos x="397" y="6170"/>
                </a:cxn>
                <a:cxn ang="0">
                  <a:pos x="320" y="5791"/>
                </a:cxn>
                <a:cxn ang="0">
                  <a:pos x="244" y="5385"/>
                </a:cxn>
                <a:cxn ang="0">
                  <a:pos x="174" y="4956"/>
                </a:cxn>
                <a:cxn ang="0">
                  <a:pos x="112" y="4513"/>
                </a:cxn>
                <a:cxn ang="0">
                  <a:pos x="60" y="4063"/>
                </a:cxn>
                <a:cxn ang="0">
                  <a:pos x="23" y="3610"/>
                </a:cxn>
                <a:cxn ang="0">
                  <a:pos x="3" y="3163"/>
                </a:cxn>
                <a:cxn ang="0">
                  <a:pos x="3" y="2727"/>
                </a:cxn>
                <a:cxn ang="0">
                  <a:pos x="26" y="2311"/>
                </a:cxn>
                <a:cxn ang="0">
                  <a:pos x="58" y="2037"/>
                </a:cxn>
                <a:cxn ang="0">
                  <a:pos x="79" y="1890"/>
                </a:cxn>
                <a:cxn ang="0">
                  <a:pos x="103" y="1744"/>
                </a:cxn>
                <a:cxn ang="0">
                  <a:pos x="128" y="1601"/>
                </a:cxn>
                <a:cxn ang="0">
                  <a:pos x="170" y="1389"/>
                </a:cxn>
                <a:cxn ang="0">
                  <a:pos x="232" y="1114"/>
                </a:cxn>
                <a:cxn ang="0">
                  <a:pos x="300" y="848"/>
                </a:cxn>
                <a:cxn ang="0">
                  <a:pos x="373" y="593"/>
                </a:cxn>
                <a:cxn ang="0">
                  <a:pos x="449" y="347"/>
                </a:cxn>
                <a:cxn ang="0">
                  <a:pos x="528" y="113"/>
                </a:cxn>
              </a:cxnLst>
              <a:rect l="0" t="0" r="r" b="b"/>
              <a:pathLst>
                <a:path w="1673" h="7500">
                  <a:moveTo>
                    <a:pt x="567" y="0"/>
                  </a:moveTo>
                  <a:lnTo>
                    <a:pt x="604" y="38"/>
                  </a:lnTo>
                  <a:lnTo>
                    <a:pt x="642" y="74"/>
                  </a:lnTo>
                  <a:lnTo>
                    <a:pt x="679" y="112"/>
                  </a:lnTo>
                  <a:lnTo>
                    <a:pt x="716" y="152"/>
                  </a:lnTo>
                  <a:lnTo>
                    <a:pt x="787" y="226"/>
                  </a:lnTo>
                  <a:lnTo>
                    <a:pt x="856" y="298"/>
                  </a:lnTo>
                  <a:lnTo>
                    <a:pt x="923" y="366"/>
                  </a:lnTo>
                  <a:lnTo>
                    <a:pt x="988" y="432"/>
                  </a:lnTo>
                  <a:lnTo>
                    <a:pt x="1051" y="493"/>
                  </a:lnTo>
                  <a:lnTo>
                    <a:pt x="1113" y="551"/>
                  </a:lnTo>
                  <a:lnTo>
                    <a:pt x="1174" y="607"/>
                  </a:lnTo>
                  <a:lnTo>
                    <a:pt x="1233" y="660"/>
                  </a:lnTo>
                  <a:lnTo>
                    <a:pt x="1292" y="709"/>
                  </a:lnTo>
                  <a:lnTo>
                    <a:pt x="1348" y="757"/>
                  </a:lnTo>
                  <a:lnTo>
                    <a:pt x="1405" y="801"/>
                  </a:lnTo>
                  <a:lnTo>
                    <a:pt x="1459" y="842"/>
                  </a:lnTo>
                  <a:lnTo>
                    <a:pt x="1513" y="882"/>
                  </a:lnTo>
                  <a:lnTo>
                    <a:pt x="1567" y="918"/>
                  </a:lnTo>
                  <a:lnTo>
                    <a:pt x="1620" y="953"/>
                  </a:lnTo>
                  <a:lnTo>
                    <a:pt x="1673" y="985"/>
                  </a:lnTo>
                  <a:lnTo>
                    <a:pt x="1643" y="1050"/>
                  </a:lnTo>
                  <a:lnTo>
                    <a:pt x="1614" y="1116"/>
                  </a:lnTo>
                  <a:lnTo>
                    <a:pt x="1585" y="1181"/>
                  </a:lnTo>
                  <a:lnTo>
                    <a:pt x="1556" y="1248"/>
                  </a:lnTo>
                  <a:lnTo>
                    <a:pt x="1528" y="1313"/>
                  </a:lnTo>
                  <a:lnTo>
                    <a:pt x="1499" y="1379"/>
                  </a:lnTo>
                  <a:lnTo>
                    <a:pt x="1472" y="1444"/>
                  </a:lnTo>
                  <a:lnTo>
                    <a:pt x="1445" y="1510"/>
                  </a:lnTo>
                  <a:lnTo>
                    <a:pt x="1418" y="1575"/>
                  </a:lnTo>
                  <a:lnTo>
                    <a:pt x="1392" y="1640"/>
                  </a:lnTo>
                  <a:lnTo>
                    <a:pt x="1367" y="1705"/>
                  </a:lnTo>
                  <a:lnTo>
                    <a:pt x="1343" y="1769"/>
                  </a:lnTo>
                  <a:lnTo>
                    <a:pt x="1319" y="1834"/>
                  </a:lnTo>
                  <a:lnTo>
                    <a:pt x="1295" y="1897"/>
                  </a:lnTo>
                  <a:lnTo>
                    <a:pt x="1273" y="1960"/>
                  </a:lnTo>
                  <a:lnTo>
                    <a:pt x="1250" y="2022"/>
                  </a:lnTo>
                  <a:lnTo>
                    <a:pt x="1209" y="2151"/>
                  </a:lnTo>
                  <a:lnTo>
                    <a:pt x="1171" y="2296"/>
                  </a:lnTo>
                  <a:lnTo>
                    <a:pt x="1135" y="2455"/>
                  </a:lnTo>
                  <a:lnTo>
                    <a:pt x="1100" y="2628"/>
                  </a:lnTo>
                  <a:lnTo>
                    <a:pt x="1067" y="2812"/>
                  </a:lnTo>
                  <a:lnTo>
                    <a:pt x="1036" y="3007"/>
                  </a:lnTo>
                  <a:lnTo>
                    <a:pt x="1006" y="3211"/>
                  </a:lnTo>
                  <a:lnTo>
                    <a:pt x="979" y="3423"/>
                  </a:lnTo>
                  <a:lnTo>
                    <a:pt x="953" y="3641"/>
                  </a:lnTo>
                  <a:lnTo>
                    <a:pt x="929" y="3865"/>
                  </a:lnTo>
                  <a:lnTo>
                    <a:pt x="907" y="4092"/>
                  </a:lnTo>
                  <a:lnTo>
                    <a:pt x="885" y="4322"/>
                  </a:lnTo>
                  <a:lnTo>
                    <a:pt x="866" y="4555"/>
                  </a:lnTo>
                  <a:lnTo>
                    <a:pt x="848" y="4786"/>
                  </a:lnTo>
                  <a:lnTo>
                    <a:pt x="831" y="5017"/>
                  </a:lnTo>
                  <a:lnTo>
                    <a:pt x="817" y="5246"/>
                  </a:lnTo>
                  <a:lnTo>
                    <a:pt x="802" y="5469"/>
                  </a:lnTo>
                  <a:lnTo>
                    <a:pt x="789" y="5689"/>
                  </a:lnTo>
                  <a:lnTo>
                    <a:pt x="778" y="5902"/>
                  </a:lnTo>
                  <a:lnTo>
                    <a:pt x="768" y="6107"/>
                  </a:lnTo>
                  <a:lnTo>
                    <a:pt x="750" y="6490"/>
                  </a:lnTo>
                  <a:lnTo>
                    <a:pt x="736" y="6826"/>
                  </a:lnTo>
                  <a:lnTo>
                    <a:pt x="727" y="7105"/>
                  </a:lnTo>
                  <a:lnTo>
                    <a:pt x="721" y="7318"/>
                  </a:lnTo>
                  <a:lnTo>
                    <a:pt x="717" y="7452"/>
                  </a:lnTo>
                  <a:lnTo>
                    <a:pt x="716" y="7500"/>
                  </a:lnTo>
                  <a:lnTo>
                    <a:pt x="706" y="7463"/>
                  </a:lnTo>
                  <a:lnTo>
                    <a:pt x="677" y="7354"/>
                  </a:lnTo>
                  <a:lnTo>
                    <a:pt x="631" y="7183"/>
                  </a:lnTo>
                  <a:lnTo>
                    <a:pt x="574" y="6952"/>
                  </a:lnTo>
                  <a:lnTo>
                    <a:pt x="541" y="6818"/>
                  </a:lnTo>
                  <a:lnTo>
                    <a:pt x="507" y="6671"/>
                  </a:lnTo>
                  <a:lnTo>
                    <a:pt x="471" y="6514"/>
                  </a:lnTo>
                  <a:lnTo>
                    <a:pt x="434" y="6347"/>
                  </a:lnTo>
                  <a:lnTo>
                    <a:pt x="397" y="6170"/>
                  </a:lnTo>
                  <a:lnTo>
                    <a:pt x="358" y="5984"/>
                  </a:lnTo>
                  <a:lnTo>
                    <a:pt x="320" y="5791"/>
                  </a:lnTo>
                  <a:lnTo>
                    <a:pt x="281" y="5590"/>
                  </a:lnTo>
                  <a:lnTo>
                    <a:pt x="244" y="5385"/>
                  </a:lnTo>
                  <a:lnTo>
                    <a:pt x="209" y="5172"/>
                  </a:lnTo>
                  <a:lnTo>
                    <a:pt x="174" y="4956"/>
                  </a:lnTo>
                  <a:lnTo>
                    <a:pt x="141" y="4736"/>
                  </a:lnTo>
                  <a:lnTo>
                    <a:pt x="112" y="4513"/>
                  </a:lnTo>
                  <a:lnTo>
                    <a:pt x="84" y="4289"/>
                  </a:lnTo>
                  <a:lnTo>
                    <a:pt x="60" y="4063"/>
                  </a:lnTo>
                  <a:lnTo>
                    <a:pt x="40" y="3836"/>
                  </a:lnTo>
                  <a:lnTo>
                    <a:pt x="23" y="3610"/>
                  </a:lnTo>
                  <a:lnTo>
                    <a:pt x="11" y="3386"/>
                  </a:lnTo>
                  <a:lnTo>
                    <a:pt x="3" y="3163"/>
                  </a:lnTo>
                  <a:lnTo>
                    <a:pt x="0" y="2943"/>
                  </a:lnTo>
                  <a:lnTo>
                    <a:pt x="3" y="2727"/>
                  </a:lnTo>
                  <a:lnTo>
                    <a:pt x="12" y="2516"/>
                  </a:lnTo>
                  <a:lnTo>
                    <a:pt x="26" y="2311"/>
                  </a:lnTo>
                  <a:lnTo>
                    <a:pt x="48" y="2111"/>
                  </a:lnTo>
                  <a:lnTo>
                    <a:pt x="58" y="2037"/>
                  </a:lnTo>
                  <a:lnTo>
                    <a:pt x="68" y="1963"/>
                  </a:lnTo>
                  <a:lnTo>
                    <a:pt x="79" y="1890"/>
                  </a:lnTo>
                  <a:lnTo>
                    <a:pt x="91" y="1817"/>
                  </a:lnTo>
                  <a:lnTo>
                    <a:pt x="103" y="1744"/>
                  </a:lnTo>
                  <a:lnTo>
                    <a:pt x="116" y="1672"/>
                  </a:lnTo>
                  <a:lnTo>
                    <a:pt x="128" y="1601"/>
                  </a:lnTo>
                  <a:lnTo>
                    <a:pt x="141" y="1530"/>
                  </a:lnTo>
                  <a:lnTo>
                    <a:pt x="170" y="1389"/>
                  </a:lnTo>
                  <a:lnTo>
                    <a:pt x="200" y="1250"/>
                  </a:lnTo>
                  <a:lnTo>
                    <a:pt x="232" y="1114"/>
                  </a:lnTo>
                  <a:lnTo>
                    <a:pt x="266" y="980"/>
                  </a:lnTo>
                  <a:lnTo>
                    <a:pt x="300" y="848"/>
                  </a:lnTo>
                  <a:lnTo>
                    <a:pt x="336" y="719"/>
                  </a:lnTo>
                  <a:lnTo>
                    <a:pt x="373" y="593"/>
                  </a:lnTo>
                  <a:lnTo>
                    <a:pt x="410" y="469"/>
                  </a:lnTo>
                  <a:lnTo>
                    <a:pt x="449" y="347"/>
                  </a:lnTo>
                  <a:lnTo>
                    <a:pt x="488" y="228"/>
                  </a:lnTo>
                  <a:lnTo>
                    <a:pt x="528" y="113"/>
                  </a:lnTo>
                  <a:lnTo>
                    <a:pt x="567" y="0"/>
                  </a:lnTo>
                  <a:close/>
                </a:path>
              </a:pathLst>
            </a:custGeom>
            <a:gradFill flip="none" rotWithShape="1">
              <a:gsLst>
                <a:gs pos="0">
                  <a:schemeClr val="bg1">
                    <a:alpha val="0"/>
                  </a:schemeClr>
                </a:gs>
                <a:gs pos="100000">
                  <a:schemeClr val="bg1">
                    <a:alpha val="24000"/>
                  </a:schemeClr>
                </a:gs>
                <a:gs pos="39000">
                  <a:schemeClr val="bg1">
                    <a:lumMod val="85000"/>
                    <a:alpha val="11000"/>
                  </a:schemeClr>
                </a:gs>
              </a:gsLst>
              <a:lin ang="600000" scaled="0"/>
              <a:tileRect/>
            </a:gradFill>
            <a:ln w="9525">
              <a:noFill/>
              <a:round/>
              <a:headEnd/>
              <a:tailEnd/>
            </a:ln>
            <a:effectLst>
              <a:outerShdw blurRad="50800" dist="38100" dir="5400000" algn="t" rotWithShape="0">
                <a:prstClr val="black">
                  <a:alpha val="20000"/>
                </a:prstClr>
              </a:outerShdw>
            </a:effectLst>
          </p:spPr>
          <p:txBody>
            <a:bodyPr/>
            <a:lstStyle/>
            <a:p>
              <a:pPr defTabSz="457200">
                <a:defRPr/>
              </a:pPr>
              <a:endParaRPr lang="id-ID">
                <a:solidFill>
                  <a:prstClr val="black"/>
                </a:solidFill>
                <a:latin typeface="+mn-lt"/>
                <a:ea typeface="MS PGothic" pitchFamily="34" charset="-128"/>
                <a:cs typeface="+mn-cs"/>
              </a:endParaRPr>
            </a:p>
          </p:txBody>
        </p:sp>
        <p:sp>
          <p:nvSpPr>
            <p:cNvPr id="28" name="Freeform 17"/>
            <p:cNvSpPr>
              <a:spLocks/>
            </p:cNvSpPr>
            <p:nvPr/>
          </p:nvSpPr>
          <p:spPr bwMode="auto">
            <a:xfrm>
              <a:off x="3445448" y="1855791"/>
              <a:ext cx="618190" cy="1517231"/>
            </a:xfrm>
            <a:custGeom>
              <a:avLst/>
              <a:gdLst/>
              <a:ahLst/>
              <a:cxnLst>
                <a:cxn ang="0">
                  <a:pos x="604" y="38"/>
                </a:cxn>
                <a:cxn ang="0">
                  <a:pos x="679" y="112"/>
                </a:cxn>
                <a:cxn ang="0">
                  <a:pos x="787" y="226"/>
                </a:cxn>
                <a:cxn ang="0">
                  <a:pos x="923" y="366"/>
                </a:cxn>
                <a:cxn ang="0">
                  <a:pos x="1051" y="493"/>
                </a:cxn>
                <a:cxn ang="0">
                  <a:pos x="1174" y="607"/>
                </a:cxn>
                <a:cxn ang="0">
                  <a:pos x="1292" y="709"/>
                </a:cxn>
                <a:cxn ang="0">
                  <a:pos x="1405" y="801"/>
                </a:cxn>
                <a:cxn ang="0">
                  <a:pos x="1513" y="882"/>
                </a:cxn>
                <a:cxn ang="0">
                  <a:pos x="1620" y="953"/>
                </a:cxn>
                <a:cxn ang="0">
                  <a:pos x="1643" y="1050"/>
                </a:cxn>
                <a:cxn ang="0">
                  <a:pos x="1585" y="1181"/>
                </a:cxn>
                <a:cxn ang="0">
                  <a:pos x="1528" y="1313"/>
                </a:cxn>
                <a:cxn ang="0">
                  <a:pos x="1472" y="1444"/>
                </a:cxn>
                <a:cxn ang="0">
                  <a:pos x="1418" y="1575"/>
                </a:cxn>
                <a:cxn ang="0">
                  <a:pos x="1367" y="1705"/>
                </a:cxn>
                <a:cxn ang="0">
                  <a:pos x="1319" y="1834"/>
                </a:cxn>
                <a:cxn ang="0">
                  <a:pos x="1273" y="1960"/>
                </a:cxn>
                <a:cxn ang="0">
                  <a:pos x="1209" y="2151"/>
                </a:cxn>
                <a:cxn ang="0">
                  <a:pos x="1135" y="2455"/>
                </a:cxn>
                <a:cxn ang="0">
                  <a:pos x="1067" y="2812"/>
                </a:cxn>
                <a:cxn ang="0">
                  <a:pos x="1006" y="3211"/>
                </a:cxn>
                <a:cxn ang="0">
                  <a:pos x="953" y="3641"/>
                </a:cxn>
                <a:cxn ang="0">
                  <a:pos x="907" y="4092"/>
                </a:cxn>
                <a:cxn ang="0">
                  <a:pos x="866" y="4555"/>
                </a:cxn>
                <a:cxn ang="0">
                  <a:pos x="831" y="5017"/>
                </a:cxn>
                <a:cxn ang="0">
                  <a:pos x="802" y="5469"/>
                </a:cxn>
                <a:cxn ang="0">
                  <a:pos x="778" y="5902"/>
                </a:cxn>
                <a:cxn ang="0">
                  <a:pos x="750" y="6490"/>
                </a:cxn>
                <a:cxn ang="0">
                  <a:pos x="727" y="7105"/>
                </a:cxn>
                <a:cxn ang="0">
                  <a:pos x="717" y="7452"/>
                </a:cxn>
                <a:cxn ang="0">
                  <a:pos x="706" y="7463"/>
                </a:cxn>
                <a:cxn ang="0">
                  <a:pos x="631" y="7183"/>
                </a:cxn>
                <a:cxn ang="0">
                  <a:pos x="541" y="6818"/>
                </a:cxn>
                <a:cxn ang="0">
                  <a:pos x="471" y="6514"/>
                </a:cxn>
                <a:cxn ang="0">
                  <a:pos x="397" y="6170"/>
                </a:cxn>
                <a:cxn ang="0">
                  <a:pos x="320" y="5791"/>
                </a:cxn>
                <a:cxn ang="0">
                  <a:pos x="244" y="5385"/>
                </a:cxn>
                <a:cxn ang="0">
                  <a:pos x="174" y="4956"/>
                </a:cxn>
                <a:cxn ang="0">
                  <a:pos x="112" y="4513"/>
                </a:cxn>
                <a:cxn ang="0">
                  <a:pos x="60" y="4063"/>
                </a:cxn>
                <a:cxn ang="0">
                  <a:pos x="23" y="3610"/>
                </a:cxn>
                <a:cxn ang="0">
                  <a:pos x="3" y="3163"/>
                </a:cxn>
                <a:cxn ang="0">
                  <a:pos x="3" y="2727"/>
                </a:cxn>
                <a:cxn ang="0">
                  <a:pos x="26" y="2311"/>
                </a:cxn>
                <a:cxn ang="0">
                  <a:pos x="58" y="2037"/>
                </a:cxn>
                <a:cxn ang="0">
                  <a:pos x="79" y="1890"/>
                </a:cxn>
                <a:cxn ang="0">
                  <a:pos x="103" y="1744"/>
                </a:cxn>
                <a:cxn ang="0">
                  <a:pos x="128" y="1601"/>
                </a:cxn>
                <a:cxn ang="0">
                  <a:pos x="170" y="1389"/>
                </a:cxn>
                <a:cxn ang="0">
                  <a:pos x="232" y="1114"/>
                </a:cxn>
                <a:cxn ang="0">
                  <a:pos x="300" y="848"/>
                </a:cxn>
                <a:cxn ang="0">
                  <a:pos x="373" y="593"/>
                </a:cxn>
                <a:cxn ang="0">
                  <a:pos x="449" y="347"/>
                </a:cxn>
                <a:cxn ang="0">
                  <a:pos x="528" y="113"/>
                </a:cxn>
              </a:cxnLst>
              <a:rect l="0" t="0" r="r" b="b"/>
              <a:pathLst>
                <a:path w="1673" h="7500">
                  <a:moveTo>
                    <a:pt x="567" y="0"/>
                  </a:moveTo>
                  <a:lnTo>
                    <a:pt x="604" y="38"/>
                  </a:lnTo>
                  <a:lnTo>
                    <a:pt x="642" y="74"/>
                  </a:lnTo>
                  <a:lnTo>
                    <a:pt x="679" y="112"/>
                  </a:lnTo>
                  <a:lnTo>
                    <a:pt x="716" y="152"/>
                  </a:lnTo>
                  <a:lnTo>
                    <a:pt x="787" y="226"/>
                  </a:lnTo>
                  <a:lnTo>
                    <a:pt x="856" y="298"/>
                  </a:lnTo>
                  <a:lnTo>
                    <a:pt x="923" y="366"/>
                  </a:lnTo>
                  <a:lnTo>
                    <a:pt x="988" y="432"/>
                  </a:lnTo>
                  <a:lnTo>
                    <a:pt x="1051" y="493"/>
                  </a:lnTo>
                  <a:lnTo>
                    <a:pt x="1113" y="551"/>
                  </a:lnTo>
                  <a:lnTo>
                    <a:pt x="1174" y="607"/>
                  </a:lnTo>
                  <a:lnTo>
                    <a:pt x="1233" y="660"/>
                  </a:lnTo>
                  <a:lnTo>
                    <a:pt x="1292" y="709"/>
                  </a:lnTo>
                  <a:lnTo>
                    <a:pt x="1348" y="757"/>
                  </a:lnTo>
                  <a:lnTo>
                    <a:pt x="1405" y="801"/>
                  </a:lnTo>
                  <a:lnTo>
                    <a:pt x="1459" y="842"/>
                  </a:lnTo>
                  <a:lnTo>
                    <a:pt x="1513" y="882"/>
                  </a:lnTo>
                  <a:lnTo>
                    <a:pt x="1567" y="918"/>
                  </a:lnTo>
                  <a:lnTo>
                    <a:pt x="1620" y="953"/>
                  </a:lnTo>
                  <a:lnTo>
                    <a:pt x="1673" y="985"/>
                  </a:lnTo>
                  <a:lnTo>
                    <a:pt x="1643" y="1050"/>
                  </a:lnTo>
                  <a:lnTo>
                    <a:pt x="1614" y="1116"/>
                  </a:lnTo>
                  <a:lnTo>
                    <a:pt x="1585" y="1181"/>
                  </a:lnTo>
                  <a:lnTo>
                    <a:pt x="1556" y="1248"/>
                  </a:lnTo>
                  <a:lnTo>
                    <a:pt x="1528" y="1313"/>
                  </a:lnTo>
                  <a:lnTo>
                    <a:pt x="1499" y="1379"/>
                  </a:lnTo>
                  <a:lnTo>
                    <a:pt x="1472" y="1444"/>
                  </a:lnTo>
                  <a:lnTo>
                    <a:pt x="1445" y="1510"/>
                  </a:lnTo>
                  <a:lnTo>
                    <a:pt x="1418" y="1575"/>
                  </a:lnTo>
                  <a:lnTo>
                    <a:pt x="1392" y="1640"/>
                  </a:lnTo>
                  <a:lnTo>
                    <a:pt x="1367" y="1705"/>
                  </a:lnTo>
                  <a:lnTo>
                    <a:pt x="1343" y="1769"/>
                  </a:lnTo>
                  <a:lnTo>
                    <a:pt x="1319" y="1834"/>
                  </a:lnTo>
                  <a:lnTo>
                    <a:pt x="1295" y="1897"/>
                  </a:lnTo>
                  <a:lnTo>
                    <a:pt x="1273" y="1960"/>
                  </a:lnTo>
                  <a:lnTo>
                    <a:pt x="1250" y="2022"/>
                  </a:lnTo>
                  <a:lnTo>
                    <a:pt x="1209" y="2151"/>
                  </a:lnTo>
                  <a:lnTo>
                    <a:pt x="1171" y="2296"/>
                  </a:lnTo>
                  <a:lnTo>
                    <a:pt x="1135" y="2455"/>
                  </a:lnTo>
                  <a:lnTo>
                    <a:pt x="1100" y="2628"/>
                  </a:lnTo>
                  <a:lnTo>
                    <a:pt x="1067" y="2812"/>
                  </a:lnTo>
                  <a:lnTo>
                    <a:pt x="1036" y="3007"/>
                  </a:lnTo>
                  <a:lnTo>
                    <a:pt x="1006" y="3211"/>
                  </a:lnTo>
                  <a:lnTo>
                    <a:pt x="979" y="3423"/>
                  </a:lnTo>
                  <a:lnTo>
                    <a:pt x="953" y="3641"/>
                  </a:lnTo>
                  <a:lnTo>
                    <a:pt x="929" y="3865"/>
                  </a:lnTo>
                  <a:lnTo>
                    <a:pt x="907" y="4092"/>
                  </a:lnTo>
                  <a:lnTo>
                    <a:pt x="885" y="4322"/>
                  </a:lnTo>
                  <a:lnTo>
                    <a:pt x="866" y="4555"/>
                  </a:lnTo>
                  <a:lnTo>
                    <a:pt x="848" y="4786"/>
                  </a:lnTo>
                  <a:lnTo>
                    <a:pt x="831" y="5017"/>
                  </a:lnTo>
                  <a:lnTo>
                    <a:pt x="817" y="5246"/>
                  </a:lnTo>
                  <a:lnTo>
                    <a:pt x="802" y="5469"/>
                  </a:lnTo>
                  <a:lnTo>
                    <a:pt x="789" y="5689"/>
                  </a:lnTo>
                  <a:lnTo>
                    <a:pt x="778" y="5902"/>
                  </a:lnTo>
                  <a:lnTo>
                    <a:pt x="768" y="6107"/>
                  </a:lnTo>
                  <a:lnTo>
                    <a:pt x="750" y="6490"/>
                  </a:lnTo>
                  <a:lnTo>
                    <a:pt x="736" y="6826"/>
                  </a:lnTo>
                  <a:lnTo>
                    <a:pt x="727" y="7105"/>
                  </a:lnTo>
                  <a:lnTo>
                    <a:pt x="721" y="7318"/>
                  </a:lnTo>
                  <a:lnTo>
                    <a:pt x="717" y="7452"/>
                  </a:lnTo>
                  <a:lnTo>
                    <a:pt x="716" y="7500"/>
                  </a:lnTo>
                  <a:lnTo>
                    <a:pt x="706" y="7463"/>
                  </a:lnTo>
                  <a:lnTo>
                    <a:pt x="677" y="7354"/>
                  </a:lnTo>
                  <a:lnTo>
                    <a:pt x="631" y="7183"/>
                  </a:lnTo>
                  <a:lnTo>
                    <a:pt x="574" y="6952"/>
                  </a:lnTo>
                  <a:lnTo>
                    <a:pt x="541" y="6818"/>
                  </a:lnTo>
                  <a:lnTo>
                    <a:pt x="507" y="6671"/>
                  </a:lnTo>
                  <a:lnTo>
                    <a:pt x="471" y="6514"/>
                  </a:lnTo>
                  <a:lnTo>
                    <a:pt x="434" y="6347"/>
                  </a:lnTo>
                  <a:lnTo>
                    <a:pt x="397" y="6170"/>
                  </a:lnTo>
                  <a:lnTo>
                    <a:pt x="358" y="5984"/>
                  </a:lnTo>
                  <a:lnTo>
                    <a:pt x="320" y="5791"/>
                  </a:lnTo>
                  <a:lnTo>
                    <a:pt x="281" y="5590"/>
                  </a:lnTo>
                  <a:lnTo>
                    <a:pt x="244" y="5385"/>
                  </a:lnTo>
                  <a:lnTo>
                    <a:pt x="209" y="5172"/>
                  </a:lnTo>
                  <a:lnTo>
                    <a:pt x="174" y="4956"/>
                  </a:lnTo>
                  <a:lnTo>
                    <a:pt x="141" y="4736"/>
                  </a:lnTo>
                  <a:lnTo>
                    <a:pt x="112" y="4513"/>
                  </a:lnTo>
                  <a:lnTo>
                    <a:pt x="84" y="4289"/>
                  </a:lnTo>
                  <a:lnTo>
                    <a:pt x="60" y="4063"/>
                  </a:lnTo>
                  <a:lnTo>
                    <a:pt x="40" y="3836"/>
                  </a:lnTo>
                  <a:lnTo>
                    <a:pt x="23" y="3610"/>
                  </a:lnTo>
                  <a:lnTo>
                    <a:pt x="11" y="3386"/>
                  </a:lnTo>
                  <a:lnTo>
                    <a:pt x="3" y="3163"/>
                  </a:lnTo>
                  <a:lnTo>
                    <a:pt x="0" y="2943"/>
                  </a:lnTo>
                  <a:lnTo>
                    <a:pt x="3" y="2727"/>
                  </a:lnTo>
                  <a:lnTo>
                    <a:pt x="12" y="2516"/>
                  </a:lnTo>
                  <a:lnTo>
                    <a:pt x="26" y="2311"/>
                  </a:lnTo>
                  <a:lnTo>
                    <a:pt x="48" y="2111"/>
                  </a:lnTo>
                  <a:lnTo>
                    <a:pt x="58" y="2037"/>
                  </a:lnTo>
                  <a:lnTo>
                    <a:pt x="68" y="1963"/>
                  </a:lnTo>
                  <a:lnTo>
                    <a:pt x="79" y="1890"/>
                  </a:lnTo>
                  <a:lnTo>
                    <a:pt x="91" y="1817"/>
                  </a:lnTo>
                  <a:lnTo>
                    <a:pt x="103" y="1744"/>
                  </a:lnTo>
                  <a:lnTo>
                    <a:pt x="116" y="1672"/>
                  </a:lnTo>
                  <a:lnTo>
                    <a:pt x="128" y="1601"/>
                  </a:lnTo>
                  <a:lnTo>
                    <a:pt x="141" y="1530"/>
                  </a:lnTo>
                  <a:lnTo>
                    <a:pt x="170" y="1389"/>
                  </a:lnTo>
                  <a:lnTo>
                    <a:pt x="200" y="1250"/>
                  </a:lnTo>
                  <a:lnTo>
                    <a:pt x="232" y="1114"/>
                  </a:lnTo>
                  <a:lnTo>
                    <a:pt x="266" y="980"/>
                  </a:lnTo>
                  <a:lnTo>
                    <a:pt x="300" y="848"/>
                  </a:lnTo>
                  <a:lnTo>
                    <a:pt x="336" y="719"/>
                  </a:lnTo>
                  <a:lnTo>
                    <a:pt x="373" y="593"/>
                  </a:lnTo>
                  <a:lnTo>
                    <a:pt x="410" y="469"/>
                  </a:lnTo>
                  <a:lnTo>
                    <a:pt x="449" y="347"/>
                  </a:lnTo>
                  <a:lnTo>
                    <a:pt x="488" y="228"/>
                  </a:lnTo>
                  <a:lnTo>
                    <a:pt x="528" y="113"/>
                  </a:lnTo>
                  <a:lnTo>
                    <a:pt x="567" y="0"/>
                  </a:lnTo>
                  <a:close/>
                </a:path>
              </a:pathLst>
            </a:custGeom>
            <a:gradFill flip="none" rotWithShape="1">
              <a:gsLst>
                <a:gs pos="0">
                  <a:schemeClr val="bg1">
                    <a:alpha val="0"/>
                  </a:schemeClr>
                </a:gs>
                <a:gs pos="100000">
                  <a:schemeClr val="bg1">
                    <a:alpha val="24000"/>
                  </a:schemeClr>
                </a:gs>
                <a:gs pos="39000">
                  <a:schemeClr val="bg1">
                    <a:lumMod val="85000"/>
                    <a:alpha val="11000"/>
                  </a:schemeClr>
                </a:gs>
              </a:gsLst>
              <a:lin ang="600000" scaled="0"/>
              <a:tileRect/>
            </a:gradFill>
            <a:ln w="9525">
              <a:noFill/>
              <a:round/>
              <a:headEnd/>
              <a:tailEnd/>
            </a:ln>
            <a:effectLst>
              <a:outerShdw blurRad="50800" dist="38100" dir="5400000" algn="t" rotWithShape="0">
                <a:prstClr val="black">
                  <a:alpha val="20000"/>
                </a:prstClr>
              </a:outerShdw>
            </a:effectLst>
          </p:spPr>
          <p:txBody>
            <a:bodyPr/>
            <a:lstStyle/>
            <a:p>
              <a:pPr defTabSz="457200">
                <a:defRPr/>
              </a:pPr>
              <a:endParaRPr lang="id-ID">
                <a:solidFill>
                  <a:prstClr val="black"/>
                </a:solidFill>
                <a:latin typeface="+mn-lt"/>
                <a:ea typeface="MS PGothic" pitchFamily="34" charset="-128"/>
                <a:cs typeface="+mn-cs"/>
              </a:endParaRPr>
            </a:p>
          </p:txBody>
        </p:sp>
      </p:grpSp>
      <p:pic>
        <p:nvPicPr>
          <p:cNvPr id="232" name="Picture 231" descr="20278662_xl.jpg"/>
          <p:cNvPicPr>
            <a:picLocks noChangeAspect="1"/>
          </p:cNvPicPr>
          <p:nvPr/>
        </p:nvPicPr>
        <p:blipFill>
          <a:blip r:embed="rId13" cstate="print">
            <a:clrChange>
              <a:clrFrom>
                <a:srgbClr val="FFFFFF"/>
              </a:clrFrom>
              <a:clrTo>
                <a:srgbClr val="FFFFFF">
                  <a:alpha val="0"/>
                </a:srgbClr>
              </a:clrTo>
            </a:clrChange>
          </a:blip>
          <a:stretch>
            <a:fillRect/>
          </a:stretch>
        </p:blipFill>
        <p:spPr>
          <a:xfrm>
            <a:off x="2627784" y="1412776"/>
            <a:ext cx="4174121" cy="5373215"/>
          </a:xfrm>
          <a:prstGeom prst="rect">
            <a:avLst/>
          </a:prstGeom>
        </p:spPr>
      </p:pic>
      <p:pic>
        <p:nvPicPr>
          <p:cNvPr id="233" name="Picture 232" descr="20005201_xl.jpg"/>
          <p:cNvPicPr>
            <a:picLocks noChangeAspect="1"/>
          </p:cNvPicPr>
          <p:nvPr/>
        </p:nvPicPr>
        <p:blipFill>
          <a:blip r:embed="rId14" cstate="print">
            <a:clrChange>
              <a:clrFrom>
                <a:srgbClr val="FFFFFF"/>
              </a:clrFrom>
              <a:clrTo>
                <a:srgbClr val="FFFFFF">
                  <a:alpha val="0"/>
                </a:srgbClr>
              </a:clrTo>
            </a:clrChange>
          </a:blip>
          <a:stretch>
            <a:fillRect/>
          </a:stretch>
        </p:blipFill>
        <p:spPr>
          <a:xfrm>
            <a:off x="395536" y="1988840"/>
            <a:ext cx="8352928" cy="4709800"/>
          </a:xfrm>
          <a:prstGeom prst="rect">
            <a:avLst/>
          </a:prstGeom>
        </p:spPr>
      </p:pic>
      <p:grpSp>
        <p:nvGrpSpPr>
          <p:cNvPr id="8" name="Group 71"/>
          <p:cNvGrpSpPr>
            <a:grpSpLocks/>
          </p:cNvGrpSpPr>
          <p:nvPr/>
        </p:nvGrpSpPr>
        <p:grpSpPr bwMode="auto">
          <a:xfrm>
            <a:off x="3995936" y="5085184"/>
            <a:ext cx="360040" cy="432048"/>
            <a:chOff x="4212399" y="2500313"/>
            <a:chExt cx="975551" cy="1435364"/>
          </a:xfrm>
        </p:grpSpPr>
        <p:grpSp>
          <p:nvGrpSpPr>
            <p:cNvPr id="9" name="Group 72"/>
            <p:cNvGrpSpPr>
              <a:grpSpLocks/>
            </p:cNvGrpSpPr>
            <p:nvPr/>
          </p:nvGrpSpPr>
          <p:grpSpPr bwMode="auto">
            <a:xfrm>
              <a:off x="4212399" y="3437110"/>
              <a:ext cx="498086" cy="498567"/>
              <a:chOff x="5627209" y="1515183"/>
              <a:chExt cx="498086" cy="498567"/>
            </a:xfrm>
          </p:grpSpPr>
          <p:sp>
            <p:nvSpPr>
              <p:cNvPr id="240" name="Oval 239"/>
              <p:cNvSpPr>
                <a:spLocks noChangeArrowheads="1"/>
              </p:cNvSpPr>
              <p:nvPr/>
            </p:nvSpPr>
            <p:spPr bwMode="auto">
              <a:xfrm>
                <a:off x="5627209" y="1516204"/>
                <a:ext cx="496708" cy="497546"/>
              </a:xfrm>
              <a:prstGeom prst="ellipse">
                <a:avLst/>
              </a:prstGeom>
              <a:gradFill rotWithShape="0">
                <a:gsLst>
                  <a:gs pos="0">
                    <a:schemeClr val="bg1"/>
                  </a:gs>
                  <a:gs pos="100000">
                    <a:srgbClr val="D9D9D9"/>
                  </a:gs>
                </a:gsLst>
                <a:lin ang="5400000"/>
              </a:gradFill>
              <a:ln w="3175">
                <a:solidFill>
                  <a:schemeClr val="tx1"/>
                </a:solidFill>
                <a:round/>
                <a:headEnd/>
                <a:tailEnd/>
              </a:ln>
              <a:effectLst>
                <a:outerShdw blurRad="63500" sx="102000" sy="102000" algn="ctr" rotWithShape="0">
                  <a:srgbClr val="000000">
                    <a:alpha val="39999"/>
                  </a:srgbClr>
                </a:outerShdw>
              </a:effectLst>
            </p:spPr>
            <p:txBody>
              <a:bodyPr anchor="ctr"/>
              <a:lstStyle/>
              <a:p>
                <a:pPr algn="ctr" defTabSz="457200"/>
                <a:endParaRPr lang="nb-NO">
                  <a:solidFill>
                    <a:srgbClr val="FFFFFF"/>
                  </a:solidFill>
                  <a:ea typeface="MS PGothic" pitchFamily="34" charset="-128"/>
                </a:endParaRPr>
              </a:p>
            </p:txBody>
          </p:sp>
          <p:sp>
            <p:nvSpPr>
              <p:cNvPr id="241" name="Oval 240"/>
              <p:cNvSpPr/>
              <p:nvPr/>
            </p:nvSpPr>
            <p:spPr>
              <a:xfrm>
                <a:off x="5766572" y="1652224"/>
                <a:ext cx="225128" cy="225507"/>
              </a:xfrm>
              <a:prstGeom prst="ellipse">
                <a:avLst/>
              </a:prstGeom>
              <a:solidFill>
                <a:srgbClr val="92D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sp>
          <p:nvSpPr>
            <p:cNvPr id="236" name="Freeform 57"/>
            <p:cNvSpPr>
              <a:spLocks/>
            </p:cNvSpPr>
            <p:nvPr/>
          </p:nvSpPr>
          <p:spPr bwMode="auto">
            <a:xfrm rot="15813706" flipH="1" flipV="1">
              <a:off x="4658866" y="3156031"/>
              <a:ext cx="254143" cy="804025"/>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grpSp>
          <p:nvGrpSpPr>
            <p:cNvPr id="10" name="Group 133"/>
            <p:cNvGrpSpPr>
              <a:grpSpLocks/>
            </p:cNvGrpSpPr>
            <p:nvPr/>
          </p:nvGrpSpPr>
          <p:grpSpPr bwMode="auto">
            <a:xfrm flipH="1">
              <a:off x="4436064" y="2500313"/>
              <a:ext cx="650367" cy="1241653"/>
              <a:chOff x="7000949" y="2143116"/>
              <a:chExt cx="999336" cy="1834351"/>
            </a:xfrm>
          </p:grpSpPr>
          <p:sp>
            <p:nvSpPr>
              <p:cNvPr id="238" name="Freeform 57"/>
              <p:cNvSpPr>
                <a:spLocks/>
              </p:cNvSpPr>
              <p:nvPr/>
            </p:nvSpPr>
            <p:spPr bwMode="auto">
              <a:xfrm>
                <a:off x="6998704" y="2143116"/>
                <a:ext cx="999336" cy="183497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rgbClr val="FF0066"/>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sp>
            <p:nvSpPr>
              <p:cNvPr id="239" name="Oval 238"/>
              <p:cNvSpPr/>
              <p:nvPr/>
            </p:nvSpPr>
            <p:spPr>
              <a:xfrm flipV="1">
                <a:off x="7128300" y="2206820"/>
                <a:ext cx="687491" cy="623788"/>
              </a:xfrm>
              <a:prstGeom prst="ellipse">
                <a:avLst/>
              </a:prstGeom>
              <a:gradFill>
                <a:gsLst>
                  <a:gs pos="15000">
                    <a:schemeClr val="accent1">
                      <a:tint val="66000"/>
                      <a:satMod val="160000"/>
                      <a:alpha val="13000"/>
                    </a:schemeClr>
                  </a:gs>
                  <a:gs pos="100000">
                    <a:schemeClr val="accent1">
                      <a:tint val="44500"/>
                      <a:satMod val="160000"/>
                      <a:alpha val="59000"/>
                    </a:schemeClr>
                  </a:gs>
                  <a:gs pos="100000">
                    <a:schemeClr val="accent1">
                      <a:tint val="23500"/>
                      <a:satMod val="160000"/>
                      <a:alpha val="41000"/>
                    </a:schemeClr>
                  </a:gs>
                  <a:gs pos="100000">
                    <a:schemeClr val="accent1">
                      <a:tint val="23500"/>
                      <a:satMod val="16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grpSp>
      <p:sp>
        <p:nvSpPr>
          <p:cNvPr id="242" name="Rounded Rectangular Callout 241"/>
          <p:cNvSpPr/>
          <p:nvPr/>
        </p:nvSpPr>
        <p:spPr>
          <a:xfrm>
            <a:off x="2771800" y="5085184"/>
            <a:ext cx="1223888" cy="576064"/>
          </a:xfrm>
          <a:prstGeom prst="wedgeRoundRectCallout">
            <a:avLst>
              <a:gd name="adj1" fmla="val 66537"/>
              <a:gd name="adj2" fmla="val -35182"/>
              <a:gd name="adj3" fmla="val 16667"/>
            </a:avLst>
          </a:prstGeom>
          <a:solidFill>
            <a:srgbClr val="FFFFFF">
              <a:alpha val="69804"/>
            </a:srgbClr>
          </a:solid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rPr>
              <a:t>Austin-Texas</a:t>
            </a:r>
            <a:endParaRPr lang="en-IN" dirty="0">
              <a:solidFill>
                <a:schemeClr val="tx1"/>
              </a:solidFill>
            </a:endParaRPr>
          </a:p>
        </p:txBody>
      </p:sp>
      <p:grpSp>
        <p:nvGrpSpPr>
          <p:cNvPr id="11" name="Group 71"/>
          <p:cNvGrpSpPr>
            <a:grpSpLocks/>
          </p:cNvGrpSpPr>
          <p:nvPr/>
        </p:nvGrpSpPr>
        <p:grpSpPr bwMode="auto">
          <a:xfrm>
            <a:off x="7020272" y="3861048"/>
            <a:ext cx="360040" cy="432048"/>
            <a:chOff x="4212399" y="2500313"/>
            <a:chExt cx="975551" cy="1435364"/>
          </a:xfrm>
        </p:grpSpPr>
        <p:grpSp>
          <p:nvGrpSpPr>
            <p:cNvPr id="12" name="Group 72"/>
            <p:cNvGrpSpPr>
              <a:grpSpLocks/>
            </p:cNvGrpSpPr>
            <p:nvPr/>
          </p:nvGrpSpPr>
          <p:grpSpPr bwMode="auto">
            <a:xfrm>
              <a:off x="4212399" y="3437110"/>
              <a:ext cx="498086" cy="498567"/>
              <a:chOff x="5627209" y="1515183"/>
              <a:chExt cx="498086" cy="498567"/>
            </a:xfrm>
          </p:grpSpPr>
          <p:sp>
            <p:nvSpPr>
              <p:cNvPr id="249" name="Oval 248"/>
              <p:cNvSpPr>
                <a:spLocks noChangeArrowheads="1"/>
              </p:cNvSpPr>
              <p:nvPr/>
            </p:nvSpPr>
            <p:spPr bwMode="auto">
              <a:xfrm>
                <a:off x="5627209" y="1516204"/>
                <a:ext cx="496708" cy="497546"/>
              </a:xfrm>
              <a:prstGeom prst="ellipse">
                <a:avLst/>
              </a:prstGeom>
              <a:gradFill rotWithShape="0">
                <a:gsLst>
                  <a:gs pos="0">
                    <a:schemeClr val="bg1"/>
                  </a:gs>
                  <a:gs pos="100000">
                    <a:srgbClr val="D9D9D9"/>
                  </a:gs>
                </a:gsLst>
                <a:lin ang="5400000"/>
              </a:gradFill>
              <a:ln w="3175">
                <a:solidFill>
                  <a:schemeClr val="tx1"/>
                </a:solidFill>
                <a:round/>
                <a:headEnd/>
                <a:tailEnd/>
              </a:ln>
              <a:effectLst>
                <a:outerShdw blurRad="63500" sx="102000" sy="102000" algn="ctr" rotWithShape="0">
                  <a:srgbClr val="000000">
                    <a:alpha val="39999"/>
                  </a:srgbClr>
                </a:outerShdw>
              </a:effectLst>
            </p:spPr>
            <p:txBody>
              <a:bodyPr anchor="ctr"/>
              <a:lstStyle/>
              <a:p>
                <a:pPr algn="ctr" defTabSz="457200"/>
                <a:endParaRPr lang="nb-NO">
                  <a:solidFill>
                    <a:srgbClr val="FFFFFF"/>
                  </a:solidFill>
                  <a:ea typeface="MS PGothic" pitchFamily="34" charset="-128"/>
                </a:endParaRPr>
              </a:p>
            </p:txBody>
          </p:sp>
          <p:sp>
            <p:nvSpPr>
              <p:cNvPr id="250" name="Oval 249"/>
              <p:cNvSpPr/>
              <p:nvPr/>
            </p:nvSpPr>
            <p:spPr>
              <a:xfrm>
                <a:off x="5766572" y="1652224"/>
                <a:ext cx="225128" cy="225507"/>
              </a:xfrm>
              <a:prstGeom prst="ellipse">
                <a:avLst/>
              </a:prstGeom>
              <a:solidFill>
                <a:srgbClr val="92D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sp>
          <p:nvSpPr>
            <p:cNvPr id="245" name="Freeform 57"/>
            <p:cNvSpPr>
              <a:spLocks/>
            </p:cNvSpPr>
            <p:nvPr/>
          </p:nvSpPr>
          <p:spPr bwMode="auto">
            <a:xfrm rot="15813706" flipH="1" flipV="1">
              <a:off x="4658866" y="3156031"/>
              <a:ext cx="254143" cy="804025"/>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grpSp>
          <p:nvGrpSpPr>
            <p:cNvPr id="13" name="Group 133"/>
            <p:cNvGrpSpPr>
              <a:grpSpLocks/>
            </p:cNvGrpSpPr>
            <p:nvPr/>
          </p:nvGrpSpPr>
          <p:grpSpPr bwMode="auto">
            <a:xfrm flipH="1">
              <a:off x="4436064" y="2500313"/>
              <a:ext cx="650367" cy="1241653"/>
              <a:chOff x="7000949" y="2143116"/>
              <a:chExt cx="999336" cy="1834351"/>
            </a:xfrm>
          </p:grpSpPr>
          <p:sp>
            <p:nvSpPr>
              <p:cNvPr id="247" name="Freeform 57"/>
              <p:cNvSpPr>
                <a:spLocks/>
              </p:cNvSpPr>
              <p:nvPr/>
            </p:nvSpPr>
            <p:spPr bwMode="auto">
              <a:xfrm>
                <a:off x="6998704" y="2143116"/>
                <a:ext cx="999336" cy="183497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rgbClr val="002060"/>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sp>
            <p:nvSpPr>
              <p:cNvPr id="248" name="Oval 247"/>
              <p:cNvSpPr/>
              <p:nvPr/>
            </p:nvSpPr>
            <p:spPr>
              <a:xfrm flipV="1">
                <a:off x="7128300" y="2206820"/>
                <a:ext cx="687491" cy="623788"/>
              </a:xfrm>
              <a:prstGeom prst="ellipse">
                <a:avLst/>
              </a:prstGeom>
              <a:gradFill>
                <a:gsLst>
                  <a:gs pos="15000">
                    <a:schemeClr val="accent1">
                      <a:tint val="66000"/>
                      <a:satMod val="160000"/>
                      <a:alpha val="13000"/>
                    </a:schemeClr>
                  </a:gs>
                  <a:gs pos="100000">
                    <a:schemeClr val="accent1">
                      <a:tint val="44500"/>
                      <a:satMod val="160000"/>
                      <a:alpha val="59000"/>
                    </a:schemeClr>
                  </a:gs>
                  <a:gs pos="100000">
                    <a:schemeClr val="accent1">
                      <a:tint val="23500"/>
                      <a:satMod val="160000"/>
                      <a:alpha val="41000"/>
                    </a:schemeClr>
                  </a:gs>
                  <a:gs pos="100000">
                    <a:schemeClr val="accent1">
                      <a:tint val="23500"/>
                      <a:satMod val="16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grpSp>
      <p:sp>
        <p:nvSpPr>
          <p:cNvPr id="251" name="Rounded Rectangular Callout 250"/>
          <p:cNvSpPr/>
          <p:nvPr/>
        </p:nvSpPr>
        <p:spPr>
          <a:xfrm>
            <a:off x="7596336" y="3933056"/>
            <a:ext cx="1079872" cy="576064"/>
          </a:xfrm>
          <a:prstGeom prst="wedgeRoundRectCallout">
            <a:avLst>
              <a:gd name="adj1" fmla="val -78214"/>
              <a:gd name="adj2" fmla="val -31926"/>
              <a:gd name="adj3" fmla="val 16667"/>
            </a:avLst>
          </a:prstGeom>
          <a:solidFill>
            <a:srgbClr val="FFFFFF">
              <a:alpha val="69804"/>
            </a:srgb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rPr>
              <a:t>North Carolina</a:t>
            </a:r>
            <a:endParaRPr lang="en-IN" dirty="0">
              <a:solidFill>
                <a:schemeClr val="tx1"/>
              </a:solidFill>
            </a:endParaRPr>
          </a:p>
        </p:txBody>
      </p:sp>
      <p:grpSp>
        <p:nvGrpSpPr>
          <p:cNvPr id="21" name="Group 71"/>
          <p:cNvGrpSpPr>
            <a:grpSpLocks/>
          </p:cNvGrpSpPr>
          <p:nvPr/>
        </p:nvGrpSpPr>
        <p:grpSpPr bwMode="auto">
          <a:xfrm>
            <a:off x="6588224" y="5733256"/>
            <a:ext cx="360040" cy="432048"/>
            <a:chOff x="4212399" y="2500313"/>
            <a:chExt cx="975551" cy="1435364"/>
          </a:xfrm>
        </p:grpSpPr>
        <p:grpSp>
          <p:nvGrpSpPr>
            <p:cNvPr id="22" name="Group 72"/>
            <p:cNvGrpSpPr>
              <a:grpSpLocks/>
            </p:cNvGrpSpPr>
            <p:nvPr/>
          </p:nvGrpSpPr>
          <p:grpSpPr bwMode="auto">
            <a:xfrm>
              <a:off x="4212399" y="3437110"/>
              <a:ext cx="498086" cy="498567"/>
              <a:chOff x="5627209" y="1515183"/>
              <a:chExt cx="498086" cy="498567"/>
            </a:xfrm>
          </p:grpSpPr>
          <p:sp>
            <p:nvSpPr>
              <p:cNvPr id="258" name="Oval 257"/>
              <p:cNvSpPr>
                <a:spLocks noChangeArrowheads="1"/>
              </p:cNvSpPr>
              <p:nvPr/>
            </p:nvSpPr>
            <p:spPr bwMode="auto">
              <a:xfrm>
                <a:off x="5627209" y="1516204"/>
                <a:ext cx="496708" cy="497546"/>
              </a:xfrm>
              <a:prstGeom prst="ellipse">
                <a:avLst/>
              </a:prstGeom>
              <a:gradFill rotWithShape="0">
                <a:gsLst>
                  <a:gs pos="0">
                    <a:schemeClr val="bg1"/>
                  </a:gs>
                  <a:gs pos="100000">
                    <a:srgbClr val="D9D9D9"/>
                  </a:gs>
                </a:gsLst>
                <a:lin ang="5400000"/>
              </a:gradFill>
              <a:ln w="3175">
                <a:solidFill>
                  <a:schemeClr val="tx1"/>
                </a:solidFill>
                <a:round/>
                <a:headEnd/>
                <a:tailEnd/>
              </a:ln>
              <a:effectLst>
                <a:outerShdw blurRad="63500" sx="102000" sy="102000" algn="ctr" rotWithShape="0">
                  <a:srgbClr val="000000">
                    <a:alpha val="39999"/>
                  </a:srgbClr>
                </a:outerShdw>
              </a:effectLst>
            </p:spPr>
            <p:txBody>
              <a:bodyPr anchor="ctr"/>
              <a:lstStyle/>
              <a:p>
                <a:pPr algn="ctr" defTabSz="457200"/>
                <a:endParaRPr lang="nb-NO">
                  <a:solidFill>
                    <a:srgbClr val="FFFFFF"/>
                  </a:solidFill>
                  <a:ea typeface="MS PGothic" pitchFamily="34" charset="-128"/>
                </a:endParaRPr>
              </a:p>
            </p:txBody>
          </p:sp>
          <p:sp>
            <p:nvSpPr>
              <p:cNvPr id="259" name="Oval 258"/>
              <p:cNvSpPr/>
              <p:nvPr/>
            </p:nvSpPr>
            <p:spPr>
              <a:xfrm>
                <a:off x="5766572" y="1652224"/>
                <a:ext cx="225128" cy="225507"/>
              </a:xfrm>
              <a:prstGeom prst="ellipse">
                <a:avLst/>
              </a:prstGeom>
              <a:solidFill>
                <a:srgbClr val="92D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sp>
          <p:nvSpPr>
            <p:cNvPr id="254" name="Freeform 57"/>
            <p:cNvSpPr>
              <a:spLocks/>
            </p:cNvSpPr>
            <p:nvPr/>
          </p:nvSpPr>
          <p:spPr bwMode="auto">
            <a:xfrm rot="15813706" flipH="1" flipV="1">
              <a:off x="4658866" y="3156031"/>
              <a:ext cx="254143" cy="804025"/>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grpSp>
          <p:nvGrpSpPr>
            <p:cNvPr id="23" name="Group 133"/>
            <p:cNvGrpSpPr>
              <a:grpSpLocks/>
            </p:cNvGrpSpPr>
            <p:nvPr/>
          </p:nvGrpSpPr>
          <p:grpSpPr bwMode="auto">
            <a:xfrm flipH="1">
              <a:off x="4436064" y="2500313"/>
              <a:ext cx="650367" cy="1241653"/>
              <a:chOff x="7000949" y="2143116"/>
              <a:chExt cx="999336" cy="1834351"/>
            </a:xfrm>
          </p:grpSpPr>
          <p:sp>
            <p:nvSpPr>
              <p:cNvPr id="256" name="Freeform 57"/>
              <p:cNvSpPr>
                <a:spLocks/>
              </p:cNvSpPr>
              <p:nvPr/>
            </p:nvSpPr>
            <p:spPr bwMode="auto">
              <a:xfrm>
                <a:off x="6998704" y="2143116"/>
                <a:ext cx="999336" cy="183497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rgbClr val="C00000"/>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sp>
            <p:nvSpPr>
              <p:cNvPr id="257" name="Oval 256"/>
              <p:cNvSpPr/>
              <p:nvPr/>
            </p:nvSpPr>
            <p:spPr>
              <a:xfrm flipV="1">
                <a:off x="7128300" y="2206820"/>
                <a:ext cx="687491" cy="623788"/>
              </a:xfrm>
              <a:prstGeom prst="ellipse">
                <a:avLst/>
              </a:prstGeom>
              <a:gradFill>
                <a:gsLst>
                  <a:gs pos="15000">
                    <a:schemeClr val="accent1">
                      <a:tint val="66000"/>
                      <a:satMod val="160000"/>
                      <a:alpha val="13000"/>
                    </a:schemeClr>
                  </a:gs>
                  <a:gs pos="100000">
                    <a:schemeClr val="accent1">
                      <a:tint val="44500"/>
                      <a:satMod val="160000"/>
                      <a:alpha val="59000"/>
                    </a:schemeClr>
                  </a:gs>
                  <a:gs pos="100000">
                    <a:schemeClr val="accent1">
                      <a:tint val="23500"/>
                      <a:satMod val="160000"/>
                      <a:alpha val="41000"/>
                    </a:schemeClr>
                  </a:gs>
                  <a:gs pos="100000">
                    <a:schemeClr val="accent1">
                      <a:tint val="23500"/>
                      <a:satMod val="16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grpSp>
      <p:sp>
        <p:nvSpPr>
          <p:cNvPr id="260" name="Rounded Rectangular Callout 259"/>
          <p:cNvSpPr/>
          <p:nvPr/>
        </p:nvSpPr>
        <p:spPr>
          <a:xfrm>
            <a:off x="7164288" y="5805264"/>
            <a:ext cx="1079872" cy="576064"/>
          </a:xfrm>
          <a:prstGeom prst="wedgeRoundRectCallout">
            <a:avLst>
              <a:gd name="adj1" fmla="val -78214"/>
              <a:gd name="adj2" fmla="val -31926"/>
              <a:gd name="adj3" fmla="val 16667"/>
            </a:avLst>
          </a:prstGeom>
          <a:solidFill>
            <a:srgbClr val="FFFFFF">
              <a:alpha val="69804"/>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rPr>
              <a:t>Miami, Florida</a:t>
            </a:r>
            <a:endParaRPr lang="en-IN" dirty="0">
              <a:solidFill>
                <a:schemeClr val="tx1"/>
              </a:solidFill>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750"/>
                            </p:stCondLst>
                            <p:childTnLst>
                              <p:par>
                                <p:cTn id="13" presetID="53" presetClass="entr" presetSubtype="0" fill="hold" nodeType="afterEffect">
                                  <p:stCondLst>
                                    <p:cond delay="0"/>
                                  </p:stCondLst>
                                  <p:childTnLst>
                                    <p:set>
                                      <p:cBhvr>
                                        <p:cTn id="14" dur="1" fill="hold">
                                          <p:stCondLst>
                                            <p:cond delay="0"/>
                                          </p:stCondLst>
                                        </p:cTn>
                                        <p:tgtEl>
                                          <p:spTgt spid="232"/>
                                        </p:tgtEl>
                                        <p:attrNameLst>
                                          <p:attrName>style.visibility</p:attrName>
                                        </p:attrNameLst>
                                      </p:cBhvr>
                                      <p:to>
                                        <p:strVal val="visible"/>
                                      </p:to>
                                    </p:set>
                                    <p:anim calcmode="lin" valueType="num">
                                      <p:cBhvr>
                                        <p:cTn id="15" dur="500" fill="hold"/>
                                        <p:tgtEl>
                                          <p:spTgt spid="232"/>
                                        </p:tgtEl>
                                        <p:attrNameLst>
                                          <p:attrName>ppt_w</p:attrName>
                                        </p:attrNameLst>
                                      </p:cBhvr>
                                      <p:tavLst>
                                        <p:tav tm="0">
                                          <p:val>
                                            <p:fltVal val="0"/>
                                          </p:val>
                                        </p:tav>
                                        <p:tav tm="100000">
                                          <p:val>
                                            <p:strVal val="#ppt_w"/>
                                          </p:val>
                                        </p:tav>
                                      </p:tavLst>
                                    </p:anim>
                                    <p:anim calcmode="lin" valueType="num">
                                      <p:cBhvr>
                                        <p:cTn id="16" dur="500" fill="hold"/>
                                        <p:tgtEl>
                                          <p:spTgt spid="232"/>
                                        </p:tgtEl>
                                        <p:attrNameLst>
                                          <p:attrName>ppt_h</p:attrName>
                                        </p:attrNameLst>
                                      </p:cBhvr>
                                      <p:tavLst>
                                        <p:tav tm="0">
                                          <p:val>
                                            <p:fltVal val="0"/>
                                          </p:val>
                                        </p:tav>
                                        <p:tav tm="100000">
                                          <p:val>
                                            <p:strVal val="#ppt_h"/>
                                          </p:val>
                                        </p:tav>
                                      </p:tavLst>
                                    </p:anim>
                                    <p:animEffect transition="in" filter="fade">
                                      <p:cBhvr>
                                        <p:cTn id="17" dur="500"/>
                                        <p:tgtEl>
                                          <p:spTgt spid="232"/>
                                        </p:tgtEl>
                                      </p:cBhvr>
                                    </p:animEffect>
                                  </p:childTnLst>
                                </p:cTn>
                              </p:par>
                              <p:par>
                                <p:cTn id="18" presetID="10" presetClass="exit" presetSubtype="0" fill="hold" nodeType="withEffect">
                                  <p:stCondLst>
                                    <p:cond delay="0"/>
                                  </p:stCondLst>
                                  <p:childTnLst>
                                    <p:animEffect transition="out" filter="fade">
                                      <p:cBhvr>
                                        <p:cTn id="19" dur="500"/>
                                        <p:tgtEl>
                                          <p:spTgt spid="4"/>
                                        </p:tgtEl>
                                      </p:cBhvr>
                                    </p:animEffect>
                                    <p:set>
                                      <p:cBhvr>
                                        <p:cTn id="20" dur="1" fill="hold">
                                          <p:stCondLst>
                                            <p:cond delay="499"/>
                                          </p:stCondLst>
                                        </p:cTn>
                                        <p:tgtEl>
                                          <p:spTgt spid="4"/>
                                        </p:tgtEl>
                                        <p:attrNameLst>
                                          <p:attrName>style.visibility</p:attrName>
                                        </p:attrNameLst>
                                      </p:cBhvr>
                                      <p:to>
                                        <p:strVal val="hidden"/>
                                      </p:to>
                                    </p:set>
                                  </p:childTnLst>
                                </p:cTn>
                              </p:par>
                            </p:childTnLst>
                          </p:cTn>
                        </p:par>
                        <p:par>
                          <p:cTn id="21" fill="hold">
                            <p:stCondLst>
                              <p:cond delay="2250"/>
                            </p:stCondLst>
                            <p:childTnLst>
                              <p:par>
                                <p:cTn id="22" presetID="55" presetClass="entr" presetSubtype="0" fill="hold" nodeType="afterEffect">
                                  <p:stCondLst>
                                    <p:cond delay="0"/>
                                  </p:stCondLst>
                                  <p:childTnLst>
                                    <p:set>
                                      <p:cBhvr>
                                        <p:cTn id="23" dur="1" fill="hold">
                                          <p:stCondLst>
                                            <p:cond delay="0"/>
                                          </p:stCondLst>
                                        </p:cTn>
                                        <p:tgtEl>
                                          <p:spTgt spid="233"/>
                                        </p:tgtEl>
                                        <p:attrNameLst>
                                          <p:attrName>style.visibility</p:attrName>
                                        </p:attrNameLst>
                                      </p:cBhvr>
                                      <p:to>
                                        <p:strVal val="visible"/>
                                      </p:to>
                                    </p:set>
                                    <p:anim calcmode="lin" valueType="num">
                                      <p:cBhvr>
                                        <p:cTn id="24" dur="500" fill="hold"/>
                                        <p:tgtEl>
                                          <p:spTgt spid="233"/>
                                        </p:tgtEl>
                                        <p:attrNameLst>
                                          <p:attrName>ppt_w</p:attrName>
                                        </p:attrNameLst>
                                      </p:cBhvr>
                                      <p:tavLst>
                                        <p:tav tm="0">
                                          <p:val>
                                            <p:strVal val="#ppt_w*0.70"/>
                                          </p:val>
                                        </p:tav>
                                        <p:tav tm="100000">
                                          <p:val>
                                            <p:strVal val="#ppt_w"/>
                                          </p:val>
                                        </p:tav>
                                      </p:tavLst>
                                    </p:anim>
                                    <p:anim calcmode="lin" valueType="num">
                                      <p:cBhvr>
                                        <p:cTn id="25" dur="500" fill="hold"/>
                                        <p:tgtEl>
                                          <p:spTgt spid="233"/>
                                        </p:tgtEl>
                                        <p:attrNameLst>
                                          <p:attrName>ppt_h</p:attrName>
                                        </p:attrNameLst>
                                      </p:cBhvr>
                                      <p:tavLst>
                                        <p:tav tm="0">
                                          <p:val>
                                            <p:strVal val="#ppt_h"/>
                                          </p:val>
                                        </p:tav>
                                        <p:tav tm="100000">
                                          <p:val>
                                            <p:strVal val="#ppt_h"/>
                                          </p:val>
                                        </p:tav>
                                      </p:tavLst>
                                    </p:anim>
                                    <p:animEffect transition="in" filter="fade">
                                      <p:cBhvr>
                                        <p:cTn id="26" dur="500"/>
                                        <p:tgtEl>
                                          <p:spTgt spid="233"/>
                                        </p:tgtEl>
                                      </p:cBhvr>
                                    </p:animEffect>
                                  </p:childTnLst>
                                </p:cTn>
                              </p:par>
                              <p:par>
                                <p:cTn id="27" presetID="10" presetClass="exit" presetSubtype="0" fill="hold" nodeType="withEffect">
                                  <p:stCondLst>
                                    <p:cond delay="0"/>
                                  </p:stCondLst>
                                  <p:childTnLst>
                                    <p:animEffect transition="out" filter="fade">
                                      <p:cBhvr>
                                        <p:cTn id="28" dur="500"/>
                                        <p:tgtEl>
                                          <p:spTgt spid="232"/>
                                        </p:tgtEl>
                                      </p:cBhvr>
                                    </p:animEffect>
                                    <p:set>
                                      <p:cBhvr>
                                        <p:cTn id="29" dur="1" fill="hold">
                                          <p:stCondLst>
                                            <p:cond delay="499"/>
                                          </p:stCondLst>
                                        </p:cTn>
                                        <p:tgtEl>
                                          <p:spTgt spid="232"/>
                                        </p:tgtEl>
                                        <p:attrNameLst>
                                          <p:attrName>style.visibility</p:attrName>
                                        </p:attrNameLst>
                                      </p:cBhvr>
                                      <p:to>
                                        <p:strVal val="hidden"/>
                                      </p:to>
                                    </p:set>
                                  </p:childTnLst>
                                </p:cTn>
                              </p:par>
                            </p:childTnLst>
                          </p:cTn>
                        </p:par>
                        <p:par>
                          <p:cTn id="30" fill="hold">
                            <p:stCondLst>
                              <p:cond delay="2750"/>
                            </p:stCondLst>
                            <p:childTnLst>
                              <p:par>
                                <p:cTn id="31" presetID="10" presetClass="entr" presetSubtype="0"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childTnLst>
                                </p:cTn>
                              </p:par>
                            </p:childTnLst>
                          </p:cTn>
                        </p:par>
                        <p:par>
                          <p:cTn id="34" fill="hold">
                            <p:stCondLst>
                              <p:cond delay="3250"/>
                            </p:stCondLst>
                            <p:childTnLst>
                              <p:par>
                                <p:cTn id="35" presetID="22" presetClass="entr" presetSubtype="2" fill="hold" grpId="0" nodeType="afterEffect">
                                  <p:stCondLst>
                                    <p:cond delay="0"/>
                                  </p:stCondLst>
                                  <p:childTnLst>
                                    <p:set>
                                      <p:cBhvr>
                                        <p:cTn id="36" dur="1" fill="hold">
                                          <p:stCondLst>
                                            <p:cond delay="0"/>
                                          </p:stCondLst>
                                        </p:cTn>
                                        <p:tgtEl>
                                          <p:spTgt spid="242"/>
                                        </p:tgtEl>
                                        <p:attrNameLst>
                                          <p:attrName>style.visibility</p:attrName>
                                        </p:attrNameLst>
                                      </p:cBhvr>
                                      <p:to>
                                        <p:strVal val="visible"/>
                                      </p:to>
                                    </p:set>
                                    <p:animEffect transition="in" filter="wipe(right)">
                                      <p:cBhvr>
                                        <p:cTn id="37" dur="500"/>
                                        <p:tgtEl>
                                          <p:spTgt spid="242"/>
                                        </p:tgtEl>
                                      </p:cBhvr>
                                    </p:animEffect>
                                  </p:childTnLst>
                                </p:cTn>
                              </p:par>
                            </p:childTnLst>
                          </p:cTn>
                        </p:par>
                        <p:par>
                          <p:cTn id="38" fill="hold">
                            <p:stCondLst>
                              <p:cond delay="3750"/>
                            </p:stCondLst>
                            <p:childTnLst>
                              <p:par>
                                <p:cTn id="39" presetID="10" presetClass="entr" presetSubtype="0" fill="hold"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childTnLst>
                          </p:cTn>
                        </p:par>
                        <p:par>
                          <p:cTn id="42" fill="hold">
                            <p:stCondLst>
                              <p:cond delay="4250"/>
                            </p:stCondLst>
                            <p:childTnLst>
                              <p:par>
                                <p:cTn id="43" presetID="22" presetClass="entr" presetSubtype="8" fill="hold" grpId="0" nodeType="afterEffect">
                                  <p:stCondLst>
                                    <p:cond delay="0"/>
                                  </p:stCondLst>
                                  <p:childTnLst>
                                    <p:set>
                                      <p:cBhvr>
                                        <p:cTn id="44" dur="1" fill="hold">
                                          <p:stCondLst>
                                            <p:cond delay="0"/>
                                          </p:stCondLst>
                                        </p:cTn>
                                        <p:tgtEl>
                                          <p:spTgt spid="251"/>
                                        </p:tgtEl>
                                        <p:attrNameLst>
                                          <p:attrName>style.visibility</p:attrName>
                                        </p:attrNameLst>
                                      </p:cBhvr>
                                      <p:to>
                                        <p:strVal val="visible"/>
                                      </p:to>
                                    </p:set>
                                    <p:animEffect transition="in" filter="wipe(left)">
                                      <p:cBhvr>
                                        <p:cTn id="45" dur="500"/>
                                        <p:tgtEl>
                                          <p:spTgt spid="251"/>
                                        </p:tgtEl>
                                      </p:cBhvr>
                                    </p:animEffect>
                                  </p:childTnLst>
                                </p:cTn>
                              </p:par>
                            </p:childTnLst>
                          </p:cTn>
                        </p:par>
                        <p:par>
                          <p:cTn id="46" fill="hold">
                            <p:stCondLst>
                              <p:cond delay="4750"/>
                            </p:stCondLst>
                            <p:childTnLst>
                              <p:par>
                                <p:cTn id="47" presetID="10" presetClass="entr" presetSubtype="0" fill="hold" nodeType="afterEffect">
                                  <p:stCondLst>
                                    <p:cond delay="0"/>
                                  </p:stCondLst>
                                  <p:childTnLst>
                                    <p:set>
                                      <p:cBhvr>
                                        <p:cTn id="48" dur="1" fill="hold">
                                          <p:stCondLst>
                                            <p:cond delay="0"/>
                                          </p:stCondLst>
                                        </p:cTn>
                                        <p:tgtEl>
                                          <p:spTgt spid="21"/>
                                        </p:tgtEl>
                                        <p:attrNameLst>
                                          <p:attrName>style.visibility</p:attrName>
                                        </p:attrNameLst>
                                      </p:cBhvr>
                                      <p:to>
                                        <p:strVal val="visible"/>
                                      </p:to>
                                    </p:set>
                                    <p:animEffect transition="in" filter="fade">
                                      <p:cBhvr>
                                        <p:cTn id="49" dur="500"/>
                                        <p:tgtEl>
                                          <p:spTgt spid="21"/>
                                        </p:tgtEl>
                                      </p:cBhvr>
                                    </p:animEffect>
                                  </p:childTnLst>
                                </p:cTn>
                              </p:par>
                            </p:childTnLst>
                          </p:cTn>
                        </p:par>
                        <p:par>
                          <p:cTn id="50" fill="hold">
                            <p:stCondLst>
                              <p:cond delay="5250"/>
                            </p:stCondLst>
                            <p:childTnLst>
                              <p:par>
                                <p:cTn id="51" presetID="22" presetClass="entr" presetSubtype="8" fill="hold" grpId="0" nodeType="afterEffect">
                                  <p:stCondLst>
                                    <p:cond delay="0"/>
                                  </p:stCondLst>
                                  <p:childTnLst>
                                    <p:set>
                                      <p:cBhvr>
                                        <p:cTn id="52" dur="1" fill="hold">
                                          <p:stCondLst>
                                            <p:cond delay="0"/>
                                          </p:stCondLst>
                                        </p:cTn>
                                        <p:tgtEl>
                                          <p:spTgt spid="260"/>
                                        </p:tgtEl>
                                        <p:attrNameLst>
                                          <p:attrName>style.visibility</p:attrName>
                                        </p:attrNameLst>
                                      </p:cBhvr>
                                      <p:to>
                                        <p:strVal val="visible"/>
                                      </p:to>
                                    </p:set>
                                    <p:animEffect transition="in" filter="wipe(left)">
                                      <p:cBhvr>
                                        <p:cTn id="53" dur="500"/>
                                        <p:tgtEl>
                                          <p:spTgt spid="2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42" grpId="0" animBg="1"/>
      <p:bldP spid="251" grpId="0" animBg="1"/>
      <p:bldP spid="26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4"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5"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6"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7"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8"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9"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0"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1"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2"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smtClean="0"/>
                <a:t>Finished Goods Supply Chain</a:t>
              </a:r>
              <a:endParaRPr lang="en-IN" sz="3200" dirty="0"/>
            </a:p>
          </p:txBody>
        </p:sp>
      </p:grpSp>
      <p:pic>
        <p:nvPicPr>
          <p:cNvPr id="20" name="Picture 19" descr="9766090_l.jpg"/>
          <p:cNvPicPr>
            <a:picLocks noChangeAspect="1"/>
          </p:cNvPicPr>
          <p:nvPr/>
        </p:nvPicPr>
        <p:blipFill>
          <a:blip r:embed="rId13" cstate="print">
            <a:grayscl/>
          </a:blip>
          <a:srcRect l="1216" t="67315" r="67566" b="1468"/>
          <a:stretch>
            <a:fillRect/>
          </a:stretch>
        </p:blipFill>
        <p:spPr>
          <a:xfrm>
            <a:off x="0" y="908720"/>
            <a:ext cx="9144000" cy="5949280"/>
          </a:xfrm>
          <a:prstGeom prst="rect">
            <a:avLst/>
          </a:prstGeom>
        </p:spPr>
      </p:pic>
      <p:pic>
        <p:nvPicPr>
          <p:cNvPr id="25" name="Picture 24" descr="9766090_l.jpg"/>
          <p:cNvPicPr>
            <a:picLocks noChangeAspect="1"/>
          </p:cNvPicPr>
          <p:nvPr/>
        </p:nvPicPr>
        <p:blipFill>
          <a:blip r:embed="rId13" cstate="print"/>
          <a:srcRect t="66150" r="66150"/>
          <a:stretch>
            <a:fillRect/>
          </a:stretch>
        </p:blipFill>
        <p:spPr>
          <a:xfrm>
            <a:off x="3419872" y="1052736"/>
            <a:ext cx="5517232" cy="5517232"/>
          </a:xfrm>
          <a:prstGeom prst="rect">
            <a:avLst/>
          </a:prstGeom>
        </p:spPr>
      </p:pic>
      <p:sp>
        <p:nvSpPr>
          <p:cNvPr id="21" name="Rounded Rectangle 20"/>
          <p:cNvSpPr/>
          <p:nvPr/>
        </p:nvSpPr>
        <p:spPr>
          <a:xfrm>
            <a:off x="0" y="1268760"/>
            <a:ext cx="6012160" cy="828000"/>
          </a:xfrm>
          <a:prstGeom prst="roundRect">
            <a:avLst>
              <a:gd name="adj" fmla="val 3111"/>
            </a:avLst>
          </a:prstGeom>
          <a:solidFill>
            <a:schemeClr val="accent6">
              <a:lumMod val="60000"/>
              <a:lumOff val="40000"/>
              <a:alpha val="6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smtClean="0">
                <a:solidFill>
                  <a:schemeClr val="tx1"/>
                </a:solidFill>
                <a:effectLst>
                  <a:outerShdw blurRad="38100" dist="38100" dir="2700000" algn="tl">
                    <a:srgbClr val="000000">
                      <a:alpha val="43137"/>
                    </a:srgbClr>
                  </a:outerShdw>
                </a:effectLst>
              </a:rPr>
              <a:t>Finished Goods supply chains are very dynamic and are the backbone of a good sales organization. </a:t>
            </a:r>
          </a:p>
        </p:txBody>
      </p:sp>
      <p:sp>
        <p:nvSpPr>
          <p:cNvPr id="22" name="Rounded Rectangle 21"/>
          <p:cNvSpPr/>
          <p:nvPr/>
        </p:nvSpPr>
        <p:spPr>
          <a:xfrm>
            <a:off x="0" y="2168720"/>
            <a:ext cx="6012160" cy="1044000"/>
          </a:xfrm>
          <a:prstGeom prst="roundRect">
            <a:avLst>
              <a:gd name="adj" fmla="val 3111"/>
            </a:avLst>
          </a:prstGeom>
          <a:solidFill>
            <a:srgbClr val="FF9999">
              <a:alpha val="69804"/>
            </a:srgb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smtClean="0">
                <a:solidFill>
                  <a:schemeClr val="tx1"/>
                </a:solidFill>
                <a:effectLst>
                  <a:outerShdw blurRad="38100" dist="38100" dir="2700000" algn="tl">
                    <a:srgbClr val="000000">
                      <a:alpha val="43137"/>
                    </a:srgbClr>
                  </a:outerShdw>
                </a:effectLst>
              </a:rPr>
              <a:t>A number of departments are responsible to work in coordination and seamlessly to ensure Finished Goods reach the markets and the customers. </a:t>
            </a:r>
          </a:p>
        </p:txBody>
      </p:sp>
      <p:sp>
        <p:nvSpPr>
          <p:cNvPr id="23" name="Rounded Rectangle 22"/>
          <p:cNvSpPr/>
          <p:nvPr/>
        </p:nvSpPr>
        <p:spPr>
          <a:xfrm>
            <a:off x="0" y="3320848"/>
            <a:ext cx="6012160" cy="1944000"/>
          </a:xfrm>
          <a:prstGeom prst="roundRect">
            <a:avLst>
              <a:gd name="adj" fmla="val 3111"/>
            </a:avLst>
          </a:prstGeom>
          <a:solidFill>
            <a:srgbClr val="C65AB7">
              <a:alpha val="69804"/>
            </a:srgb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smtClean="0">
                <a:solidFill>
                  <a:schemeClr val="tx1"/>
                </a:solidFill>
                <a:effectLst>
                  <a:outerShdw blurRad="38100" dist="38100" dir="2700000" algn="tl">
                    <a:srgbClr val="000000">
                      <a:alpha val="43137"/>
                    </a:srgbClr>
                  </a:outerShdw>
                </a:effectLst>
              </a:rPr>
              <a:t>Logistics and supply chain departments have to work in tandem with or aim to be ahead of Marketing and Sales and ensure that when a product is announced for sale by marketing, the products are made available at all nook and corner of the city, state and country. </a:t>
            </a:r>
          </a:p>
        </p:txBody>
      </p:sp>
      <p:sp>
        <p:nvSpPr>
          <p:cNvPr id="24" name="Rounded Rectangle 23"/>
          <p:cNvSpPr/>
          <p:nvPr/>
        </p:nvSpPr>
        <p:spPr>
          <a:xfrm>
            <a:off x="0" y="5337072"/>
            <a:ext cx="6012160" cy="1044000"/>
          </a:xfrm>
          <a:prstGeom prst="roundRect">
            <a:avLst>
              <a:gd name="adj" fmla="val 3111"/>
            </a:avLst>
          </a:prstGeom>
          <a:solidFill>
            <a:schemeClr val="accent4">
              <a:alpha val="6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smtClean="0">
                <a:solidFill>
                  <a:schemeClr val="bg1"/>
                </a:solidFill>
                <a:effectLst>
                  <a:outerShdw blurRad="38100" dist="38100" dir="2700000" algn="tl">
                    <a:srgbClr val="000000">
                      <a:alpha val="43137"/>
                    </a:srgbClr>
                  </a:outerShdw>
                </a:effectLst>
              </a:rPr>
              <a:t>A situation where the customer goes to a sales counter to place an order and the product is not available cannot and should never happen as a rule.</a:t>
            </a: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animEffect transition="in" filter="fade">
                                      <p:cBhvr>
                                        <p:cTn id="9" dur="500"/>
                                        <p:tgtEl>
                                          <p:spTgt spid="20"/>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childTnLst>
                          </p:cTn>
                        </p:par>
                        <p:par>
                          <p:cTn id="14" fill="hold">
                            <p:stCondLst>
                              <p:cond delay="1000"/>
                            </p:stCondLst>
                            <p:childTnLst>
                              <p:par>
                                <p:cTn id="15" presetID="12" presetClass="entr" presetSubtype="8"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slide(fromLeft)">
                                      <p:cBhvr>
                                        <p:cTn id="17" dur="500"/>
                                        <p:tgtEl>
                                          <p:spTgt spid="21"/>
                                        </p:tgtEl>
                                      </p:cBhvr>
                                    </p:animEffect>
                                  </p:childTnLst>
                                </p:cTn>
                              </p:par>
                            </p:childTnLst>
                          </p:cTn>
                        </p:par>
                        <p:par>
                          <p:cTn id="18" fill="hold">
                            <p:stCondLst>
                              <p:cond delay="1500"/>
                            </p:stCondLst>
                            <p:childTnLst>
                              <p:par>
                                <p:cTn id="19" presetID="12" presetClass="entr" presetSubtype="8" fill="hold" grpId="0" nodeType="afterEffect">
                                  <p:stCondLst>
                                    <p:cond delay="1750"/>
                                  </p:stCondLst>
                                  <p:childTnLst>
                                    <p:set>
                                      <p:cBhvr>
                                        <p:cTn id="20" dur="1" fill="hold">
                                          <p:stCondLst>
                                            <p:cond delay="0"/>
                                          </p:stCondLst>
                                        </p:cTn>
                                        <p:tgtEl>
                                          <p:spTgt spid="22"/>
                                        </p:tgtEl>
                                        <p:attrNameLst>
                                          <p:attrName>style.visibility</p:attrName>
                                        </p:attrNameLst>
                                      </p:cBhvr>
                                      <p:to>
                                        <p:strVal val="visible"/>
                                      </p:to>
                                    </p:set>
                                    <p:animEffect transition="in" filter="slide(fromLeft)">
                                      <p:cBhvr>
                                        <p:cTn id="21" dur="500"/>
                                        <p:tgtEl>
                                          <p:spTgt spid="22"/>
                                        </p:tgtEl>
                                      </p:cBhvr>
                                    </p:animEffect>
                                  </p:childTnLst>
                                </p:cTn>
                              </p:par>
                            </p:childTnLst>
                          </p:cTn>
                        </p:par>
                        <p:par>
                          <p:cTn id="22" fill="hold">
                            <p:stCondLst>
                              <p:cond delay="3750"/>
                            </p:stCondLst>
                            <p:childTnLst>
                              <p:par>
                                <p:cTn id="23" presetID="12" presetClass="entr" presetSubtype="8" fill="hold" grpId="0" nodeType="afterEffect">
                                  <p:stCondLst>
                                    <p:cond delay="2000"/>
                                  </p:stCondLst>
                                  <p:childTnLst>
                                    <p:set>
                                      <p:cBhvr>
                                        <p:cTn id="24" dur="1" fill="hold">
                                          <p:stCondLst>
                                            <p:cond delay="0"/>
                                          </p:stCondLst>
                                        </p:cTn>
                                        <p:tgtEl>
                                          <p:spTgt spid="23"/>
                                        </p:tgtEl>
                                        <p:attrNameLst>
                                          <p:attrName>style.visibility</p:attrName>
                                        </p:attrNameLst>
                                      </p:cBhvr>
                                      <p:to>
                                        <p:strVal val="visible"/>
                                      </p:to>
                                    </p:set>
                                    <p:animEffect transition="in" filter="slide(fromLeft)">
                                      <p:cBhvr>
                                        <p:cTn id="25" dur="500"/>
                                        <p:tgtEl>
                                          <p:spTgt spid="23"/>
                                        </p:tgtEl>
                                      </p:cBhvr>
                                    </p:animEffect>
                                  </p:childTnLst>
                                </p:cTn>
                              </p:par>
                            </p:childTnLst>
                          </p:cTn>
                        </p:par>
                        <p:par>
                          <p:cTn id="26" fill="hold">
                            <p:stCondLst>
                              <p:cond delay="6250"/>
                            </p:stCondLst>
                            <p:childTnLst>
                              <p:par>
                                <p:cTn id="27" presetID="12" presetClass="entr" presetSubtype="8" fill="hold" grpId="0" nodeType="afterEffect">
                                  <p:stCondLst>
                                    <p:cond delay="2750"/>
                                  </p:stCondLst>
                                  <p:childTnLst>
                                    <p:set>
                                      <p:cBhvr>
                                        <p:cTn id="28" dur="1" fill="hold">
                                          <p:stCondLst>
                                            <p:cond delay="0"/>
                                          </p:stCondLst>
                                        </p:cTn>
                                        <p:tgtEl>
                                          <p:spTgt spid="24"/>
                                        </p:tgtEl>
                                        <p:attrNameLst>
                                          <p:attrName>style.visibility</p:attrName>
                                        </p:attrNameLst>
                                      </p:cBhvr>
                                      <p:to>
                                        <p:strVal val="visible"/>
                                      </p:to>
                                    </p:set>
                                    <p:animEffect transition="in" filter="slide(fromLeft)">
                                      <p:cBhvr>
                                        <p:cTn id="29"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6"/>
          <p:cNvGrpSpPr/>
          <p:nvPr/>
        </p:nvGrpSpPr>
        <p:grpSpPr>
          <a:xfrm>
            <a:off x="0" y="742162"/>
            <a:ext cx="9144000" cy="6115838"/>
            <a:chOff x="0" y="908720"/>
            <a:chExt cx="9144000" cy="5949280"/>
          </a:xfrm>
        </p:grpSpPr>
        <p:pic>
          <p:nvPicPr>
            <p:cNvPr id="21" name="Picture 20" descr="grunge-danger-background.jpg"/>
            <p:cNvPicPr>
              <a:picLocks noChangeAspect="1"/>
            </p:cNvPicPr>
            <p:nvPr/>
          </p:nvPicPr>
          <p:blipFill>
            <a:blip r:embed="rId4" cstate="print"/>
            <a:srcRect t="5901" b="20959"/>
            <a:stretch>
              <a:fillRect/>
            </a:stretch>
          </p:blipFill>
          <p:spPr>
            <a:xfrm>
              <a:off x="0" y="908720"/>
              <a:ext cx="9144000" cy="2808312"/>
            </a:xfrm>
            <a:prstGeom prst="rect">
              <a:avLst/>
            </a:prstGeom>
          </p:spPr>
        </p:pic>
        <p:pic>
          <p:nvPicPr>
            <p:cNvPr id="22" name="Picture 21" descr="grunge-danger-background.jpg"/>
            <p:cNvPicPr>
              <a:picLocks noChangeAspect="1"/>
            </p:cNvPicPr>
            <p:nvPr/>
          </p:nvPicPr>
          <p:blipFill>
            <a:blip r:embed="rId4" cstate="print"/>
            <a:srcRect t="20709" b="5901"/>
            <a:stretch>
              <a:fillRect/>
            </a:stretch>
          </p:blipFill>
          <p:spPr>
            <a:xfrm>
              <a:off x="0" y="3645024"/>
              <a:ext cx="9144000" cy="3212976"/>
            </a:xfrm>
            <a:prstGeom prst="rect">
              <a:avLst/>
            </a:prstGeom>
          </p:spPr>
        </p:pic>
      </p:grpSp>
      <p:grpSp>
        <p:nvGrpSpPr>
          <p:cNvPr id="3" name="Group 42"/>
          <p:cNvGrpSpPr/>
          <p:nvPr/>
        </p:nvGrpSpPr>
        <p:grpSpPr>
          <a:xfrm>
            <a:off x="0" y="44624"/>
            <a:ext cx="9144000" cy="836712"/>
            <a:chOff x="0" y="44624"/>
            <a:chExt cx="9144000" cy="836712"/>
          </a:xfrm>
        </p:grpSpPr>
        <p:grpSp>
          <p:nvGrpSpPr>
            <p:cNvPr id="4"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5"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6"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7"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8"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9"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10"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1"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2"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3"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smtClean="0"/>
                <a:t>Advantages of Reverse Logistics</a:t>
              </a:r>
              <a:endParaRPr lang="en-IN" sz="3200" dirty="0"/>
            </a:p>
          </p:txBody>
        </p:sp>
      </p:grpSp>
      <p:sp>
        <p:nvSpPr>
          <p:cNvPr id="23" name="TextBox 22"/>
          <p:cNvSpPr txBox="1"/>
          <p:nvPr/>
        </p:nvSpPr>
        <p:spPr>
          <a:xfrm>
            <a:off x="755576" y="1196752"/>
            <a:ext cx="8244408" cy="400110"/>
          </a:xfrm>
          <a:prstGeom prst="rect">
            <a:avLst/>
          </a:prstGeom>
          <a:noFill/>
        </p:spPr>
        <p:txBody>
          <a:bodyPr wrap="square" rtlCol="0">
            <a:spAutoFit/>
          </a:bodyPr>
          <a:lstStyle/>
          <a:p>
            <a:r>
              <a:rPr lang="en-IN" sz="2000" dirty="0" smtClean="0">
                <a:solidFill>
                  <a:schemeClr val="bg1"/>
                </a:solidFill>
              </a:rPr>
              <a:t>The following are the advantages of Reverse Logistics:</a:t>
            </a:r>
            <a:endParaRPr lang="en-IN" sz="2000" dirty="0">
              <a:solidFill>
                <a:schemeClr val="bg1"/>
              </a:solidFill>
            </a:endParaRPr>
          </a:p>
        </p:txBody>
      </p:sp>
      <p:grpSp>
        <p:nvGrpSpPr>
          <p:cNvPr id="5" name="Group 52"/>
          <p:cNvGrpSpPr/>
          <p:nvPr/>
        </p:nvGrpSpPr>
        <p:grpSpPr>
          <a:xfrm>
            <a:off x="-540568" y="438338"/>
            <a:ext cx="3240360" cy="4862870"/>
            <a:chOff x="-612576" y="44624"/>
            <a:chExt cx="3240360" cy="4862870"/>
          </a:xfrm>
        </p:grpSpPr>
        <p:sp>
          <p:nvSpPr>
            <p:cNvPr id="25" name="TextBox 24"/>
            <p:cNvSpPr txBox="1"/>
            <p:nvPr/>
          </p:nvSpPr>
          <p:spPr>
            <a:xfrm>
              <a:off x="-612576" y="44624"/>
              <a:ext cx="3240360" cy="4862870"/>
            </a:xfrm>
            <a:prstGeom prst="rect">
              <a:avLst/>
            </a:prstGeom>
            <a:noFill/>
          </p:spPr>
          <p:txBody>
            <a:bodyPr wrap="square" rtlCol="0">
              <a:spAutoFit/>
            </a:bodyPr>
            <a:lstStyle/>
            <a:p>
              <a:r>
                <a:rPr lang="en-US" sz="31000" dirty="0" smtClean="0">
                  <a:solidFill>
                    <a:srgbClr val="8FCE4A"/>
                  </a:solidFill>
                  <a:latin typeface="Rockwell Extra Bold" pitchFamily="18" charset="0"/>
                </a:rPr>
                <a:t>1</a:t>
              </a:r>
              <a:endParaRPr lang="en-IN" sz="31000" dirty="0">
                <a:solidFill>
                  <a:srgbClr val="8FCE4A"/>
                </a:solidFill>
                <a:latin typeface="Rockwell Extra Bold" pitchFamily="18" charset="0"/>
              </a:endParaRPr>
            </a:p>
          </p:txBody>
        </p:sp>
        <p:sp>
          <p:nvSpPr>
            <p:cNvPr id="26" name="TextBox 25"/>
            <p:cNvSpPr txBox="1"/>
            <p:nvPr/>
          </p:nvSpPr>
          <p:spPr>
            <a:xfrm>
              <a:off x="-180528" y="3286725"/>
              <a:ext cx="2088232" cy="369332"/>
            </a:xfrm>
            <a:prstGeom prst="rect">
              <a:avLst/>
            </a:prstGeom>
            <a:noFill/>
          </p:spPr>
          <p:txBody>
            <a:bodyPr wrap="square" rtlCol="0">
              <a:spAutoFit/>
            </a:bodyPr>
            <a:lstStyle/>
            <a:p>
              <a:pPr algn="ctr"/>
              <a:endParaRPr lang="en-IN" dirty="0"/>
            </a:p>
          </p:txBody>
        </p:sp>
      </p:grpSp>
      <p:sp>
        <p:nvSpPr>
          <p:cNvPr id="27" name="Rectangle 26"/>
          <p:cNvSpPr/>
          <p:nvPr/>
        </p:nvSpPr>
        <p:spPr>
          <a:xfrm>
            <a:off x="1547664" y="1628800"/>
            <a:ext cx="7596336" cy="1656184"/>
          </a:xfrm>
          <a:prstGeom prst="rect">
            <a:avLst/>
          </a:prstGeom>
          <a:solidFill>
            <a:srgbClr val="8FCE4A">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b="1" dirty="0" smtClean="0">
                <a:solidFill>
                  <a:schemeClr val="tx1"/>
                </a:solidFill>
              </a:rPr>
              <a:t>Reverse Logistics offers several advantages to the company in terms of both tangible and intangible benefits. In the first instance, companies are able to retrieve defective equipments and parts which are either salvaged or refurbished and thus reclaim value out of the defective parts.</a:t>
            </a:r>
            <a:endParaRPr lang="en-IN" sz="2000" dirty="0">
              <a:solidFill>
                <a:schemeClr val="tx1"/>
              </a:solidFill>
            </a:endParaRPr>
          </a:p>
        </p:txBody>
      </p:sp>
      <p:grpSp>
        <p:nvGrpSpPr>
          <p:cNvPr id="6" name="Group 84"/>
          <p:cNvGrpSpPr/>
          <p:nvPr/>
        </p:nvGrpSpPr>
        <p:grpSpPr>
          <a:xfrm>
            <a:off x="6516216" y="2382554"/>
            <a:ext cx="3240360" cy="4862870"/>
            <a:chOff x="2411760" y="1023982"/>
            <a:chExt cx="3240360" cy="4862870"/>
          </a:xfrm>
        </p:grpSpPr>
        <p:sp>
          <p:nvSpPr>
            <p:cNvPr id="29" name="TextBox 28"/>
            <p:cNvSpPr txBox="1"/>
            <p:nvPr/>
          </p:nvSpPr>
          <p:spPr>
            <a:xfrm>
              <a:off x="2411760" y="1023982"/>
              <a:ext cx="3240360" cy="4862870"/>
            </a:xfrm>
            <a:prstGeom prst="rect">
              <a:avLst/>
            </a:prstGeom>
            <a:noFill/>
          </p:spPr>
          <p:txBody>
            <a:bodyPr wrap="square" rtlCol="0">
              <a:spAutoFit/>
            </a:bodyPr>
            <a:lstStyle/>
            <a:p>
              <a:r>
                <a:rPr lang="en-US" sz="31000" dirty="0" smtClean="0">
                  <a:solidFill>
                    <a:srgbClr val="69B4FF"/>
                  </a:solidFill>
                  <a:latin typeface="Rockwell Extra Bold" pitchFamily="18" charset="0"/>
                </a:rPr>
                <a:t>2</a:t>
              </a:r>
              <a:endParaRPr lang="en-IN" sz="31000" dirty="0">
                <a:solidFill>
                  <a:srgbClr val="69B4FF"/>
                </a:solidFill>
                <a:latin typeface="Rockwell Extra Bold" pitchFamily="18" charset="0"/>
              </a:endParaRPr>
            </a:p>
          </p:txBody>
        </p:sp>
        <p:sp>
          <p:nvSpPr>
            <p:cNvPr id="30" name="TextBox 29"/>
            <p:cNvSpPr txBox="1"/>
            <p:nvPr/>
          </p:nvSpPr>
          <p:spPr>
            <a:xfrm>
              <a:off x="2699792" y="4241120"/>
              <a:ext cx="2160240" cy="369332"/>
            </a:xfrm>
            <a:prstGeom prst="rect">
              <a:avLst/>
            </a:prstGeom>
            <a:noFill/>
          </p:spPr>
          <p:txBody>
            <a:bodyPr wrap="square" rtlCol="0">
              <a:spAutoFit/>
            </a:bodyPr>
            <a:lstStyle/>
            <a:p>
              <a:pPr algn="ctr"/>
              <a:endParaRPr lang="en-IN" dirty="0"/>
            </a:p>
          </p:txBody>
        </p:sp>
      </p:grpSp>
      <p:sp>
        <p:nvSpPr>
          <p:cNvPr id="31" name="Rectangle 30"/>
          <p:cNvSpPr/>
          <p:nvPr/>
        </p:nvSpPr>
        <p:spPr>
          <a:xfrm>
            <a:off x="0" y="4437112"/>
            <a:ext cx="6732240" cy="1800200"/>
          </a:xfrm>
          <a:prstGeom prst="rect">
            <a:avLst/>
          </a:prstGeom>
          <a:solidFill>
            <a:srgbClr val="69B4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b="1" dirty="0" smtClean="0">
                <a:solidFill>
                  <a:schemeClr val="tx1"/>
                </a:solidFill>
              </a:rPr>
              <a:t>Distributors are more likely to be open to stocking all fast moving as well as slow moving stocks. Also, the packaging and defective materials are collected and recycled, thereby generating scrap value back for the company.</a:t>
            </a:r>
            <a:endParaRPr lang="en-IN" sz="2000" dirty="0">
              <a:solidFill>
                <a:schemeClr val="tx1"/>
              </a:solidFill>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lide(fromBottom)">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1000"/>
                                        <p:tgtEl>
                                          <p:spTgt spid="23"/>
                                        </p:tgtEl>
                                      </p:cBhvr>
                                    </p:animEffect>
                                  </p:childTnLst>
                                </p:cTn>
                              </p:par>
                            </p:childTnLst>
                          </p:cTn>
                        </p:par>
                        <p:par>
                          <p:cTn id="12" fill="hold">
                            <p:stCondLst>
                              <p:cond delay="1500"/>
                            </p:stCondLst>
                            <p:childTnLst>
                              <p:par>
                                <p:cTn id="13" presetID="10" presetClass="entr" presetSubtype="0" fill="hold" nodeType="afterEffect">
                                  <p:stCondLst>
                                    <p:cond delay="75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childTnLst>
                                </p:cTn>
                              </p:par>
                            </p:childTnLst>
                          </p:cTn>
                        </p:par>
                        <p:par>
                          <p:cTn id="16" fill="hold">
                            <p:stCondLst>
                              <p:cond delay="3250"/>
                            </p:stCondLst>
                            <p:childTnLst>
                              <p:par>
                                <p:cTn id="17" presetID="12" presetClass="entr" presetSubtype="2" fill="hold" grpId="0"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slide(fromRight)">
                                      <p:cBhvr>
                                        <p:cTn id="19" dur="500"/>
                                        <p:tgtEl>
                                          <p:spTgt spid="27"/>
                                        </p:tgtEl>
                                      </p:cBhvr>
                                    </p:animEffect>
                                  </p:childTnLst>
                                </p:cTn>
                              </p:par>
                            </p:childTnLst>
                          </p:cTn>
                        </p:par>
                        <p:par>
                          <p:cTn id="20" fill="hold">
                            <p:stCondLst>
                              <p:cond delay="3750"/>
                            </p:stCondLst>
                            <p:childTnLst>
                              <p:par>
                                <p:cTn id="21" presetID="10" presetClass="entr" presetSubtype="0" fill="hold" nodeType="afterEffect">
                                  <p:stCondLst>
                                    <p:cond delay="250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1000"/>
                                        <p:tgtEl>
                                          <p:spTgt spid="6"/>
                                        </p:tgtEl>
                                      </p:cBhvr>
                                    </p:animEffect>
                                  </p:childTnLst>
                                </p:cTn>
                              </p:par>
                            </p:childTnLst>
                          </p:cTn>
                        </p:par>
                        <p:par>
                          <p:cTn id="24" fill="hold">
                            <p:stCondLst>
                              <p:cond delay="7250"/>
                            </p:stCondLst>
                            <p:childTnLst>
                              <p:par>
                                <p:cTn id="25" presetID="12" presetClass="entr" presetSubtype="8" fill="hold" grpId="0"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slide(fromLeft)">
                                      <p:cBhvr>
                                        <p:cTn id="2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7" grpId="0" animBg="1"/>
      <p:bldP spid="3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4"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5"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6"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7"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8"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9"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0"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1"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2"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smtClean="0"/>
                <a:t>Vendor Managed Inventory (VMI)</a:t>
              </a:r>
              <a:endParaRPr lang="en-IN" sz="3200" dirty="0"/>
            </a:p>
          </p:txBody>
        </p:sp>
      </p:grpSp>
      <p:pic>
        <p:nvPicPr>
          <p:cNvPr id="20" name="Picture 19" descr="16600796_l.jpg"/>
          <p:cNvPicPr>
            <a:picLocks noChangeAspect="1"/>
          </p:cNvPicPr>
          <p:nvPr/>
        </p:nvPicPr>
        <p:blipFill>
          <a:blip r:embed="rId13" cstate="print"/>
          <a:stretch>
            <a:fillRect/>
          </a:stretch>
        </p:blipFill>
        <p:spPr>
          <a:xfrm>
            <a:off x="0" y="864100"/>
            <a:ext cx="9144000" cy="5993900"/>
          </a:xfrm>
          <a:prstGeom prst="rect">
            <a:avLst/>
          </a:prstGeom>
        </p:spPr>
      </p:pic>
      <p:grpSp>
        <p:nvGrpSpPr>
          <p:cNvPr id="4" name="Group 11"/>
          <p:cNvGrpSpPr/>
          <p:nvPr/>
        </p:nvGrpSpPr>
        <p:grpSpPr>
          <a:xfrm>
            <a:off x="0" y="836712"/>
            <a:ext cx="3491880" cy="6012001"/>
            <a:chOff x="0" y="908720"/>
            <a:chExt cx="3491880" cy="5976000"/>
          </a:xfrm>
          <a:blipFill dpi="0" rotWithShape="1">
            <a:blip r:embed="rId14">
              <a:alphaModFix amt="65000"/>
            </a:blip>
            <a:srcRect/>
            <a:stretch>
              <a:fillRect/>
            </a:stretch>
          </a:blipFill>
        </p:grpSpPr>
        <p:sp>
          <p:nvSpPr>
            <p:cNvPr id="22" name="Rectangle 21"/>
            <p:cNvSpPr/>
            <p:nvPr/>
          </p:nvSpPr>
          <p:spPr>
            <a:xfrm>
              <a:off x="0" y="908720"/>
              <a:ext cx="3491880" cy="5976000"/>
            </a:xfrm>
            <a:prstGeom prst="rect">
              <a:avLst/>
            </a:prstGeom>
            <a:grpFill/>
            <a:ln>
              <a:solidFill>
                <a:srgbClr val="6FCF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 name="TextBox 22"/>
            <p:cNvSpPr txBox="1"/>
            <p:nvPr/>
          </p:nvSpPr>
          <p:spPr>
            <a:xfrm>
              <a:off x="179512" y="1107857"/>
              <a:ext cx="3096344" cy="5598584"/>
            </a:xfrm>
            <a:prstGeom prst="rect">
              <a:avLst/>
            </a:prstGeom>
            <a:noFill/>
            <a:ln>
              <a:noFill/>
            </a:ln>
          </p:spPr>
          <p:txBody>
            <a:bodyPr wrap="square" rtlCol="0">
              <a:spAutoFit/>
            </a:bodyPr>
            <a:lstStyle/>
            <a:p>
              <a:pPr>
                <a:spcAft>
                  <a:spcPts val="1200"/>
                </a:spcAft>
              </a:pPr>
              <a:r>
                <a:rPr lang="en-IN" sz="2000" b="1" dirty="0" smtClean="0">
                  <a:effectLst>
                    <a:glow rad="228600">
                      <a:schemeClr val="bg1">
                        <a:alpha val="40000"/>
                      </a:schemeClr>
                    </a:glow>
                  </a:effectLst>
                </a:rPr>
                <a:t>The supplier should agree to own the inventory until the point of call off and continue to monitor and manage the inventory besides ensuring replenishments. The customer being the distributor or a manufacturing plant in this case appreciates the supplier initiative and takes an interest in coordinating and cooperating with supplier and supervises at times the 3PL who is situated at his premise or at a nearby location.</a:t>
              </a:r>
              <a:endParaRPr lang="en-IN" sz="2000" b="1" dirty="0">
                <a:effectLst>
                  <a:glow rad="228600">
                    <a:schemeClr val="bg1">
                      <a:alpha val="40000"/>
                    </a:schemeClr>
                  </a:glow>
                </a:effectLst>
              </a:endParaRPr>
            </a:p>
          </p:txBody>
        </p:sp>
      </p:grpSp>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1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slide(fromLeft)">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4"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5"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6"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7"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8"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9"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0"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1"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2"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smtClean="0"/>
                <a:t>Course Objectives</a:t>
              </a:r>
              <a:endParaRPr lang="en-IN" sz="3200" dirty="0"/>
            </a:p>
          </p:txBody>
        </p:sp>
      </p:grpSp>
      <p:pic>
        <p:nvPicPr>
          <p:cNvPr id="20" name="Picture 19" descr="textures_00384104.jpg"/>
          <p:cNvPicPr>
            <a:picLocks noChangeAspect="1"/>
          </p:cNvPicPr>
          <p:nvPr/>
        </p:nvPicPr>
        <p:blipFill>
          <a:blip r:embed="rId13" cstate="print"/>
          <a:stretch>
            <a:fillRect/>
          </a:stretch>
        </p:blipFill>
        <p:spPr>
          <a:xfrm>
            <a:off x="1" y="836712"/>
            <a:ext cx="9144000" cy="6048016"/>
          </a:xfrm>
          <a:prstGeom prst="rect">
            <a:avLst/>
          </a:prstGeom>
        </p:spPr>
      </p:pic>
      <p:grpSp>
        <p:nvGrpSpPr>
          <p:cNvPr id="4" name="Group 46"/>
          <p:cNvGrpSpPr/>
          <p:nvPr/>
        </p:nvGrpSpPr>
        <p:grpSpPr>
          <a:xfrm rot="16200000">
            <a:off x="5521957" y="2479365"/>
            <a:ext cx="5948957" cy="2808312"/>
            <a:chOff x="4067944" y="4653136"/>
            <a:chExt cx="4095652" cy="2952328"/>
          </a:xfrm>
        </p:grpSpPr>
        <p:pic>
          <p:nvPicPr>
            <p:cNvPr id="22" name="Picture 21" descr="chalk_2_1_2.png"/>
            <p:cNvPicPr>
              <a:picLocks noChangeAspect="1"/>
            </p:cNvPicPr>
            <p:nvPr/>
          </p:nvPicPr>
          <p:blipFill>
            <a:blip r:embed="rId14" cstate="print"/>
            <a:srcRect l="7623" r="29218"/>
            <a:stretch>
              <a:fillRect/>
            </a:stretch>
          </p:blipFill>
          <p:spPr>
            <a:xfrm>
              <a:off x="4067944" y="4653136"/>
              <a:ext cx="2083830" cy="2952328"/>
            </a:xfrm>
            <a:prstGeom prst="rect">
              <a:avLst/>
            </a:prstGeom>
          </p:spPr>
        </p:pic>
        <p:pic>
          <p:nvPicPr>
            <p:cNvPr id="23" name="Picture 22" descr="chalk_2_1_2.png"/>
            <p:cNvPicPr>
              <a:picLocks noChangeAspect="1"/>
            </p:cNvPicPr>
            <p:nvPr/>
          </p:nvPicPr>
          <p:blipFill>
            <a:blip r:embed="rId14" cstate="print"/>
            <a:srcRect l="7623" r="29218"/>
            <a:stretch>
              <a:fillRect/>
            </a:stretch>
          </p:blipFill>
          <p:spPr>
            <a:xfrm>
              <a:off x="6079766" y="4653136"/>
              <a:ext cx="2083830" cy="2952328"/>
            </a:xfrm>
            <a:prstGeom prst="rect">
              <a:avLst/>
            </a:prstGeom>
          </p:spPr>
        </p:pic>
      </p:grpSp>
      <p:sp>
        <p:nvSpPr>
          <p:cNvPr id="24" name="TextBox 23"/>
          <p:cNvSpPr txBox="1"/>
          <p:nvPr/>
        </p:nvSpPr>
        <p:spPr>
          <a:xfrm>
            <a:off x="107504" y="908720"/>
            <a:ext cx="7308304" cy="461665"/>
          </a:xfrm>
          <a:prstGeom prst="rect">
            <a:avLst/>
          </a:prstGeom>
          <a:noFill/>
        </p:spPr>
        <p:txBody>
          <a:bodyPr wrap="square" rtlCol="0">
            <a:spAutoFit/>
          </a:bodyPr>
          <a:lstStyle/>
          <a:p>
            <a:pPr marL="457200" indent="-457200">
              <a:buFont typeface="Arial" pitchFamily="34" charset="0"/>
              <a:buChar char="•"/>
            </a:pPr>
            <a:r>
              <a:rPr lang="en-IN" sz="2400" b="1" dirty="0" smtClean="0">
                <a:solidFill>
                  <a:schemeClr val="bg1"/>
                </a:solidFill>
                <a:latin typeface="Bradley Hand ITC" pitchFamily="66" charset="0"/>
              </a:rPr>
              <a:t>Explain the Importance of SCM in an Organization</a:t>
            </a:r>
          </a:p>
        </p:txBody>
      </p:sp>
      <p:sp>
        <p:nvSpPr>
          <p:cNvPr id="25" name="TextBox 24"/>
          <p:cNvSpPr txBox="1"/>
          <p:nvPr/>
        </p:nvSpPr>
        <p:spPr>
          <a:xfrm>
            <a:off x="107504" y="1294477"/>
            <a:ext cx="7308304" cy="461665"/>
          </a:xfrm>
          <a:prstGeom prst="rect">
            <a:avLst/>
          </a:prstGeom>
          <a:noFill/>
        </p:spPr>
        <p:txBody>
          <a:bodyPr wrap="square" rtlCol="0">
            <a:spAutoFit/>
          </a:bodyPr>
          <a:lstStyle/>
          <a:p>
            <a:pPr marL="457200" indent="-457200">
              <a:buFont typeface="Arial" pitchFamily="34" charset="0"/>
              <a:buChar char="•"/>
            </a:pPr>
            <a:r>
              <a:rPr lang="en-IN" sz="2400" b="1" dirty="0" smtClean="0">
                <a:solidFill>
                  <a:schemeClr val="bg1"/>
                </a:solidFill>
                <a:latin typeface="Bradley Hand ITC" pitchFamily="66" charset="0"/>
              </a:rPr>
              <a:t>Define What is Supply Chain Management </a:t>
            </a:r>
          </a:p>
        </p:txBody>
      </p:sp>
      <p:sp>
        <p:nvSpPr>
          <p:cNvPr id="26" name="TextBox 25"/>
          <p:cNvSpPr txBox="1"/>
          <p:nvPr/>
        </p:nvSpPr>
        <p:spPr>
          <a:xfrm>
            <a:off x="107504" y="1680234"/>
            <a:ext cx="7308304" cy="461665"/>
          </a:xfrm>
          <a:prstGeom prst="rect">
            <a:avLst/>
          </a:prstGeom>
          <a:noFill/>
        </p:spPr>
        <p:txBody>
          <a:bodyPr wrap="square" rtlCol="0">
            <a:spAutoFit/>
          </a:bodyPr>
          <a:lstStyle/>
          <a:p>
            <a:pPr marL="457200" indent="-457200">
              <a:buFont typeface="Arial" pitchFamily="34" charset="0"/>
              <a:buChar char="•"/>
            </a:pPr>
            <a:r>
              <a:rPr lang="en-IN" sz="2400" b="1" dirty="0" smtClean="0">
                <a:solidFill>
                  <a:schemeClr val="bg1"/>
                </a:solidFill>
                <a:latin typeface="Bradley Hand ITC" pitchFamily="66" charset="0"/>
              </a:rPr>
              <a:t>Explain Supply Chain Network Design (SCND) </a:t>
            </a:r>
          </a:p>
        </p:txBody>
      </p:sp>
      <p:sp>
        <p:nvSpPr>
          <p:cNvPr id="27" name="TextBox 26"/>
          <p:cNvSpPr txBox="1"/>
          <p:nvPr/>
        </p:nvSpPr>
        <p:spPr>
          <a:xfrm>
            <a:off x="107504" y="2065991"/>
            <a:ext cx="7308304" cy="461665"/>
          </a:xfrm>
          <a:prstGeom prst="rect">
            <a:avLst/>
          </a:prstGeom>
          <a:noFill/>
        </p:spPr>
        <p:txBody>
          <a:bodyPr wrap="square" rtlCol="0">
            <a:spAutoFit/>
          </a:bodyPr>
          <a:lstStyle/>
          <a:p>
            <a:pPr marL="457200" indent="-457200">
              <a:buFont typeface="Arial" pitchFamily="34" charset="0"/>
              <a:buChar char="•"/>
            </a:pPr>
            <a:r>
              <a:rPr lang="en-IN" sz="2400" b="1" dirty="0" smtClean="0">
                <a:solidFill>
                  <a:schemeClr val="bg1"/>
                </a:solidFill>
                <a:latin typeface="Bradley Hand ITC" pitchFamily="66" charset="0"/>
              </a:rPr>
              <a:t>Explain What is Demand Planning </a:t>
            </a:r>
          </a:p>
        </p:txBody>
      </p:sp>
      <p:sp>
        <p:nvSpPr>
          <p:cNvPr id="28" name="TextBox 27"/>
          <p:cNvSpPr txBox="1"/>
          <p:nvPr/>
        </p:nvSpPr>
        <p:spPr>
          <a:xfrm>
            <a:off x="107504" y="2451748"/>
            <a:ext cx="7308304" cy="461665"/>
          </a:xfrm>
          <a:prstGeom prst="rect">
            <a:avLst/>
          </a:prstGeom>
          <a:noFill/>
        </p:spPr>
        <p:txBody>
          <a:bodyPr wrap="square" rtlCol="0">
            <a:spAutoFit/>
          </a:bodyPr>
          <a:lstStyle/>
          <a:p>
            <a:pPr marL="457200" indent="-457200">
              <a:buFont typeface="Arial" pitchFamily="34" charset="0"/>
              <a:buChar char="•"/>
            </a:pPr>
            <a:r>
              <a:rPr lang="en-IN" sz="2400" b="1" dirty="0" smtClean="0">
                <a:solidFill>
                  <a:schemeClr val="bg1"/>
                </a:solidFill>
                <a:latin typeface="Bradley Hand ITC" pitchFamily="66" charset="0"/>
              </a:rPr>
              <a:t>Describe the Role of  IT in SCM</a:t>
            </a:r>
          </a:p>
        </p:txBody>
      </p:sp>
      <p:sp>
        <p:nvSpPr>
          <p:cNvPr id="29" name="TextBox 28"/>
          <p:cNvSpPr txBox="1"/>
          <p:nvPr/>
        </p:nvSpPr>
        <p:spPr>
          <a:xfrm>
            <a:off x="107504" y="2837505"/>
            <a:ext cx="7308304" cy="461665"/>
          </a:xfrm>
          <a:prstGeom prst="rect">
            <a:avLst/>
          </a:prstGeom>
          <a:noFill/>
        </p:spPr>
        <p:txBody>
          <a:bodyPr wrap="square" rtlCol="0">
            <a:spAutoFit/>
          </a:bodyPr>
          <a:lstStyle/>
          <a:p>
            <a:pPr marL="457200" indent="-457200">
              <a:buFont typeface="Arial" pitchFamily="34" charset="0"/>
              <a:buChar char="•"/>
            </a:pPr>
            <a:r>
              <a:rPr lang="en-IN" sz="2400" b="1" dirty="0" smtClean="0">
                <a:solidFill>
                  <a:schemeClr val="bg1"/>
                </a:solidFill>
                <a:latin typeface="Bradley Hand ITC" pitchFamily="66" charset="0"/>
              </a:rPr>
              <a:t>Describe the Role of Logistics in SCM</a:t>
            </a:r>
          </a:p>
        </p:txBody>
      </p:sp>
      <p:sp>
        <p:nvSpPr>
          <p:cNvPr id="30" name="TextBox 29"/>
          <p:cNvSpPr txBox="1"/>
          <p:nvPr/>
        </p:nvSpPr>
        <p:spPr>
          <a:xfrm>
            <a:off x="107504" y="3223262"/>
            <a:ext cx="7308304" cy="461665"/>
          </a:xfrm>
          <a:prstGeom prst="rect">
            <a:avLst/>
          </a:prstGeom>
          <a:noFill/>
        </p:spPr>
        <p:txBody>
          <a:bodyPr wrap="square" rtlCol="0">
            <a:spAutoFit/>
          </a:bodyPr>
          <a:lstStyle/>
          <a:p>
            <a:pPr marL="457200" indent="-457200">
              <a:buFont typeface="Arial" pitchFamily="34" charset="0"/>
              <a:buChar char="•"/>
            </a:pPr>
            <a:r>
              <a:rPr lang="en-IN" sz="2400" b="1" dirty="0" smtClean="0">
                <a:solidFill>
                  <a:schemeClr val="bg1"/>
                </a:solidFill>
                <a:latin typeface="Bradley Hand ITC" pitchFamily="66" charset="0"/>
              </a:rPr>
              <a:t>Explain What is Global Supply Chain Management</a:t>
            </a:r>
          </a:p>
        </p:txBody>
      </p:sp>
      <p:sp>
        <p:nvSpPr>
          <p:cNvPr id="31" name="TextBox 30"/>
          <p:cNvSpPr txBox="1"/>
          <p:nvPr/>
        </p:nvSpPr>
        <p:spPr>
          <a:xfrm>
            <a:off x="107504" y="3609019"/>
            <a:ext cx="7308304" cy="461665"/>
          </a:xfrm>
          <a:prstGeom prst="rect">
            <a:avLst/>
          </a:prstGeom>
          <a:noFill/>
        </p:spPr>
        <p:txBody>
          <a:bodyPr wrap="square" rtlCol="0">
            <a:spAutoFit/>
          </a:bodyPr>
          <a:lstStyle/>
          <a:p>
            <a:pPr marL="457200" indent="-457200">
              <a:buFont typeface="Arial" pitchFamily="34" charset="0"/>
              <a:buChar char="•"/>
            </a:pPr>
            <a:r>
              <a:rPr lang="en-IN" sz="2400" b="1" dirty="0" smtClean="0">
                <a:solidFill>
                  <a:schemeClr val="bg1"/>
                </a:solidFill>
                <a:latin typeface="Bradley Hand ITC" pitchFamily="66" charset="0"/>
              </a:rPr>
              <a:t>Explain What is Finished Goods Supply Chain</a:t>
            </a:r>
          </a:p>
        </p:txBody>
      </p:sp>
      <p:sp>
        <p:nvSpPr>
          <p:cNvPr id="35" name="TextBox 34"/>
          <p:cNvSpPr txBox="1"/>
          <p:nvPr/>
        </p:nvSpPr>
        <p:spPr>
          <a:xfrm>
            <a:off x="107504" y="3994776"/>
            <a:ext cx="7308304" cy="461665"/>
          </a:xfrm>
          <a:prstGeom prst="rect">
            <a:avLst/>
          </a:prstGeom>
          <a:noFill/>
        </p:spPr>
        <p:txBody>
          <a:bodyPr wrap="square" rtlCol="0">
            <a:spAutoFit/>
          </a:bodyPr>
          <a:lstStyle/>
          <a:p>
            <a:pPr marL="457200" indent="-457200">
              <a:buFont typeface="Arial" pitchFamily="34" charset="0"/>
              <a:buChar char="•"/>
            </a:pPr>
            <a:r>
              <a:rPr lang="en-IN" sz="2400" b="1" dirty="0" smtClean="0">
                <a:solidFill>
                  <a:schemeClr val="bg1"/>
                </a:solidFill>
                <a:latin typeface="Bradley Hand ITC" pitchFamily="66" charset="0"/>
              </a:rPr>
              <a:t>Explain What is Reverse Logistics</a:t>
            </a:r>
          </a:p>
        </p:txBody>
      </p:sp>
      <p:sp>
        <p:nvSpPr>
          <p:cNvPr id="36" name="TextBox 35"/>
          <p:cNvSpPr txBox="1"/>
          <p:nvPr/>
        </p:nvSpPr>
        <p:spPr>
          <a:xfrm>
            <a:off x="107504" y="4380533"/>
            <a:ext cx="7308304" cy="461665"/>
          </a:xfrm>
          <a:prstGeom prst="rect">
            <a:avLst/>
          </a:prstGeom>
          <a:noFill/>
        </p:spPr>
        <p:txBody>
          <a:bodyPr wrap="square" rtlCol="0">
            <a:spAutoFit/>
          </a:bodyPr>
          <a:lstStyle/>
          <a:p>
            <a:pPr marL="457200" indent="-457200">
              <a:buFont typeface="Arial" pitchFamily="34" charset="0"/>
              <a:buChar char="•"/>
            </a:pPr>
            <a:r>
              <a:rPr lang="en-IN" sz="2400" b="1" dirty="0" smtClean="0">
                <a:solidFill>
                  <a:schemeClr val="bg1"/>
                </a:solidFill>
                <a:latin typeface="Bradley Hand ITC" pitchFamily="66" charset="0"/>
              </a:rPr>
              <a:t>Explain What is Vendor Managed Inventory (VMI)</a:t>
            </a:r>
          </a:p>
        </p:txBody>
      </p:sp>
      <p:sp>
        <p:nvSpPr>
          <p:cNvPr id="37" name="TextBox 36"/>
          <p:cNvSpPr txBox="1"/>
          <p:nvPr/>
        </p:nvSpPr>
        <p:spPr>
          <a:xfrm>
            <a:off x="107504" y="4766290"/>
            <a:ext cx="7308304" cy="461665"/>
          </a:xfrm>
          <a:prstGeom prst="rect">
            <a:avLst/>
          </a:prstGeom>
          <a:noFill/>
        </p:spPr>
        <p:txBody>
          <a:bodyPr wrap="square" rtlCol="0">
            <a:spAutoFit/>
          </a:bodyPr>
          <a:lstStyle/>
          <a:p>
            <a:pPr marL="457200" indent="-457200">
              <a:buFont typeface="Arial" pitchFamily="34" charset="0"/>
              <a:buChar char="•"/>
            </a:pPr>
            <a:r>
              <a:rPr lang="en-IN" sz="2400" b="1" dirty="0" smtClean="0">
                <a:solidFill>
                  <a:schemeClr val="bg1"/>
                </a:solidFill>
                <a:latin typeface="Bradley Hand ITC" pitchFamily="66" charset="0"/>
              </a:rPr>
              <a:t>Describe the Functions of  Warehouse Management</a:t>
            </a:r>
          </a:p>
        </p:txBody>
      </p:sp>
      <p:sp>
        <p:nvSpPr>
          <p:cNvPr id="38" name="TextBox 37"/>
          <p:cNvSpPr txBox="1"/>
          <p:nvPr/>
        </p:nvSpPr>
        <p:spPr>
          <a:xfrm>
            <a:off x="107504" y="5152047"/>
            <a:ext cx="7632848" cy="461665"/>
          </a:xfrm>
          <a:prstGeom prst="rect">
            <a:avLst/>
          </a:prstGeom>
          <a:noFill/>
        </p:spPr>
        <p:txBody>
          <a:bodyPr wrap="square" rtlCol="0">
            <a:spAutoFit/>
          </a:bodyPr>
          <a:lstStyle/>
          <a:p>
            <a:pPr marL="457200" indent="-457200">
              <a:buFont typeface="Arial" pitchFamily="34" charset="0"/>
              <a:buChar char="•"/>
            </a:pPr>
            <a:r>
              <a:rPr lang="en-IN" sz="2400" b="1" dirty="0" smtClean="0">
                <a:solidFill>
                  <a:schemeClr val="bg1"/>
                </a:solidFill>
                <a:latin typeface="Bradley Hand ITC" pitchFamily="66" charset="0"/>
              </a:rPr>
              <a:t>Explain Factors of Warehouse Operational Efficiency</a:t>
            </a:r>
          </a:p>
        </p:txBody>
      </p:sp>
      <p:sp>
        <p:nvSpPr>
          <p:cNvPr id="39" name="TextBox 38"/>
          <p:cNvSpPr txBox="1"/>
          <p:nvPr/>
        </p:nvSpPr>
        <p:spPr>
          <a:xfrm>
            <a:off x="107504" y="5537804"/>
            <a:ext cx="7776864" cy="461665"/>
          </a:xfrm>
          <a:prstGeom prst="rect">
            <a:avLst/>
          </a:prstGeom>
          <a:noFill/>
        </p:spPr>
        <p:txBody>
          <a:bodyPr wrap="square" rtlCol="0">
            <a:spAutoFit/>
          </a:bodyPr>
          <a:lstStyle/>
          <a:p>
            <a:pPr marL="457200" indent="-457200">
              <a:buFont typeface="Arial" pitchFamily="34" charset="0"/>
              <a:buChar char="•"/>
            </a:pPr>
            <a:r>
              <a:rPr lang="en-IN" sz="2400" b="1" dirty="0" smtClean="0">
                <a:solidFill>
                  <a:schemeClr val="bg1"/>
                </a:solidFill>
                <a:latin typeface="Bradley Hand ITC" pitchFamily="66" charset="0"/>
              </a:rPr>
              <a:t>Explain Steps to Improve Throughput of  Process Chain</a:t>
            </a:r>
          </a:p>
        </p:txBody>
      </p:sp>
      <p:sp>
        <p:nvSpPr>
          <p:cNvPr id="40" name="TextBox 39"/>
          <p:cNvSpPr txBox="1"/>
          <p:nvPr/>
        </p:nvSpPr>
        <p:spPr>
          <a:xfrm>
            <a:off x="107504" y="6309320"/>
            <a:ext cx="7308304" cy="461665"/>
          </a:xfrm>
          <a:prstGeom prst="rect">
            <a:avLst/>
          </a:prstGeom>
          <a:noFill/>
        </p:spPr>
        <p:txBody>
          <a:bodyPr wrap="square" rtlCol="0">
            <a:spAutoFit/>
          </a:bodyPr>
          <a:lstStyle/>
          <a:p>
            <a:pPr marL="457200" indent="-457200">
              <a:buFont typeface="Arial" pitchFamily="34" charset="0"/>
              <a:buChar char="•"/>
            </a:pPr>
            <a:r>
              <a:rPr lang="en-IN" sz="2400" b="1" dirty="0" smtClean="0">
                <a:solidFill>
                  <a:schemeClr val="bg1"/>
                </a:solidFill>
                <a:latin typeface="Bradley Hand ITC" pitchFamily="66" charset="0"/>
              </a:rPr>
              <a:t>List Tips for Effective Supply Chain Management </a:t>
            </a:r>
          </a:p>
        </p:txBody>
      </p:sp>
      <p:sp>
        <p:nvSpPr>
          <p:cNvPr id="43" name="TextBox 42"/>
          <p:cNvSpPr txBox="1"/>
          <p:nvPr/>
        </p:nvSpPr>
        <p:spPr>
          <a:xfrm>
            <a:off x="107504" y="5923561"/>
            <a:ext cx="7308304" cy="461665"/>
          </a:xfrm>
          <a:prstGeom prst="rect">
            <a:avLst/>
          </a:prstGeom>
          <a:noFill/>
        </p:spPr>
        <p:txBody>
          <a:bodyPr wrap="square" rtlCol="0">
            <a:spAutoFit/>
          </a:bodyPr>
          <a:lstStyle/>
          <a:p>
            <a:pPr marL="457200" indent="-457200">
              <a:buFont typeface="Arial" pitchFamily="34" charset="0"/>
              <a:buChar char="•"/>
            </a:pPr>
            <a:r>
              <a:rPr lang="en-IN" sz="2400" b="1" dirty="0" smtClean="0">
                <a:solidFill>
                  <a:schemeClr val="bg1"/>
                </a:solidFill>
                <a:latin typeface="Bradley Hand ITC" pitchFamily="66" charset="0"/>
              </a:rPr>
              <a:t>Explain Key Issues of Supply Chain Management </a:t>
            </a: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descr="js.jpg"/>
          <p:cNvPicPr>
            <a:picLocks noChangeAspect="1"/>
          </p:cNvPicPr>
          <p:nvPr/>
        </p:nvPicPr>
        <p:blipFill>
          <a:blip r:embed="rId4" cstate="print">
            <a:lum bright="30000" contrast="-30000"/>
          </a:blip>
          <a:stretch>
            <a:fillRect/>
          </a:stretch>
        </p:blipFill>
        <p:spPr>
          <a:xfrm>
            <a:off x="3779912" y="908720"/>
            <a:ext cx="5364088" cy="5949280"/>
          </a:xfrm>
          <a:prstGeom prst="rect">
            <a:avLst/>
          </a:prstGeom>
        </p:spPr>
      </p:pic>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5"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6"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7"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8"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9"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10"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1"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2"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3"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8280920" cy="553998"/>
            </a:xfrm>
            <a:prstGeom prst="rect">
              <a:avLst/>
            </a:prstGeom>
            <a:solidFill>
              <a:srgbClr val="FFFFFF">
                <a:alpha val="69804"/>
              </a:srgbClr>
            </a:solidFill>
          </p:spPr>
          <p:txBody>
            <a:bodyPr wrap="square" rtlCol="0">
              <a:spAutoFit/>
            </a:bodyPr>
            <a:lstStyle/>
            <a:p>
              <a:r>
                <a:rPr lang="en-IN" sz="3000" dirty="0" smtClean="0"/>
                <a:t>Factors affecting Warehouse Operational Efficiency</a:t>
              </a:r>
              <a:endParaRPr lang="en-IN" sz="3000" dirty="0"/>
            </a:p>
          </p:txBody>
        </p:sp>
      </p:grpSp>
      <p:grpSp>
        <p:nvGrpSpPr>
          <p:cNvPr id="4" name="Group 65"/>
          <p:cNvGrpSpPr>
            <a:grpSpLocks/>
          </p:cNvGrpSpPr>
          <p:nvPr/>
        </p:nvGrpSpPr>
        <p:grpSpPr bwMode="auto">
          <a:xfrm rot="5400000">
            <a:off x="-468088" y="1956491"/>
            <a:ext cx="4968000" cy="3528000"/>
            <a:chOff x="471488" y="1165225"/>
            <a:chExt cx="7740650" cy="3713163"/>
          </a:xfrm>
        </p:grpSpPr>
        <p:grpSp>
          <p:nvGrpSpPr>
            <p:cNvPr id="5" name="Group 117"/>
            <p:cNvGrpSpPr>
              <a:grpSpLocks/>
            </p:cNvGrpSpPr>
            <p:nvPr/>
          </p:nvGrpSpPr>
          <p:grpSpPr bwMode="auto">
            <a:xfrm>
              <a:off x="471488" y="1165225"/>
              <a:ext cx="7740650" cy="3694113"/>
              <a:chOff x="471210" y="1164522"/>
              <a:chExt cx="7740358" cy="3694514"/>
            </a:xfrm>
          </p:grpSpPr>
          <p:sp>
            <p:nvSpPr>
              <p:cNvPr id="64" name="Rounded Rectangle 6"/>
              <p:cNvSpPr/>
              <p:nvPr/>
            </p:nvSpPr>
            <p:spPr>
              <a:xfrm>
                <a:off x="471210" y="1164522"/>
                <a:ext cx="7740358" cy="3694514"/>
              </a:xfrm>
              <a:prstGeom prst="roundRect">
                <a:avLst>
                  <a:gd name="adj" fmla="val 5555"/>
                </a:avLst>
              </a:prstGeom>
              <a:gradFill>
                <a:gsLst>
                  <a:gs pos="0">
                    <a:schemeClr val="bg1">
                      <a:lumMod val="65000"/>
                    </a:schemeClr>
                  </a:gs>
                  <a:gs pos="69000">
                    <a:schemeClr val="bg1">
                      <a:lumMod val="75000"/>
                    </a:schemeClr>
                  </a:gs>
                  <a:gs pos="100000">
                    <a:schemeClr val="bg1">
                      <a:lumMod val="85000"/>
                    </a:schemeClr>
                  </a:gs>
                  <a:gs pos="41000">
                    <a:schemeClr val="bg1"/>
                  </a:gs>
                </a:gsLst>
                <a:lin ang="19140000" scaled="0"/>
              </a:gradFill>
              <a:ln>
                <a:noFill/>
              </a:ln>
              <a:effectLst>
                <a:outerShdw blurRad="40000" dist="23000" dir="5400000" rotWithShape="0">
                  <a:srgbClr val="000000">
                    <a:alpha val="35000"/>
                  </a:srgbClr>
                </a:outerShdw>
                <a:reflection stA="21000" endPos="22000" dist="50800" dir="5400000" sy="-100000" algn="bl" rotWithShape="0"/>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5" name="Rounded Rectangle 64"/>
              <p:cNvSpPr/>
              <p:nvPr/>
            </p:nvSpPr>
            <p:spPr>
              <a:xfrm>
                <a:off x="593442" y="1285185"/>
                <a:ext cx="7467318" cy="3451600"/>
              </a:xfrm>
              <a:prstGeom prst="roundRect">
                <a:avLst>
                  <a:gd name="adj" fmla="val 4812"/>
                </a:avLst>
              </a:prstGeom>
              <a:gradFill>
                <a:gsLst>
                  <a:gs pos="0">
                    <a:schemeClr val="tx1">
                      <a:lumMod val="95000"/>
                      <a:lumOff val="5000"/>
                    </a:schemeClr>
                  </a:gs>
                  <a:gs pos="69000">
                    <a:schemeClr val="tx1">
                      <a:lumMod val="95000"/>
                      <a:lumOff val="5000"/>
                    </a:schemeClr>
                  </a:gs>
                  <a:gs pos="100000">
                    <a:schemeClr val="tx1">
                      <a:lumMod val="75000"/>
                      <a:lumOff val="25000"/>
                    </a:schemeClr>
                  </a:gs>
                  <a:gs pos="29000">
                    <a:schemeClr val="tx1">
                      <a:lumMod val="85000"/>
                      <a:lumOff val="15000"/>
                    </a:schemeClr>
                  </a:gs>
                </a:gsLst>
                <a:lin ang="1914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nvGrpSpPr>
              <p:cNvPr id="6" name="Gruppe 61"/>
              <p:cNvGrpSpPr>
                <a:grpSpLocks/>
              </p:cNvGrpSpPr>
              <p:nvPr/>
            </p:nvGrpSpPr>
            <p:grpSpPr bwMode="auto">
              <a:xfrm flipH="1">
                <a:off x="7106981" y="2677560"/>
                <a:ext cx="763040" cy="791220"/>
                <a:chOff x="1729066" y="4033625"/>
                <a:chExt cx="1016456" cy="1016530"/>
              </a:xfrm>
            </p:grpSpPr>
            <p:grpSp>
              <p:nvGrpSpPr>
                <p:cNvPr id="7" name="Gruppe 59"/>
                <p:cNvGrpSpPr>
                  <a:grpSpLocks/>
                </p:cNvGrpSpPr>
                <p:nvPr/>
              </p:nvGrpSpPr>
              <p:grpSpPr bwMode="auto">
                <a:xfrm>
                  <a:off x="1729066" y="4033625"/>
                  <a:ext cx="1016456" cy="1016530"/>
                  <a:chOff x="3889813" y="1483645"/>
                  <a:chExt cx="496973" cy="497009"/>
                </a:xfrm>
              </p:grpSpPr>
              <p:sp>
                <p:nvSpPr>
                  <p:cNvPr id="71" name="Ellipse 30"/>
                  <p:cNvSpPr/>
                  <p:nvPr/>
                </p:nvSpPr>
                <p:spPr bwMode="auto">
                  <a:xfrm rot="17065673">
                    <a:off x="3889795" y="1483663"/>
                    <a:ext cx="497009" cy="496973"/>
                  </a:xfrm>
                  <a:prstGeom prst="ellipse">
                    <a:avLst/>
                  </a:prstGeom>
                  <a:gradFill flip="none" rotWithShape="1">
                    <a:gsLst>
                      <a:gs pos="100000">
                        <a:schemeClr val="tx1">
                          <a:lumMod val="95000"/>
                          <a:lumOff val="5000"/>
                        </a:schemeClr>
                      </a:gs>
                      <a:gs pos="0">
                        <a:schemeClr val="tx1">
                          <a:lumMod val="75000"/>
                          <a:lumOff val="25000"/>
                        </a:schemeClr>
                      </a:gs>
                    </a:gsLst>
                    <a:path path="shape">
                      <a:fillToRect l="50000" t="50000" r="50000" b="50000"/>
                    </a:path>
                    <a:tileRect/>
                  </a:gradFill>
                  <a:ln w="9525" cap="flat" cmpd="sng" algn="ctr">
                    <a:noFill/>
                    <a:prstDash val="solid"/>
                  </a:ln>
                  <a:effectLst>
                    <a:innerShdw blurRad="269875" dist="114300" dir="480000">
                      <a:srgbClr val="000000">
                        <a:alpha val="13000"/>
                      </a:srgbClr>
                    </a:innerShdw>
                  </a:effectLst>
                </p:spPr>
                <p:txBody>
                  <a:bodyPr anchor="ctr"/>
                  <a:lstStyle>
                    <a:lvl1pPr marL="342900" indent="-342900"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buFont typeface="Calibri" charset="0"/>
                      <a:buAutoNum type="arabicPeriod"/>
                      <a:defRPr/>
                    </a:pPr>
                    <a:endParaRPr lang="da-DK" sz="1800" smtClean="0">
                      <a:solidFill>
                        <a:srgbClr val="FFFFFF"/>
                      </a:solidFill>
                    </a:endParaRPr>
                  </a:p>
                </p:txBody>
              </p:sp>
              <p:sp>
                <p:nvSpPr>
                  <p:cNvPr id="72" name="Ellipse 31"/>
                  <p:cNvSpPr>
                    <a:spLocks noChangeArrowheads="1"/>
                  </p:cNvSpPr>
                  <p:nvPr/>
                </p:nvSpPr>
                <p:spPr bwMode="auto">
                  <a:xfrm>
                    <a:off x="3955823" y="1564875"/>
                    <a:ext cx="366004" cy="269272"/>
                  </a:xfrm>
                  <a:prstGeom prst="ellipse">
                    <a:avLst/>
                  </a:prstGeom>
                  <a:gradFill rotWithShape="1">
                    <a:gsLst>
                      <a:gs pos="0">
                        <a:srgbClr val="FFFCF9">
                          <a:alpha val="31998"/>
                        </a:srgbClr>
                      </a:gs>
                      <a:gs pos="100000">
                        <a:srgbClr val="FFFFFF">
                          <a:alpha val="0"/>
                        </a:srgbClr>
                      </a:gs>
                    </a:gsLst>
                    <a:lin ang="5400000"/>
                  </a:gra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342900" indent="-342900" algn="ctr">
                      <a:buFont typeface="Calibri" pitchFamily="34" charset="0"/>
                      <a:buAutoNum type="arabicPeriod"/>
                    </a:pPr>
                    <a:endParaRPr lang="da-DK">
                      <a:solidFill>
                        <a:srgbClr val="FFFFFF"/>
                      </a:solidFill>
                    </a:endParaRPr>
                  </a:p>
                </p:txBody>
              </p:sp>
            </p:grpSp>
            <p:sp>
              <p:nvSpPr>
                <p:cNvPr id="70" name="Måne 29"/>
                <p:cNvSpPr/>
                <p:nvPr/>
              </p:nvSpPr>
              <p:spPr bwMode="auto">
                <a:xfrm rot="16570711">
                  <a:off x="2013672" y="4164325"/>
                  <a:ext cx="460273" cy="967579"/>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da-DK" sz="1800" smtClean="0">
                    <a:solidFill>
                      <a:srgbClr val="FFFFFF"/>
                    </a:solidFill>
                  </a:endParaRPr>
                </a:p>
              </p:txBody>
            </p:sp>
          </p:grpSp>
          <p:sp>
            <p:nvSpPr>
              <p:cNvPr id="67" name="Rectangle 115"/>
              <p:cNvSpPr>
                <a:spLocks noChangeArrowheads="1"/>
              </p:cNvSpPr>
              <p:nvPr/>
            </p:nvSpPr>
            <p:spPr bwMode="auto">
              <a:xfrm>
                <a:off x="1058563" y="1285185"/>
                <a:ext cx="5884640" cy="3451600"/>
              </a:xfrm>
              <a:prstGeom prst="rect">
                <a:avLst/>
              </a:prstGeom>
              <a:solidFill>
                <a:schemeClr val="tx1"/>
              </a:soli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nb-NO">
                  <a:solidFill>
                    <a:srgbClr val="FFFFFF"/>
                  </a:solidFill>
                </a:endParaRPr>
              </a:p>
            </p:txBody>
          </p:sp>
          <p:sp>
            <p:nvSpPr>
              <p:cNvPr id="68" name="Rounded Rectangle 67"/>
              <p:cNvSpPr/>
              <p:nvPr/>
            </p:nvSpPr>
            <p:spPr>
              <a:xfrm flipH="1">
                <a:off x="841083" y="2615655"/>
                <a:ext cx="66672" cy="676348"/>
              </a:xfrm>
              <a:prstGeom prst="roundRect">
                <a:avLst>
                  <a:gd name="adj" fmla="val 4812"/>
                </a:avLst>
              </a:prstGeom>
              <a:solidFill>
                <a:srgbClr val="0D0D0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sp>
          <p:nvSpPr>
            <p:cNvPr id="63" name="Rounded Rectangle 10"/>
            <p:cNvSpPr/>
            <p:nvPr/>
          </p:nvSpPr>
          <p:spPr>
            <a:xfrm>
              <a:off x="485775" y="1184275"/>
              <a:ext cx="7523163" cy="3694113"/>
            </a:xfrm>
            <a:custGeom>
              <a:avLst/>
              <a:gdLst>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85849 w 6185849"/>
                <a:gd name="connsiteY4" fmla="*/ 3497236 h 3674030"/>
                <a:gd name="connsiteX5" fmla="*/ 6009055 w 6185849"/>
                <a:gd name="connsiteY5" fmla="*/ 3674030 h 3674030"/>
                <a:gd name="connsiteX6" fmla="*/ 176794 w 6185849"/>
                <a:gd name="connsiteY6" fmla="*/ 3674030 h 3674030"/>
                <a:gd name="connsiteX7" fmla="*/ 0 w 6185849"/>
                <a:gd name="connsiteY7" fmla="*/ 3497236 h 3674030"/>
                <a:gd name="connsiteX8" fmla="*/ 0 w 6185849"/>
                <a:gd name="connsiteY8" fmla="*/ 176794 h 3674030"/>
                <a:gd name="connsiteX0" fmla="*/ 0 w 6185849"/>
                <a:gd name="connsiteY0" fmla="*/ 176794 h 3811663"/>
                <a:gd name="connsiteX1" fmla="*/ 176794 w 6185849"/>
                <a:gd name="connsiteY1" fmla="*/ 0 h 3811663"/>
                <a:gd name="connsiteX2" fmla="*/ 6009055 w 6185849"/>
                <a:gd name="connsiteY2" fmla="*/ 0 h 3811663"/>
                <a:gd name="connsiteX3" fmla="*/ 6185849 w 6185849"/>
                <a:gd name="connsiteY3" fmla="*/ 176794 h 3811663"/>
                <a:gd name="connsiteX4" fmla="*/ 6185849 w 6185849"/>
                <a:gd name="connsiteY4" fmla="*/ 3497236 h 3811663"/>
                <a:gd name="connsiteX5" fmla="*/ 176794 w 6185849"/>
                <a:gd name="connsiteY5" fmla="*/ 3674030 h 3811663"/>
                <a:gd name="connsiteX6" fmla="*/ 0 w 6185849"/>
                <a:gd name="connsiteY6" fmla="*/ 3497236 h 3811663"/>
                <a:gd name="connsiteX7" fmla="*/ 0 w 6185849"/>
                <a:gd name="connsiteY7" fmla="*/ 176794 h 3811663"/>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85849 w 6185849"/>
                <a:gd name="connsiteY4" fmla="*/ 3497236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31227 w 6185849"/>
                <a:gd name="connsiteY4" fmla="*/ 343034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31227 w 6185849"/>
                <a:gd name="connsiteY4" fmla="*/ 343034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176794 w 6185849"/>
                <a:gd name="connsiteY4" fmla="*/ 3674030 h 3674030"/>
                <a:gd name="connsiteX5" fmla="*/ 0 w 6185849"/>
                <a:gd name="connsiteY5" fmla="*/ 3497236 h 3674030"/>
                <a:gd name="connsiteX6" fmla="*/ 0 w 6185849"/>
                <a:gd name="connsiteY6" fmla="*/ 176794 h 3674030"/>
                <a:gd name="connsiteX0" fmla="*/ 0 w 6185849"/>
                <a:gd name="connsiteY0" fmla="*/ 190449 h 3687685"/>
                <a:gd name="connsiteX1" fmla="*/ 176794 w 6185849"/>
                <a:gd name="connsiteY1" fmla="*/ 13655 h 3687685"/>
                <a:gd name="connsiteX2" fmla="*/ 4274819 w 6185849"/>
                <a:gd name="connsiteY2" fmla="*/ 0 h 3687685"/>
                <a:gd name="connsiteX3" fmla="*/ 6185849 w 6185849"/>
                <a:gd name="connsiteY3" fmla="*/ 190449 h 3687685"/>
                <a:gd name="connsiteX4" fmla="*/ 176794 w 6185849"/>
                <a:gd name="connsiteY4" fmla="*/ 3687685 h 3687685"/>
                <a:gd name="connsiteX5" fmla="*/ 0 w 6185849"/>
                <a:gd name="connsiteY5" fmla="*/ 3510891 h 3687685"/>
                <a:gd name="connsiteX6" fmla="*/ 0 w 6185849"/>
                <a:gd name="connsiteY6" fmla="*/ 190449 h 3687685"/>
                <a:gd name="connsiteX0" fmla="*/ 0 w 4274819"/>
                <a:gd name="connsiteY0" fmla="*/ 190449 h 3687685"/>
                <a:gd name="connsiteX1" fmla="*/ 176794 w 4274819"/>
                <a:gd name="connsiteY1" fmla="*/ 13655 h 3687685"/>
                <a:gd name="connsiteX2" fmla="*/ 4274819 w 4274819"/>
                <a:gd name="connsiteY2" fmla="*/ 0 h 3687685"/>
                <a:gd name="connsiteX3" fmla="*/ 176794 w 4274819"/>
                <a:gd name="connsiteY3" fmla="*/ 3687685 h 3687685"/>
                <a:gd name="connsiteX4" fmla="*/ 0 w 4274819"/>
                <a:gd name="connsiteY4" fmla="*/ 3510891 h 3687685"/>
                <a:gd name="connsiteX5" fmla="*/ 0 w 4274819"/>
                <a:gd name="connsiteY5" fmla="*/ 190449 h 3687685"/>
                <a:gd name="connsiteX0" fmla="*/ 0 w 4274819"/>
                <a:gd name="connsiteY0" fmla="*/ 190449 h 3687685"/>
                <a:gd name="connsiteX1" fmla="*/ 176794 w 4274819"/>
                <a:gd name="connsiteY1" fmla="*/ 13655 h 3687685"/>
                <a:gd name="connsiteX2" fmla="*/ 4274819 w 4274819"/>
                <a:gd name="connsiteY2" fmla="*/ 0 h 3687685"/>
                <a:gd name="connsiteX3" fmla="*/ 176794 w 4274819"/>
                <a:gd name="connsiteY3" fmla="*/ 3687685 h 3687685"/>
                <a:gd name="connsiteX4" fmla="*/ 0 w 4274819"/>
                <a:gd name="connsiteY4" fmla="*/ 3510891 h 3687685"/>
                <a:gd name="connsiteX5" fmla="*/ 0 w 4274819"/>
                <a:gd name="connsiteY5" fmla="*/ 190449 h 3687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819" h="3687685">
                  <a:moveTo>
                    <a:pt x="0" y="190449"/>
                  </a:moveTo>
                  <a:cubicBezTo>
                    <a:pt x="0" y="92808"/>
                    <a:pt x="79153" y="13655"/>
                    <a:pt x="176794" y="13655"/>
                  </a:cubicBezTo>
                  <a:lnTo>
                    <a:pt x="4274819" y="0"/>
                  </a:lnTo>
                  <a:cubicBezTo>
                    <a:pt x="4233852" y="25192"/>
                    <a:pt x="889264" y="3102537"/>
                    <a:pt x="176794" y="3687685"/>
                  </a:cubicBezTo>
                  <a:cubicBezTo>
                    <a:pt x="79153" y="3687685"/>
                    <a:pt x="0" y="3608532"/>
                    <a:pt x="0" y="3510891"/>
                  </a:cubicBezTo>
                  <a:lnTo>
                    <a:pt x="0" y="190449"/>
                  </a:lnTo>
                  <a:close/>
                </a:path>
              </a:pathLst>
            </a:custGeom>
            <a:gradFill flip="none" rotWithShape="1">
              <a:gsLst>
                <a:gs pos="0">
                  <a:schemeClr val="bg1">
                    <a:alpha val="15000"/>
                  </a:schemeClr>
                </a:gs>
                <a:gs pos="100000">
                  <a:schemeClr val="bg1">
                    <a:alpha val="1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charset="-128"/>
              </a:endParaRPr>
            </a:p>
          </p:txBody>
        </p:sp>
      </p:grpSp>
      <p:grpSp>
        <p:nvGrpSpPr>
          <p:cNvPr id="8" name="Group 68"/>
          <p:cNvGrpSpPr>
            <a:grpSpLocks/>
          </p:cNvGrpSpPr>
          <p:nvPr/>
        </p:nvGrpSpPr>
        <p:grpSpPr bwMode="auto">
          <a:xfrm>
            <a:off x="467545" y="2638278"/>
            <a:ext cx="3096344" cy="858374"/>
            <a:chOff x="1224751" y="2276269"/>
            <a:chExt cx="4852004" cy="379817"/>
          </a:xfrm>
        </p:grpSpPr>
        <p:sp>
          <p:nvSpPr>
            <p:cNvPr id="74" name="Rounded Rectangle 73"/>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75" name="Rounded Rectangle 74"/>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76" name="TextBox 67"/>
            <p:cNvSpPr txBox="1">
              <a:spLocks noChangeArrowheads="1"/>
            </p:cNvSpPr>
            <p:nvPr/>
          </p:nvSpPr>
          <p:spPr bwMode="auto">
            <a:xfrm>
              <a:off x="1293001" y="2307527"/>
              <a:ext cx="4783754" cy="313228"/>
            </a:xfrm>
            <a:prstGeom prst="rect">
              <a:avLst/>
            </a:prstGeom>
            <a:noFill/>
            <a:ln w="9525">
              <a:noFill/>
              <a:miter lim="800000"/>
              <a:headEnd/>
              <a:tailEnd/>
            </a:ln>
          </p:spPr>
          <p:txBody>
            <a:bodyPr wrap="square">
              <a:spAutoFit/>
            </a:bodyPr>
            <a:lstStyle/>
            <a:p>
              <a:pPr>
                <a:defRPr/>
              </a:pPr>
              <a:r>
                <a:rPr lang="en-IN" sz="2000" dirty="0" smtClean="0">
                  <a:ea typeface="ＭＳ Ｐゴシック" pitchFamily="34" charset="-128"/>
                </a:rPr>
                <a:t>Workforce – </a:t>
              </a:r>
            </a:p>
            <a:p>
              <a:pPr>
                <a:defRPr/>
              </a:pPr>
              <a:r>
                <a:rPr lang="en-IN" sz="2000" dirty="0" smtClean="0">
                  <a:ea typeface="ＭＳ Ｐゴシック" pitchFamily="34" charset="-128"/>
                </a:rPr>
                <a:t>Quantity &amp; Job Structure</a:t>
              </a:r>
              <a:endParaRPr lang="en-US" sz="2000" dirty="0">
                <a:ea typeface="ＭＳ Ｐゴシック" pitchFamily="34" charset="-128"/>
              </a:endParaRPr>
            </a:p>
          </p:txBody>
        </p:sp>
      </p:grpSp>
      <p:grpSp>
        <p:nvGrpSpPr>
          <p:cNvPr id="9" name="Group 69"/>
          <p:cNvGrpSpPr>
            <a:grpSpLocks/>
          </p:cNvGrpSpPr>
          <p:nvPr/>
        </p:nvGrpSpPr>
        <p:grpSpPr bwMode="auto">
          <a:xfrm>
            <a:off x="467545" y="1735236"/>
            <a:ext cx="3096344" cy="859139"/>
            <a:chOff x="1224751" y="2276269"/>
            <a:chExt cx="4852003" cy="379817"/>
          </a:xfrm>
        </p:grpSpPr>
        <p:sp>
          <p:nvSpPr>
            <p:cNvPr id="78" name="Rounded Rectangle 77"/>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79" name="Rounded Rectangle 78"/>
            <p:cNvSpPr/>
            <p:nvPr/>
          </p:nvSpPr>
          <p:spPr>
            <a:xfrm>
              <a:off x="1279371" y="2330888"/>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80" name="TextBox 67"/>
            <p:cNvSpPr txBox="1">
              <a:spLocks noChangeArrowheads="1"/>
            </p:cNvSpPr>
            <p:nvPr/>
          </p:nvSpPr>
          <p:spPr bwMode="auto">
            <a:xfrm>
              <a:off x="1292999" y="2370670"/>
              <a:ext cx="1406677" cy="176885"/>
            </a:xfrm>
            <a:prstGeom prst="rect">
              <a:avLst/>
            </a:prstGeom>
            <a:noFill/>
            <a:ln w="9525">
              <a:noFill/>
              <a:miter lim="800000"/>
              <a:headEnd/>
              <a:tailEnd/>
            </a:ln>
          </p:spPr>
          <p:txBody>
            <a:bodyPr wrap="none">
              <a:spAutoFit/>
            </a:bodyPr>
            <a:lstStyle/>
            <a:p>
              <a:pPr>
                <a:defRPr/>
              </a:pPr>
              <a:r>
                <a:rPr lang="en-IN" sz="2000" dirty="0" smtClean="0">
                  <a:ea typeface="ＭＳ Ｐゴシック" pitchFamily="34" charset="-128"/>
                </a:rPr>
                <a:t>People</a:t>
              </a:r>
              <a:endParaRPr lang="en-US" sz="2000" dirty="0">
                <a:ea typeface="ＭＳ Ｐゴシック" pitchFamily="34" charset="-128"/>
              </a:endParaRPr>
            </a:p>
          </p:txBody>
        </p:sp>
      </p:grpSp>
      <p:grpSp>
        <p:nvGrpSpPr>
          <p:cNvPr id="10" name="Group 68"/>
          <p:cNvGrpSpPr>
            <a:grpSpLocks/>
          </p:cNvGrpSpPr>
          <p:nvPr/>
        </p:nvGrpSpPr>
        <p:grpSpPr bwMode="auto">
          <a:xfrm>
            <a:off x="467544" y="3540556"/>
            <a:ext cx="3096344" cy="858374"/>
            <a:chOff x="1224751" y="2276269"/>
            <a:chExt cx="4852003" cy="379817"/>
          </a:xfrm>
        </p:grpSpPr>
        <p:sp>
          <p:nvSpPr>
            <p:cNvPr id="82" name="Rounded Rectangle 81"/>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83" name="Rounded Rectangle 82"/>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84" name="TextBox 67"/>
            <p:cNvSpPr txBox="1">
              <a:spLocks noChangeArrowheads="1"/>
            </p:cNvSpPr>
            <p:nvPr/>
          </p:nvSpPr>
          <p:spPr bwMode="auto">
            <a:xfrm>
              <a:off x="1292999" y="2368489"/>
              <a:ext cx="2639729" cy="177042"/>
            </a:xfrm>
            <a:prstGeom prst="rect">
              <a:avLst/>
            </a:prstGeom>
            <a:noFill/>
            <a:ln w="9525">
              <a:noFill/>
              <a:miter lim="800000"/>
              <a:headEnd/>
              <a:tailEnd/>
            </a:ln>
          </p:spPr>
          <p:txBody>
            <a:bodyPr wrap="none">
              <a:spAutoFit/>
            </a:bodyPr>
            <a:lstStyle/>
            <a:p>
              <a:pPr>
                <a:defRPr/>
              </a:pPr>
              <a:r>
                <a:rPr lang="en-IN" sz="2000" dirty="0" smtClean="0">
                  <a:ea typeface="ＭＳ Ｐゴシック" pitchFamily="34" charset="-128"/>
                </a:rPr>
                <a:t>Right Skill Sets</a:t>
              </a:r>
              <a:endParaRPr lang="en-US" sz="2000" dirty="0">
                <a:ea typeface="ＭＳ Ｐゴシック" pitchFamily="34" charset="-128"/>
              </a:endParaRPr>
            </a:p>
          </p:txBody>
        </p:sp>
      </p:grpSp>
      <p:grpSp>
        <p:nvGrpSpPr>
          <p:cNvPr id="11" name="Group 68"/>
          <p:cNvGrpSpPr>
            <a:grpSpLocks/>
          </p:cNvGrpSpPr>
          <p:nvPr/>
        </p:nvGrpSpPr>
        <p:grpSpPr bwMode="auto">
          <a:xfrm>
            <a:off x="467544" y="4442834"/>
            <a:ext cx="3096344" cy="858374"/>
            <a:chOff x="1224751" y="2276269"/>
            <a:chExt cx="4852003" cy="379817"/>
          </a:xfrm>
        </p:grpSpPr>
        <p:sp>
          <p:nvSpPr>
            <p:cNvPr id="86" name="Rounded Rectangle 85"/>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87" name="Rounded Rectangle 86"/>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88" name="TextBox 67"/>
            <p:cNvSpPr txBox="1">
              <a:spLocks noChangeArrowheads="1"/>
            </p:cNvSpPr>
            <p:nvPr/>
          </p:nvSpPr>
          <p:spPr bwMode="auto">
            <a:xfrm>
              <a:off x="1292999" y="2351594"/>
              <a:ext cx="3737338" cy="177042"/>
            </a:xfrm>
            <a:prstGeom prst="rect">
              <a:avLst/>
            </a:prstGeom>
            <a:noFill/>
            <a:ln w="9525">
              <a:noFill/>
              <a:miter lim="800000"/>
              <a:headEnd/>
              <a:tailEnd/>
            </a:ln>
          </p:spPr>
          <p:txBody>
            <a:bodyPr wrap="none">
              <a:spAutoFit/>
            </a:bodyPr>
            <a:lstStyle/>
            <a:p>
              <a:pPr>
                <a:defRPr/>
              </a:pPr>
              <a:r>
                <a:rPr lang="en-IN" sz="2000" dirty="0" smtClean="0">
                  <a:ea typeface="ＭＳ Ｐゴシック" pitchFamily="34" charset="-128"/>
                </a:rPr>
                <a:t>Attitude and Outlook</a:t>
              </a:r>
              <a:endParaRPr lang="en-US" sz="2000" dirty="0">
                <a:ea typeface="ＭＳ Ｐゴシック" pitchFamily="34" charset="-128"/>
              </a:endParaRPr>
            </a:p>
          </p:txBody>
        </p:sp>
      </p:grpSp>
      <p:grpSp>
        <p:nvGrpSpPr>
          <p:cNvPr id="43" name="Group 69"/>
          <p:cNvGrpSpPr>
            <a:grpSpLocks/>
          </p:cNvGrpSpPr>
          <p:nvPr/>
        </p:nvGrpSpPr>
        <p:grpSpPr bwMode="auto">
          <a:xfrm>
            <a:off x="467544" y="2601008"/>
            <a:ext cx="3096344" cy="900000"/>
            <a:chOff x="1224751" y="2276269"/>
            <a:chExt cx="4852003" cy="379817"/>
          </a:xfrm>
        </p:grpSpPr>
        <p:sp>
          <p:nvSpPr>
            <p:cNvPr id="44" name="Rounded Rectangle 43"/>
            <p:cNvSpPr/>
            <p:nvPr/>
          </p:nvSpPr>
          <p:spPr>
            <a:xfrm flipV="1">
              <a:off x="1224751" y="2276269"/>
              <a:ext cx="4852003" cy="379817"/>
            </a:xfrm>
            <a:prstGeom prst="roundRect">
              <a:avLst/>
            </a:prstGeom>
            <a:solidFill>
              <a:srgbClr val="FF2F83"/>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45" name="Rounded Rectangle 44"/>
            <p:cNvSpPr/>
            <p:nvPr/>
          </p:nvSpPr>
          <p:spPr>
            <a:xfrm>
              <a:off x="1279372" y="2330888"/>
              <a:ext cx="3669010"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46" name="TextBox 67"/>
            <p:cNvSpPr txBox="1">
              <a:spLocks noChangeArrowheads="1"/>
            </p:cNvSpPr>
            <p:nvPr/>
          </p:nvSpPr>
          <p:spPr bwMode="auto">
            <a:xfrm>
              <a:off x="1292999" y="2321810"/>
              <a:ext cx="4339597" cy="298741"/>
            </a:xfrm>
            <a:prstGeom prst="rect">
              <a:avLst/>
            </a:prstGeom>
            <a:noFill/>
            <a:ln w="9525">
              <a:noFill/>
              <a:miter lim="800000"/>
              <a:headEnd/>
              <a:tailEnd/>
            </a:ln>
          </p:spPr>
          <p:txBody>
            <a:bodyPr wrap="none">
              <a:spAutoFit/>
            </a:bodyPr>
            <a:lstStyle/>
            <a:p>
              <a:pPr>
                <a:defRPr/>
              </a:pPr>
              <a:r>
                <a:rPr lang="en-IN" sz="2000" dirty="0" smtClean="0">
                  <a:ea typeface="ＭＳ Ｐゴシック" pitchFamily="34" charset="-128"/>
                </a:rPr>
                <a:t>Workforce – </a:t>
              </a:r>
            </a:p>
            <a:p>
              <a:pPr>
                <a:defRPr/>
              </a:pPr>
              <a:r>
                <a:rPr lang="en-IN" sz="2000" dirty="0" smtClean="0">
                  <a:ea typeface="ＭＳ Ｐゴシック" pitchFamily="34" charset="-128"/>
                </a:rPr>
                <a:t>Quantity &amp; Job Structure</a:t>
              </a:r>
              <a:endParaRPr lang="en-US" sz="2000" dirty="0">
                <a:ea typeface="ＭＳ Ｐゴシック" pitchFamily="34" charset="-128"/>
              </a:endParaRPr>
            </a:p>
          </p:txBody>
        </p:sp>
      </p:grpSp>
      <p:grpSp>
        <p:nvGrpSpPr>
          <p:cNvPr id="47" name="Group 41"/>
          <p:cNvGrpSpPr>
            <a:grpSpLocks/>
          </p:cNvGrpSpPr>
          <p:nvPr/>
        </p:nvGrpSpPr>
        <p:grpSpPr bwMode="auto">
          <a:xfrm>
            <a:off x="2339752" y="5772993"/>
            <a:ext cx="4783138" cy="968375"/>
            <a:chOff x="4940193" y="4878304"/>
            <a:chExt cx="4783391" cy="968295"/>
          </a:xfrm>
        </p:grpSpPr>
        <p:sp>
          <p:nvSpPr>
            <p:cNvPr id="48" name="Oval 47"/>
            <p:cNvSpPr/>
            <p:nvPr/>
          </p:nvSpPr>
          <p:spPr>
            <a:xfrm rot="589461">
              <a:off x="4940193" y="5002119"/>
              <a:ext cx="1249429" cy="109528"/>
            </a:xfrm>
            <a:prstGeom prst="ellipse">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49" name="Rectangle 48"/>
            <p:cNvSpPr/>
            <p:nvPr/>
          </p:nvSpPr>
          <p:spPr>
            <a:xfrm rot="589461">
              <a:off x="5329152" y="5340228"/>
              <a:ext cx="4384907" cy="109529"/>
            </a:xfrm>
            <a:prstGeom prst="rect">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50" name="Rounded Rectangle 49"/>
            <p:cNvSpPr/>
            <p:nvPr/>
          </p:nvSpPr>
          <p:spPr>
            <a:xfrm rot="589461">
              <a:off x="8986945" y="5622779"/>
              <a:ext cx="736639" cy="223820"/>
            </a:xfrm>
            <a:prstGeom prst="roundRect">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nvGrpSpPr>
            <p:cNvPr id="51" name="Group 87"/>
            <p:cNvGrpSpPr>
              <a:grpSpLocks/>
            </p:cNvGrpSpPr>
            <p:nvPr/>
          </p:nvGrpSpPr>
          <p:grpSpPr bwMode="auto">
            <a:xfrm>
              <a:off x="4940193" y="4878304"/>
              <a:ext cx="4783391" cy="825387"/>
              <a:chOff x="4940193" y="4878304"/>
              <a:chExt cx="4783391" cy="825387"/>
            </a:xfrm>
          </p:grpSpPr>
          <p:sp>
            <p:nvSpPr>
              <p:cNvPr id="52" name="Oval 51"/>
              <p:cNvSpPr/>
              <p:nvPr/>
            </p:nvSpPr>
            <p:spPr>
              <a:xfrm rot="589461">
                <a:off x="4940193" y="4878304"/>
                <a:ext cx="1249429" cy="109528"/>
              </a:xfrm>
              <a:prstGeom prst="ellipse">
                <a:avLst/>
              </a:prstGeom>
              <a:gradFill>
                <a:gsLst>
                  <a:gs pos="0">
                    <a:schemeClr val="tx1">
                      <a:lumMod val="95000"/>
                      <a:lumOff val="5000"/>
                    </a:schemeClr>
                  </a:gs>
                  <a:gs pos="69000">
                    <a:schemeClr val="tx1">
                      <a:lumMod val="95000"/>
                      <a:lumOff val="5000"/>
                    </a:schemeClr>
                  </a:gs>
                  <a:gs pos="100000">
                    <a:schemeClr val="tx1">
                      <a:lumMod val="75000"/>
                      <a:lumOff val="25000"/>
                    </a:schemeClr>
                  </a:gs>
                  <a:gs pos="29000">
                    <a:schemeClr val="tx1">
                      <a:lumMod val="85000"/>
                      <a:lumOff val="15000"/>
                    </a:schemeClr>
                  </a:gs>
                </a:gsLst>
                <a:lin ang="19140000" scaled="0"/>
              </a:grad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53" name="Rectangle 76"/>
              <p:cNvSpPr>
                <a:spLocks noChangeArrowheads="1"/>
              </p:cNvSpPr>
              <p:nvPr/>
            </p:nvSpPr>
            <p:spPr bwMode="auto">
              <a:xfrm rot="589461">
                <a:off x="5329152" y="5216413"/>
                <a:ext cx="4384907" cy="109529"/>
              </a:xfrm>
              <a:prstGeom prst="rect">
                <a:avLst/>
              </a:prstGeom>
              <a:gradFill rotWithShape="1">
                <a:gsLst>
                  <a:gs pos="0">
                    <a:srgbClr val="A6A6A6"/>
                  </a:gs>
                  <a:gs pos="5000">
                    <a:srgbClr val="A6A6A6"/>
                  </a:gs>
                  <a:gs pos="50000">
                    <a:srgbClr val="F2F2F2"/>
                  </a:gs>
                  <a:gs pos="100000">
                    <a:srgbClr val="BFBFBF"/>
                  </a:gs>
                </a:gsLst>
                <a:lin ang="5400000"/>
              </a:gradFill>
              <a:ln w="9525">
                <a:solidFill>
                  <a:srgbClr val="A6A6A6"/>
                </a:solidFill>
                <a:miter lim="800000"/>
                <a:headEnd/>
                <a:tailEnd/>
              </a:ln>
              <a:effectLst>
                <a:outerShdw dist="23000" dir="839963" rotWithShape="0">
                  <a:srgbClr val="808080">
                    <a:alpha val="34998"/>
                  </a:srgbClr>
                </a:outerShdw>
              </a:effectLst>
            </p:spPr>
            <p:txBody>
              <a:bodyPr anchor="ctr"/>
              <a:lstStyle/>
              <a:p>
                <a:pPr algn="ctr"/>
                <a:endParaRPr lang="nb-NO">
                  <a:solidFill>
                    <a:srgbClr val="FFFFFF"/>
                  </a:solidFill>
                </a:endParaRPr>
              </a:p>
            </p:txBody>
          </p:sp>
          <p:sp>
            <p:nvSpPr>
              <p:cNvPr id="54" name="Rounded Rectangle 53"/>
              <p:cNvSpPr/>
              <p:nvPr/>
            </p:nvSpPr>
            <p:spPr>
              <a:xfrm rot="589461">
                <a:off x="8986945" y="5479916"/>
                <a:ext cx="736639" cy="223820"/>
              </a:xfrm>
              <a:prstGeom prst="roundRect">
                <a:avLst/>
              </a:prstGeom>
              <a:gradFill>
                <a:gsLst>
                  <a:gs pos="0">
                    <a:schemeClr val="tx1">
                      <a:lumMod val="95000"/>
                      <a:lumOff val="5000"/>
                    </a:schemeClr>
                  </a:gs>
                  <a:gs pos="100000">
                    <a:schemeClr val="tx1">
                      <a:lumMod val="95000"/>
                      <a:lumOff val="5000"/>
                    </a:schemeClr>
                  </a:gs>
                  <a:gs pos="59000">
                    <a:schemeClr val="tx1">
                      <a:lumMod val="75000"/>
                      <a:lumOff val="25000"/>
                    </a:schemeClr>
                  </a:gs>
                  <a:gs pos="29000">
                    <a:schemeClr val="tx1">
                      <a:lumMod val="85000"/>
                      <a:lumOff val="15000"/>
                    </a:schemeClr>
                  </a:gs>
                </a:gsLst>
                <a:lin ang="4980000" scaled="0"/>
              </a:grad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grpSp>
      <p:sp>
        <p:nvSpPr>
          <p:cNvPr id="56" name="Rounded Rectangle 55"/>
          <p:cNvSpPr/>
          <p:nvPr/>
        </p:nvSpPr>
        <p:spPr>
          <a:xfrm>
            <a:off x="3995936" y="1988840"/>
            <a:ext cx="4968552" cy="4176464"/>
          </a:xfrm>
          <a:prstGeom prst="roundRect">
            <a:avLst>
              <a:gd name="adj" fmla="val 2287"/>
            </a:avLst>
          </a:prstGeom>
          <a:solidFill>
            <a:schemeClr val="accent5">
              <a:alpha val="50196"/>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1200"/>
              </a:spcAft>
            </a:pPr>
            <a:r>
              <a:rPr lang="en-IN" sz="2000" b="1" dirty="0" smtClean="0">
                <a:solidFill>
                  <a:schemeClr val="tx1"/>
                </a:solidFill>
              </a:rPr>
              <a:t>Workforce – Quantity &amp; Job Structure:</a:t>
            </a:r>
          </a:p>
          <a:p>
            <a:pPr>
              <a:spcAft>
                <a:spcPts val="1200"/>
              </a:spcAft>
            </a:pPr>
            <a:r>
              <a:rPr lang="en-IN" sz="2000" dirty="0" smtClean="0">
                <a:solidFill>
                  <a:schemeClr val="tx1"/>
                </a:solidFill>
              </a:rPr>
              <a:t>Many times in third party managed warehouses, workforce strength is often an issue which affects the operational efficiency. It has been noticed that few local managements try to cut corners by under staffing at various levels and extending the working hours or job responsibilities and trying to save costs. There can be several instances of shortage of manpower from the strength that has been planned and budgeted for.</a:t>
            </a: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withEffect">
                                  <p:stCondLst>
                                    <p:cond delay="0"/>
                                  </p:stCondLst>
                                  <p:childTnLst>
                                    <p:animMotion origin="layout" path="M -1.11111E-6 4.12581E-6 L 0.04566 -0.41212 " pathEditMode="relative" rAng="0" ptsTypes="AA">
                                      <p:cBhvr>
                                        <p:cTn id="6" dur="500" fill="hold"/>
                                        <p:tgtEl>
                                          <p:spTgt spid="47"/>
                                        </p:tgtEl>
                                        <p:attrNameLst>
                                          <p:attrName>ppt_x</p:attrName>
                                          <p:attrName>ppt_y</p:attrName>
                                        </p:attrNameLst>
                                      </p:cBhvr>
                                      <p:rCtr x="2300" y="-20600"/>
                                    </p:animMotion>
                                  </p:childTnLst>
                                </p:cTn>
                              </p:par>
                            </p:childTnLst>
                          </p:cTn>
                        </p:par>
                        <p:par>
                          <p:cTn id="7" fill="hold">
                            <p:stCondLst>
                              <p:cond delay="500"/>
                            </p:stCondLst>
                            <p:childTnLst>
                              <p:par>
                                <p:cTn id="8" presetID="26" presetClass="emph" presetSubtype="0" fill="hold" nodeType="afterEffect">
                                  <p:stCondLst>
                                    <p:cond delay="0"/>
                                  </p:stCondLst>
                                  <p:childTnLst>
                                    <p:animEffect transition="out" filter="fade">
                                      <p:cBhvr>
                                        <p:cTn id="9" dur="200" tmFilter="0, 0; .2, .5; .8, .5; 1, 0"/>
                                        <p:tgtEl>
                                          <p:spTgt spid="47"/>
                                        </p:tgtEl>
                                      </p:cBhvr>
                                    </p:animEffect>
                                    <p:animScale>
                                      <p:cBhvr>
                                        <p:cTn id="10" dur="100" autoRev="1" fill="hold"/>
                                        <p:tgtEl>
                                          <p:spTgt spid="47"/>
                                        </p:tgtEl>
                                      </p:cBhvr>
                                      <p:by x="105000" y="105000"/>
                                    </p:animScale>
                                  </p:childTnLst>
                                </p:cTn>
                              </p:par>
                            </p:childTnLst>
                          </p:cTn>
                        </p:par>
                        <p:par>
                          <p:cTn id="11" fill="hold">
                            <p:stCondLst>
                              <p:cond delay="700"/>
                            </p:stCondLst>
                            <p:childTnLst>
                              <p:par>
                                <p:cTn id="12" presetID="10" presetClass="exit" presetSubtype="0" fill="hold" nodeType="afterEffect">
                                  <p:stCondLst>
                                    <p:cond delay="0"/>
                                  </p:stCondLst>
                                  <p:childTnLst>
                                    <p:animEffect transition="out" filter="fade">
                                      <p:cBhvr>
                                        <p:cTn id="13" dur="500"/>
                                        <p:tgtEl>
                                          <p:spTgt spid="47"/>
                                        </p:tgtEl>
                                      </p:cBhvr>
                                    </p:animEffect>
                                    <p:set>
                                      <p:cBhvr>
                                        <p:cTn id="14" dur="1" fill="hold">
                                          <p:stCondLst>
                                            <p:cond delay="499"/>
                                          </p:stCondLst>
                                        </p:cTn>
                                        <p:tgtEl>
                                          <p:spTgt spid="47"/>
                                        </p:tgtEl>
                                        <p:attrNameLst>
                                          <p:attrName>style.visibility</p:attrName>
                                        </p:attrNameLst>
                                      </p:cBhvr>
                                      <p:to>
                                        <p:strVal val="hidden"/>
                                      </p:to>
                                    </p:set>
                                  </p:childTnLst>
                                </p:cTn>
                              </p:par>
                              <p:par>
                                <p:cTn id="15" presetID="10" presetClass="entr" presetSubtype="0" fill="hold" nodeType="with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childTnLst>
                          </p:cTn>
                        </p:par>
                        <p:par>
                          <p:cTn id="18" fill="hold">
                            <p:stCondLst>
                              <p:cond delay="1200"/>
                            </p:stCondLst>
                            <p:childTnLst>
                              <p:par>
                                <p:cTn id="19" presetID="12" presetClass="entr" presetSubtype="8" fill="hold" nodeType="afterEffect">
                                  <p:stCondLst>
                                    <p:cond delay="0"/>
                                  </p:stCondLst>
                                  <p:childTnLst>
                                    <p:set>
                                      <p:cBhvr>
                                        <p:cTn id="20" dur="1" fill="hold">
                                          <p:stCondLst>
                                            <p:cond delay="0"/>
                                          </p:stCondLst>
                                        </p:cTn>
                                        <p:tgtEl>
                                          <p:spTgt spid="55"/>
                                        </p:tgtEl>
                                        <p:attrNameLst>
                                          <p:attrName>style.visibility</p:attrName>
                                        </p:attrNameLst>
                                      </p:cBhvr>
                                      <p:to>
                                        <p:strVal val="visible"/>
                                      </p:to>
                                    </p:set>
                                    <p:animEffect transition="in" filter="slide(fromLeft)">
                                      <p:cBhvr>
                                        <p:cTn id="21" dur="500"/>
                                        <p:tgtEl>
                                          <p:spTgt spid="55"/>
                                        </p:tgtEl>
                                      </p:cBhvr>
                                    </p:animEffect>
                                  </p:childTnLst>
                                </p:cTn>
                              </p:par>
                            </p:childTnLst>
                          </p:cTn>
                        </p:par>
                        <p:par>
                          <p:cTn id="22" fill="hold">
                            <p:stCondLst>
                              <p:cond delay="1700"/>
                            </p:stCondLst>
                            <p:childTnLst>
                              <p:par>
                                <p:cTn id="23" presetID="12" presetClass="entr" presetSubtype="2" fill="hold" grpId="0" nodeType="afterEffect">
                                  <p:stCondLst>
                                    <p:cond delay="0"/>
                                  </p:stCondLst>
                                  <p:childTnLst>
                                    <p:set>
                                      <p:cBhvr>
                                        <p:cTn id="24" dur="1" fill="hold">
                                          <p:stCondLst>
                                            <p:cond delay="0"/>
                                          </p:stCondLst>
                                        </p:cTn>
                                        <p:tgtEl>
                                          <p:spTgt spid="56"/>
                                        </p:tgtEl>
                                        <p:attrNameLst>
                                          <p:attrName>style.visibility</p:attrName>
                                        </p:attrNameLst>
                                      </p:cBhvr>
                                      <p:to>
                                        <p:strVal val="visible"/>
                                      </p:to>
                                    </p:set>
                                    <p:animEffect transition="in" filter="slide(fromRight)">
                                      <p:cBhvr>
                                        <p:cTn id="25"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4"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5"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6"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7"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8"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9"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0"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1"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2"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IN" sz="3200" dirty="0" smtClean="0"/>
                <a:t>Supply Chain Processes Reducing Various Costs</a:t>
              </a:r>
              <a:endParaRPr lang="en-IN" sz="3200" dirty="0"/>
            </a:p>
          </p:txBody>
        </p:sp>
      </p:grpSp>
      <p:grpSp>
        <p:nvGrpSpPr>
          <p:cNvPr id="4" name="Group 20"/>
          <p:cNvGrpSpPr/>
          <p:nvPr/>
        </p:nvGrpSpPr>
        <p:grpSpPr>
          <a:xfrm>
            <a:off x="3214959" y="1441208"/>
            <a:ext cx="2623605" cy="5081065"/>
            <a:chOff x="3214959" y="1441208"/>
            <a:chExt cx="2623605" cy="5081065"/>
          </a:xfrm>
        </p:grpSpPr>
        <p:sp>
          <p:nvSpPr>
            <p:cNvPr id="23" name="Can 22"/>
            <p:cNvSpPr/>
            <p:nvPr/>
          </p:nvSpPr>
          <p:spPr>
            <a:xfrm rot="162920">
              <a:off x="4442434" y="1441208"/>
              <a:ext cx="250061" cy="5081065"/>
            </a:xfrm>
            <a:prstGeom prst="can">
              <a:avLst/>
            </a:prstGeom>
            <a:blipFill>
              <a:blip r:embed="rId13" cstate="print"/>
              <a:tile tx="0" ty="0" sx="100000" sy="100000" flip="none" algn="tl"/>
            </a:blipFill>
          </p:spPr>
          <p:style>
            <a:lnRef idx="0">
              <a:schemeClr val="dk1"/>
            </a:lnRef>
            <a:fillRef idx="3">
              <a:schemeClr val="dk1"/>
            </a:fillRef>
            <a:effectRef idx="3">
              <a:schemeClr val="dk1"/>
            </a:effectRef>
            <a:fontRef idx="minor">
              <a:schemeClr val="lt1"/>
            </a:fontRef>
          </p:style>
          <p:txBody>
            <a:bodyPr rtlCol="0" anchor="ctr"/>
            <a:lstStyle/>
            <a:p>
              <a:pPr algn="ctr"/>
              <a:endParaRPr lang="en-IN" dirty="0"/>
            </a:p>
          </p:txBody>
        </p:sp>
        <p:grpSp>
          <p:nvGrpSpPr>
            <p:cNvPr id="5" name="Group 17"/>
            <p:cNvGrpSpPr/>
            <p:nvPr/>
          </p:nvGrpSpPr>
          <p:grpSpPr>
            <a:xfrm rot="510201">
              <a:off x="3214959" y="1620355"/>
              <a:ext cx="2623605" cy="851784"/>
              <a:chOff x="559175" y="3867714"/>
              <a:chExt cx="3105361" cy="851784"/>
            </a:xfrm>
          </p:grpSpPr>
          <p:pic>
            <p:nvPicPr>
              <p:cNvPr id="25" name="Picture 24" descr="5986098_xxl.jpg"/>
              <p:cNvPicPr>
                <a:picLocks noChangeAspect="1"/>
              </p:cNvPicPr>
              <p:nvPr/>
            </p:nvPicPr>
            <p:blipFill>
              <a:blip r:embed="rId14" cstate="print"/>
              <a:srcRect l="5445" t="3801" r="69808" b="71000"/>
              <a:stretch>
                <a:fillRect/>
              </a:stretch>
            </p:blipFill>
            <p:spPr>
              <a:xfrm rot="21362173">
                <a:off x="562729" y="3867714"/>
                <a:ext cx="3101807" cy="851784"/>
              </a:xfrm>
              <a:prstGeom prst="rect">
                <a:avLst/>
              </a:prstGeom>
            </p:spPr>
          </p:pic>
          <p:sp>
            <p:nvSpPr>
              <p:cNvPr id="26" name="TextBox 25"/>
              <p:cNvSpPr txBox="1"/>
              <p:nvPr/>
            </p:nvSpPr>
            <p:spPr>
              <a:xfrm rot="21358569">
                <a:off x="559175" y="4032078"/>
                <a:ext cx="3024066" cy="461665"/>
              </a:xfrm>
              <a:prstGeom prst="rect">
                <a:avLst/>
              </a:prstGeom>
              <a:noFill/>
            </p:spPr>
            <p:txBody>
              <a:bodyPr wrap="square" rtlCol="0">
                <a:spAutoFit/>
              </a:bodyPr>
              <a:lstStyle/>
              <a:p>
                <a:pPr algn="ctr"/>
                <a:r>
                  <a:rPr lang="en-IN" sz="2400" b="1" dirty="0" smtClean="0"/>
                  <a:t>Distribution</a:t>
                </a:r>
                <a:endParaRPr lang="en-IN" sz="2400" b="1" dirty="0"/>
              </a:p>
            </p:txBody>
          </p:sp>
        </p:grpSp>
      </p:grpSp>
      <p:grpSp>
        <p:nvGrpSpPr>
          <p:cNvPr id="6" name="Group 21"/>
          <p:cNvGrpSpPr/>
          <p:nvPr/>
        </p:nvGrpSpPr>
        <p:grpSpPr>
          <a:xfrm>
            <a:off x="971601" y="2636912"/>
            <a:ext cx="3297880" cy="3910276"/>
            <a:chOff x="568680" y="2057578"/>
            <a:chExt cx="3297880" cy="3910276"/>
          </a:xfrm>
        </p:grpSpPr>
        <p:sp>
          <p:nvSpPr>
            <p:cNvPr id="28" name="Can 27"/>
            <p:cNvSpPr/>
            <p:nvPr/>
          </p:nvSpPr>
          <p:spPr>
            <a:xfrm rot="21300000">
              <a:off x="2303138" y="2057578"/>
              <a:ext cx="255515" cy="3910276"/>
            </a:xfrm>
            <a:prstGeom prst="can">
              <a:avLst/>
            </a:prstGeom>
            <a:blipFill>
              <a:blip r:embed="rId13" cstate="print"/>
              <a:tile tx="0" ty="0" sx="100000" sy="100000" flip="none" algn="tl"/>
            </a:blipFill>
          </p:spPr>
          <p:style>
            <a:lnRef idx="0">
              <a:schemeClr val="dk1"/>
            </a:lnRef>
            <a:fillRef idx="3">
              <a:schemeClr val="dk1"/>
            </a:fillRef>
            <a:effectRef idx="3">
              <a:schemeClr val="dk1"/>
            </a:effectRef>
            <a:fontRef idx="minor">
              <a:schemeClr val="lt1"/>
            </a:fontRef>
          </p:style>
          <p:txBody>
            <a:bodyPr rtlCol="0" anchor="ctr"/>
            <a:lstStyle/>
            <a:p>
              <a:pPr algn="ctr"/>
              <a:endParaRPr lang="en-IN" dirty="0"/>
            </a:p>
          </p:txBody>
        </p:sp>
        <p:grpSp>
          <p:nvGrpSpPr>
            <p:cNvPr id="7" name="Group 6"/>
            <p:cNvGrpSpPr/>
            <p:nvPr/>
          </p:nvGrpSpPr>
          <p:grpSpPr>
            <a:xfrm rot="21358569">
              <a:off x="568680" y="2267340"/>
              <a:ext cx="3297880" cy="946021"/>
              <a:chOff x="2411761" y="1772816"/>
              <a:chExt cx="4045844" cy="946021"/>
            </a:xfrm>
          </p:grpSpPr>
          <p:pic>
            <p:nvPicPr>
              <p:cNvPr id="30" name="Picture 29" descr="5986098_xxl.jpg"/>
              <p:cNvPicPr>
                <a:picLocks noChangeAspect="1"/>
              </p:cNvPicPr>
              <p:nvPr/>
            </p:nvPicPr>
            <p:blipFill>
              <a:blip r:embed="rId15" cstate="print">
                <a:clrChange>
                  <a:clrFrom>
                    <a:srgbClr val="FFFFFF"/>
                  </a:clrFrom>
                  <a:clrTo>
                    <a:srgbClr val="FFFFFF">
                      <a:alpha val="0"/>
                    </a:srgbClr>
                  </a:clrTo>
                </a:clrChange>
              </a:blip>
              <a:srcRect l="6217" t="37400" r="69952" b="39500"/>
              <a:stretch>
                <a:fillRect/>
              </a:stretch>
            </p:blipFill>
            <p:spPr>
              <a:xfrm>
                <a:off x="2411761" y="1772816"/>
                <a:ext cx="3969404" cy="946021"/>
              </a:xfrm>
              <a:prstGeom prst="rect">
                <a:avLst/>
              </a:prstGeom>
            </p:spPr>
          </p:pic>
          <p:sp>
            <p:nvSpPr>
              <p:cNvPr id="31" name="TextBox 30"/>
              <p:cNvSpPr txBox="1"/>
              <p:nvPr/>
            </p:nvSpPr>
            <p:spPr>
              <a:xfrm>
                <a:off x="2516624" y="1966810"/>
                <a:ext cx="3940981" cy="461665"/>
              </a:xfrm>
              <a:prstGeom prst="rect">
                <a:avLst/>
              </a:prstGeom>
              <a:noFill/>
            </p:spPr>
            <p:txBody>
              <a:bodyPr wrap="square" rtlCol="0">
                <a:spAutoFit/>
              </a:bodyPr>
              <a:lstStyle/>
              <a:p>
                <a:pPr algn="ctr"/>
                <a:r>
                  <a:rPr lang="en-IN" sz="2400" b="1" dirty="0" smtClean="0"/>
                  <a:t>Merchandise</a:t>
                </a:r>
                <a:endParaRPr lang="en-IN" sz="2400" b="1" dirty="0"/>
              </a:p>
            </p:txBody>
          </p:sp>
        </p:grpSp>
      </p:grpSp>
      <p:grpSp>
        <p:nvGrpSpPr>
          <p:cNvPr id="8" name="Group 29"/>
          <p:cNvGrpSpPr/>
          <p:nvPr/>
        </p:nvGrpSpPr>
        <p:grpSpPr>
          <a:xfrm>
            <a:off x="4860032" y="2384629"/>
            <a:ext cx="3062388" cy="4164359"/>
            <a:chOff x="4469575" y="2384629"/>
            <a:chExt cx="3062388" cy="4164359"/>
          </a:xfrm>
        </p:grpSpPr>
        <p:sp>
          <p:nvSpPr>
            <p:cNvPr id="36" name="Can 35"/>
            <p:cNvSpPr/>
            <p:nvPr/>
          </p:nvSpPr>
          <p:spPr>
            <a:xfrm rot="478216">
              <a:off x="5635714" y="2384629"/>
              <a:ext cx="232873" cy="4164359"/>
            </a:xfrm>
            <a:prstGeom prst="can">
              <a:avLst/>
            </a:prstGeom>
            <a:blipFill>
              <a:blip r:embed="rId13" cstate="print"/>
              <a:tile tx="0" ty="0" sx="100000" sy="100000" flip="none" algn="tl"/>
            </a:blipFill>
          </p:spPr>
          <p:style>
            <a:lnRef idx="0">
              <a:schemeClr val="dk1"/>
            </a:lnRef>
            <a:fillRef idx="3">
              <a:schemeClr val="dk1"/>
            </a:fillRef>
            <a:effectRef idx="3">
              <a:schemeClr val="dk1"/>
            </a:effectRef>
            <a:fontRef idx="minor">
              <a:schemeClr val="lt1"/>
            </a:fontRef>
          </p:style>
          <p:txBody>
            <a:bodyPr rtlCol="0" anchor="ctr"/>
            <a:lstStyle/>
            <a:p>
              <a:pPr algn="ctr"/>
              <a:endParaRPr lang="en-IN" dirty="0"/>
            </a:p>
          </p:txBody>
        </p:sp>
        <p:grpSp>
          <p:nvGrpSpPr>
            <p:cNvPr id="9" name="Group 9"/>
            <p:cNvGrpSpPr/>
            <p:nvPr/>
          </p:nvGrpSpPr>
          <p:grpSpPr>
            <a:xfrm rot="352007">
              <a:off x="4469575" y="2574859"/>
              <a:ext cx="3062388" cy="970707"/>
              <a:chOff x="1964708" y="4408632"/>
              <a:chExt cx="3664188" cy="783268"/>
            </a:xfrm>
          </p:grpSpPr>
          <p:pic>
            <p:nvPicPr>
              <p:cNvPr id="38" name="Picture 37" descr="5986098_xxl.jpg"/>
              <p:cNvPicPr>
                <a:picLocks noChangeAspect="1"/>
              </p:cNvPicPr>
              <p:nvPr/>
            </p:nvPicPr>
            <p:blipFill>
              <a:blip r:embed="rId16" cstate="print">
                <a:clrChange>
                  <a:clrFrom>
                    <a:srgbClr val="FFFFFF"/>
                  </a:clrFrom>
                  <a:clrTo>
                    <a:srgbClr val="FFFFFF">
                      <a:alpha val="0"/>
                    </a:srgbClr>
                  </a:clrTo>
                </a:clrChange>
              </a:blip>
              <a:srcRect l="8289" t="69950" r="67879" b="4851"/>
              <a:stretch>
                <a:fillRect/>
              </a:stretch>
            </p:blipFill>
            <p:spPr>
              <a:xfrm>
                <a:off x="1964708" y="4408632"/>
                <a:ext cx="3664188" cy="783268"/>
              </a:xfrm>
              <a:prstGeom prst="rect">
                <a:avLst/>
              </a:prstGeom>
            </p:spPr>
          </p:pic>
          <p:sp>
            <p:nvSpPr>
              <p:cNvPr id="39" name="TextBox 38"/>
              <p:cNvSpPr txBox="1"/>
              <p:nvPr/>
            </p:nvSpPr>
            <p:spPr>
              <a:xfrm>
                <a:off x="2087530" y="4600242"/>
                <a:ext cx="3384376" cy="372520"/>
              </a:xfrm>
              <a:prstGeom prst="rect">
                <a:avLst/>
              </a:prstGeom>
              <a:noFill/>
            </p:spPr>
            <p:txBody>
              <a:bodyPr wrap="square" rtlCol="0">
                <a:spAutoFit/>
              </a:bodyPr>
              <a:lstStyle/>
              <a:p>
                <a:pPr algn="ctr"/>
                <a:r>
                  <a:rPr lang="en-IN" sz="2400" b="1" dirty="0" smtClean="0"/>
                  <a:t>Labor</a:t>
                </a:r>
                <a:endParaRPr lang="en-IN" sz="2400" b="1" dirty="0"/>
              </a:p>
            </p:txBody>
          </p:sp>
        </p:grpSp>
      </p:grpSp>
      <p:pic>
        <p:nvPicPr>
          <p:cNvPr id="40" name="Picture 39" descr="10318595_xl.jpg"/>
          <p:cNvPicPr>
            <a:picLocks noChangeAspect="1"/>
          </p:cNvPicPr>
          <p:nvPr/>
        </p:nvPicPr>
        <p:blipFill>
          <a:blip r:embed="rId17" cstate="print">
            <a:clrChange>
              <a:clrFrom>
                <a:srgbClr val="FFFFFF"/>
              </a:clrFrom>
              <a:clrTo>
                <a:srgbClr val="FFFFFF">
                  <a:alpha val="0"/>
                </a:srgbClr>
              </a:clrTo>
            </a:clrChange>
          </a:blip>
          <a:srcRect l="11589" t="8001" r="13990" b="31484"/>
          <a:stretch>
            <a:fillRect/>
          </a:stretch>
        </p:blipFill>
        <p:spPr>
          <a:xfrm>
            <a:off x="1979712" y="3845834"/>
            <a:ext cx="4896544" cy="3012165"/>
          </a:xfrm>
          <a:prstGeom prst="rect">
            <a:avLst/>
          </a:prstGeom>
        </p:spPr>
      </p:pic>
      <p:sp>
        <p:nvSpPr>
          <p:cNvPr id="35" name="Rectangular Callout 34"/>
          <p:cNvSpPr/>
          <p:nvPr/>
        </p:nvSpPr>
        <p:spPr>
          <a:xfrm>
            <a:off x="179512" y="4725144"/>
            <a:ext cx="4104456" cy="2052000"/>
          </a:xfrm>
          <a:prstGeom prst="wedgeRectCallout">
            <a:avLst>
              <a:gd name="adj1" fmla="val 3625"/>
              <a:gd name="adj2" fmla="val -112741"/>
            </a:avLst>
          </a:prstGeom>
          <a:gradFill flip="none" rotWithShape="1">
            <a:gsLst>
              <a:gs pos="0">
                <a:srgbClr val="FF6161">
                  <a:tint val="66000"/>
                  <a:satMod val="160000"/>
                </a:srgbClr>
              </a:gs>
              <a:gs pos="50000">
                <a:srgbClr val="FF6161">
                  <a:tint val="44500"/>
                  <a:satMod val="160000"/>
                </a:srgbClr>
              </a:gs>
              <a:gs pos="100000">
                <a:srgbClr val="FF6161">
                  <a:tint val="23500"/>
                  <a:satMod val="160000"/>
                </a:srgbClr>
              </a:gs>
            </a:gsLst>
            <a:lin ang="13500000" scaled="1"/>
            <a:tileRect/>
          </a:gradFill>
          <a:ln>
            <a:solidFill>
              <a:srgbClr val="FF61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itchFamily="34" charset="0"/>
              <a:buChar char="•"/>
            </a:pPr>
            <a:r>
              <a:rPr lang="en-IN" dirty="0" smtClean="0">
                <a:solidFill>
                  <a:schemeClr val="tx1"/>
                </a:solidFill>
              </a:rPr>
              <a:t>These costs can be reduced through the strategic sourcing, bid optimization and supplier contracts-based optimization.  Good demand forecasting and supply management practices also help in reducing cost of merchandise</a:t>
            </a:r>
            <a:endParaRPr lang="en-IN" dirty="0">
              <a:solidFill>
                <a:schemeClr val="tx1"/>
              </a:solidFill>
            </a:endParaRPr>
          </a:p>
        </p:txBody>
      </p:sp>
      <p:sp>
        <p:nvSpPr>
          <p:cNvPr id="37" name="Rectangular Callout 36"/>
          <p:cNvSpPr/>
          <p:nvPr/>
        </p:nvSpPr>
        <p:spPr>
          <a:xfrm>
            <a:off x="251520" y="908720"/>
            <a:ext cx="8568952" cy="936104"/>
          </a:xfrm>
          <a:prstGeom prst="wedgeRectCallout">
            <a:avLst>
              <a:gd name="adj1" fmla="val 10513"/>
              <a:gd name="adj2" fmla="val 76628"/>
            </a:avLst>
          </a:prstGeom>
          <a:gradFill flip="none" rotWithShape="1">
            <a:gsLst>
              <a:gs pos="0">
                <a:schemeClr val="accent6">
                  <a:tint val="66000"/>
                  <a:satMod val="160000"/>
                </a:schemeClr>
              </a:gs>
              <a:gs pos="50000">
                <a:schemeClr val="accent6">
                  <a:tint val="44500"/>
                  <a:satMod val="160000"/>
                </a:schemeClr>
              </a:gs>
              <a:gs pos="100000">
                <a:schemeClr val="accent6">
                  <a:tint val="23500"/>
                  <a:satMod val="160000"/>
                </a:schemeClr>
              </a:gs>
            </a:gsLst>
            <a:lin ang="13500000" scaled="1"/>
            <a:tileRect/>
          </a:gra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itchFamily="34" charset="0"/>
              <a:buChar char="•"/>
            </a:pPr>
            <a:r>
              <a:rPr lang="en-IN" dirty="0" smtClean="0">
                <a:solidFill>
                  <a:schemeClr val="tx1"/>
                </a:solidFill>
              </a:rPr>
              <a:t>Distribution costs primarily consist of warehousing and transportation supply chain processes that can help reduce these costs are network, planning, warehouse management and transportation management</a:t>
            </a:r>
            <a:endParaRPr lang="en-IN" dirty="0">
              <a:solidFill>
                <a:schemeClr val="tx1"/>
              </a:solidFill>
            </a:endParaRPr>
          </a:p>
        </p:txBody>
      </p:sp>
      <p:sp>
        <p:nvSpPr>
          <p:cNvPr id="43" name="Rectangular Callout 42"/>
          <p:cNvSpPr/>
          <p:nvPr/>
        </p:nvSpPr>
        <p:spPr>
          <a:xfrm>
            <a:off x="5148064" y="4221088"/>
            <a:ext cx="3672408" cy="2376264"/>
          </a:xfrm>
          <a:prstGeom prst="wedgeRectCallout">
            <a:avLst>
              <a:gd name="adj1" fmla="val -2667"/>
              <a:gd name="adj2" fmla="val -92458"/>
            </a:avLst>
          </a:prstGeom>
          <a:gradFill flip="none" rotWithShape="1">
            <a:gsLst>
              <a:gs pos="0">
                <a:srgbClr val="C65AB7">
                  <a:tint val="66000"/>
                  <a:satMod val="160000"/>
                </a:srgbClr>
              </a:gs>
              <a:gs pos="50000">
                <a:srgbClr val="C65AB7">
                  <a:tint val="44500"/>
                  <a:satMod val="160000"/>
                </a:srgbClr>
              </a:gs>
              <a:gs pos="100000">
                <a:srgbClr val="C65AB7">
                  <a:tint val="23500"/>
                  <a:satMod val="160000"/>
                </a:srgbClr>
              </a:gs>
            </a:gsLst>
            <a:lin ang="13500000" scaled="1"/>
            <a:tileRect/>
          </a:gradFill>
          <a:ln>
            <a:solidFill>
              <a:srgbClr val="C65A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itchFamily="34" charset="0"/>
              <a:buChar char="•"/>
            </a:pPr>
            <a:r>
              <a:rPr lang="en-IN" dirty="0" smtClean="0">
                <a:solidFill>
                  <a:schemeClr val="tx1"/>
                </a:solidFill>
              </a:rPr>
              <a:t>Labor costs for retailers are in the warehouse and the stores.  Warehouses management processes can help directly reduce the labor costs in the warehouse by better labor planning, scheduling and task tracking</a:t>
            </a:r>
            <a:endParaRPr lang="en-IN" dirty="0">
              <a:solidFill>
                <a:schemeClr val="tx1"/>
              </a:solidFill>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par>
                          <p:cTn id="8" fill="hold">
                            <p:stCondLst>
                              <p:cond delay="500"/>
                            </p:stCondLst>
                            <p:childTnLst>
                              <p:par>
                                <p:cTn id="9" presetID="10" presetClass="entr" presetSubtype="0" fill="hold" grpId="0" nodeType="afterEffect">
                                  <p:stCondLst>
                                    <p:cond delay="2250"/>
                                  </p:stCondLst>
                                  <p:childTnLst>
                                    <p:set>
                                      <p:cBhvr>
                                        <p:cTn id="10" dur="1" fill="hold">
                                          <p:stCondLst>
                                            <p:cond delay="0"/>
                                          </p:stCondLst>
                                        </p:cTn>
                                        <p:tgtEl>
                                          <p:spTgt spid="37"/>
                                        </p:tgtEl>
                                        <p:attrNameLst>
                                          <p:attrName>style.visibility</p:attrName>
                                        </p:attrNameLst>
                                      </p:cBhvr>
                                      <p:to>
                                        <p:strVal val="visible"/>
                                      </p:to>
                                    </p:set>
                                    <p:animEffect transition="in" filter="fade">
                                      <p:cBhvr>
                                        <p:cTn id="11" dur="500"/>
                                        <p:tgtEl>
                                          <p:spTgt spid="37"/>
                                        </p:tgtEl>
                                      </p:cBhvr>
                                    </p:animEffect>
                                  </p:childTnLst>
                                </p:cTn>
                              </p:par>
                            </p:childTnLst>
                          </p:cTn>
                        </p:par>
                        <p:par>
                          <p:cTn id="12" fill="hold">
                            <p:stCondLst>
                              <p:cond delay="3250"/>
                            </p:stCondLst>
                            <p:childTnLst>
                              <p:par>
                                <p:cTn id="13" presetID="10" presetClass="entr" presetSubtype="0" fill="hold" grpId="0" nodeType="afterEffect">
                                  <p:stCondLst>
                                    <p:cond delay="2250"/>
                                  </p:stCondLst>
                                  <p:childTnLst>
                                    <p:set>
                                      <p:cBhvr>
                                        <p:cTn id="14" dur="1" fill="hold">
                                          <p:stCondLst>
                                            <p:cond delay="0"/>
                                          </p:stCondLst>
                                        </p:cTn>
                                        <p:tgtEl>
                                          <p:spTgt spid="43"/>
                                        </p:tgtEl>
                                        <p:attrNameLst>
                                          <p:attrName>style.visibility</p:attrName>
                                        </p:attrNameLst>
                                      </p:cBhvr>
                                      <p:to>
                                        <p:strVal val="visible"/>
                                      </p:to>
                                    </p:set>
                                    <p:animEffect transition="in" filter="fade">
                                      <p:cBhvr>
                                        <p:cTn id="15"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7" grpId="0" animBg="1"/>
      <p:bldP spid="4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uppieren 20"/>
          <p:cNvGrpSpPr/>
          <p:nvPr/>
        </p:nvGrpSpPr>
        <p:grpSpPr>
          <a:xfrm>
            <a:off x="432615" y="1077975"/>
            <a:ext cx="7337664" cy="3880110"/>
            <a:chOff x="3645903" y="-1202695"/>
            <a:chExt cx="11141561" cy="3625354"/>
          </a:xfrm>
        </p:grpSpPr>
        <p:sp>
          <p:nvSpPr>
            <p:cNvPr id="10" name="Rechteck 21"/>
            <p:cNvSpPr/>
            <p:nvPr/>
          </p:nvSpPr>
          <p:spPr bwMode="auto">
            <a:xfrm>
              <a:off x="4876558" y="-1070742"/>
              <a:ext cx="9910906" cy="3493401"/>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3500000" scaled="1"/>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1200"/>
                </a:spcAft>
              </a:pPr>
              <a:r>
                <a:rPr lang="en-IN" sz="2800" b="1" dirty="0" smtClean="0">
                  <a:solidFill>
                    <a:prstClr val="white"/>
                  </a:solidFill>
                  <a:latin typeface="FreesiaUPC" pitchFamily="34" charset="-34"/>
                  <a:ea typeface="ＭＳ Ｐゴシック" pitchFamily="34" charset="-128"/>
                  <a:cs typeface="FreesiaUPC" pitchFamily="34" charset="-34"/>
                </a:rPr>
                <a:t>This is a DEMO Course On – </a:t>
              </a:r>
              <a:r>
                <a:rPr lang="en-IN" sz="2800" b="1" dirty="0" smtClean="0">
                  <a:solidFill>
                    <a:srgbClr val="FFFF00"/>
                  </a:solidFill>
                  <a:latin typeface="FreesiaUPC" pitchFamily="34" charset="-34"/>
                  <a:ea typeface="ＭＳ Ｐゴシック" pitchFamily="34" charset="-128"/>
                  <a:cs typeface="FreesiaUPC" pitchFamily="34" charset="-34"/>
                </a:rPr>
                <a:t>Supply Chain Management</a:t>
              </a:r>
              <a:r>
                <a:rPr lang="en-IN" sz="2800" b="1" dirty="0" smtClean="0">
                  <a:solidFill>
                    <a:srgbClr val="FFFF00"/>
                  </a:solidFill>
                  <a:latin typeface="FreesiaUPC" pitchFamily="34" charset="-34"/>
                  <a:ea typeface="ＭＳ Ｐゴシック" pitchFamily="34" charset="-128"/>
                  <a:cs typeface="FreesiaUPC" pitchFamily="34" charset="-34"/>
                </a:rPr>
                <a:t>.</a:t>
              </a:r>
            </a:p>
            <a:p>
              <a:pPr>
                <a:spcAft>
                  <a:spcPts val="1200"/>
                </a:spcAft>
              </a:pPr>
              <a:r>
                <a:rPr lang="en-US" sz="2800" b="1" dirty="0" smtClean="0">
                  <a:solidFill>
                    <a:srgbClr val="FFFF00"/>
                  </a:solidFill>
                  <a:latin typeface="FreesiaUPC" pitchFamily="34" charset="-34"/>
                  <a:ea typeface="ＭＳ Ｐゴシック" pitchFamily="34" charset="-128"/>
                  <a:cs typeface="FreesiaUPC" pitchFamily="34" charset="-34"/>
                </a:rPr>
                <a:t>Register Today</a:t>
              </a:r>
              <a:r>
                <a:rPr lang="en-US" sz="2800" b="1" dirty="0" smtClean="0">
                  <a:solidFill>
                    <a:prstClr val="white"/>
                  </a:solidFill>
                  <a:latin typeface="FreesiaUPC" pitchFamily="34" charset="-34"/>
                  <a:ea typeface="ＭＳ Ｐゴシック" pitchFamily="34" charset="-128"/>
                  <a:cs typeface="FreesiaUPC" pitchFamily="34" charset="-34"/>
                </a:rPr>
                <a:t> and Get Access to 5 FREE Courses.</a:t>
              </a:r>
            </a:p>
            <a:p>
              <a:pPr>
                <a:spcAft>
                  <a:spcPts val="1200"/>
                </a:spcAft>
              </a:pPr>
              <a:r>
                <a:rPr lang="en-US" sz="2800" b="1" dirty="0" smtClean="0">
                  <a:solidFill>
                    <a:prstClr val="white"/>
                  </a:solidFill>
                  <a:latin typeface="FreesiaUPC" pitchFamily="34" charset="-34"/>
                  <a:ea typeface="ＭＳ Ｐゴシック" pitchFamily="34" charset="-128"/>
                  <a:cs typeface="FreesiaUPC" pitchFamily="34" charset="-34"/>
                </a:rPr>
                <a:t>What Do you Get:</a:t>
              </a:r>
            </a:p>
            <a:p>
              <a:pPr marL="360000" indent="-396000">
                <a:buFontTx/>
                <a:buAutoNum type="arabicPeriod"/>
              </a:pPr>
              <a:r>
                <a:rPr lang="en-US" sz="2800" b="1" dirty="0" smtClean="0">
                  <a:solidFill>
                    <a:prstClr val="white"/>
                  </a:solidFill>
                  <a:latin typeface="FreesiaUPC" pitchFamily="34" charset="-34"/>
                  <a:ea typeface="ＭＳ Ｐゴシック" pitchFamily="34" charset="-128"/>
                  <a:cs typeface="FreesiaUPC" pitchFamily="34" charset="-34"/>
                </a:rPr>
                <a:t>View All Courses Online.</a:t>
              </a:r>
            </a:p>
            <a:p>
              <a:pPr marL="360000" indent="-396000">
                <a:buFontTx/>
                <a:buAutoNum type="arabicPeriod"/>
              </a:pPr>
              <a:r>
                <a:rPr lang="en-US" sz="2800" b="1" dirty="0" smtClean="0">
                  <a:solidFill>
                    <a:prstClr val="white"/>
                  </a:solidFill>
                  <a:latin typeface="FreesiaUPC" pitchFamily="34" charset="-34"/>
                  <a:ea typeface="ＭＳ Ｐゴシック" pitchFamily="34" charset="-128"/>
                  <a:cs typeface="FreesiaUPC" pitchFamily="34" charset="-34"/>
                </a:rPr>
                <a:t>Download </a:t>
              </a:r>
              <a:r>
                <a:rPr lang="en-US" sz="2800" b="1" dirty="0" err="1" smtClean="0">
                  <a:solidFill>
                    <a:prstClr val="white"/>
                  </a:solidFill>
                  <a:latin typeface="FreesiaUPC" pitchFamily="34" charset="-34"/>
                  <a:ea typeface="ＭＳ Ｐゴシック" pitchFamily="34" charset="-128"/>
                  <a:cs typeface="FreesiaUPC" pitchFamily="34" charset="-34"/>
                </a:rPr>
                <a:t>Powerpoint</a:t>
              </a:r>
              <a:r>
                <a:rPr lang="en-US" sz="2800" b="1" dirty="0" smtClean="0">
                  <a:solidFill>
                    <a:prstClr val="white"/>
                  </a:solidFill>
                  <a:latin typeface="FreesiaUPC" pitchFamily="34" charset="-34"/>
                  <a:ea typeface="ＭＳ Ｐゴシック" pitchFamily="34" charset="-128"/>
                  <a:cs typeface="FreesiaUPC" pitchFamily="34" charset="-34"/>
                </a:rPr>
                <a:t> Presentation for Each Course.</a:t>
              </a:r>
            </a:p>
            <a:p>
              <a:pPr marL="360000" indent="-396000">
                <a:buFontTx/>
                <a:buAutoNum type="arabicPeriod"/>
              </a:pPr>
              <a:r>
                <a:rPr lang="en-US" sz="2800" b="1" dirty="0" smtClean="0">
                  <a:solidFill>
                    <a:prstClr val="white"/>
                  </a:solidFill>
                  <a:latin typeface="FreesiaUPC" pitchFamily="34" charset="-34"/>
                  <a:ea typeface="ＭＳ Ｐゴシック" pitchFamily="34" charset="-128"/>
                  <a:cs typeface="FreesiaUPC" pitchFamily="34" charset="-34"/>
                </a:rPr>
                <a:t>Do the Knowledge Checks for Each Course.</a:t>
              </a:r>
              <a:endParaRPr lang="en-IN" sz="2800" b="1" dirty="0" smtClean="0">
                <a:solidFill>
                  <a:prstClr val="white"/>
                </a:solidFill>
                <a:latin typeface="FreesiaUPC" pitchFamily="34" charset="-34"/>
                <a:ea typeface="ＭＳ Ｐゴシック" pitchFamily="34" charset="-128"/>
                <a:cs typeface="FreesiaUPC" pitchFamily="34" charset="-34"/>
              </a:endParaRPr>
            </a:p>
          </p:txBody>
        </p:sp>
        <p:pic>
          <p:nvPicPr>
            <p:cNvPr id="11" name="Picture 5" descr="Tessafilm_4"/>
            <p:cNvPicPr>
              <a:picLocks noChangeAspect="1" noChangeArrowheads="1"/>
            </p:cNvPicPr>
            <p:nvPr/>
          </p:nvPicPr>
          <p:blipFill>
            <a:blip r:embed="rId4" cstate="print"/>
            <a:srcRect l="59392" b="89844"/>
            <a:stretch>
              <a:fillRect/>
            </a:stretch>
          </p:blipFill>
          <p:spPr bwMode="gray">
            <a:xfrm rot="20222041">
              <a:off x="3645903" y="-1202695"/>
              <a:ext cx="2229621" cy="525903"/>
            </a:xfrm>
            <a:prstGeom prst="rect">
              <a:avLst/>
            </a:prstGeom>
            <a:noFill/>
          </p:spPr>
        </p:pic>
      </p:grpSp>
      <p:pic>
        <p:nvPicPr>
          <p:cNvPr id="12" name="Picture 11">
            <a:hlinkClick r:id="rId5" action="ppaction://hlinksldjump"/>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14700" y="5181600"/>
            <a:ext cx="1600200" cy="1533525"/>
          </a:xfrm>
          <a:prstGeom prst="rect">
            <a:avLst/>
          </a:prstGeom>
        </p:spPr>
      </p:pic>
      <p:sp>
        <p:nvSpPr>
          <p:cNvPr id="13" name="TextBox 12"/>
          <p:cNvSpPr txBox="1"/>
          <p:nvPr/>
        </p:nvSpPr>
        <p:spPr>
          <a:xfrm>
            <a:off x="395536" y="283295"/>
            <a:ext cx="8352928" cy="769441"/>
          </a:xfrm>
          <a:prstGeom prst="rect">
            <a:avLst/>
          </a:prstGeom>
          <a:noFill/>
        </p:spPr>
        <p:txBody>
          <a:bodyPr wrap="square" rtlCol="0">
            <a:spAutoFit/>
          </a:bodyPr>
          <a:lstStyle/>
          <a:p>
            <a:r>
              <a:rPr lang="en-US" sz="4400" dirty="0" smtClean="0">
                <a:solidFill>
                  <a:prstClr val="black"/>
                </a:solidFill>
                <a:latin typeface="Arial Rounded MT Bold" pitchFamily="34" charset="0"/>
                <a:ea typeface="ＭＳ Ｐゴシック" pitchFamily="34" charset="-128"/>
                <a:cs typeface="Arial" pitchFamily="34" charset="0"/>
              </a:rPr>
              <a:t>ManagementStudyGuide.com</a:t>
            </a:r>
            <a:endParaRPr lang="en-IN" sz="4400" dirty="0">
              <a:solidFill>
                <a:prstClr val="black"/>
              </a:solidFill>
              <a:latin typeface="Arial Rounded MT Bold" pitchFamily="34" charset="0"/>
              <a:ea typeface="ＭＳ Ｐゴシック" pitchFamily="34" charset="-128"/>
              <a:cs typeface="Arial" pitchFamily="34" charset="0"/>
            </a:endParaRPr>
          </a:p>
        </p:txBody>
      </p:sp>
    </p:spTree>
    <p:custDataLst>
      <p:tags r:id="rId1"/>
    </p:custDataLst>
    <p:extLst>
      <p:ext uri="{BB962C8B-B14F-4D97-AF65-F5344CB8AC3E}">
        <p14:creationId xmlns:p14="http://schemas.microsoft.com/office/powerpoint/2010/main" val="21931915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750"/>
                                        <p:tgtEl>
                                          <p:spTgt spid="13"/>
                                        </p:tgtEl>
                                      </p:cBhvr>
                                    </p:animEffect>
                                  </p:childTnLst>
                                </p:cTn>
                              </p:par>
                              <p:par>
                                <p:cTn id="11" presetID="10"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12801607_l.jpg"/>
          <p:cNvPicPr>
            <a:picLocks noChangeAspect="1"/>
          </p:cNvPicPr>
          <p:nvPr/>
        </p:nvPicPr>
        <p:blipFill>
          <a:blip r:embed="rId4" cstate="print">
            <a:lum contrast="40000"/>
          </a:blip>
          <a:stretch>
            <a:fillRect/>
          </a:stretch>
        </p:blipFill>
        <p:spPr>
          <a:xfrm>
            <a:off x="0" y="836712"/>
            <a:ext cx="9144000" cy="6021288"/>
          </a:xfrm>
          <a:prstGeom prst="rect">
            <a:avLst/>
          </a:prstGeom>
        </p:spPr>
      </p:pic>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5"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6"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7"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8"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9"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10"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1"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2"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3"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smtClean="0"/>
                <a:t>Introduction</a:t>
              </a:r>
              <a:endParaRPr lang="en-IN" sz="3200" dirty="0"/>
            </a:p>
          </p:txBody>
        </p:sp>
      </p:grpSp>
      <p:grpSp>
        <p:nvGrpSpPr>
          <p:cNvPr id="25" name="Group 24"/>
          <p:cNvGrpSpPr/>
          <p:nvPr/>
        </p:nvGrpSpPr>
        <p:grpSpPr>
          <a:xfrm>
            <a:off x="1187624" y="980728"/>
            <a:ext cx="7200800" cy="1152128"/>
            <a:chOff x="1187624" y="980728"/>
            <a:chExt cx="7632848" cy="1152128"/>
          </a:xfrm>
        </p:grpSpPr>
        <p:pic>
          <p:nvPicPr>
            <p:cNvPr id="23" name="Picture 22" descr="13436110_xl.jpg"/>
            <p:cNvPicPr>
              <a:picLocks noChangeAspect="1"/>
            </p:cNvPicPr>
            <p:nvPr/>
          </p:nvPicPr>
          <p:blipFill>
            <a:blip r:embed="rId14" cstate="print">
              <a:clrChange>
                <a:clrFrom>
                  <a:srgbClr val="8F8677"/>
                </a:clrFrom>
                <a:clrTo>
                  <a:srgbClr val="8F8677">
                    <a:alpha val="0"/>
                  </a:srgbClr>
                </a:clrTo>
              </a:clrChange>
            </a:blip>
            <a:srcRect r="50000" b="80450"/>
            <a:stretch>
              <a:fillRect/>
            </a:stretch>
          </p:blipFill>
          <p:spPr>
            <a:xfrm>
              <a:off x="1187624" y="980728"/>
              <a:ext cx="7632848" cy="1152128"/>
            </a:xfrm>
            <a:prstGeom prst="rect">
              <a:avLst/>
            </a:prstGeom>
          </p:spPr>
        </p:pic>
        <p:sp>
          <p:nvSpPr>
            <p:cNvPr id="24" name="TextBox 23"/>
            <p:cNvSpPr txBox="1"/>
            <p:nvPr/>
          </p:nvSpPr>
          <p:spPr>
            <a:xfrm>
              <a:off x="2195736" y="1372706"/>
              <a:ext cx="6192688" cy="400110"/>
            </a:xfrm>
            <a:prstGeom prst="rect">
              <a:avLst/>
            </a:prstGeom>
            <a:noFill/>
          </p:spPr>
          <p:txBody>
            <a:bodyPr wrap="square" rtlCol="0">
              <a:spAutoFit/>
            </a:bodyPr>
            <a:lstStyle/>
            <a:p>
              <a:r>
                <a:rPr lang="en-IN" sz="2000" dirty="0" smtClean="0"/>
                <a:t>Look at the various products shown below.</a:t>
              </a:r>
              <a:endParaRPr lang="en-IN" sz="2000" dirty="0"/>
            </a:p>
          </p:txBody>
        </p:sp>
      </p:grpSp>
      <p:pic>
        <p:nvPicPr>
          <p:cNvPr id="26" name="Picture 5" descr="Tessafilm_4"/>
          <p:cNvPicPr>
            <a:picLocks noChangeAspect="1" noChangeArrowheads="1"/>
          </p:cNvPicPr>
          <p:nvPr/>
        </p:nvPicPr>
        <p:blipFill>
          <a:blip r:embed="rId15" cstate="print">
            <a:duotone>
              <a:prstClr val="black"/>
              <a:srgbClr val="00B0F0">
                <a:tint val="45000"/>
                <a:satMod val="400000"/>
              </a:srgbClr>
            </a:duotone>
          </a:blip>
          <a:srcRect l="59392" b="89844"/>
          <a:stretch>
            <a:fillRect/>
          </a:stretch>
        </p:blipFill>
        <p:spPr bwMode="gray">
          <a:xfrm rot="20222041">
            <a:off x="1130174" y="1049435"/>
            <a:ext cx="1538105" cy="387075"/>
          </a:xfrm>
          <a:prstGeom prst="rect">
            <a:avLst/>
          </a:prstGeom>
          <a:noFill/>
        </p:spPr>
      </p:pic>
      <p:pic>
        <p:nvPicPr>
          <p:cNvPr id="27" name="Picture 26" descr="10046322_xxl.jpg"/>
          <p:cNvPicPr>
            <a:picLocks noChangeAspect="1"/>
          </p:cNvPicPr>
          <p:nvPr/>
        </p:nvPicPr>
        <p:blipFill>
          <a:blip r:embed="rId16" cstate="print">
            <a:clrChange>
              <a:clrFrom>
                <a:srgbClr val="FFFFFF"/>
              </a:clrFrom>
              <a:clrTo>
                <a:srgbClr val="FFFFFF">
                  <a:alpha val="0"/>
                </a:srgbClr>
              </a:clrTo>
            </a:clrChange>
          </a:blip>
          <a:srcRect l="33282" t="64700" r="29939"/>
          <a:stretch>
            <a:fillRect/>
          </a:stretch>
        </p:blipFill>
        <p:spPr>
          <a:xfrm>
            <a:off x="0" y="2060848"/>
            <a:ext cx="3083201" cy="2667551"/>
          </a:xfrm>
          <a:prstGeom prst="rect">
            <a:avLst/>
          </a:prstGeom>
        </p:spPr>
      </p:pic>
      <p:pic>
        <p:nvPicPr>
          <p:cNvPr id="28" name="Picture 27" descr="10046322_xxl.jpg"/>
          <p:cNvPicPr>
            <a:picLocks noChangeAspect="1"/>
          </p:cNvPicPr>
          <p:nvPr/>
        </p:nvPicPr>
        <p:blipFill>
          <a:blip r:embed="rId16" cstate="print">
            <a:clrChange>
              <a:clrFrom>
                <a:srgbClr val="FFFFFF"/>
              </a:clrFrom>
              <a:clrTo>
                <a:srgbClr val="FFFFFF">
                  <a:alpha val="0"/>
                </a:srgbClr>
              </a:clrTo>
            </a:clrChange>
          </a:blip>
          <a:srcRect l="33282" t="64700" r="29939"/>
          <a:stretch>
            <a:fillRect/>
          </a:stretch>
        </p:blipFill>
        <p:spPr>
          <a:xfrm>
            <a:off x="3047670" y="2060848"/>
            <a:ext cx="3083201" cy="2667551"/>
          </a:xfrm>
          <a:prstGeom prst="rect">
            <a:avLst/>
          </a:prstGeom>
        </p:spPr>
      </p:pic>
      <p:pic>
        <p:nvPicPr>
          <p:cNvPr id="29" name="Picture 28" descr="10046322_xxl.jpg"/>
          <p:cNvPicPr>
            <a:picLocks noChangeAspect="1"/>
          </p:cNvPicPr>
          <p:nvPr/>
        </p:nvPicPr>
        <p:blipFill>
          <a:blip r:embed="rId16" cstate="print">
            <a:clrChange>
              <a:clrFrom>
                <a:srgbClr val="FFFFFF"/>
              </a:clrFrom>
              <a:clrTo>
                <a:srgbClr val="FFFFFF">
                  <a:alpha val="0"/>
                </a:srgbClr>
              </a:clrTo>
            </a:clrChange>
          </a:blip>
          <a:srcRect l="33282" t="64700" r="29939"/>
          <a:stretch>
            <a:fillRect/>
          </a:stretch>
        </p:blipFill>
        <p:spPr>
          <a:xfrm>
            <a:off x="6060799" y="2060848"/>
            <a:ext cx="3083201" cy="2667551"/>
          </a:xfrm>
          <a:prstGeom prst="rect">
            <a:avLst/>
          </a:prstGeom>
        </p:spPr>
      </p:pic>
      <p:pic>
        <p:nvPicPr>
          <p:cNvPr id="30" name="Picture 29" descr="10046322_xxl.jpg"/>
          <p:cNvPicPr>
            <a:picLocks noChangeAspect="1"/>
          </p:cNvPicPr>
          <p:nvPr/>
        </p:nvPicPr>
        <p:blipFill>
          <a:blip r:embed="rId16" cstate="print">
            <a:clrChange>
              <a:clrFrom>
                <a:srgbClr val="FFFFFF"/>
              </a:clrFrom>
              <a:clrTo>
                <a:srgbClr val="FFFFFF">
                  <a:alpha val="0"/>
                </a:srgbClr>
              </a:clrTo>
            </a:clrChange>
          </a:blip>
          <a:srcRect l="33282" t="64700" r="29939"/>
          <a:stretch>
            <a:fillRect/>
          </a:stretch>
        </p:blipFill>
        <p:spPr>
          <a:xfrm>
            <a:off x="1576143" y="4361849"/>
            <a:ext cx="3083201" cy="2667551"/>
          </a:xfrm>
          <a:prstGeom prst="rect">
            <a:avLst/>
          </a:prstGeom>
        </p:spPr>
      </p:pic>
      <p:pic>
        <p:nvPicPr>
          <p:cNvPr id="31" name="Picture 30" descr="10046322_xxl.jpg"/>
          <p:cNvPicPr>
            <a:picLocks noChangeAspect="1"/>
          </p:cNvPicPr>
          <p:nvPr/>
        </p:nvPicPr>
        <p:blipFill>
          <a:blip r:embed="rId16" cstate="print">
            <a:clrChange>
              <a:clrFrom>
                <a:srgbClr val="FFFFFF"/>
              </a:clrFrom>
              <a:clrTo>
                <a:srgbClr val="FFFFFF">
                  <a:alpha val="0"/>
                </a:srgbClr>
              </a:clrTo>
            </a:clrChange>
          </a:blip>
          <a:srcRect l="33282" t="64700" r="29939"/>
          <a:stretch>
            <a:fillRect/>
          </a:stretch>
        </p:blipFill>
        <p:spPr>
          <a:xfrm>
            <a:off x="4589271" y="4361849"/>
            <a:ext cx="3083201" cy="2667551"/>
          </a:xfrm>
          <a:prstGeom prst="rect">
            <a:avLst/>
          </a:prstGeom>
        </p:spPr>
      </p:pic>
      <p:pic>
        <p:nvPicPr>
          <p:cNvPr id="36" name="Picture 35" descr="11645580_l.jpg"/>
          <p:cNvPicPr>
            <a:picLocks noChangeAspect="1"/>
          </p:cNvPicPr>
          <p:nvPr/>
        </p:nvPicPr>
        <p:blipFill>
          <a:blip r:embed="rId17" cstate="print"/>
          <a:stretch>
            <a:fillRect/>
          </a:stretch>
        </p:blipFill>
        <p:spPr>
          <a:xfrm>
            <a:off x="395536" y="2636912"/>
            <a:ext cx="2232248" cy="1584176"/>
          </a:xfrm>
          <a:prstGeom prst="rect">
            <a:avLst/>
          </a:prstGeom>
        </p:spPr>
      </p:pic>
      <p:pic>
        <p:nvPicPr>
          <p:cNvPr id="37" name="Picture 36" descr="10963142_l.jpg"/>
          <p:cNvPicPr>
            <a:picLocks noChangeAspect="1"/>
          </p:cNvPicPr>
          <p:nvPr/>
        </p:nvPicPr>
        <p:blipFill>
          <a:blip r:embed="rId18" cstate="print"/>
          <a:stretch>
            <a:fillRect/>
          </a:stretch>
        </p:blipFill>
        <p:spPr>
          <a:xfrm>
            <a:off x="3419872" y="2564904"/>
            <a:ext cx="2232248" cy="1656184"/>
          </a:xfrm>
          <a:prstGeom prst="rect">
            <a:avLst/>
          </a:prstGeom>
        </p:spPr>
      </p:pic>
      <p:pic>
        <p:nvPicPr>
          <p:cNvPr id="38" name="Picture 37" descr="12414830_l.jpg"/>
          <p:cNvPicPr>
            <a:picLocks noChangeAspect="1"/>
          </p:cNvPicPr>
          <p:nvPr/>
        </p:nvPicPr>
        <p:blipFill>
          <a:blip r:embed="rId19" cstate="print"/>
          <a:stretch>
            <a:fillRect/>
          </a:stretch>
        </p:blipFill>
        <p:spPr>
          <a:xfrm>
            <a:off x="1907704" y="4869160"/>
            <a:ext cx="2304256" cy="1656184"/>
          </a:xfrm>
          <a:prstGeom prst="rect">
            <a:avLst/>
          </a:prstGeom>
        </p:spPr>
      </p:pic>
      <p:pic>
        <p:nvPicPr>
          <p:cNvPr id="39" name="Picture 38" descr="13615220_l.jpg"/>
          <p:cNvPicPr>
            <a:picLocks noChangeAspect="1"/>
          </p:cNvPicPr>
          <p:nvPr/>
        </p:nvPicPr>
        <p:blipFill>
          <a:blip r:embed="rId20" cstate="print"/>
          <a:stretch>
            <a:fillRect/>
          </a:stretch>
        </p:blipFill>
        <p:spPr>
          <a:xfrm>
            <a:off x="4932040" y="4916508"/>
            <a:ext cx="2304256" cy="1608836"/>
          </a:xfrm>
          <a:prstGeom prst="rect">
            <a:avLst/>
          </a:prstGeom>
        </p:spPr>
      </p:pic>
      <p:pic>
        <p:nvPicPr>
          <p:cNvPr id="40" name="Picture 39" descr="14675734_l.jpg"/>
          <p:cNvPicPr>
            <a:picLocks noChangeAspect="1"/>
          </p:cNvPicPr>
          <p:nvPr/>
        </p:nvPicPr>
        <p:blipFill>
          <a:blip r:embed="rId21" cstate="print"/>
          <a:stretch>
            <a:fillRect/>
          </a:stretch>
        </p:blipFill>
        <p:spPr>
          <a:xfrm>
            <a:off x="6444208" y="2620033"/>
            <a:ext cx="2268000" cy="1601055"/>
          </a:xfrm>
          <a:prstGeom prst="rect">
            <a:avLst/>
          </a:prstGeom>
        </p:spPr>
      </p:pic>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strVal val="#ppt_w*0.70"/>
                                          </p:val>
                                        </p:tav>
                                        <p:tav tm="100000">
                                          <p:val>
                                            <p:strVal val="#ppt_w"/>
                                          </p:val>
                                        </p:tav>
                                      </p:tavLst>
                                    </p:anim>
                                    <p:anim calcmode="lin" valueType="num">
                                      <p:cBhvr>
                                        <p:cTn id="8" dur="500" fill="hold"/>
                                        <p:tgtEl>
                                          <p:spTgt spid="20"/>
                                        </p:tgtEl>
                                        <p:attrNameLst>
                                          <p:attrName>ppt_h</p:attrName>
                                        </p:attrNameLst>
                                      </p:cBhvr>
                                      <p:tavLst>
                                        <p:tav tm="0">
                                          <p:val>
                                            <p:strVal val="#ppt_h"/>
                                          </p:val>
                                        </p:tav>
                                        <p:tav tm="100000">
                                          <p:val>
                                            <p:strVal val="#ppt_h"/>
                                          </p:val>
                                        </p:tav>
                                      </p:tavLst>
                                    </p:anim>
                                    <p:animEffect transition="in" filter="fade">
                                      <p:cBhvr>
                                        <p:cTn id="9" dur="500"/>
                                        <p:tgtEl>
                                          <p:spTgt spid="20"/>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childTnLst>
                          </p:cTn>
                        </p:par>
                        <p:par>
                          <p:cTn id="22" fill="hold">
                            <p:stCondLst>
                              <p:cond delay="2000"/>
                            </p:stCondLst>
                            <p:childTnLst>
                              <p:par>
                                <p:cTn id="23" presetID="53" presetClass="entr" presetSubtype="0" fill="hold" nodeType="afterEffect">
                                  <p:stCondLst>
                                    <p:cond delay="0"/>
                                  </p:stCondLst>
                                  <p:childTnLst>
                                    <p:set>
                                      <p:cBhvr>
                                        <p:cTn id="24" dur="1" fill="hold">
                                          <p:stCondLst>
                                            <p:cond delay="0"/>
                                          </p:stCondLst>
                                        </p:cTn>
                                        <p:tgtEl>
                                          <p:spTgt spid="36"/>
                                        </p:tgtEl>
                                        <p:attrNameLst>
                                          <p:attrName>style.visibility</p:attrName>
                                        </p:attrNameLst>
                                      </p:cBhvr>
                                      <p:to>
                                        <p:strVal val="visible"/>
                                      </p:to>
                                    </p:set>
                                    <p:anim calcmode="lin" valueType="num">
                                      <p:cBhvr>
                                        <p:cTn id="25" dur="500" fill="hold"/>
                                        <p:tgtEl>
                                          <p:spTgt spid="36"/>
                                        </p:tgtEl>
                                        <p:attrNameLst>
                                          <p:attrName>ppt_w</p:attrName>
                                        </p:attrNameLst>
                                      </p:cBhvr>
                                      <p:tavLst>
                                        <p:tav tm="0">
                                          <p:val>
                                            <p:fltVal val="0"/>
                                          </p:val>
                                        </p:tav>
                                        <p:tav tm="100000">
                                          <p:val>
                                            <p:strVal val="#ppt_w"/>
                                          </p:val>
                                        </p:tav>
                                      </p:tavLst>
                                    </p:anim>
                                    <p:anim calcmode="lin" valueType="num">
                                      <p:cBhvr>
                                        <p:cTn id="26" dur="500" fill="hold"/>
                                        <p:tgtEl>
                                          <p:spTgt spid="36"/>
                                        </p:tgtEl>
                                        <p:attrNameLst>
                                          <p:attrName>ppt_h</p:attrName>
                                        </p:attrNameLst>
                                      </p:cBhvr>
                                      <p:tavLst>
                                        <p:tav tm="0">
                                          <p:val>
                                            <p:fltVal val="0"/>
                                          </p:val>
                                        </p:tav>
                                        <p:tav tm="100000">
                                          <p:val>
                                            <p:strVal val="#ppt_h"/>
                                          </p:val>
                                        </p:tav>
                                      </p:tavLst>
                                    </p:anim>
                                    <p:animEffect transition="in" filter="fade">
                                      <p:cBhvr>
                                        <p:cTn id="27" dur="500"/>
                                        <p:tgtEl>
                                          <p:spTgt spid="36"/>
                                        </p:tgtEl>
                                      </p:cBhvr>
                                    </p:animEffect>
                                  </p:childTnLst>
                                </p:cTn>
                              </p:par>
                            </p:childTnLst>
                          </p:cTn>
                        </p:par>
                        <p:par>
                          <p:cTn id="28" fill="hold">
                            <p:stCondLst>
                              <p:cond delay="2500"/>
                            </p:stCondLst>
                            <p:childTnLst>
                              <p:par>
                                <p:cTn id="29" presetID="10" presetClass="entr" presetSubtype="0" fill="hold"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par>
                          <p:cTn id="32" fill="hold">
                            <p:stCondLst>
                              <p:cond delay="3000"/>
                            </p:stCondLst>
                            <p:childTnLst>
                              <p:par>
                                <p:cTn id="33" presetID="53" presetClass="entr" presetSubtype="0" fill="hold" nodeType="afterEffect">
                                  <p:stCondLst>
                                    <p:cond delay="0"/>
                                  </p:stCondLst>
                                  <p:childTnLst>
                                    <p:set>
                                      <p:cBhvr>
                                        <p:cTn id="34" dur="1" fill="hold">
                                          <p:stCondLst>
                                            <p:cond delay="0"/>
                                          </p:stCondLst>
                                        </p:cTn>
                                        <p:tgtEl>
                                          <p:spTgt spid="37"/>
                                        </p:tgtEl>
                                        <p:attrNameLst>
                                          <p:attrName>style.visibility</p:attrName>
                                        </p:attrNameLst>
                                      </p:cBhvr>
                                      <p:to>
                                        <p:strVal val="visible"/>
                                      </p:to>
                                    </p:set>
                                    <p:anim calcmode="lin" valueType="num">
                                      <p:cBhvr>
                                        <p:cTn id="35" dur="500" fill="hold"/>
                                        <p:tgtEl>
                                          <p:spTgt spid="37"/>
                                        </p:tgtEl>
                                        <p:attrNameLst>
                                          <p:attrName>ppt_w</p:attrName>
                                        </p:attrNameLst>
                                      </p:cBhvr>
                                      <p:tavLst>
                                        <p:tav tm="0">
                                          <p:val>
                                            <p:fltVal val="0"/>
                                          </p:val>
                                        </p:tav>
                                        <p:tav tm="100000">
                                          <p:val>
                                            <p:strVal val="#ppt_w"/>
                                          </p:val>
                                        </p:tav>
                                      </p:tavLst>
                                    </p:anim>
                                    <p:anim calcmode="lin" valueType="num">
                                      <p:cBhvr>
                                        <p:cTn id="36" dur="500" fill="hold"/>
                                        <p:tgtEl>
                                          <p:spTgt spid="37"/>
                                        </p:tgtEl>
                                        <p:attrNameLst>
                                          <p:attrName>ppt_h</p:attrName>
                                        </p:attrNameLst>
                                      </p:cBhvr>
                                      <p:tavLst>
                                        <p:tav tm="0">
                                          <p:val>
                                            <p:fltVal val="0"/>
                                          </p:val>
                                        </p:tav>
                                        <p:tav tm="100000">
                                          <p:val>
                                            <p:strVal val="#ppt_h"/>
                                          </p:val>
                                        </p:tav>
                                      </p:tavLst>
                                    </p:anim>
                                    <p:animEffect transition="in" filter="fade">
                                      <p:cBhvr>
                                        <p:cTn id="37" dur="500"/>
                                        <p:tgtEl>
                                          <p:spTgt spid="37"/>
                                        </p:tgtEl>
                                      </p:cBhvr>
                                    </p:animEffect>
                                  </p:childTnLst>
                                </p:cTn>
                              </p:par>
                            </p:childTnLst>
                          </p:cTn>
                        </p:par>
                        <p:par>
                          <p:cTn id="38" fill="hold">
                            <p:stCondLst>
                              <p:cond delay="3500"/>
                            </p:stCondLst>
                            <p:childTnLst>
                              <p:par>
                                <p:cTn id="39" presetID="10" presetClass="entr" presetSubtype="0" fill="hold" nodeType="after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500"/>
                                        <p:tgtEl>
                                          <p:spTgt spid="29"/>
                                        </p:tgtEl>
                                      </p:cBhvr>
                                    </p:animEffect>
                                  </p:childTnLst>
                                </p:cTn>
                              </p:par>
                            </p:childTnLst>
                          </p:cTn>
                        </p:par>
                        <p:par>
                          <p:cTn id="42" fill="hold">
                            <p:stCondLst>
                              <p:cond delay="4000"/>
                            </p:stCondLst>
                            <p:childTnLst>
                              <p:par>
                                <p:cTn id="43" presetID="53" presetClass="entr" presetSubtype="0" fill="hold" nodeType="afterEffect">
                                  <p:stCondLst>
                                    <p:cond delay="0"/>
                                  </p:stCondLst>
                                  <p:childTnLst>
                                    <p:set>
                                      <p:cBhvr>
                                        <p:cTn id="44" dur="1" fill="hold">
                                          <p:stCondLst>
                                            <p:cond delay="0"/>
                                          </p:stCondLst>
                                        </p:cTn>
                                        <p:tgtEl>
                                          <p:spTgt spid="40"/>
                                        </p:tgtEl>
                                        <p:attrNameLst>
                                          <p:attrName>style.visibility</p:attrName>
                                        </p:attrNameLst>
                                      </p:cBhvr>
                                      <p:to>
                                        <p:strVal val="visible"/>
                                      </p:to>
                                    </p:set>
                                    <p:anim calcmode="lin" valueType="num">
                                      <p:cBhvr>
                                        <p:cTn id="45" dur="500" fill="hold"/>
                                        <p:tgtEl>
                                          <p:spTgt spid="40"/>
                                        </p:tgtEl>
                                        <p:attrNameLst>
                                          <p:attrName>ppt_w</p:attrName>
                                        </p:attrNameLst>
                                      </p:cBhvr>
                                      <p:tavLst>
                                        <p:tav tm="0">
                                          <p:val>
                                            <p:fltVal val="0"/>
                                          </p:val>
                                        </p:tav>
                                        <p:tav tm="100000">
                                          <p:val>
                                            <p:strVal val="#ppt_w"/>
                                          </p:val>
                                        </p:tav>
                                      </p:tavLst>
                                    </p:anim>
                                    <p:anim calcmode="lin" valueType="num">
                                      <p:cBhvr>
                                        <p:cTn id="46" dur="500" fill="hold"/>
                                        <p:tgtEl>
                                          <p:spTgt spid="40"/>
                                        </p:tgtEl>
                                        <p:attrNameLst>
                                          <p:attrName>ppt_h</p:attrName>
                                        </p:attrNameLst>
                                      </p:cBhvr>
                                      <p:tavLst>
                                        <p:tav tm="0">
                                          <p:val>
                                            <p:fltVal val="0"/>
                                          </p:val>
                                        </p:tav>
                                        <p:tav tm="100000">
                                          <p:val>
                                            <p:strVal val="#ppt_h"/>
                                          </p:val>
                                        </p:tav>
                                      </p:tavLst>
                                    </p:anim>
                                    <p:animEffect transition="in" filter="fade">
                                      <p:cBhvr>
                                        <p:cTn id="47" dur="500"/>
                                        <p:tgtEl>
                                          <p:spTgt spid="40"/>
                                        </p:tgtEl>
                                      </p:cBhvr>
                                    </p:animEffect>
                                  </p:childTnLst>
                                </p:cTn>
                              </p:par>
                            </p:childTnLst>
                          </p:cTn>
                        </p:par>
                        <p:par>
                          <p:cTn id="48" fill="hold">
                            <p:stCondLst>
                              <p:cond delay="4500"/>
                            </p:stCondLst>
                            <p:childTnLst>
                              <p:par>
                                <p:cTn id="49" presetID="10" presetClass="entr" presetSubtype="0" fill="hold" nodeType="afterEffect">
                                  <p:stCondLst>
                                    <p:cond delay="0"/>
                                  </p:stCondLst>
                                  <p:childTnLst>
                                    <p:set>
                                      <p:cBhvr>
                                        <p:cTn id="50" dur="1" fill="hold">
                                          <p:stCondLst>
                                            <p:cond delay="0"/>
                                          </p:stCondLst>
                                        </p:cTn>
                                        <p:tgtEl>
                                          <p:spTgt spid="30"/>
                                        </p:tgtEl>
                                        <p:attrNameLst>
                                          <p:attrName>style.visibility</p:attrName>
                                        </p:attrNameLst>
                                      </p:cBhvr>
                                      <p:to>
                                        <p:strVal val="visible"/>
                                      </p:to>
                                    </p:set>
                                    <p:animEffect transition="in" filter="fade">
                                      <p:cBhvr>
                                        <p:cTn id="51" dur="500"/>
                                        <p:tgtEl>
                                          <p:spTgt spid="30"/>
                                        </p:tgtEl>
                                      </p:cBhvr>
                                    </p:animEffect>
                                  </p:childTnLst>
                                </p:cTn>
                              </p:par>
                            </p:childTnLst>
                          </p:cTn>
                        </p:par>
                        <p:par>
                          <p:cTn id="52" fill="hold">
                            <p:stCondLst>
                              <p:cond delay="5000"/>
                            </p:stCondLst>
                            <p:childTnLst>
                              <p:par>
                                <p:cTn id="53" presetID="53" presetClass="entr" presetSubtype="0" fill="hold" nodeType="afterEffect">
                                  <p:stCondLst>
                                    <p:cond delay="0"/>
                                  </p:stCondLst>
                                  <p:childTnLst>
                                    <p:set>
                                      <p:cBhvr>
                                        <p:cTn id="54" dur="1" fill="hold">
                                          <p:stCondLst>
                                            <p:cond delay="0"/>
                                          </p:stCondLst>
                                        </p:cTn>
                                        <p:tgtEl>
                                          <p:spTgt spid="38"/>
                                        </p:tgtEl>
                                        <p:attrNameLst>
                                          <p:attrName>style.visibility</p:attrName>
                                        </p:attrNameLst>
                                      </p:cBhvr>
                                      <p:to>
                                        <p:strVal val="visible"/>
                                      </p:to>
                                    </p:set>
                                    <p:anim calcmode="lin" valueType="num">
                                      <p:cBhvr>
                                        <p:cTn id="55" dur="500" fill="hold"/>
                                        <p:tgtEl>
                                          <p:spTgt spid="38"/>
                                        </p:tgtEl>
                                        <p:attrNameLst>
                                          <p:attrName>ppt_w</p:attrName>
                                        </p:attrNameLst>
                                      </p:cBhvr>
                                      <p:tavLst>
                                        <p:tav tm="0">
                                          <p:val>
                                            <p:fltVal val="0"/>
                                          </p:val>
                                        </p:tav>
                                        <p:tav tm="100000">
                                          <p:val>
                                            <p:strVal val="#ppt_w"/>
                                          </p:val>
                                        </p:tav>
                                      </p:tavLst>
                                    </p:anim>
                                    <p:anim calcmode="lin" valueType="num">
                                      <p:cBhvr>
                                        <p:cTn id="56" dur="500" fill="hold"/>
                                        <p:tgtEl>
                                          <p:spTgt spid="38"/>
                                        </p:tgtEl>
                                        <p:attrNameLst>
                                          <p:attrName>ppt_h</p:attrName>
                                        </p:attrNameLst>
                                      </p:cBhvr>
                                      <p:tavLst>
                                        <p:tav tm="0">
                                          <p:val>
                                            <p:fltVal val="0"/>
                                          </p:val>
                                        </p:tav>
                                        <p:tav tm="100000">
                                          <p:val>
                                            <p:strVal val="#ppt_h"/>
                                          </p:val>
                                        </p:tav>
                                      </p:tavLst>
                                    </p:anim>
                                    <p:animEffect transition="in" filter="fade">
                                      <p:cBhvr>
                                        <p:cTn id="57" dur="500"/>
                                        <p:tgtEl>
                                          <p:spTgt spid="38"/>
                                        </p:tgtEl>
                                      </p:cBhvr>
                                    </p:animEffect>
                                  </p:childTnLst>
                                </p:cTn>
                              </p:par>
                            </p:childTnLst>
                          </p:cTn>
                        </p:par>
                        <p:par>
                          <p:cTn id="58" fill="hold">
                            <p:stCondLst>
                              <p:cond delay="5500"/>
                            </p:stCondLst>
                            <p:childTnLst>
                              <p:par>
                                <p:cTn id="59" presetID="10" presetClass="entr" presetSubtype="0" fill="hold" nodeType="afterEffect">
                                  <p:stCondLst>
                                    <p:cond delay="0"/>
                                  </p:stCondLst>
                                  <p:childTnLst>
                                    <p:set>
                                      <p:cBhvr>
                                        <p:cTn id="60" dur="1" fill="hold">
                                          <p:stCondLst>
                                            <p:cond delay="0"/>
                                          </p:stCondLst>
                                        </p:cTn>
                                        <p:tgtEl>
                                          <p:spTgt spid="31"/>
                                        </p:tgtEl>
                                        <p:attrNameLst>
                                          <p:attrName>style.visibility</p:attrName>
                                        </p:attrNameLst>
                                      </p:cBhvr>
                                      <p:to>
                                        <p:strVal val="visible"/>
                                      </p:to>
                                    </p:set>
                                    <p:animEffect transition="in" filter="fade">
                                      <p:cBhvr>
                                        <p:cTn id="61" dur="500"/>
                                        <p:tgtEl>
                                          <p:spTgt spid="31"/>
                                        </p:tgtEl>
                                      </p:cBhvr>
                                    </p:animEffect>
                                  </p:childTnLst>
                                </p:cTn>
                              </p:par>
                            </p:childTnLst>
                          </p:cTn>
                        </p:par>
                        <p:par>
                          <p:cTn id="62" fill="hold">
                            <p:stCondLst>
                              <p:cond delay="6000"/>
                            </p:stCondLst>
                            <p:childTnLst>
                              <p:par>
                                <p:cTn id="63" presetID="53" presetClass="entr" presetSubtype="0" fill="hold" nodeType="afterEffect">
                                  <p:stCondLst>
                                    <p:cond delay="0"/>
                                  </p:stCondLst>
                                  <p:childTnLst>
                                    <p:set>
                                      <p:cBhvr>
                                        <p:cTn id="64" dur="1" fill="hold">
                                          <p:stCondLst>
                                            <p:cond delay="0"/>
                                          </p:stCondLst>
                                        </p:cTn>
                                        <p:tgtEl>
                                          <p:spTgt spid="39"/>
                                        </p:tgtEl>
                                        <p:attrNameLst>
                                          <p:attrName>style.visibility</p:attrName>
                                        </p:attrNameLst>
                                      </p:cBhvr>
                                      <p:to>
                                        <p:strVal val="visible"/>
                                      </p:to>
                                    </p:set>
                                    <p:anim calcmode="lin" valueType="num">
                                      <p:cBhvr>
                                        <p:cTn id="65" dur="500" fill="hold"/>
                                        <p:tgtEl>
                                          <p:spTgt spid="39"/>
                                        </p:tgtEl>
                                        <p:attrNameLst>
                                          <p:attrName>ppt_w</p:attrName>
                                        </p:attrNameLst>
                                      </p:cBhvr>
                                      <p:tavLst>
                                        <p:tav tm="0">
                                          <p:val>
                                            <p:fltVal val="0"/>
                                          </p:val>
                                        </p:tav>
                                        <p:tav tm="100000">
                                          <p:val>
                                            <p:strVal val="#ppt_w"/>
                                          </p:val>
                                        </p:tav>
                                      </p:tavLst>
                                    </p:anim>
                                    <p:anim calcmode="lin" valueType="num">
                                      <p:cBhvr>
                                        <p:cTn id="66" dur="500" fill="hold"/>
                                        <p:tgtEl>
                                          <p:spTgt spid="39"/>
                                        </p:tgtEl>
                                        <p:attrNameLst>
                                          <p:attrName>ppt_h</p:attrName>
                                        </p:attrNameLst>
                                      </p:cBhvr>
                                      <p:tavLst>
                                        <p:tav tm="0">
                                          <p:val>
                                            <p:fltVal val="0"/>
                                          </p:val>
                                        </p:tav>
                                        <p:tav tm="100000">
                                          <p:val>
                                            <p:strVal val="#ppt_h"/>
                                          </p:val>
                                        </p:tav>
                                      </p:tavLst>
                                    </p:anim>
                                    <p:animEffect transition="in" filter="fade">
                                      <p:cBhvr>
                                        <p:cTn id="67"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12801607_l.jpg"/>
          <p:cNvPicPr>
            <a:picLocks noChangeAspect="1"/>
          </p:cNvPicPr>
          <p:nvPr/>
        </p:nvPicPr>
        <p:blipFill>
          <a:blip r:embed="rId4" cstate="print">
            <a:lum contrast="40000"/>
          </a:blip>
          <a:stretch>
            <a:fillRect/>
          </a:stretch>
        </p:blipFill>
        <p:spPr>
          <a:xfrm>
            <a:off x="0" y="836712"/>
            <a:ext cx="9144000" cy="6021288"/>
          </a:xfrm>
          <a:prstGeom prst="rect">
            <a:avLst/>
          </a:prstGeom>
        </p:spPr>
      </p:pic>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5"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6"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7"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8"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9"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10"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1"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2"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3"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smtClean="0"/>
                <a:t>Introduction</a:t>
              </a:r>
              <a:endParaRPr lang="en-IN" sz="3200" dirty="0"/>
            </a:p>
          </p:txBody>
        </p:sp>
      </p:grpSp>
      <p:grpSp>
        <p:nvGrpSpPr>
          <p:cNvPr id="4" name="Group 24"/>
          <p:cNvGrpSpPr/>
          <p:nvPr/>
        </p:nvGrpSpPr>
        <p:grpSpPr>
          <a:xfrm>
            <a:off x="1187624" y="980728"/>
            <a:ext cx="7200800" cy="1152128"/>
            <a:chOff x="1187624" y="980728"/>
            <a:chExt cx="7632848" cy="1152128"/>
          </a:xfrm>
        </p:grpSpPr>
        <p:pic>
          <p:nvPicPr>
            <p:cNvPr id="23" name="Picture 22" descr="13436110_xl.jpg"/>
            <p:cNvPicPr>
              <a:picLocks noChangeAspect="1"/>
            </p:cNvPicPr>
            <p:nvPr/>
          </p:nvPicPr>
          <p:blipFill>
            <a:blip r:embed="rId14" cstate="print">
              <a:clrChange>
                <a:clrFrom>
                  <a:srgbClr val="8F8677"/>
                </a:clrFrom>
                <a:clrTo>
                  <a:srgbClr val="8F8677">
                    <a:alpha val="0"/>
                  </a:srgbClr>
                </a:clrTo>
              </a:clrChange>
            </a:blip>
            <a:srcRect r="50000" b="80450"/>
            <a:stretch>
              <a:fillRect/>
            </a:stretch>
          </p:blipFill>
          <p:spPr>
            <a:xfrm>
              <a:off x="1187624" y="980728"/>
              <a:ext cx="7632848" cy="1152128"/>
            </a:xfrm>
            <a:prstGeom prst="rect">
              <a:avLst/>
            </a:prstGeom>
          </p:spPr>
        </p:pic>
        <p:sp>
          <p:nvSpPr>
            <p:cNvPr id="24" name="TextBox 23"/>
            <p:cNvSpPr txBox="1"/>
            <p:nvPr/>
          </p:nvSpPr>
          <p:spPr>
            <a:xfrm>
              <a:off x="2195736" y="1372706"/>
              <a:ext cx="6192688" cy="400110"/>
            </a:xfrm>
            <a:prstGeom prst="rect">
              <a:avLst/>
            </a:prstGeom>
            <a:noFill/>
          </p:spPr>
          <p:txBody>
            <a:bodyPr wrap="square" rtlCol="0">
              <a:spAutoFit/>
            </a:bodyPr>
            <a:lstStyle/>
            <a:p>
              <a:r>
                <a:rPr lang="en-IN" sz="2000" dirty="0" smtClean="0"/>
                <a:t>Look at the various products shown below.</a:t>
              </a:r>
              <a:endParaRPr lang="en-IN" sz="2000" dirty="0"/>
            </a:p>
          </p:txBody>
        </p:sp>
      </p:grpSp>
      <p:pic>
        <p:nvPicPr>
          <p:cNvPr id="26" name="Picture 5" descr="Tessafilm_4"/>
          <p:cNvPicPr>
            <a:picLocks noChangeAspect="1" noChangeArrowheads="1"/>
          </p:cNvPicPr>
          <p:nvPr/>
        </p:nvPicPr>
        <p:blipFill>
          <a:blip r:embed="rId15" cstate="print">
            <a:duotone>
              <a:prstClr val="black"/>
              <a:srgbClr val="00B0F0">
                <a:tint val="45000"/>
                <a:satMod val="400000"/>
              </a:srgbClr>
            </a:duotone>
          </a:blip>
          <a:srcRect l="59392" b="89844"/>
          <a:stretch>
            <a:fillRect/>
          </a:stretch>
        </p:blipFill>
        <p:spPr bwMode="gray">
          <a:xfrm rot="20222041">
            <a:off x="1130174" y="1049435"/>
            <a:ext cx="1538105" cy="387075"/>
          </a:xfrm>
          <a:prstGeom prst="rect">
            <a:avLst/>
          </a:prstGeom>
          <a:noFill/>
        </p:spPr>
      </p:pic>
      <p:pic>
        <p:nvPicPr>
          <p:cNvPr id="27" name="Picture 26" descr="10046322_xxl.jpg"/>
          <p:cNvPicPr>
            <a:picLocks noChangeAspect="1"/>
          </p:cNvPicPr>
          <p:nvPr/>
        </p:nvPicPr>
        <p:blipFill>
          <a:blip r:embed="rId16" cstate="print">
            <a:clrChange>
              <a:clrFrom>
                <a:srgbClr val="FFFFFF"/>
              </a:clrFrom>
              <a:clrTo>
                <a:srgbClr val="FFFFFF">
                  <a:alpha val="0"/>
                </a:srgbClr>
              </a:clrTo>
            </a:clrChange>
          </a:blip>
          <a:srcRect l="33282" t="64700" r="29939"/>
          <a:stretch>
            <a:fillRect/>
          </a:stretch>
        </p:blipFill>
        <p:spPr>
          <a:xfrm>
            <a:off x="0" y="2060848"/>
            <a:ext cx="3083201" cy="2667551"/>
          </a:xfrm>
          <a:prstGeom prst="rect">
            <a:avLst/>
          </a:prstGeom>
        </p:spPr>
      </p:pic>
      <p:pic>
        <p:nvPicPr>
          <p:cNvPr id="28" name="Picture 27" descr="10046322_xxl.jpg"/>
          <p:cNvPicPr>
            <a:picLocks noChangeAspect="1"/>
          </p:cNvPicPr>
          <p:nvPr/>
        </p:nvPicPr>
        <p:blipFill>
          <a:blip r:embed="rId16" cstate="print">
            <a:clrChange>
              <a:clrFrom>
                <a:srgbClr val="FFFFFF"/>
              </a:clrFrom>
              <a:clrTo>
                <a:srgbClr val="FFFFFF">
                  <a:alpha val="0"/>
                </a:srgbClr>
              </a:clrTo>
            </a:clrChange>
          </a:blip>
          <a:srcRect l="33282" t="64700" r="29939"/>
          <a:stretch>
            <a:fillRect/>
          </a:stretch>
        </p:blipFill>
        <p:spPr>
          <a:xfrm>
            <a:off x="3047670" y="2060848"/>
            <a:ext cx="3083201" cy="2667551"/>
          </a:xfrm>
          <a:prstGeom prst="rect">
            <a:avLst/>
          </a:prstGeom>
        </p:spPr>
      </p:pic>
      <p:pic>
        <p:nvPicPr>
          <p:cNvPr id="29" name="Picture 28" descr="10046322_xxl.jpg"/>
          <p:cNvPicPr>
            <a:picLocks noChangeAspect="1"/>
          </p:cNvPicPr>
          <p:nvPr/>
        </p:nvPicPr>
        <p:blipFill>
          <a:blip r:embed="rId16" cstate="print">
            <a:clrChange>
              <a:clrFrom>
                <a:srgbClr val="FFFFFF"/>
              </a:clrFrom>
              <a:clrTo>
                <a:srgbClr val="FFFFFF">
                  <a:alpha val="0"/>
                </a:srgbClr>
              </a:clrTo>
            </a:clrChange>
          </a:blip>
          <a:srcRect l="33282" t="64700" r="29939"/>
          <a:stretch>
            <a:fillRect/>
          </a:stretch>
        </p:blipFill>
        <p:spPr>
          <a:xfrm>
            <a:off x="6060799" y="2060848"/>
            <a:ext cx="3083201" cy="2667551"/>
          </a:xfrm>
          <a:prstGeom prst="rect">
            <a:avLst/>
          </a:prstGeom>
        </p:spPr>
      </p:pic>
      <p:pic>
        <p:nvPicPr>
          <p:cNvPr id="30" name="Picture 29" descr="10046322_xxl.jpg"/>
          <p:cNvPicPr>
            <a:picLocks noChangeAspect="1"/>
          </p:cNvPicPr>
          <p:nvPr/>
        </p:nvPicPr>
        <p:blipFill>
          <a:blip r:embed="rId16" cstate="print">
            <a:clrChange>
              <a:clrFrom>
                <a:srgbClr val="FFFFFF"/>
              </a:clrFrom>
              <a:clrTo>
                <a:srgbClr val="FFFFFF">
                  <a:alpha val="0"/>
                </a:srgbClr>
              </a:clrTo>
            </a:clrChange>
          </a:blip>
          <a:srcRect l="33282" t="64700" r="29939"/>
          <a:stretch>
            <a:fillRect/>
          </a:stretch>
        </p:blipFill>
        <p:spPr>
          <a:xfrm>
            <a:off x="1576143" y="4361849"/>
            <a:ext cx="3083201" cy="2667551"/>
          </a:xfrm>
          <a:prstGeom prst="rect">
            <a:avLst/>
          </a:prstGeom>
        </p:spPr>
      </p:pic>
      <p:pic>
        <p:nvPicPr>
          <p:cNvPr id="31" name="Picture 30" descr="10046322_xxl.jpg"/>
          <p:cNvPicPr>
            <a:picLocks noChangeAspect="1"/>
          </p:cNvPicPr>
          <p:nvPr/>
        </p:nvPicPr>
        <p:blipFill>
          <a:blip r:embed="rId16" cstate="print">
            <a:clrChange>
              <a:clrFrom>
                <a:srgbClr val="FFFFFF"/>
              </a:clrFrom>
              <a:clrTo>
                <a:srgbClr val="FFFFFF">
                  <a:alpha val="0"/>
                </a:srgbClr>
              </a:clrTo>
            </a:clrChange>
          </a:blip>
          <a:srcRect l="33282" t="64700" r="29939"/>
          <a:stretch>
            <a:fillRect/>
          </a:stretch>
        </p:blipFill>
        <p:spPr>
          <a:xfrm>
            <a:off x="4589271" y="4361849"/>
            <a:ext cx="3083201" cy="2667551"/>
          </a:xfrm>
          <a:prstGeom prst="rect">
            <a:avLst/>
          </a:prstGeom>
        </p:spPr>
      </p:pic>
      <p:pic>
        <p:nvPicPr>
          <p:cNvPr id="36" name="Picture 35" descr="11645580_l.jpg"/>
          <p:cNvPicPr>
            <a:picLocks noChangeAspect="1"/>
          </p:cNvPicPr>
          <p:nvPr/>
        </p:nvPicPr>
        <p:blipFill>
          <a:blip r:embed="rId17" cstate="print"/>
          <a:stretch>
            <a:fillRect/>
          </a:stretch>
        </p:blipFill>
        <p:spPr>
          <a:xfrm>
            <a:off x="395536" y="2636912"/>
            <a:ext cx="2232248" cy="1584176"/>
          </a:xfrm>
          <a:prstGeom prst="rect">
            <a:avLst/>
          </a:prstGeom>
        </p:spPr>
      </p:pic>
      <p:pic>
        <p:nvPicPr>
          <p:cNvPr id="37" name="Picture 36" descr="10963142_l.jpg"/>
          <p:cNvPicPr>
            <a:picLocks noChangeAspect="1"/>
          </p:cNvPicPr>
          <p:nvPr/>
        </p:nvPicPr>
        <p:blipFill>
          <a:blip r:embed="rId18" cstate="print"/>
          <a:stretch>
            <a:fillRect/>
          </a:stretch>
        </p:blipFill>
        <p:spPr>
          <a:xfrm>
            <a:off x="3419872" y="2564904"/>
            <a:ext cx="2232248" cy="1656184"/>
          </a:xfrm>
          <a:prstGeom prst="rect">
            <a:avLst/>
          </a:prstGeom>
        </p:spPr>
      </p:pic>
      <p:pic>
        <p:nvPicPr>
          <p:cNvPr id="38" name="Picture 37" descr="12414830_l.jpg"/>
          <p:cNvPicPr>
            <a:picLocks noChangeAspect="1"/>
          </p:cNvPicPr>
          <p:nvPr/>
        </p:nvPicPr>
        <p:blipFill>
          <a:blip r:embed="rId19" cstate="print"/>
          <a:stretch>
            <a:fillRect/>
          </a:stretch>
        </p:blipFill>
        <p:spPr>
          <a:xfrm>
            <a:off x="1907704" y="4869160"/>
            <a:ext cx="2304256" cy="1656184"/>
          </a:xfrm>
          <a:prstGeom prst="rect">
            <a:avLst/>
          </a:prstGeom>
        </p:spPr>
      </p:pic>
      <p:pic>
        <p:nvPicPr>
          <p:cNvPr id="39" name="Picture 38" descr="13615220_l.jpg"/>
          <p:cNvPicPr>
            <a:picLocks noChangeAspect="1"/>
          </p:cNvPicPr>
          <p:nvPr/>
        </p:nvPicPr>
        <p:blipFill>
          <a:blip r:embed="rId20" cstate="print"/>
          <a:stretch>
            <a:fillRect/>
          </a:stretch>
        </p:blipFill>
        <p:spPr>
          <a:xfrm>
            <a:off x="4932040" y="4916508"/>
            <a:ext cx="2304256" cy="1608836"/>
          </a:xfrm>
          <a:prstGeom prst="rect">
            <a:avLst/>
          </a:prstGeom>
        </p:spPr>
      </p:pic>
      <p:pic>
        <p:nvPicPr>
          <p:cNvPr id="40" name="Picture 39" descr="14675734_l.jpg"/>
          <p:cNvPicPr>
            <a:picLocks noChangeAspect="1"/>
          </p:cNvPicPr>
          <p:nvPr/>
        </p:nvPicPr>
        <p:blipFill>
          <a:blip r:embed="rId21" cstate="print"/>
          <a:stretch>
            <a:fillRect/>
          </a:stretch>
        </p:blipFill>
        <p:spPr>
          <a:xfrm>
            <a:off x="6444208" y="2620033"/>
            <a:ext cx="2268000" cy="1601055"/>
          </a:xfrm>
          <a:prstGeom prst="rect">
            <a:avLst/>
          </a:prstGeom>
        </p:spPr>
      </p:pic>
      <p:grpSp>
        <p:nvGrpSpPr>
          <p:cNvPr id="35" name="Group 26"/>
          <p:cNvGrpSpPr/>
          <p:nvPr/>
        </p:nvGrpSpPr>
        <p:grpSpPr>
          <a:xfrm rot="20869828">
            <a:off x="-36512" y="1411277"/>
            <a:ext cx="9072000" cy="1944216"/>
            <a:chOff x="-36512" y="1988840"/>
            <a:chExt cx="9072000" cy="1944216"/>
          </a:xfrm>
          <a:scene3d>
            <a:camera prst="orthographicFront">
              <a:rot lat="0" lon="0" rev="0"/>
            </a:camera>
            <a:lightRig rig="contrasting" dir="t">
              <a:rot lat="0" lon="0" rev="7800000"/>
            </a:lightRig>
          </a:scene3d>
        </p:grpSpPr>
        <p:sp>
          <p:nvSpPr>
            <p:cNvPr id="43" name="16-Point Star 42"/>
            <p:cNvSpPr/>
            <p:nvPr/>
          </p:nvSpPr>
          <p:spPr>
            <a:xfrm>
              <a:off x="-36512" y="1988840"/>
              <a:ext cx="9072000" cy="1944216"/>
            </a:xfrm>
            <a:prstGeom prst="star16">
              <a:avLst>
                <a:gd name="adj" fmla="val 26918"/>
              </a:avLst>
            </a:prstGeom>
            <a:solidFill>
              <a:srgbClr val="FFCA21"/>
            </a:solidFill>
            <a:ln>
              <a:solidFill>
                <a:schemeClr val="tx1"/>
              </a:solidFill>
            </a:ln>
            <a:effectLst/>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2339752" y="2636912"/>
              <a:ext cx="4392488" cy="707886"/>
            </a:xfrm>
            <a:prstGeom prst="rect">
              <a:avLst/>
            </a:prstGeom>
            <a:noFill/>
            <a:ln>
              <a:solidFill>
                <a:schemeClr val="tx1"/>
              </a:solidFill>
            </a:ln>
            <a:effectLst/>
            <a:sp3d>
              <a:bevelT w="139700" h="139700"/>
            </a:sp3d>
          </p:spPr>
          <p:txBody>
            <a:bodyPr wrap="square" rtlCol="0">
              <a:spAutoFit/>
            </a:bodyPr>
            <a:lstStyle/>
            <a:p>
              <a:pPr algn="ctr"/>
              <a:r>
                <a:rPr lang="en-IN" sz="2000" dirty="0" smtClean="0"/>
                <a:t>So, have you ever noticed the labels on such products?</a:t>
              </a:r>
              <a:endParaRPr lang="en-IN" sz="2000" dirty="0"/>
            </a:p>
          </p:txBody>
        </p:sp>
      </p:grpSp>
      <p:grpSp>
        <p:nvGrpSpPr>
          <p:cNvPr id="45" name="Group 29"/>
          <p:cNvGrpSpPr/>
          <p:nvPr/>
        </p:nvGrpSpPr>
        <p:grpSpPr>
          <a:xfrm rot="20869828">
            <a:off x="-36512" y="3571517"/>
            <a:ext cx="9072000" cy="1656184"/>
            <a:chOff x="-36512" y="1988840"/>
            <a:chExt cx="9072000" cy="1656184"/>
          </a:xfrm>
          <a:scene3d>
            <a:camera prst="orthographicFront">
              <a:rot lat="0" lon="0" rev="0"/>
            </a:camera>
            <a:lightRig rig="contrasting" dir="t">
              <a:rot lat="0" lon="0" rev="7800000"/>
            </a:lightRig>
          </a:scene3d>
        </p:grpSpPr>
        <p:sp>
          <p:nvSpPr>
            <p:cNvPr id="46" name="16-Point Star 45"/>
            <p:cNvSpPr/>
            <p:nvPr/>
          </p:nvSpPr>
          <p:spPr>
            <a:xfrm>
              <a:off x="-36512" y="1988840"/>
              <a:ext cx="9072000" cy="1656184"/>
            </a:xfrm>
            <a:prstGeom prst="star16">
              <a:avLst>
                <a:gd name="adj" fmla="val 26918"/>
              </a:avLst>
            </a:prstGeom>
            <a:solidFill>
              <a:srgbClr val="FF4747"/>
            </a:solidFill>
            <a:ln>
              <a:solidFill>
                <a:schemeClr val="tx1"/>
              </a:solidFill>
            </a:ln>
            <a:effectLst/>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 name="TextBox 46"/>
            <p:cNvSpPr txBox="1"/>
            <p:nvPr/>
          </p:nvSpPr>
          <p:spPr>
            <a:xfrm>
              <a:off x="2339752" y="2492896"/>
              <a:ext cx="4392488" cy="707886"/>
            </a:xfrm>
            <a:prstGeom prst="rect">
              <a:avLst/>
            </a:prstGeom>
            <a:noFill/>
            <a:ln>
              <a:solidFill>
                <a:schemeClr val="tx1"/>
              </a:solidFill>
            </a:ln>
            <a:effectLst/>
            <a:sp3d>
              <a:bevelT w="139700" h="139700"/>
            </a:sp3d>
          </p:spPr>
          <p:txBody>
            <a:bodyPr wrap="square" rtlCol="0">
              <a:spAutoFit/>
            </a:bodyPr>
            <a:lstStyle/>
            <a:p>
              <a:pPr algn="ctr"/>
              <a:r>
                <a:rPr lang="en-IN" sz="2000" dirty="0" smtClean="0"/>
                <a:t>Where are the majority of such goods manufactured?</a:t>
              </a:r>
              <a:endParaRPr lang="en-IN" sz="2000" dirty="0"/>
            </a:p>
          </p:txBody>
        </p:sp>
      </p:grpSp>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2000"/>
                                        <p:tgtEl>
                                          <p:spTgt spid="35"/>
                                        </p:tgtEl>
                                      </p:cBhvr>
                                    </p:animEffect>
                                  </p:childTnLst>
                                </p:cTn>
                              </p:par>
                            </p:childTnLst>
                          </p:cTn>
                        </p:par>
                        <p:par>
                          <p:cTn id="8" fill="hold">
                            <p:stCondLst>
                              <p:cond delay="2000"/>
                            </p:stCondLst>
                            <p:childTnLst>
                              <p:par>
                                <p:cTn id="9" presetID="10" presetClass="entr" presetSubtype="0" fill="hold" nodeType="afterEffect">
                                  <p:stCondLst>
                                    <p:cond delay="750"/>
                                  </p:stCondLst>
                                  <p:childTnLst>
                                    <p:set>
                                      <p:cBhvr>
                                        <p:cTn id="10" dur="1" fill="hold">
                                          <p:stCondLst>
                                            <p:cond delay="0"/>
                                          </p:stCondLst>
                                        </p:cTn>
                                        <p:tgtEl>
                                          <p:spTgt spid="45"/>
                                        </p:tgtEl>
                                        <p:attrNameLst>
                                          <p:attrName>style.visibility</p:attrName>
                                        </p:attrNameLst>
                                      </p:cBhvr>
                                      <p:to>
                                        <p:strVal val="visible"/>
                                      </p:to>
                                    </p:set>
                                    <p:animEffect transition="in" filter="fade">
                                      <p:cBhvr>
                                        <p:cTn id="11" dur="2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12801607_l.jpg"/>
          <p:cNvPicPr>
            <a:picLocks noChangeAspect="1"/>
          </p:cNvPicPr>
          <p:nvPr/>
        </p:nvPicPr>
        <p:blipFill>
          <a:blip r:embed="rId4" cstate="print">
            <a:lum contrast="40000"/>
          </a:blip>
          <a:stretch>
            <a:fillRect/>
          </a:stretch>
        </p:blipFill>
        <p:spPr>
          <a:xfrm>
            <a:off x="0" y="836712"/>
            <a:ext cx="9144000" cy="6021288"/>
          </a:xfrm>
          <a:prstGeom prst="rect">
            <a:avLst/>
          </a:prstGeom>
        </p:spPr>
      </p:pic>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5"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6"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7"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8"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9"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10"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1"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2"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3"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smtClean="0"/>
                <a:t>Introduction</a:t>
              </a:r>
              <a:endParaRPr lang="en-IN" sz="3200" dirty="0"/>
            </a:p>
          </p:txBody>
        </p:sp>
      </p:grpSp>
      <p:grpSp>
        <p:nvGrpSpPr>
          <p:cNvPr id="4" name="Group 24"/>
          <p:cNvGrpSpPr/>
          <p:nvPr/>
        </p:nvGrpSpPr>
        <p:grpSpPr>
          <a:xfrm>
            <a:off x="1187624" y="980728"/>
            <a:ext cx="7632848" cy="1656184"/>
            <a:chOff x="1187624" y="980728"/>
            <a:chExt cx="7632848" cy="1944216"/>
          </a:xfrm>
        </p:grpSpPr>
        <p:pic>
          <p:nvPicPr>
            <p:cNvPr id="23" name="Picture 22" descr="13436110_xl.jpg"/>
            <p:cNvPicPr>
              <a:picLocks noChangeAspect="1"/>
            </p:cNvPicPr>
            <p:nvPr/>
          </p:nvPicPr>
          <p:blipFill>
            <a:blip r:embed="rId14" cstate="print">
              <a:clrChange>
                <a:clrFrom>
                  <a:srgbClr val="8F8677"/>
                </a:clrFrom>
                <a:clrTo>
                  <a:srgbClr val="8F8677">
                    <a:alpha val="0"/>
                  </a:srgbClr>
                </a:clrTo>
              </a:clrChange>
            </a:blip>
            <a:srcRect r="50000" b="80450"/>
            <a:stretch>
              <a:fillRect/>
            </a:stretch>
          </p:blipFill>
          <p:spPr>
            <a:xfrm>
              <a:off x="1187624" y="980728"/>
              <a:ext cx="7632848" cy="1944216"/>
            </a:xfrm>
            <a:prstGeom prst="rect">
              <a:avLst/>
            </a:prstGeom>
          </p:spPr>
        </p:pic>
        <p:sp>
          <p:nvSpPr>
            <p:cNvPr id="24" name="TextBox 23"/>
            <p:cNvSpPr txBox="1"/>
            <p:nvPr/>
          </p:nvSpPr>
          <p:spPr>
            <a:xfrm>
              <a:off x="2195736" y="1457489"/>
              <a:ext cx="6192687" cy="1323439"/>
            </a:xfrm>
            <a:prstGeom prst="rect">
              <a:avLst/>
            </a:prstGeom>
            <a:noFill/>
          </p:spPr>
          <p:txBody>
            <a:bodyPr wrap="square" rtlCol="0">
              <a:spAutoFit/>
            </a:bodyPr>
            <a:lstStyle/>
            <a:p>
              <a:r>
                <a:rPr lang="en-IN" sz="2000" dirty="0" smtClean="0"/>
                <a:t>You will find that many of the goods such as electronics, and white goods or even clothes have been manufactured in China, South America or Mexico.</a:t>
              </a:r>
              <a:endParaRPr lang="en-IN" sz="2000" dirty="0"/>
            </a:p>
          </p:txBody>
        </p:sp>
      </p:grpSp>
      <p:pic>
        <p:nvPicPr>
          <p:cNvPr id="26" name="Picture 5" descr="Tessafilm_4"/>
          <p:cNvPicPr>
            <a:picLocks noChangeAspect="1" noChangeArrowheads="1"/>
          </p:cNvPicPr>
          <p:nvPr/>
        </p:nvPicPr>
        <p:blipFill>
          <a:blip r:embed="rId15" cstate="print">
            <a:duotone>
              <a:prstClr val="black"/>
              <a:srgbClr val="00B0F0">
                <a:tint val="45000"/>
                <a:satMod val="400000"/>
              </a:srgbClr>
            </a:duotone>
          </a:blip>
          <a:srcRect l="59392" b="89844"/>
          <a:stretch>
            <a:fillRect/>
          </a:stretch>
        </p:blipFill>
        <p:spPr bwMode="gray">
          <a:xfrm rot="20222041">
            <a:off x="1130174" y="1049435"/>
            <a:ext cx="1538105" cy="387075"/>
          </a:xfrm>
          <a:prstGeom prst="rect">
            <a:avLst/>
          </a:prstGeom>
          <a:noFill/>
        </p:spPr>
      </p:pic>
      <p:pic>
        <p:nvPicPr>
          <p:cNvPr id="43" name="Picture 42" descr="10046322_xxl.jpg"/>
          <p:cNvPicPr>
            <a:picLocks noChangeAspect="1"/>
          </p:cNvPicPr>
          <p:nvPr/>
        </p:nvPicPr>
        <p:blipFill>
          <a:blip r:embed="rId16" cstate="print">
            <a:clrChange>
              <a:clrFrom>
                <a:srgbClr val="FFFFFF"/>
              </a:clrFrom>
              <a:clrTo>
                <a:srgbClr val="FFFFFF">
                  <a:alpha val="0"/>
                </a:srgbClr>
              </a:clrTo>
            </a:clrChange>
          </a:blip>
          <a:srcRect l="33282" t="64700" r="29939"/>
          <a:stretch>
            <a:fillRect/>
          </a:stretch>
        </p:blipFill>
        <p:spPr>
          <a:xfrm>
            <a:off x="6358387" y="2492896"/>
            <a:ext cx="2822125" cy="2343568"/>
          </a:xfrm>
          <a:prstGeom prst="rect">
            <a:avLst/>
          </a:prstGeom>
        </p:spPr>
      </p:pic>
      <p:pic>
        <p:nvPicPr>
          <p:cNvPr id="44" name="Picture 43" descr="10046322_xxl.jpg"/>
          <p:cNvPicPr>
            <a:picLocks noChangeAspect="1"/>
          </p:cNvPicPr>
          <p:nvPr/>
        </p:nvPicPr>
        <p:blipFill>
          <a:blip r:embed="rId16" cstate="print">
            <a:clrChange>
              <a:clrFrom>
                <a:srgbClr val="FFFFFF"/>
              </a:clrFrom>
              <a:clrTo>
                <a:srgbClr val="FFFFFF">
                  <a:alpha val="0"/>
                </a:srgbClr>
              </a:clrTo>
            </a:clrChange>
          </a:blip>
          <a:srcRect l="33282" t="64700" r="29939"/>
          <a:stretch>
            <a:fillRect/>
          </a:stretch>
        </p:blipFill>
        <p:spPr>
          <a:xfrm>
            <a:off x="6358387" y="4514432"/>
            <a:ext cx="2822125" cy="2343568"/>
          </a:xfrm>
          <a:prstGeom prst="rect">
            <a:avLst/>
          </a:prstGeom>
        </p:spPr>
      </p:pic>
      <p:pic>
        <p:nvPicPr>
          <p:cNvPr id="46" name="Picture 45" descr="13615220_l.jpg"/>
          <p:cNvPicPr>
            <a:picLocks noChangeAspect="1"/>
          </p:cNvPicPr>
          <p:nvPr/>
        </p:nvPicPr>
        <p:blipFill>
          <a:blip r:embed="rId17" cstate="print"/>
          <a:stretch>
            <a:fillRect/>
          </a:stretch>
        </p:blipFill>
        <p:spPr>
          <a:xfrm>
            <a:off x="6672131" y="5001726"/>
            <a:ext cx="2109139" cy="1413437"/>
          </a:xfrm>
          <a:prstGeom prst="rect">
            <a:avLst/>
          </a:prstGeom>
        </p:spPr>
      </p:pic>
      <p:pic>
        <p:nvPicPr>
          <p:cNvPr id="47" name="Picture 46" descr="14675734_l.jpg"/>
          <p:cNvPicPr>
            <a:picLocks noChangeAspect="1"/>
          </p:cNvPicPr>
          <p:nvPr/>
        </p:nvPicPr>
        <p:blipFill>
          <a:blip r:embed="rId18" cstate="print"/>
          <a:stretch>
            <a:fillRect/>
          </a:stretch>
        </p:blipFill>
        <p:spPr>
          <a:xfrm>
            <a:off x="6709330" y="2984166"/>
            <a:ext cx="2075953" cy="1406601"/>
          </a:xfrm>
          <a:prstGeom prst="rect">
            <a:avLst/>
          </a:prstGeom>
        </p:spPr>
      </p:pic>
      <p:grpSp>
        <p:nvGrpSpPr>
          <p:cNvPr id="49" name="Group 267"/>
          <p:cNvGrpSpPr/>
          <p:nvPr/>
        </p:nvGrpSpPr>
        <p:grpSpPr>
          <a:xfrm>
            <a:off x="179512" y="2780928"/>
            <a:ext cx="5957706" cy="3744416"/>
            <a:chOff x="2051720" y="1844824"/>
            <a:chExt cx="6965818" cy="4176464"/>
          </a:xfrm>
        </p:grpSpPr>
        <p:sp>
          <p:nvSpPr>
            <p:cNvPr id="50" name="Rectangle 2"/>
            <p:cNvSpPr/>
            <p:nvPr/>
          </p:nvSpPr>
          <p:spPr>
            <a:xfrm>
              <a:off x="2051720" y="1844824"/>
              <a:ext cx="6965818" cy="4176464"/>
            </a:xfrm>
            <a:custGeom>
              <a:avLst/>
              <a:gdLst>
                <a:gd name="connsiteX0" fmla="*/ 0 w 8037871"/>
                <a:gd name="connsiteY0" fmla="*/ 0 h 4881716"/>
                <a:gd name="connsiteX1" fmla="*/ 8037871 w 8037871"/>
                <a:gd name="connsiteY1" fmla="*/ 0 h 4881716"/>
                <a:gd name="connsiteX2" fmla="*/ 8037871 w 8037871"/>
                <a:gd name="connsiteY2" fmla="*/ 4881716 h 4881716"/>
                <a:gd name="connsiteX3" fmla="*/ 0 w 8037871"/>
                <a:gd name="connsiteY3" fmla="*/ 4881716 h 4881716"/>
                <a:gd name="connsiteX4" fmla="*/ 0 w 8037871"/>
                <a:gd name="connsiteY4" fmla="*/ 0 h 4881716"/>
                <a:gd name="connsiteX0" fmla="*/ 0 w 8037871"/>
                <a:gd name="connsiteY0" fmla="*/ 0 h 4881716"/>
                <a:gd name="connsiteX1" fmla="*/ 8037871 w 8037871"/>
                <a:gd name="connsiteY1" fmla="*/ 0 h 4881716"/>
                <a:gd name="connsiteX2" fmla="*/ 8037871 w 8037871"/>
                <a:gd name="connsiteY2" fmla="*/ 4881716 h 4881716"/>
                <a:gd name="connsiteX3" fmla="*/ 0 w 8037871"/>
                <a:gd name="connsiteY3" fmla="*/ 4881716 h 4881716"/>
                <a:gd name="connsiteX4" fmla="*/ 0 w 8037871"/>
                <a:gd name="connsiteY4" fmla="*/ 0 h 4881716"/>
                <a:gd name="connsiteX0" fmla="*/ 0 w 8037871"/>
                <a:gd name="connsiteY0" fmla="*/ 0 h 4881716"/>
                <a:gd name="connsiteX1" fmla="*/ 8037871 w 8037871"/>
                <a:gd name="connsiteY1" fmla="*/ 0 h 4881716"/>
                <a:gd name="connsiteX2" fmla="*/ 8037871 w 8037871"/>
                <a:gd name="connsiteY2" fmla="*/ 4881716 h 4881716"/>
                <a:gd name="connsiteX3" fmla="*/ 0 w 8037871"/>
                <a:gd name="connsiteY3" fmla="*/ 4881716 h 4881716"/>
                <a:gd name="connsiteX4" fmla="*/ 0 w 8037871"/>
                <a:gd name="connsiteY4" fmla="*/ 0 h 4881716"/>
                <a:gd name="connsiteX0" fmla="*/ 0 w 8037871"/>
                <a:gd name="connsiteY0" fmla="*/ 0 h 4955458"/>
                <a:gd name="connsiteX1" fmla="*/ 8037871 w 8037871"/>
                <a:gd name="connsiteY1" fmla="*/ 0 h 4955458"/>
                <a:gd name="connsiteX2" fmla="*/ 7905135 w 8037871"/>
                <a:gd name="connsiteY2" fmla="*/ 4955458 h 4955458"/>
                <a:gd name="connsiteX3" fmla="*/ 0 w 8037871"/>
                <a:gd name="connsiteY3" fmla="*/ 4881716 h 4955458"/>
                <a:gd name="connsiteX4" fmla="*/ 0 w 8037871"/>
                <a:gd name="connsiteY4" fmla="*/ 0 h 4955458"/>
                <a:gd name="connsiteX0" fmla="*/ 0 w 8037871"/>
                <a:gd name="connsiteY0" fmla="*/ 0 h 4955458"/>
                <a:gd name="connsiteX1" fmla="*/ 8037871 w 8037871"/>
                <a:gd name="connsiteY1" fmla="*/ 0 h 4955458"/>
                <a:gd name="connsiteX2" fmla="*/ 7905135 w 8037871"/>
                <a:gd name="connsiteY2" fmla="*/ 4955458 h 4955458"/>
                <a:gd name="connsiteX3" fmla="*/ 0 w 8037871"/>
                <a:gd name="connsiteY3" fmla="*/ 4881716 h 4955458"/>
                <a:gd name="connsiteX4" fmla="*/ 0 w 8037871"/>
                <a:gd name="connsiteY4" fmla="*/ 0 h 4955458"/>
                <a:gd name="connsiteX0" fmla="*/ 0 w 7975542"/>
                <a:gd name="connsiteY0" fmla="*/ 0 h 4955458"/>
                <a:gd name="connsiteX1" fmla="*/ 7875639 w 7975542"/>
                <a:gd name="connsiteY1" fmla="*/ 73742 h 4955458"/>
                <a:gd name="connsiteX2" fmla="*/ 7905135 w 7975542"/>
                <a:gd name="connsiteY2" fmla="*/ 4955458 h 4955458"/>
                <a:gd name="connsiteX3" fmla="*/ 0 w 7975542"/>
                <a:gd name="connsiteY3" fmla="*/ 4881716 h 4955458"/>
                <a:gd name="connsiteX4" fmla="*/ 0 w 7975542"/>
                <a:gd name="connsiteY4" fmla="*/ 0 h 4955458"/>
                <a:gd name="connsiteX0" fmla="*/ 0 w 7995971"/>
                <a:gd name="connsiteY0" fmla="*/ 0 h 4955458"/>
                <a:gd name="connsiteX1" fmla="*/ 7875639 w 7995971"/>
                <a:gd name="connsiteY1" fmla="*/ 73742 h 4955458"/>
                <a:gd name="connsiteX2" fmla="*/ 7905135 w 7995971"/>
                <a:gd name="connsiteY2" fmla="*/ 4955458 h 4955458"/>
                <a:gd name="connsiteX3" fmla="*/ 0 w 7995971"/>
                <a:gd name="connsiteY3" fmla="*/ 4881716 h 4955458"/>
                <a:gd name="connsiteX4" fmla="*/ 0 w 7995971"/>
                <a:gd name="connsiteY4" fmla="*/ 0 h 4955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5971" h="4955458">
                  <a:moveTo>
                    <a:pt x="0" y="0"/>
                  </a:moveTo>
                  <a:cubicBezTo>
                    <a:pt x="2738283" y="147484"/>
                    <a:pt x="5196349" y="73742"/>
                    <a:pt x="7875639" y="73742"/>
                  </a:cubicBezTo>
                  <a:cubicBezTo>
                    <a:pt x="7934632" y="1755058"/>
                    <a:pt x="8096863" y="3362632"/>
                    <a:pt x="7905135" y="4955458"/>
                  </a:cubicBezTo>
                  <a:cubicBezTo>
                    <a:pt x="5225845" y="4955458"/>
                    <a:pt x="2723535" y="4660490"/>
                    <a:pt x="0" y="4881716"/>
                  </a:cubicBezTo>
                  <a:lnTo>
                    <a:pt x="0" y="0"/>
                  </a:lnTo>
                  <a:close/>
                </a:path>
              </a:pathLst>
            </a:custGeom>
            <a:gradFill>
              <a:gsLst>
                <a:gs pos="21000">
                  <a:schemeClr val="bg1"/>
                </a:gs>
                <a:gs pos="87000">
                  <a:schemeClr val="bg1">
                    <a:lumMod val="95000"/>
                  </a:schemeClr>
                </a:gs>
              </a:gsLst>
              <a:path path="circle">
                <a:fillToRect l="50000" t="50000" r="50000" b="50000"/>
              </a:path>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endParaRPr lang="en-US" dirty="0">
                <a:solidFill>
                  <a:srgbClr val="000000"/>
                </a:solidFill>
              </a:endParaRPr>
            </a:p>
          </p:txBody>
        </p:sp>
        <p:grpSp>
          <p:nvGrpSpPr>
            <p:cNvPr id="51" name="Group 724"/>
            <p:cNvGrpSpPr>
              <a:grpSpLocks/>
            </p:cNvGrpSpPr>
            <p:nvPr/>
          </p:nvGrpSpPr>
          <p:grpSpPr bwMode="auto">
            <a:xfrm>
              <a:off x="2183819" y="2080972"/>
              <a:ext cx="6317304" cy="3553840"/>
              <a:chOff x="543561" y="1157858"/>
              <a:chExt cx="7838439" cy="4557142"/>
            </a:xfrm>
            <a:gradFill>
              <a:gsLst>
                <a:gs pos="21000">
                  <a:schemeClr val="accent1">
                    <a:lumMod val="60000"/>
                    <a:lumOff val="40000"/>
                  </a:schemeClr>
                </a:gs>
                <a:gs pos="87000">
                  <a:schemeClr val="accent1">
                    <a:lumMod val="50000"/>
                  </a:schemeClr>
                </a:gs>
              </a:gsLst>
              <a:path path="circle">
                <a:fillToRect l="50000" t="50000" r="50000" b="50000"/>
              </a:path>
            </a:gradFill>
          </p:grpSpPr>
          <p:grpSp>
            <p:nvGrpSpPr>
              <p:cNvPr id="55" name="Gruppe 226"/>
              <p:cNvGrpSpPr/>
              <p:nvPr/>
            </p:nvGrpSpPr>
            <p:grpSpPr>
              <a:xfrm>
                <a:off x="543561" y="1157864"/>
                <a:ext cx="3592897" cy="2659943"/>
                <a:chOff x="106680" y="699453"/>
                <a:chExt cx="3986530" cy="2951480"/>
              </a:xfrm>
              <a:grpFill/>
              <a:effectLst/>
            </p:grpSpPr>
            <p:sp>
              <p:nvSpPr>
                <p:cNvPr id="113" name="Freeform 5961"/>
                <p:cNvSpPr>
                  <a:spLocks/>
                </p:cNvSpPr>
                <p:nvPr/>
              </p:nvSpPr>
              <p:spPr bwMode="auto">
                <a:xfrm>
                  <a:off x="2439670" y="3591243"/>
                  <a:ext cx="12700" cy="20320"/>
                </a:xfrm>
                <a:custGeom>
                  <a:avLst/>
                  <a:gdLst/>
                  <a:ahLst/>
                  <a:cxnLst>
                    <a:cxn ang="0">
                      <a:pos x="2" y="26"/>
                    </a:cxn>
                    <a:cxn ang="0">
                      <a:pos x="2" y="26"/>
                    </a:cxn>
                    <a:cxn ang="0">
                      <a:pos x="2" y="32"/>
                    </a:cxn>
                    <a:cxn ang="0">
                      <a:pos x="20" y="0"/>
                    </a:cxn>
                    <a:cxn ang="0">
                      <a:pos x="20" y="0"/>
                    </a:cxn>
                    <a:cxn ang="0">
                      <a:pos x="6" y="10"/>
                    </a:cxn>
                    <a:cxn ang="0">
                      <a:pos x="2" y="12"/>
                    </a:cxn>
                    <a:cxn ang="0">
                      <a:pos x="0" y="16"/>
                    </a:cxn>
                    <a:cxn ang="0">
                      <a:pos x="0" y="20"/>
                    </a:cxn>
                    <a:cxn ang="0">
                      <a:pos x="2" y="26"/>
                    </a:cxn>
                    <a:cxn ang="0">
                      <a:pos x="2" y="26"/>
                    </a:cxn>
                  </a:cxnLst>
                  <a:rect l="0" t="0" r="r" b="b"/>
                  <a:pathLst>
                    <a:path w="20" h="32">
                      <a:moveTo>
                        <a:pt x="2" y="26"/>
                      </a:moveTo>
                      <a:lnTo>
                        <a:pt x="2" y="26"/>
                      </a:lnTo>
                      <a:lnTo>
                        <a:pt x="2" y="32"/>
                      </a:lnTo>
                      <a:lnTo>
                        <a:pt x="20" y="0"/>
                      </a:lnTo>
                      <a:lnTo>
                        <a:pt x="20" y="0"/>
                      </a:lnTo>
                      <a:lnTo>
                        <a:pt x="6" y="10"/>
                      </a:lnTo>
                      <a:lnTo>
                        <a:pt x="2" y="12"/>
                      </a:lnTo>
                      <a:lnTo>
                        <a:pt x="0" y="16"/>
                      </a:lnTo>
                      <a:lnTo>
                        <a:pt x="0" y="20"/>
                      </a:lnTo>
                      <a:lnTo>
                        <a:pt x="2" y="26"/>
                      </a:lnTo>
                      <a:lnTo>
                        <a:pt x="2" y="2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4" name="Freeform 6004"/>
                <p:cNvSpPr>
                  <a:spLocks/>
                </p:cNvSpPr>
                <p:nvPr/>
              </p:nvSpPr>
              <p:spPr bwMode="auto">
                <a:xfrm>
                  <a:off x="3569970" y="3551873"/>
                  <a:ext cx="5080" cy="6350"/>
                </a:xfrm>
                <a:custGeom>
                  <a:avLst/>
                  <a:gdLst/>
                  <a:ahLst/>
                  <a:cxnLst>
                    <a:cxn ang="0">
                      <a:pos x="0" y="6"/>
                    </a:cxn>
                    <a:cxn ang="0">
                      <a:pos x="0" y="6"/>
                    </a:cxn>
                    <a:cxn ang="0">
                      <a:pos x="2" y="8"/>
                    </a:cxn>
                    <a:cxn ang="0">
                      <a:pos x="4" y="10"/>
                    </a:cxn>
                    <a:cxn ang="0">
                      <a:pos x="6" y="8"/>
                    </a:cxn>
                    <a:cxn ang="0">
                      <a:pos x="8" y="4"/>
                    </a:cxn>
                    <a:cxn ang="0">
                      <a:pos x="8" y="4"/>
                    </a:cxn>
                    <a:cxn ang="0">
                      <a:pos x="6" y="0"/>
                    </a:cxn>
                    <a:cxn ang="0">
                      <a:pos x="4" y="2"/>
                    </a:cxn>
                    <a:cxn ang="0">
                      <a:pos x="2" y="4"/>
                    </a:cxn>
                    <a:cxn ang="0">
                      <a:pos x="0" y="6"/>
                    </a:cxn>
                    <a:cxn ang="0">
                      <a:pos x="0" y="6"/>
                    </a:cxn>
                  </a:cxnLst>
                  <a:rect l="0" t="0" r="r" b="b"/>
                  <a:pathLst>
                    <a:path w="8" h="10">
                      <a:moveTo>
                        <a:pt x="0" y="6"/>
                      </a:moveTo>
                      <a:lnTo>
                        <a:pt x="0" y="6"/>
                      </a:lnTo>
                      <a:lnTo>
                        <a:pt x="2" y="8"/>
                      </a:lnTo>
                      <a:lnTo>
                        <a:pt x="4" y="10"/>
                      </a:lnTo>
                      <a:lnTo>
                        <a:pt x="6" y="8"/>
                      </a:lnTo>
                      <a:lnTo>
                        <a:pt x="8" y="4"/>
                      </a:lnTo>
                      <a:lnTo>
                        <a:pt x="8" y="4"/>
                      </a:lnTo>
                      <a:lnTo>
                        <a:pt x="6" y="0"/>
                      </a:lnTo>
                      <a:lnTo>
                        <a:pt x="4" y="2"/>
                      </a:lnTo>
                      <a:lnTo>
                        <a:pt x="2" y="4"/>
                      </a:lnTo>
                      <a:lnTo>
                        <a:pt x="0" y="6"/>
                      </a:lnTo>
                      <a:lnTo>
                        <a:pt x="0"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5" name="Freeform 6005"/>
                <p:cNvSpPr>
                  <a:spLocks/>
                </p:cNvSpPr>
                <p:nvPr/>
              </p:nvSpPr>
              <p:spPr bwMode="auto">
                <a:xfrm>
                  <a:off x="2840990" y="3593783"/>
                  <a:ext cx="7620" cy="6350"/>
                </a:xfrm>
                <a:custGeom>
                  <a:avLst/>
                  <a:gdLst/>
                  <a:ahLst/>
                  <a:cxnLst>
                    <a:cxn ang="0">
                      <a:pos x="10" y="0"/>
                    </a:cxn>
                    <a:cxn ang="0">
                      <a:pos x="10" y="0"/>
                    </a:cxn>
                    <a:cxn ang="0">
                      <a:pos x="6" y="2"/>
                    </a:cxn>
                    <a:cxn ang="0">
                      <a:pos x="2" y="4"/>
                    </a:cxn>
                    <a:cxn ang="0">
                      <a:pos x="2" y="4"/>
                    </a:cxn>
                    <a:cxn ang="0">
                      <a:pos x="0" y="8"/>
                    </a:cxn>
                    <a:cxn ang="0">
                      <a:pos x="2" y="10"/>
                    </a:cxn>
                    <a:cxn ang="0">
                      <a:pos x="8" y="10"/>
                    </a:cxn>
                    <a:cxn ang="0">
                      <a:pos x="8" y="10"/>
                    </a:cxn>
                    <a:cxn ang="0">
                      <a:pos x="10" y="8"/>
                    </a:cxn>
                    <a:cxn ang="0">
                      <a:pos x="12" y="6"/>
                    </a:cxn>
                    <a:cxn ang="0">
                      <a:pos x="12" y="2"/>
                    </a:cxn>
                    <a:cxn ang="0">
                      <a:pos x="10" y="0"/>
                    </a:cxn>
                    <a:cxn ang="0">
                      <a:pos x="10" y="0"/>
                    </a:cxn>
                  </a:cxnLst>
                  <a:rect l="0" t="0" r="r" b="b"/>
                  <a:pathLst>
                    <a:path w="12" h="10">
                      <a:moveTo>
                        <a:pt x="10" y="0"/>
                      </a:moveTo>
                      <a:lnTo>
                        <a:pt x="10" y="0"/>
                      </a:lnTo>
                      <a:lnTo>
                        <a:pt x="6" y="2"/>
                      </a:lnTo>
                      <a:lnTo>
                        <a:pt x="2" y="4"/>
                      </a:lnTo>
                      <a:lnTo>
                        <a:pt x="2" y="4"/>
                      </a:lnTo>
                      <a:lnTo>
                        <a:pt x="0" y="8"/>
                      </a:lnTo>
                      <a:lnTo>
                        <a:pt x="2" y="10"/>
                      </a:lnTo>
                      <a:lnTo>
                        <a:pt x="8" y="10"/>
                      </a:lnTo>
                      <a:lnTo>
                        <a:pt x="8" y="10"/>
                      </a:lnTo>
                      <a:lnTo>
                        <a:pt x="10" y="8"/>
                      </a:lnTo>
                      <a:lnTo>
                        <a:pt x="12" y="6"/>
                      </a:lnTo>
                      <a:lnTo>
                        <a:pt x="12" y="2"/>
                      </a:lnTo>
                      <a:lnTo>
                        <a:pt x="10" y="0"/>
                      </a:lnTo>
                      <a:lnTo>
                        <a:pt x="10"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6" name="Freeform 6006"/>
                <p:cNvSpPr>
                  <a:spLocks/>
                </p:cNvSpPr>
                <p:nvPr/>
              </p:nvSpPr>
              <p:spPr bwMode="auto">
                <a:xfrm>
                  <a:off x="2839720" y="3601403"/>
                  <a:ext cx="6350" cy="2540"/>
                </a:xfrm>
                <a:custGeom>
                  <a:avLst/>
                  <a:gdLst/>
                  <a:ahLst/>
                  <a:cxnLst>
                    <a:cxn ang="0">
                      <a:pos x="2" y="2"/>
                    </a:cxn>
                    <a:cxn ang="0">
                      <a:pos x="2" y="2"/>
                    </a:cxn>
                    <a:cxn ang="0">
                      <a:pos x="0" y="2"/>
                    </a:cxn>
                    <a:cxn ang="0">
                      <a:pos x="2" y="4"/>
                    </a:cxn>
                    <a:cxn ang="0">
                      <a:pos x="4" y="4"/>
                    </a:cxn>
                    <a:cxn ang="0">
                      <a:pos x="8" y="2"/>
                    </a:cxn>
                    <a:cxn ang="0">
                      <a:pos x="8" y="2"/>
                    </a:cxn>
                    <a:cxn ang="0">
                      <a:pos x="10" y="0"/>
                    </a:cxn>
                    <a:cxn ang="0">
                      <a:pos x="8" y="0"/>
                    </a:cxn>
                    <a:cxn ang="0">
                      <a:pos x="2" y="2"/>
                    </a:cxn>
                    <a:cxn ang="0">
                      <a:pos x="2" y="2"/>
                    </a:cxn>
                  </a:cxnLst>
                  <a:rect l="0" t="0" r="r" b="b"/>
                  <a:pathLst>
                    <a:path w="10" h="4">
                      <a:moveTo>
                        <a:pt x="2" y="2"/>
                      </a:moveTo>
                      <a:lnTo>
                        <a:pt x="2" y="2"/>
                      </a:lnTo>
                      <a:lnTo>
                        <a:pt x="0" y="2"/>
                      </a:lnTo>
                      <a:lnTo>
                        <a:pt x="2" y="4"/>
                      </a:lnTo>
                      <a:lnTo>
                        <a:pt x="4" y="4"/>
                      </a:lnTo>
                      <a:lnTo>
                        <a:pt x="8" y="2"/>
                      </a:lnTo>
                      <a:lnTo>
                        <a:pt x="8" y="2"/>
                      </a:lnTo>
                      <a:lnTo>
                        <a:pt x="10" y="0"/>
                      </a:lnTo>
                      <a:lnTo>
                        <a:pt x="8" y="0"/>
                      </a:lnTo>
                      <a:lnTo>
                        <a:pt x="2" y="2"/>
                      </a:lnTo>
                      <a:lnTo>
                        <a:pt x="2"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7" name="Freeform 6008"/>
                <p:cNvSpPr>
                  <a:spLocks/>
                </p:cNvSpPr>
                <p:nvPr/>
              </p:nvSpPr>
              <p:spPr bwMode="auto">
                <a:xfrm>
                  <a:off x="2847340" y="3597593"/>
                  <a:ext cx="3810" cy="3810"/>
                </a:xfrm>
                <a:custGeom>
                  <a:avLst/>
                  <a:gdLst/>
                  <a:ahLst/>
                  <a:cxnLst>
                    <a:cxn ang="0">
                      <a:pos x="6" y="0"/>
                    </a:cxn>
                    <a:cxn ang="0">
                      <a:pos x="6" y="0"/>
                    </a:cxn>
                    <a:cxn ang="0">
                      <a:pos x="4" y="0"/>
                    </a:cxn>
                    <a:cxn ang="0">
                      <a:pos x="2" y="2"/>
                    </a:cxn>
                    <a:cxn ang="0">
                      <a:pos x="0" y="4"/>
                    </a:cxn>
                    <a:cxn ang="0">
                      <a:pos x="2" y="6"/>
                    </a:cxn>
                    <a:cxn ang="0">
                      <a:pos x="2" y="6"/>
                    </a:cxn>
                    <a:cxn ang="0">
                      <a:pos x="4" y="4"/>
                    </a:cxn>
                    <a:cxn ang="0">
                      <a:pos x="6" y="0"/>
                    </a:cxn>
                    <a:cxn ang="0">
                      <a:pos x="6" y="0"/>
                    </a:cxn>
                  </a:cxnLst>
                  <a:rect l="0" t="0" r="r" b="b"/>
                  <a:pathLst>
                    <a:path w="6" h="6">
                      <a:moveTo>
                        <a:pt x="6" y="0"/>
                      </a:moveTo>
                      <a:lnTo>
                        <a:pt x="6" y="0"/>
                      </a:lnTo>
                      <a:lnTo>
                        <a:pt x="4" y="0"/>
                      </a:lnTo>
                      <a:lnTo>
                        <a:pt x="2" y="2"/>
                      </a:lnTo>
                      <a:lnTo>
                        <a:pt x="0" y="4"/>
                      </a:lnTo>
                      <a:lnTo>
                        <a:pt x="2" y="6"/>
                      </a:lnTo>
                      <a:lnTo>
                        <a:pt x="2" y="6"/>
                      </a:lnTo>
                      <a:lnTo>
                        <a:pt x="4" y="4"/>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8" name="Freeform 6009"/>
                <p:cNvSpPr>
                  <a:spLocks/>
                </p:cNvSpPr>
                <p:nvPr/>
              </p:nvSpPr>
              <p:spPr bwMode="auto">
                <a:xfrm>
                  <a:off x="2847340" y="3583623"/>
                  <a:ext cx="2540" cy="2540"/>
                </a:xfrm>
                <a:custGeom>
                  <a:avLst/>
                  <a:gdLst/>
                  <a:ahLst/>
                  <a:cxnLst>
                    <a:cxn ang="0">
                      <a:pos x="0" y="2"/>
                    </a:cxn>
                    <a:cxn ang="0">
                      <a:pos x="0" y="2"/>
                    </a:cxn>
                    <a:cxn ang="0">
                      <a:pos x="0" y="4"/>
                    </a:cxn>
                    <a:cxn ang="0">
                      <a:pos x="2" y="4"/>
                    </a:cxn>
                    <a:cxn ang="0">
                      <a:pos x="4" y="2"/>
                    </a:cxn>
                    <a:cxn ang="0">
                      <a:pos x="4" y="2"/>
                    </a:cxn>
                    <a:cxn ang="0">
                      <a:pos x="4" y="0"/>
                    </a:cxn>
                    <a:cxn ang="0">
                      <a:pos x="2" y="0"/>
                    </a:cxn>
                    <a:cxn ang="0">
                      <a:pos x="0" y="2"/>
                    </a:cxn>
                    <a:cxn ang="0">
                      <a:pos x="0" y="2"/>
                    </a:cxn>
                  </a:cxnLst>
                  <a:rect l="0" t="0" r="r" b="b"/>
                  <a:pathLst>
                    <a:path w="4" h="4">
                      <a:moveTo>
                        <a:pt x="0" y="2"/>
                      </a:moveTo>
                      <a:lnTo>
                        <a:pt x="0" y="2"/>
                      </a:lnTo>
                      <a:lnTo>
                        <a:pt x="0" y="4"/>
                      </a:lnTo>
                      <a:lnTo>
                        <a:pt x="2" y="4"/>
                      </a:lnTo>
                      <a:lnTo>
                        <a:pt x="4" y="2"/>
                      </a:lnTo>
                      <a:lnTo>
                        <a:pt x="4" y="2"/>
                      </a:lnTo>
                      <a:lnTo>
                        <a:pt x="4" y="0"/>
                      </a:lnTo>
                      <a:lnTo>
                        <a:pt x="2" y="0"/>
                      </a:lnTo>
                      <a:lnTo>
                        <a:pt x="0" y="2"/>
                      </a:lnTo>
                      <a:lnTo>
                        <a:pt x="0"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9" name="Freeform 6010"/>
                <p:cNvSpPr>
                  <a:spLocks/>
                </p:cNvSpPr>
                <p:nvPr/>
              </p:nvSpPr>
              <p:spPr bwMode="auto">
                <a:xfrm>
                  <a:off x="2843530" y="3587433"/>
                  <a:ext cx="5080" cy="5080"/>
                </a:xfrm>
                <a:custGeom>
                  <a:avLst/>
                  <a:gdLst/>
                  <a:ahLst/>
                  <a:cxnLst>
                    <a:cxn ang="0">
                      <a:pos x="0" y="8"/>
                    </a:cxn>
                    <a:cxn ang="0">
                      <a:pos x="0" y="8"/>
                    </a:cxn>
                    <a:cxn ang="0">
                      <a:pos x="0" y="8"/>
                    </a:cxn>
                    <a:cxn ang="0">
                      <a:pos x="2" y="8"/>
                    </a:cxn>
                    <a:cxn ang="0">
                      <a:pos x="4" y="4"/>
                    </a:cxn>
                    <a:cxn ang="0">
                      <a:pos x="8" y="0"/>
                    </a:cxn>
                    <a:cxn ang="0">
                      <a:pos x="8" y="0"/>
                    </a:cxn>
                    <a:cxn ang="0">
                      <a:pos x="6" y="0"/>
                    </a:cxn>
                    <a:cxn ang="0">
                      <a:pos x="6" y="0"/>
                    </a:cxn>
                    <a:cxn ang="0">
                      <a:pos x="4" y="0"/>
                    </a:cxn>
                    <a:cxn ang="0">
                      <a:pos x="2" y="2"/>
                    </a:cxn>
                    <a:cxn ang="0">
                      <a:pos x="0" y="8"/>
                    </a:cxn>
                    <a:cxn ang="0">
                      <a:pos x="0" y="8"/>
                    </a:cxn>
                  </a:cxnLst>
                  <a:rect l="0" t="0" r="r" b="b"/>
                  <a:pathLst>
                    <a:path w="8" h="8">
                      <a:moveTo>
                        <a:pt x="0" y="8"/>
                      </a:moveTo>
                      <a:lnTo>
                        <a:pt x="0" y="8"/>
                      </a:lnTo>
                      <a:lnTo>
                        <a:pt x="0" y="8"/>
                      </a:lnTo>
                      <a:lnTo>
                        <a:pt x="2" y="8"/>
                      </a:lnTo>
                      <a:lnTo>
                        <a:pt x="4" y="4"/>
                      </a:lnTo>
                      <a:lnTo>
                        <a:pt x="8" y="0"/>
                      </a:lnTo>
                      <a:lnTo>
                        <a:pt x="8" y="0"/>
                      </a:lnTo>
                      <a:lnTo>
                        <a:pt x="6" y="0"/>
                      </a:lnTo>
                      <a:lnTo>
                        <a:pt x="6" y="0"/>
                      </a:lnTo>
                      <a:lnTo>
                        <a:pt x="4" y="0"/>
                      </a:lnTo>
                      <a:lnTo>
                        <a:pt x="2" y="2"/>
                      </a:lnTo>
                      <a:lnTo>
                        <a:pt x="0" y="8"/>
                      </a:lnTo>
                      <a:lnTo>
                        <a:pt x="0"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0" name="Freeform 6011"/>
                <p:cNvSpPr>
                  <a:spLocks/>
                </p:cNvSpPr>
                <p:nvPr/>
              </p:nvSpPr>
              <p:spPr bwMode="auto">
                <a:xfrm>
                  <a:off x="2846070" y="3588703"/>
                  <a:ext cx="3810" cy="3810"/>
                </a:xfrm>
                <a:custGeom>
                  <a:avLst/>
                  <a:gdLst/>
                  <a:ahLst/>
                  <a:cxnLst>
                    <a:cxn ang="0">
                      <a:pos x="4" y="0"/>
                    </a:cxn>
                    <a:cxn ang="0">
                      <a:pos x="4" y="0"/>
                    </a:cxn>
                    <a:cxn ang="0">
                      <a:pos x="2" y="2"/>
                    </a:cxn>
                    <a:cxn ang="0">
                      <a:pos x="2" y="4"/>
                    </a:cxn>
                    <a:cxn ang="0">
                      <a:pos x="0" y="6"/>
                    </a:cxn>
                    <a:cxn ang="0">
                      <a:pos x="2" y="6"/>
                    </a:cxn>
                    <a:cxn ang="0">
                      <a:pos x="2" y="6"/>
                    </a:cxn>
                    <a:cxn ang="0">
                      <a:pos x="4" y="6"/>
                    </a:cxn>
                    <a:cxn ang="0">
                      <a:pos x="6" y="4"/>
                    </a:cxn>
                    <a:cxn ang="0">
                      <a:pos x="6" y="2"/>
                    </a:cxn>
                    <a:cxn ang="0">
                      <a:pos x="4" y="0"/>
                    </a:cxn>
                    <a:cxn ang="0">
                      <a:pos x="4" y="0"/>
                    </a:cxn>
                  </a:cxnLst>
                  <a:rect l="0" t="0" r="r" b="b"/>
                  <a:pathLst>
                    <a:path w="6" h="6">
                      <a:moveTo>
                        <a:pt x="4" y="0"/>
                      </a:moveTo>
                      <a:lnTo>
                        <a:pt x="4" y="0"/>
                      </a:lnTo>
                      <a:lnTo>
                        <a:pt x="2" y="2"/>
                      </a:lnTo>
                      <a:lnTo>
                        <a:pt x="2" y="4"/>
                      </a:lnTo>
                      <a:lnTo>
                        <a:pt x="0" y="6"/>
                      </a:lnTo>
                      <a:lnTo>
                        <a:pt x="2" y="6"/>
                      </a:lnTo>
                      <a:lnTo>
                        <a:pt x="2" y="6"/>
                      </a:lnTo>
                      <a:lnTo>
                        <a:pt x="4" y="6"/>
                      </a:lnTo>
                      <a:lnTo>
                        <a:pt x="6" y="4"/>
                      </a:lnTo>
                      <a:lnTo>
                        <a:pt x="6" y="2"/>
                      </a:lnTo>
                      <a:lnTo>
                        <a:pt x="4" y="0"/>
                      </a:lnTo>
                      <a:lnTo>
                        <a:pt x="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1" name="Freeform 6012"/>
                <p:cNvSpPr>
                  <a:spLocks/>
                </p:cNvSpPr>
                <p:nvPr/>
              </p:nvSpPr>
              <p:spPr bwMode="auto">
                <a:xfrm>
                  <a:off x="2269490" y="2471103"/>
                  <a:ext cx="119380" cy="58420"/>
                </a:xfrm>
                <a:custGeom>
                  <a:avLst/>
                  <a:gdLst/>
                  <a:ahLst/>
                  <a:cxnLst>
                    <a:cxn ang="0">
                      <a:pos x="182" y="0"/>
                    </a:cxn>
                    <a:cxn ang="0">
                      <a:pos x="180" y="4"/>
                    </a:cxn>
                    <a:cxn ang="0">
                      <a:pos x="180" y="8"/>
                    </a:cxn>
                    <a:cxn ang="0">
                      <a:pos x="174" y="10"/>
                    </a:cxn>
                    <a:cxn ang="0">
                      <a:pos x="154" y="12"/>
                    </a:cxn>
                    <a:cxn ang="0">
                      <a:pos x="130" y="16"/>
                    </a:cxn>
                    <a:cxn ang="0">
                      <a:pos x="126" y="20"/>
                    </a:cxn>
                    <a:cxn ang="0">
                      <a:pos x="126" y="26"/>
                    </a:cxn>
                    <a:cxn ang="0">
                      <a:pos x="132" y="30"/>
                    </a:cxn>
                    <a:cxn ang="0">
                      <a:pos x="112" y="26"/>
                    </a:cxn>
                    <a:cxn ang="0">
                      <a:pos x="98" y="24"/>
                    </a:cxn>
                    <a:cxn ang="0">
                      <a:pos x="82" y="26"/>
                    </a:cxn>
                    <a:cxn ang="0">
                      <a:pos x="68" y="38"/>
                    </a:cxn>
                    <a:cxn ang="0">
                      <a:pos x="60" y="46"/>
                    </a:cxn>
                    <a:cxn ang="0">
                      <a:pos x="50" y="50"/>
                    </a:cxn>
                    <a:cxn ang="0">
                      <a:pos x="40" y="60"/>
                    </a:cxn>
                    <a:cxn ang="0">
                      <a:pos x="38" y="62"/>
                    </a:cxn>
                    <a:cxn ang="0">
                      <a:pos x="32" y="58"/>
                    </a:cxn>
                    <a:cxn ang="0">
                      <a:pos x="26" y="58"/>
                    </a:cxn>
                    <a:cxn ang="0">
                      <a:pos x="18" y="56"/>
                    </a:cxn>
                    <a:cxn ang="0">
                      <a:pos x="16" y="52"/>
                    </a:cxn>
                    <a:cxn ang="0">
                      <a:pos x="18" y="46"/>
                    </a:cxn>
                    <a:cxn ang="0">
                      <a:pos x="26" y="44"/>
                    </a:cxn>
                    <a:cxn ang="0">
                      <a:pos x="36" y="42"/>
                    </a:cxn>
                    <a:cxn ang="0">
                      <a:pos x="44" y="36"/>
                    </a:cxn>
                    <a:cxn ang="0">
                      <a:pos x="40" y="32"/>
                    </a:cxn>
                    <a:cxn ang="0">
                      <a:pos x="34" y="30"/>
                    </a:cxn>
                    <a:cxn ang="0">
                      <a:pos x="30" y="20"/>
                    </a:cxn>
                    <a:cxn ang="0">
                      <a:pos x="24" y="30"/>
                    </a:cxn>
                    <a:cxn ang="0">
                      <a:pos x="20" y="36"/>
                    </a:cxn>
                    <a:cxn ang="0">
                      <a:pos x="14" y="42"/>
                    </a:cxn>
                    <a:cxn ang="0">
                      <a:pos x="10" y="50"/>
                    </a:cxn>
                    <a:cxn ang="0">
                      <a:pos x="4" y="66"/>
                    </a:cxn>
                    <a:cxn ang="0">
                      <a:pos x="0" y="76"/>
                    </a:cxn>
                    <a:cxn ang="0">
                      <a:pos x="2" y="78"/>
                    </a:cxn>
                    <a:cxn ang="0">
                      <a:pos x="12" y="80"/>
                    </a:cxn>
                    <a:cxn ang="0">
                      <a:pos x="28" y="84"/>
                    </a:cxn>
                    <a:cxn ang="0">
                      <a:pos x="28" y="84"/>
                    </a:cxn>
                    <a:cxn ang="0">
                      <a:pos x="24" y="86"/>
                    </a:cxn>
                    <a:cxn ang="0">
                      <a:pos x="18" y="88"/>
                    </a:cxn>
                    <a:cxn ang="0">
                      <a:pos x="20" y="90"/>
                    </a:cxn>
                    <a:cxn ang="0">
                      <a:pos x="42" y="92"/>
                    </a:cxn>
                    <a:cxn ang="0">
                      <a:pos x="82" y="82"/>
                    </a:cxn>
                    <a:cxn ang="0">
                      <a:pos x="102" y="70"/>
                    </a:cxn>
                    <a:cxn ang="0">
                      <a:pos x="130" y="54"/>
                    </a:cxn>
                    <a:cxn ang="0">
                      <a:pos x="140" y="50"/>
                    </a:cxn>
                    <a:cxn ang="0">
                      <a:pos x="164" y="36"/>
                    </a:cxn>
                    <a:cxn ang="0">
                      <a:pos x="184" y="20"/>
                    </a:cxn>
                    <a:cxn ang="0">
                      <a:pos x="188" y="8"/>
                    </a:cxn>
                    <a:cxn ang="0">
                      <a:pos x="184" y="0"/>
                    </a:cxn>
                    <a:cxn ang="0">
                      <a:pos x="182" y="0"/>
                    </a:cxn>
                  </a:cxnLst>
                  <a:rect l="0" t="0" r="r" b="b"/>
                  <a:pathLst>
                    <a:path w="188" h="92">
                      <a:moveTo>
                        <a:pt x="182" y="0"/>
                      </a:moveTo>
                      <a:lnTo>
                        <a:pt x="182" y="0"/>
                      </a:lnTo>
                      <a:lnTo>
                        <a:pt x="180" y="2"/>
                      </a:lnTo>
                      <a:lnTo>
                        <a:pt x="180" y="4"/>
                      </a:lnTo>
                      <a:lnTo>
                        <a:pt x="180" y="8"/>
                      </a:lnTo>
                      <a:lnTo>
                        <a:pt x="180" y="8"/>
                      </a:lnTo>
                      <a:lnTo>
                        <a:pt x="178" y="10"/>
                      </a:lnTo>
                      <a:lnTo>
                        <a:pt x="174" y="10"/>
                      </a:lnTo>
                      <a:lnTo>
                        <a:pt x="154" y="12"/>
                      </a:lnTo>
                      <a:lnTo>
                        <a:pt x="154" y="12"/>
                      </a:lnTo>
                      <a:lnTo>
                        <a:pt x="134" y="14"/>
                      </a:lnTo>
                      <a:lnTo>
                        <a:pt x="130" y="16"/>
                      </a:lnTo>
                      <a:lnTo>
                        <a:pt x="126" y="20"/>
                      </a:lnTo>
                      <a:lnTo>
                        <a:pt x="126" y="20"/>
                      </a:lnTo>
                      <a:lnTo>
                        <a:pt x="126" y="22"/>
                      </a:lnTo>
                      <a:lnTo>
                        <a:pt x="126" y="26"/>
                      </a:lnTo>
                      <a:lnTo>
                        <a:pt x="130" y="28"/>
                      </a:lnTo>
                      <a:lnTo>
                        <a:pt x="132" y="30"/>
                      </a:lnTo>
                      <a:lnTo>
                        <a:pt x="128" y="30"/>
                      </a:lnTo>
                      <a:lnTo>
                        <a:pt x="112" y="26"/>
                      </a:lnTo>
                      <a:lnTo>
                        <a:pt x="112" y="26"/>
                      </a:lnTo>
                      <a:lnTo>
                        <a:pt x="98" y="24"/>
                      </a:lnTo>
                      <a:lnTo>
                        <a:pt x="90" y="24"/>
                      </a:lnTo>
                      <a:lnTo>
                        <a:pt x="82" y="26"/>
                      </a:lnTo>
                      <a:lnTo>
                        <a:pt x="76" y="30"/>
                      </a:lnTo>
                      <a:lnTo>
                        <a:pt x="68" y="38"/>
                      </a:lnTo>
                      <a:lnTo>
                        <a:pt x="64" y="42"/>
                      </a:lnTo>
                      <a:lnTo>
                        <a:pt x="60" y="46"/>
                      </a:lnTo>
                      <a:lnTo>
                        <a:pt x="60" y="46"/>
                      </a:lnTo>
                      <a:lnTo>
                        <a:pt x="50" y="50"/>
                      </a:lnTo>
                      <a:lnTo>
                        <a:pt x="44" y="54"/>
                      </a:lnTo>
                      <a:lnTo>
                        <a:pt x="40" y="60"/>
                      </a:lnTo>
                      <a:lnTo>
                        <a:pt x="40" y="60"/>
                      </a:lnTo>
                      <a:lnTo>
                        <a:pt x="38" y="62"/>
                      </a:lnTo>
                      <a:lnTo>
                        <a:pt x="36" y="60"/>
                      </a:lnTo>
                      <a:lnTo>
                        <a:pt x="32" y="58"/>
                      </a:lnTo>
                      <a:lnTo>
                        <a:pt x="26" y="58"/>
                      </a:lnTo>
                      <a:lnTo>
                        <a:pt x="26" y="58"/>
                      </a:lnTo>
                      <a:lnTo>
                        <a:pt x="22" y="58"/>
                      </a:lnTo>
                      <a:lnTo>
                        <a:pt x="18" y="56"/>
                      </a:lnTo>
                      <a:lnTo>
                        <a:pt x="16" y="54"/>
                      </a:lnTo>
                      <a:lnTo>
                        <a:pt x="16" y="52"/>
                      </a:lnTo>
                      <a:lnTo>
                        <a:pt x="16" y="48"/>
                      </a:lnTo>
                      <a:lnTo>
                        <a:pt x="18" y="46"/>
                      </a:lnTo>
                      <a:lnTo>
                        <a:pt x="20" y="44"/>
                      </a:lnTo>
                      <a:lnTo>
                        <a:pt x="26" y="44"/>
                      </a:lnTo>
                      <a:lnTo>
                        <a:pt x="26" y="44"/>
                      </a:lnTo>
                      <a:lnTo>
                        <a:pt x="36" y="42"/>
                      </a:lnTo>
                      <a:lnTo>
                        <a:pt x="42" y="38"/>
                      </a:lnTo>
                      <a:lnTo>
                        <a:pt x="44" y="36"/>
                      </a:lnTo>
                      <a:lnTo>
                        <a:pt x="42" y="34"/>
                      </a:lnTo>
                      <a:lnTo>
                        <a:pt x="40" y="32"/>
                      </a:lnTo>
                      <a:lnTo>
                        <a:pt x="34" y="30"/>
                      </a:lnTo>
                      <a:lnTo>
                        <a:pt x="34" y="30"/>
                      </a:lnTo>
                      <a:lnTo>
                        <a:pt x="32" y="22"/>
                      </a:lnTo>
                      <a:lnTo>
                        <a:pt x="30" y="20"/>
                      </a:lnTo>
                      <a:lnTo>
                        <a:pt x="28" y="22"/>
                      </a:lnTo>
                      <a:lnTo>
                        <a:pt x="24" y="30"/>
                      </a:lnTo>
                      <a:lnTo>
                        <a:pt x="24" y="30"/>
                      </a:lnTo>
                      <a:lnTo>
                        <a:pt x="20" y="36"/>
                      </a:lnTo>
                      <a:lnTo>
                        <a:pt x="16" y="40"/>
                      </a:lnTo>
                      <a:lnTo>
                        <a:pt x="14" y="42"/>
                      </a:lnTo>
                      <a:lnTo>
                        <a:pt x="10" y="50"/>
                      </a:lnTo>
                      <a:lnTo>
                        <a:pt x="10" y="50"/>
                      </a:lnTo>
                      <a:lnTo>
                        <a:pt x="8" y="60"/>
                      </a:lnTo>
                      <a:lnTo>
                        <a:pt x="4" y="66"/>
                      </a:lnTo>
                      <a:lnTo>
                        <a:pt x="2" y="72"/>
                      </a:lnTo>
                      <a:lnTo>
                        <a:pt x="0" y="76"/>
                      </a:lnTo>
                      <a:lnTo>
                        <a:pt x="0" y="76"/>
                      </a:lnTo>
                      <a:lnTo>
                        <a:pt x="2" y="78"/>
                      </a:lnTo>
                      <a:lnTo>
                        <a:pt x="4" y="80"/>
                      </a:lnTo>
                      <a:lnTo>
                        <a:pt x="12" y="80"/>
                      </a:lnTo>
                      <a:lnTo>
                        <a:pt x="20" y="82"/>
                      </a:lnTo>
                      <a:lnTo>
                        <a:pt x="28" y="84"/>
                      </a:lnTo>
                      <a:lnTo>
                        <a:pt x="28" y="84"/>
                      </a:lnTo>
                      <a:lnTo>
                        <a:pt x="28" y="84"/>
                      </a:lnTo>
                      <a:lnTo>
                        <a:pt x="28" y="86"/>
                      </a:lnTo>
                      <a:lnTo>
                        <a:pt x="24" y="86"/>
                      </a:lnTo>
                      <a:lnTo>
                        <a:pt x="18" y="88"/>
                      </a:lnTo>
                      <a:lnTo>
                        <a:pt x="18" y="88"/>
                      </a:lnTo>
                      <a:lnTo>
                        <a:pt x="20" y="90"/>
                      </a:lnTo>
                      <a:lnTo>
                        <a:pt x="20" y="90"/>
                      </a:lnTo>
                      <a:lnTo>
                        <a:pt x="28" y="92"/>
                      </a:lnTo>
                      <a:lnTo>
                        <a:pt x="42" y="92"/>
                      </a:lnTo>
                      <a:lnTo>
                        <a:pt x="60" y="88"/>
                      </a:lnTo>
                      <a:lnTo>
                        <a:pt x="82" y="82"/>
                      </a:lnTo>
                      <a:lnTo>
                        <a:pt x="82" y="82"/>
                      </a:lnTo>
                      <a:lnTo>
                        <a:pt x="102" y="70"/>
                      </a:lnTo>
                      <a:lnTo>
                        <a:pt x="118" y="60"/>
                      </a:lnTo>
                      <a:lnTo>
                        <a:pt x="130" y="54"/>
                      </a:lnTo>
                      <a:lnTo>
                        <a:pt x="140" y="50"/>
                      </a:lnTo>
                      <a:lnTo>
                        <a:pt x="140" y="50"/>
                      </a:lnTo>
                      <a:lnTo>
                        <a:pt x="152" y="44"/>
                      </a:lnTo>
                      <a:lnTo>
                        <a:pt x="164" y="36"/>
                      </a:lnTo>
                      <a:lnTo>
                        <a:pt x="184" y="20"/>
                      </a:lnTo>
                      <a:lnTo>
                        <a:pt x="184" y="20"/>
                      </a:lnTo>
                      <a:lnTo>
                        <a:pt x="186" y="14"/>
                      </a:lnTo>
                      <a:lnTo>
                        <a:pt x="188" y="8"/>
                      </a:lnTo>
                      <a:lnTo>
                        <a:pt x="186" y="2"/>
                      </a:lnTo>
                      <a:lnTo>
                        <a:pt x="184" y="0"/>
                      </a:lnTo>
                      <a:lnTo>
                        <a:pt x="182" y="0"/>
                      </a:lnTo>
                      <a:lnTo>
                        <a:pt x="18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2" name="Freeform 6013"/>
                <p:cNvSpPr>
                  <a:spLocks/>
                </p:cNvSpPr>
                <p:nvPr/>
              </p:nvSpPr>
              <p:spPr bwMode="auto">
                <a:xfrm>
                  <a:off x="2048510" y="2253933"/>
                  <a:ext cx="318770" cy="267970"/>
                </a:xfrm>
                <a:custGeom>
                  <a:avLst/>
                  <a:gdLst/>
                  <a:ahLst/>
                  <a:cxnLst>
                    <a:cxn ang="0">
                      <a:pos x="50" y="120"/>
                    </a:cxn>
                    <a:cxn ang="0">
                      <a:pos x="52" y="140"/>
                    </a:cxn>
                    <a:cxn ang="0">
                      <a:pos x="106" y="128"/>
                    </a:cxn>
                    <a:cxn ang="0">
                      <a:pos x="144" y="110"/>
                    </a:cxn>
                    <a:cxn ang="0">
                      <a:pos x="164" y="120"/>
                    </a:cxn>
                    <a:cxn ang="0">
                      <a:pos x="200" y="146"/>
                    </a:cxn>
                    <a:cxn ang="0">
                      <a:pos x="242" y="138"/>
                    </a:cxn>
                    <a:cxn ang="0">
                      <a:pos x="286" y="142"/>
                    </a:cxn>
                    <a:cxn ang="0">
                      <a:pos x="316" y="154"/>
                    </a:cxn>
                    <a:cxn ang="0">
                      <a:pos x="328" y="176"/>
                    </a:cxn>
                    <a:cxn ang="0">
                      <a:pos x="298" y="180"/>
                    </a:cxn>
                    <a:cxn ang="0">
                      <a:pos x="262" y="170"/>
                    </a:cxn>
                    <a:cxn ang="0">
                      <a:pos x="220" y="194"/>
                    </a:cxn>
                    <a:cxn ang="0">
                      <a:pos x="210" y="188"/>
                    </a:cxn>
                    <a:cxn ang="0">
                      <a:pos x="186" y="218"/>
                    </a:cxn>
                    <a:cxn ang="0">
                      <a:pos x="166" y="250"/>
                    </a:cxn>
                    <a:cxn ang="0">
                      <a:pos x="188" y="240"/>
                    </a:cxn>
                    <a:cxn ang="0">
                      <a:pos x="184" y="276"/>
                    </a:cxn>
                    <a:cxn ang="0">
                      <a:pos x="174" y="316"/>
                    </a:cxn>
                    <a:cxn ang="0">
                      <a:pos x="172" y="390"/>
                    </a:cxn>
                    <a:cxn ang="0">
                      <a:pos x="206" y="420"/>
                    </a:cxn>
                    <a:cxn ang="0">
                      <a:pos x="238" y="354"/>
                    </a:cxn>
                    <a:cxn ang="0">
                      <a:pos x="228" y="292"/>
                    </a:cxn>
                    <a:cxn ang="0">
                      <a:pos x="236" y="258"/>
                    </a:cxn>
                    <a:cxn ang="0">
                      <a:pos x="260" y="226"/>
                    </a:cxn>
                    <a:cxn ang="0">
                      <a:pos x="270" y="230"/>
                    </a:cxn>
                    <a:cxn ang="0">
                      <a:pos x="284" y="204"/>
                    </a:cxn>
                    <a:cxn ang="0">
                      <a:pos x="304" y="190"/>
                    </a:cxn>
                    <a:cxn ang="0">
                      <a:pos x="334" y="208"/>
                    </a:cxn>
                    <a:cxn ang="0">
                      <a:pos x="350" y="232"/>
                    </a:cxn>
                    <a:cxn ang="0">
                      <a:pos x="342" y="282"/>
                    </a:cxn>
                    <a:cxn ang="0">
                      <a:pos x="340" y="312"/>
                    </a:cxn>
                    <a:cxn ang="0">
                      <a:pos x="366" y="288"/>
                    </a:cxn>
                    <a:cxn ang="0">
                      <a:pos x="390" y="344"/>
                    </a:cxn>
                    <a:cxn ang="0">
                      <a:pos x="418" y="288"/>
                    </a:cxn>
                    <a:cxn ang="0">
                      <a:pos x="432" y="236"/>
                    </a:cxn>
                    <a:cxn ang="0">
                      <a:pos x="432" y="218"/>
                    </a:cxn>
                    <a:cxn ang="0">
                      <a:pos x="444" y="234"/>
                    </a:cxn>
                    <a:cxn ang="0">
                      <a:pos x="450" y="246"/>
                    </a:cxn>
                    <a:cxn ang="0">
                      <a:pos x="472" y="256"/>
                    </a:cxn>
                    <a:cxn ang="0">
                      <a:pos x="484" y="246"/>
                    </a:cxn>
                    <a:cxn ang="0">
                      <a:pos x="500" y="250"/>
                    </a:cxn>
                    <a:cxn ang="0">
                      <a:pos x="486" y="218"/>
                    </a:cxn>
                    <a:cxn ang="0">
                      <a:pos x="468" y="196"/>
                    </a:cxn>
                    <a:cxn ang="0">
                      <a:pos x="426" y="172"/>
                    </a:cxn>
                    <a:cxn ang="0">
                      <a:pos x="388" y="166"/>
                    </a:cxn>
                    <a:cxn ang="0">
                      <a:pos x="324" y="148"/>
                    </a:cxn>
                    <a:cxn ang="0">
                      <a:pos x="304" y="140"/>
                    </a:cxn>
                    <a:cxn ang="0">
                      <a:pos x="306" y="122"/>
                    </a:cxn>
                    <a:cxn ang="0">
                      <a:pos x="302" y="98"/>
                    </a:cxn>
                    <a:cxn ang="0">
                      <a:pos x="290" y="62"/>
                    </a:cxn>
                    <a:cxn ang="0">
                      <a:pos x="244" y="50"/>
                    </a:cxn>
                    <a:cxn ang="0">
                      <a:pos x="214" y="14"/>
                    </a:cxn>
                    <a:cxn ang="0">
                      <a:pos x="162" y="0"/>
                    </a:cxn>
                    <a:cxn ang="0">
                      <a:pos x="158" y="24"/>
                    </a:cxn>
                    <a:cxn ang="0">
                      <a:pos x="150" y="8"/>
                    </a:cxn>
                    <a:cxn ang="0">
                      <a:pos x="132" y="34"/>
                    </a:cxn>
                    <a:cxn ang="0">
                      <a:pos x="118" y="36"/>
                    </a:cxn>
                    <a:cxn ang="0">
                      <a:pos x="46" y="86"/>
                    </a:cxn>
                    <a:cxn ang="0">
                      <a:pos x="4" y="134"/>
                    </a:cxn>
                  </a:cxnLst>
                  <a:rect l="0" t="0" r="r" b="b"/>
                  <a:pathLst>
                    <a:path w="502" h="422">
                      <a:moveTo>
                        <a:pt x="4" y="134"/>
                      </a:moveTo>
                      <a:lnTo>
                        <a:pt x="4" y="134"/>
                      </a:lnTo>
                      <a:lnTo>
                        <a:pt x="10" y="134"/>
                      </a:lnTo>
                      <a:lnTo>
                        <a:pt x="16" y="134"/>
                      </a:lnTo>
                      <a:lnTo>
                        <a:pt x="28" y="128"/>
                      </a:lnTo>
                      <a:lnTo>
                        <a:pt x="40" y="122"/>
                      </a:lnTo>
                      <a:lnTo>
                        <a:pt x="46" y="120"/>
                      </a:lnTo>
                      <a:lnTo>
                        <a:pt x="50" y="120"/>
                      </a:lnTo>
                      <a:lnTo>
                        <a:pt x="50" y="120"/>
                      </a:lnTo>
                      <a:lnTo>
                        <a:pt x="52" y="122"/>
                      </a:lnTo>
                      <a:lnTo>
                        <a:pt x="54" y="124"/>
                      </a:lnTo>
                      <a:lnTo>
                        <a:pt x="50" y="132"/>
                      </a:lnTo>
                      <a:lnTo>
                        <a:pt x="46" y="140"/>
                      </a:lnTo>
                      <a:lnTo>
                        <a:pt x="48" y="142"/>
                      </a:lnTo>
                      <a:lnTo>
                        <a:pt x="52" y="140"/>
                      </a:lnTo>
                      <a:lnTo>
                        <a:pt x="52" y="140"/>
                      </a:lnTo>
                      <a:lnTo>
                        <a:pt x="60" y="140"/>
                      </a:lnTo>
                      <a:lnTo>
                        <a:pt x="68" y="142"/>
                      </a:lnTo>
                      <a:lnTo>
                        <a:pt x="76" y="140"/>
                      </a:lnTo>
                      <a:lnTo>
                        <a:pt x="86" y="134"/>
                      </a:lnTo>
                      <a:lnTo>
                        <a:pt x="86" y="134"/>
                      </a:lnTo>
                      <a:lnTo>
                        <a:pt x="92" y="130"/>
                      </a:lnTo>
                      <a:lnTo>
                        <a:pt x="98" y="128"/>
                      </a:lnTo>
                      <a:lnTo>
                        <a:pt x="106" y="128"/>
                      </a:lnTo>
                      <a:lnTo>
                        <a:pt x="112" y="126"/>
                      </a:lnTo>
                      <a:lnTo>
                        <a:pt x="118" y="124"/>
                      </a:lnTo>
                      <a:lnTo>
                        <a:pt x="122" y="120"/>
                      </a:lnTo>
                      <a:lnTo>
                        <a:pt x="122" y="120"/>
                      </a:lnTo>
                      <a:lnTo>
                        <a:pt x="132" y="110"/>
                      </a:lnTo>
                      <a:lnTo>
                        <a:pt x="140" y="106"/>
                      </a:lnTo>
                      <a:lnTo>
                        <a:pt x="142" y="108"/>
                      </a:lnTo>
                      <a:lnTo>
                        <a:pt x="144" y="110"/>
                      </a:lnTo>
                      <a:lnTo>
                        <a:pt x="146" y="120"/>
                      </a:lnTo>
                      <a:lnTo>
                        <a:pt x="146" y="120"/>
                      </a:lnTo>
                      <a:lnTo>
                        <a:pt x="148" y="124"/>
                      </a:lnTo>
                      <a:lnTo>
                        <a:pt x="148" y="126"/>
                      </a:lnTo>
                      <a:lnTo>
                        <a:pt x="150" y="126"/>
                      </a:lnTo>
                      <a:lnTo>
                        <a:pt x="152" y="124"/>
                      </a:lnTo>
                      <a:lnTo>
                        <a:pt x="160" y="120"/>
                      </a:lnTo>
                      <a:lnTo>
                        <a:pt x="164" y="120"/>
                      </a:lnTo>
                      <a:lnTo>
                        <a:pt x="170" y="122"/>
                      </a:lnTo>
                      <a:lnTo>
                        <a:pt x="170" y="122"/>
                      </a:lnTo>
                      <a:lnTo>
                        <a:pt x="176" y="124"/>
                      </a:lnTo>
                      <a:lnTo>
                        <a:pt x="180" y="128"/>
                      </a:lnTo>
                      <a:lnTo>
                        <a:pt x="186" y="138"/>
                      </a:lnTo>
                      <a:lnTo>
                        <a:pt x="192" y="144"/>
                      </a:lnTo>
                      <a:lnTo>
                        <a:pt x="194" y="146"/>
                      </a:lnTo>
                      <a:lnTo>
                        <a:pt x="200" y="146"/>
                      </a:lnTo>
                      <a:lnTo>
                        <a:pt x="200" y="146"/>
                      </a:lnTo>
                      <a:lnTo>
                        <a:pt x="210" y="148"/>
                      </a:lnTo>
                      <a:lnTo>
                        <a:pt x="216" y="148"/>
                      </a:lnTo>
                      <a:lnTo>
                        <a:pt x="222" y="148"/>
                      </a:lnTo>
                      <a:lnTo>
                        <a:pt x="230" y="144"/>
                      </a:lnTo>
                      <a:lnTo>
                        <a:pt x="230" y="144"/>
                      </a:lnTo>
                      <a:lnTo>
                        <a:pt x="236" y="140"/>
                      </a:lnTo>
                      <a:lnTo>
                        <a:pt x="242" y="138"/>
                      </a:lnTo>
                      <a:lnTo>
                        <a:pt x="256" y="136"/>
                      </a:lnTo>
                      <a:lnTo>
                        <a:pt x="272" y="134"/>
                      </a:lnTo>
                      <a:lnTo>
                        <a:pt x="282" y="132"/>
                      </a:lnTo>
                      <a:lnTo>
                        <a:pt x="282" y="132"/>
                      </a:lnTo>
                      <a:lnTo>
                        <a:pt x="286" y="130"/>
                      </a:lnTo>
                      <a:lnTo>
                        <a:pt x="288" y="130"/>
                      </a:lnTo>
                      <a:lnTo>
                        <a:pt x="286" y="136"/>
                      </a:lnTo>
                      <a:lnTo>
                        <a:pt x="286" y="142"/>
                      </a:lnTo>
                      <a:lnTo>
                        <a:pt x="288" y="144"/>
                      </a:lnTo>
                      <a:lnTo>
                        <a:pt x="290" y="146"/>
                      </a:lnTo>
                      <a:lnTo>
                        <a:pt x="290" y="146"/>
                      </a:lnTo>
                      <a:lnTo>
                        <a:pt x="302" y="150"/>
                      </a:lnTo>
                      <a:lnTo>
                        <a:pt x="310" y="150"/>
                      </a:lnTo>
                      <a:lnTo>
                        <a:pt x="314" y="150"/>
                      </a:lnTo>
                      <a:lnTo>
                        <a:pt x="316" y="150"/>
                      </a:lnTo>
                      <a:lnTo>
                        <a:pt x="316" y="154"/>
                      </a:lnTo>
                      <a:lnTo>
                        <a:pt x="316" y="154"/>
                      </a:lnTo>
                      <a:lnTo>
                        <a:pt x="318" y="162"/>
                      </a:lnTo>
                      <a:lnTo>
                        <a:pt x="322" y="164"/>
                      </a:lnTo>
                      <a:lnTo>
                        <a:pt x="326" y="166"/>
                      </a:lnTo>
                      <a:lnTo>
                        <a:pt x="330" y="170"/>
                      </a:lnTo>
                      <a:lnTo>
                        <a:pt x="330" y="170"/>
                      </a:lnTo>
                      <a:lnTo>
                        <a:pt x="330" y="174"/>
                      </a:lnTo>
                      <a:lnTo>
                        <a:pt x="328" y="176"/>
                      </a:lnTo>
                      <a:lnTo>
                        <a:pt x="322" y="178"/>
                      </a:lnTo>
                      <a:lnTo>
                        <a:pt x="312" y="176"/>
                      </a:lnTo>
                      <a:lnTo>
                        <a:pt x="304" y="172"/>
                      </a:lnTo>
                      <a:lnTo>
                        <a:pt x="304" y="172"/>
                      </a:lnTo>
                      <a:lnTo>
                        <a:pt x="302" y="172"/>
                      </a:lnTo>
                      <a:lnTo>
                        <a:pt x="300" y="174"/>
                      </a:lnTo>
                      <a:lnTo>
                        <a:pt x="300" y="178"/>
                      </a:lnTo>
                      <a:lnTo>
                        <a:pt x="298" y="180"/>
                      </a:lnTo>
                      <a:lnTo>
                        <a:pt x="296" y="182"/>
                      </a:lnTo>
                      <a:lnTo>
                        <a:pt x="294" y="182"/>
                      </a:lnTo>
                      <a:lnTo>
                        <a:pt x="288" y="178"/>
                      </a:lnTo>
                      <a:lnTo>
                        <a:pt x="288" y="178"/>
                      </a:lnTo>
                      <a:lnTo>
                        <a:pt x="278" y="172"/>
                      </a:lnTo>
                      <a:lnTo>
                        <a:pt x="270" y="170"/>
                      </a:lnTo>
                      <a:lnTo>
                        <a:pt x="266" y="168"/>
                      </a:lnTo>
                      <a:lnTo>
                        <a:pt x="262" y="170"/>
                      </a:lnTo>
                      <a:lnTo>
                        <a:pt x="256" y="176"/>
                      </a:lnTo>
                      <a:lnTo>
                        <a:pt x="252" y="176"/>
                      </a:lnTo>
                      <a:lnTo>
                        <a:pt x="242" y="176"/>
                      </a:lnTo>
                      <a:lnTo>
                        <a:pt x="242" y="176"/>
                      </a:lnTo>
                      <a:lnTo>
                        <a:pt x="238" y="178"/>
                      </a:lnTo>
                      <a:lnTo>
                        <a:pt x="234" y="180"/>
                      </a:lnTo>
                      <a:lnTo>
                        <a:pt x="226" y="188"/>
                      </a:lnTo>
                      <a:lnTo>
                        <a:pt x="220" y="194"/>
                      </a:lnTo>
                      <a:lnTo>
                        <a:pt x="220" y="194"/>
                      </a:lnTo>
                      <a:lnTo>
                        <a:pt x="220" y="190"/>
                      </a:lnTo>
                      <a:lnTo>
                        <a:pt x="220" y="190"/>
                      </a:lnTo>
                      <a:lnTo>
                        <a:pt x="222" y="184"/>
                      </a:lnTo>
                      <a:lnTo>
                        <a:pt x="220" y="184"/>
                      </a:lnTo>
                      <a:lnTo>
                        <a:pt x="216" y="186"/>
                      </a:lnTo>
                      <a:lnTo>
                        <a:pt x="212" y="188"/>
                      </a:lnTo>
                      <a:lnTo>
                        <a:pt x="210" y="188"/>
                      </a:lnTo>
                      <a:lnTo>
                        <a:pt x="208" y="184"/>
                      </a:lnTo>
                      <a:lnTo>
                        <a:pt x="208" y="184"/>
                      </a:lnTo>
                      <a:lnTo>
                        <a:pt x="208" y="182"/>
                      </a:lnTo>
                      <a:lnTo>
                        <a:pt x="206" y="184"/>
                      </a:lnTo>
                      <a:lnTo>
                        <a:pt x="200" y="192"/>
                      </a:lnTo>
                      <a:lnTo>
                        <a:pt x="194" y="206"/>
                      </a:lnTo>
                      <a:lnTo>
                        <a:pt x="186" y="218"/>
                      </a:lnTo>
                      <a:lnTo>
                        <a:pt x="186" y="218"/>
                      </a:lnTo>
                      <a:lnTo>
                        <a:pt x="182" y="224"/>
                      </a:lnTo>
                      <a:lnTo>
                        <a:pt x="180" y="228"/>
                      </a:lnTo>
                      <a:lnTo>
                        <a:pt x="178" y="232"/>
                      </a:lnTo>
                      <a:lnTo>
                        <a:pt x="174" y="234"/>
                      </a:lnTo>
                      <a:lnTo>
                        <a:pt x="174" y="234"/>
                      </a:lnTo>
                      <a:lnTo>
                        <a:pt x="172" y="238"/>
                      </a:lnTo>
                      <a:lnTo>
                        <a:pt x="168" y="242"/>
                      </a:lnTo>
                      <a:lnTo>
                        <a:pt x="166" y="250"/>
                      </a:lnTo>
                      <a:lnTo>
                        <a:pt x="166" y="258"/>
                      </a:lnTo>
                      <a:lnTo>
                        <a:pt x="168" y="258"/>
                      </a:lnTo>
                      <a:lnTo>
                        <a:pt x="170" y="256"/>
                      </a:lnTo>
                      <a:lnTo>
                        <a:pt x="170" y="256"/>
                      </a:lnTo>
                      <a:lnTo>
                        <a:pt x="176" y="250"/>
                      </a:lnTo>
                      <a:lnTo>
                        <a:pt x="180" y="244"/>
                      </a:lnTo>
                      <a:lnTo>
                        <a:pt x="182" y="240"/>
                      </a:lnTo>
                      <a:lnTo>
                        <a:pt x="188" y="240"/>
                      </a:lnTo>
                      <a:lnTo>
                        <a:pt x="188" y="240"/>
                      </a:lnTo>
                      <a:lnTo>
                        <a:pt x="190" y="244"/>
                      </a:lnTo>
                      <a:lnTo>
                        <a:pt x="190" y="246"/>
                      </a:lnTo>
                      <a:lnTo>
                        <a:pt x="188" y="256"/>
                      </a:lnTo>
                      <a:lnTo>
                        <a:pt x="184" y="268"/>
                      </a:lnTo>
                      <a:lnTo>
                        <a:pt x="182" y="272"/>
                      </a:lnTo>
                      <a:lnTo>
                        <a:pt x="184" y="276"/>
                      </a:lnTo>
                      <a:lnTo>
                        <a:pt x="184" y="276"/>
                      </a:lnTo>
                      <a:lnTo>
                        <a:pt x="184" y="282"/>
                      </a:lnTo>
                      <a:lnTo>
                        <a:pt x="182" y="284"/>
                      </a:lnTo>
                      <a:lnTo>
                        <a:pt x="180" y="284"/>
                      </a:lnTo>
                      <a:lnTo>
                        <a:pt x="178" y="288"/>
                      </a:lnTo>
                      <a:lnTo>
                        <a:pt x="176" y="294"/>
                      </a:lnTo>
                      <a:lnTo>
                        <a:pt x="176" y="302"/>
                      </a:lnTo>
                      <a:lnTo>
                        <a:pt x="176" y="302"/>
                      </a:lnTo>
                      <a:lnTo>
                        <a:pt x="174" y="316"/>
                      </a:lnTo>
                      <a:lnTo>
                        <a:pt x="170" y="326"/>
                      </a:lnTo>
                      <a:lnTo>
                        <a:pt x="170" y="334"/>
                      </a:lnTo>
                      <a:lnTo>
                        <a:pt x="172" y="348"/>
                      </a:lnTo>
                      <a:lnTo>
                        <a:pt x="172" y="348"/>
                      </a:lnTo>
                      <a:lnTo>
                        <a:pt x="172" y="356"/>
                      </a:lnTo>
                      <a:lnTo>
                        <a:pt x="172" y="364"/>
                      </a:lnTo>
                      <a:lnTo>
                        <a:pt x="172" y="376"/>
                      </a:lnTo>
                      <a:lnTo>
                        <a:pt x="172" y="390"/>
                      </a:lnTo>
                      <a:lnTo>
                        <a:pt x="174" y="396"/>
                      </a:lnTo>
                      <a:lnTo>
                        <a:pt x="178" y="406"/>
                      </a:lnTo>
                      <a:lnTo>
                        <a:pt x="178" y="406"/>
                      </a:lnTo>
                      <a:lnTo>
                        <a:pt x="184" y="414"/>
                      </a:lnTo>
                      <a:lnTo>
                        <a:pt x="188" y="418"/>
                      </a:lnTo>
                      <a:lnTo>
                        <a:pt x="194" y="422"/>
                      </a:lnTo>
                      <a:lnTo>
                        <a:pt x="200" y="422"/>
                      </a:lnTo>
                      <a:lnTo>
                        <a:pt x="206" y="420"/>
                      </a:lnTo>
                      <a:lnTo>
                        <a:pt x="212" y="414"/>
                      </a:lnTo>
                      <a:lnTo>
                        <a:pt x="218" y="408"/>
                      </a:lnTo>
                      <a:lnTo>
                        <a:pt x="224" y="400"/>
                      </a:lnTo>
                      <a:lnTo>
                        <a:pt x="224" y="400"/>
                      </a:lnTo>
                      <a:lnTo>
                        <a:pt x="232" y="382"/>
                      </a:lnTo>
                      <a:lnTo>
                        <a:pt x="236" y="372"/>
                      </a:lnTo>
                      <a:lnTo>
                        <a:pt x="236" y="364"/>
                      </a:lnTo>
                      <a:lnTo>
                        <a:pt x="238" y="354"/>
                      </a:lnTo>
                      <a:lnTo>
                        <a:pt x="236" y="344"/>
                      </a:lnTo>
                      <a:lnTo>
                        <a:pt x="234" y="332"/>
                      </a:lnTo>
                      <a:lnTo>
                        <a:pt x="228" y="320"/>
                      </a:lnTo>
                      <a:lnTo>
                        <a:pt x="228" y="320"/>
                      </a:lnTo>
                      <a:lnTo>
                        <a:pt x="226" y="310"/>
                      </a:lnTo>
                      <a:lnTo>
                        <a:pt x="228" y="304"/>
                      </a:lnTo>
                      <a:lnTo>
                        <a:pt x="230" y="300"/>
                      </a:lnTo>
                      <a:lnTo>
                        <a:pt x="228" y="292"/>
                      </a:lnTo>
                      <a:lnTo>
                        <a:pt x="228" y="292"/>
                      </a:lnTo>
                      <a:lnTo>
                        <a:pt x="228" y="288"/>
                      </a:lnTo>
                      <a:lnTo>
                        <a:pt x="228" y="284"/>
                      </a:lnTo>
                      <a:lnTo>
                        <a:pt x="232" y="278"/>
                      </a:lnTo>
                      <a:lnTo>
                        <a:pt x="236" y="270"/>
                      </a:lnTo>
                      <a:lnTo>
                        <a:pt x="238" y="264"/>
                      </a:lnTo>
                      <a:lnTo>
                        <a:pt x="236" y="258"/>
                      </a:lnTo>
                      <a:lnTo>
                        <a:pt x="236" y="258"/>
                      </a:lnTo>
                      <a:lnTo>
                        <a:pt x="236" y="248"/>
                      </a:lnTo>
                      <a:lnTo>
                        <a:pt x="238" y="246"/>
                      </a:lnTo>
                      <a:lnTo>
                        <a:pt x="242" y="244"/>
                      </a:lnTo>
                      <a:lnTo>
                        <a:pt x="250" y="236"/>
                      </a:lnTo>
                      <a:lnTo>
                        <a:pt x="250" y="236"/>
                      </a:lnTo>
                      <a:lnTo>
                        <a:pt x="256" y="228"/>
                      </a:lnTo>
                      <a:lnTo>
                        <a:pt x="258" y="226"/>
                      </a:lnTo>
                      <a:lnTo>
                        <a:pt x="260" y="226"/>
                      </a:lnTo>
                      <a:lnTo>
                        <a:pt x="260" y="230"/>
                      </a:lnTo>
                      <a:lnTo>
                        <a:pt x="260" y="240"/>
                      </a:lnTo>
                      <a:lnTo>
                        <a:pt x="262" y="244"/>
                      </a:lnTo>
                      <a:lnTo>
                        <a:pt x="264" y="244"/>
                      </a:lnTo>
                      <a:lnTo>
                        <a:pt x="264" y="244"/>
                      </a:lnTo>
                      <a:lnTo>
                        <a:pt x="266" y="244"/>
                      </a:lnTo>
                      <a:lnTo>
                        <a:pt x="268" y="240"/>
                      </a:lnTo>
                      <a:lnTo>
                        <a:pt x="270" y="230"/>
                      </a:lnTo>
                      <a:lnTo>
                        <a:pt x="270" y="224"/>
                      </a:lnTo>
                      <a:lnTo>
                        <a:pt x="272" y="218"/>
                      </a:lnTo>
                      <a:lnTo>
                        <a:pt x="276" y="214"/>
                      </a:lnTo>
                      <a:lnTo>
                        <a:pt x="282" y="212"/>
                      </a:lnTo>
                      <a:lnTo>
                        <a:pt x="282" y="212"/>
                      </a:lnTo>
                      <a:lnTo>
                        <a:pt x="288" y="210"/>
                      </a:lnTo>
                      <a:lnTo>
                        <a:pt x="286" y="206"/>
                      </a:lnTo>
                      <a:lnTo>
                        <a:pt x="284" y="204"/>
                      </a:lnTo>
                      <a:lnTo>
                        <a:pt x="282" y="202"/>
                      </a:lnTo>
                      <a:lnTo>
                        <a:pt x="284" y="198"/>
                      </a:lnTo>
                      <a:lnTo>
                        <a:pt x="288" y="194"/>
                      </a:lnTo>
                      <a:lnTo>
                        <a:pt x="288" y="194"/>
                      </a:lnTo>
                      <a:lnTo>
                        <a:pt x="294" y="190"/>
                      </a:lnTo>
                      <a:lnTo>
                        <a:pt x="298" y="188"/>
                      </a:lnTo>
                      <a:lnTo>
                        <a:pt x="300" y="188"/>
                      </a:lnTo>
                      <a:lnTo>
                        <a:pt x="304" y="190"/>
                      </a:lnTo>
                      <a:lnTo>
                        <a:pt x="308" y="194"/>
                      </a:lnTo>
                      <a:lnTo>
                        <a:pt x="314" y="196"/>
                      </a:lnTo>
                      <a:lnTo>
                        <a:pt x="314" y="196"/>
                      </a:lnTo>
                      <a:lnTo>
                        <a:pt x="320" y="198"/>
                      </a:lnTo>
                      <a:lnTo>
                        <a:pt x="322" y="200"/>
                      </a:lnTo>
                      <a:lnTo>
                        <a:pt x="324" y="204"/>
                      </a:lnTo>
                      <a:lnTo>
                        <a:pt x="334" y="208"/>
                      </a:lnTo>
                      <a:lnTo>
                        <a:pt x="334" y="208"/>
                      </a:lnTo>
                      <a:lnTo>
                        <a:pt x="344" y="214"/>
                      </a:lnTo>
                      <a:lnTo>
                        <a:pt x="352" y="220"/>
                      </a:lnTo>
                      <a:lnTo>
                        <a:pt x="356" y="226"/>
                      </a:lnTo>
                      <a:lnTo>
                        <a:pt x="356" y="228"/>
                      </a:lnTo>
                      <a:lnTo>
                        <a:pt x="352" y="230"/>
                      </a:lnTo>
                      <a:lnTo>
                        <a:pt x="352" y="230"/>
                      </a:lnTo>
                      <a:lnTo>
                        <a:pt x="350" y="230"/>
                      </a:lnTo>
                      <a:lnTo>
                        <a:pt x="350" y="232"/>
                      </a:lnTo>
                      <a:lnTo>
                        <a:pt x="352" y="238"/>
                      </a:lnTo>
                      <a:lnTo>
                        <a:pt x="354" y="246"/>
                      </a:lnTo>
                      <a:lnTo>
                        <a:pt x="354" y="250"/>
                      </a:lnTo>
                      <a:lnTo>
                        <a:pt x="354" y="256"/>
                      </a:lnTo>
                      <a:lnTo>
                        <a:pt x="354" y="256"/>
                      </a:lnTo>
                      <a:lnTo>
                        <a:pt x="352" y="268"/>
                      </a:lnTo>
                      <a:lnTo>
                        <a:pt x="348" y="276"/>
                      </a:lnTo>
                      <a:lnTo>
                        <a:pt x="342" y="282"/>
                      </a:lnTo>
                      <a:lnTo>
                        <a:pt x="336" y="288"/>
                      </a:lnTo>
                      <a:lnTo>
                        <a:pt x="336" y="288"/>
                      </a:lnTo>
                      <a:lnTo>
                        <a:pt x="334" y="290"/>
                      </a:lnTo>
                      <a:lnTo>
                        <a:pt x="332" y="294"/>
                      </a:lnTo>
                      <a:lnTo>
                        <a:pt x="330" y="302"/>
                      </a:lnTo>
                      <a:lnTo>
                        <a:pt x="334" y="308"/>
                      </a:lnTo>
                      <a:lnTo>
                        <a:pt x="336" y="310"/>
                      </a:lnTo>
                      <a:lnTo>
                        <a:pt x="340" y="312"/>
                      </a:lnTo>
                      <a:lnTo>
                        <a:pt x="340" y="312"/>
                      </a:lnTo>
                      <a:lnTo>
                        <a:pt x="342" y="310"/>
                      </a:lnTo>
                      <a:lnTo>
                        <a:pt x="346" y="308"/>
                      </a:lnTo>
                      <a:lnTo>
                        <a:pt x="350" y="300"/>
                      </a:lnTo>
                      <a:lnTo>
                        <a:pt x="356" y="292"/>
                      </a:lnTo>
                      <a:lnTo>
                        <a:pt x="360" y="290"/>
                      </a:lnTo>
                      <a:lnTo>
                        <a:pt x="366" y="288"/>
                      </a:lnTo>
                      <a:lnTo>
                        <a:pt x="366" y="288"/>
                      </a:lnTo>
                      <a:lnTo>
                        <a:pt x="370" y="288"/>
                      </a:lnTo>
                      <a:lnTo>
                        <a:pt x="376" y="294"/>
                      </a:lnTo>
                      <a:lnTo>
                        <a:pt x="380" y="300"/>
                      </a:lnTo>
                      <a:lnTo>
                        <a:pt x="382" y="310"/>
                      </a:lnTo>
                      <a:lnTo>
                        <a:pt x="386" y="330"/>
                      </a:lnTo>
                      <a:lnTo>
                        <a:pt x="388" y="338"/>
                      </a:lnTo>
                      <a:lnTo>
                        <a:pt x="390" y="344"/>
                      </a:lnTo>
                      <a:lnTo>
                        <a:pt x="390" y="344"/>
                      </a:lnTo>
                      <a:lnTo>
                        <a:pt x="406" y="336"/>
                      </a:lnTo>
                      <a:lnTo>
                        <a:pt x="410" y="334"/>
                      </a:lnTo>
                      <a:lnTo>
                        <a:pt x="414" y="330"/>
                      </a:lnTo>
                      <a:lnTo>
                        <a:pt x="418" y="324"/>
                      </a:lnTo>
                      <a:lnTo>
                        <a:pt x="418" y="318"/>
                      </a:lnTo>
                      <a:lnTo>
                        <a:pt x="418" y="298"/>
                      </a:lnTo>
                      <a:lnTo>
                        <a:pt x="418" y="298"/>
                      </a:lnTo>
                      <a:lnTo>
                        <a:pt x="418" y="288"/>
                      </a:lnTo>
                      <a:lnTo>
                        <a:pt x="422" y="280"/>
                      </a:lnTo>
                      <a:lnTo>
                        <a:pt x="424" y="274"/>
                      </a:lnTo>
                      <a:lnTo>
                        <a:pt x="428" y="268"/>
                      </a:lnTo>
                      <a:lnTo>
                        <a:pt x="436" y="258"/>
                      </a:lnTo>
                      <a:lnTo>
                        <a:pt x="438" y="254"/>
                      </a:lnTo>
                      <a:lnTo>
                        <a:pt x="438" y="248"/>
                      </a:lnTo>
                      <a:lnTo>
                        <a:pt x="438" y="248"/>
                      </a:lnTo>
                      <a:lnTo>
                        <a:pt x="432" y="236"/>
                      </a:lnTo>
                      <a:lnTo>
                        <a:pt x="426" y="228"/>
                      </a:lnTo>
                      <a:lnTo>
                        <a:pt x="422" y="222"/>
                      </a:lnTo>
                      <a:lnTo>
                        <a:pt x="420" y="218"/>
                      </a:lnTo>
                      <a:lnTo>
                        <a:pt x="420" y="218"/>
                      </a:lnTo>
                      <a:lnTo>
                        <a:pt x="422" y="216"/>
                      </a:lnTo>
                      <a:lnTo>
                        <a:pt x="424" y="218"/>
                      </a:lnTo>
                      <a:lnTo>
                        <a:pt x="428" y="218"/>
                      </a:lnTo>
                      <a:lnTo>
                        <a:pt x="432" y="218"/>
                      </a:lnTo>
                      <a:lnTo>
                        <a:pt x="432" y="218"/>
                      </a:lnTo>
                      <a:lnTo>
                        <a:pt x="434" y="220"/>
                      </a:lnTo>
                      <a:lnTo>
                        <a:pt x="436" y="220"/>
                      </a:lnTo>
                      <a:lnTo>
                        <a:pt x="436" y="226"/>
                      </a:lnTo>
                      <a:lnTo>
                        <a:pt x="438" y="232"/>
                      </a:lnTo>
                      <a:lnTo>
                        <a:pt x="440" y="234"/>
                      </a:lnTo>
                      <a:lnTo>
                        <a:pt x="444" y="234"/>
                      </a:lnTo>
                      <a:lnTo>
                        <a:pt x="444" y="234"/>
                      </a:lnTo>
                      <a:lnTo>
                        <a:pt x="446" y="236"/>
                      </a:lnTo>
                      <a:lnTo>
                        <a:pt x="448" y="238"/>
                      </a:lnTo>
                      <a:lnTo>
                        <a:pt x="446" y="242"/>
                      </a:lnTo>
                      <a:lnTo>
                        <a:pt x="444" y="246"/>
                      </a:lnTo>
                      <a:lnTo>
                        <a:pt x="444" y="246"/>
                      </a:lnTo>
                      <a:lnTo>
                        <a:pt x="446" y="246"/>
                      </a:lnTo>
                      <a:lnTo>
                        <a:pt x="446" y="246"/>
                      </a:lnTo>
                      <a:lnTo>
                        <a:pt x="450" y="246"/>
                      </a:lnTo>
                      <a:lnTo>
                        <a:pt x="450" y="246"/>
                      </a:lnTo>
                      <a:lnTo>
                        <a:pt x="450" y="250"/>
                      </a:lnTo>
                      <a:lnTo>
                        <a:pt x="450" y="254"/>
                      </a:lnTo>
                      <a:lnTo>
                        <a:pt x="454" y="252"/>
                      </a:lnTo>
                      <a:lnTo>
                        <a:pt x="454" y="252"/>
                      </a:lnTo>
                      <a:lnTo>
                        <a:pt x="458" y="250"/>
                      </a:lnTo>
                      <a:lnTo>
                        <a:pt x="462" y="252"/>
                      </a:lnTo>
                      <a:lnTo>
                        <a:pt x="472" y="256"/>
                      </a:lnTo>
                      <a:lnTo>
                        <a:pt x="480" y="262"/>
                      </a:lnTo>
                      <a:lnTo>
                        <a:pt x="484" y="264"/>
                      </a:lnTo>
                      <a:lnTo>
                        <a:pt x="486" y="262"/>
                      </a:lnTo>
                      <a:lnTo>
                        <a:pt x="486" y="262"/>
                      </a:lnTo>
                      <a:lnTo>
                        <a:pt x="488" y="260"/>
                      </a:lnTo>
                      <a:lnTo>
                        <a:pt x="490" y="258"/>
                      </a:lnTo>
                      <a:lnTo>
                        <a:pt x="488" y="252"/>
                      </a:lnTo>
                      <a:lnTo>
                        <a:pt x="484" y="246"/>
                      </a:lnTo>
                      <a:lnTo>
                        <a:pt x="484" y="244"/>
                      </a:lnTo>
                      <a:lnTo>
                        <a:pt x="486" y="242"/>
                      </a:lnTo>
                      <a:lnTo>
                        <a:pt x="486" y="242"/>
                      </a:lnTo>
                      <a:lnTo>
                        <a:pt x="488" y="242"/>
                      </a:lnTo>
                      <a:lnTo>
                        <a:pt x="490" y="242"/>
                      </a:lnTo>
                      <a:lnTo>
                        <a:pt x="496" y="246"/>
                      </a:lnTo>
                      <a:lnTo>
                        <a:pt x="500" y="250"/>
                      </a:lnTo>
                      <a:lnTo>
                        <a:pt x="500" y="250"/>
                      </a:lnTo>
                      <a:lnTo>
                        <a:pt x="502" y="248"/>
                      </a:lnTo>
                      <a:lnTo>
                        <a:pt x="502" y="248"/>
                      </a:lnTo>
                      <a:lnTo>
                        <a:pt x="498" y="240"/>
                      </a:lnTo>
                      <a:lnTo>
                        <a:pt x="494" y="234"/>
                      </a:lnTo>
                      <a:lnTo>
                        <a:pt x="488" y="226"/>
                      </a:lnTo>
                      <a:lnTo>
                        <a:pt x="486" y="222"/>
                      </a:lnTo>
                      <a:lnTo>
                        <a:pt x="486" y="218"/>
                      </a:lnTo>
                      <a:lnTo>
                        <a:pt x="486" y="218"/>
                      </a:lnTo>
                      <a:lnTo>
                        <a:pt x="486" y="212"/>
                      </a:lnTo>
                      <a:lnTo>
                        <a:pt x="484" y="208"/>
                      </a:lnTo>
                      <a:lnTo>
                        <a:pt x="482" y="208"/>
                      </a:lnTo>
                      <a:lnTo>
                        <a:pt x="478" y="210"/>
                      </a:lnTo>
                      <a:lnTo>
                        <a:pt x="478" y="210"/>
                      </a:lnTo>
                      <a:lnTo>
                        <a:pt x="476" y="210"/>
                      </a:lnTo>
                      <a:lnTo>
                        <a:pt x="474" y="208"/>
                      </a:lnTo>
                      <a:lnTo>
                        <a:pt x="468" y="196"/>
                      </a:lnTo>
                      <a:lnTo>
                        <a:pt x="460" y="184"/>
                      </a:lnTo>
                      <a:lnTo>
                        <a:pt x="456" y="180"/>
                      </a:lnTo>
                      <a:lnTo>
                        <a:pt x="450" y="178"/>
                      </a:lnTo>
                      <a:lnTo>
                        <a:pt x="450" y="178"/>
                      </a:lnTo>
                      <a:lnTo>
                        <a:pt x="432" y="178"/>
                      </a:lnTo>
                      <a:lnTo>
                        <a:pt x="426" y="176"/>
                      </a:lnTo>
                      <a:lnTo>
                        <a:pt x="426" y="174"/>
                      </a:lnTo>
                      <a:lnTo>
                        <a:pt x="426" y="172"/>
                      </a:lnTo>
                      <a:lnTo>
                        <a:pt x="426" y="172"/>
                      </a:lnTo>
                      <a:lnTo>
                        <a:pt x="426" y="170"/>
                      </a:lnTo>
                      <a:lnTo>
                        <a:pt x="426" y="170"/>
                      </a:lnTo>
                      <a:lnTo>
                        <a:pt x="420" y="168"/>
                      </a:lnTo>
                      <a:lnTo>
                        <a:pt x="412" y="168"/>
                      </a:lnTo>
                      <a:lnTo>
                        <a:pt x="402" y="168"/>
                      </a:lnTo>
                      <a:lnTo>
                        <a:pt x="402" y="168"/>
                      </a:lnTo>
                      <a:lnTo>
                        <a:pt x="388" y="166"/>
                      </a:lnTo>
                      <a:lnTo>
                        <a:pt x="372" y="166"/>
                      </a:lnTo>
                      <a:lnTo>
                        <a:pt x="358" y="164"/>
                      </a:lnTo>
                      <a:lnTo>
                        <a:pt x="344" y="160"/>
                      </a:lnTo>
                      <a:lnTo>
                        <a:pt x="344" y="160"/>
                      </a:lnTo>
                      <a:lnTo>
                        <a:pt x="334" y="158"/>
                      </a:lnTo>
                      <a:lnTo>
                        <a:pt x="328" y="156"/>
                      </a:lnTo>
                      <a:lnTo>
                        <a:pt x="324" y="154"/>
                      </a:lnTo>
                      <a:lnTo>
                        <a:pt x="324" y="148"/>
                      </a:lnTo>
                      <a:lnTo>
                        <a:pt x="324" y="148"/>
                      </a:lnTo>
                      <a:lnTo>
                        <a:pt x="324" y="144"/>
                      </a:lnTo>
                      <a:lnTo>
                        <a:pt x="322" y="144"/>
                      </a:lnTo>
                      <a:lnTo>
                        <a:pt x="314" y="144"/>
                      </a:lnTo>
                      <a:lnTo>
                        <a:pt x="306" y="146"/>
                      </a:lnTo>
                      <a:lnTo>
                        <a:pt x="304" y="144"/>
                      </a:lnTo>
                      <a:lnTo>
                        <a:pt x="304" y="140"/>
                      </a:lnTo>
                      <a:lnTo>
                        <a:pt x="304" y="140"/>
                      </a:lnTo>
                      <a:lnTo>
                        <a:pt x="304" y="134"/>
                      </a:lnTo>
                      <a:lnTo>
                        <a:pt x="306" y="132"/>
                      </a:lnTo>
                      <a:lnTo>
                        <a:pt x="310" y="128"/>
                      </a:lnTo>
                      <a:lnTo>
                        <a:pt x="312" y="126"/>
                      </a:lnTo>
                      <a:lnTo>
                        <a:pt x="310" y="124"/>
                      </a:lnTo>
                      <a:lnTo>
                        <a:pt x="310" y="124"/>
                      </a:lnTo>
                      <a:lnTo>
                        <a:pt x="308" y="122"/>
                      </a:lnTo>
                      <a:lnTo>
                        <a:pt x="306" y="122"/>
                      </a:lnTo>
                      <a:lnTo>
                        <a:pt x="304" y="122"/>
                      </a:lnTo>
                      <a:lnTo>
                        <a:pt x="298" y="122"/>
                      </a:lnTo>
                      <a:lnTo>
                        <a:pt x="298" y="122"/>
                      </a:lnTo>
                      <a:lnTo>
                        <a:pt x="296" y="118"/>
                      </a:lnTo>
                      <a:lnTo>
                        <a:pt x="296" y="116"/>
                      </a:lnTo>
                      <a:lnTo>
                        <a:pt x="300" y="110"/>
                      </a:lnTo>
                      <a:lnTo>
                        <a:pt x="302" y="102"/>
                      </a:lnTo>
                      <a:lnTo>
                        <a:pt x="302" y="98"/>
                      </a:lnTo>
                      <a:lnTo>
                        <a:pt x="300" y="96"/>
                      </a:lnTo>
                      <a:lnTo>
                        <a:pt x="300" y="96"/>
                      </a:lnTo>
                      <a:lnTo>
                        <a:pt x="288" y="86"/>
                      </a:lnTo>
                      <a:lnTo>
                        <a:pt x="286" y="80"/>
                      </a:lnTo>
                      <a:lnTo>
                        <a:pt x="288" y="72"/>
                      </a:lnTo>
                      <a:lnTo>
                        <a:pt x="288" y="72"/>
                      </a:lnTo>
                      <a:lnTo>
                        <a:pt x="290" y="66"/>
                      </a:lnTo>
                      <a:lnTo>
                        <a:pt x="290" y="62"/>
                      </a:lnTo>
                      <a:lnTo>
                        <a:pt x="286" y="62"/>
                      </a:lnTo>
                      <a:lnTo>
                        <a:pt x="282" y="62"/>
                      </a:lnTo>
                      <a:lnTo>
                        <a:pt x="270" y="64"/>
                      </a:lnTo>
                      <a:lnTo>
                        <a:pt x="262" y="64"/>
                      </a:lnTo>
                      <a:lnTo>
                        <a:pt x="256" y="62"/>
                      </a:lnTo>
                      <a:lnTo>
                        <a:pt x="256" y="62"/>
                      </a:lnTo>
                      <a:lnTo>
                        <a:pt x="250" y="58"/>
                      </a:lnTo>
                      <a:lnTo>
                        <a:pt x="244" y="50"/>
                      </a:lnTo>
                      <a:lnTo>
                        <a:pt x="240" y="42"/>
                      </a:lnTo>
                      <a:lnTo>
                        <a:pt x="238" y="34"/>
                      </a:lnTo>
                      <a:lnTo>
                        <a:pt x="234" y="20"/>
                      </a:lnTo>
                      <a:lnTo>
                        <a:pt x="230" y="16"/>
                      </a:lnTo>
                      <a:lnTo>
                        <a:pt x="226" y="14"/>
                      </a:lnTo>
                      <a:lnTo>
                        <a:pt x="226" y="14"/>
                      </a:lnTo>
                      <a:lnTo>
                        <a:pt x="218" y="14"/>
                      </a:lnTo>
                      <a:lnTo>
                        <a:pt x="214" y="14"/>
                      </a:lnTo>
                      <a:lnTo>
                        <a:pt x="210" y="14"/>
                      </a:lnTo>
                      <a:lnTo>
                        <a:pt x="202" y="14"/>
                      </a:lnTo>
                      <a:lnTo>
                        <a:pt x="202" y="14"/>
                      </a:lnTo>
                      <a:lnTo>
                        <a:pt x="196" y="14"/>
                      </a:lnTo>
                      <a:lnTo>
                        <a:pt x="190" y="12"/>
                      </a:lnTo>
                      <a:lnTo>
                        <a:pt x="178" y="6"/>
                      </a:lnTo>
                      <a:lnTo>
                        <a:pt x="166" y="2"/>
                      </a:lnTo>
                      <a:lnTo>
                        <a:pt x="162" y="0"/>
                      </a:lnTo>
                      <a:lnTo>
                        <a:pt x="158" y="2"/>
                      </a:lnTo>
                      <a:lnTo>
                        <a:pt x="158" y="2"/>
                      </a:lnTo>
                      <a:lnTo>
                        <a:pt x="158" y="4"/>
                      </a:lnTo>
                      <a:lnTo>
                        <a:pt x="158" y="6"/>
                      </a:lnTo>
                      <a:lnTo>
                        <a:pt x="160" y="12"/>
                      </a:lnTo>
                      <a:lnTo>
                        <a:pt x="162" y="18"/>
                      </a:lnTo>
                      <a:lnTo>
                        <a:pt x="160" y="22"/>
                      </a:lnTo>
                      <a:lnTo>
                        <a:pt x="158" y="24"/>
                      </a:lnTo>
                      <a:lnTo>
                        <a:pt x="158" y="24"/>
                      </a:lnTo>
                      <a:lnTo>
                        <a:pt x="146" y="32"/>
                      </a:lnTo>
                      <a:lnTo>
                        <a:pt x="146" y="32"/>
                      </a:lnTo>
                      <a:lnTo>
                        <a:pt x="146" y="30"/>
                      </a:lnTo>
                      <a:lnTo>
                        <a:pt x="148" y="24"/>
                      </a:lnTo>
                      <a:lnTo>
                        <a:pt x="148" y="24"/>
                      </a:lnTo>
                      <a:lnTo>
                        <a:pt x="150" y="14"/>
                      </a:lnTo>
                      <a:lnTo>
                        <a:pt x="150" y="8"/>
                      </a:lnTo>
                      <a:lnTo>
                        <a:pt x="148" y="8"/>
                      </a:lnTo>
                      <a:lnTo>
                        <a:pt x="146" y="8"/>
                      </a:lnTo>
                      <a:lnTo>
                        <a:pt x="142" y="16"/>
                      </a:lnTo>
                      <a:lnTo>
                        <a:pt x="142" y="16"/>
                      </a:lnTo>
                      <a:lnTo>
                        <a:pt x="138" y="28"/>
                      </a:lnTo>
                      <a:lnTo>
                        <a:pt x="134" y="36"/>
                      </a:lnTo>
                      <a:lnTo>
                        <a:pt x="130" y="40"/>
                      </a:lnTo>
                      <a:lnTo>
                        <a:pt x="132" y="34"/>
                      </a:lnTo>
                      <a:lnTo>
                        <a:pt x="132" y="34"/>
                      </a:lnTo>
                      <a:lnTo>
                        <a:pt x="132" y="30"/>
                      </a:lnTo>
                      <a:lnTo>
                        <a:pt x="132" y="28"/>
                      </a:lnTo>
                      <a:lnTo>
                        <a:pt x="130" y="26"/>
                      </a:lnTo>
                      <a:lnTo>
                        <a:pt x="126" y="26"/>
                      </a:lnTo>
                      <a:lnTo>
                        <a:pt x="122" y="30"/>
                      </a:lnTo>
                      <a:lnTo>
                        <a:pt x="118" y="36"/>
                      </a:lnTo>
                      <a:lnTo>
                        <a:pt x="118" y="36"/>
                      </a:lnTo>
                      <a:lnTo>
                        <a:pt x="114" y="48"/>
                      </a:lnTo>
                      <a:lnTo>
                        <a:pt x="110" y="52"/>
                      </a:lnTo>
                      <a:lnTo>
                        <a:pt x="106" y="56"/>
                      </a:lnTo>
                      <a:lnTo>
                        <a:pt x="106" y="56"/>
                      </a:lnTo>
                      <a:lnTo>
                        <a:pt x="100" y="58"/>
                      </a:lnTo>
                      <a:lnTo>
                        <a:pt x="100" y="58"/>
                      </a:lnTo>
                      <a:lnTo>
                        <a:pt x="60" y="78"/>
                      </a:lnTo>
                      <a:lnTo>
                        <a:pt x="46" y="86"/>
                      </a:lnTo>
                      <a:lnTo>
                        <a:pt x="34" y="98"/>
                      </a:lnTo>
                      <a:lnTo>
                        <a:pt x="34" y="98"/>
                      </a:lnTo>
                      <a:lnTo>
                        <a:pt x="18" y="112"/>
                      </a:lnTo>
                      <a:lnTo>
                        <a:pt x="6" y="124"/>
                      </a:lnTo>
                      <a:lnTo>
                        <a:pt x="2" y="128"/>
                      </a:lnTo>
                      <a:lnTo>
                        <a:pt x="0" y="130"/>
                      </a:lnTo>
                      <a:lnTo>
                        <a:pt x="0" y="132"/>
                      </a:lnTo>
                      <a:lnTo>
                        <a:pt x="4" y="134"/>
                      </a:lnTo>
                      <a:lnTo>
                        <a:pt x="4" y="13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3" name="Freeform 6014"/>
                <p:cNvSpPr>
                  <a:spLocks/>
                </p:cNvSpPr>
                <p:nvPr/>
              </p:nvSpPr>
              <p:spPr bwMode="auto">
                <a:xfrm>
                  <a:off x="2366010" y="2420303"/>
                  <a:ext cx="100330" cy="45720"/>
                </a:xfrm>
                <a:custGeom>
                  <a:avLst/>
                  <a:gdLst/>
                  <a:ahLst/>
                  <a:cxnLst>
                    <a:cxn ang="0">
                      <a:pos x="16" y="72"/>
                    </a:cxn>
                    <a:cxn ang="0">
                      <a:pos x="30" y="68"/>
                    </a:cxn>
                    <a:cxn ang="0">
                      <a:pos x="36" y="64"/>
                    </a:cxn>
                    <a:cxn ang="0">
                      <a:pos x="58" y="60"/>
                    </a:cxn>
                    <a:cxn ang="0">
                      <a:pos x="80" y="64"/>
                    </a:cxn>
                    <a:cxn ang="0">
                      <a:pos x="90" y="68"/>
                    </a:cxn>
                    <a:cxn ang="0">
                      <a:pos x="118" y="66"/>
                    </a:cxn>
                    <a:cxn ang="0">
                      <a:pos x="126" y="60"/>
                    </a:cxn>
                    <a:cxn ang="0">
                      <a:pos x="132" y="56"/>
                    </a:cxn>
                    <a:cxn ang="0">
                      <a:pos x="142" y="50"/>
                    </a:cxn>
                    <a:cxn ang="0">
                      <a:pos x="142" y="44"/>
                    </a:cxn>
                    <a:cxn ang="0">
                      <a:pos x="144" y="32"/>
                    </a:cxn>
                    <a:cxn ang="0">
                      <a:pos x="140" y="28"/>
                    </a:cxn>
                    <a:cxn ang="0">
                      <a:pos x="138" y="24"/>
                    </a:cxn>
                    <a:cxn ang="0">
                      <a:pos x="140" y="16"/>
                    </a:cxn>
                    <a:cxn ang="0">
                      <a:pos x="144" y="14"/>
                    </a:cxn>
                    <a:cxn ang="0">
                      <a:pos x="154" y="8"/>
                    </a:cxn>
                    <a:cxn ang="0">
                      <a:pos x="158" y="0"/>
                    </a:cxn>
                    <a:cxn ang="0">
                      <a:pos x="148" y="6"/>
                    </a:cxn>
                    <a:cxn ang="0">
                      <a:pos x="128" y="12"/>
                    </a:cxn>
                    <a:cxn ang="0">
                      <a:pos x="120" y="18"/>
                    </a:cxn>
                    <a:cxn ang="0">
                      <a:pos x="114" y="24"/>
                    </a:cxn>
                    <a:cxn ang="0">
                      <a:pos x="110" y="34"/>
                    </a:cxn>
                    <a:cxn ang="0">
                      <a:pos x="104" y="34"/>
                    </a:cxn>
                    <a:cxn ang="0">
                      <a:pos x="98" y="32"/>
                    </a:cxn>
                    <a:cxn ang="0">
                      <a:pos x="78" y="26"/>
                    </a:cxn>
                    <a:cxn ang="0">
                      <a:pos x="66" y="28"/>
                    </a:cxn>
                    <a:cxn ang="0">
                      <a:pos x="28" y="36"/>
                    </a:cxn>
                    <a:cxn ang="0">
                      <a:pos x="20" y="42"/>
                    </a:cxn>
                    <a:cxn ang="0">
                      <a:pos x="12" y="48"/>
                    </a:cxn>
                    <a:cxn ang="0">
                      <a:pos x="2" y="58"/>
                    </a:cxn>
                    <a:cxn ang="0">
                      <a:pos x="0" y="64"/>
                    </a:cxn>
                    <a:cxn ang="0">
                      <a:pos x="2" y="70"/>
                    </a:cxn>
                    <a:cxn ang="0">
                      <a:pos x="10" y="72"/>
                    </a:cxn>
                    <a:cxn ang="0">
                      <a:pos x="16" y="72"/>
                    </a:cxn>
                  </a:cxnLst>
                  <a:rect l="0" t="0" r="r" b="b"/>
                  <a:pathLst>
                    <a:path w="158" h="72">
                      <a:moveTo>
                        <a:pt x="16" y="72"/>
                      </a:moveTo>
                      <a:lnTo>
                        <a:pt x="16" y="72"/>
                      </a:lnTo>
                      <a:lnTo>
                        <a:pt x="24" y="70"/>
                      </a:lnTo>
                      <a:lnTo>
                        <a:pt x="30" y="68"/>
                      </a:lnTo>
                      <a:lnTo>
                        <a:pt x="36" y="64"/>
                      </a:lnTo>
                      <a:lnTo>
                        <a:pt x="36" y="64"/>
                      </a:lnTo>
                      <a:lnTo>
                        <a:pt x="46" y="62"/>
                      </a:lnTo>
                      <a:lnTo>
                        <a:pt x="58" y="60"/>
                      </a:lnTo>
                      <a:lnTo>
                        <a:pt x="70" y="62"/>
                      </a:lnTo>
                      <a:lnTo>
                        <a:pt x="80" y="64"/>
                      </a:lnTo>
                      <a:lnTo>
                        <a:pt x="80" y="64"/>
                      </a:lnTo>
                      <a:lnTo>
                        <a:pt x="90" y="68"/>
                      </a:lnTo>
                      <a:lnTo>
                        <a:pt x="104" y="68"/>
                      </a:lnTo>
                      <a:lnTo>
                        <a:pt x="118" y="66"/>
                      </a:lnTo>
                      <a:lnTo>
                        <a:pt x="122" y="64"/>
                      </a:lnTo>
                      <a:lnTo>
                        <a:pt x="126" y="60"/>
                      </a:lnTo>
                      <a:lnTo>
                        <a:pt x="126" y="60"/>
                      </a:lnTo>
                      <a:lnTo>
                        <a:pt x="132" y="56"/>
                      </a:lnTo>
                      <a:lnTo>
                        <a:pt x="138" y="52"/>
                      </a:lnTo>
                      <a:lnTo>
                        <a:pt x="142" y="50"/>
                      </a:lnTo>
                      <a:lnTo>
                        <a:pt x="142" y="44"/>
                      </a:lnTo>
                      <a:lnTo>
                        <a:pt x="142" y="44"/>
                      </a:lnTo>
                      <a:lnTo>
                        <a:pt x="142" y="36"/>
                      </a:lnTo>
                      <a:lnTo>
                        <a:pt x="144" y="32"/>
                      </a:lnTo>
                      <a:lnTo>
                        <a:pt x="144" y="30"/>
                      </a:lnTo>
                      <a:lnTo>
                        <a:pt x="140" y="28"/>
                      </a:lnTo>
                      <a:lnTo>
                        <a:pt x="140" y="28"/>
                      </a:lnTo>
                      <a:lnTo>
                        <a:pt x="138" y="24"/>
                      </a:lnTo>
                      <a:lnTo>
                        <a:pt x="136" y="20"/>
                      </a:lnTo>
                      <a:lnTo>
                        <a:pt x="140" y="16"/>
                      </a:lnTo>
                      <a:lnTo>
                        <a:pt x="144" y="14"/>
                      </a:lnTo>
                      <a:lnTo>
                        <a:pt x="144" y="14"/>
                      </a:lnTo>
                      <a:lnTo>
                        <a:pt x="150" y="12"/>
                      </a:lnTo>
                      <a:lnTo>
                        <a:pt x="154" y="8"/>
                      </a:lnTo>
                      <a:lnTo>
                        <a:pt x="156" y="4"/>
                      </a:lnTo>
                      <a:lnTo>
                        <a:pt x="158" y="0"/>
                      </a:lnTo>
                      <a:lnTo>
                        <a:pt x="158" y="0"/>
                      </a:lnTo>
                      <a:lnTo>
                        <a:pt x="148" y="6"/>
                      </a:lnTo>
                      <a:lnTo>
                        <a:pt x="138" y="8"/>
                      </a:lnTo>
                      <a:lnTo>
                        <a:pt x="128" y="12"/>
                      </a:lnTo>
                      <a:lnTo>
                        <a:pt x="120" y="18"/>
                      </a:lnTo>
                      <a:lnTo>
                        <a:pt x="120" y="18"/>
                      </a:lnTo>
                      <a:lnTo>
                        <a:pt x="116" y="20"/>
                      </a:lnTo>
                      <a:lnTo>
                        <a:pt x="114" y="24"/>
                      </a:lnTo>
                      <a:lnTo>
                        <a:pt x="110" y="32"/>
                      </a:lnTo>
                      <a:lnTo>
                        <a:pt x="110" y="34"/>
                      </a:lnTo>
                      <a:lnTo>
                        <a:pt x="106" y="34"/>
                      </a:lnTo>
                      <a:lnTo>
                        <a:pt x="104" y="34"/>
                      </a:lnTo>
                      <a:lnTo>
                        <a:pt x="98" y="32"/>
                      </a:lnTo>
                      <a:lnTo>
                        <a:pt x="98" y="32"/>
                      </a:lnTo>
                      <a:lnTo>
                        <a:pt x="84" y="24"/>
                      </a:lnTo>
                      <a:lnTo>
                        <a:pt x="78" y="26"/>
                      </a:lnTo>
                      <a:lnTo>
                        <a:pt x="66" y="28"/>
                      </a:lnTo>
                      <a:lnTo>
                        <a:pt x="66" y="28"/>
                      </a:lnTo>
                      <a:lnTo>
                        <a:pt x="38" y="34"/>
                      </a:lnTo>
                      <a:lnTo>
                        <a:pt x="28" y="36"/>
                      </a:lnTo>
                      <a:lnTo>
                        <a:pt x="20" y="42"/>
                      </a:lnTo>
                      <a:lnTo>
                        <a:pt x="20" y="42"/>
                      </a:lnTo>
                      <a:lnTo>
                        <a:pt x="16" y="46"/>
                      </a:lnTo>
                      <a:lnTo>
                        <a:pt x="12" y="48"/>
                      </a:lnTo>
                      <a:lnTo>
                        <a:pt x="6" y="50"/>
                      </a:lnTo>
                      <a:lnTo>
                        <a:pt x="2" y="58"/>
                      </a:lnTo>
                      <a:lnTo>
                        <a:pt x="2" y="58"/>
                      </a:lnTo>
                      <a:lnTo>
                        <a:pt x="0" y="64"/>
                      </a:lnTo>
                      <a:lnTo>
                        <a:pt x="0" y="68"/>
                      </a:lnTo>
                      <a:lnTo>
                        <a:pt x="2" y="70"/>
                      </a:lnTo>
                      <a:lnTo>
                        <a:pt x="4" y="72"/>
                      </a:lnTo>
                      <a:lnTo>
                        <a:pt x="10" y="72"/>
                      </a:lnTo>
                      <a:lnTo>
                        <a:pt x="16" y="72"/>
                      </a:lnTo>
                      <a:lnTo>
                        <a:pt x="16" y="7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4" name="Freeform 6015"/>
                <p:cNvSpPr>
                  <a:spLocks/>
                </p:cNvSpPr>
                <p:nvPr/>
              </p:nvSpPr>
              <p:spPr bwMode="auto">
                <a:xfrm>
                  <a:off x="2385060" y="3023553"/>
                  <a:ext cx="27940" cy="10160"/>
                </a:xfrm>
                <a:custGeom>
                  <a:avLst/>
                  <a:gdLst/>
                  <a:ahLst/>
                  <a:cxnLst>
                    <a:cxn ang="0">
                      <a:pos x="8" y="10"/>
                    </a:cxn>
                    <a:cxn ang="0">
                      <a:pos x="8" y="10"/>
                    </a:cxn>
                    <a:cxn ang="0">
                      <a:pos x="0" y="8"/>
                    </a:cxn>
                    <a:cxn ang="0">
                      <a:pos x="2" y="10"/>
                    </a:cxn>
                    <a:cxn ang="0">
                      <a:pos x="6" y="14"/>
                    </a:cxn>
                    <a:cxn ang="0">
                      <a:pos x="6" y="14"/>
                    </a:cxn>
                    <a:cxn ang="0">
                      <a:pos x="10" y="16"/>
                    </a:cxn>
                    <a:cxn ang="0">
                      <a:pos x="12" y="16"/>
                    </a:cxn>
                    <a:cxn ang="0">
                      <a:pos x="26" y="10"/>
                    </a:cxn>
                    <a:cxn ang="0">
                      <a:pos x="26" y="10"/>
                    </a:cxn>
                    <a:cxn ang="0">
                      <a:pos x="36" y="8"/>
                    </a:cxn>
                    <a:cxn ang="0">
                      <a:pos x="40" y="10"/>
                    </a:cxn>
                    <a:cxn ang="0">
                      <a:pos x="44" y="10"/>
                    </a:cxn>
                    <a:cxn ang="0">
                      <a:pos x="44" y="6"/>
                    </a:cxn>
                    <a:cxn ang="0">
                      <a:pos x="44" y="6"/>
                    </a:cxn>
                    <a:cxn ang="0">
                      <a:pos x="44" y="4"/>
                    </a:cxn>
                    <a:cxn ang="0">
                      <a:pos x="44" y="4"/>
                    </a:cxn>
                    <a:cxn ang="0">
                      <a:pos x="38" y="4"/>
                    </a:cxn>
                    <a:cxn ang="0">
                      <a:pos x="30" y="4"/>
                    </a:cxn>
                    <a:cxn ang="0">
                      <a:pos x="18" y="2"/>
                    </a:cxn>
                    <a:cxn ang="0">
                      <a:pos x="18" y="2"/>
                    </a:cxn>
                    <a:cxn ang="0">
                      <a:pos x="14" y="0"/>
                    </a:cxn>
                    <a:cxn ang="0">
                      <a:pos x="14" y="2"/>
                    </a:cxn>
                    <a:cxn ang="0">
                      <a:pos x="14" y="6"/>
                    </a:cxn>
                    <a:cxn ang="0">
                      <a:pos x="14" y="10"/>
                    </a:cxn>
                    <a:cxn ang="0">
                      <a:pos x="12" y="10"/>
                    </a:cxn>
                    <a:cxn ang="0">
                      <a:pos x="8" y="10"/>
                    </a:cxn>
                    <a:cxn ang="0">
                      <a:pos x="8" y="10"/>
                    </a:cxn>
                  </a:cxnLst>
                  <a:rect l="0" t="0" r="r" b="b"/>
                  <a:pathLst>
                    <a:path w="44" h="16">
                      <a:moveTo>
                        <a:pt x="8" y="10"/>
                      </a:moveTo>
                      <a:lnTo>
                        <a:pt x="8" y="10"/>
                      </a:lnTo>
                      <a:lnTo>
                        <a:pt x="0" y="8"/>
                      </a:lnTo>
                      <a:lnTo>
                        <a:pt x="2" y="10"/>
                      </a:lnTo>
                      <a:lnTo>
                        <a:pt x="6" y="14"/>
                      </a:lnTo>
                      <a:lnTo>
                        <a:pt x="6" y="14"/>
                      </a:lnTo>
                      <a:lnTo>
                        <a:pt x="10" y="16"/>
                      </a:lnTo>
                      <a:lnTo>
                        <a:pt x="12" y="16"/>
                      </a:lnTo>
                      <a:lnTo>
                        <a:pt x="26" y="10"/>
                      </a:lnTo>
                      <a:lnTo>
                        <a:pt x="26" y="10"/>
                      </a:lnTo>
                      <a:lnTo>
                        <a:pt x="36" y="8"/>
                      </a:lnTo>
                      <a:lnTo>
                        <a:pt x="40" y="10"/>
                      </a:lnTo>
                      <a:lnTo>
                        <a:pt x="44" y="10"/>
                      </a:lnTo>
                      <a:lnTo>
                        <a:pt x="44" y="6"/>
                      </a:lnTo>
                      <a:lnTo>
                        <a:pt x="44" y="6"/>
                      </a:lnTo>
                      <a:lnTo>
                        <a:pt x="44" y="4"/>
                      </a:lnTo>
                      <a:lnTo>
                        <a:pt x="44" y="4"/>
                      </a:lnTo>
                      <a:lnTo>
                        <a:pt x="38" y="4"/>
                      </a:lnTo>
                      <a:lnTo>
                        <a:pt x="30" y="4"/>
                      </a:lnTo>
                      <a:lnTo>
                        <a:pt x="18" y="2"/>
                      </a:lnTo>
                      <a:lnTo>
                        <a:pt x="18" y="2"/>
                      </a:lnTo>
                      <a:lnTo>
                        <a:pt x="14" y="0"/>
                      </a:lnTo>
                      <a:lnTo>
                        <a:pt x="14" y="2"/>
                      </a:lnTo>
                      <a:lnTo>
                        <a:pt x="14" y="6"/>
                      </a:lnTo>
                      <a:lnTo>
                        <a:pt x="14" y="10"/>
                      </a:lnTo>
                      <a:lnTo>
                        <a:pt x="12" y="10"/>
                      </a:lnTo>
                      <a:lnTo>
                        <a:pt x="8" y="10"/>
                      </a:lnTo>
                      <a:lnTo>
                        <a:pt x="8" y="1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5" name="Freeform 6028"/>
                <p:cNvSpPr>
                  <a:spLocks/>
                </p:cNvSpPr>
                <p:nvPr/>
              </p:nvSpPr>
              <p:spPr bwMode="auto">
                <a:xfrm>
                  <a:off x="443230" y="1907223"/>
                  <a:ext cx="64770" cy="50800"/>
                </a:xfrm>
                <a:custGeom>
                  <a:avLst/>
                  <a:gdLst/>
                  <a:ahLst/>
                  <a:cxnLst>
                    <a:cxn ang="0">
                      <a:pos x="98" y="20"/>
                    </a:cxn>
                    <a:cxn ang="0">
                      <a:pos x="94" y="14"/>
                    </a:cxn>
                    <a:cxn ang="0">
                      <a:pos x="92" y="8"/>
                    </a:cxn>
                    <a:cxn ang="0">
                      <a:pos x="88" y="6"/>
                    </a:cxn>
                    <a:cxn ang="0">
                      <a:pos x="82" y="6"/>
                    </a:cxn>
                    <a:cxn ang="0">
                      <a:pos x="78" y="4"/>
                    </a:cxn>
                    <a:cxn ang="0">
                      <a:pos x="64" y="0"/>
                    </a:cxn>
                    <a:cxn ang="0">
                      <a:pos x="60" y="2"/>
                    </a:cxn>
                    <a:cxn ang="0">
                      <a:pos x="62" y="4"/>
                    </a:cxn>
                    <a:cxn ang="0">
                      <a:pos x="62" y="8"/>
                    </a:cxn>
                    <a:cxn ang="0">
                      <a:pos x="50" y="12"/>
                    </a:cxn>
                    <a:cxn ang="0">
                      <a:pos x="44" y="8"/>
                    </a:cxn>
                    <a:cxn ang="0">
                      <a:pos x="40" y="4"/>
                    </a:cxn>
                    <a:cxn ang="0">
                      <a:pos x="38" y="4"/>
                    </a:cxn>
                    <a:cxn ang="0">
                      <a:pos x="34" y="18"/>
                    </a:cxn>
                    <a:cxn ang="0">
                      <a:pos x="32" y="20"/>
                    </a:cxn>
                    <a:cxn ang="0">
                      <a:pos x="26" y="22"/>
                    </a:cxn>
                    <a:cxn ang="0">
                      <a:pos x="14" y="22"/>
                    </a:cxn>
                    <a:cxn ang="0">
                      <a:pos x="8" y="26"/>
                    </a:cxn>
                    <a:cxn ang="0">
                      <a:pos x="0" y="34"/>
                    </a:cxn>
                    <a:cxn ang="0">
                      <a:pos x="0" y="42"/>
                    </a:cxn>
                    <a:cxn ang="0">
                      <a:pos x="8" y="62"/>
                    </a:cxn>
                    <a:cxn ang="0">
                      <a:pos x="10" y="68"/>
                    </a:cxn>
                    <a:cxn ang="0">
                      <a:pos x="16" y="70"/>
                    </a:cxn>
                    <a:cxn ang="0">
                      <a:pos x="20" y="66"/>
                    </a:cxn>
                    <a:cxn ang="0">
                      <a:pos x="30" y="62"/>
                    </a:cxn>
                    <a:cxn ang="0">
                      <a:pos x="34" y="64"/>
                    </a:cxn>
                    <a:cxn ang="0">
                      <a:pos x="30" y="70"/>
                    </a:cxn>
                    <a:cxn ang="0">
                      <a:pos x="24" y="76"/>
                    </a:cxn>
                    <a:cxn ang="0">
                      <a:pos x="26" y="80"/>
                    </a:cxn>
                    <a:cxn ang="0">
                      <a:pos x="36" y="74"/>
                    </a:cxn>
                    <a:cxn ang="0">
                      <a:pos x="44" y="68"/>
                    </a:cxn>
                    <a:cxn ang="0">
                      <a:pos x="46" y="60"/>
                    </a:cxn>
                    <a:cxn ang="0">
                      <a:pos x="48" y="56"/>
                    </a:cxn>
                    <a:cxn ang="0">
                      <a:pos x="56" y="48"/>
                    </a:cxn>
                    <a:cxn ang="0">
                      <a:pos x="66" y="46"/>
                    </a:cxn>
                    <a:cxn ang="0">
                      <a:pos x="90" y="38"/>
                    </a:cxn>
                    <a:cxn ang="0">
                      <a:pos x="98" y="34"/>
                    </a:cxn>
                    <a:cxn ang="0">
                      <a:pos x="102" y="24"/>
                    </a:cxn>
                    <a:cxn ang="0">
                      <a:pos x="98" y="20"/>
                    </a:cxn>
                  </a:cxnLst>
                  <a:rect l="0" t="0" r="r" b="b"/>
                  <a:pathLst>
                    <a:path w="102" h="80">
                      <a:moveTo>
                        <a:pt x="98" y="20"/>
                      </a:moveTo>
                      <a:lnTo>
                        <a:pt x="98" y="20"/>
                      </a:lnTo>
                      <a:lnTo>
                        <a:pt x="94" y="18"/>
                      </a:lnTo>
                      <a:lnTo>
                        <a:pt x="94" y="14"/>
                      </a:lnTo>
                      <a:lnTo>
                        <a:pt x="94" y="12"/>
                      </a:lnTo>
                      <a:lnTo>
                        <a:pt x="92" y="8"/>
                      </a:lnTo>
                      <a:lnTo>
                        <a:pt x="92" y="8"/>
                      </a:lnTo>
                      <a:lnTo>
                        <a:pt x="88" y="6"/>
                      </a:lnTo>
                      <a:lnTo>
                        <a:pt x="86" y="6"/>
                      </a:lnTo>
                      <a:lnTo>
                        <a:pt x="82" y="6"/>
                      </a:lnTo>
                      <a:lnTo>
                        <a:pt x="78" y="4"/>
                      </a:lnTo>
                      <a:lnTo>
                        <a:pt x="78" y="4"/>
                      </a:lnTo>
                      <a:lnTo>
                        <a:pt x="70" y="0"/>
                      </a:lnTo>
                      <a:lnTo>
                        <a:pt x="64" y="0"/>
                      </a:lnTo>
                      <a:lnTo>
                        <a:pt x="60" y="0"/>
                      </a:lnTo>
                      <a:lnTo>
                        <a:pt x="60" y="2"/>
                      </a:lnTo>
                      <a:lnTo>
                        <a:pt x="62" y="4"/>
                      </a:lnTo>
                      <a:lnTo>
                        <a:pt x="62" y="4"/>
                      </a:lnTo>
                      <a:lnTo>
                        <a:pt x="64" y="6"/>
                      </a:lnTo>
                      <a:lnTo>
                        <a:pt x="62" y="8"/>
                      </a:lnTo>
                      <a:lnTo>
                        <a:pt x="58" y="12"/>
                      </a:lnTo>
                      <a:lnTo>
                        <a:pt x="50" y="12"/>
                      </a:lnTo>
                      <a:lnTo>
                        <a:pt x="46" y="10"/>
                      </a:lnTo>
                      <a:lnTo>
                        <a:pt x="44" y="8"/>
                      </a:lnTo>
                      <a:lnTo>
                        <a:pt x="44" y="8"/>
                      </a:lnTo>
                      <a:lnTo>
                        <a:pt x="40" y="4"/>
                      </a:lnTo>
                      <a:lnTo>
                        <a:pt x="38" y="4"/>
                      </a:lnTo>
                      <a:lnTo>
                        <a:pt x="38" y="4"/>
                      </a:lnTo>
                      <a:lnTo>
                        <a:pt x="34" y="10"/>
                      </a:lnTo>
                      <a:lnTo>
                        <a:pt x="34" y="18"/>
                      </a:lnTo>
                      <a:lnTo>
                        <a:pt x="34" y="18"/>
                      </a:lnTo>
                      <a:lnTo>
                        <a:pt x="32" y="20"/>
                      </a:lnTo>
                      <a:lnTo>
                        <a:pt x="32" y="22"/>
                      </a:lnTo>
                      <a:lnTo>
                        <a:pt x="26" y="22"/>
                      </a:lnTo>
                      <a:lnTo>
                        <a:pt x="18" y="20"/>
                      </a:lnTo>
                      <a:lnTo>
                        <a:pt x="14" y="22"/>
                      </a:lnTo>
                      <a:lnTo>
                        <a:pt x="8" y="26"/>
                      </a:lnTo>
                      <a:lnTo>
                        <a:pt x="8" y="26"/>
                      </a:lnTo>
                      <a:lnTo>
                        <a:pt x="4" y="30"/>
                      </a:lnTo>
                      <a:lnTo>
                        <a:pt x="0" y="34"/>
                      </a:lnTo>
                      <a:lnTo>
                        <a:pt x="0" y="38"/>
                      </a:lnTo>
                      <a:lnTo>
                        <a:pt x="0" y="42"/>
                      </a:lnTo>
                      <a:lnTo>
                        <a:pt x="4" y="50"/>
                      </a:lnTo>
                      <a:lnTo>
                        <a:pt x="8" y="62"/>
                      </a:lnTo>
                      <a:lnTo>
                        <a:pt x="8" y="62"/>
                      </a:lnTo>
                      <a:lnTo>
                        <a:pt x="10" y="68"/>
                      </a:lnTo>
                      <a:lnTo>
                        <a:pt x="14" y="70"/>
                      </a:lnTo>
                      <a:lnTo>
                        <a:pt x="16" y="70"/>
                      </a:lnTo>
                      <a:lnTo>
                        <a:pt x="20" y="66"/>
                      </a:lnTo>
                      <a:lnTo>
                        <a:pt x="20" y="66"/>
                      </a:lnTo>
                      <a:lnTo>
                        <a:pt x="24" y="64"/>
                      </a:lnTo>
                      <a:lnTo>
                        <a:pt x="30" y="62"/>
                      </a:lnTo>
                      <a:lnTo>
                        <a:pt x="32" y="62"/>
                      </a:lnTo>
                      <a:lnTo>
                        <a:pt x="34" y="64"/>
                      </a:lnTo>
                      <a:lnTo>
                        <a:pt x="32" y="66"/>
                      </a:lnTo>
                      <a:lnTo>
                        <a:pt x="30" y="70"/>
                      </a:lnTo>
                      <a:lnTo>
                        <a:pt x="30" y="70"/>
                      </a:lnTo>
                      <a:lnTo>
                        <a:pt x="24" y="76"/>
                      </a:lnTo>
                      <a:lnTo>
                        <a:pt x="24" y="78"/>
                      </a:lnTo>
                      <a:lnTo>
                        <a:pt x="26" y="80"/>
                      </a:lnTo>
                      <a:lnTo>
                        <a:pt x="30" y="78"/>
                      </a:lnTo>
                      <a:lnTo>
                        <a:pt x="36" y="74"/>
                      </a:lnTo>
                      <a:lnTo>
                        <a:pt x="36" y="74"/>
                      </a:lnTo>
                      <a:lnTo>
                        <a:pt x="44" y="68"/>
                      </a:lnTo>
                      <a:lnTo>
                        <a:pt x="46" y="66"/>
                      </a:lnTo>
                      <a:lnTo>
                        <a:pt x="46" y="60"/>
                      </a:lnTo>
                      <a:lnTo>
                        <a:pt x="46" y="60"/>
                      </a:lnTo>
                      <a:lnTo>
                        <a:pt x="48" y="56"/>
                      </a:lnTo>
                      <a:lnTo>
                        <a:pt x="50" y="52"/>
                      </a:lnTo>
                      <a:lnTo>
                        <a:pt x="56" y="48"/>
                      </a:lnTo>
                      <a:lnTo>
                        <a:pt x="66" y="46"/>
                      </a:lnTo>
                      <a:lnTo>
                        <a:pt x="66" y="46"/>
                      </a:lnTo>
                      <a:lnTo>
                        <a:pt x="80" y="44"/>
                      </a:lnTo>
                      <a:lnTo>
                        <a:pt x="90" y="38"/>
                      </a:lnTo>
                      <a:lnTo>
                        <a:pt x="90" y="38"/>
                      </a:lnTo>
                      <a:lnTo>
                        <a:pt x="98" y="34"/>
                      </a:lnTo>
                      <a:lnTo>
                        <a:pt x="102" y="28"/>
                      </a:lnTo>
                      <a:lnTo>
                        <a:pt x="102" y="24"/>
                      </a:lnTo>
                      <a:lnTo>
                        <a:pt x="100" y="22"/>
                      </a:lnTo>
                      <a:lnTo>
                        <a:pt x="98" y="20"/>
                      </a:lnTo>
                      <a:lnTo>
                        <a:pt x="98" y="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6" name="Freeform 6029"/>
                <p:cNvSpPr>
                  <a:spLocks/>
                </p:cNvSpPr>
                <p:nvPr/>
              </p:nvSpPr>
              <p:spPr bwMode="auto">
                <a:xfrm>
                  <a:off x="927100" y="1931353"/>
                  <a:ext cx="5080" cy="15240"/>
                </a:xfrm>
                <a:custGeom>
                  <a:avLst/>
                  <a:gdLst/>
                  <a:ahLst/>
                  <a:cxnLst>
                    <a:cxn ang="0">
                      <a:pos x="0" y="2"/>
                    </a:cxn>
                    <a:cxn ang="0">
                      <a:pos x="0" y="2"/>
                    </a:cxn>
                    <a:cxn ang="0">
                      <a:pos x="0" y="4"/>
                    </a:cxn>
                    <a:cxn ang="0">
                      <a:pos x="0" y="6"/>
                    </a:cxn>
                    <a:cxn ang="0">
                      <a:pos x="0" y="14"/>
                    </a:cxn>
                    <a:cxn ang="0">
                      <a:pos x="0" y="14"/>
                    </a:cxn>
                    <a:cxn ang="0">
                      <a:pos x="0" y="22"/>
                    </a:cxn>
                    <a:cxn ang="0">
                      <a:pos x="2" y="24"/>
                    </a:cxn>
                    <a:cxn ang="0">
                      <a:pos x="4" y="22"/>
                    </a:cxn>
                    <a:cxn ang="0">
                      <a:pos x="4" y="22"/>
                    </a:cxn>
                    <a:cxn ang="0">
                      <a:pos x="6" y="20"/>
                    </a:cxn>
                    <a:cxn ang="0">
                      <a:pos x="8" y="16"/>
                    </a:cxn>
                    <a:cxn ang="0">
                      <a:pos x="8" y="8"/>
                    </a:cxn>
                    <a:cxn ang="0">
                      <a:pos x="4" y="2"/>
                    </a:cxn>
                    <a:cxn ang="0">
                      <a:pos x="2" y="0"/>
                    </a:cxn>
                    <a:cxn ang="0">
                      <a:pos x="0" y="2"/>
                    </a:cxn>
                    <a:cxn ang="0">
                      <a:pos x="0" y="2"/>
                    </a:cxn>
                  </a:cxnLst>
                  <a:rect l="0" t="0" r="r" b="b"/>
                  <a:pathLst>
                    <a:path w="8" h="24">
                      <a:moveTo>
                        <a:pt x="0" y="2"/>
                      </a:moveTo>
                      <a:lnTo>
                        <a:pt x="0" y="2"/>
                      </a:lnTo>
                      <a:lnTo>
                        <a:pt x="0" y="4"/>
                      </a:lnTo>
                      <a:lnTo>
                        <a:pt x="0" y="6"/>
                      </a:lnTo>
                      <a:lnTo>
                        <a:pt x="0" y="14"/>
                      </a:lnTo>
                      <a:lnTo>
                        <a:pt x="0" y="14"/>
                      </a:lnTo>
                      <a:lnTo>
                        <a:pt x="0" y="22"/>
                      </a:lnTo>
                      <a:lnTo>
                        <a:pt x="2" y="24"/>
                      </a:lnTo>
                      <a:lnTo>
                        <a:pt x="4" y="22"/>
                      </a:lnTo>
                      <a:lnTo>
                        <a:pt x="4" y="22"/>
                      </a:lnTo>
                      <a:lnTo>
                        <a:pt x="6" y="20"/>
                      </a:lnTo>
                      <a:lnTo>
                        <a:pt x="8" y="16"/>
                      </a:lnTo>
                      <a:lnTo>
                        <a:pt x="8" y="8"/>
                      </a:lnTo>
                      <a:lnTo>
                        <a:pt x="4" y="2"/>
                      </a:lnTo>
                      <a:lnTo>
                        <a:pt x="2" y="0"/>
                      </a:lnTo>
                      <a:lnTo>
                        <a:pt x="0" y="2"/>
                      </a:lnTo>
                      <a:lnTo>
                        <a:pt x="0"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7" name="Freeform 6030"/>
                <p:cNvSpPr>
                  <a:spLocks/>
                </p:cNvSpPr>
                <p:nvPr/>
              </p:nvSpPr>
              <p:spPr bwMode="auto">
                <a:xfrm>
                  <a:off x="933450" y="1925003"/>
                  <a:ext cx="25400" cy="54610"/>
                </a:xfrm>
                <a:custGeom>
                  <a:avLst/>
                  <a:gdLst/>
                  <a:ahLst/>
                  <a:cxnLst>
                    <a:cxn ang="0">
                      <a:pos x="36" y="42"/>
                    </a:cxn>
                    <a:cxn ang="0">
                      <a:pos x="36" y="42"/>
                    </a:cxn>
                    <a:cxn ang="0">
                      <a:pos x="32" y="26"/>
                    </a:cxn>
                    <a:cxn ang="0">
                      <a:pos x="28" y="16"/>
                    </a:cxn>
                    <a:cxn ang="0">
                      <a:pos x="24" y="8"/>
                    </a:cxn>
                    <a:cxn ang="0">
                      <a:pos x="14" y="2"/>
                    </a:cxn>
                    <a:cxn ang="0">
                      <a:pos x="14" y="2"/>
                    </a:cxn>
                    <a:cxn ang="0">
                      <a:pos x="10" y="0"/>
                    </a:cxn>
                    <a:cxn ang="0">
                      <a:pos x="6" y="0"/>
                    </a:cxn>
                    <a:cxn ang="0">
                      <a:pos x="2" y="2"/>
                    </a:cxn>
                    <a:cxn ang="0">
                      <a:pos x="0" y="6"/>
                    </a:cxn>
                    <a:cxn ang="0">
                      <a:pos x="0" y="12"/>
                    </a:cxn>
                    <a:cxn ang="0">
                      <a:pos x="0" y="18"/>
                    </a:cxn>
                    <a:cxn ang="0">
                      <a:pos x="0" y="18"/>
                    </a:cxn>
                    <a:cxn ang="0">
                      <a:pos x="8" y="24"/>
                    </a:cxn>
                    <a:cxn ang="0">
                      <a:pos x="10" y="30"/>
                    </a:cxn>
                    <a:cxn ang="0">
                      <a:pos x="10" y="38"/>
                    </a:cxn>
                    <a:cxn ang="0">
                      <a:pos x="10" y="38"/>
                    </a:cxn>
                    <a:cxn ang="0">
                      <a:pos x="10" y="42"/>
                    </a:cxn>
                    <a:cxn ang="0">
                      <a:pos x="10" y="44"/>
                    </a:cxn>
                    <a:cxn ang="0">
                      <a:pos x="14" y="46"/>
                    </a:cxn>
                    <a:cxn ang="0">
                      <a:pos x="18" y="48"/>
                    </a:cxn>
                    <a:cxn ang="0">
                      <a:pos x="18" y="50"/>
                    </a:cxn>
                    <a:cxn ang="0">
                      <a:pos x="18" y="54"/>
                    </a:cxn>
                    <a:cxn ang="0">
                      <a:pos x="18" y="54"/>
                    </a:cxn>
                    <a:cxn ang="0">
                      <a:pos x="18" y="58"/>
                    </a:cxn>
                    <a:cxn ang="0">
                      <a:pos x="20" y="58"/>
                    </a:cxn>
                    <a:cxn ang="0">
                      <a:pos x="22" y="58"/>
                    </a:cxn>
                    <a:cxn ang="0">
                      <a:pos x="22" y="62"/>
                    </a:cxn>
                    <a:cxn ang="0">
                      <a:pos x="22" y="62"/>
                    </a:cxn>
                    <a:cxn ang="0">
                      <a:pos x="22" y="68"/>
                    </a:cxn>
                    <a:cxn ang="0">
                      <a:pos x="24" y="72"/>
                    </a:cxn>
                    <a:cxn ang="0">
                      <a:pos x="28" y="76"/>
                    </a:cxn>
                    <a:cxn ang="0">
                      <a:pos x="28" y="76"/>
                    </a:cxn>
                    <a:cxn ang="0">
                      <a:pos x="36" y="86"/>
                    </a:cxn>
                    <a:cxn ang="0">
                      <a:pos x="38" y="86"/>
                    </a:cxn>
                    <a:cxn ang="0">
                      <a:pos x="40" y="86"/>
                    </a:cxn>
                    <a:cxn ang="0">
                      <a:pos x="40" y="80"/>
                    </a:cxn>
                    <a:cxn ang="0">
                      <a:pos x="38" y="70"/>
                    </a:cxn>
                    <a:cxn ang="0">
                      <a:pos x="38" y="70"/>
                    </a:cxn>
                    <a:cxn ang="0">
                      <a:pos x="36" y="62"/>
                    </a:cxn>
                    <a:cxn ang="0">
                      <a:pos x="38" y="60"/>
                    </a:cxn>
                    <a:cxn ang="0">
                      <a:pos x="40" y="54"/>
                    </a:cxn>
                    <a:cxn ang="0">
                      <a:pos x="36" y="42"/>
                    </a:cxn>
                    <a:cxn ang="0">
                      <a:pos x="36" y="42"/>
                    </a:cxn>
                  </a:cxnLst>
                  <a:rect l="0" t="0" r="r" b="b"/>
                  <a:pathLst>
                    <a:path w="40" h="86">
                      <a:moveTo>
                        <a:pt x="36" y="42"/>
                      </a:moveTo>
                      <a:lnTo>
                        <a:pt x="36" y="42"/>
                      </a:lnTo>
                      <a:lnTo>
                        <a:pt x="32" y="26"/>
                      </a:lnTo>
                      <a:lnTo>
                        <a:pt x="28" y="16"/>
                      </a:lnTo>
                      <a:lnTo>
                        <a:pt x="24" y="8"/>
                      </a:lnTo>
                      <a:lnTo>
                        <a:pt x="14" y="2"/>
                      </a:lnTo>
                      <a:lnTo>
                        <a:pt x="14" y="2"/>
                      </a:lnTo>
                      <a:lnTo>
                        <a:pt x="10" y="0"/>
                      </a:lnTo>
                      <a:lnTo>
                        <a:pt x="6" y="0"/>
                      </a:lnTo>
                      <a:lnTo>
                        <a:pt x="2" y="2"/>
                      </a:lnTo>
                      <a:lnTo>
                        <a:pt x="0" y="6"/>
                      </a:lnTo>
                      <a:lnTo>
                        <a:pt x="0" y="12"/>
                      </a:lnTo>
                      <a:lnTo>
                        <a:pt x="0" y="18"/>
                      </a:lnTo>
                      <a:lnTo>
                        <a:pt x="0" y="18"/>
                      </a:lnTo>
                      <a:lnTo>
                        <a:pt x="8" y="24"/>
                      </a:lnTo>
                      <a:lnTo>
                        <a:pt x="10" y="30"/>
                      </a:lnTo>
                      <a:lnTo>
                        <a:pt x="10" y="38"/>
                      </a:lnTo>
                      <a:lnTo>
                        <a:pt x="10" y="38"/>
                      </a:lnTo>
                      <a:lnTo>
                        <a:pt x="10" y="42"/>
                      </a:lnTo>
                      <a:lnTo>
                        <a:pt x="10" y="44"/>
                      </a:lnTo>
                      <a:lnTo>
                        <a:pt x="14" y="46"/>
                      </a:lnTo>
                      <a:lnTo>
                        <a:pt x="18" y="48"/>
                      </a:lnTo>
                      <a:lnTo>
                        <a:pt x="18" y="50"/>
                      </a:lnTo>
                      <a:lnTo>
                        <a:pt x="18" y="54"/>
                      </a:lnTo>
                      <a:lnTo>
                        <a:pt x="18" y="54"/>
                      </a:lnTo>
                      <a:lnTo>
                        <a:pt x="18" y="58"/>
                      </a:lnTo>
                      <a:lnTo>
                        <a:pt x="20" y="58"/>
                      </a:lnTo>
                      <a:lnTo>
                        <a:pt x="22" y="58"/>
                      </a:lnTo>
                      <a:lnTo>
                        <a:pt x="22" y="62"/>
                      </a:lnTo>
                      <a:lnTo>
                        <a:pt x="22" y="62"/>
                      </a:lnTo>
                      <a:lnTo>
                        <a:pt x="22" y="68"/>
                      </a:lnTo>
                      <a:lnTo>
                        <a:pt x="24" y="72"/>
                      </a:lnTo>
                      <a:lnTo>
                        <a:pt x="28" y="76"/>
                      </a:lnTo>
                      <a:lnTo>
                        <a:pt x="28" y="76"/>
                      </a:lnTo>
                      <a:lnTo>
                        <a:pt x="36" y="86"/>
                      </a:lnTo>
                      <a:lnTo>
                        <a:pt x="38" y="86"/>
                      </a:lnTo>
                      <a:lnTo>
                        <a:pt x="40" y="86"/>
                      </a:lnTo>
                      <a:lnTo>
                        <a:pt x="40" y="80"/>
                      </a:lnTo>
                      <a:lnTo>
                        <a:pt x="38" y="70"/>
                      </a:lnTo>
                      <a:lnTo>
                        <a:pt x="38" y="70"/>
                      </a:lnTo>
                      <a:lnTo>
                        <a:pt x="36" y="62"/>
                      </a:lnTo>
                      <a:lnTo>
                        <a:pt x="38" y="60"/>
                      </a:lnTo>
                      <a:lnTo>
                        <a:pt x="40" y="54"/>
                      </a:lnTo>
                      <a:lnTo>
                        <a:pt x="36" y="42"/>
                      </a:lnTo>
                      <a:lnTo>
                        <a:pt x="36" y="4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8" name="Freeform 6031"/>
                <p:cNvSpPr>
                  <a:spLocks/>
                </p:cNvSpPr>
                <p:nvPr/>
              </p:nvSpPr>
              <p:spPr bwMode="auto">
                <a:xfrm>
                  <a:off x="951230" y="1890713"/>
                  <a:ext cx="26670" cy="54610"/>
                </a:xfrm>
                <a:custGeom>
                  <a:avLst/>
                  <a:gdLst/>
                  <a:ahLst/>
                  <a:cxnLst>
                    <a:cxn ang="0">
                      <a:pos x="38" y="66"/>
                    </a:cxn>
                    <a:cxn ang="0">
                      <a:pos x="38" y="66"/>
                    </a:cxn>
                    <a:cxn ang="0">
                      <a:pos x="40" y="66"/>
                    </a:cxn>
                    <a:cxn ang="0">
                      <a:pos x="42" y="64"/>
                    </a:cxn>
                    <a:cxn ang="0">
                      <a:pos x="42" y="58"/>
                    </a:cxn>
                    <a:cxn ang="0">
                      <a:pos x="40" y="52"/>
                    </a:cxn>
                    <a:cxn ang="0">
                      <a:pos x="40" y="50"/>
                    </a:cxn>
                    <a:cxn ang="0">
                      <a:pos x="40" y="48"/>
                    </a:cxn>
                    <a:cxn ang="0">
                      <a:pos x="40" y="48"/>
                    </a:cxn>
                    <a:cxn ang="0">
                      <a:pos x="42" y="48"/>
                    </a:cxn>
                    <a:cxn ang="0">
                      <a:pos x="42" y="44"/>
                    </a:cxn>
                    <a:cxn ang="0">
                      <a:pos x="40" y="36"/>
                    </a:cxn>
                    <a:cxn ang="0">
                      <a:pos x="30" y="16"/>
                    </a:cxn>
                    <a:cxn ang="0">
                      <a:pos x="30" y="16"/>
                    </a:cxn>
                    <a:cxn ang="0">
                      <a:pos x="28" y="12"/>
                    </a:cxn>
                    <a:cxn ang="0">
                      <a:pos x="24" y="10"/>
                    </a:cxn>
                    <a:cxn ang="0">
                      <a:pos x="20" y="10"/>
                    </a:cxn>
                    <a:cxn ang="0">
                      <a:pos x="14" y="10"/>
                    </a:cxn>
                    <a:cxn ang="0">
                      <a:pos x="10" y="8"/>
                    </a:cxn>
                    <a:cxn ang="0">
                      <a:pos x="8" y="4"/>
                    </a:cxn>
                    <a:cxn ang="0">
                      <a:pos x="8" y="4"/>
                    </a:cxn>
                    <a:cxn ang="0">
                      <a:pos x="2" y="0"/>
                    </a:cxn>
                    <a:cxn ang="0">
                      <a:pos x="2" y="2"/>
                    </a:cxn>
                    <a:cxn ang="0">
                      <a:pos x="0" y="4"/>
                    </a:cxn>
                    <a:cxn ang="0">
                      <a:pos x="4" y="20"/>
                    </a:cxn>
                    <a:cxn ang="0">
                      <a:pos x="4" y="20"/>
                    </a:cxn>
                    <a:cxn ang="0">
                      <a:pos x="8" y="36"/>
                    </a:cxn>
                    <a:cxn ang="0">
                      <a:pos x="10" y="46"/>
                    </a:cxn>
                    <a:cxn ang="0">
                      <a:pos x="14" y="58"/>
                    </a:cxn>
                    <a:cxn ang="0">
                      <a:pos x="14" y="58"/>
                    </a:cxn>
                    <a:cxn ang="0">
                      <a:pos x="16" y="66"/>
                    </a:cxn>
                    <a:cxn ang="0">
                      <a:pos x="16" y="66"/>
                    </a:cxn>
                    <a:cxn ang="0">
                      <a:pos x="14" y="68"/>
                    </a:cxn>
                    <a:cxn ang="0">
                      <a:pos x="12" y="70"/>
                    </a:cxn>
                    <a:cxn ang="0">
                      <a:pos x="10" y="74"/>
                    </a:cxn>
                    <a:cxn ang="0">
                      <a:pos x="10" y="82"/>
                    </a:cxn>
                    <a:cxn ang="0">
                      <a:pos x="10" y="82"/>
                    </a:cxn>
                    <a:cxn ang="0">
                      <a:pos x="12" y="86"/>
                    </a:cxn>
                    <a:cxn ang="0">
                      <a:pos x="16" y="86"/>
                    </a:cxn>
                    <a:cxn ang="0">
                      <a:pos x="28" y="80"/>
                    </a:cxn>
                    <a:cxn ang="0">
                      <a:pos x="28" y="80"/>
                    </a:cxn>
                    <a:cxn ang="0">
                      <a:pos x="30" y="78"/>
                    </a:cxn>
                    <a:cxn ang="0">
                      <a:pos x="32" y="74"/>
                    </a:cxn>
                    <a:cxn ang="0">
                      <a:pos x="32" y="70"/>
                    </a:cxn>
                    <a:cxn ang="0">
                      <a:pos x="32" y="68"/>
                    </a:cxn>
                    <a:cxn ang="0">
                      <a:pos x="38" y="66"/>
                    </a:cxn>
                    <a:cxn ang="0">
                      <a:pos x="38" y="66"/>
                    </a:cxn>
                  </a:cxnLst>
                  <a:rect l="0" t="0" r="r" b="b"/>
                  <a:pathLst>
                    <a:path w="42" h="86">
                      <a:moveTo>
                        <a:pt x="38" y="66"/>
                      </a:moveTo>
                      <a:lnTo>
                        <a:pt x="38" y="66"/>
                      </a:lnTo>
                      <a:lnTo>
                        <a:pt x="40" y="66"/>
                      </a:lnTo>
                      <a:lnTo>
                        <a:pt x="42" y="64"/>
                      </a:lnTo>
                      <a:lnTo>
                        <a:pt x="42" y="58"/>
                      </a:lnTo>
                      <a:lnTo>
                        <a:pt x="40" y="52"/>
                      </a:lnTo>
                      <a:lnTo>
                        <a:pt x="40" y="50"/>
                      </a:lnTo>
                      <a:lnTo>
                        <a:pt x="40" y="48"/>
                      </a:lnTo>
                      <a:lnTo>
                        <a:pt x="40" y="48"/>
                      </a:lnTo>
                      <a:lnTo>
                        <a:pt x="42" y="48"/>
                      </a:lnTo>
                      <a:lnTo>
                        <a:pt x="42" y="44"/>
                      </a:lnTo>
                      <a:lnTo>
                        <a:pt x="40" y="36"/>
                      </a:lnTo>
                      <a:lnTo>
                        <a:pt x="30" y="16"/>
                      </a:lnTo>
                      <a:lnTo>
                        <a:pt x="30" y="16"/>
                      </a:lnTo>
                      <a:lnTo>
                        <a:pt x="28" y="12"/>
                      </a:lnTo>
                      <a:lnTo>
                        <a:pt x="24" y="10"/>
                      </a:lnTo>
                      <a:lnTo>
                        <a:pt x="20" y="10"/>
                      </a:lnTo>
                      <a:lnTo>
                        <a:pt x="14" y="10"/>
                      </a:lnTo>
                      <a:lnTo>
                        <a:pt x="10" y="8"/>
                      </a:lnTo>
                      <a:lnTo>
                        <a:pt x="8" y="4"/>
                      </a:lnTo>
                      <a:lnTo>
                        <a:pt x="8" y="4"/>
                      </a:lnTo>
                      <a:lnTo>
                        <a:pt x="2" y="0"/>
                      </a:lnTo>
                      <a:lnTo>
                        <a:pt x="2" y="2"/>
                      </a:lnTo>
                      <a:lnTo>
                        <a:pt x="0" y="4"/>
                      </a:lnTo>
                      <a:lnTo>
                        <a:pt x="4" y="20"/>
                      </a:lnTo>
                      <a:lnTo>
                        <a:pt x="4" y="20"/>
                      </a:lnTo>
                      <a:lnTo>
                        <a:pt x="8" y="36"/>
                      </a:lnTo>
                      <a:lnTo>
                        <a:pt x="10" y="46"/>
                      </a:lnTo>
                      <a:lnTo>
                        <a:pt x="14" y="58"/>
                      </a:lnTo>
                      <a:lnTo>
                        <a:pt x="14" y="58"/>
                      </a:lnTo>
                      <a:lnTo>
                        <a:pt x="16" y="66"/>
                      </a:lnTo>
                      <a:lnTo>
                        <a:pt x="16" y="66"/>
                      </a:lnTo>
                      <a:lnTo>
                        <a:pt x="14" y="68"/>
                      </a:lnTo>
                      <a:lnTo>
                        <a:pt x="12" y="70"/>
                      </a:lnTo>
                      <a:lnTo>
                        <a:pt x="10" y="74"/>
                      </a:lnTo>
                      <a:lnTo>
                        <a:pt x="10" y="82"/>
                      </a:lnTo>
                      <a:lnTo>
                        <a:pt x="10" y="82"/>
                      </a:lnTo>
                      <a:lnTo>
                        <a:pt x="12" y="86"/>
                      </a:lnTo>
                      <a:lnTo>
                        <a:pt x="16" y="86"/>
                      </a:lnTo>
                      <a:lnTo>
                        <a:pt x="28" y="80"/>
                      </a:lnTo>
                      <a:lnTo>
                        <a:pt x="28" y="80"/>
                      </a:lnTo>
                      <a:lnTo>
                        <a:pt x="30" y="78"/>
                      </a:lnTo>
                      <a:lnTo>
                        <a:pt x="32" y="74"/>
                      </a:lnTo>
                      <a:lnTo>
                        <a:pt x="32" y="70"/>
                      </a:lnTo>
                      <a:lnTo>
                        <a:pt x="32" y="68"/>
                      </a:lnTo>
                      <a:lnTo>
                        <a:pt x="38" y="66"/>
                      </a:lnTo>
                      <a:lnTo>
                        <a:pt x="38" y="6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9" name="Freeform 6032"/>
                <p:cNvSpPr>
                  <a:spLocks/>
                </p:cNvSpPr>
                <p:nvPr/>
              </p:nvSpPr>
              <p:spPr bwMode="auto">
                <a:xfrm>
                  <a:off x="994410" y="2016443"/>
                  <a:ext cx="13970" cy="22860"/>
                </a:xfrm>
                <a:custGeom>
                  <a:avLst/>
                  <a:gdLst/>
                  <a:ahLst/>
                  <a:cxnLst>
                    <a:cxn ang="0">
                      <a:pos x="22" y="30"/>
                    </a:cxn>
                    <a:cxn ang="0">
                      <a:pos x="22" y="30"/>
                    </a:cxn>
                    <a:cxn ang="0">
                      <a:pos x="20" y="26"/>
                    </a:cxn>
                    <a:cxn ang="0">
                      <a:pos x="18" y="22"/>
                    </a:cxn>
                    <a:cxn ang="0">
                      <a:pos x="10" y="14"/>
                    </a:cxn>
                    <a:cxn ang="0">
                      <a:pos x="10" y="14"/>
                    </a:cxn>
                    <a:cxn ang="0">
                      <a:pos x="8" y="10"/>
                    </a:cxn>
                    <a:cxn ang="0">
                      <a:pos x="8" y="8"/>
                    </a:cxn>
                    <a:cxn ang="0">
                      <a:pos x="8" y="8"/>
                    </a:cxn>
                    <a:cxn ang="0">
                      <a:pos x="8" y="4"/>
                    </a:cxn>
                    <a:cxn ang="0">
                      <a:pos x="8" y="4"/>
                    </a:cxn>
                    <a:cxn ang="0">
                      <a:pos x="6" y="0"/>
                    </a:cxn>
                    <a:cxn ang="0">
                      <a:pos x="4" y="0"/>
                    </a:cxn>
                    <a:cxn ang="0">
                      <a:pos x="2" y="0"/>
                    </a:cxn>
                    <a:cxn ang="0">
                      <a:pos x="2" y="0"/>
                    </a:cxn>
                    <a:cxn ang="0">
                      <a:pos x="0" y="4"/>
                    </a:cxn>
                    <a:cxn ang="0">
                      <a:pos x="0" y="6"/>
                    </a:cxn>
                    <a:cxn ang="0">
                      <a:pos x="2" y="14"/>
                    </a:cxn>
                    <a:cxn ang="0">
                      <a:pos x="2" y="14"/>
                    </a:cxn>
                    <a:cxn ang="0">
                      <a:pos x="12" y="26"/>
                    </a:cxn>
                    <a:cxn ang="0">
                      <a:pos x="12" y="26"/>
                    </a:cxn>
                    <a:cxn ang="0">
                      <a:pos x="16" y="32"/>
                    </a:cxn>
                    <a:cxn ang="0">
                      <a:pos x="20" y="36"/>
                    </a:cxn>
                    <a:cxn ang="0">
                      <a:pos x="22" y="34"/>
                    </a:cxn>
                    <a:cxn ang="0">
                      <a:pos x="22" y="30"/>
                    </a:cxn>
                    <a:cxn ang="0">
                      <a:pos x="22" y="30"/>
                    </a:cxn>
                  </a:cxnLst>
                  <a:rect l="0" t="0" r="r" b="b"/>
                  <a:pathLst>
                    <a:path w="22" h="36">
                      <a:moveTo>
                        <a:pt x="22" y="30"/>
                      </a:moveTo>
                      <a:lnTo>
                        <a:pt x="22" y="30"/>
                      </a:lnTo>
                      <a:lnTo>
                        <a:pt x="20" y="26"/>
                      </a:lnTo>
                      <a:lnTo>
                        <a:pt x="18" y="22"/>
                      </a:lnTo>
                      <a:lnTo>
                        <a:pt x="10" y="14"/>
                      </a:lnTo>
                      <a:lnTo>
                        <a:pt x="10" y="14"/>
                      </a:lnTo>
                      <a:lnTo>
                        <a:pt x="8" y="10"/>
                      </a:lnTo>
                      <a:lnTo>
                        <a:pt x="8" y="8"/>
                      </a:lnTo>
                      <a:lnTo>
                        <a:pt x="8" y="8"/>
                      </a:lnTo>
                      <a:lnTo>
                        <a:pt x="8" y="4"/>
                      </a:lnTo>
                      <a:lnTo>
                        <a:pt x="8" y="4"/>
                      </a:lnTo>
                      <a:lnTo>
                        <a:pt x="6" y="0"/>
                      </a:lnTo>
                      <a:lnTo>
                        <a:pt x="4" y="0"/>
                      </a:lnTo>
                      <a:lnTo>
                        <a:pt x="2" y="0"/>
                      </a:lnTo>
                      <a:lnTo>
                        <a:pt x="2" y="0"/>
                      </a:lnTo>
                      <a:lnTo>
                        <a:pt x="0" y="4"/>
                      </a:lnTo>
                      <a:lnTo>
                        <a:pt x="0" y="6"/>
                      </a:lnTo>
                      <a:lnTo>
                        <a:pt x="2" y="14"/>
                      </a:lnTo>
                      <a:lnTo>
                        <a:pt x="2" y="14"/>
                      </a:lnTo>
                      <a:lnTo>
                        <a:pt x="12" y="26"/>
                      </a:lnTo>
                      <a:lnTo>
                        <a:pt x="12" y="26"/>
                      </a:lnTo>
                      <a:lnTo>
                        <a:pt x="16" y="32"/>
                      </a:lnTo>
                      <a:lnTo>
                        <a:pt x="20" y="36"/>
                      </a:lnTo>
                      <a:lnTo>
                        <a:pt x="22" y="34"/>
                      </a:lnTo>
                      <a:lnTo>
                        <a:pt x="22" y="30"/>
                      </a:lnTo>
                      <a:lnTo>
                        <a:pt x="22" y="3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0" name="Freeform 6034"/>
                <p:cNvSpPr>
                  <a:spLocks/>
                </p:cNvSpPr>
                <p:nvPr/>
              </p:nvSpPr>
              <p:spPr bwMode="auto">
                <a:xfrm>
                  <a:off x="976630" y="1941513"/>
                  <a:ext cx="25400" cy="26670"/>
                </a:xfrm>
                <a:custGeom>
                  <a:avLst/>
                  <a:gdLst/>
                  <a:ahLst/>
                  <a:cxnLst>
                    <a:cxn ang="0">
                      <a:pos x="34" y="30"/>
                    </a:cxn>
                    <a:cxn ang="0">
                      <a:pos x="34" y="30"/>
                    </a:cxn>
                    <a:cxn ang="0">
                      <a:pos x="36" y="26"/>
                    </a:cxn>
                    <a:cxn ang="0">
                      <a:pos x="38" y="22"/>
                    </a:cxn>
                    <a:cxn ang="0">
                      <a:pos x="40" y="16"/>
                    </a:cxn>
                    <a:cxn ang="0">
                      <a:pos x="36" y="10"/>
                    </a:cxn>
                    <a:cxn ang="0">
                      <a:pos x="36" y="10"/>
                    </a:cxn>
                    <a:cxn ang="0">
                      <a:pos x="32" y="6"/>
                    </a:cxn>
                    <a:cxn ang="0">
                      <a:pos x="28" y="6"/>
                    </a:cxn>
                    <a:cxn ang="0">
                      <a:pos x="24" y="6"/>
                    </a:cxn>
                    <a:cxn ang="0">
                      <a:pos x="18" y="4"/>
                    </a:cxn>
                    <a:cxn ang="0">
                      <a:pos x="18" y="4"/>
                    </a:cxn>
                    <a:cxn ang="0">
                      <a:pos x="12" y="0"/>
                    </a:cxn>
                    <a:cxn ang="0">
                      <a:pos x="4" y="0"/>
                    </a:cxn>
                    <a:cxn ang="0">
                      <a:pos x="0" y="4"/>
                    </a:cxn>
                    <a:cxn ang="0">
                      <a:pos x="0" y="6"/>
                    </a:cxn>
                    <a:cxn ang="0">
                      <a:pos x="0" y="10"/>
                    </a:cxn>
                    <a:cxn ang="0">
                      <a:pos x="0" y="10"/>
                    </a:cxn>
                    <a:cxn ang="0">
                      <a:pos x="0" y="14"/>
                    </a:cxn>
                    <a:cxn ang="0">
                      <a:pos x="2" y="16"/>
                    </a:cxn>
                    <a:cxn ang="0">
                      <a:pos x="6" y="16"/>
                    </a:cxn>
                    <a:cxn ang="0">
                      <a:pos x="10" y="16"/>
                    </a:cxn>
                    <a:cxn ang="0">
                      <a:pos x="12" y="16"/>
                    </a:cxn>
                    <a:cxn ang="0">
                      <a:pos x="12" y="20"/>
                    </a:cxn>
                    <a:cxn ang="0">
                      <a:pos x="12" y="26"/>
                    </a:cxn>
                    <a:cxn ang="0">
                      <a:pos x="12" y="26"/>
                    </a:cxn>
                    <a:cxn ang="0">
                      <a:pos x="12" y="36"/>
                    </a:cxn>
                    <a:cxn ang="0">
                      <a:pos x="14" y="38"/>
                    </a:cxn>
                    <a:cxn ang="0">
                      <a:pos x="16" y="40"/>
                    </a:cxn>
                    <a:cxn ang="0">
                      <a:pos x="20" y="40"/>
                    </a:cxn>
                    <a:cxn ang="0">
                      <a:pos x="28" y="40"/>
                    </a:cxn>
                    <a:cxn ang="0">
                      <a:pos x="28" y="40"/>
                    </a:cxn>
                    <a:cxn ang="0">
                      <a:pos x="32" y="42"/>
                    </a:cxn>
                    <a:cxn ang="0">
                      <a:pos x="34" y="40"/>
                    </a:cxn>
                    <a:cxn ang="0">
                      <a:pos x="34" y="38"/>
                    </a:cxn>
                    <a:cxn ang="0">
                      <a:pos x="32" y="32"/>
                    </a:cxn>
                    <a:cxn ang="0">
                      <a:pos x="32" y="30"/>
                    </a:cxn>
                    <a:cxn ang="0">
                      <a:pos x="34" y="30"/>
                    </a:cxn>
                    <a:cxn ang="0">
                      <a:pos x="34" y="30"/>
                    </a:cxn>
                  </a:cxnLst>
                  <a:rect l="0" t="0" r="r" b="b"/>
                  <a:pathLst>
                    <a:path w="40" h="42">
                      <a:moveTo>
                        <a:pt x="34" y="30"/>
                      </a:moveTo>
                      <a:lnTo>
                        <a:pt x="34" y="30"/>
                      </a:lnTo>
                      <a:lnTo>
                        <a:pt x="36" y="26"/>
                      </a:lnTo>
                      <a:lnTo>
                        <a:pt x="38" y="22"/>
                      </a:lnTo>
                      <a:lnTo>
                        <a:pt x="40" y="16"/>
                      </a:lnTo>
                      <a:lnTo>
                        <a:pt x="36" y="10"/>
                      </a:lnTo>
                      <a:lnTo>
                        <a:pt x="36" y="10"/>
                      </a:lnTo>
                      <a:lnTo>
                        <a:pt x="32" y="6"/>
                      </a:lnTo>
                      <a:lnTo>
                        <a:pt x="28" y="6"/>
                      </a:lnTo>
                      <a:lnTo>
                        <a:pt x="24" y="6"/>
                      </a:lnTo>
                      <a:lnTo>
                        <a:pt x="18" y="4"/>
                      </a:lnTo>
                      <a:lnTo>
                        <a:pt x="18" y="4"/>
                      </a:lnTo>
                      <a:lnTo>
                        <a:pt x="12" y="0"/>
                      </a:lnTo>
                      <a:lnTo>
                        <a:pt x="4" y="0"/>
                      </a:lnTo>
                      <a:lnTo>
                        <a:pt x="0" y="4"/>
                      </a:lnTo>
                      <a:lnTo>
                        <a:pt x="0" y="6"/>
                      </a:lnTo>
                      <a:lnTo>
                        <a:pt x="0" y="10"/>
                      </a:lnTo>
                      <a:lnTo>
                        <a:pt x="0" y="10"/>
                      </a:lnTo>
                      <a:lnTo>
                        <a:pt x="0" y="14"/>
                      </a:lnTo>
                      <a:lnTo>
                        <a:pt x="2" y="16"/>
                      </a:lnTo>
                      <a:lnTo>
                        <a:pt x="6" y="16"/>
                      </a:lnTo>
                      <a:lnTo>
                        <a:pt x="10" y="16"/>
                      </a:lnTo>
                      <a:lnTo>
                        <a:pt x="12" y="16"/>
                      </a:lnTo>
                      <a:lnTo>
                        <a:pt x="12" y="20"/>
                      </a:lnTo>
                      <a:lnTo>
                        <a:pt x="12" y="26"/>
                      </a:lnTo>
                      <a:lnTo>
                        <a:pt x="12" y="26"/>
                      </a:lnTo>
                      <a:lnTo>
                        <a:pt x="12" y="36"/>
                      </a:lnTo>
                      <a:lnTo>
                        <a:pt x="14" y="38"/>
                      </a:lnTo>
                      <a:lnTo>
                        <a:pt x="16" y="40"/>
                      </a:lnTo>
                      <a:lnTo>
                        <a:pt x="20" y="40"/>
                      </a:lnTo>
                      <a:lnTo>
                        <a:pt x="28" y="40"/>
                      </a:lnTo>
                      <a:lnTo>
                        <a:pt x="28" y="40"/>
                      </a:lnTo>
                      <a:lnTo>
                        <a:pt x="32" y="42"/>
                      </a:lnTo>
                      <a:lnTo>
                        <a:pt x="34" y="40"/>
                      </a:lnTo>
                      <a:lnTo>
                        <a:pt x="34" y="38"/>
                      </a:lnTo>
                      <a:lnTo>
                        <a:pt x="32" y="32"/>
                      </a:lnTo>
                      <a:lnTo>
                        <a:pt x="32" y="30"/>
                      </a:lnTo>
                      <a:lnTo>
                        <a:pt x="34" y="30"/>
                      </a:lnTo>
                      <a:lnTo>
                        <a:pt x="34" y="3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1" name="Freeform 6035"/>
                <p:cNvSpPr>
                  <a:spLocks/>
                </p:cNvSpPr>
                <p:nvPr/>
              </p:nvSpPr>
              <p:spPr bwMode="auto">
                <a:xfrm>
                  <a:off x="984250" y="1970723"/>
                  <a:ext cx="43180" cy="66040"/>
                </a:xfrm>
                <a:custGeom>
                  <a:avLst/>
                  <a:gdLst/>
                  <a:ahLst/>
                  <a:cxnLst>
                    <a:cxn ang="0">
                      <a:pos x="24" y="68"/>
                    </a:cxn>
                    <a:cxn ang="0">
                      <a:pos x="28" y="70"/>
                    </a:cxn>
                    <a:cxn ang="0">
                      <a:pos x="30" y="72"/>
                    </a:cxn>
                    <a:cxn ang="0">
                      <a:pos x="32" y="72"/>
                    </a:cxn>
                    <a:cxn ang="0">
                      <a:pos x="42" y="80"/>
                    </a:cxn>
                    <a:cxn ang="0">
                      <a:pos x="44" y="82"/>
                    </a:cxn>
                    <a:cxn ang="0">
                      <a:pos x="42" y="86"/>
                    </a:cxn>
                    <a:cxn ang="0">
                      <a:pos x="46" y="88"/>
                    </a:cxn>
                    <a:cxn ang="0">
                      <a:pos x="50" y="88"/>
                    </a:cxn>
                    <a:cxn ang="0">
                      <a:pos x="52" y="92"/>
                    </a:cxn>
                    <a:cxn ang="0">
                      <a:pos x="54" y="100"/>
                    </a:cxn>
                    <a:cxn ang="0">
                      <a:pos x="62" y="104"/>
                    </a:cxn>
                    <a:cxn ang="0">
                      <a:pos x="66" y="102"/>
                    </a:cxn>
                    <a:cxn ang="0">
                      <a:pos x="68" y="94"/>
                    </a:cxn>
                    <a:cxn ang="0">
                      <a:pos x="68" y="86"/>
                    </a:cxn>
                    <a:cxn ang="0">
                      <a:pos x="66" y="82"/>
                    </a:cxn>
                    <a:cxn ang="0">
                      <a:pos x="64" y="80"/>
                    </a:cxn>
                    <a:cxn ang="0">
                      <a:pos x="66" y="74"/>
                    </a:cxn>
                    <a:cxn ang="0">
                      <a:pos x="66" y="68"/>
                    </a:cxn>
                    <a:cxn ang="0">
                      <a:pos x="62" y="66"/>
                    </a:cxn>
                    <a:cxn ang="0">
                      <a:pos x="60" y="64"/>
                    </a:cxn>
                    <a:cxn ang="0">
                      <a:pos x="58" y="60"/>
                    </a:cxn>
                    <a:cxn ang="0">
                      <a:pos x="52" y="58"/>
                    </a:cxn>
                    <a:cxn ang="0">
                      <a:pos x="50" y="56"/>
                    </a:cxn>
                    <a:cxn ang="0">
                      <a:pos x="42" y="58"/>
                    </a:cxn>
                    <a:cxn ang="0">
                      <a:pos x="38" y="58"/>
                    </a:cxn>
                    <a:cxn ang="0">
                      <a:pos x="42" y="52"/>
                    </a:cxn>
                    <a:cxn ang="0">
                      <a:pos x="54" y="54"/>
                    </a:cxn>
                    <a:cxn ang="0">
                      <a:pos x="58" y="56"/>
                    </a:cxn>
                    <a:cxn ang="0">
                      <a:pos x="52" y="48"/>
                    </a:cxn>
                    <a:cxn ang="0">
                      <a:pos x="48" y="42"/>
                    </a:cxn>
                    <a:cxn ang="0">
                      <a:pos x="42" y="30"/>
                    </a:cxn>
                    <a:cxn ang="0">
                      <a:pos x="38" y="24"/>
                    </a:cxn>
                    <a:cxn ang="0">
                      <a:pos x="28" y="20"/>
                    </a:cxn>
                    <a:cxn ang="0">
                      <a:pos x="22" y="20"/>
                    </a:cxn>
                    <a:cxn ang="0">
                      <a:pos x="22" y="16"/>
                    </a:cxn>
                    <a:cxn ang="0">
                      <a:pos x="22" y="8"/>
                    </a:cxn>
                    <a:cxn ang="0">
                      <a:pos x="20" y="2"/>
                    </a:cxn>
                    <a:cxn ang="0">
                      <a:pos x="16" y="2"/>
                    </a:cxn>
                    <a:cxn ang="0">
                      <a:pos x="8" y="2"/>
                    </a:cxn>
                    <a:cxn ang="0">
                      <a:pos x="4" y="2"/>
                    </a:cxn>
                    <a:cxn ang="0">
                      <a:pos x="2" y="4"/>
                    </a:cxn>
                    <a:cxn ang="0">
                      <a:pos x="2" y="6"/>
                    </a:cxn>
                    <a:cxn ang="0">
                      <a:pos x="0" y="8"/>
                    </a:cxn>
                    <a:cxn ang="0">
                      <a:pos x="8" y="10"/>
                    </a:cxn>
                    <a:cxn ang="0">
                      <a:pos x="16" y="16"/>
                    </a:cxn>
                    <a:cxn ang="0">
                      <a:pos x="16" y="22"/>
                    </a:cxn>
                    <a:cxn ang="0">
                      <a:pos x="18" y="30"/>
                    </a:cxn>
                    <a:cxn ang="0">
                      <a:pos x="20" y="36"/>
                    </a:cxn>
                    <a:cxn ang="0">
                      <a:pos x="18" y="40"/>
                    </a:cxn>
                    <a:cxn ang="0">
                      <a:pos x="12" y="40"/>
                    </a:cxn>
                    <a:cxn ang="0">
                      <a:pos x="10" y="42"/>
                    </a:cxn>
                    <a:cxn ang="0">
                      <a:pos x="10" y="48"/>
                    </a:cxn>
                    <a:cxn ang="0">
                      <a:pos x="20" y="48"/>
                    </a:cxn>
                    <a:cxn ang="0">
                      <a:pos x="22" y="50"/>
                    </a:cxn>
                    <a:cxn ang="0">
                      <a:pos x="24" y="60"/>
                    </a:cxn>
                    <a:cxn ang="0">
                      <a:pos x="24" y="62"/>
                    </a:cxn>
                    <a:cxn ang="0">
                      <a:pos x="20" y="64"/>
                    </a:cxn>
                    <a:cxn ang="0">
                      <a:pos x="16" y="64"/>
                    </a:cxn>
                    <a:cxn ang="0">
                      <a:pos x="14" y="66"/>
                    </a:cxn>
                    <a:cxn ang="0">
                      <a:pos x="18" y="68"/>
                    </a:cxn>
                    <a:cxn ang="0">
                      <a:pos x="24" y="68"/>
                    </a:cxn>
                  </a:cxnLst>
                  <a:rect l="0" t="0" r="r" b="b"/>
                  <a:pathLst>
                    <a:path w="68" h="104">
                      <a:moveTo>
                        <a:pt x="24" y="68"/>
                      </a:moveTo>
                      <a:lnTo>
                        <a:pt x="24" y="68"/>
                      </a:lnTo>
                      <a:lnTo>
                        <a:pt x="28" y="68"/>
                      </a:lnTo>
                      <a:lnTo>
                        <a:pt x="28" y="70"/>
                      </a:lnTo>
                      <a:lnTo>
                        <a:pt x="28" y="72"/>
                      </a:lnTo>
                      <a:lnTo>
                        <a:pt x="30" y="72"/>
                      </a:lnTo>
                      <a:lnTo>
                        <a:pt x="30" y="72"/>
                      </a:lnTo>
                      <a:lnTo>
                        <a:pt x="32" y="72"/>
                      </a:lnTo>
                      <a:lnTo>
                        <a:pt x="36" y="72"/>
                      </a:lnTo>
                      <a:lnTo>
                        <a:pt x="42" y="80"/>
                      </a:lnTo>
                      <a:lnTo>
                        <a:pt x="42" y="80"/>
                      </a:lnTo>
                      <a:lnTo>
                        <a:pt x="44" y="82"/>
                      </a:lnTo>
                      <a:lnTo>
                        <a:pt x="44" y="84"/>
                      </a:lnTo>
                      <a:lnTo>
                        <a:pt x="42" y="86"/>
                      </a:lnTo>
                      <a:lnTo>
                        <a:pt x="46" y="88"/>
                      </a:lnTo>
                      <a:lnTo>
                        <a:pt x="46" y="88"/>
                      </a:lnTo>
                      <a:lnTo>
                        <a:pt x="48" y="90"/>
                      </a:lnTo>
                      <a:lnTo>
                        <a:pt x="50" y="88"/>
                      </a:lnTo>
                      <a:lnTo>
                        <a:pt x="52" y="88"/>
                      </a:lnTo>
                      <a:lnTo>
                        <a:pt x="52" y="92"/>
                      </a:lnTo>
                      <a:lnTo>
                        <a:pt x="52" y="92"/>
                      </a:lnTo>
                      <a:lnTo>
                        <a:pt x="54" y="100"/>
                      </a:lnTo>
                      <a:lnTo>
                        <a:pt x="58" y="104"/>
                      </a:lnTo>
                      <a:lnTo>
                        <a:pt x="62" y="104"/>
                      </a:lnTo>
                      <a:lnTo>
                        <a:pt x="66" y="102"/>
                      </a:lnTo>
                      <a:lnTo>
                        <a:pt x="66" y="102"/>
                      </a:lnTo>
                      <a:lnTo>
                        <a:pt x="68" y="98"/>
                      </a:lnTo>
                      <a:lnTo>
                        <a:pt x="68" y="94"/>
                      </a:lnTo>
                      <a:lnTo>
                        <a:pt x="68" y="92"/>
                      </a:lnTo>
                      <a:lnTo>
                        <a:pt x="68" y="86"/>
                      </a:lnTo>
                      <a:lnTo>
                        <a:pt x="68" y="86"/>
                      </a:lnTo>
                      <a:lnTo>
                        <a:pt x="66" y="82"/>
                      </a:lnTo>
                      <a:lnTo>
                        <a:pt x="66" y="82"/>
                      </a:lnTo>
                      <a:lnTo>
                        <a:pt x="64" y="80"/>
                      </a:lnTo>
                      <a:lnTo>
                        <a:pt x="66" y="74"/>
                      </a:lnTo>
                      <a:lnTo>
                        <a:pt x="66" y="74"/>
                      </a:lnTo>
                      <a:lnTo>
                        <a:pt x="68" y="68"/>
                      </a:lnTo>
                      <a:lnTo>
                        <a:pt x="66" y="68"/>
                      </a:lnTo>
                      <a:lnTo>
                        <a:pt x="62" y="68"/>
                      </a:lnTo>
                      <a:lnTo>
                        <a:pt x="62" y="66"/>
                      </a:lnTo>
                      <a:lnTo>
                        <a:pt x="60" y="64"/>
                      </a:lnTo>
                      <a:lnTo>
                        <a:pt x="60" y="64"/>
                      </a:lnTo>
                      <a:lnTo>
                        <a:pt x="60" y="60"/>
                      </a:lnTo>
                      <a:lnTo>
                        <a:pt x="58" y="60"/>
                      </a:lnTo>
                      <a:lnTo>
                        <a:pt x="54" y="60"/>
                      </a:lnTo>
                      <a:lnTo>
                        <a:pt x="52" y="58"/>
                      </a:lnTo>
                      <a:lnTo>
                        <a:pt x="52" y="58"/>
                      </a:lnTo>
                      <a:lnTo>
                        <a:pt x="50" y="56"/>
                      </a:lnTo>
                      <a:lnTo>
                        <a:pt x="44" y="58"/>
                      </a:lnTo>
                      <a:lnTo>
                        <a:pt x="42" y="58"/>
                      </a:lnTo>
                      <a:lnTo>
                        <a:pt x="38" y="58"/>
                      </a:lnTo>
                      <a:lnTo>
                        <a:pt x="38" y="58"/>
                      </a:lnTo>
                      <a:lnTo>
                        <a:pt x="40" y="54"/>
                      </a:lnTo>
                      <a:lnTo>
                        <a:pt x="42" y="52"/>
                      </a:lnTo>
                      <a:lnTo>
                        <a:pt x="48" y="50"/>
                      </a:lnTo>
                      <a:lnTo>
                        <a:pt x="54" y="54"/>
                      </a:lnTo>
                      <a:lnTo>
                        <a:pt x="54" y="54"/>
                      </a:lnTo>
                      <a:lnTo>
                        <a:pt x="58" y="56"/>
                      </a:lnTo>
                      <a:lnTo>
                        <a:pt x="60" y="56"/>
                      </a:lnTo>
                      <a:lnTo>
                        <a:pt x="52" y="48"/>
                      </a:lnTo>
                      <a:lnTo>
                        <a:pt x="52" y="48"/>
                      </a:lnTo>
                      <a:lnTo>
                        <a:pt x="48" y="42"/>
                      </a:lnTo>
                      <a:lnTo>
                        <a:pt x="46" y="36"/>
                      </a:lnTo>
                      <a:lnTo>
                        <a:pt x="42" y="30"/>
                      </a:lnTo>
                      <a:lnTo>
                        <a:pt x="38" y="24"/>
                      </a:lnTo>
                      <a:lnTo>
                        <a:pt x="38" y="24"/>
                      </a:lnTo>
                      <a:lnTo>
                        <a:pt x="34" y="20"/>
                      </a:lnTo>
                      <a:lnTo>
                        <a:pt x="28" y="20"/>
                      </a:lnTo>
                      <a:lnTo>
                        <a:pt x="24" y="20"/>
                      </a:lnTo>
                      <a:lnTo>
                        <a:pt x="22" y="20"/>
                      </a:lnTo>
                      <a:lnTo>
                        <a:pt x="22" y="20"/>
                      </a:lnTo>
                      <a:lnTo>
                        <a:pt x="22" y="16"/>
                      </a:lnTo>
                      <a:lnTo>
                        <a:pt x="22" y="12"/>
                      </a:lnTo>
                      <a:lnTo>
                        <a:pt x="22" y="8"/>
                      </a:lnTo>
                      <a:lnTo>
                        <a:pt x="20" y="2"/>
                      </a:lnTo>
                      <a:lnTo>
                        <a:pt x="20" y="2"/>
                      </a:lnTo>
                      <a:lnTo>
                        <a:pt x="18" y="0"/>
                      </a:lnTo>
                      <a:lnTo>
                        <a:pt x="16" y="2"/>
                      </a:lnTo>
                      <a:lnTo>
                        <a:pt x="14" y="2"/>
                      </a:lnTo>
                      <a:lnTo>
                        <a:pt x="8" y="2"/>
                      </a:lnTo>
                      <a:lnTo>
                        <a:pt x="8" y="2"/>
                      </a:lnTo>
                      <a:lnTo>
                        <a:pt x="4" y="2"/>
                      </a:lnTo>
                      <a:lnTo>
                        <a:pt x="2" y="2"/>
                      </a:lnTo>
                      <a:lnTo>
                        <a:pt x="2" y="4"/>
                      </a:lnTo>
                      <a:lnTo>
                        <a:pt x="2" y="6"/>
                      </a:lnTo>
                      <a:lnTo>
                        <a:pt x="2" y="6"/>
                      </a:lnTo>
                      <a:lnTo>
                        <a:pt x="0" y="6"/>
                      </a:lnTo>
                      <a:lnTo>
                        <a:pt x="0" y="8"/>
                      </a:lnTo>
                      <a:lnTo>
                        <a:pt x="8" y="10"/>
                      </a:lnTo>
                      <a:lnTo>
                        <a:pt x="8" y="10"/>
                      </a:lnTo>
                      <a:lnTo>
                        <a:pt x="14" y="12"/>
                      </a:lnTo>
                      <a:lnTo>
                        <a:pt x="16" y="16"/>
                      </a:lnTo>
                      <a:lnTo>
                        <a:pt x="16" y="22"/>
                      </a:lnTo>
                      <a:lnTo>
                        <a:pt x="16" y="22"/>
                      </a:lnTo>
                      <a:lnTo>
                        <a:pt x="16" y="26"/>
                      </a:lnTo>
                      <a:lnTo>
                        <a:pt x="18" y="30"/>
                      </a:lnTo>
                      <a:lnTo>
                        <a:pt x="20" y="32"/>
                      </a:lnTo>
                      <a:lnTo>
                        <a:pt x="20" y="36"/>
                      </a:lnTo>
                      <a:lnTo>
                        <a:pt x="20" y="36"/>
                      </a:lnTo>
                      <a:lnTo>
                        <a:pt x="18" y="40"/>
                      </a:lnTo>
                      <a:lnTo>
                        <a:pt x="14" y="40"/>
                      </a:lnTo>
                      <a:lnTo>
                        <a:pt x="12" y="40"/>
                      </a:lnTo>
                      <a:lnTo>
                        <a:pt x="10" y="42"/>
                      </a:lnTo>
                      <a:lnTo>
                        <a:pt x="10" y="42"/>
                      </a:lnTo>
                      <a:lnTo>
                        <a:pt x="10" y="46"/>
                      </a:lnTo>
                      <a:lnTo>
                        <a:pt x="10" y="48"/>
                      </a:lnTo>
                      <a:lnTo>
                        <a:pt x="20" y="48"/>
                      </a:lnTo>
                      <a:lnTo>
                        <a:pt x="20" y="48"/>
                      </a:lnTo>
                      <a:lnTo>
                        <a:pt x="22" y="50"/>
                      </a:lnTo>
                      <a:lnTo>
                        <a:pt x="22" y="50"/>
                      </a:lnTo>
                      <a:lnTo>
                        <a:pt x="22" y="54"/>
                      </a:lnTo>
                      <a:lnTo>
                        <a:pt x="24" y="60"/>
                      </a:lnTo>
                      <a:lnTo>
                        <a:pt x="24" y="60"/>
                      </a:lnTo>
                      <a:lnTo>
                        <a:pt x="24" y="62"/>
                      </a:lnTo>
                      <a:lnTo>
                        <a:pt x="24" y="62"/>
                      </a:lnTo>
                      <a:lnTo>
                        <a:pt x="20" y="64"/>
                      </a:lnTo>
                      <a:lnTo>
                        <a:pt x="16" y="64"/>
                      </a:lnTo>
                      <a:lnTo>
                        <a:pt x="16" y="64"/>
                      </a:lnTo>
                      <a:lnTo>
                        <a:pt x="14" y="66"/>
                      </a:lnTo>
                      <a:lnTo>
                        <a:pt x="14" y="66"/>
                      </a:lnTo>
                      <a:lnTo>
                        <a:pt x="16" y="68"/>
                      </a:lnTo>
                      <a:lnTo>
                        <a:pt x="18" y="68"/>
                      </a:lnTo>
                      <a:lnTo>
                        <a:pt x="24" y="68"/>
                      </a:lnTo>
                      <a:lnTo>
                        <a:pt x="24" y="6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2" name="Freeform 6036"/>
                <p:cNvSpPr>
                  <a:spLocks/>
                </p:cNvSpPr>
                <p:nvPr/>
              </p:nvSpPr>
              <p:spPr bwMode="auto">
                <a:xfrm>
                  <a:off x="980440" y="1979613"/>
                  <a:ext cx="12700" cy="10160"/>
                </a:xfrm>
                <a:custGeom>
                  <a:avLst/>
                  <a:gdLst/>
                  <a:ahLst/>
                  <a:cxnLst>
                    <a:cxn ang="0">
                      <a:pos x="16" y="0"/>
                    </a:cxn>
                    <a:cxn ang="0">
                      <a:pos x="16" y="0"/>
                    </a:cxn>
                    <a:cxn ang="0">
                      <a:pos x="8" y="0"/>
                    </a:cxn>
                    <a:cxn ang="0">
                      <a:pos x="6" y="2"/>
                    </a:cxn>
                    <a:cxn ang="0">
                      <a:pos x="8" y="2"/>
                    </a:cxn>
                    <a:cxn ang="0">
                      <a:pos x="8" y="2"/>
                    </a:cxn>
                    <a:cxn ang="0">
                      <a:pos x="8" y="4"/>
                    </a:cxn>
                    <a:cxn ang="0">
                      <a:pos x="6" y="6"/>
                    </a:cxn>
                    <a:cxn ang="0">
                      <a:pos x="2" y="6"/>
                    </a:cxn>
                    <a:cxn ang="0">
                      <a:pos x="0" y="8"/>
                    </a:cxn>
                    <a:cxn ang="0">
                      <a:pos x="0" y="8"/>
                    </a:cxn>
                    <a:cxn ang="0">
                      <a:pos x="0" y="12"/>
                    </a:cxn>
                    <a:cxn ang="0">
                      <a:pos x="0" y="14"/>
                    </a:cxn>
                    <a:cxn ang="0">
                      <a:pos x="2" y="16"/>
                    </a:cxn>
                    <a:cxn ang="0">
                      <a:pos x="8" y="12"/>
                    </a:cxn>
                    <a:cxn ang="0">
                      <a:pos x="8" y="12"/>
                    </a:cxn>
                    <a:cxn ang="0">
                      <a:pos x="10" y="10"/>
                    </a:cxn>
                    <a:cxn ang="0">
                      <a:pos x="16" y="10"/>
                    </a:cxn>
                    <a:cxn ang="0">
                      <a:pos x="16" y="10"/>
                    </a:cxn>
                    <a:cxn ang="0">
                      <a:pos x="20" y="8"/>
                    </a:cxn>
                    <a:cxn ang="0">
                      <a:pos x="20" y="6"/>
                    </a:cxn>
                    <a:cxn ang="0">
                      <a:pos x="18" y="2"/>
                    </a:cxn>
                    <a:cxn ang="0">
                      <a:pos x="16" y="0"/>
                    </a:cxn>
                    <a:cxn ang="0">
                      <a:pos x="16" y="0"/>
                    </a:cxn>
                  </a:cxnLst>
                  <a:rect l="0" t="0" r="r" b="b"/>
                  <a:pathLst>
                    <a:path w="20" h="16">
                      <a:moveTo>
                        <a:pt x="16" y="0"/>
                      </a:moveTo>
                      <a:lnTo>
                        <a:pt x="16" y="0"/>
                      </a:lnTo>
                      <a:lnTo>
                        <a:pt x="8" y="0"/>
                      </a:lnTo>
                      <a:lnTo>
                        <a:pt x="6" y="2"/>
                      </a:lnTo>
                      <a:lnTo>
                        <a:pt x="8" y="2"/>
                      </a:lnTo>
                      <a:lnTo>
                        <a:pt x="8" y="2"/>
                      </a:lnTo>
                      <a:lnTo>
                        <a:pt x="8" y="4"/>
                      </a:lnTo>
                      <a:lnTo>
                        <a:pt x="6" y="6"/>
                      </a:lnTo>
                      <a:lnTo>
                        <a:pt x="2" y="6"/>
                      </a:lnTo>
                      <a:lnTo>
                        <a:pt x="0" y="8"/>
                      </a:lnTo>
                      <a:lnTo>
                        <a:pt x="0" y="8"/>
                      </a:lnTo>
                      <a:lnTo>
                        <a:pt x="0" y="12"/>
                      </a:lnTo>
                      <a:lnTo>
                        <a:pt x="0" y="14"/>
                      </a:lnTo>
                      <a:lnTo>
                        <a:pt x="2" y="16"/>
                      </a:lnTo>
                      <a:lnTo>
                        <a:pt x="8" y="12"/>
                      </a:lnTo>
                      <a:lnTo>
                        <a:pt x="8" y="12"/>
                      </a:lnTo>
                      <a:lnTo>
                        <a:pt x="10" y="10"/>
                      </a:lnTo>
                      <a:lnTo>
                        <a:pt x="16" y="10"/>
                      </a:lnTo>
                      <a:lnTo>
                        <a:pt x="16" y="10"/>
                      </a:lnTo>
                      <a:lnTo>
                        <a:pt x="20" y="8"/>
                      </a:lnTo>
                      <a:lnTo>
                        <a:pt x="20" y="6"/>
                      </a:lnTo>
                      <a:lnTo>
                        <a:pt x="18" y="2"/>
                      </a:lnTo>
                      <a:lnTo>
                        <a:pt x="16" y="0"/>
                      </a:lnTo>
                      <a:lnTo>
                        <a:pt x="1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3" name="Freeform 6038"/>
                <p:cNvSpPr>
                  <a:spLocks/>
                </p:cNvSpPr>
                <p:nvPr/>
              </p:nvSpPr>
              <p:spPr bwMode="auto">
                <a:xfrm>
                  <a:off x="963930" y="1947863"/>
                  <a:ext cx="17780" cy="35560"/>
                </a:xfrm>
                <a:custGeom>
                  <a:avLst/>
                  <a:gdLst/>
                  <a:ahLst/>
                  <a:cxnLst>
                    <a:cxn ang="0">
                      <a:pos x="26" y="22"/>
                    </a:cxn>
                    <a:cxn ang="0">
                      <a:pos x="26" y="22"/>
                    </a:cxn>
                    <a:cxn ang="0">
                      <a:pos x="28" y="14"/>
                    </a:cxn>
                    <a:cxn ang="0">
                      <a:pos x="26" y="12"/>
                    </a:cxn>
                    <a:cxn ang="0">
                      <a:pos x="24" y="12"/>
                    </a:cxn>
                    <a:cxn ang="0">
                      <a:pos x="20" y="8"/>
                    </a:cxn>
                    <a:cxn ang="0">
                      <a:pos x="20" y="8"/>
                    </a:cxn>
                    <a:cxn ang="0">
                      <a:pos x="16" y="4"/>
                    </a:cxn>
                    <a:cxn ang="0">
                      <a:pos x="14" y="2"/>
                    </a:cxn>
                    <a:cxn ang="0">
                      <a:pos x="10" y="0"/>
                    </a:cxn>
                    <a:cxn ang="0">
                      <a:pos x="6" y="2"/>
                    </a:cxn>
                    <a:cxn ang="0">
                      <a:pos x="6" y="2"/>
                    </a:cxn>
                    <a:cxn ang="0">
                      <a:pos x="0" y="6"/>
                    </a:cxn>
                    <a:cxn ang="0">
                      <a:pos x="0" y="10"/>
                    </a:cxn>
                    <a:cxn ang="0">
                      <a:pos x="0" y="14"/>
                    </a:cxn>
                    <a:cxn ang="0">
                      <a:pos x="4" y="18"/>
                    </a:cxn>
                    <a:cxn ang="0">
                      <a:pos x="4" y="18"/>
                    </a:cxn>
                    <a:cxn ang="0">
                      <a:pos x="14" y="30"/>
                    </a:cxn>
                    <a:cxn ang="0">
                      <a:pos x="14" y="34"/>
                    </a:cxn>
                    <a:cxn ang="0">
                      <a:pos x="14" y="34"/>
                    </a:cxn>
                    <a:cxn ang="0">
                      <a:pos x="12" y="34"/>
                    </a:cxn>
                    <a:cxn ang="0">
                      <a:pos x="12" y="34"/>
                    </a:cxn>
                    <a:cxn ang="0">
                      <a:pos x="8" y="34"/>
                    </a:cxn>
                    <a:cxn ang="0">
                      <a:pos x="6" y="38"/>
                    </a:cxn>
                    <a:cxn ang="0">
                      <a:pos x="4" y="44"/>
                    </a:cxn>
                    <a:cxn ang="0">
                      <a:pos x="8" y="54"/>
                    </a:cxn>
                    <a:cxn ang="0">
                      <a:pos x="8" y="54"/>
                    </a:cxn>
                    <a:cxn ang="0">
                      <a:pos x="10" y="56"/>
                    </a:cxn>
                    <a:cxn ang="0">
                      <a:pos x="10" y="56"/>
                    </a:cxn>
                    <a:cxn ang="0">
                      <a:pos x="12" y="52"/>
                    </a:cxn>
                    <a:cxn ang="0">
                      <a:pos x="14" y="48"/>
                    </a:cxn>
                    <a:cxn ang="0">
                      <a:pos x="14" y="48"/>
                    </a:cxn>
                    <a:cxn ang="0">
                      <a:pos x="16" y="50"/>
                    </a:cxn>
                    <a:cxn ang="0">
                      <a:pos x="16" y="50"/>
                    </a:cxn>
                    <a:cxn ang="0">
                      <a:pos x="18" y="54"/>
                    </a:cxn>
                    <a:cxn ang="0">
                      <a:pos x="18" y="54"/>
                    </a:cxn>
                    <a:cxn ang="0">
                      <a:pos x="22" y="48"/>
                    </a:cxn>
                    <a:cxn ang="0">
                      <a:pos x="22" y="48"/>
                    </a:cxn>
                    <a:cxn ang="0">
                      <a:pos x="22" y="42"/>
                    </a:cxn>
                    <a:cxn ang="0">
                      <a:pos x="22" y="38"/>
                    </a:cxn>
                    <a:cxn ang="0">
                      <a:pos x="24" y="32"/>
                    </a:cxn>
                    <a:cxn ang="0">
                      <a:pos x="26" y="22"/>
                    </a:cxn>
                    <a:cxn ang="0">
                      <a:pos x="26" y="22"/>
                    </a:cxn>
                  </a:cxnLst>
                  <a:rect l="0" t="0" r="r" b="b"/>
                  <a:pathLst>
                    <a:path w="28" h="56">
                      <a:moveTo>
                        <a:pt x="26" y="22"/>
                      </a:moveTo>
                      <a:lnTo>
                        <a:pt x="26" y="22"/>
                      </a:lnTo>
                      <a:lnTo>
                        <a:pt x="28" y="14"/>
                      </a:lnTo>
                      <a:lnTo>
                        <a:pt x="26" y="12"/>
                      </a:lnTo>
                      <a:lnTo>
                        <a:pt x="24" y="12"/>
                      </a:lnTo>
                      <a:lnTo>
                        <a:pt x="20" y="8"/>
                      </a:lnTo>
                      <a:lnTo>
                        <a:pt x="20" y="8"/>
                      </a:lnTo>
                      <a:lnTo>
                        <a:pt x="16" y="4"/>
                      </a:lnTo>
                      <a:lnTo>
                        <a:pt x="14" y="2"/>
                      </a:lnTo>
                      <a:lnTo>
                        <a:pt x="10" y="0"/>
                      </a:lnTo>
                      <a:lnTo>
                        <a:pt x="6" y="2"/>
                      </a:lnTo>
                      <a:lnTo>
                        <a:pt x="6" y="2"/>
                      </a:lnTo>
                      <a:lnTo>
                        <a:pt x="0" y="6"/>
                      </a:lnTo>
                      <a:lnTo>
                        <a:pt x="0" y="10"/>
                      </a:lnTo>
                      <a:lnTo>
                        <a:pt x="0" y="14"/>
                      </a:lnTo>
                      <a:lnTo>
                        <a:pt x="4" y="18"/>
                      </a:lnTo>
                      <a:lnTo>
                        <a:pt x="4" y="18"/>
                      </a:lnTo>
                      <a:lnTo>
                        <a:pt x="14" y="30"/>
                      </a:lnTo>
                      <a:lnTo>
                        <a:pt x="14" y="34"/>
                      </a:lnTo>
                      <a:lnTo>
                        <a:pt x="14" y="34"/>
                      </a:lnTo>
                      <a:lnTo>
                        <a:pt x="12" y="34"/>
                      </a:lnTo>
                      <a:lnTo>
                        <a:pt x="12" y="34"/>
                      </a:lnTo>
                      <a:lnTo>
                        <a:pt x="8" y="34"/>
                      </a:lnTo>
                      <a:lnTo>
                        <a:pt x="6" y="38"/>
                      </a:lnTo>
                      <a:lnTo>
                        <a:pt x="4" y="44"/>
                      </a:lnTo>
                      <a:lnTo>
                        <a:pt x="8" y="54"/>
                      </a:lnTo>
                      <a:lnTo>
                        <a:pt x="8" y="54"/>
                      </a:lnTo>
                      <a:lnTo>
                        <a:pt x="10" y="56"/>
                      </a:lnTo>
                      <a:lnTo>
                        <a:pt x="10" y="56"/>
                      </a:lnTo>
                      <a:lnTo>
                        <a:pt x="12" y="52"/>
                      </a:lnTo>
                      <a:lnTo>
                        <a:pt x="14" y="48"/>
                      </a:lnTo>
                      <a:lnTo>
                        <a:pt x="14" y="48"/>
                      </a:lnTo>
                      <a:lnTo>
                        <a:pt x="16" y="50"/>
                      </a:lnTo>
                      <a:lnTo>
                        <a:pt x="16" y="50"/>
                      </a:lnTo>
                      <a:lnTo>
                        <a:pt x="18" y="54"/>
                      </a:lnTo>
                      <a:lnTo>
                        <a:pt x="18" y="54"/>
                      </a:lnTo>
                      <a:lnTo>
                        <a:pt x="22" y="48"/>
                      </a:lnTo>
                      <a:lnTo>
                        <a:pt x="22" y="48"/>
                      </a:lnTo>
                      <a:lnTo>
                        <a:pt x="22" y="42"/>
                      </a:lnTo>
                      <a:lnTo>
                        <a:pt x="22" y="38"/>
                      </a:lnTo>
                      <a:lnTo>
                        <a:pt x="24" y="32"/>
                      </a:lnTo>
                      <a:lnTo>
                        <a:pt x="26" y="22"/>
                      </a:lnTo>
                      <a:lnTo>
                        <a:pt x="26" y="2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4" name="Freeform 6039"/>
                <p:cNvSpPr>
                  <a:spLocks/>
                </p:cNvSpPr>
                <p:nvPr/>
              </p:nvSpPr>
              <p:spPr bwMode="auto">
                <a:xfrm>
                  <a:off x="909320" y="1894523"/>
                  <a:ext cx="44450" cy="33020"/>
                </a:xfrm>
                <a:custGeom>
                  <a:avLst/>
                  <a:gdLst/>
                  <a:ahLst/>
                  <a:cxnLst>
                    <a:cxn ang="0">
                      <a:pos x="36" y="40"/>
                    </a:cxn>
                    <a:cxn ang="0">
                      <a:pos x="36" y="40"/>
                    </a:cxn>
                    <a:cxn ang="0">
                      <a:pos x="34" y="34"/>
                    </a:cxn>
                    <a:cxn ang="0">
                      <a:pos x="36" y="32"/>
                    </a:cxn>
                    <a:cxn ang="0">
                      <a:pos x="40" y="34"/>
                    </a:cxn>
                    <a:cxn ang="0">
                      <a:pos x="50" y="40"/>
                    </a:cxn>
                    <a:cxn ang="0">
                      <a:pos x="50" y="40"/>
                    </a:cxn>
                    <a:cxn ang="0">
                      <a:pos x="60" y="48"/>
                    </a:cxn>
                    <a:cxn ang="0">
                      <a:pos x="66" y="48"/>
                    </a:cxn>
                    <a:cxn ang="0">
                      <a:pos x="68" y="48"/>
                    </a:cxn>
                    <a:cxn ang="0">
                      <a:pos x="70" y="46"/>
                    </a:cxn>
                    <a:cxn ang="0">
                      <a:pos x="68" y="40"/>
                    </a:cxn>
                    <a:cxn ang="0">
                      <a:pos x="68" y="40"/>
                    </a:cxn>
                    <a:cxn ang="0">
                      <a:pos x="64" y="30"/>
                    </a:cxn>
                    <a:cxn ang="0">
                      <a:pos x="64" y="26"/>
                    </a:cxn>
                    <a:cxn ang="0">
                      <a:pos x="64" y="22"/>
                    </a:cxn>
                    <a:cxn ang="0">
                      <a:pos x="64" y="22"/>
                    </a:cxn>
                    <a:cxn ang="0">
                      <a:pos x="64" y="18"/>
                    </a:cxn>
                    <a:cxn ang="0">
                      <a:pos x="64" y="16"/>
                    </a:cxn>
                    <a:cxn ang="0">
                      <a:pos x="56" y="10"/>
                    </a:cxn>
                    <a:cxn ang="0">
                      <a:pos x="38" y="0"/>
                    </a:cxn>
                    <a:cxn ang="0">
                      <a:pos x="38" y="0"/>
                    </a:cxn>
                    <a:cxn ang="0">
                      <a:pos x="30" y="0"/>
                    </a:cxn>
                    <a:cxn ang="0">
                      <a:pos x="24" y="0"/>
                    </a:cxn>
                    <a:cxn ang="0">
                      <a:pos x="18" y="2"/>
                    </a:cxn>
                    <a:cxn ang="0">
                      <a:pos x="14" y="4"/>
                    </a:cxn>
                    <a:cxn ang="0">
                      <a:pos x="14" y="4"/>
                    </a:cxn>
                    <a:cxn ang="0">
                      <a:pos x="10" y="2"/>
                    </a:cxn>
                    <a:cxn ang="0">
                      <a:pos x="8" y="4"/>
                    </a:cxn>
                    <a:cxn ang="0">
                      <a:pos x="4" y="12"/>
                    </a:cxn>
                    <a:cxn ang="0">
                      <a:pos x="4" y="12"/>
                    </a:cxn>
                    <a:cxn ang="0">
                      <a:pos x="0" y="16"/>
                    </a:cxn>
                    <a:cxn ang="0">
                      <a:pos x="2" y="20"/>
                    </a:cxn>
                    <a:cxn ang="0">
                      <a:pos x="4" y="24"/>
                    </a:cxn>
                    <a:cxn ang="0">
                      <a:pos x="10" y="28"/>
                    </a:cxn>
                    <a:cxn ang="0">
                      <a:pos x="10" y="28"/>
                    </a:cxn>
                    <a:cxn ang="0">
                      <a:pos x="14" y="30"/>
                    </a:cxn>
                    <a:cxn ang="0">
                      <a:pos x="14" y="32"/>
                    </a:cxn>
                    <a:cxn ang="0">
                      <a:pos x="14" y="36"/>
                    </a:cxn>
                    <a:cxn ang="0">
                      <a:pos x="16" y="42"/>
                    </a:cxn>
                    <a:cxn ang="0">
                      <a:pos x="18" y="46"/>
                    </a:cxn>
                    <a:cxn ang="0">
                      <a:pos x="24" y="52"/>
                    </a:cxn>
                    <a:cxn ang="0">
                      <a:pos x="24" y="52"/>
                    </a:cxn>
                    <a:cxn ang="0">
                      <a:pos x="28" y="52"/>
                    </a:cxn>
                    <a:cxn ang="0">
                      <a:pos x="34" y="50"/>
                    </a:cxn>
                    <a:cxn ang="0">
                      <a:pos x="38" y="46"/>
                    </a:cxn>
                    <a:cxn ang="0">
                      <a:pos x="38" y="42"/>
                    </a:cxn>
                    <a:cxn ang="0">
                      <a:pos x="36" y="40"/>
                    </a:cxn>
                    <a:cxn ang="0">
                      <a:pos x="36" y="40"/>
                    </a:cxn>
                  </a:cxnLst>
                  <a:rect l="0" t="0" r="r" b="b"/>
                  <a:pathLst>
                    <a:path w="70" h="52">
                      <a:moveTo>
                        <a:pt x="36" y="40"/>
                      </a:moveTo>
                      <a:lnTo>
                        <a:pt x="36" y="40"/>
                      </a:lnTo>
                      <a:lnTo>
                        <a:pt x="34" y="34"/>
                      </a:lnTo>
                      <a:lnTo>
                        <a:pt x="36" y="32"/>
                      </a:lnTo>
                      <a:lnTo>
                        <a:pt x="40" y="34"/>
                      </a:lnTo>
                      <a:lnTo>
                        <a:pt x="50" y="40"/>
                      </a:lnTo>
                      <a:lnTo>
                        <a:pt x="50" y="40"/>
                      </a:lnTo>
                      <a:lnTo>
                        <a:pt x="60" y="48"/>
                      </a:lnTo>
                      <a:lnTo>
                        <a:pt x="66" y="48"/>
                      </a:lnTo>
                      <a:lnTo>
                        <a:pt x="68" y="48"/>
                      </a:lnTo>
                      <a:lnTo>
                        <a:pt x="70" y="46"/>
                      </a:lnTo>
                      <a:lnTo>
                        <a:pt x="68" y="40"/>
                      </a:lnTo>
                      <a:lnTo>
                        <a:pt x="68" y="40"/>
                      </a:lnTo>
                      <a:lnTo>
                        <a:pt x="64" y="30"/>
                      </a:lnTo>
                      <a:lnTo>
                        <a:pt x="64" y="26"/>
                      </a:lnTo>
                      <a:lnTo>
                        <a:pt x="64" y="22"/>
                      </a:lnTo>
                      <a:lnTo>
                        <a:pt x="64" y="22"/>
                      </a:lnTo>
                      <a:lnTo>
                        <a:pt x="64" y="18"/>
                      </a:lnTo>
                      <a:lnTo>
                        <a:pt x="64" y="16"/>
                      </a:lnTo>
                      <a:lnTo>
                        <a:pt x="56" y="10"/>
                      </a:lnTo>
                      <a:lnTo>
                        <a:pt x="38" y="0"/>
                      </a:lnTo>
                      <a:lnTo>
                        <a:pt x="38" y="0"/>
                      </a:lnTo>
                      <a:lnTo>
                        <a:pt x="30" y="0"/>
                      </a:lnTo>
                      <a:lnTo>
                        <a:pt x="24" y="0"/>
                      </a:lnTo>
                      <a:lnTo>
                        <a:pt x="18" y="2"/>
                      </a:lnTo>
                      <a:lnTo>
                        <a:pt x="14" y="4"/>
                      </a:lnTo>
                      <a:lnTo>
                        <a:pt x="14" y="4"/>
                      </a:lnTo>
                      <a:lnTo>
                        <a:pt x="10" y="2"/>
                      </a:lnTo>
                      <a:lnTo>
                        <a:pt x="8" y="4"/>
                      </a:lnTo>
                      <a:lnTo>
                        <a:pt x="4" y="12"/>
                      </a:lnTo>
                      <a:lnTo>
                        <a:pt x="4" y="12"/>
                      </a:lnTo>
                      <a:lnTo>
                        <a:pt x="0" y="16"/>
                      </a:lnTo>
                      <a:lnTo>
                        <a:pt x="2" y="20"/>
                      </a:lnTo>
                      <a:lnTo>
                        <a:pt x="4" y="24"/>
                      </a:lnTo>
                      <a:lnTo>
                        <a:pt x="10" y="28"/>
                      </a:lnTo>
                      <a:lnTo>
                        <a:pt x="10" y="28"/>
                      </a:lnTo>
                      <a:lnTo>
                        <a:pt x="14" y="30"/>
                      </a:lnTo>
                      <a:lnTo>
                        <a:pt x="14" y="32"/>
                      </a:lnTo>
                      <a:lnTo>
                        <a:pt x="14" y="36"/>
                      </a:lnTo>
                      <a:lnTo>
                        <a:pt x="16" y="42"/>
                      </a:lnTo>
                      <a:lnTo>
                        <a:pt x="18" y="46"/>
                      </a:lnTo>
                      <a:lnTo>
                        <a:pt x="24" y="52"/>
                      </a:lnTo>
                      <a:lnTo>
                        <a:pt x="24" y="52"/>
                      </a:lnTo>
                      <a:lnTo>
                        <a:pt x="28" y="52"/>
                      </a:lnTo>
                      <a:lnTo>
                        <a:pt x="34" y="50"/>
                      </a:lnTo>
                      <a:lnTo>
                        <a:pt x="38" y="46"/>
                      </a:lnTo>
                      <a:lnTo>
                        <a:pt x="38" y="42"/>
                      </a:lnTo>
                      <a:lnTo>
                        <a:pt x="36" y="40"/>
                      </a:lnTo>
                      <a:lnTo>
                        <a:pt x="36" y="4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5" name="Freeform 6040"/>
                <p:cNvSpPr>
                  <a:spLocks/>
                </p:cNvSpPr>
                <p:nvPr/>
              </p:nvSpPr>
              <p:spPr bwMode="auto">
                <a:xfrm>
                  <a:off x="482600" y="1886903"/>
                  <a:ext cx="30480" cy="19050"/>
                </a:xfrm>
                <a:custGeom>
                  <a:avLst/>
                  <a:gdLst/>
                  <a:ahLst/>
                  <a:cxnLst>
                    <a:cxn ang="0">
                      <a:pos x="28" y="6"/>
                    </a:cxn>
                    <a:cxn ang="0">
                      <a:pos x="28" y="6"/>
                    </a:cxn>
                    <a:cxn ang="0">
                      <a:pos x="24" y="2"/>
                    </a:cxn>
                    <a:cxn ang="0">
                      <a:pos x="20" y="0"/>
                    </a:cxn>
                    <a:cxn ang="0">
                      <a:pos x="16" y="0"/>
                    </a:cxn>
                    <a:cxn ang="0">
                      <a:pos x="16" y="6"/>
                    </a:cxn>
                    <a:cxn ang="0">
                      <a:pos x="16" y="6"/>
                    </a:cxn>
                    <a:cxn ang="0">
                      <a:pos x="16" y="10"/>
                    </a:cxn>
                    <a:cxn ang="0">
                      <a:pos x="14" y="12"/>
                    </a:cxn>
                    <a:cxn ang="0">
                      <a:pos x="10" y="10"/>
                    </a:cxn>
                    <a:cxn ang="0">
                      <a:pos x="4" y="12"/>
                    </a:cxn>
                    <a:cxn ang="0">
                      <a:pos x="4" y="12"/>
                    </a:cxn>
                    <a:cxn ang="0">
                      <a:pos x="0" y="16"/>
                    </a:cxn>
                    <a:cxn ang="0">
                      <a:pos x="0" y="22"/>
                    </a:cxn>
                    <a:cxn ang="0">
                      <a:pos x="2" y="26"/>
                    </a:cxn>
                    <a:cxn ang="0">
                      <a:pos x="8" y="28"/>
                    </a:cxn>
                    <a:cxn ang="0">
                      <a:pos x="8" y="28"/>
                    </a:cxn>
                    <a:cxn ang="0">
                      <a:pos x="14" y="30"/>
                    </a:cxn>
                    <a:cxn ang="0">
                      <a:pos x="18" y="28"/>
                    </a:cxn>
                    <a:cxn ang="0">
                      <a:pos x="20" y="26"/>
                    </a:cxn>
                    <a:cxn ang="0">
                      <a:pos x="20" y="26"/>
                    </a:cxn>
                    <a:cxn ang="0">
                      <a:pos x="24" y="22"/>
                    </a:cxn>
                    <a:cxn ang="0">
                      <a:pos x="28" y="20"/>
                    </a:cxn>
                    <a:cxn ang="0">
                      <a:pos x="38" y="18"/>
                    </a:cxn>
                    <a:cxn ang="0">
                      <a:pos x="38" y="18"/>
                    </a:cxn>
                    <a:cxn ang="0">
                      <a:pos x="44" y="16"/>
                    </a:cxn>
                    <a:cxn ang="0">
                      <a:pos x="48" y="14"/>
                    </a:cxn>
                    <a:cxn ang="0">
                      <a:pos x="48" y="12"/>
                    </a:cxn>
                    <a:cxn ang="0">
                      <a:pos x="44" y="6"/>
                    </a:cxn>
                    <a:cxn ang="0">
                      <a:pos x="44" y="6"/>
                    </a:cxn>
                    <a:cxn ang="0">
                      <a:pos x="42" y="4"/>
                    </a:cxn>
                    <a:cxn ang="0">
                      <a:pos x="40" y="2"/>
                    </a:cxn>
                    <a:cxn ang="0">
                      <a:pos x="36" y="4"/>
                    </a:cxn>
                    <a:cxn ang="0">
                      <a:pos x="32" y="6"/>
                    </a:cxn>
                    <a:cxn ang="0">
                      <a:pos x="30" y="8"/>
                    </a:cxn>
                    <a:cxn ang="0">
                      <a:pos x="28" y="6"/>
                    </a:cxn>
                    <a:cxn ang="0">
                      <a:pos x="28" y="6"/>
                    </a:cxn>
                  </a:cxnLst>
                  <a:rect l="0" t="0" r="r" b="b"/>
                  <a:pathLst>
                    <a:path w="48" h="30">
                      <a:moveTo>
                        <a:pt x="28" y="6"/>
                      </a:moveTo>
                      <a:lnTo>
                        <a:pt x="28" y="6"/>
                      </a:lnTo>
                      <a:lnTo>
                        <a:pt x="24" y="2"/>
                      </a:lnTo>
                      <a:lnTo>
                        <a:pt x="20" y="0"/>
                      </a:lnTo>
                      <a:lnTo>
                        <a:pt x="16" y="0"/>
                      </a:lnTo>
                      <a:lnTo>
                        <a:pt x="16" y="6"/>
                      </a:lnTo>
                      <a:lnTo>
                        <a:pt x="16" y="6"/>
                      </a:lnTo>
                      <a:lnTo>
                        <a:pt x="16" y="10"/>
                      </a:lnTo>
                      <a:lnTo>
                        <a:pt x="14" y="12"/>
                      </a:lnTo>
                      <a:lnTo>
                        <a:pt x="10" y="10"/>
                      </a:lnTo>
                      <a:lnTo>
                        <a:pt x="4" y="12"/>
                      </a:lnTo>
                      <a:lnTo>
                        <a:pt x="4" y="12"/>
                      </a:lnTo>
                      <a:lnTo>
                        <a:pt x="0" y="16"/>
                      </a:lnTo>
                      <a:lnTo>
                        <a:pt x="0" y="22"/>
                      </a:lnTo>
                      <a:lnTo>
                        <a:pt x="2" y="26"/>
                      </a:lnTo>
                      <a:lnTo>
                        <a:pt x="8" y="28"/>
                      </a:lnTo>
                      <a:lnTo>
                        <a:pt x="8" y="28"/>
                      </a:lnTo>
                      <a:lnTo>
                        <a:pt x="14" y="30"/>
                      </a:lnTo>
                      <a:lnTo>
                        <a:pt x="18" y="28"/>
                      </a:lnTo>
                      <a:lnTo>
                        <a:pt x="20" y="26"/>
                      </a:lnTo>
                      <a:lnTo>
                        <a:pt x="20" y="26"/>
                      </a:lnTo>
                      <a:lnTo>
                        <a:pt x="24" y="22"/>
                      </a:lnTo>
                      <a:lnTo>
                        <a:pt x="28" y="20"/>
                      </a:lnTo>
                      <a:lnTo>
                        <a:pt x="38" y="18"/>
                      </a:lnTo>
                      <a:lnTo>
                        <a:pt x="38" y="18"/>
                      </a:lnTo>
                      <a:lnTo>
                        <a:pt x="44" y="16"/>
                      </a:lnTo>
                      <a:lnTo>
                        <a:pt x="48" y="14"/>
                      </a:lnTo>
                      <a:lnTo>
                        <a:pt x="48" y="12"/>
                      </a:lnTo>
                      <a:lnTo>
                        <a:pt x="44" y="6"/>
                      </a:lnTo>
                      <a:lnTo>
                        <a:pt x="44" y="6"/>
                      </a:lnTo>
                      <a:lnTo>
                        <a:pt x="42" y="4"/>
                      </a:lnTo>
                      <a:lnTo>
                        <a:pt x="40" y="2"/>
                      </a:lnTo>
                      <a:lnTo>
                        <a:pt x="36" y="4"/>
                      </a:lnTo>
                      <a:lnTo>
                        <a:pt x="32" y="6"/>
                      </a:lnTo>
                      <a:lnTo>
                        <a:pt x="30" y="8"/>
                      </a:lnTo>
                      <a:lnTo>
                        <a:pt x="28" y="6"/>
                      </a:lnTo>
                      <a:lnTo>
                        <a:pt x="28"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6" name="Freeform 6041"/>
                <p:cNvSpPr>
                  <a:spLocks/>
                </p:cNvSpPr>
                <p:nvPr/>
              </p:nvSpPr>
              <p:spPr bwMode="auto">
                <a:xfrm>
                  <a:off x="1062990" y="2026603"/>
                  <a:ext cx="10160" cy="10160"/>
                </a:xfrm>
                <a:custGeom>
                  <a:avLst/>
                  <a:gdLst/>
                  <a:ahLst/>
                  <a:cxnLst>
                    <a:cxn ang="0">
                      <a:pos x="6" y="14"/>
                    </a:cxn>
                    <a:cxn ang="0">
                      <a:pos x="6" y="14"/>
                    </a:cxn>
                    <a:cxn ang="0">
                      <a:pos x="12" y="8"/>
                    </a:cxn>
                    <a:cxn ang="0">
                      <a:pos x="16" y="2"/>
                    </a:cxn>
                    <a:cxn ang="0">
                      <a:pos x="16" y="2"/>
                    </a:cxn>
                    <a:cxn ang="0">
                      <a:pos x="16" y="0"/>
                    </a:cxn>
                    <a:cxn ang="0">
                      <a:pos x="16" y="0"/>
                    </a:cxn>
                    <a:cxn ang="0">
                      <a:pos x="10" y="4"/>
                    </a:cxn>
                    <a:cxn ang="0">
                      <a:pos x="10" y="4"/>
                    </a:cxn>
                    <a:cxn ang="0">
                      <a:pos x="2" y="10"/>
                    </a:cxn>
                    <a:cxn ang="0">
                      <a:pos x="0" y="14"/>
                    </a:cxn>
                    <a:cxn ang="0">
                      <a:pos x="0" y="16"/>
                    </a:cxn>
                    <a:cxn ang="0">
                      <a:pos x="0" y="16"/>
                    </a:cxn>
                    <a:cxn ang="0">
                      <a:pos x="4" y="16"/>
                    </a:cxn>
                    <a:cxn ang="0">
                      <a:pos x="6" y="14"/>
                    </a:cxn>
                    <a:cxn ang="0">
                      <a:pos x="6" y="14"/>
                    </a:cxn>
                  </a:cxnLst>
                  <a:rect l="0" t="0" r="r" b="b"/>
                  <a:pathLst>
                    <a:path w="16" h="16">
                      <a:moveTo>
                        <a:pt x="6" y="14"/>
                      </a:moveTo>
                      <a:lnTo>
                        <a:pt x="6" y="14"/>
                      </a:lnTo>
                      <a:lnTo>
                        <a:pt x="12" y="8"/>
                      </a:lnTo>
                      <a:lnTo>
                        <a:pt x="16" y="2"/>
                      </a:lnTo>
                      <a:lnTo>
                        <a:pt x="16" y="2"/>
                      </a:lnTo>
                      <a:lnTo>
                        <a:pt x="16" y="0"/>
                      </a:lnTo>
                      <a:lnTo>
                        <a:pt x="16" y="0"/>
                      </a:lnTo>
                      <a:lnTo>
                        <a:pt x="10" y="4"/>
                      </a:lnTo>
                      <a:lnTo>
                        <a:pt x="10" y="4"/>
                      </a:lnTo>
                      <a:lnTo>
                        <a:pt x="2" y="10"/>
                      </a:lnTo>
                      <a:lnTo>
                        <a:pt x="0" y="14"/>
                      </a:lnTo>
                      <a:lnTo>
                        <a:pt x="0" y="16"/>
                      </a:lnTo>
                      <a:lnTo>
                        <a:pt x="0" y="16"/>
                      </a:lnTo>
                      <a:lnTo>
                        <a:pt x="4" y="16"/>
                      </a:lnTo>
                      <a:lnTo>
                        <a:pt x="6" y="14"/>
                      </a:lnTo>
                      <a:lnTo>
                        <a:pt x="6" y="1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7" name="Freeform 6042"/>
                <p:cNvSpPr>
                  <a:spLocks/>
                </p:cNvSpPr>
                <p:nvPr/>
              </p:nvSpPr>
              <p:spPr bwMode="auto">
                <a:xfrm>
                  <a:off x="996950" y="2055813"/>
                  <a:ext cx="36830" cy="40640"/>
                </a:xfrm>
                <a:custGeom>
                  <a:avLst/>
                  <a:gdLst/>
                  <a:ahLst/>
                  <a:cxnLst>
                    <a:cxn ang="0">
                      <a:pos x="44" y="58"/>
                    </a:cxn>
                    <a:cxn ang="0">
                      <a:pos x="50" y="54"/>
                    </a:cxn>
                    <a:cxn ang="0">
                      <a:pos x="50" y="32"/>
                    </a:cxn>
                    <a:cxn ang="0">
                      <a:pos x="52" y="24"/>
                    </a:cxn>
                    <a:cxn ang="0">
                      <a:pos x="58" y="8"/>
                    </a:cxn>
                    <a:cxn ang="0">
                      <a:pos x="56" y="4"/>
                    </a:cxn>
                    <a:cxn ang="0">
                      <a:pos x="56" y="6"/>
                    </a:cxn>
                    <a:cxn ang="0">
                      <a:pos x="44" y="10"/>
                    </a:cxn>
                    <a:cxn ang="0">
                      <a:pos x="40" y="10"/>
                    </a:cxn>
                    <a:cxn ang="0">
                      <a:pos x="42" y="14"/>
                    </a:cxn>
                    <a:cxn ang="0">
                      <a:pos x="42" y="24"/>
                    </a:cxn>
                    <a:cxn ang="0">
                      <a:pos x="32" y="34"/>
                    </a:cxn>
                    <a:cxn ang="0">
                      <a:pos x="24" y="34"/>
                    </a:cxn>
                    <a:cxn ang="0">
                      <a:pos x="20" y="32"/>
                    </a:cxn>
                    <a:cxn ang="0">
                      <a:pos x="26" y="28"/>
                    </a:cxn>
                    <a:cxn ang="0">
                      <a:pos x="32" y="26"/>
                    </a:cxn>
                    <a:cxn ang="0">
                      <a:pos x="38" y="16"/>
                    </a:cxn>
                    <a:cxn ang="0">
                      <a:pos x="34" y="10"/>
                    </a:cxn>
                    <a:cxn ang="0">
                      <a:pos x="28" y="6"/>
                    </a:cxn>
                    <a:cxn ang="0">
                      <a:pos x="24" y="6"/>
                    </a:cxn>
                    <a:cxn ang="0">
                      <a:pos x="20" y="4"/>
                    </a:cxn>
                    <a:cxn ang="0">
                      <a:pos x="14" y="4"/>
                    </a:cxn>
                    <a:cxn ang="0">
                      <a:pos x="12" y="4"/>
                    </a:cxn>
                    <a:cxn ang="0">
                      <a:pos x="4" y="0"/>
                    </a:cxn>
                    <a:cxn ang="0">
                      <a:pos x="2" y="6"/>
                    </a:cxn>
                    <a:cxn ang="0">
                      <a:pos x="2" y="12"/>
                    </a:cxn>
                    <a:cxn ang="0">
                      <a:pos x="0" y="20"/>
                    </a:cxn>
                    <a:cxn ang="0">
                      <a:pos x="4" y="28"/>
                    </a:cxn>
                    <a:cxn ang="0">
                      <a:pos x="6" y="36"/>
                    </a:cxn>
                    <a:cxn ang="0">
                      <a:pos x="8" y="42"/>
                    </a:cxn>
                    <a:cxn ang="0">
                      <a:pos x="10" y="46"/>
                    </a:cxn>
                    <a:cxn ang="0">
                      <a:pos x="16" y="44"/>
                    </a:cxn>
                    <a:cxn ang="0">
                      <a:pos x="24" y="48"/>
                    </a:cxn>
                    <a:cxn ang="0">
                      <a:pos x="22" y="52"/>
                    </a:cxn>
                    <a:cxn ang="0">
                      <a:pos x="18" y="50"/>
                    </a:cxn>
                    <a:cxn ang="0">
                      <a:pos x="16" y="54"/>
                    </a:cxn>
                    <a:cxn ang="0">
                      <a:pos x="20" y="56"/>
                    </a:cxn>
                    <a:cxn ang="0">
                      <a:pos x="24" y="62"/>
                    </a:cxn>
                    <a:cxn ang="0">
                      <a:pos x="30" y="64"/>
                    </a:cxn>
                    <a:cxn ang="0">
                      <a:pos x="36" y="64"/>
                    </a:cxn>
                    <a:cxn ang="0">
                      <a:pos x="40" y="60"/>
                    </a:cxn>
                    <a:cxn ang="0">
                      <a:pos x="44" y="58"/>
                    </a:cxn>
                  </a:cxnLst>
                  <a:rect l="0" t="0" r="r" b="b"/>
                  <a:pathLst>
                    <a:path w="58" h="64">
                      <a:moveTo>
                        <a:pt x="44" y="58"/>
                      </a:moveTo>
                      <a:lnTo>
                        <a:pt x="44" y="58"/>
                      </a:lnTo>
                      <a:lnTo>
                        <a:pt x="48" y="56"/>
                      </a:lnTo>
                      <a:lnTo>
                        <a:pt x="50" y="54"/>
                      </a:lnTo>
                      <a:lnTo>
                        <a:pt x="50" y="44"/>
                      </a:lnTo>
                      <a:lnTo>
                        <a:pt x="50" y="32"/>
                      </a:lnTo>
                      <a:lnTo>
                        <a:pt x="50" y="28"/>
                      </a:lnTo>
                      <a:lnTo>
                        <a:pt x="52" y="24"/>
                      </a:lnTo>
                      <a:lnTo>
                        <a:pt x="52" y="24"/>
                      </a:lnTo>
                      <a:lnTo>
                        <a:pt x="58" y="8"/>
                      </a:lnTo>
                      <a:lnTo>
                        <a:pt x="58" y="4"/>
                      </a:lnTo>
                      <a:lnTo>
                        <a:pt x="56" y="4"/>
                      </a:lnTo>
                      <a:lnTo>
                        <a:pt x="56" y="6"/>
                      </a:lnTo>
                      <a:lnTo>
                        <a:pt x="56" y="6"/>
                      </a:lnTo>
                      <a:lnTo>
                        <a:pt x="50" y="8"/>
                      </a:lnTo>
                      <a:lnTo>
                        <a:pt x="44" y="10"/>
                      </a:lnTo>
                      <a:lnTo>
                        <a:pt x="40" y="10"/>
                      </a:lnTo>
                      <a:lnTo>
                        <a:pt x="40" y="10"/>
                      </a:lnTo>
                      <a:lnTo>
                        <a:pt x="42" y="14"/>
                      </a:lnTo>
                      <a:lnTo>
                        <a:pt x="42" y="14"/>
                      </a:lnTo>
                      <a:lnTo>
                        <a:pt x="44" y="20"/>
                      </a:lnTo>
                      <a:lnTo>
                        <a:pt x="42" y="24"/>
                      </a:lnTo>
                      <a:lnTo>
                        <a:pt x="40" y="30"/>
                      </a:lnTo>
                      <a:lnTo>
                        <a:pt x="32" y="34"/>
                      </a:lnTo>
                      <a:lnTo>
                        <a:pt x="32" y="34"/>
                      </a:lnTo>
                      <a:lnTo>
                        <a:pt x="24" y="34"/>
                      </a:lnTo>
                      <a:lnTo>
                        <a:pt x="20" y="34"/>
                      </a:lnTo>
                      <a:lnTo>
                        <a:pt x="20" y="32"/>
                      </a:lnTo>
                      <a:lnTo>
                        <a:pt x="20" y="32"/>
                      </a:lnTo>
                      <a:lnTo>
                        <a:pt x="26" y="28"/>
                      </a:lnTo>
                      <a:lnTo>
                        <a:pt x="26" y="28"/>
                      </a:lnTo>
                      <a:lnTo>
                        <a:pt x="32" y="26"/>
                      </a:lnTo>
                      <a:lnTo>
                        <a:pt x="38" y="22"/>
                      </a:lnTo>
                      <a:lnTo>
                        <a:pt x="38" y="16"/>
                      </a:lnTo>
                      <a:lnTo>
                        <a:pt x="34" y="10"/>
                      </a:lnTo>
                      <a:lnTo>
                        <a:pt x="34" y="10"/>
                      </a:lnTo>
                      <a:lnTo>
                        <a:pt x="30" y="6"/>
                      </a:lnTo>
                      <a:lnTo>
                        <a:pt x="28" y="6"/>
                      </a:lnTo>
                      <a:lnTo>
                        <a:pt x="26" y="6"/>
                      </a:lnTo>
                      <a:lnTo>
                        <a:pt x="24" y="6"/>
                      </a:lnTo>
                      <a:lnTo>
                        <a:pt x="24" y="6"/>
                      </a:lnTo>
                      <a:lnTo>
                        <a:pt x="20" y="4"/>
                      </a:lnTo>
                      <a:lnTo>
                        <a:pt x="18" y="4"/>
                      </a:lnTo>
                      <a:lnTo>
                        <a:pt x="14" y="4"/>
                      </a:lnTo>
                      <a:lnTo>
                        <a:pt x="12" y="4"/>
                      </a:lnTo>
                      <a:lnTo>
                        <a:pt x="12" y="4"/>
                      </a:lnTo>
                      <a:lnTo>
                        <a:pt x="8" y="0"/>
                      </a:lnTo>
                      <a:lnTo>
                        <a:pt x="4" y="0"/>
                      </a:lnTo>
                      <a:lnTo>
                        <a:pt x="2" y="2"/>
                      </a:lnTo>
                      <a:lnTo>
                        <a:pt x="2" y="6"/>
                      </a:lnTo>
                      <a:lnTo>
                        <a:pt x="2" y="6"/>
                      </a:lnTo>
                      <a:lnTo>
                        <a:pt x="2" y="12"/>
                      </a:lnTo>
                      <a:lnTo>
                        <a:pt x="2" y="16"/>
                      </a:lnTo>
                      <a:lnTo>
                        <a:pt x="0" y="20"/>
                      </a:lnTo>
                      <a:lnTo>
                        <a:pt x="4" y="28"/>
                      </a:lnTo>
                      <a:lnTo>
                        <a:pt x="4" y="28"/>
                      </a:lnTo>
                      <a:lnTo>
                        <a:pt x="8" y="34"/>
                      </a:lnTo>
                      <a:lnTo>
                        <a:pt x="6" y="36"/>
                      </a:lnTo>
                      <a:lnTo>
                        <a:pt x="6" y="38"/>
                      </a:lnTo>
                      <a:lnTo>
                        <a:pt x="8" y="42"/>
                      </a:lnTo>
                      <a:lnTo>
                        <a:pt x="8" y="42"/>
                      </a:lnTo>
                      <a:lnTo>
                        <a:pt x="10" y="46"/>
                      </a:lnTo>
                      <a:lnTo>
                        <a:pt x="16" y="44"/>
                      </a:lnTo>
                      <a:lnTo>
                        <a:pt x="16" y="44"/>
                      </a:lnTo>
                      <a:lnTo>
                        <a:pt x="20" y="46"/>
                      </a:lnTo>
                      <a:lnTo>
                        <a:pt x="24" y="48"/>
                      </a:lnTo>
                      <a:lnTo>
                        <a:pt x="26" y="50"/>
                      </a:lnTo>
                      <a:lnTo>
                        <a:pt x="22" y="52"/>
                      </a:lnTo>
                      <a:lnTo>
                        <a:pt x="22" y="52"/>
                      </a:lnTo>
                      <a:lnTo>
                        <a:pt x="18" y="50"/>
                      </a:lnTo>
                      <a:lnTo>
                        <a:pt x="16" y="52"/>
                      </a:lnTo>
                      <a:lnTo>
                        <a:pt x="16" y="54"/>
                      </a:lnTo>
                      <a:lnTo>
                        <a:pt x="20" y="56"/>
                      </a:lnTo>
                      <a:lnTo>
                        <a:pt x="20" y="56"/>
                      </a:lnTo>
                      <a:lnTo>
                        <a:pt x="22" y="60"/>
                      </a:lnTo>
                      <a:lnTo>
                        <a:pt x="24" y="62"/>
                      </a:lnTo>
                      <a:lnTo>
                        <a:pt x="24" y="62"/>
                      </a:lnTo>
                      <a:lnTo>
                        <a:pt x="30" y="64"/>
                      </a:lnTo>
                      <a:lnTo>
                        <a:pt x="30" y="64"/>
                      </a:lnTo>
                      <a:lnTo>
                        <a:pt x="36" y="64"/>
                      </a:lnTo>
                      <a:lnTo>
                        <a:pt x="38" y="62"/>
                      </a:lnTo>
                      <a:lnTo>
                        <a:pt x="40" y="60"/>
                      </a:lnTo>
                      <a:lnTo>
                        <a:pt x="44" y="58"/>
                      </a:lnTo>
                      <a:lnTo>
                        <a:pt x="44" y="5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8" name="Freeform 6043"/>
                <p:cNvSpPr>
                  <a:spLocks/>
                </p:cNvSpPr>
                <p:nvPr/>
              </p:nvSpPr>
              <p:spPr bwMode="auto">
                <a:xfrm>
                  <a:off x="1118870" y="2185353"/>
                  <a:ext cx="132080" cy="93980"/>
                </a:xfrm>
                <a:custGeom>
                  <a:avLst/>
                  <a:gdLst/>
                  <a:ahLst/>
                  <a:cxnLst>
                    <a:cxn ang="0">
                      <a:pos x="196" y="148"/>
                    </a:cxn>
                    <a:cxn ang="0">
                      <a:pos x="206" y="146"/>
                    </a:cxn>
                    <a:cxn ang="0">
                      <a:pos x="208" y="144"/>
                    </a:cxn>
                    <a:cxn ang="0">
                      <a:pos x="202" y="130"/>
                    </a:cxn>
                    <a:cxn ang="0">
                      <a:pos x="200" y="124"/>
                    </a:cxn>
                    <a:cxn ang="0">
                      <a:pos x="192" y="116"/>
                    </a:cxn>
                    <a:cxn ang="0">
                      <a:pos x="180" y="94"/>
                    </a:cxn>
                    <a:cxn ang="0">
                      <a:pos x="172" y="90"/>
                    </a:cxn>
                    <a:cxn ang="0">
                      <a:pos x="144" y="76"/>
                    </a:cxn>
                    <a:cxn ang="0">
                      <a:pos x="144" y="70"/>
                    </a:cxn>
                    <a:cxn ang="0">
                      <a:pos x="138" y="60"/>
                    </a:cxn>
                    <a:cxn ang="0">
                      <a:pos x="122" y="38"/>
                    </a:cxn>
                    <a:cxn ang="0">
                      <a:pos x="110" y="30"/>
                    </a:cxn>
                    <a:cxn ang="0">
                      <a:pos x="52" y="14"/>
                    </a:cxn>
                    <a:cxn ang="0">
                      <a:pos x="36" y="4"/>
                    </a:cxn>
                    <a:cxn ang="0">
                      <a:pos x="8" y="0"/>
                    </a:cxn>
                    <a:cxn ang="0">
                      <a:pos x="0" y="4"/>
                    </a:cxn>
                    <a:cxn ang="0">
                      <a:pos x="14" y="20"/>
                    </a:cxn>
                    <a:cxn ang="0">
                      <a:pos x="24" y="20"/>
                    </a:cxn>
                    <a:cxn ang="0">
                      <a:pos x="40" y="20"/>
                    </a:cxn>
                    <a:cxn ang="0">
                      <a:pos x="30" y="22"/>
                    </a:cxn>
                    <a:cxn ang="0">
                      <a:pos x="22" y="30"/>
                    </a:cxn>
                    <a:cxn ang="0">
                      <a:pos x="26" y="34"/>
                    </a:cxn>
                    <a:cxn ang="0">
                      <a:pos x="22" y="42"/>
                    </a:cxn>
                    <a:cxn ang="0">
                      <a:pos x="22" y="44"/>
                    </a:cxn>
                    <a:cxn ang="0">
                      <a:pos x="30" y="42"/>
                    </a:cxn>
                    <a:cxn ang="0">
                      <a:pos x="40" y="44"/>
                    </a:cxn>
                    <a:cxn ang="0">
                      <a:pos x="44" y="46"/>
                    </a:cxn>
                    <a:cxn ang="0">
                      <a:pos x="50" y="42"/>
                    </a:cxn>
                    <a:cxn ang="0">
                      <a:pos x="52" y="46"/>
                    </a:cxn>
                    <a:cxn ang="0">
                      <a:pos x="50" y="56"/>
                    </a:cxn>
                    <a:cxn ang="0">
                      <a:pos x="54" y="60"/>
                    </a:cxn>
                    <a:cxn ang="0">
                      <a:pos x="68" y="52"/>
                    </a:cxn>
                    <a:cxn ang="0">
                      <a:pos x="72" y="58"/>
                    </a:cxn>
                    <a:cxn ang="0">
                      <a:pos x="82" y="68"/>
                    </a:cxn>
                    <a:cxn ang="0">
                      <a:pos x="80" y="72"/>
                    </a:cxn>
                    <a:cxn ang="0">
                      <a:pos x="76" y="84"/>
                    </a:cxn>
                    <a:cxn ang="0">
                      <a:pos x="94" y="84"/>
                    </a:cxn>
                    <a:cxn ang="0">
                      <a:pos x="100" y="90"/>
                    </a:cxn>
                    <a:cxn ang="0">
                      <a:pos x="106" y="96"/>
                    </a:cxn>
                    <a:cxn ang="0">
                      <a:pos x="108" y="104"/>
                    </a:cxn>
                    <a:cxn ang="0">
                      <a:pos x="122" y="112"/>
                    </a:cxn>
                    <a:cxn ang="0">
                      <a:pos x="132" y="112"/>
                    </a:cxn>
                    <a:cxn ang="0">
                      <a:pos x="134" y="116"/>
                    </a:cxn>
                    <a:cxn ang="0">
                      <a:pos x="136" y="126"/>
                    </a:cxn>
                    <a:cxn ang="0">
                      <a:pos x="154" y="136"/>
                    </a:cxn>
                    <a:cxn ang="0">
                      <a:pos x="176" y="144"/>
                    </a:cxn>
                  </a:cxnLst>
                  <a:rect l="0" t="0" r="r" b="b"/>
                  <a:pathLst>
                    <a:path w="208" h="148">
                      <a:moveTo>
                        <a:pt x="186" y="148"/>
                      </a:moveTo>
                      <a:lnTo>
                        <a:pt x="186" y="148"/>
                      </a:lnTo>
                      <a:lnTo>
                        <a:pt x="196" y="148"/>
                      </a:lnTo>
                      <a:lnTo>
                        <a:pt x="200" y="148"/>
                      </a:lnTo>
                      <a:lnTo>
                        <a:pt x="202" y="146"/>
                      </a:lnTo>
                      <a:lnTo>
                        <a:pt x="206" y="146"/>
                      </a:lnTo>
                      <a:lnTo>
                        <a:pt x="206" y="146"/>
                      </a:lnTo>
                      <a:lnTo>
                        <a:pt x="208" y="146"/>
                      </a:lnTo>
                      <a:lnTo>
                        <a:pt x="208" y="144"/>
                      </a:lnTo>
                      <a:lnTo>
                        <a:pt x="208" y="140"/>
                      </a:lnTo>
                      <a:lnTo>
                        <a:pt x="206" y="134"/>
                      </a:lnTo>
                      <a:lnTo>
                        <a:pt x="202" y="130"/>
                      </a:lnTo>
                      <a:lnTo>
                        <a:pt x="202" y="130"/>
                      </a:lnTo>
                      <a:lnTo>
                        <a:pt x="200" y="128"/>
                      </a:lnTo>
                      <a:lnTo>
                        <a:pt x="200" y="124"/>
                      </a:lnTo>
                      <a:lnTo>
                        <a:pt x="198" y="120"/>
                      </a:lnTo>
                      <a:lnTo>
                        <a:pt x="192" y="116"/>
                      </a:lnTo>
                      <a:lnTo>
                        <a:pt x="192" y="116"/>
                      </a:lnTo>
                      <a:lnTo>
                        <a:pt x="188" y="110"/>
                      </a:lnTo>
                      <a:lnTo>
                        <a:pt x="184" y="102"/>
                      </a:lnTo>
                      <a:lnTo>
                        <a:pt x="180" y="94"/>
                      </a:lnTo>
                      <a:lnTo>
                        <a:pt x="176" y="92"/>
                      </a:lnTo>
                      <a:lnTo>
                        <a:pt x="172" y="90"/>
                      </a:lnTo>
                      <a:lnTo>
                        <a:pt x="172" y="90"/>
                      </a:lnTo>
                      <a:lnTo>
                        <a:pt x="160" y="86"/>
                      </a:lnTo>
                      <a:lnTo>
                        <a:pt x="150" y="80"/>
                      </a:lnTo>
                      <a:lnTo>
                        <a:pt x="144" y="76"/>
                      </a:lnTo>
                      <a:lnTo>
                        <a:pt x="144" y="72"/>
                      </a:lnTo>
                      <a:lnTo>
                        <a:pt x="144" y="70"/>
                      </a:lnTo>
                      <a:lnTo>
                        <a:pt x="144" y="70"/>
                      </a:lnTo>
                      <a:lnTo>
                        <a:pt x="144" y="68"/>
                      </a:lnTo>
                      <a:lnTo>
                        <a:pt x="144" y="64"/>
                      </a:lnTo>
                      <a:lnTo>
                        <a:pt x="138" y="60"/>
                      </a:lnTo>
                      <a:lnTo>
                        <a:pt x="130" y="52"/>
                      </a:lnTo>
                      <a:lnTo>
                        <a:pt x="126" y="46"/>
                      </a:lnTo>
                      <a:lnTo>
                        <a:pt x="122" y="38"/>
                      </a:lnTo>
                      <a:lnTo>
                        <a:pt x="122" y="38"/>
                      </a:lnTo>
                      <a:lnTo>
                        <a:pt x="118" y="34"/>
                      </a:lnTo>
                      <a:lnTo>
                        <a:pt x="110" y="30"/>
                      </a:lnTo>
                      <a:lnTo>
                        <a:pt x="86" y="22"/>
                      </a:lnTo>
                      <a:lnTo>
                        <a:pt x="62" y="18"/>
                      </a:lnTo>
                      <a:lnTo>
                        <a:pt x="52" y="14"/>
                      </a:lnTo>
                      <a:lnTo>
                        <a:pt x="46" y="10"/>
                      </a:lnTo>
                      <a:lnTo>
                        <a:pt x="46" y="10"/>
                      </a:lnTo>
                      <a:lnTo>
                        <a:pt x="36" y="4"/>
                      </a:lnTo>
                      <a:lnTo>
                        <a:pt x="24" y="0"/>
                      </a:lnTo>
                      <a:lnTo>
                        <a:pt x="12" y="0"/>
                      </a:lnTo>
                      <a:lnTo>
                        <a:pt x="8" y="0"/>
                      </a:lnTo>
                      <a:lnTo>
                        <a:pt x="2" y="4"/>
                      </a:lnTo>
                      <a:lnTo>
                        <a:pt x="2" y="4"/>
                      </a:lnTo>
                      <a:lnTo>
                        <a:pt x="0" y="4"/>
                      </a:lnTo>
                      <a:lnTo>
                        <a:pt x="2" y="8"/>
                      </a:lnTo>
                      <a:lnTo>
                        <a:pt x="6" y="14"/>
                      </a:lnTo>
                      <a:lnTo>
                        <a:pt x="14" y="20"/>
                      </a:lnTo>
                      <a:lnTo>
                        <a:pt x="18" y="20"/>
                      </a:lnTo>
                      <a:lnTo>
                        <a:pt x="24" y="20"/>
                      </a:lnTo>
                      <a:lnTo>
                        <a:pt x="24" y="20"/>
                      </a:lnTo>
                      <a:lnTo>
                        <a:pt x="32" y="18"/>
                      </a:lnTo>
                      <a:lnTo>
                        <a:pt x="38" y="18"/>
                      </a:lnTo>
                      <a:lnTo>
                        <a:pt x="40" y="20"/>
                      </a:lnTo>
                      <a:lnTo>
                        <a:pt x="36" y="20"/>
                      </a:lnTo>
                      <a:lnTo>
                        <a:pt x="36" y="20"/>
                      </a:lnTo>
                      <a:lnTo>
                        <a:pt x="30" y="22"/>
                      </a:lnTo>
                      <a:lnTo>
                        <a:pt x="24" y="24"/>
                      </a:lnTo>
                      <a:lnTo>
                        <a:pt x="22" y="28"/>
                      </a:lnTo>
                      <a:lnTo>
                        <a:pt x="22" y="30"/>
                      </a:lnTo>
                      <a:lnTo>
                        <a:pt x="24" y="32"/>
                      </a:lnTo>
                      <a:lnTo>
                        <a:pt x="24" y="32"/>
                      </a:lnTo>
                      <a:lnTo>
                        <a:pt x="26" y="34"/>
                      </a:lnTo>
                      <a:lnTo>
                        <a:pt x="28" y="36"/>
                      </a:lnTo>
                      <a:lnTo>
                        <a:pt x="24" y="38"/>
                      </a:lnTo>
                      <a:lnTo>
                        <a:pt x="22" y="42"/>
                      </a:lnTo>
                      <a:lnTo>
                        <a:pt x="20" y="42"/>
                      </a:lnTo>
                      <a:lnTo>
                        <a:pt x="22" y="44"/>
                      </a:lnTo>
                      <a:lnTo>
                        <a:pt x="22" y="44"/>
                      </a:lnTo>
                      <a:lnTo>
                        <a:pt x="22" y="46"/>
                      </a:lnTo>
                      <a:lnTo>
                        <a:pt x="26" y="46"/>
                      </a:lnTo>
                      <a:lnTo>
                        <a:pt x="30" y="42"/>
                      </a:lnTo>
                      <a:lnTo>
                        <a:pt x="36" y="42"/>
                      </a:lnTo>
                      <a:lnTo>
                        <a:pt x="38" y="42"/>
                      </a:lnTo>
                      <a:lnTo>
                        <a:pt x="40" y="44"/>
                      </a:lnTo>
                      <a:lnTo>
                        <a:pt x="40" y="44"/>
                      </a:lnTo>
                      <a:lnTo>
                        <a:pt x="42" y="48"/>
                      </a:lnTo>
                      <a:lnTo>
                        <a:pt x="44" y="46"/>
                      </a:lnTo>
                      <a:lnTo>
                        <a:pt x="46" y="42"/>
                      </a:lnTo>
                      <a:lnTo>
                        <a:pt x="48" y="42"/>
                      </a:lnTo>
                      <a:lnTo>
                        <a:pt x="50" y="42"/>
                      </a:lnTo>
                      <a:lnTo>
                        <a:pt x="50" y="42"/>
                      </a:lnTo>
                      <a:lnTo>
                        <a:pt x="52" y="44"/>
                      </a:lnTo>
                      <a:lnTo>
                        <a:pt x="52" y="46"/>
                      </a:lnTo>
                      <a:lnTo>
                        <a:pt x="52" y="50"/>
                      </a:lnTo>
                      <a:lnTo>
                        <a:pt x="50" y="54"/>
                      </a:lnTo>
                      <a:lnTo>
                        <a:pt x="50" y="56"/>
                      </a:lnTo>
                      <a:lnTo>
                        <a:pt x="52" y="58"/>
                      </a:lnTo>
                      <a:lnTo>
                        <a:pt x="52" y="58"/>
                      </a:lnTo>
                      <a:lnTo>
                        <a:pt x="54" y="60"/>
                      </a:lnTo>
                      <a:lnTo>
                        <a:pt x="56" y="58"/>
                      </a:lnTo>
                      <a:lnTo>
                        <a:pt x="62" y="56"/>
                      </a:lnTo>
                      <a:lnTo>
                        <a:pt x="68" y="52"/>
                      </a:lnTo>
                      <a:lnTo>
                        <a:pt x="70" y="54"/>
                      </a:lnTo>
                      <a:lnTo>
                        <a:pt x="72" y="58"/>
                      </a:lnTo>
                      <a:lnTo>
                        <a:pt x="72" y="58"/>
                      </a:lnTo>
                      <a:lnTo>
                        <a:pt x="74" y="62"/>
                      </a:lnTo>
                      <a:lnTo>
                        <a:pt x="76" y="66"/>
                      </a:lnTo>
                      <a:lnTo>
                        <a:pt x="82" y="68"/>
                      </a:lnTo>
                      <a:lnTo>
                        <a:pt x="84" y="70"/>
                      </a:lnTo>
                      <a:lnTo>
                        <a:pt x="80" y="72"/>
                      </a:lnTo>
                      <a:lnTo>
                        <a:pt x="80" y="72"/>
                      </a:lnTo>
                      <a:lnTo>
                        <a:pt x="74" y="76"/>
                      </a:lnTo>
                      <a:lnTo>
                        <a:pt x="74" y="82"/>
                      </a:lnTo>
                      <a:lnTo>
                        <a:pt x="76" y="84"/>
                      </a:lnTo>
                      <a:lnTo>
                        <a:pt x="82" y="86"/>
                      </a:lnTo>
                      <a:lnTo>
                        <a:pt x="82" y="86"/>
                      </a:lnTo>
                      <a:lnTo>
                        <a:pt x="94" y="84"/>
                      </a:lnTo>
                      <a:lnTo>
                        <a:pt x="96" y="86"/>
                      </a:lnTo>
                      <a:lnTo>
                        <a:pt x="100" y="90"/>
                      </a:lnTo>
                      <a:lnTo>
                        <a:pt x="100" y="90"/>
                      </a:lnTo>
                      <a:lnTo>
                        <a:pt x="102" y="92"/>
                      </a:lnTo>
                      <a:lnTo>
                        <a:pt x="104" y="94"/>
                      </a:lnTo>
                      <a:lnTo>
                        <a:pt x="106" y="96"/>
                      </a:lnTo>
                      <a:lnTo>
                        <a:pt x="106" y="100"/>
                      </a:lnTo>
                      <a:lnTo>
                        <a:pt x="106" y="100"/>
                      </a:lnTo>
                      <a:lnTo>
                        <a:pt x="108" y="104"/>
                      </a:lnTo>
                      <a:lnTo>
                        <a:pt x="110" y="110"/>
                      </a:lnTo>
                      <a:lnTo>
                        <a:pt x="116" y="112"/>
                      </a:lnTo>
                      <a:lnTo>
                        <a:pt x="122" y="112"/>
                      </a:lnTo>
                      <a:lnTo>
                        <a:pt x="122" y="112"/>
                      </a:lnTo>
                      <a:lnTo>
                        <a:pt x="128" y="110"/>
                      </a:lnTo>
                      <a:lnTo>
                        <a:pt x="132" y="112"/>
                      </a:lnTo>
                      <a:lnTo>
                        <a:pt x="136" y="112"/>
                      </a:lnTo>
                      <a:lnTo>
                        <a:pt x="134" y="116"/>
                      </a:lnTo>
                      <a:lnTo>
                        <a:pt x="134" y="116"/>
                      </a:lnTo>
                      <a:lnTo>
                        <a:pt x="132" y="118"/>
                      </a:lnTo>
                      <a:lnTo>
                        <a:pt x="132" y="120"/>
                      </a:lnTo>
                      <a:lnTo>
                        <a:pt x="136" y="126"/>
                      </a:lnTo>
                      <a:lnTo>
                        <a:pt x="144" y="132"/>
                      </a:lnTo>
                      <a:lnTo>
                        <a:pt x="154" y="136"/>
                      </a:lnTo>
                      <a:lnTo>
                        <a:pt x="154" y="136"/>
                      </a:lnTo>
                      <a:lnTo>
                        <a:pt x="164" y="138"/>
                      </a:lnTo>
                      <a:lnTo>
                        <a:pt x="170" y="140"/>
                      </a:lnTo>
                      <a:lnTo>
                        <a:pt x="176" y="144"/>
                      </a:lnTo>
                      <a:lnTo>
                        <a:pt x="186" y="148"/>
                      </a:lnTo>
                      <a:lnTo>
                        <a:pt x="186" y="14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9" name="Freeform 6044"/>
                <p:cNvSpPr>
                  <a:spLocks/>
                </p:cNvSpPr>
                <p:nvPr/>
              </p:nvSpPr>
              <p:spPr bwMode="auto">
                <a:xfrm>
                  <a:off x="1097280" y="2091373"/>
                  <a:ext cx="16510" cy="26670"/>
                </a:xfrm>
                <a:custGeom>
                  <a:avLst/>
                  <a:gdLst/>
                  <a:ahLst/>
                  <a:cxnLst>
                    <a:cxn ang="0">
                      <a:pos x="6" y="0"/>
                    </a:cxn>
                    <a:cxn ang="0">
                      <a:pos x="6" y="0"/>
                    </a:cxn>
                    <a:cxn ang="0">
                      <a:pos x="6" y="2"/>
                    </a:cxn>
                    <a:cxn ang="0">
                      <a:pos x="6" y="2"/>
                    </a:cxn>
                    <a:cxn ang="0">
                      <a:pos x="6" y="8"/>
                    </a:cxn>
                    <a:cxn ang="0">
                      <a:pos x="6" y="12"/>
                    </a:cxn>
                    <a:cxn ang="0">
                      <a:pos x="4" y="14"/>
                    </a:cxn>
                    <a:cxn ang="0">
                      <a:pos x="4" y="14"/>
                    </a:cxn>
                    <a:cxn ang="0">
                      <a:pos x="2" y="18"/>
                    </a:cxn>
                    <a:cxn ang="0">
                      <a:pos x="0" y="22"/>
                    </a:cxn>
                    <a:cxn ang="0">
                      <a:pos x="0" y="24"/>
                    </a:cxn>
                    <a:cxn ang="0">
                      <a:pos x="2" y="24"/>
                    </a:cxn>
                    <a:cxn ang="0">
                      <a:pos x="6" y="24"/>
                    </a:cxn>
                    <a:cxn ang="0">
                      <a:pos x="6" y="24"/>
                    </a:cxn>
                    <a:cxn ang="0">
                      <a:pos x="10" y="20"/>
                    </a:cxn>
                    <a:cxn ang="0">
                      <a:pos x="12" y="18"/>
                    </a:cxn>
                    <a:cxn ang="0">
                      <a:pos x="12" y="16"/>
                    </a:cxn>
                    <a:cxn ang="0">
                      <a:pos x="16" y="16"/>
                    </a:cxn>
                    <a:cxn ang="0">
                      <a:pos x="16" y="16"/>
                    </a:cxn>
                    <a:cxn ang="0">
                      <a:pos x="16" y="18"/>
                    </a:cxn>
                    <a:cxn ang="0">
                      <a:pos x="16" y="20"/>
                    </a:cxn>
                    <a:cxn ang="0">
                      <a:pos x="10" y="24"/>
                    </a:cxn>
                    <a:cxn ang="0">
                      <a:pos x="6" y="28"/>
                    </a:cxn>
                    <a:cxn ang="0">
                      <a:pos x="4" y="30"/>
                    </a:cxn>
                    <a:cxn ang="0">
                      <a:pos x="4" y="32"/>
                    </a:cxn>
                    <a:cxn ang="0">
                      <a:pos x="4" y="32"/>
                    </a:cxn>
                    <a:cxn ang="0">
                      <a:pos x="8" y="36"/>
                    </a:cxn>
                    <a:cxn ang="0">
                      <a:pos x="10" y="38"/>
                    </a:cxn>
                    <a:cxn ang="0">
                      <a:pos x="14" y="36"/>
                    </a:cxn>
                    <a:cxn ang="0">
                      <a:pos x="18" y="32"/>
                    </a:cxn>
                    <a:cxn ang="0">
                      <a:pos x="18" y="32"/>
                    </a:cxn>
                    <a:cxn ang="0">
                      <a:pos x="18" y="30"/>
                    </a:cxn>
                    <a:cxn ang="0">
                      <a:pos x="20" y="34"/>
                    </a:cxn>
                    <a:cxn ang="0">
                      <a:pos x="20" y="38"/>
                    </a:cxn>
                    <a:cxn ang="0">
                      <a:pos x="20" y="40"/>
                    </a:cxn>
                    <a:cxn ang="0">
                      <a:pos x="22" y="42"/>
                    </a:cxn>
                    <a:cxn ang="0">
                      <a:pos x="22" y="42"/>
                    </a:cxn>
                    <a:cxn ang="0">
                      <a:pos x="24" y="42"/>
                    </a:cxn>
                    <a:cxn ang="0">
                      <a:pos x="26" y="38"/>
                    </a:cxn>
                    <a:cxn ang="0">
                      <a:pos x="26" y="24"/>
                    </a:cxn>
                    <a:cxn ang="0">
                      <a:pos x="26" y="24"/>
                    </a:cxn>
                    <a:cxn ang="0">
                      <a:pos x="26" y="18"/>
                    </a:cxn>
                    <a:cxn ang="0">
                      <a:pos x="24" y="14"/>
                    </a:cxn>
                    <a:cxn ang="0">
                      <a:pos x="18" y="8"/>
                    </a:cxn>
                    <a:cxn ang="0">
                      <a:pos x="12" y="2"/>
                    </a:cxn>
                    <a:cxn ang="0">
                      <a:pos x="6" y="0"/>
                    </a:cxn>
                    <a:cxn ang="0">
                      <a:pos x="6" y="0"/>
                    </a:cxn>
                  </a:cxnLst>
                  <a:rect l="0" t="0" r="r" b="b"/>
                  <a:pathLst>
                    <a:path w="26" h="42">
                      <a:moveTo>
                        <a:pt x="6" y="0"/>
                      </a:moveTo>
                      <a:lnTo>
                        <a:pt x="6" y="0"/>
                      </a:lnTo>
                      <a:lnTo>
                        <a:pt x="6" y="2"/>
                      </a:lnTo>
                      <a:lnTo>
                        <a:pt x="6" y="2"/>
                      </a:lnTo>
                      <a:lnTo>
                        <a:pt x="6" y="8"/>
                      </a:lnTo>
                      <a:lnTo>
                        <a:pt x="6" y="12"/>
                      </a:lnTo>
                      <a:lnTo>
                        <a:pt x="4" y="14"/>
                      </a:lnTo>
                      <a:lnTo>
                        <a:pt x="4" y="14"/>
                      </a:lnTo>
                      <a:lnTo>
                        <a:pt x="2" y="18"/>
                      </a:lnTo>
                      <a:lnTo>
                        <a:pt x="0" y="22"/>
                      </a:lnTo>
                      <a:lnTo>
                        <a:pt x="0" y="24"/>
                      </a:lnTo>
                      <a:lnTo>
                        <a:pt x="2" y="24"/>
                      </a:lnTo>
                      <a:lnTo>
                        <a:pt x="6" y="24"/>
                      </a:lnTo>
                      <a:lnTo>
                        <a:pt x="6" y="24"/>
                      </a:lnTo>
                      <a:lnTo>
                        <a:pt x="10" y="20"/>
                      </a:lnTo>
                      <a:lnTo>
                        <a:pt x="12" y="18"/>
                      </a:lnTo>
                      <a:lnTo>
                        <a:pt x="12" y="16"/>
                      </a:lnTo>
                      <a:lnTo>
                        <a:pt x="16" y="16"/>
                      </a:lnTo>
                      <a:lnTo>
                        <a:pt x="16" y="16"/>
                      </a:lnTo>
                      <a:lnTo>
                        <a:pt x="16" y="18"/>
                      </a:lnTo>
                      <a:lnTo>
                        <a:pt x="16" y="20"/>
                      </a:lnTo>
                      <a:lnTo>
                        <a:pt x="10" y="24"/>
                      </a:lnTo>
                      <a:lnTo>
                        <a:pt x="6" y="28"/>
                      </a:lnTo>
                      <a:lnTo>
                        <a:pt x="4" y="30"/>
                      </a:lnTo>
                      <a:lnTo>
                        <a:pt x="4" y="32"/>
                      </a:lnTo>
                      <a:lnTo>
                        <a:pt x="4" y="32"/>
                      </a:lnTo>
                      <a:lnTo>
                        <a:pt x="8" y="36"/>
                      </a:lnTo>
                      <a:lnTo>
                        <a:pt x="10" y="38"/>
                      </a:lnTo>
                      <a:lnTo>
                        <a:pt x="14" y="36"/>
                      </a:lnTo>
                      <a:lnTo>
                        <a:pt x="18" y="32"/>
                      </a:lnTo>
                      <a:lnTo>
                        <a:pt x="18" y="32"/>
                      </a:lnTo>
                      <a:lnTo>
                        <a:pt x="18" y="30"/>
                      </a:lnTo>
                      <a:lnTo>
                        <a:pt x="20" y="34"/>
                      </a:lnTo>
                      <a:lnTo>
                        <a:pt x="20" y="38"/>
                      </a:lnTo>
                      <a:lnTo>
                        <a:pt x="20" y="40"/>
                      </a:lnTo>
                      <a:lnTo>
                        <a:pt x="22" y="42"/>
                      </a:lnTo>
                      <a:lnTo>
                        <a:pt x="22" y="42"/>
                      </a:lnTo>
                      <a:lnTo>
                        <a:pt x="24" y="42"/>
                      </a:lnTo>
                      <a:lnTo>
                        <a:pt x="26" y="38"/>
                      </a:lnTo>
                      <a:lnTo>
                        <a:pt x="26" y="24"/>
                      </a:lnTo>
                      <a:lnTo>
                        <a:pt x="26" y="24"/>
                      </a:lnTo>
                      <a:lnTo>
                        <a:pt x="26" y="18"/>
                      </a:lnTo>
                      <a:lnTo>
                        <a:pt x="24" y="14"/>
                      </a:lnTo>
                      <a:lnTo>
                        <a:pt x="18" y="8"/>
                      </a:lnTo>
                      <a:lnTo>
                        <a:pt x="12" y="2"/>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0" name="Freeform 6045"/>
                <p:cNvSpPr>
                  <a:spLocks/>
                </p:cNvSpPr>
                <p:nvPr/>
              </p:nvSpPr>
              <p:spPr bwMode="auto">
                <a:xfrm>
                  <a:off x="1158240" y="2223453"/>
                  <a:ext cx="7620" cy="8890"/>
                </a:xfrm>
                <a:custGeom>
                  <a:avLst/>
                  <a:gdLst/>
                  <a:ahLst/>
                  <a:cxnLst>
                    <a:cxn ang="0">
                      <a:pos x="2" y="0"/>
                    </a:cxn>
                    <a:cxn ang="0">
                      <a:pos x="2" y="0"/>
                    </a:cxn>
                    <a:cxn ang="0">
                      <a:pos x="0" y="4"/>
                    </a:cxn>
                    <a:cxn ang="0">
                      <a:pos x="0" y="6"/>
                    </a:cxn>
                    <a:cxn ang="0">
                      <a:pos x="2" y="10"/>
                    </a:cxn>
                    <a:cxn ang="0">
                      <a:pos x="8" y="14"/>
                    </a:cxn>
                    <a:cxn ang="0">
                      <a:pos x="10" y="12"/>
                    </a:cxn>
                    <a:cxn ang="0">
                      <a:pos x="10" y="12"/>
                    </a:cxn>
                    <a:cxn ang="0">
                      <a:pos x="12" y="8"/>
                    </a:cxn>
                    <a:cxn ang="0">
                      <a:pos x="10" y="4"/>
                    </a:cxn>
                    <a:cxn ang="0">
                      <a:pos x="6" y="0"/>
                    </a:cxn>
                    <a:cxn ang="0">
                      <a:pos x="4" y="0"/>
                    </a:cxn>
                    <a:cxn ang="0">
                      <a:pos x="2" y="0"/>
                    </a:cxn>
                    <a:cxn ang="0">
                      <a:pos x="2" y="0"/>
                    </a:cxn>
                  </a:cxnLst>
                  <a:rect l="0" t="0" r="r" b="b"/>
                  <a:pathLst>
                    <a:path w="12" h="14">
                      <a:moveTo>
                        <a:pt x="2" y="0"/>
                      </a:moveTo>
                      <a:lnTo>
                        <a:pt x="2" y="0"/>
                      </a:lnTo>
                      <a:lnTo>
                        <a:pt x="0" y="4"/>
                      </a:lnTo>
                      <a:lnTo>
                        <a:pt x="0" y="6"/>
                      </a:lnTo>
                      <a:lnTo>
                        <a:pt x="2" y="10"/>
                      </a:lnTo>
                      <a:lnTo>
                        <a:pt x="8" y="14"/>
                      </a:lnTo>
                      <a:lnTo>
                        <a:pt x="10" y="12"/>
                      </a:lnTo>
                      <a:lnTo>
                        <a:pt x="10" y="12"/>
                      </a:lnTo>
                      <a:lnTo>
                        <a:pt x="12" y="8"/>
                      </a:lnTo>
                      <a:lnTo>
                        <a:pt x="10" y="4"/>
                      </a:lnTo>
                      <a:lnTo>
                        <a:pt x="6" y="0"/>
                      </a:lnTo>
                      <a:lnTo>
                        <a:pt x="4" y="0"/>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1" name="Freeform 6046"/>
                <p:cNvSpPr>
                  <a:spLocks/>
                </p:cNvSpPr>
                <p:nvPr/>
              </p:nvSpPr>
              <p:spPr bwMode="auto">
                <a:xfrm>
                  <a:off x="1059180" y="2060893"/>
                  <a:ext cx="11430" cy="8890"/>
                </a:xfrm>
                <a:custGeom>
                  <a:avLst/>
                  <a:gdLst/>
                  <a:ahLst/>
                  <a:cxnLst>
                    <a:cxn ang="0">
                      <a:pos x="18" y="12"/>
                    </a:cxn>
                    <a:cxn ang="0">
                      <a:pos x="18" y="12"/>
                    </a:cxn>
                    <a:cxn ang="0">
                      <a:pos x="18" y="8"/>
                    </a:cxn>
                    <a:cxn ang="0">
                      <a:pos x="18" y="4"/>
                    </a:cxn>
                    <a:cxn ang="0">
                      <a:pos x="14" y="2"/>
                    </a:cxn>
                    <a:cxn ang="0">
                      <a:pos x="10" y="0"/>
                    </a:cxn>
                    <a:cxn ang="0">
                      <a:pos x="10" y="0"/>
                    </a:cxn>
                    <a:cxn ang="0">
                      <a:pos x="6" y="0"/>
                    </a:cxn>
                    <a:cxn ang="0">
                      <a:pos x="2" y="4"/>
                    </a:cxn>
                    <a:cxn ang="0">
                      <a:pos x="0" y="8"/>
                    </a:cxn>
                    <a:cxn ang="0">
                      <a:pos x="0" y="12"/>
                    </a:cxn>
                    <a:cxn ang="0">
                      <a:pos x="0" y="12"/>
                    </a:cxn>
                    <a:cxn ang="0">
                      <a:pos x="0" y="14"/>
                    </a:cxn>
                    <a:cxn ang="0">
                      <a:pos x="2" y="14"/>
                    </a:cxn>
                    <a:cxn ang="0">
                      <a:pos x="4" y="10"/>
                    </a:cxn>
                    <a:cxn ang="0">
                      <a:pos x="8" y="10"/>
                    </a:cxn>
                    <a:cxn ang="0">
                      <a:pos x="8" y="10"/>
                    </a:cxn>
                    <a:cxn ang="0">
                      <a:pos x="12" y="14"/>
                    </a:cxn>
                    <a:cxn ang="0">
                      <a:pos x="14" y="14"/>
                    </a:cxn>
                    <a:cxn ang="0">
                      <a:pos x="18" y="12"/>
                    </a:cxn>
                    <a:cxn ang="0">
                      <a:pos x="18" y="12"/>
                    </a:cxn>
                  </a:cxnLst>
                  <a:rect l="0" t="0" r="r" b="b"/>
                  <a:pathLst>
                    <a:path w="18" h="14">
                      <a:moveTo>
                        <a:pt x="18" y="12"/>
                      </a:moveTo>
                      <a:lnTo>
                        <a:pt x="18" y="12"/>
                      </a:lnTo>
                      <a:lnTo>
                        <a:pt x="18" y="8"/>
                      </a:lnTo>
                      <a:lnTo>
                        <a:pt x="18" y="4"/>
                      </a:lnTo>
                      <a:lnTo>
                        <a:pt x="14" y="2"/>
                      </a:lnTo>
                      <a:lnTo>
                        <a:pt x="10" y="0"/>
                      </a:lnTo>
                      <a:lnTo>
                        <a:pt x="10" y="0"/>
                      </a:lnTo>
                      <a:lnTo>
                        <a:pt x="6" y="0"/>
                      </a:lnTo>
                      <a:lnTo>
                        <a:pt x="2" y="4"/>
                      </a:lnTo>
                      <a:lnTo>
                        <a:pt x="0" y="8"/>
                      </a:lnTo>
                      <a:lnTo>
                        <a:pt x="0" y="12"/>
                      </a:lnTo>
                      <a:lnTo>
                        <a:pt x="0" y="12"/>
                      </a:lnTo>
                      <a:lnTo>
                        <a:pt x="0" y="14"/>
                      </a:lnTo>
                      <a:lnTo>
                        <a:pt x="2" y="14"/>
                      </a:lnTo>
                      <a:lnTo>
                        <a:pt x="4" y="10"/>
                      </a:lnTo>
                      <a:lnTo>
                        <a:pt x="8" y="10"/>
                      </a:lnTo>
                      <a:lnTo>
                        <a:pt x="8" y="10"/>
                      </a:lnTo>
                      <a:lnTo>
                        <a:pt x="12" y="14"/>
                      </a:lnTo>
                      <a:lnTo>
                        <a:pt x="14" y="14"/>
                      </a:lnTo>
                      <a:lnTo>
                        <a:pt x="18" y="12"/>
                      </a:lnTo>
                      <a:lnTo>
                        <a:pt x="18" y="1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2" name="Freeform 6047"/>
                <p:cNvSpPr>
                  <a:spLocks/>
                </p:cNvSpPr>
                <p:nvPr/>
              </p:nvSpPr>
              <p:spPr bwMode="auto">
                <a:xfrm>
                  <a:off x="1051560" y="2039303"/>
                  <a:ext cx="6350" cy="6350"/>
                </a:xfrm>
                <a:custGeom>
                  <a:avLst/>
                  <a:gdLst/>
                  <a:ahLst/>
                  <a:cxnLst>
                    <a:cxn ang="0">
                      <a:pos x="0" y="8"/>
                    </a:cxn>
                    <a:cxn ang="0">
                      <a:pos x="0" y="8"/>
                    </a:cxn>
                    <a:cxn ang="0">
                      <a:pos x="2" y="10"/>
                    </a:cxn>
                    <a:cxn ang="0">
                      <a:pos x="2" y="10"/>
                    </a:cxn>
                    <a:cxn ang="0">
                      <a:pos x="6" y="8"/>
                    </a:cxn>
                    <a:cxn ang="0">
                      <a:pos x="8" y="4"/>
                    </a:cxn>
                    <a:cxn ang="0">
                      <a:pos x="10" y="0"/>
                    </a:cxn>
                    <a:cxn ang="0">
                      <a:pos x="10" y="0"/>
                    </a:cxn>
                    <a:cxn ang="0">
                      <a:pos x="8" y="0"/>
                    </a:cxn>
                    <a:cxn ang="0">
                      <a:pos x="4" y="0"/>
                    </a:cxn>
                    <a:cxn ang="0">
                      <a:pos x="0" y="4"/>
                    </a:cxn>
                    <a:cxn ang="0">
                      <a:pos x="0" y="8"/>
                    </a:cxn>
                    <a:cxn ang="0">
                      <a:pos x="0" y="8"/>
                    </a:cxn>
                  </a:cxnLst>
                  <a:rect l="0" t="0" r="r" b="b"/>
                  <a:pathLst>
                    <a:path w="10" h="10">
                      <a:moveTo>
                        <a:pt x="0" y="8"/>
                      </a:moveTo>
                      <a:lnTo>
                        <a:pt x="0" y="8"/>
                      </a:lnTo>
                      <a:lnTo>
                        <a:pt x="2" y="10"/>
                      </a:lnTo>
                      <a:lnTo>
                        <a:pt x="2" y="10"/>
                      </a:lnTo>
                      <a:lnTo>
                        <a:pt x="6" y="8"/>
                      </a:lnTo>
                      <a:lnTo>
                        <a:pt x="8" y="4"/>
                      </a:lnTo>
                      <a:lnTo>
                        <a:pt x="10" y="0"/>
                      </a:lnTo>
                      <a:lnTo>
                        <a:pt x="10" y="0"/>
                      </a:lnTo>
                      <a:lnTo>
                        <a:pt x="8" y="0"/>
                      </a:lnTo>
                      <a:lnTo>
                        <a:pt x="4" y="0"/>
                      </a:lnTo>
                      <a:lnTo>
                        <a:pt x="0" y="4"/>
                      </a:lnTo>
                      <a:lnTo>
                        <a:pt x="0" y="8"/>
                      </a:lnTo>
                      <a:lnTo>
                        <a:pt x="0"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3" name="Freeform 6048"/>
                <p:cNvSpPr>
                  <a:spLocks/>
                </p:cNvSpPr>
                <p:nvPr/>
              </p:nvSpPr>
              <p:spPr bwMode="auto">
                <a:xfrm>
                  <a:off x="1040130" y="2025333"/>
                  <a:ext cx="5080" cy="5080"/>
                </a:xfrm>
                <a:custGeom>
                  <a:avLst/>
                  <a:gdLst/>
                  <a:ahLst/>
                  <a:cxnLst>
                    <a:cxn ang="0">
                      <a:pos x="2" y="8"/>
                    </a:cxn>
                    <a:cxn ang="0">
                      <a:pos x="2" y="8"/>
                    </a:cxn>
                    <a:cxn ang="0">
                      <a:pos x="6" y="8"/>
                    </a:cxn>
                    <a:cxn ang="0">
                      <a:pos x="8" y="4"/>
                    </a:cxn>
                    <a:cxn ang="0">
                      <a:pos x="8" y="4"/>
                    </a:cxn>
                    <a:cxn ang="0">
                      <a:pos x="8" y="0"/>
                    </a:cxn>
                    <a:cxn ang="0">
                      <a:pos x="4" y="0"/>
                    </a:cxn>
                    <a:cxn ang="0">
                      <a:pos x="4" y="0"/>
                    </a:cxn>
                    <a:cxn ang="0">
                      <a:pos x="0" y="2"/>
                    </a:cxn>
                    <a:cxn ang="0">
                      <a:pos x="0" y="4"/>
                    </a:cxn>
                    <a:cxn ang="0">
                      <a:pos x="2" y="8"/>
                    </a:cxn>
                    <a:cxn ang="0">
                      <a:pos x="2" y="8"/>
                    </a:cxn>
                  </a:cxnLst>
                  <a:rect l="0" t="0" r="r" b="b"/>
                  <a:pathLst>
                    <a:path w="8" h="8">
                      <a:moveTo>
                        <a:pt x="2" y="8"/>
                      </a:moveTo>
                      <a:lnTo>
                        <a:pt x="2" y="8"/>
                      </a:lnTo>
                      <a:lnTo>
                        <a:pt x="6" y="8"/>
                      </a:lnTo>
                      <a:lnTo>
                        <a:pt x="8" y="4"/>
                      </a:lnTo>
                      <a:lnTo>
                        <a:pt x="8" y="4"/>
                      </a:lnTo>
                      <a:lnTo>
                        <a:pt x="8" y="0"/>
                      </a:lnTo>
                      <a:lnTo>
                        <a:pt x="4" y="0"/>
                      </a:lnTo>
                      <a:lnTo>
                        <a:pt x="4" y="0"/>
                      </a:lnTo>
                      <a:lnTo>
                        <a:pt x="0" y="2"/>
                      </a:lnTo>
                      <a:lnTo>
                        <a:pt x="0" y="4"/>
                      </a:lnTo>
                      <a:lnTo>
                        <a:pt x="2" y="8"/>
                      </a:lnTo>
                      <a:lnTo>
                        <a:pt x="2"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4" name="Freeform 6049"/>
                <p:cNvSpPr>
                  <a:spLocks/>
                </p:cNvSpPr>
                <p:nvPr/>
              </p:nvSpPr>
              <p:spPr bwMode="auto">
                <a:xfrm>
                  <a:off x="1012190" y="2092643"/>
                  <a:ext cx="39370" cy="43180"/>
                </a:xfrm>
                <a:custGeom>
                  <a:avLst/>
                  <a:gdLst/>
                  <a:ahLst/>
                  <a:cxnLst>
                    <a:cxn ang="0">
                      <a:pos x="52" y="56"/>
                    </a:cxn>
                    <a:cxn ang="0">
                      <a:pos x="52" y="50"/>
                    </a:cxn>
                    <a:cxn ang="0">
                      <a:pos x="48" y="52"/>
                    </a:cxn>
                    <a:cxn ang="0">
                      <a:pos x="46" y="52"/>
                    </a:cxn>
                    <a:cxn ang="0">
                      <a:pos x="44" y="48"/>
                    </a:cxn>
                    <a:cxn ang="0">
                      <a:pos x="42" y="46"/>
                    </a:cxn>
                    <a:cxn ang="0">
                      <a:pos x="34" y="40"/>
                    </a:cxn>
                    <a:cxn ang="0">
                      <a:pos x="32" y="32"/>
                    </a:cxn>
                    <a:cxn ang="0">
                      <a:pos x="34" y="30"/>
                    </a:cxn>
                    <a:cxn ang="0">
                      <a:pos x="30" y="28"/>
                    </a:cxn>
                    <a:cxn ang="0">
                      <a:pos x="26" y="26"/>
                    </a:cxn>
                    <a:cxn ang="0">
                      <a:pos x="28" y="24"/>
                    </a:cxn>
                    <a:cxn ang="0">
                      <a:pos x="38" y="22"/>
                    </a:cxn>
                    <a:cxn ang="0">
                      <a:pos x="38" y="18"/>
                    </a:cxn>
                    <a:cxn ang="0">
                      <a:pos x="36" y="16"/>
                    </a:cxn>
                    <a:cxn ang="0">
                      <a:pos x="36" y="14"/>
                    </a:cxn>
                    <a:cxn ang="0">
                      <a:pos x="36" y="8"/>
                    </a:cxn>
                    <a:cxn ang="0">
                      <a:pos x="32" y="4"/>
                    </a:cxn>
                    <a:cxn ang="0">
                      <a:pos x="32" y="2"/>
                    </a:cxn>
                    <a:cxn ang="0">
                      <a:pos x="26" y="2"/>
                    </a:cxn>
                    <a:cxn ang="0">
                      <a:pos x="22" y="6"/>
                    </a:cxn>
                    <a:cxn ang="0">
                      <a:pos x="16" y="8"/>
                    </a:cxn>
                    <a:cxn ang="0">
                      <a:pos x="2" y="10"/>
                    </a:cxn>
                    <a:cxn ang="0">
                      <a:pos x="2" y="14"/>
                    </a:cxn>
                    <a:cxn ang="0">
                      <a:pos x="2" y="14"/>
                    </a:cxn>
                    <a:cxn ang="0">
                      <a:pos x="10" y="14"/>
                    </a:cxn>
                    <a:cxn ang="0">
                      <a:pos x="14" y="16"/>
                    </a:cxn>
                    <a:cxn ang="0">
                      <a:pos x="16" y="18"/>
                    </a:cxn>
                    <a:cxn ang="0">
                      <a:pos x="12" y="20"/>
                    </a:cxn>
                    <a:cxn ang="0">
                      <a:pos x="10" y="24"/>
                    </a:cxn>
                    <a:cxn ang="0">
                      <a:pos x="18" y="30"/>
                    </a:cxn>
                    <a:cxn ang="0">
                      <a:pos x="22" y="30"/>
                    </a:cxn>
                    <a:cxn ang="0">
                      <a:pos x="20" y="32"/>
                    </a:cxn>
                    <a:cxn ang="0">
                      <a:pos x="20" y="34"/>
                    </a:cxn>
                    <a:cxn ang="0">
                      <a:pos x="34" y="48"/>
                    </a:cxn>
                    <a:cxn ang="0">
                      <a:pos x="38" y="52"/>
                    </a:cxn>
                    <a:cxn ang="0">
                      <a:pos x="40" y="56"/>
                    </a:cxn>
                    <a:cxn ang="0">
                      <a:pos x="42" y="58"/>
                    </a:cxn>
                    <a:cxn ang="0">
                      <a:pos x="46" y="64"/>
                    </a:cxn>
                    <a:cxn ang="0">
                      <a:pos x="54" y="68"/>
                    </a:cxn>
                    <a:cxn ang="0">
                      <a:pos x="60" y="68"/>
                    </a:cxn>
                    <a:cxn ang="0">
                      <a:pos x="62" y="64"/>
                    </a:cxn>
                    <a:cxn ang="0">
                      <a:pos x="60" y="60"/>
                    </a:cxn>
                    <a:cxn ang="0">
                      <a:pos x="52" y="58"/>
                    </a:cxn>
                    <a:cxn ang="0">
                      <a:pos x="52" y="56"/>
                    </a:cxn>
                  </a:cxnLst>
                  <a:rect l="0" t="0" r="r" b="b"/>
                  <a:pathLst>
                    <a:path w="62" h="68">
                      <a:moveTo>
                        <a:pt x="52" y="56"/>
                      </a:moveTo>
                      <a:lnTo>
                        <a:pt x="52" y="56"/>
                      </a:lnTo>
                      <a:lnTo>
                        <a:pt x="52" y="54"/>
                      </a:lnTo>
                      <a:lnTo>
                        <a:pt x="52" y="50"/>
                      </a:lnTo>
                      <a:lnTo>
                        <a:pt x="52" y="50"/>
                      </a:lnTo>
                      <a:lnTo>
                        <a:pt x="48" y="52"/>
                      </a:lnTo>
                      <a:lnTo>
                        <a:pt x="48" y="52"/>
                      </a:lnTo>
                      <a:lnTo>
                        <a:pt x="46" y="52"/>
                      </a:lnTo>
                      <a:lnTo>
                        <a:pt x="46" y="50"/>
                      </a:lnTo>
                      <a:lnTo>
                        <a:pt x="44" y="48"/>
                      </a:lnTo>
                      <a:lnTo>
                        <a:pt x="42" y="46"/>
                      </a:lnTo>
                      <a:lnTo>
                        <a:pt x="42" y="46"/>
                      </a:lnTo>
                      <a:lnTo>
                        <a:pt x="38" y="46"/>
                      </a:lnTo>
                      <a:lnTo>
                        <a:pt x="34" y="40"/>
                      </a:lnTo>
                      <a:lnTo>
                        <a:pt x="32" y="36"/>
                      </a:lnTo>
                      <a:lnTo>
                        <a:pt x="32" y="32"/>
                      </a:lnTo>
                      <a:lnTo>
                        <a:pt x="32" y="32"/>
                      </a:lnTo>
                      <a:lnTo>
                        <a:pt x="34" y="30"/>
                      </a:lnTo>
                      <a:lnTo>
                        <a:pt x="34" y="30"/>
                      </a:lnTo>
                      <a:lnTo>
                        <a:pt x="30" y="28"/>
                      </a:lnTo>
                      <a:lnTo>
                        <a:pt x="26" y="26"/>
                      </a:lnTo>
                      <a:lnTo>
                        <a:pt x="26" y="26"/>
                      </a:lnTo>
                      <a:lnTo>
                        <a:pt x="26" y="24"/>
                      </a:lnTo>
                      <a:lnTo>
                        <a:pt x="28" y="24"/>
                      </a:lnTo>
                      <a:lnTo>
                        <a:pt x="34" y="24"/>
                      </a:lnTo>
                      <a:lnTo>
                        <a:pt x="38" y="22"/>
                      </a:lnTo>
                      <a:lnTo>
                        <a:pt x="38" y="22"/>
                      </a:lnTo>
                      <a:lnTo>
                        <a:pt x="38" y="18"/>
                      </a:lnTo>
                      <a:lnTo>
                        <a:pt x="38" y="18"/>
                      </a:lnTo>
                      <a:lnTo>
                        <a:pt x="36" y="16"/>
                      </a:lnTo>
                      <a:lnTo>
                        <a:pt x="36" y="14"/>
                      </a:lnTo>
                      <a:lnTo>
                        <a:pt x="36" y="14"/>
                      </a:lnTo>
                      <a:lnTo>
                        <a:pt x="36" y="10"/>
                      </a:lnTo>
                      <a:lnTo>
                        <a:pt x="36" y="8"/>
                      </a:lnTo>
                      <a:lnTo>
                        <a:pt x="34" y="8"/>
                      </a:lnTo>
                      <a:lnTo>
                        <a:pt x="32" y="4"/>
                      </a:lnTo>
                      <a:lnTo>
                        <a:pt x="32" y="4"/>
                      </a:lnTo>
                      <a:lnTo>
                        <a:pt x="32" y="2"/>
                      </a:lnTo>
                      <a:lnTo>
                        <a:pt x="30" y="0"/>
                      </a:lnTo>
                      <a:lnTo>
                        <a:pt x="26" y="2"/>
                      </a:lnTo>
                      <a:lnTo>
                        <a:pt x="22" y="6"/>
                      </a:lnTo>
                      <a:lnTo>
                        <a:pt x="22" y="6"/>
                      </a:lnTo>
                      <a:lnTo>
                        <a:pt x="20" y="8"/>
                      </a:lnTo>
                      <a:lnTo>
                        <a:pt x="16" y="8"/>
                      </a:lnTo>
                      <a:lnTo>
                        <a:pt x="8" y="10"/>
                      </a:lnTo>
                      <a:lnTo>
                        <a:pt x="2" y="10"/>
                      </a:lnTo>
                      <a:lnTo>
                        <a:pt x="0" y="12"/>
                      </a:lnTo>
                      <a:lnTo>
                        <a:pt x="2" y="14"/>
                      </a:lnTo>
                      <a:lnTo>
                        <a:pt x="2" y="14"/>
                      </a:lnTo>
                      <a:lnTo>
                        <a:pt x="2" y="14"/>
                      </a:lnTo>
                      <a:lnTo>
                        <a:pt x="4" y="14"/>
                      </a:lnTo>
                      <a:lnTo>
                        <a:pt x="10" y="14"/>
                      </a:lnTo>
                      <a:lnTo>
                        <a:pt x="10" y="14"/>
                      </a:lnTo>
                      <a:lnTo>
                        <a:pt x="14" y="16"/>
                      </a:lnTo>
                      <a:lnTo>
                        <a:pt x="16" y="18"/>
                      </a:lnTo>
                      <a:lnTo>
                        <a:pt x="16" y="18"/>
                      </a:lnTo>
                      <a:lnTo>
                        <a:pt x="12" y="20"/>
                      </a:lnTo>
                      <a:lnTo>
                        <a:pt x="12" y="20"/>
                      </a:lnTo>
                      <a:lnTo>
                        <a:pt x="10" y="20"/>
                      </a:lnTo>
                      <a:lnTo>
                        <a:pt x="10" y="24"/>
                      </a:lnTo>
                      <a:lnTo>
                        <a:pt x="14" y="28"/>
                      </a:lnTo>
                      <a:lnTo>
                        <a:pt x="18" y="30"/>
                      </a:lnTo>
                      <a:lnTo>
                        <a:pt x="18" y="30"/>
                      </a:lnTo>
                      <a:lnTo>
                        <a:pt x="22" y="30"/>
                      </a:lnTo>
                      <a:lnTo>
                        <a:pt x="22" y="30"/>
                      </a:lnTo>
                      <a:lnTo>
                        <a:pt x="20" y="32"/>
                      </a:lnTo>
                      <a:lnTo>
                        <a:pt x="20" y="34"/>
                      </a:lnTo>
                      <a:lnTo>
                        <a:pt x="20" y="34"/>
                      </a:lnTo>
                      <a:lnTo>
                        <a:pt x="24" y="40"/>
                      </a:lnTo>
                      <a:lnTo>
                        <a:pt x="34" y="48"/>
                      </a:lnTo>
                      <a:lnTo>
                        <a:pt x="34" y="48"/>
                      </a:lnTo>
                      <a:lnTo>
                        <a:pt x="38" y="52"/>
                      </a:lnTo>
                      <a:lnTo>
                        <a:pt x="40" y="54"/>
                      </a:lnTo>
                      <a:lnTo>
                        <a:pt x="40" y="56"/>
                      </a:lnTo>
                      <a:lnTo>
                        <a:pt x="42" y="58"/>
                      </a:lnTo>
                      <a:lnTo>
                        <a:pt x="42" y="58"/>
                      </a:lnTo>
                      <a:lnTo>
                        <a:pt x="44" y="62"/>
                      </a:lnTo>
                      <a:lnTo>
                        <a:pt x="46" y="64"/>
                      </a:lnTo>
                      <a:lnTo>
                        <a:pt x="50" y="68"/>
                      </a:lnTo>
                      <a:lnTo>
                        <a:pt x="54" y="68"/>
                      </a:lnTo>
                      <a:lnTo>
                        <a:pt x="54" y="68"/>
                      </a:lnTo>
                      <a:lnTo>
                        <a:pt x="60" y="68"/>
                      </a:lnTo>
                      <a:lnTo>
                        <a:pt x="62" y="66"/>
                      </a:lnTo>
                      <a:lnTo>
                        <a:pt x="62" y="64"/>
                      </a:lnTo>
                      <a:lnTo>
                        <a:pt x="60" y="60"/>
                      </a:lnTo>
                      <a:lnTo>
                        <a:pt x="60" y="60"/>
                      </a:lnTo>
                      <a:lnTo>
                        <a:pt x="56" y="58"/>
                      </a:lnTo>
                      <a:lnTo>
                        <a:pt x="52" y="58"/>
                      </a:lnTo>
                      <a:lnTo>
                        <a:pt x="50" y="58"/>
                      </a:lnTo>
                      <a:lnTo>
                        <a:pt x="52" y="56"/>
                      </a:lnTo>
                      <a:lnTo>
                        <a:pt x="52" y="5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5" name="Freeform 6050"/>
                <p:cNvSpPr>
                  <a:spLocks/>
                </p:cNvSpPr>
                <p:nvPr/>
              </p:nvSpPr>
              <p:spPr bwMode="auto">
                <a:xfrm>
                  <a:off x="1109980" y="2124393"/>
                  <a:ext cx="3810" cy="6350"/>
                </a:xfrm>
                <a:custGeom>
                  <a:avLst/>
                  <a:gdLst/>
                  <a:ahLst/>
                  <a:cxnLst>
                    <a:cxn ang="0">
                      <a:pos x="2" y="0"/>
                    </a:cxn>
                    <a:cxn ang="0">
                      <a:pos x="2" y="0"/>
                    </a:cxn>
                    <a:cxn ang="0">
                      <a:pos x="0" y="2"/>
                    </a:cxn>
                    <a:cxn ang="0">
                      <a:pos x="0" y="6"/>
                    </a:cxn>
                    <a:cxn ang="0">
                      <a:pos x="0" y="8"/>
                    </a:cxn>
                    <a:cxn ang="0">
                      <a:pos x="4" y="10"/>
                    </a:cxn>
                    <a:cxn ang="0">
                      <a:pos x="4" y="10"/>
                    </a:cxn>
                    <a:cxn ang="0">
                      <a:pos x="6" y="10"/>
                    </a:cxn>
                    <a:cxn ang="0">
                      <a:pos x="6" y="6"/>
                    </a:cxn>
                    <a:cxn ang="0">
                      <a:pos x="4" y="2"/>
                    </a:cxn>
                    <a:cxn ang="0">
                      <a:pos x="2" y="0"/>
                    </a:cxn>
                    <a:cxn ang="0">
                      <a:pos x="2" y="0"/>
                    </a:cxn>
                  </a:cxnLst>
                  <a:rect l="0" t="0" r="r" b="b"/>
                  <a:pathLst>
                    <a:path w="6" h="10">
                      <a:moveTo>
                        <a:pt x="2" y="0"/>
                      </a:moveTo>
                      <a:lnTo>
                        <a:pt x="2" y="0"/>
                      </a:lnTo>
                      <a:lnTo>
                        <a:pt x="0" y="2"/>
                      </a:lnTo>
                      <a:lnTo>
                        <a:pt x="0" y="6"/>
                      </a:lnTo>
                      <a:lnTo>
                        <a:pt x="0" y="8"/>
                      </a:lnTo>
                      <a:lnTo>
                        <a:pt x="4" y="10"/>
                      </a:lnTo>
                      <a:lnTo>
                        <a:pt x="4" y="10"/>
                      </a:lnTo>
                      <a:lnTo>
                        <a:pt x="6" y="10"/>
                      </a:lnTo>
                      <a:lnTo>
                        <a:pt x="6" y="6"/>
                      </a:lnTo>
                      <a:lnTo>
                        <a:pt x="4" y="2"/>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6" name="Freeform 6051"/>
                <p:cNvSpPr>
                  <a:spLocks/>
                </p:cNvSpPr>
                <p:nvPr/>
              </p:nvSpPr>
              <p:spPr bwMode="auto">
                <a:xfrm>
                  <a:off x="1096010" y="2111693"/>
                  <a:ext cx="8890" cy="12700"/>
                </a:xfrm>
                <a:custGeom>
                  <a:avLst/>
                  <a:gdLst/>
                  <a:ahLst/>
                  <a:cxnLst>
                    <a:cxn ang="0">
                      <a:pos x="0" y="2"/>
                    </a:cxn>
                    <a:cxn ang="0">
                      <a:pos x="0" y="2"/>
                    </a:cxn>
                    <a:cxn ang="0">
                      <a:pos x="2" y="8"/>
                    </a:cxn>
                    <a:cxn ang="0">
                      <a:pos x="10" y="18"/>
                    </a:cxn>
                    <a:cxn ang="0">
                      <a:pos x="10" y="18"/>
                    </a:cxn>
                    <a:cxn ang="0">
                      <a:pos x="14" y="20"/>
                    </a:cxn>
                    <a:cxn ang="0">
                      <a:pos x="14" y="16"/>
                    </a:cxn>
                    <a:cxn ang="0">
                      <a:pos x="12" y="12"/>
                    </a:cxn>
                    <a:cxn ang="0">
                      <a:pos x="10" y="8"/>
                    </a:cxn>
                    <a:cxn ang="0">
                      <a:pos x="10" y="8"/>
                    </a:cxn>
                    <a:cxn ang="0">
                      <a:pos x="4" y="0"/>
                    </a:cxn>
                    <a:cxn ang="0">
                      <a:pos x="2" y="0"/>
                    </a:cxn>
                    <a:cxn ang="0">
                      <a:pos x="0" y="2"/>
                    </a:cxn>
                    <a:cxn ang="0">
                      <a:pos x="0" y="2"/>
                    </a:cxn>
                  </a:cxnLst>
                  <a:rect l="0" t="0" r="r" b="b"/>
                  <a:pathLst>
                    <a:path w="14" h="20">
                      <a:moveTo>
                        <a:pt x="0" y="2"/>
                      </a:moveTo>
                      <a:lnTo>
                        <a:pt x="0" y="2"/>
                      </a:lnTo>
                      <a:lnTo>
                        <a:pt x="2" y="8"/>
                      </a:lnTo>
                      <a:lnTo>
                        <a:pt x="10" y="18"/>
                      </a:lnTo>
                      <a:lnTo>
                        <a:pt x="10" y="18"/>
                      </a:lnTo>
                      <a:lnTo>
                        <a:pt x="14" y="20"/>
                      </a:lnTo>
                      <a:lnTo>
                        <a:pt x="14" y="16"/>
                      </a:lnTo>
                      <a:lnTo>
                        <a:pt x="12" y="12"/>
                      </a:lnTo>
                      <a:lnTo>
                        <a:pt x="10" y="8"/>
                      </a:lnTo>
                      <a:lnTo>
                        <a:pt x="10" y="8"/>
                      </a:lnTo>
                      <a:lnTo>
                        <a:pt x="4" y="0"/>
                      </a:lnTo>
                      <a:lnTo>
                        <a:pt x="2" y="0"/>
                      </a:lnTo>
                      <a:lnTo>
                        <a:pt x="0" y="2"/>
                      </a:lnTo>
                      <a:lnTo>
                        <a:pt x="0"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7" name="Freeform 6052"/>
                <p:cNvSpPr>
                  <a:spLocks/>
                </p:cNvSpPr>
                <p:nvPr/>
              </p:nvSpPr>
              <p:spPr bwMode="auto">
                <a:xfrm>
                  <a:off x="1070610" y="2068513"/>
                  <a:ext cx="19050" cy="26670"/>
                </a:xfrm>
                <a:custGeom>
                  <a:avLst/>
                  <a:gdLst/>
                  <a:ahLst/>
                  <a:cxnLst>
                    <a:cxn ang="0">
                      <a:pos x="30" y="26"/>
                    </a:cxn>
                    <a:cxn ang="0">
                      <a:pos x="30" y="26"/>
                    </a:cxn>
                    <a:cxn ang="0">
                      <a:pos x="20" y="16"/>
                    </a:cxn>
                    <a:cxn ang="0">
                      <a:pos x="8" y="2"/>
                    </a:cxn>
                    <a:cxn ang="0">
                      <a:pos x="8" y="2"/>
                    </a:cxn>
                    <a:cxn ang="0">
                      <a:pos x="2" y="0"/>
                    </a:cxn>
                    <a:cxn ang="0">
                      <a:pos x="0" y="2"/>
                    </a:cxn>
                    <a:cxn ang="0">
                      <a:pos x="0" y="4"/>
                    </a:cxn>
                    <a:cxn ang="0">
                      <a:pos x="0" y="8"/>
                    </a:cxn>
                    <a:cxn ang="0">
                      <a:pos x="0" y="8"/>
                    </a:cxn>
                    <a:cxn ang="0">
                      <a:pos x="6" y="16"/>
                    </a:cxn>
                    <a:cxn ang="0">
                      <a:pos x="8" y="18"/>
                    </a:cxn>
                    <a:cxn ang="0">
                      <a:pos x="12" y="20"/>
                    </a:cxn>
                    <a:cxn ang="0">
                      <a:pos x="12" y="20"/>
                    </a:cxn>
                    <a:cxn ang="0">
                      <a:pos x="14" y="22"/>
                    </a:cxn>
                    <a:cxn ang="0">
                      <a:pos x="18" y="26"/>
                    </a:cxn>
                    <a:cxn ang="0">
                      <a:pos x="24" y="40"/>
                    </a:cxn>
                    <a:cxn ang="0">
                      <a:pos x="24" y="40"/>
                    </a:cxn>
                    <a:cxn ang="0">
                      <a:pos x="26" y="40"/>
                    </a:cxn>
                    <a:cxn ang="0">
                      <a:pos x="28" y="42"/>
                    </a:cxn>
                    <a:cxn ang="0">
                      <a:pos x="30" y="40"/>
                    </a:cxn>
                    <a:cxn ang="0">
                      <a:pos x="30" y="38"/>
                    </a:cxn>
                    <a:cxn ang="0">
                      <a:pos x="30" y="38"/>
                    </a:cxn>
                    <a:cxn ang="0">
                      <a:pos x="30" y="36"/>
                    </a:cxn>
                    <a:cxn ang="0">
                      <a:pos x="30" y="34"/>
                    </a:cxn>
                    <a:cxn ang="0">
                      <a:pos x="30" y="32"/>
                    </a:cxn>
                    <a:cxn ang="0">
                      <a:pos x="30" y="26"/>
                    </a:cxn>
                    <a:cxn ang="0">
                      <a:pos x="30" y="26"/>
                    </a:cxn>
                  </a:cxnLst>
                  <a:rect l="0" t="0" r="r" b="b"/>
                  <a:pathLst>
                    <a:path w="30" h="42">
                      <a:moveTo>
                        <a:pt x="30" y="26"/>
                      </a:moveTo>
                      <a:lnTo>
                        <a:pt x="30" y="26"/>
                      </a:lnTo>
                      <a:lnTo>
                        <a:pt x="20" y="16"/>
                      </a:lnTo>
                      <a:lnTo>
                        <a:pt x="8" y="2"/>
                      </a:lnTo>
                      <a:lnTo>
                        <a:pt x="8" y="2"/>
                      </a:lnTo>
                      <a:lnTo>
                        <a:pt x="2" y="0"/>
                      </a:lnTo>
                      <a:lnTo>
                        <a:pt x="0" y="2"/>
                      </a:lnTo>
                      <a:lnTo>
                        <a:pt x="0" y="4"/>
                      </a:lnTo>
                      <a:lnTo>
                        <a:pt x="0" y="8"/>
                      </a:lnTo>
                      <a:lnTo>
                        <a:pt x="0" y="8"/>
                      </a:lnTo>
                      <a:lnTo>
                        <a:pt x="6" y="16"/>
                      </a:lnTo>
                      <a:lnTo>
                        <a:pt x="8" y="18"/>
                      </a:lnTo>
                      <a:lnTo>
                        <a:pt x="12" y="20"/>
                      </a:lnTo>
                      <a:lnTo>
                        <a:pt x="12" y="20"/>
                      </a:lnTo>
                      <a:lnTo>
                        <a:pt x="14" y="22"/>
                      </a:lnTo>
                      <a:lnTo>
                        <a:pt x="18" y="26"/>
                      </a:lnTo>
                      <a:lnTo>
                        <a:pt x="24" y="40"/>
                      </a:lnTo>
                      <a:lnTo>
                        <a:pt x="24" y="40"/>
                      </a:lnTo>
                      <a:lnTo>
                        <a:pt x="26" y="40"/>
                      </a:lnTo>
                      <a:lnTo>
                        <a:pt x="28" y="42"/>
                      </a:lnTo>
                      <a:lnTo>
                        <a:pt x="30" y="40"/>
                      </a:lnTo>
                      <a:lnTo>
                        <a:pt x="30" y="38"/>
                      </a:lnTo>
                      <a:lnTo>
                        <a:pt x="30" y="38"/>
                      </a:lnTo>
                      <a:lnTo>
                        <a:pt x="30" y="36"/>
                      </a:lnTo>
                      <a:lnTo>
                        <a:pt x="30" y="34"/>
                      </a:lnTo>
                      <a:lnTo>
                        <a:pt x="30" y="32"/>
                      </a:lnTo>
                      <a:lnTo>
                        <a:pt x="30" y="26"/>
                      </a:lnTo>
                      <a:lnTo>
                        <a:pt x="30" y="2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8" name="Freeform 6053"/>
                <p:cNvSpPr>
                  <a:spLocks/>
                </p:cNvSpPr>
                <p:nvPr/>
              </p:nvSpPr>
              <p:spPr bwMode="auto">
                <a:xfrm>
                  <a:off x="1064260" y="2078673"/>
                  <a:ext cx="17780" cy="17780"/>
                </a:xfrm>
                <a:custGeom>
                  <a:avLst/>
                  <a:gdLst/>
                  <a:ahLst/>
                  <a:cxnLst>
                    <a:cxn ang="0">
                      <a:pos x="6" y="2"/>
                    </a:cxn>
                    <a:cxn ang="0">
                      <a:pos x="6" y="2"/>
                    </a:cxn>
                    <a:cxn ang="0">
                      <a:pos x="0" y="0"/>
                    </a:cxn>
                    <a:cxn ang="0">
                      <a:pos x="0" y="0"/>
                    </a:cxn>
                    <a:cxn ang="0">
                      <a:pos x="0" y="0"/>
                    </a:cxn>
                    <a:cxn ang="0">
                      <a:pos x="4" y="10"/>
                    </a:cxn>
                    <a:cxn ang="0">
                      <a:pos x="4" y="10"/>
                    </a:cxn>
                    <a:cxn ang="0">
                      <a:pos x="8" y="14"/>
                    </a:cxn>
                    <a:cxn ang="0">
                      <a:pos x="12" y="16"/>
                    </a:cxn>
                    <a:cxn ang="0">
                      <a:pos x="16" y="18"/>
                    </a:cxn>
                    <a:cxn ang="0">
                      <a:pos x="20" y="24"/>
                    </a:cxn>
                    <a:cxn ang="0">
                      <a:pos x="20" y="24"/>
                    </a:cxn>
                    <a:cxn ang="0">
                      <a:pos x="24" y="28"/>
                    </a:cxn>
                    <a:cxn ang="0">
                      <a:pos x="26" y="28"/>
                    </a:cxn>
                    <a:cxn ang="0">
                      <a:pos x="28" y="24"/>
                    </a:cxn>
                    <a:cxn ang="0">
                      <a:pos x="28" y="18"/>
                    </a:cxn>
                    <a:cxn ang="0">
                      <a:pos x="28" y="18"/>
                    </a:cxn>
                    <a:cxn ang="0">
                      <a:pos x="24" y="14"/>
                    </a:cxn>
                    <a:cxn ang="0">
                      <a:pos x="20" y="10"/>
                    </a:cxn>
                    <a:cxn ang="0">
                      <a:pos x="6" y="2"/>
                    </a:cxn>
                    <a:cxn ang="0">
                      <a:pos x="6" y="2"/>
                    </a:cxn>
                  </a:cxnLst>
                  <a:rect l="0" t="0" r="r" b="b"/>
                  <a:pathLst>
                    <a:path w="28" h="28">
                      <a:moveTo>
                        <a:pt x="6" y="2"/>
                      </a:moveTo>
                      <a:lnTo>
                        <a:pt x="6" y="2"/>
                      </a:lnTo>
                      <a:lnTo>
                        <a:pt x="0" y="0"/>
                      </a:lnTo>
                      <a:lnTo>
                        <a:pt x="0" y="0"/>
                      </a:lnTo>
                      <a:lnTo>
                        <a:pt x="0" y="0"/>
                      </a:lnTo>
                      <a:lnTo>
                        <a:pt x="4" y="10"/>
                      </a:lnTo>
                      <a:lnTo>
                        <a:pt x="4" y="10"/>
                      </a:lnTo>
                      <a:lnTo>
                        <a:pt x="8" y="14"/>
                      </a:lnTo>
                      <a:lnTo>
                        <a:pt x="12" y="16"/>
                      </a:lnTo>
                      <a:lnTo>
                        <a:pt x="16" y="18"/>
                      </a:lnTo>
                      <a:lnTo>
                        <a:pt x="20" y="24"/>
                      </a:lnTo>
                      <a:lnTo>
                        <a:pt x="20" y="24"/>
                      </a:lnTo>
                      <a:lnTo>
                        <a:pt x="24" y="28"/>
                      </a:lnTo>
                      <a:lnTo>
                        <a:pt x="26" y="28"/>
                      </a:lnTo>
                      <a:lnTo>
                        <a:pt x="28" y="24"/>
                      </a:lnTo>
                      <a:lnTo>
                        <a:pt x="28" y="18"/>
                      </a:lnTo>
                      <a:lnTo>
                        <a:pt x="28" y="18"/>
                      </a:lnTo>
                      <a:lnTo>
                        <a:pt x="24" y="14"/>
                      </a:lnTo>
                      <a:lnTo>
                        <a:pt x="20" y="10"/>
                      </a:lnTo>
                      <a:lnTo>
                        <a:pt x="6" y="2"/>
                      </a:lnTo>
                      <a:lnTo>
                        <a:pt x="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9" name="Freeform 6055"/>
                <p:cNvSpPr>
                  <a:spLocks/>
                </p:cNvSpPr>
                <p:nvPr/>
              </p:nvSpPr>
              <p:spPr bwMode="auto">
                <a:xfrm>
                  <a:off x="2825750" y="3357563"/>
                  <a:ext cx="6350" cy="11430"/>
                </a:xfrm>
                <a:custGeom>
                  <a:avLst/>
                  <a:gdLst/>
                  <a:ahLst/>
                  <a:cxnLst>
                    <a:cxn ang="0">
                      <a:pos x="0" y="4"/>
                    </a:cxn>
                    <a:cxn ang="0">
                      <a:pos x="0" y="4"/>
                    </a:cxn>
                    <a:cxn ang="0">
                      <a:pos x="0" y="10"/>
                    </a:cxn>
                    <a:cxn ang="0">
                      <a:pos x="2" y="16"/>
                    </a:cxn>
                    <a:cxn ang="0">
                      <a:pos x="4" y="18"/>
                    </a:cxn>
                    <a:cxn ang="0">
                      <a:pos x="8" y="18"/>
                    </a:cxn>
                    <a:cxn ang="0">
                      <a:pos x="8" y="18"/>
                    </a:cxn>
                    <a:cxn ang="0">
                      <a:pos x="10" y="16"/>
                    </a:cxn>
                    <a:cxn ang="0">
                      <a:pos x="10" y="14"/>
                    </a:cxn>
                    <a:cxn ang="0">
                      <a:pos x="10" y="8"/>
                    </a:cxn>
                    <a:cxn ang="0">
                      <a:pos x="10" y="8"/>
                    </a:cxn>
                    <a:cxn ang="0">
                      <a:pos x="8" y="6"/>
                    </a:cxn>
                    <a:cxn ang="0">
                      <a:pos x="6" y="2"/>
                    </a:cxn>
                    <a:cxn ang="0">
                      <a:pos x="2" y="0"/>
                    </a:cxn>
                    <a:cxn ang="0">
                      <a:pos x="2" y="0"/>
                    </a:cxn>
                    <a:cxn ang="0">
                      <a:pos x="0" y="4"/>
                    </a:cxn>
                    <a:cxn ang="0">
                      <a:pos x="0" y="4"/>
                    </a:cxn>
                  </a:cxnLst>
                  <a:rect l="0" t="0" r="r" b="b"/>
                  <a:pathLst>
                    <a:path w="10" h="18">
                      <a:moveTo>
                        <a:pt x="0" y="4"/>
                      </a:moveTo>
                      <a:lnTo>
                        <a:pt x="0" y="4"/>
                      </a:lnTo>
                      <a:lnTo>
                        <a:pt x="0" y="10"/>
                      </a:lnTo>
                      <a:lnTo>
                        <a:pt x="2" y="16"/>
                      </a:lnTo>
                      <a:lnTo>
                        <a:pt x="4" y="18"/>
                      </a:lnTo>
                      <a:lnTo>
                        <a:pt x="8" y="18"/>
                      </a:lnTo>
                      <a:lnTo>
                        <a:pt x="8" y="18"/>
                      </a:lnTo>
                      <a:lnTo>
                        <a:pt x="10" y="16"/>
                      </a:lnTo>
                      <a:lnTo>
                        <a:pt x="10" y="14"/>
                      </a:lnTo>
                      <a:lnTo>
                        <a:pt x="10" y="8"/>
                      </a:lnTo>
                      <a:lnTo>
                        <a:pt x="10" y="8"/>
                      </a:lnTo>
                      <a:lnTo>
                        <a:pt x="8" y="6"/>
                      </a:lnTo>
                      <a:lnTo>
                        <a:pt x="6" y="2"/>
                      </a:lnTo>
                      <a:lnTo>
                        <a:pt x="2" y="0"/>
                      </a:lnTo>
                      <a:lnTo>
                        <a:pt x="2" y="0"/>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0" name="Freeform 6056"/>
                <p:cNvSpPr>
                  <a:spLocks/>
                </p:cNvSpPr>
                <p:nvPr/>
              </p:nvSpPr>
              <p:spPr bwMode="auto">
                <a:xfrm>
                  <a:off x="2833370" y="3381693"/>
                  <a:ext cx="6350" cy="11430"/>
                </a:xfrm>
                <a:custGeom>
                  <a:avLst/>
                  <a:gdLst/>
                  <a:ahLst/>
                  <a:cxnLst>
                    <a:cxn ang="0">
                      <a:pos x="2" y="8"/>
                    </a:cxn>
                    <a:cxn ang="0">
                      <a:pos x="2" y="8"/>
                    </a:cxn>
                    <a:cxn ang="0">
                      <a:pos x="4" y="12"/>
                    </a:cxn>
                    <a:cxn ang="0">
                      <a:pos x="6" y="16"/>
                    </a:cxn>
                    <a:cxn ang="0">
                      <a:pos x="6" y="18"/>
                    </a:cxn>
                    <a:cxn ang="0">
                      <a:pos x="8" y="18"/>
                    </a:cxn>
                    <a:cxn ang="0">
                      <a:pos x="8" y="18"/>
                    </a:cxn>
                    <a:cxn ang="0">
                      <a:pos x="10" y="14"/>
                    </a:cxn>
                    <a:cxn ang="0">
                      <a:pos x="10" y="10"/>
                    </a:cxn>
                    <a:cxn ang="0">
                      <a:pos x="10" y="4"/>
                    </a:cxn>
                    <a:cxn ang="0">
                      <a:pos x="6" y="0"/>
                    </a:cxn>
                    <a:cxn ang="0">
                      <a:pos x="6" y="0"/>
                    </a:cxn>
                    <a:cxn ang="0">
                      <a:pos x="2" y="0"/>
                    </a:cxn>
                    <a:cxn ang="0">
                      <a:pos x="0" y="0"/>
                    </a:cxn>
                    <a:cxn ang="0">
                      <a:pos x="0" y="4"/>
                    </a:cxn>
                    <a:cxn ang="0">
                      <a:pos x="2" y="8"/>
                    </a:cxn>
                    <a:cxn ang="0">
                      <a:pos x="2" y="8"/>
                    </a:cxn>
                  </a:cxnLst>
                  <a:rect l="0" t="0" r="r" b="b"/>
                  <a:pathLst>
                    <a:path w="10" h="18">
                      <a:moveTo>
                        <a:pt x="2" y="8"/>
                      </a:moveTo>
                      <a:lnTo>
                        <a:pt x="2" y="8"/>
                      </a:lnTo>
                      <a:lnTo>
                        <a:pt x="4" y="12"/>
                      </a:lnTo>
                      <a:lnTo>
                        <a:pt x="6" y="16"/>
                      </a:lnTo>
                      <a:lnTo>
                        <a:pt x="6" y="18"/>
                      </a:lnTo>
                      <a:lnTo>
                        <a:pt x="8" y="18"/>
                      </a:lnTo>
                      <a:lnTo>
                        <a:pt x="8" y="18"/>
                      </a:lnTo>
                      <a:lnTo>
                        <a:pt x="10" y="14"/>
                      </a:lnTo>
                      <a:lnTo>
                        <a:pt x="10" y="10"/>
                      </a:lnTo>
                      <a:lnTo>
                        <a:pt x="10" y="4"/>
                      </a:lnTo>
                      <a:lnTo>
                        <a:pt x="6" y="0"/>
                      </a:lnTo>
                      <a:lnTo>
                        <a:pt x="6" y="0"/>
                      </a:lnTo>
                      <a:lnTo>
                        <a:pt x="2" y="0"/>
                      </a:lnTo>
                      <a:lnTo>
                        <a:pt x="0" y="0"/>
                      </a:lnTo>
                      <a:lnTo>
                        <a:pt x="0" y="4"/>
                      </a:lnTo>
                      <a:lnTo>
                        <a:pt x="2" y="8"/>
                      </a:lnTo>
                      <a:lnTo>
                        <a:pt x="2"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1" name="Freeform 6057"/>
                <p:cNvSpPr>
                  <a:spLocks/>
                </p:cNvSpPr>
                <p:nvPr/>
              </p:nvSpPr>
              <p:spPr bwMode="auto">
                <a:xfrm>
                  <a:off x="2832100" y="3353753"/>
                  <a:ext cx="10160" cy="8890"/>
                </a:xfrm>
                <a:custGeom>
                  <a:avLst/>
                  <a:gdLst/>
                  <a:ahLst/>
                  <a:cxnLst>
                    <a:cxn ang="0">
                      <a:pos x="0" y="12"/>
                    </a:cxn>
                    <a:cxn ang="0">
                      <a:pos x="0" y="12"/>
                    </a:cxn>
                    <a:cxn ang="0">
                      <a:pos x="4" y="14"/>
                    </a:cxn>
                    <a:cxn ang="0">
                      <a:pos x="8" y="12"/>
                    </a:cxn>
                    <a:cxn ang="0">
                      <a:pos x="8" y="12"/>
                    </a:cxn>
                    <a:cxn ang="0">
                      <a:pos x="12" y="12"/>
                    </a:cxn>
                    <a:cxn ang="0">
                      <a:pos x="14" y="12"/>
                    </a:cxn>
                    <a:cxn ang="0">
                      <a:pos x="16" y="14"/>
                    </a:cxn>
                    <a:cxn ang="0">
                      <a:pos x="16" y="12"/>
                    </a:cxn>
                    <a:cxn ang="0">
                      <a:pos x="16" y="12"/>
                    </a:cxn>
                    <a:cxn ang="0">
                      <a:pos x="14" y="8"/>
                    </a:cxn>
                    <a:cxn ang="0">
                      <a:pos x="12" y="8"/>
                    </a:cxn>
                    <a:cxn ang="0">
                      <a:pos x="10" y="6"/>
                    </a:cxn>
                    <a:cxn ang="0">
                      <a:pos x="8" y="4"/>
                    </a:cxn>
                    <a:cxn ang="0">
                      <a:pos x="8" y="4"/>
                    </a:cxn>
                    <a:cxn ang="0">
                      <a:pos x="6" y="0"/>
                    </a:cxn>
                    <a:cxn ang="0">
                      <a:pos x="4" y="0"/>
                    </a:cxn>
                    <a:cxn ang="0">
                      <a:pos x="2" y="0"/>
                    </a:cxn>
                    <a:cxn ang="0">
                      <a:pos x="2" y="2"/>
                    </a:cxn>
                    <a:cxn ang="0">
                      <a:pos x="2" y="2"/>
                    </a:cxn>
                    <a:cxn ang="0">
                      <a:pos x="2" y="6"/>
                    </a:cxn>
                    <a:cxn ang="0">
                      <a:pos x="2" y="8"/>
                    </a:cxn>
                    <a:cxn ang="0">
                      <a:pos x="0" y="10"/>
                    </a:cxn>
                    <a:cxn ang="0">
                      <a:pos x="0" y="12"/>
                    </a:cxn>
                    <a:cxn ang="0">
                      <a:pos x="0" y="12"/>
                    </a:cxn>
                  </a:cxnLst>
                  <a:rect l="0" t="0" r="r" b="b"/>
                  <a:pathLst>
                    <a:path w="16" h="14">
                      <a:moveTo>
                        <a:pt x="0" y="12"/>
                      </a:moveTo>
                      <a:lnTo>
                        <a:pt x="0" y="12"/>
                      </a:lnTo>
                      <a:lnTo>
                        <a:pt x="4" y="14"/>
                      </a:lnTo>
                      <a:lnTo>
                        <a:pt x="8" y="12"/>
                      </a:lnTo>
                      <a:lnTo>
                        <a:pt x="8" y="12"/>
                      </a:lnTo>
                      <a:lnTo>
                        <a:pt x="12" y="12"/>
                      </a:lnTo>
                      <a:lnTo>
                        <a:pt x="14" y="12"/>
                      </a:lnTo>
                      <a:lnTo>
                        <a:pt x="16" y="14"/>
                      </a:lnTo>
                      <a:lnTo>
                        <a:pt x="16" y="12"/>
                      </a:lnTo>
                      <a:lnTo>
                        <a:pt x="16" y="12"/>
                      </a:lnTo>
                      <a:lnTo>
                        <a:pt x="14" y="8"/>
                      </a:lnTo>
                      <a:lnTo>
                        <a:pt x="12" y="8"/>
                      </a:lnTo>
                      <a:lnTo>
                        <a:pt x="10" y="6"/>
                      </a:lnTo>
                      <a:lnTo>
                        <a:pt x="8" y="4"/>
                      </a:lnTo>
                      <a:lnTo>
                        <a:pt x="8" y="4"/>
                      </a:lnTo>
                      <a:lnTo>
                        <a:pt x="6" y="0"/>
                      </a:lnTo>
                      <a:lnTo>
                        <a:pt x="4" y="0"/>
                      </a:lnTo>
                      <a:lnTo>
                        <a:pt x="2" y="0"/>
                      </a:lnTo>
                      <a:lnTo>
                        <a:pt x="2" y="2"/>
                      </a:lnTo>
                      <a:lnTo>
                        <a:pt x="2" y="2"/>
                      </a:lnTo>
                      <a:lnTo>
                        <a:pt x="2" y="6"/>
                      </a:lnTo>
                      <a:lnTo>
                        <a:pt x="2" y="8"/>
                      </a:lnTo>
                      <a:lnTo>
                        <a:pt x="0" y="10"/>
                      </a:lnTo>
                      <a:lnTo>
                        <a:pt x="0" y="12"/>
                      </a:lnTo>
                      <a:lnTo>
                        <a:pt x="0" y="1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2" name="Freeform 6058"/>
                <p:cNvSpPr>
                  <a:spLocks/>
                </p:cNvSpPr>
                <p:nvPr/>
              </p:nvSpPr>
              <p:spPr bwMode="auto">
                <a:xfrm>
                  <a:off x="2844800" y="3428683"/>
                  <a:ext cx="6350" cy="11430"/>
                </a:xfrm>
                <a:custGeom>
                  <a:avLst/>
                  <a:gdLst/>
                  <a:ahLst/>
                  <a:cxnLst>
                    <a:cxn ang="0">
                      <a:pos x="4" y="2"/>
                    </a:cxn>
                    <a:cxn ang="0">
                      <a:pos x="4" y="2"/>
                    </a:cxn>
                    <a:cxn ang="0">
                      <a:pos x="2" y="6"/>
                    </a:cxn>
                    <a:cxn ang="0">
                      <a:pos x="0" y="10"/>
                    </a:cxn>
                    <a:cxn ang="0">
                      <a:pos x="0" y="14"/>
                    </a:cxn>
                    <a:cxn ang="0">
                      <a:pos x="2" y="18"/>
                    </a:cxn>
                    <a:cxn ang="0">
                      <a:pos x="2" y="18"/>
                    </a:cxn>
                    <a:cxn ang="0">
                      <a:pos x="6" y="18"/>
                    </a:cxn>
                    <a:cxn ang="0">
                      <a:pos x="6" y="18"/>
                    </a:cxn>
                    <a:cxn ang="0">
                      <a:pos x="8" y="10"/>
                    </a:cxn>
                    <a:cxn ang="0">
                      <a:pos x="8" y="10"/>
                    </a:cxn>
                    <a:cxn ang="0">
                      <a:pos x="10" y="6"/>
                    </a:cxn>
                    <a:cxn ang="0">
                      <a:pos x="8" y="2"/>
                    </a:cxn>
                    <a:cxn ang="0">
                      <a:pos x="6" y="0"/>
                    </a:cxn>
                    <a:cxn ang="0">
                      <a:pos x="4" y="2"/>
                    </a:cxn>
                    <a:cxn ang="0">
                      <a:pos x="4" y="2"/>
                    </a:cxn>
                  </a:cxnLst>
                  <a:rect l="0" t="0" r="r" b="b"/>
                  <a:pathLst>
                    <a:path w="10" h="18">
                      <a:moveTo>
                        <a:pt x="4" y="2"/>
                      </a:moveTo>
                      <a:lnTo>
                        <a:pt x="4" y="2"/>
                      </a:lnTo>
                      <a:lnTo>
                        <a:pt x="2" y="6"/>
                      </a:lnTo>
                      <a:lnTo>
                        <a:pt x="0" y="10"/>
                      </a:lnTo>
                      <a:lnTo>
                        <a:pt x="0" y="14"/>
                      </a:lnTo>
                      <a:lnTo>
                        <a:pt x="2" y="18"/>
                      </a:lnTo>
                      <a:lnTo>
                        <a:pt x="2" y="18"/>
                      </a:lnTo>
                      <a:lnTo>
                        <a:pt x="6" y="18"/>
                      </a:lnTo>
                      <a:lnTo>
                        <a:pt x="6" y="18"/>
                      </a:lnTo>
                      <a:lnTo>
                        <a:pt x="8" y="10"/>
                      </a:lnTo>
                      <a:lnTo>
                        <a:pt x="8" y="10"/>
                      </a:lnTo>
                      <a:lnTo>
                        <a:pt x="10" y="6"/>
                      </a:lnTo>
                      <a:lnTo>
                        <a:pt x="8" y="2"/>
                      </a:lnTo>
                      <a:lnTo>
                        <a:pt x="6" y="0"/>
                      </a:lnTo>
                      <a:lnTo>
                        <a:pt x="4" y="2"/>
                      </a:lnTo>
                      <a:lnTo>
                        <a:pt x="4"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3" name="Freeform 6059"/>
                <p:cNvSpPr>
                  <a:spLocks/>
                </p:cNvSpPr>
                <p:nvPr/>
              </p:nvSpPr>
              <p:spPr bwMode="auto">
                <a:xfrm>
                  <a:off x="2824480" y="3332163"/>
                  <a:ext cx="5080" cy="5080"/>
                </a:xfrm>
                <a:custGeom>
                  <a:avLst/>
                  <a:gdLst/>
                  <a:ahLst/>
                  <a:cxnLst>
                    <a:cxn ang="0">
                      <a:pos x="2" y="8"/>
                    </a:cxn>
                    <a:cxn ang="0">
                      <a:pos x="2" y="8"/>
                    </a:cxn>
                    <a:cxn ang="0">
                      <a:pos x="6" y="8"/>
                    </a:cxn>
                    <a:cxn ang="0">
                      <a:pos x="8" y="6"/>
                    </a:cxn>
                    <a:cxn ang="0">
                      <a:pos x="8" y="4"/>
                    </a:cxn>
                    <a:cxn ang="0">
                      <a:pos x="4" y="2"/>
                    </a:cxn>
                    <a:cxn ang="0">
                      <a:pos x="4" y="2"/>
                    </a:cxn>
                    <a:cxn ang="0">
                      <a:pos x="2" y="0"/>
                    </a:cxn>
                    <a:cxn ang="0">
                      <a:pos x="0" y="4"/>
                    </a:cxn>
                    <a:cxn ang="0">
                      <a:pos x="0" y="6"/>
                    </a:cxn>
                    <a:cxn ang="0">
                      <a:pos x="2" y="8"/>
                    </a:cxn>
                    <a:cxn ang="0">
                      <a:pos x="2" y="8"/>
                    </a:cxn>
                  </a:cxnLst>
                  <a:rect l="0" t="0" r="r" b="b"/>
                  <a:pathLst>
                    <a:path w="8" h="8">
                      <a:moveTo>
                        <a:pt x="2" y="8"/>
                      </a:moveTo>
                      <a:lnTo>
                        <a:pt x="2" y="8"/>
                      </a:lnTo>
                      <a:lnTo>
                        <a:pt x="6" y="8"/>
                      </a:lnTo>
                      <a:lnTo>
                        <a:pt x="8" y="6"/>
                      </a:lnTo>
                      <a:lnTo>
                        <a:pt x="8" y="4"/>
                      </a:lnTo>
                      <a:lnTo>
                        <a:pt x="4" y="2"/>
                      </a:lnTo>
                      <a:lnTo>
                        <a:pt x="4" y="2"/>
                      </a:lnTo>
                      <a:lnTo>
                        <a:pt x="2" y="0"/>
                      </a:lnTo>
                      <a:lnTo>
                        <a:pt x="0" y="4"/>
                      </a:lnTo>
                      <a:lnTo>
                        <a:pt x="0" y="6"/>
                      </a:lnTo>
                      <a:lnTo>
                        <a:pt x="2" y="8"/>
                      </a:lnTo>
                      <a:lnTo>
                        <a:pt x="2"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4" name="Freeform 6060"/>
                <p:cNvSpPr>
                  <a:spLocks/>
                </p:cNvSpPr>
                <p:nvPr/>
              </p:nvSpPr>
              <p:spPr bwMode="auto">
                <a:xfrm>
                  <a:off x="2839720" y="3451543"/>
                  <a:ext cx="3810" cy="7620"/>
                </a:xfrm>
                <a:custGeom>
                  <a:avLst/>
                  <a:gdLst/>
                  <a:ahLst/>
                  <a:cxnLst>
                    <a:cxn ang="0">
                      <a:pos x="4" y="0"/>
                    </a:cxn>
                    <a:cxn ang="0">
                      <a:pos x="4" y="0"/>
                    </a:cxn>
                    <a:cxn ang="0">
                      <a:pos x="2" y="0"/>
                    </a:cxn>
                    <a:cxn ang="0">
                      <a:pos x="0" y="2"/>
                    </a:cxn>
                    <a:cxn ang="0">
                      <a:pos x="0" y="8"/>
                    </a:cxn>
                    <a:cxn ang="0">
                      <a:pos x="2" y="12"/>
                    </a:cxn>
                    <a:cxn ang="0">
                      <a:pos x="2" y="12"/>
                    </a:cxn>
                    <a:cxn ang="0">
                      <a:pos x="4" y="12"/>
                    </a:cxn>
                    <a:cxn ang="0">
                      <a:pos x="6" y="8"/>
                    </a:cxn>
                    <a:cxn ang="0">
                      <a:pos x="6" y="2"/>
                    </a:cxn>
                    <a:cxn ang="0">
                      <a:pos x="4" y="0"/>
                    </a:cxn>
                    <a:cxn ang="0">
                      <a:pos x="4" y="0"/>
                    </a:cxn>
                  </a:cxnLst>
                  <a:rect l="0" t="0" r="r" b="b"/>
                  <a:pathLst>
                    <a:path w="6" h="12">
                      <a:moveTo>
                        <a:pt x="4" y="0"/>
                      </a:moveTo>
                      <a:lnTo>
                        <a:pt x="4" y="0"/>
                      </a:lnTo>
                      <a:lnTo>
                        <a:pt x="2" y="0"/>
                      </a:lnTo>
                      <a:lnTo>
                        <a:pt x="0" y="2"/>
                      </a:lnTo>
                      <a:lnTo>
                        <a:pt x="0" y="8"/>
                      </a:lnTo>
                      <a:lnTo>
                        <a:pt x="2" y="12"/>
                      </a:lnTo>
                      <a:lnTo>
                        <a:pt x="2" y="12"/>
                      </a:lnTo>
                      <a:lnTo>
                        <a:pt x="4" y="12"/>
                      </a:lnTo>
                      <a:lnTo>
                        <a:pt x="6" y="8"/>
                      </a:lnTo>
                      <a:lnTo>
                        <a:pt x="6" y="2"/>
                      </a:lnTo>
                      <a:lnTo>
                        <a:pt x="4" y="0"/>
                      </a:lnTo>
                      <a:lnTo>
                        <a:pt x="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5" name="Freeform 6061"/>
                <p:cNvSpPr>
                  <a:spLocks/>
                </p:cNvSpPr>
                <p:nvPr/>
              </p:nvSpPr>
              <p:spPr bwMode="auto">
                <a:xfrm>
                  <a:off x="2840990" y="3404553"/>
                  <a:ext cx="11430" cy="15240"/>
                </a:xfrm>
                <a:custGeom>
                  <a:avLst/>
                  <a:gdLst/>
                  <a:ahLst/>
                  <a:cxnLst>
                    <a:cxn ang="0">
                      <a:pos x="10" y="20"/>
                    </a:cxn>
                    <a:cxn ang="0">
                      <a:pos x="10" y="20"/>
                    </a:cxn>
                    <a:cxn ang="0">
                      <a:pos x="12" y="22"/>
                    </a:cxn>
                    <a:cxn ang="0">
                      <a:pos x="14" y="22"/>
                    </a:cxn>
                    <a:cxn ang="0">
                      <a:pos x="14" y="24"/>
                    </a:cxn>
                    <a:cxn ang="0">
                      <a:pos x="16" y="24"/>
                    </a:cxn>
                    <a:cxn ang="0">
                      <a:pos x="16" y="24"/>
                    </a:cxn>
                    <a:cxn ang="0">
                      <a:pos x="18" y="22"/>
                    </a:cxn>
                    <a:cxn ang="0">
                      <a:pos x="18" y="16"/>
                    </a:cxn>
                    <a:cxn ang="0">
                      <a:pos x="14" y="10"/>
                    </a:cxn>
                    <a:cxn ang="0">
                      <a:pos x="10" y="4"/>
                    </a:cxn>
                    <a:cxn ang="0">
                      <a:pos x="10" y="4"/>
                    </a:cxn>
                    <a:cxn ang="0">
                      <a:pos x="6" y="0"/>
                    </a:cxn>
                    <a:cxn ang="0">
                      <a:pos x="2" y="0"/>
                    </a:cxn>
                    <a:cxn ang="0">
                      <a:pos x="0" y="2"/>
                    </a:cxn>
                    <a:cxn ang="0">
                      <a:pos x="2" y="6"/>
                    </a:cxn>
                    <a:cxn ang="0">
                      <a:pos x="2" y="6"/>
                    </a:cxn>
                    <a:cxn ang="0">
                      <a:pos x="4" y="12"/>
                    </a:cxn>
                    <a:cxn ang="0">
                      <a:pos x="4" y="16"/>
                    </a:cxn>
                    <a:cxn ang="0">
                      <a:pos x="6" y="18"/>
                    </a:cxn>
                    <a:cxn ang="0">
                      <a:pos x="10" y="20"/>
                    </a:cxn>
                    <a:cxn ang="0">
                      <a:pos x="10" y="20"/>
                    </a:cxn>
                  </a:cxnLst>
                  <a:rect l="0" t="0" r="r" b="b"/>
                  <a:pathLst>
                    <a:path w="18" h="24">
                      <a:moveTo>
                        <a:pt x="10" y="20"/>
                      </a:moveTo>
                      <a:lnTo>
                        <a:pt x="10" y="20"/>
                      </a:lnTo>
                      <a:lnTo>
                        <a:pt x="12" y="22"/>
                      </a:lnTo>
                      <a:lnTo>
                        <a:pt x="14" y="22"/>
                      </a:lnTo>
                      <a:lnTo>
                        <a:pt x="14" y="24"/>
                      </a:lnTo>
                      <a:lnTo>
                        <a:pt x="16" y="24"/>
                      </a:lnTo>
                      <a:lnTo>
                        <a:pt x="16" y="24"/>
                      </a:lnTo>
                      <a:lnTo>
                        <a:pt x="18" y="22"/>
                      </a:lnTo>
                      <a:lnTo>
                        <a:pt x="18" y="16"/>
                      </a:lnTo>
                      <a:lnTo>
                        <a:pt x="14" y="10"/>
                      </a:lnTo>
                      <a:lnTo>
                        <a:pt x="10" y="4"/>
                      </a:lnTo>
                      <a:lnTo>
                        <a:pt x="10" y="4"/>
                      </a:lnTo>
                      <a:lnTo>
                        <a:pt x="6" y="0"/>
                      </a:lnTo>
                      <a:lnTo>
                        <a:pt x="2" y="0"/>
                      </a:lnTo>
                      <a:lnTo>
                        <a:pt x="0" y="2"/>
                      </a:lnTo>
                      <a:lnTo>
                        <a:pt x="2" y="6"/>
                      </a:lnTo>
                      <a:lnTo>
                        <a:pt x="2" y="6"/>
                      </a:lnTo>
                      <a:lnTo>
                        <a:pt x="4" y="12"/>
                      </a:lnTo>
                      <a:lnTo>
                        <a:pt x="4" y="16"/>
                      </a:lnTo>
                      <a:lnTo>
                        <a:pt x="6" y="18"/>
                      </a:lnTo>
                      <a:lnTo>
                        <a:pt x="10" y="20"/>
                      </a:lnTo>
                      <a:lnTo>
                        <a:pt x="10" y="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6" name="Freeform 6062"/>
                <p:cNvSpPr>
                  <a:spLocks/>
                </p:cNvSpPr>
                <p:nvPr/>
              </p:nvSpPr>
              <p:spPr bwMode="auto">
                <a:xfrm>
                  <a:off x="2827020" y="3487103"/>
                  <a:ext cx="5080" cy="7620"/>
                </a:xfrm>
                <a:custGeom>
                  <a:avLst/>
                  <a:gdLst/>
                  <a:ahLst/>
                  <a:cxnLst>
                    <a:cxn ang="0">
                      <a:pos x="4" y="0"/>
                    </a:cxn>
                    <a:cxn ang="0">
                      <a:pos x="4" y="0"/>
                    </a:cxn>
                    <a:cxn ang="0">
                      <a:pos x="2" y="2"/>
                    </a:cxn>
                    <a:cxn ang="0">
                      <a:pos x="0" y="6"/>
                    </a:cxn>
                    <a:cxn ang="0">
                      <a:pos x="0" y="10"/>
                    </a:cxn>
                    <a:cxn ang="0">
                      <a:pos x="4" y="12"/>
                    </a:cxn>
                    <a:cxn ang="0">
                      <a:pos x="4" y="12"/>
                    </a:cxn>
                    <a:cxn ang="0">
                      <a:pos x="6" y="10"/>
                    </a:cxn>
                    <a:cxn ang="0">
                      <a:pos x="8" y="6"/>
                    </a:cxn>
                    <a:cxn ang="0">
                      <a:pos x="6" y="2"/>
                    </a:cxn>
                    <a:cxn ang="0">
                      <a:pos x="4" y="0"/>
                    </a:cxn>
                    <a:cxn ang="0">
                      <a:pos x="4" y="0"/>
                    </a:cxn>
                  </a:cxnLst>
                  <a:rect l="0" t="0" r="r" b="b"/>
                  <a:pathLst>
                    <a:path w="8" h="12">
                      <a:moveTo>
                        <a:pt x="4" y="0"/>
                      </a:moveTo>
                      <a:lnTo>
                        <a:pt x="4" y="0"/>
                      </a:lnTo>
                      <a:lnTo>
                        <a:pt x="2" y="2"/>
                      </a:lnTo>
                      <a:lnTo>
                        <a:pt x="0" y="6"/>
                      </a:lnTo>
                      <a:lnTo>
                        <a:pt x="0" y="10"/>
                      </a:lnTo>
                      <a:lnTo>
                        <a:pt x="4" y="12"/>
                      </a:lnTo>
                      <a:lnTo>
                        <a:pt x="4" y="12"/>
                      </a:lnTo>
                      <a:lnTo>
                        <a:pt x="6" y="10"/>
                      </a:lnTo>
                      <a:lnTo>
                        <a:pt x="8" y="6"/>
                      </a:lnTo>
                      <a:lnTo>
                        <a:pt x="6" y="2"/>
                      </a:lnTo>
                      <a:lnTo>
                        <a:pt x="4" y="0"/>
                      </a:lnTo>
                      <a:lnTo>
                        <a:pt x="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7" name="Freeform 6063"/>
                <p:cNvSpPr>
                  <a:spLocks/>
                </p:cNvSpPr>
                <p:nvPr/>
              </p:nvSpPr>
              <p:spPr bwMode="auto">
                <a:xfrm>
                  <a:off x="2838450" y="3368993"/>
                  <a:ext cx="2540" cy="3810"/>
                </a:xfrm>
                <a:custGeom>
                  <a:avLst/>
                  <a:gdLst/>
                  <a:ahLst/>
                  <a:cxnLst>
                    <a:cxn ang="0">
                      <a:pos x="4" y="6"/>
                    </a:cxn>
                    <a:cxn ang="0">
                      <a:pos x="4" y="6"/>
                    </a:cxn>
                    <a:cxn ang="0">
                      <a:pos x="4" y="6"/>
                    </a:cxn>
                    <a:cxn ang="0">
                      <a:pos x="4" y="4"/>
                    </a:cxn>
                    <a:cxn ang="0">
                      <a:pos x="2" y="2"/>
                    </a:cxn>
                    <a:cxn ang="0">
                      <a:pos x="2" y="0"/>
                    </a:cxn>
                    <a:cxn ang="0">
                      <a:pos x="2" y="0"/>
                    </a:cxn>
                    <a:cxn ang="0">
                      <a:pos x="0" y="2"/>
                    </a:cxn>
                    <a:cxn ang="0">
                      <a:pos x="0" y="4"/>
                    </a:cxn>
                    <a:cxn ang="0">
                      <a:pos x="0" y="6"/>
                    </a:cxn>
                    <a:cxn ang="0">
                      <a:pos x="4" y="6"/>
                    </a:cxn>
                    <a:cxn ang="0">
                      <a:pos x="4" y="6"/>
                    </a:cxn>
                  </a:cxnLst>
                  <a:rect l="0" t="0" r="r" b="b"/>
                  <a:pathLst>
                    <a:path w="4" h="6">
                      <a:moveTo>
                        <a:pt x="4" y="6"/>
                      </a:moveTo>
                      <a:lnTo>
                        <a:pt x="4" y="6"/>
                      </a:lnTo>
                      <a:lnTo>
                        <a:pt x="4" y="6"/>
                      </a:lnTo>
                      <a:lnTo>
                        <a:pt x="4" y="4"/>
                      </a:lnTo>
                      <a:lnTo>
                        <a:pt x="2" y="2"/>
                      </a:lnTo>
                      <a:lnTo>
                        <a:pt x="2" y="0"/>
                      </a:lnTo>
                      <a:lnTo>
                        <a:pt x="2" y="0"/>
                      </a:lnTo>
                      <a:lnTo>
                        <a:pt x="0" y="2"/>
                      </a:lnTo>
                      <a:lnTo>
                        <a:pt x="0" y="4"/>
                      </a:lnTo>
                      <a:lnTo>
                        <a:pt x="0" y="6"/>
                      </a:lnTo>
                      <a:lnTo>
                        <a:pt x="4" y="6"/>
                      </a:lnTo>
                      <a:lnTo>
                        <a:pt x="4"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8" name="Freeform 6064"/>
                <p:cNvSpPr>
                  <a:spLocks/>
                </p:cNvSpPr>
                <p:nvPr/>
              </p:nvSpPr>
              <p:spPr bwMode="auto">
                <a:xfrm>
                  <a:off x="2823210" y="3530283"/>
                  <a:ext cx="26670" cy="25400"/>
                </a:xfrm>
                <a:custGeom>
                  <a:avLst/>
                  <a:gdLst/>
                  <a:ahLst/>
                  <a:cxnLst>
                    <a:cxn ang="0">
                      <a:pos x="18" y="4"/>
                    </a:cxn>
                    <a:cxn ang="0">
                      <a:pos x="18" y="4"/>
                    </a:cxn>
                    <a:cxn ang="0">
                      <a:pos x="10" y="6"/>
                    </a:cxn>
                    <a:cxn ang="0">
                      <a:pos x="10" y="6"/>
                    </a:cxn>
                    <a:cxn ang="0">
                      <a:pos x="10" y="8"/>
                    </a:cxn>
                    <a:cxn ang="0">
                      <a:pos x="16" y="12"/>
                    </a:cxn>
                    <a:cxn ang="0">
                      <a:pos x="16" y="16"/>
                    </a:cxn>
                    <a:cxn ang="0">
                      <a:pos x="18" y="18"/>
                    </a:cxn>
                    <a:cxn ang="0">
                      <a:pos x="18" y="18"/>
                    </a:cxn>
                    <a:cxn ang="0">
                      <a:pos x="18" y="24"/>
                    </a:cxn>
                    <a:cxn ang="0">
                      <a:pos x="16" y="28"/>
                    </a:cxn>
                    <a:cxn ang="0">
                      <a:pos x="4" y="34"/>
                    </a:cxn>
                    <a:cxn ang="0">
                      <a:pos x="4" y="34"/>
                    </a:cxn>
                    <a:cxn ang="0">
                      <a:pos x="0" y="38"/>
                    </a:cxn>
                    <a:cxn ang="0">
                      <a:pos x="0" y="40"/>
                    </a:cxn>
                    <a:cxn ang="0">
                      <a:pos x="2" y="40"/>
                    </a:cxn>
                    <a:cxn ang="0">
                      <a:pos x="22" y="40"/>
                    </a:cxn>
                    <a:cxn ang="0">
                      <a:pos x="22" y="40"/>
                    </a:cxn>
                    <a:cxn ang="0">
                      <a:pos x="30" y="38"/>
                    </a:cxn>
                    <a:cxn ang="0">
                      <a:pos x="36" y="34"/>
                    </a:cxn>
                    <a:cxn ang="0">
                      <a:pos x="38" y="30"/>
                    </a:cxn>
                    <a:cxn ang="0">
                      <a:pos x="38" y="26"/>
                    </a:cxn>
                    <a:cxn ang="0">
                      <a:pos x="36" y="14"/>
                    </a:cxn>
                    <a:cxn ang="0">
                      <a:pos x="36" y="10"/>
                    </a:cxn>
                    <a:cxn ang="0">
                      <a:pos x="38" y="6"/>
                    </a:cxn>
                    <a:cxn ang="0">
                      <a:pos x="38" y="6"/>
                    </a:cxn>
                    <a:cxn ang="0">
                      <a:pos x="42" y="2"/>
                    </a:cxn>
                    <a:cxn ang="0">
                      <a:pos x="38" y="0"/>
                    </a:cxn>
                    <a:cxn ang="0">
                      <a:pos x="18" y="4"/>
                    </a:cxn>
                    <a:cxn ang="0">
                      <a:pos x="18" y="4"/>
                    </a:cxn>
                  </a:cxnLst>
                  <a:rect l="0" t="0" r="r" b="b"/>
                  <a:pathLst>
                    <a:path w="42" h="40">
                      <a:moveTo>
                        <a:pt x="18" y="4"/>
                      </a:moveTo>
                      <a:lnTo>
                        <a:pt x="18" y="4"/>
                      </a:lnTo>
                      <a:lnTo>
                        <a:pt x="10" y="6"/>
                      </a:lnTo>
                      <a:lnTo>
                        <a:pt x="10" y="6"/>
                      </a:lnTo>
                      <a:lnTo>
                        <a:pt x="10" y="8"/>
                      </a:lnTo>
                      <a:lnTo>
                        <a:pt x="16" y="12"/>
                      </a:lnTo>
                      <a:lnTo>
                        <a:pt x="16" y="16"/>
                      </a:lnTo>
                      <a:lnTo>
                        <a:pt x="18" y="18"/>
                      </a:lnTo>
                      <a:lnTo>
                        <a:pt x="18" y="18"/>
                      </a:lnTo>
                      <a:lnTo>
                        <a:pt x="18" y="24"/>
                      </a:lnTo>
                      <a:lnTo>
                        <a:pt x="16" y="28"/>
                      </a:lnTo>
                      <a:lnTo>
                        <a:pt x="4" y="34"/>
                      </a:lnTo>
                      <a:lnTo>
                        <a:pt x="4" y="34"/>
                      </a:lnTo>
                      <a:lnTo>
                        <a:pt x="0" y="38"/>
                      </a:lnTo>
                      <a:lnTo>
                        <a:pt x="0" y="40"/>
                      </a:lnTo>
                      <a:lnTo>
                        <a:pt x="2" y="40"/>
                      </a:lnTo>
                      <a:lnTo>
                        <a:pt x="22" y="40"/>
                      </a:lnTo>
                      <a:lnTo>
                        <a:pt x="22" y="40"/>
                      </a:lnTo>
                      <a:lnTo>
                        <a:pt x="30" y="38"/>
                      </a:lnTo>
                      <a:lnTo>
                        <a:pt x="36" y="34"/>
                      </a:lnTo>
                      <a:lnTo>
                        <a:pt x="38" y="30"/>
                      </a:lnTo>
                      <a:lnTo>
                        <a:pt x="38" y="26"/>
                      </a:lnTo>
                      <a:lnTo>
                        <a:pt x="36" y="14"/>
                      </a:lnTo>
                      <a:lnTo>
                        <a:pt x="36" y="10"/>
                      </a:lnTo>
                      <a:lnTo>
                        <a:pt x="38" y="6"/>
                      </a:lnTo>
                      <a:lnTo>
                        <a:pt x="38" y="6"/>
                      </a:lnTo>
                      <a:lnTo>
                        <a:pt x="42" y="2"/>
                      </a:lnTo>
                      <a:lnTo>
                        <a:pt x="38" y="0"/>
                      </a:lnTo>
                      <a:lnTo>
                        <a:pt x="18" y="4"/>
                      </a:lnTo>
                      <a:lnTo>
                        <a:pt x="18"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9" name="Freeform 6065"/>
                <p:cNvSpPr>
                  <a:spLocks/>
                </p:cNvSpPr>
                <p:nvPr/>
              </p:nvSpPr>
              <p:spPr bwMode="auto">
                <a:xfrm>
                  <a:off x="2824480" y="3314383"/>
                  <a:ext cx="3810" cy="6350"/>
                </a:xfrm>
                <a:custGeom>
                  <a:avLst/>
                  <a:gdLst/>
                  <a:ahLst/>
                  <a:cxnLst>
                    <a:cxn ang="0">
                      <a:pos x="2" y="10"/>
                    </a:cxn>
                    <a:cxn ang="0">
                      <a:pos x="2" y="10"/>
                    </a:cxn>
                    <a:cxn ang="0">
                      <a:pos x="4" y="10"/>
                    </a:cxn>
                    <a:cxn ang="0">
                      <a:pos x="6" y="6"/>
                    </a:cxn>
                    <a:cxn ang="0">
                      <a:pos x="6" y="4"/>
                    </a:cxn>
                    <a:cxn ang="0">
                      <a:pos x="4" y="0"/>
                    </a:cxn>
                    <a:cxn ang="0">
                      <a:pos x="4" y="0"/>
                    </a:cxn>
                    <a:cxn ang="0">
                      <a:pos x="2" y="0"/>
                    </a:cxn>
                    <a:cxn ang="0">
                      <a:pos x="0" y="4"/>
                    </a:cxn>
                    <a:cxn ang="0">
                      <a:pos x="0" y="6"/>
                    </a:cxn>
                    <a:cxn ang="0">
                      <a:pos x="2" y="10"/>
                    </a:cxn>
                    <a:cxn ang="0">
                      <a:pos x="2" y="10"/>
                    </a:cxn>
                  </a:cxnLst>
                  <a:rect l="0" t="0" r="r" b="b"/>
                  <a:pathLst>
                    <a:path w="6" h="10">
                      <a:moveTo>
                        <a:pt x="2" y="10"/>
                      </a:moveTo>
                      <a:lnTo>
                        <a:pt x="2" y="10"/>
                      </a:lnTo>
                      <a:lnTo>
                        <a:pt x="4" y="10"/>
                      </a:lnTo>
                      <a:lnTo>
                        <a:pt x="6" y="6"/>
                      </a:lnTo>
                      <a:lnTo>
                        <a:pt x="6" y="4"/>
                      </a:lnTo>
                      <a:lnTo>
                        <a:pt x="4" y="0"/>
                      </a:lnTo>
                      <a:lnTo>
                        <a:pt x="4" y="0"/>
                      </a:lnTo>
                      <a:lnTo>
                        <a:pt x="2" y="0"/>
                      </a:lnTo>
                      <a:lnTo>
                        <a:pt x="0" y="4"/>
                      </a:lnTo>
                      <a:lnTo>
                        <a:pt x="0" y="6"/>
                      </a:lnTo>
                      <a:lnTo>
                        <a:pt x="2" y="10"/>
                      </a:lnTo>
                      <a:lnTo>
                        <a:pt x="2" y="1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0" name="Freeform 6066"/>
                <p:cNvSpPr>
                  <a:spLocks/>
                </p:cNvSpPr>
                <p:nvPr/>
              </p:nvSpPr>
              <p:spPr bwMode="auto">
                <a:xfrm>
                  <a:off x="2635250" y="3483293"/>
                  <a:ext cx="11430" cy="11430"/>
                </a:xfrm>
                <a:custGeom>
                  <a:avLst/>
                  <a:gdLst/>
                  <a:ahLst/>
                  <a:cxnLst>
                    <a:cxn ang="0">
                      <a:pos x="2" y="0"/>
                    </a:cxn>
                    <a:cxn ang="0">
                      <a:pos x="2" y="0"/>
                    </a:cxn>
                    <a:cxn ang="0">
                      <a:pos x="0" y="0"/>
                    </a:cxn>
                    <a:cxn ang="0">
                      <a:pos x="0" y="4"/>
                    </a:cxn>
                    <a:cxn ang="0">
                      <a:pos x="4" y="8"/>
                    </a:cxn>
                    <a:cxn ang="0">
                      <a:pos x="10" y="14"/>
                    </a:cxn>
                    <a:cxn ang="0">
                      <a:pos x="10" y="14"/>
                    </a:cxn>
                    <a:cxn ang="0">
                      <a:pos x="16" y="18"/>
                    </a:cxn>
                    <a:cxn ang="0">
                      <a:pos x="18" y="18"/>
                    </a:cxn>
                    <a:cxn ang="0">
                      <a:pos x="18" y="16"/>
                    </a:cxn>
                    <a:cxn ang="0">
                      <a:pos x="16" y="12"/>
                    </a:cxn>
                    <a:cxn ang="0">
                      <a:pos x="12" y="8"/>
                    </a:cxn>
                    <a:cxn ang="0">
                      <a:pos x="12" y="8"/>
                    </a:cxn>
                    <a:cxn ang="0">
                      <a:pos x="8" y="8"/>
                    </a:cxn>
                    <a:cxn ang="0">
                      <a:pos x="8" y="6"/>
                    </a:cxn>
                    <a:cxn ang="0">
                      <a:pos x="6" y="2"/>
                    </a:cxn>
                    <a:cxn ang="0">
                      <a:pos x="2" y="0"/>
                    </a:cxn>
                    <a:cxn ang="0">
                      <a:pos x="2" y="0"/>
                    </a:cxn>
                  </a:cxnLst>
                  <a:rect l="0" t="0" r="r" b="b"/>
                  <a:pathLst>
                    <a:path w="18" h="18">
                      <a:moveTo>
                        <a:pt x="2" y="0"/>
                      </a:moveTo>
                      <a:lnTo>
                        <a:pt x="2" y="0"/>
                      </a:lnTo>
                      <a:lnTo>
                        <a:pt x="0" y="0"/>
                      </a:lnTo>
                      <a:lnTo>
                        <a:pt x="0" y="4"/>
                      </a:lnTo>
                      <a:lnTo>
                        <a:pt x="4" y="8"/>
                      </a:lnTo>
                      <a:lnTo>
                        <a:pt x="10" y="14"/>
                      </a:lnTo>
                      <a:lnTo>
                        <a:pt x="10" y="14"/>
                      </a:lnTo>
                      <a:lnTo>
                        <a:pt x="16" y="18"/>
                      </a:lnTo>
                      <a:lnTo>
                        <a:pt x="18" y="18"/>
                      </a:lnTo>
                      <a:lnTo>
                        <a:pt x="18" y="16"/>
                      </a:lnTo>
                      <a:lnTo>
                        <a:pt x="16" y="12"/>
                      </a:lnTo>
                      <a:lnTo>
                        <a:pt x="12" y="8"/>
                      </a:lnTo>
                      <a:lnTo>
                        <a:pt x="12" y="8"/>
                      </a:lnTo>
                      <a:lnTo>
                        <a:pt x="8" y="8"/>
                      </a:lnTo>
                      <a:lnTo>
                        <a:pt x="8" y="6"/>
                      </a:lnTo>
                      <a:lnTo>
                        <a:pt x="6" y="2"/>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1" name="Freeform 6067"/>
                <p:cNvSpPr>
                  <a:spLocks/>
                </p:cNvSpPr>
                <p:nvPr/>
              </p:nvSpPr>
              <p:spPr bwMode="auto">
                <a:xfrm>
                  <a:off x="2688590" y="3290253"/>
                  <a:ext cx="40640" cy="17780"/>
                </a:xfrm>
                <a:custGeom>
                  <a:avLst/>
                  <a:gdLst/>
                  <a:ahLst/>
                  <a:cxnLst>
                    <a:cxn ang="0">
                      <a:pos x="42" y="2"/>
                    </a:cxn>
                    <a:cxn ang="0">
                      <a:pos x="42" y="2"/>
                    </a:cxn>
                    <a:cxn ang="0">
                      <a:pos x="22" y="0"/>
                    </a:cxn>
                    <a:cxn ang="0">
                      <a:pos x="8" y="0"/>
                    </a:cxn>
                    <a:cxn ang="0">
                      <a:pos x="4" y="2"/>
                    </a:cxn>
                    <a:cxn ang="0">
                      <a:pos x="0" y="6"/>
                    </a:cxn>
                    <a:cxn ang="0">
                      <a:pos x="0" y="12"/>
                    </a:cxn>
                    <a:cxn ang="0">
                      <a:pos x="0" y="18"/>
                    </a:cxn>
                    <a:cxn ang="0">
                      <a:pos x="0" y="18"/>
                    </a:cxn>
                    <a:cxn ang="0">
                      <a:pos x="0" y="24"/>
                    </a:cxn>
                    <a:cxn ang="0">
                      <a:pos x="2" y="28"/>
                    </a:cxn>
                    <a:cxn ang="0">
                      <a:pos x="6" y="28"/>
                    </a:cxn>
                    <a:cxn ang="0">
                      <a:pos x="16" y="28"/>
                    </a:cxn>
                    <a:cxn ang="0">
                      <a:pos x="16" y="28"/>
                    </a:cxn>
                    <a:cxn ang="0">
                      <a:pos x="26" y="26"/>
                    </a:cxn>
                    <a:cxn ang="0">
                      <a:pos x="32" y="28"/>
                    </a:cxn>
                    <a:cxn ang="0">
                      <a:pos x="38" y="28"/>
                    </a:cxn>
                    <a:cxn ang="0">
                      <a:pos x="48" y="26"/>
                    </a:cxn>
                    <a:cxn ang="0">
                      <a:pos x="48" y="26"/>
                    </a:cxn>
                    <a:cxn ang="0">
                      <a:pos x="58" y="20"/>
                    </a:cxn>
                    <a:cxn ang="0">
                      <a:pos x="62" y="16"/>
                    </a:cxn>
                    <a:cxn ang="0">
                      <a:pos x="64" y="14"/>
                    </a:cxn>
                    <a:cxn ang="0">
                      <a:pos x="62" y="10"/>
                    </a:cxn>
                    <a:cxn ang="0">
                      <a:pos x="58" y="6"/>
                    </a:cxn>
                    <a:cxn ang="0">
                      <a:pos x="52" y="4"/>
                    </a:cxn>
                    <a:cxn ang="0">
                      <a:pos x="42" y="2"/>
                    </a:cxn>
                    <a:cxn ang="0">
                      <a:pos x="42" y="2"/>
                    </a:cxn>
                  </a:cxnLst>
                  <a:rect l="0" t="0" r="r" b="b"/>
                  <a:pathLst>
                    <a:path w="64" h="28">
                      <a:moveTo>
                        <a:pt x="42" y="2"/>
                      </a:moveTo>
                      <a:lnTo>
                        <a:pt x="42" y="2"/>
                      </a:lnTo>
                      <a:lnTo>
                        <a:pt x="22" y="0"/>
                      </a:lnTo>
                      <a:lnTo>
                        <a:pt x="8" y="0"/>
                      </a:lnTo>
                      <a:lnTo>
                        <a:pt x="4" y="2"/>
                      </a:lnTo>
                      <a:lnTo>
                        <a:pt x="0" y="6"/>
                      </a:lnTo>
                      <a:lnTo>
                        <a:pt x="0" y="12"/>
                      </a:lnTo>
                      <a:lnTo>
                        <a:pt x="0" y="18"/>
                      </a:lnTo>
                      <a:lnTo>
                        <a:pt x="0" y="18"/>
                      </a:lnTo>
                      <a:lnTo>
                        <a:pt x="0" y="24"/>
                      </a:lnTo>
                      <a:lnTo>
                        <a:pt x="2" y="28"/>
                      </a:lnTo>
                      <a:lnTo>
                        <a:pt x="6" y="28"/>
                      </a:lnTo>
                      <a:lnTo>
                        <a:pt x="16" y="28"/>
                      </a:lnTo>
                      <a:lnTo>
                        <a:pt x="16" y="28"/>
                      </a:lnTo>
                      <a:lnTo>
                        <a:pt x="26" y="26"/>
                      </a:lnTo>
                      <a:lnTo>
                        <a:pt x="32" y="28"/>
                      </a:lnTo>
                      <a:lnTo>
                        <a:pt x="38" y="28"/>
                      </a:lnTo>
                      <a:lnTo>
                        <a:pt x="48" y="26"/>
                      </a:lnTo>
                      <a:lnTo>
                        <a:pt x="48" y="26"/>
                      </a:lnTo>
                      <a:lnTo>
                        <a:pt x="58" y="20"/>
                      </a:lnTo>
                      <a:lnTo>
                        <a:pt x="62" y="16"/>
                      </a:lnTo>
                      <a:lnTo>
                        <a:pt x="64" y="14"/>
                      </a:lnTo>
                      <a:lnTo>
                        <a:pt x="62" y="10"/>
                      </a:lnTo>
                      <a:lnTo>
                        <a:pt x="58" y="6"/>
                      </a:lnTo>
                      <a:lnTo>
                        <a:pt x="52" y="4"/>
                      </a:lnTo>
                      <a:lnTo>
                        <a:pt x="42" y="2"/>
                      </a:lnTo>
                      <a:lnTo>
                        <a:pt x="42"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2" name="Freeform 6068"/>
                <p:cNvSpPr>
                  <a:spLocks/>
                </p:cNvSpPr>
                <p:nvPr/>
              </p:nvSpPr>
              <p:spPr bwMode="auto">
                <a:xfrm>
                  <a:off x="2500630" y="3244533"/>
                  <a:ext cx="157480" cy="69850"/>
                </a:xfrm>
                <a:custGeom>
                  <a:avLst/>
                  <a:gdLst/>
                  <a:ahLst/>
                  <a:cxnLst>
                    <a:cxn ang="0">
                      <a:pos x="234" y="50"/>
                    </a:cxn>
                    <a:cxn ang="0">
                      <a:pos x="222" y="46"/>
                    </a:cxn>
                    <a:cxn ang="0">
                      <a:pos x="204" y="42"/>
                    </a:cxn>
                    <a:cxn ang="0">
                      <a:pos x="210" y="38"/>
                    </a:cxn>
                    <a:cxn ang="0">
                      <a:pos x="218" y="34"/>
                    </a:cxn>
                    <a:cxn ang="0">
                      <a:pos x="200" y="32"/>
                    </a:cxn>
                    <a:cxn ang="0">
                      <a:pos x="190" y="30"/>
                    </a:cxn>
                    <a:cxn ang="0">
                      <a:pos x="184" y="16"/>
                    </a:cxn>
                    <a:cxn ang="0">
                      <a:pos x="178" y="14"/>
                    </a:cxn>
                    <a:cxn ang="0">
                      <a:pos x="158" y="8"/>
                    </a:cxn>
                    <a:cxn ang="0">
                      <a:pos x="138" y="2"/>
                    </a:cxn>
                    <a:cxn ang="0">
                      <a:pos x="132" y="4"/>
                    </a:cxn>
                    <a:cxn ang="0">
                      <a:pos x="114" y="6"/>
                    </a:cxn>
                    <a:cxn ang="0">
                      <a:pos x="104" y="10"/>
                    </a:cxn>
                    <a:cxn ang="0">
                      <a:pos x="84" y="6"/>
                    </a:cxn>
                    <a:cxn ang="0">
                      <a:pos x="60" y="0"/>
                    </a:cxn>
                    <a:cxn ang="0">
                      <a:pos x="42" y="8"/>
                    </a:cxn>
                    <a:cxn ang="0">
                      <a:pos x="46" y="16"/>
                    </a:cxn>
                    <a:cxn ang="0">
                      <a:pos x="68" y="20"/>
                    </a:cxn>
                    <a:cxn ang="0">
                      <a:pos x="72" y="34"/>
                    </a:cxn>
                    <a:cxn ang="0">
                      <a:pos x="74" y="50"/>
                    </a:cxn>
                    <a:cxn ang="0">
                      <a:pos x="90" y="66"/>
                    </a:cxn>
                    <a:cxn ang="0">
                      <a:pos x="82" y="70"/>
                    </a:cxn>
                    <a:cxn ang="0">
                      <a:pos x="68" y="74"/>
                    </a:cxn>
                    <a:cxn ang="0">
                      <a:pos x="24" y="66"/>
                    </a:cxn>
                    <a:cxn ang="0">
                      <a:pos x="4" y="68"/>
                    </a:cxn>
                    <a:cxn ang="0">
                      <a:pos x="0" y="76"/>
                    </a:cxn>
                    <a:cxn ang="0">
                      <a:pos x="4" y="82"/>
                    </a:cxn>
                    <a:cxn ang="0">
                      <a:pos x="24" y="92"/>
                    </a:cxn>
                    <a:cxn ang="0">
                      <a:pos x="30" y="96"/>
                    </a:cxn>
                    <a:cxn ang="0">
                      <a:pos x="38" y="86"/>
                    </a:cxn>
                    <a:cxn ang="0">
                      <a:pos x="58" y="90"/>
                    </a:cxn>
                    <a:cxn ang="0">
                      <a:pos x="82" y="90"/>
                    </a:cxn>
                    <a:cxn ang="0">
                      <a:pos x="102" y="90"/>
                    </a:cxn>
                    <a:cxn ang="0">
                      <a:pos x="116" y="102"/>
                    </a:cxn>
                    <a:cxn ang="0">
                      <a:pos x="126" y="110"/>
                    </a:cxn>
                    <a:cxn ang="0">
                      <a:pos x="138" y="96"/>
                    </a:cxn>
                    <a:cxn ang="0">
                      <a:pos x="150" y="78"/>
                    </a:cxn>
                    <a:cxn ang="0">
                      <a:pos x="158" y="80"/>
                    </a:cxn>
                    <a:cxn ang="0">
                      <a:pos x="166" y="88"/>
                    </a:cxn>
                    <a:cxn ang="0">
                      <a:pos x="180" y="80"/>
                    </a:cxn>
                    <a:cxn ang="0">
                      <a:pos x="208" y="74"/>
                    </a:cxn>
                    <a:cxn ang="0">
                      <a:pos x="230" y="82"/>
                    </a:cxn>
                    <a:cxn ang="0">
                      <a:pos x="242" y="82"/>
                    </a:cxn>
                    <a:cxn ang="0">
                      <a:pos x="248" y="70"/>
                    </a:cxn>
                    <a:cxn ang="0">
                      <a:pos x="244" y="62"/>
                    </a:cxn>
                  </a:cxnLst>
                  <a:rect l="0" t="0" r="r" b="b"/>
                  <a:pathLst>
                    <a:path w="248" h="110">
                      <a:moveTo>
                        <a:pt x="244" y="62"/>
                      </a:moveTo>
                      <a:lnTo>
                        <a:pt x="244" y="62"/>
                      </a:lnTo>
                      <a:lnTo>
                        <a:pt x="234" y="50"/>
                      </a:lnTo>
                      <a:lnTo>
                        <a:pt x="230" y="46"/>
                      </a:lnTo>
                      <a:lnTo>
                        <a:pt x="222" y="46"/>
                      </a:lnTo>
                      <a:lnTo>
                        <a:pt x="222" y="46"/>
                      </a:lnTo>
                      <a:lnTo>
                        <a:pt x="212" y="46"/>
                      </a:lnTo>
                      <a:lnTo>
                        <a:pt x="206" y="44"/>
                      </a:lnTo>
                      <a:lnTo>
                        <a:pt x="204" y="42"/>
                      </a:lnTo>
                      <a:lnTo>
                        <a:pt x="204" y="40"/>
                      </a:lnTo>
                      <a:lnTo>
                        <a:pt x="206" y="40"/>
                      </a:lnTo>
                      <a:lnTo>
                        <a:pt x="210" y="38"/>
                      </a:lnTo>
                      <a:lnTo>
                        <a:pt x="210" y="38"/>
                      </a:lnTo>
                      <a:lnTo>
                        <a:pt x="216" y="36"/>
                      </a:lnTo>
                      <a:lnTo>
                        <a:pt x="218" y="34"/>
                      </a:lnTo>
                      <a:lnTo>
                        <a:pt x="218" y="32"/>
                      </a:lnTo>
                      <a:lnTo>
                        <a:pt x="212" y="30"/>
                      </a:lnTo>
                      <a:lnTo>
                        <a:pt x="200" y="32"/>
                      </a:lnTo>
                      <a:lnTo>
                        <a:pt x="200" y="32"/>
                      </a:lnTo>
                      <a:lnTo>
                        <a:pt x="194" y="32"/>
                      </a:lnTo>
                      <a:lnTo>
                        <a:pt x="190" y="30"/>
                      </a:lnTo>
                      <a:lnTo>
                        <a:pt x="188" y="28"/>
                      </a:lnTo>
                      <a:lnTo>
                        <a:pt x="186" y="24"/>
                      </a:lnTo>
                      <a:lnTo>
                        <a:pt x="184" y="16"/>
                      </a:lnTo>
                      <a:lnTo>
                        <a:pt x="182" y="14"/>
                      </a:lnTo>
                      <a:lnTo>
                        <a:pt x="178" y="14"/>
                      </a:lnTo>
                      <a:lnTo>
                        <a:pt x="178" y="14"/>
                      </a:lnTo>
                      <a:lnTo>
                        <a:pt x="174" y="16"/>
                      </a:lnTo>
                      <a:lnTo>
                        <a:pt x="168" y="14"/>
                      </a:lnTo>
                      <a:lnTo>
                        <a:pt x="158" y="8"/>
                      </a:lnTo>
                      <a:lnTo>
                        <a:pt x="148" y="2"/>
                      </a:lnTo>
                      <a:lnTo>
                        <a:pt x="142" y="2"/>
                      </a:lnTo>
                      <a:lnTo>
                        <a:pt x="138" y="2"/>
                      </a:lnTo>
                      <a:lnTo>
                        <a:pt x="138" y="2"/>
                      </a:lnTo>
                      <a:lnTo>
                        <a:pt x="134" y="4"/>
                      </a:lnTo>
                      <a:lnTo>
                        <a:pt x="132" y="4"/>
                      </a:lnTo>
                      <a:lnTo>
                        <a:pt x="124" y="4"/>
                      </a:lnTo>
                      <a:lnTo>
                        <a:pt x="118" y="4"/>
                      </a:lnTo>
                      <a:lnTo>
                        <a:pt x="114" y="6"/>
                      </a:lnTo>
                      <a:lnTo>
                        <a:pt x="112" y="10"/>
                      </a:lnTo>
                      <a:lnTo>
                        <a:pt x="112" y="10"/>
                      </a:lnTo>
                      <a:lnTo>
                        <a:pt x="104" y="10"/>
                      </a:lnTo>
                      <a:lnTo>
                        <a:pt x="98" y="10"/>
                      </a:lnTo>
                      <a:lnTo>
                        <a:pt x="92" y="10"/>
                      </a:lnTo>
                      <a:lnTo>
                        <a:pt x="84" y="6"/>
                      </a:lnTo>
                      <a:lnTo>
                        <a:pt x="84" y="6"/>
                      </a:lnTo>
                      <a:lnTo>
                        <a:pt x="74" y="2"/>
                      </a:lnTo>
                      <a:lnTo>
                        <a:pt x="60" y="0"/>
                      </a:lnTo>
                      <a:lnTo>
                        <a:pt x="48" y="2"/>
                      </a:lnTo>
                      <a:lnTo>
                        <a:pt x="44" y="4"/>
                      </a:lnTo>
                      <a:lnTo>
                        <a:pt x="42" y="8"/>
                      </a:lnTo>
                      <a:lnTo>
                        <a:pt x="42" y="8"/>
                      </a:lnTo>
                      <a:lnTo>
                        <a:pt x="42" y="14"/>
                      </a:lnTo>
                      <a:lnTo>
                        <a:pt x="46" y="16"/>
                      </a:lnTo>
                      <a:lnTo>
                        <a:pt x="56" y="18"/>
                      </a:lnTo>
                      <a:lnTo>
                        <a:pt x="68" y="20"/>
                      </a:lnTo>
                      <a:lnTo>
                        <a:pt x="68" y="20"/>
                      </a:lnTo>
                      <a:lnTo>
                        <a:pt x="72" y="24"/>
                      </a:lnTo>
                      <a:lnTo>
                        <a:pt x="74" y="26"/>
                      </a:lnTo>
                      <a:lnTo>
                        <a:pt x="72" y="34"/>
                      </a:lnTo>
                      <a:lnTo>
                        <a:pt x="70" y="38"/>
                      </a:lnTo>
                      <a:lnTo>
                        <a:pt x="70" y="42"/>
                      </a:lnTo>
                      <a:lnTo>
                        <a:pt x="74" y="50"/>
                      </a:lnTo>
                      <a:lnTo>
                        <a:pt x="82" y="58"/>
                      </a:lnTo>
                      <a:lnTo>
                        <a:pt x="82" y="58"/>
                      </a:lnTo>
                      <a:lnTo>
                        <a:pt x="90" y="66"/>
                      </a:lnTo>
                      <a:lnTo>
                        <a:pt x="90" y="68"/>
                      </a:lnTo>
                      <a:lnTo>
                        <a:pt x="88" y="68"/>
                      </a:lnTo>
                      <a:lnTo>
                        <a:pt x="82" y="70"/>
                      </a:lnTo>
                      <a:lnTo>
                        <a:pt x="76" y="70"/>
                      </a:lnTo>
                      <a:lnTo>
                        <a:pt x="76" y="70"/>
                      </a:lnTo>
                      <a:lnTo>
                        <a:pt x="68" y="74"/>
                      </a:lnTo>
                      <a:lnTo>
                        <a:pt x="56" y="72"/>
                      </a:lnTo>
                      <a:lnTo>
                        <a:pt x="34" y="68"/>
                      </a:lnTo>
                      <a:lnTo>
                        <a:pt x="24" y="66"/>
                      </a:lnTo>
                      <a:lnTo>
                        <a:pt x="14" y="64"/>
                      </a:lnTo>
                      <a:lnTo>
                        <a:pt x="6" y="66"/>
                      </a:lnTo>
                      <a:lnTo>
                        <a:pt x="4" y="68"/>
                      </a:lnTo>
                      <a:lnTo>
                        <a:pt x="2" y="70"/>
                      </a:lnTo>
                      <a:lnTo>
                        <a:pt x="2" y="70"/>
                      </a:lnTo>
                      <a:lnTo>
                        <a:pt x="0" y="76"/>
                      </a:lnTo>
                      <a:lnTo>
                        <a:pt x="0" y="78"/>
                      </a:lnTo>
                      <a:lnTo>
                        <a:pt x="2" y="80"/>
                      </a:lnTo>
                      <a:lnTo>
                        <a:pt x="4" y="82"/>
                      </a:lnTo>
                      <a:lnTo>
                        <a:pt x="14" y="84"/>
                      </a:lnTo>
                      <a:lnTo>
                        <a:pt x="18" y="88"/>
                      </a:lnTo>
                      <a:lnTo>
                        <a:pt x="24" y="92"/>
                      </a:lnTo>
                      <a:lnTo>
                        <a:pt x="24" y="92"/>
                      </a:lnTo>
                      <a:lnTo>
                        <a:pt x="28" y="96"/>
                      </a:lnTo>
                      <a:lnTo>
                        <a:pt x="30" y="96"/>
                      </a:lnTo>
                      <a:lnTo>
                        <a:pt x="32" y="90"/>
                      </a:lnTo>
                      <a:lnTo>
                        <a:pt x="34" y="88"/>
                      </a:lnTo>
                      <a:lnTo>
                        <a:pt x="38" y="86"/>
                      </a:lnTo>
                      <a:lnTo>
                        <a:pt x="46" y="86"/>
                      </a:lnTo>
                      <a:lnTo>
                        <a:pt x="58" y="90"/>
                      </a:lnTo>
                      <a:lnTo>
                        <a:pt x="58" y="90"/>
                      </a:lnTo>
                      <a:lnTo>
                        <a:pt x="66" y="92"/>
                      </a:lnTo>
                      <a:lnTo>
                        <a:pt x="72" y="92"/>
                      </a:lnTo>
                      <a:lnTo>
                        <a:pt x="82" y="90"/>
                      </a:lnTo>
                      <a:lnTo>
                        <a:pt x="88" y="88"/>
                      </a:lnTo>
                      <a:lnTo>
                        <a:pt x="94" y="88"/>
                      </a:lnTo>
                      <a:lnTo>
                        <a:pt x="102" y="90"/>
                      </a:lnTo>
                      <a:lnTo>
                        <a:pt x="112" y="94"/>
                      </a:lnTo>
                      <a:lnTo>
                        <a:pt x="112" y="94"/>
                      </a:lnTo>
                      <a:lnTo>
                        <a:pt x="116" y="102"/>
                      </a:lnTo>
                      <a:lnTo>
                        <a:pt x="120" y="108"/>
                      </a:lnTo>
                      <a:lnTo>
                        <a:pt x="124" y="110"/>
                      </a:lnTo>
                      <a:lnTo>
                        <a:pt x="126" y="110"/>
                      </a:lnTo>
                      <a:lnTo>
                        <a:pt x="130" y="108"/>
                      </a:lnTo>
                      <a:lnTo>
                        <a:pt x="132" y="106"/>
                      </a:lnTo>
                      <a:lnTo>
                        <a:pt x="138" y="96"/>
                      </a:lnTo>
                      <a:lnTo>
                        <a:pt x="138" y="96"/>
                      </a:lnTo>
                      <a:lnTo>
                        <a:pt x="144" y="86"/>
                      </a:lnTo>
                      <a:lnTo>
                        <a:pt x="150" y="78"/>
                      </a:lnTo>
                      <a:lnTo>
                        <a:pt x="156" y="76"/>
                      </a:lnTo>
                      <a:lnTo>
                        <a:pt x="158" y="78"/>
                      </a:lnTo>
                      <a:lnTo>
                        <a:pt x="158" y="80"/>
                      </a:lnTo>
                      <a:lnTo>
                        <a:pt x="158" y="80"/>
                      </a:lnTo>
                      <a:lnTo>
                        <a:pt x="162" y="86"/>
                      </a:lnTo>
                      <a:lnTo>
                        <a:pt x="166" y="88"/>
                      </a:lnTo>
                      <a:lnTo>
                        <a:pt x="172" y="86"/>
                      </a:lnTo>
                      <a:lnTo>
                        <a:pt x="180" y="80"/>
                      </a:lnTo>
                      <a:lnTo>
                        <a:pt x="180" y="80"/>
                      </a:lnTo>
                      <a:lnTo>
                        <a:pt x="186" y="76"/>
                      </a:lnTo>
                      <a:lnTo>
                        <a:pt x="192" y="74"/>
                      </a:lnTo>
                      <a:lnTo>
                        <a:pt x="208" y="74"/>
                      </a:lnTo>
                      <a:lnTo>
                        <a:pt x="222" y="76"/>
                      </a:lnTo>
                      <a:lnTo>
                        <a:pt x="230" y="82"/>
                      </a:lnTo>
                      <a:lnTo>
                        <a:pt x="230" y="82"/>
                      </a:lnTo>
                      <a:lnTo>
                        <a:pt x="234" y="84"/>
                      </a:lnTo>
                      <a:lnTo>
                        <a:pt x="238" y="84"/>
                      </a:lnTo>
                      <a:lnTo>
                        <a:pt x="242" y="82"/>
                      </a:lnTo>
                      <a:lnTo>
                        <a:pt x="246" y="78"/>
                      </a:lnTo>
                      <a:lnTo>
                        <a:pt x="248" y="74"/>
                      </a:lnTo>
                      <a:lnTo>
                        <a:pt x="248" y="70"/>
                      </a:lnTo>
                      <a:lnTo>
                        <a:pt x="248" y="66"/>
                      </a:lnTo>
                      <a:lnTo>
                        <a:pt x="244" y="62"/>
                      </a:lnTo>
                      <a:lnTo>
                        <a:pt x="244" y="6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3" name="Freeform 6069"/>
                <p:cNvSpPr>
                  <a:spLocks/>
                </p:cNvSpPr>
                <p:nvPr/>
              </p:nvSpPr>
              <p:spPr bwMode="auto">
                <a:xfrm>
                  <a:off x="2730500" y="3300413"/>
                  <a:ext cx="6350" cy="3810"/>
                </a:xfrm>
                <a:custGeom>
                  <a:avLst/>
                  <a:gdLst/>
                  <a:ahLst/>
                  <a:cxnLst>
                    <a:cxn ang="0">
                      <a:pos x="0" y="4"/>
                    </a:cxn>
                    <a:cxn ang="0">
                      <a:pos x="0" y="4"/>
                    </a:cxn>
                    <a:cxn ang="0">
                      <a:pos x="2" y="6"/>
                    </a:cxn>
                    <a:cxn ang="0">
                      <a:pos x="6" y="4"/>
                    </a:cxn>
                    <a:cxn ang="0">
                      <a:pos x="8" y="4"/>
                    </a:cxn>
                    <a:cxn ang="0">
                      <a:pos x="10" y="2"/>
                    </a:cxn>
                    <a:cxn ang="0">
                      <a:pos x="10" y="2"/>
                    </a:cxn>
                    <a:cxn ang="0">
                      <a:pos x="8" y="0"/>
                    </a:cxn>
                    <a:cxn ang="0">
                      <a:pos x="4" y="0"/>
                    </a:cxn>
                    <a:cxn ang="0">
                      <a:pos x="0" y="2"/>
                    </a:cxn>
                    <a:cxn ang="0">
                      <a:pos x="0" y="4"/>
                    </a:cxn>
                    <a:cxn ang="0">
                      <a:pos x="0" y="4"/>
                    </a:cxn>
                  </a:cxnLst>
                  <a:rect l="0" t="0" r="r" b="b"/>
                  <a:pathLst>
                    <a:path w="10" h="6">
                      <a:moveTo>
                        <a:pt x="0" y="4"/>
                      </a:moveTo>
                      <a:lnTo>
                        <a:pt x="0" y="4"/>
                      </a:lnTo>
                      <a:lnTo>
                        <a:pt x="2" y="6"/>
                      </a:lnTo>
                      <a:lnTo>
                        <a:pt x="6" y="4"/>
                      </a:lnTo>
                      <a:lnTo>
                        <a:pt x="8" y="4"/>
                      </a:lnTo>
                      <a:lnTo>
                        <a:pt x="10" y="2"/>
                      </a:lnTo>
                      <a:lnTo>
                        <a:pt x="10" y="2"/>
                      </a:lnTo>
                      <a:lnTo>
                        <a:pt x="8" y="0"/>
                      </a:lnTo>
                      <a:lnTo>
                        <a:pt x="4" y="0"/>
                      </a:lnTo>
                      <a:lnTo>
                        <a:pt x="0" y="2"/>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4" name="Freeform 6070"/>
                <p:cNvSpPr>
                  <a:spLocks/>
                </p:cNvSpPr>
                <p:nvPr/>
              </p:nvSpPr>
              <p:spPr bwMode="auto">
                <a:xfrm>
                  <a:off x="2747010" y="3313113"/>
                  <a:ext cx="7620" cy="3810"/>
                </a:xfrm>
                <a:custGeom>
                  <a:avLst/>
                  <a:gdLst/>
                  <a:ahLst/>
                  <a:cxnLst>
                    <a:cxn ang="0">
                      <a:pos x="0" y="4"/>
                    </a:cxn>
                    <a:cxn ang="0">
                      <a:pos x="0" y="4"/>
                    </a:cxn>
                    <a:cxn ang="0">
                      <a:pos x="0" y="4"/>
                    </a:cxn>
                    <a:cxn ang="0">
                      <a:pos x="2" y="6"/>
                    </a:cxn>
                    <a:cxn ang="0">
                      <a:pos x="6" y="4"/>
                    </a:cxn>
                    <a:cxn ang="0">
                      <a:pos x="10" y="2"/>
                    </a:cxn>
                    <a:cxn ang="0">
                      <a:pos x="12" y="0"/>
                    </a:cxn>
                    <a:cxn ang="0">
                      <a:pos x="10" y="0"/>
                    </a:cxn>
                    <a:cxn ang="0">
                      <a:pos x="10" y="0"/>
                    </a:cxn>
                    <a:cxn ang="0">
                      <a:pos x="4" y="0"/>
                    </a:cxn>
                    <a:cxn ang="0">
                      <a:pos x="0" y="0"/>
                    </a:cxn>
                    <a:cxn ang="0">
                      <a:pos x="0" y="4"/>
                    </a:cxn>
                    <a:cxn ang="0">
                      <a:pos x="0" y="4"/>
                    </a:cxn>
                  </a:cxnLst>
                  <a:rect l="0" t="0" r="r" b="b"/>
                  <a:pathLst>
                    <a:path w="12" h="6">
                      <a:moveTo>
                        <a:pt x="0" y="4"/>
                      </a:moveTo>
                      <a:lnTo>
                        <a:pt x="0" y="4"/>
                      </a:lnTo>
                      <a:lnTo>
                        <a:pt x="0" y="4"/>
                      </a:lnTo>
                      <a:lnTo>
                        <a:pt x="2" y="6"/>
                      </a:lnTo>
                      <a:lnTo>
                        <a:pt x="6" y="4"/>
                      </a:lnTo>
                      <a:lnTo>
                        <a:pt x="10" y="2"/>
                      </a:lnTo>
                      <a:lnTo>
                        <a:pt x="12" y="0"/>
                      </a:lnTo>
                      <a:lnTo>
                        <a:pt x="10" y="0"/>
                      </a:lnTo>
                      <a:lnTo>
                        <a:pt x="10" y="0"/>
                      </a:lnTo>
                      <a:lnTo>
                        <a:pt x="4" y="0"/>
                      </a:lnTo>
                      <a:lnTo>
                        <a:pt x="0" y="0"/>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5" name="Freeform 6071"/>
                <p:cNvSpPr>
                  <a:spLocks/>
                </p:cNvSpPr>
                <p:nvPr/>
              </p:nvSpPr>
              <p:spPr bwMode="auto">
                <a:xfrm>
                  <a:off x="2401570" y="3290253"/>
                  <a:ext cx="55880" cy="24130"/>
                </a:xfrm>
                <a:custGeom>
                  <a:avLst/>
                  <a:gdLst/>
                  <a:ahLst/>
                  <a:cxnLst>
                    <a:cxn ang="0">
                      <a:pos x="50" y="4"/>
                    </a:cxn>
                    <a:cxn ang="0">
                      <a:pos x="50" y="4"/>
                    </a:cxn>
                    <a:cxn ang="0">
                      <a:pos x="32" y="0"/>
                    </a:cxn>
                    <a:cxn ang="0">
                      <a:pos x="20" y="0"/>
                    </a:cxn>
                    <a:cxn ang="0">
                      <a:pos x="10" y="2"/>
                    </a:cxn>
                    <a:cxn ang="0">
                      <a:pos x="4" y="10"/>
                    </a:cxn>
                    <a:cxn ang="0">
                      <a:pos x="4" y="10"/>
                    </a:cxn>
                    <a:cxn ang="0">
                      <a:pos x="2" y="12"/>
                    </a:cxn>
                    <a:cxn ang="0">
                      <a:pos x="0" y="14"/>
                    </a:cxn>
                    <a:cxn ang="0">
                      <a:pos x="12" y="18"/>
                    </a:cxn>
                    <a:cxn ang="0">
                      <a:pos x="12" y="18"/>
                    </a:cxn>
                    <a:cxn ang="0">
                      <a:pos x="18" y="22"/>
                    </a:cxn>
                    <a:cxn ang="0">
                      <a:pos x="20" y="26"/>
                    </a:cxn>
                    <a:cxn ang="0">
                      <a:pos x="24" y="32"/>
                    </a:cxn>
                    <a:cxn ang="0">
                      <a:pos x="38" y="36"/>
                    </a:cxn>
                    <a:cxn ang="0">
                      <a:pos x="38" y="36"/>
                    </a:cxn>
                    <a:cxn ang="0">
                      <a:pos x="50" y="38"/>
                    </a:cxn>
                    <a:cxn ang="0">
                      <a:pos x="52" y="38"/>
                    </a:cxn>
                    <a:cxn ang="0">
                      <a:pos x="54" y="36"/>
                    </a:cxn>
                    <a:cxn ang="0">
                      <a:pos x="56" y="32"/>
                    </a:cxn>
                    <a:cxn ang="0">
                      <a:pos x="58" y="30"/>
                    </a:cxn>
                    <a:cxn ang="0">
                      <a:pos x="62" y="30"/>
                    </a:cxn>
                    <a:cxn ang="0">
                      <a:pos x="62" y="30"/>
                    </a:cxn>
                    <a:cxn ang="0">
                      <a:pos x="72" y="30"/>
                    </a:cxn>
                    <a:cxn ang="0">
                      <a:pos x="82" y="32"/>
                    </a:cxn>
                    <a:cxn ang="0">
                      <a:pos x="86" y="32"/>
                    </a:cxn>
                    <a:cxn ang="0">
                      <a:pos x="88" y="30"/>
                    </a:cxn>
                    <a:cxn ang="0">
                      <a:pos x="88" y="28"/>
                    </a:cxn>
                    <a:cxn ang="0">
                      <a:pos x="88" y="28"/>
                    </a:cxn>
                    <a:cxn ang="0">
                      <a:pos x="84" y="20"/>
                    </a:cxn>
                    <a:cxn ang="0">
                      <a:pos x="76" y="14"/>
                    </a:cxn>
                    <a:cxn ang="0">
                      <a:pos x="66" y="8"/>
                    </a:cxn>
                    <a:cxn ang="0">
                      <a:pos x="50" y="4"/>
                    </a:cxn>
                    <a:cxn ang="0">
                      <a:pos x="50" y="4"/>
                    </a:cxn>
                  </a:cxnLst>
                  <a:rect l="0" t="0" r="r" b="b"/>
                  <a:pathLst>
                    <a:path w="88" h="38">
                      <a:moveTo>
                        <a:pt x="50" y="4"/>
                      </a:moveTo>
                      <a:lnTo>
                        <a:pt x="50" y="4"/>
                      </a:lnTo>
                      <a:lnTo>
                        <a:pt x="32" y="0"/>
                      </a:lnTo>
                      <a:lnTo>
                        <a:pt x="20" y="0"/>
                      </a:lnTo>
                      <a:lnTo>
                        <a:pt x="10" y="2"/>
                      </a:lnTo>
                      <a:lnTo>
                        <a:pt x="4" y="10"/>
                      </a:lnTo>
                      <a:lnTo>
                        <a:pt x="4" y="10"/>
                      </a:lnTo>
                      <a:lnTo>
                        <a:pt x="2" y="12"/>
                      </a:lnTo>
                      <a:lnTo>
                        <a:pt x="0" y="14"/>
                      </a:lnTo>
                      <a:lnTo>
                        <a:pt x="12" y="18"/>
                      </a:lnTo>
                      <a:lnTo>
                        <a:pt x="12" y="18"/>
                      </a:lnTo>
                      <a:lnTo>
                        <a:pt x="18" y="22"/>
                      </a:lnTo>
                      <a:lnTo>
                        <a:pt x="20" y="26"/>
                      </a:lnTo>
                      <a:lnTo>
                        <a:pt x="24" y="32"/>
                      </a:lnTo>
                      <a:lnTo>
                        <a:pt x="38" y="36"/>
                      </a:lnTo>
                      <a:lnTo>
                        <a:pt x="38" y="36"/>
                      </a:lnTo>
                      <a:lnTo>
                        <a:pt x="50" y="38"/>
                      </a:lnTo>
                      <a:lnTo>
                        <a:pt x="52" y="38"/>
                      </a:lnTo>
                      <a:lnTo>
                        <a:pt x="54" y="36"/>
                      </a:lnTo>
                      <a:lnTo>
                        <a:pt x="56" y="32"/>
                      </a:lnTo>
                      <a:lnTo>
                        <a:pt x="58" y="30"/>
                      </a:lnTo>
                      <a:lnTo>
                        <a:pt x="62" y="30"/>
                      </a:lnTo>
                      <a:lnTo>
                        <a:pt x="62" y="30"/>
                      </a:lnTo>
                      <a:lnTo>
                        <a:pt x="72" y="30"/>
                      </a:lnTo>
                      <a:lnTo>
                        <a:pt x="82" y="32"/>
                      </a:lnTo>
                      <a:lnTo>
                        <a:pt x="86" y="32"/>
                      </a:lnTo>
                      <a:lnTo>
                        <a:pt x="88" y="30"/>
                      </a:lnTo>
                      <a:lnTo>
                        <a:pt x="88" y="28"/>
                      </a:lnTo>
                      <a:lnTo>
                        <a:pt x="88" y="28"/>
                      </a:lnTo>
                      <a:lnTo>
                        <a:pt x="84" y="20"/>
                      </a:lnTo>
                      <a:lnTo>
                        <a:pt x="76" y="14"/>
                      </a:lnTo>
                      <a:lnTo>
                        <a:pt x="66" y="8"/>
                      </a:lnTo>
                      <a:lnTo>
                        <a:pt x="50" y="4"/>
                      </a:lnTo>
                      <a:lnTo>
                        <a:pt x="5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6" name="Freeform 6072"/>
                <p:cNvSpPr>
                  <a:spLocks/>
                </p:cNvSpPr>
                <p:nvPr/>
              </p:nvSpPr>
              <p:spPr bwMode="auto">
                <a:xfrm>
                  <a:off x="2849880" y="3513773"/>
                  <a:ext cx="8890" cy="7620"/>
                </a:xfrm>
                <a:custGeom>
                  <a:avLst/>
                  <a:gdLst/>
                  <a:ahLst/>
                  <a:cxnLst>
                    <a:cxn ang="0">
                      <a:pos x="14" y="2"/>
                    </a:cxn>
                    <a:cxn ang="0">
                      <a:pos x="14" y="2"/>
                    </a:cxn>
                    <a:cxn ang="0">
                      <a:pos x="14" y="2"/>
                    </a:cxn>
                    <a:cxn ang="0">
                      <a:pos x="14" y="0"/>
                    </a:cxn>
                    <a:cxn ang="0">
                      <a:pos x="8" y="2"/>
                    </a:cxn>
                    <a:cxn ang="0">
                      <a:pos x="4" y="4"/>
                    </a:cxn>
                    <a:cxn ang="0">
                      <a:pos x="0" y="10"/>
                    </a:cxn>
                    <a:cxn ang="0">
                      <a:pos x="0" y="10"/>
                    </a:cxn>
                    <a:cxn ang="0">
                      <a:pos x="2" y="12"/>
                    </a:cxn>
                    <a:cxn ang="0">
                      <a:pos x="2" y="12"/>
                    </a:cxn>
                    <a:cxn ang="0">
                      <a:pos x="6" y="10"/>
                    </a:cxn>
                    <a:cxn ang="0">
                      <a:pos x="10" y="8"/>
                    </a:cxn>
                    <a:cxn ang="0">
                      <a:pos x="14" y="2"/>
                    </a:cxn>
                    <a:cxn ang="0">
                      <a:pos x="14" y="2"/>
                    </a:cxn>
                  </a:cxnLst>
                  <a:rect l="0" t="0" r="r" b="b"/>
                  <a:pathLst>
                    <a:path w="14" h="12">
                      <a:moveTo>
                        <a:pt x="14" y="2"/>
                      </a:moveTo>
                      <a:lnTo>
                        <a:pt x="14" y="2"/>
                      </a:lnTo>
                      <a:lnTo>
                        <a:pt x="14" y="2"/>
                      </a:lnTo>
                      <a:lnTo>
                        <a:pt x="14" y="0"/>
                      </a:lnTo>
                      <a:lnTo>
                        <a:pt x="8" y="2"/>
                      </a:lnTo>
                      <a:lnTo>
                        <a:pt x="4" y="4"/>
                      </a:lnTo>
                      <a:lnTo>
                        <a:pt x="0" y="10"/>
                      </a:lnTo>
                      <a:lnTo>
                        <a:pt x="0" y="10"/>
                      </a:lnTo>
                      <a:lnTo>
                        <a:pt x="2" y="12"/>
                      </a:lnTo>
                      <a:lnTo>
                        <a:pt x="2" y="12"/>
                      </a:lnTo>
                      <a:lnTo>
                        <a:pt x="6" y="10"/>
                      </a:lnTo>
                      <a:lnTo>
                        <a:pt x="10" y="8"/>
                      </a:lnTo>
                      <a:lnTo>
                        <a:pt x="14" y="2"/>
                      </a:lnTo>
                      <a:lnTo>
                        <a:pt x="14"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7" name="Freeform 6073"/>
                <p:cNvSpPr>
                  <a:spLocks/>
                </p:cNvSpPr>
                <p:nvPr/>
              </p:nvSpPr>
              <p:spPr bwMode="auto">
                <a:xfrm>
                  <a:off x="2282190" y="3181033"/>
                  <a:ext cx="13970" cy="15240"/>
                </a:xfrm>
                <a:custGeom>
                  <a:avLst/>
                  <a:gdLst/>
                  <a:ahLst/>
                  <a:cxnLst>
                    <a:cxn ang="0">
                      <a:pos x="6" y="0"/>
                    </a:cxn>
                    <a:cxn ang="0">
                      <a:pos x="6" y="0"/>
                    </a:cxn>
                    <a:cxn ang="0">
                      <a:pos x="2" y="2"/>
                    </a:cxn>
                    <a:cxn ang="0">
                      <a:pos x="0" y="4"/>
                    </a:cxn>
                    <a:cxn ang="0">
                      <a:pos x="0" y="8"/>
                    </a:cxn>
                    <a:cxn ang="0">
                      <a:pos x="0" y="14"/>
                    </a:cxn>
                    <a:cxn ang="0">
                      <a:pos x="2" y="18"/>
                    </a:cxn>
                    <a:cxn ang="0">
                      <a:pos x="6" y="22"/>
                    </a:cxn>
                    <a:cxn ang="0">
                      <a:pos x="12" y="24"/>
                    </a:cxn>
                    <a:cxn ang="0">
                      <a:pos x="18" y="24"/>
                    </a:cxn>
                    <a:cxn ang="0">
                      <a:pos x="18" y="24"/>
                    </a:cxn>
                    <a:cxn ang="0">
                      <a:pos x="22" y="22"/>
                    </a:cxn>
                    <a:cxn ang="0">
                      <a:pos x="22" y="18"/>
                    </a:cxn>
                    <a:cxn ang="0">
                      <a:pos x="20" y="10"/>
                    </a:cxn>
                    <a:cxn ang="0">
                      <a:pos x="12" y="2"/>
                    </a:cxn>
                    <a:cxn ang="0">
                      <a:pos x="10" y="0"/>
                    </a:cxn>
                    <a:cxn ang="0">
                      <a:pos x="6" y="0"/>
                    </a:cxn>
                    <a:cxn ang="0">
                      <a:pos x="6" y="0"/>
                    </a:cxn>
                  </a:cxnLst>
                  <a:rect l="0" t="0" r="r" b="b"/>
                  <a:pathLst>
                    <a:path w="22" h="24">
                      <a:moveTo>
                        <a:pt x="6" y="0"/>
                      </a:moveTo>
                      <a:lnTo>
                        <a:pt x="6" y="0"/>
                      </a:lnTo>
                      <a:lnTo>
                        <a:pt x="2" y="2"/>
                      </a:lnTo>
                      <a:lnTo>
                        <a:pt x="0" y="4"/>
                      </a:lnTo>
                      <a:lnTo>
                        <a:pt x="0" y="8"/>
                      </a:lnTo>
                      <a:lnTo>
                        <a:pt x="0" y="14"/>
                      </a:lnTo>
                      <a:lnTo>
                        <a:pt x="2" y="18"/>
                      </a:lnTo>
                      <a:lnTo>
                        <a:pt x="6" y="22"/>
                      </a:lnTo>
                      <a:lnTo>
                        <a:pt x="12" y="24"/>
                      </a:lnTo>
                      <a:lnTo>
                        <a:pt x="18" y="24"/>
                      </a:lnTo>
                      <a:lnTo>
                        <a:pt x="18" y="24"/>
                      </a:lnTo>
                      <a:lnTo>
                        <a:pt x="22" y="22"/>
                      </a:lnTo>
                      <a:lnTo>
                        <a:pt x="22" y="18"/>
                      </a:lnTo>
                      <a:lnTo>
                        <a:pt x="20" y="10"/>
                      </a:lnTo>
                      <a:lnTo>
                        <a:pt x="12" y="2"/>
                      </a:lnTo>
                      <a:lnTo>
                        <a:pt x="10" y="0"/>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8" name="Freeform 6075"/>
                <p:cNvSpPr>
                  <a:spLocks/>
                </p:cNvSpPr>
                <p:nvPr/>
              </p:nvSpPr>
              <p:spPr bwMode="auto">
                <a:xfrm>
                  <a:off x="2759710" y="3521393"/>
                  <a:ext cx="15240" cy="7620"/>
                </a:xfrm>
                <a:custGeom>
                  <a:avLst/>
                  <a:gdLst/>
                  <a:ahLst/>
                  <a:cxnLst>
                    <a:cxn ang="0">
                      <a:pos x="16" y="2"/>
                    </a:cxn>
                    <a:cxn ang="0">
                      <a:pos x="16" y="2"/>
                    </a:cxn>
                    <a:cxn ang="0">
                      <a:pos x="14" y="4"/>
                    </a:cxn>
                    <a:cxn ang="0">
                      <a:pos x="12" y="6"/>
                    </a:cxn>
                    <a:cxn ang="0">
                      <a:pos x="6" y="4"/>
                    </a:cxn>
                    <a:cxn ang="0">
                      <a:pos x="4" y="2"/>
                    </a:cxn>
                    <a:cxn ang="0">
                      <a:pos x="2" y="4"/>
                    </a:cxn>
                    <a:cxn ang="0">
                      <a:pos x="0" y="6"/>
                    </a:cxn>
                    <a:cxn ang="0">
                      <a:pos x="0" y="6"/>
                    </a:cxn>
                    <a:cxn ang="0">
                      <a:pos x="0" y="10"/>
                    </a:cxn>
                    <a:cxn ang="0">
                      <a:pos x="2" y="10"/>
                    </a:cxn>
                    <a:cxn ang="0">
                      <a:pos x="8" y="10"/>
                    </a:cxn>
                    <a:cxn ang="0">
                      <a:pos x="8" y="10"/>
                    </a:cxn>
                    <a:cxn ang="0">
                      <a:pos x="14" y="12"/>
                    </a:cxn>
                    <a:cxn ang="0">
                      <a:pos x="20" y="12"/>
                    </a:cxn>
                    <a:cxn ang="0">
                      <a:pos x="24" y="10"/>
                    </a:cxn>
                    <a:cxn ang="0">
                      <a:pos x="24" y="10"/>
                    </a:cxn>
                    <a:cxn ang="0">
                      <a:pos x="24" y="6"/>
                    </a:cxn>
                    <a:cxn ang="0">
                      <a:pos x="24" y="2"/>
                    </a:cxn>
                    <a:cxn ang="0">
                      <a:pos x="20" y="0"/>
                    </a:cxn>
                    <a:cxn ang="0">
                      <a:pos x="16" y="2"/>
                    </a:cxn>
                    <a:cxn ang="0">
                      <a:pos x="16" y="2"/>
                    </a:cxn>
                  </a:cxnLst>
                  <a:rect l="0" t="0" r="r" b="b"/>
                  <a:pathLst>
                    <a:path w="24" h="12">
                      <a:moveTo>
                        <a:pt x="16" y="2"/>
                      </a:moveTo>
                      <a:lnTo>
                        <a:pt x="16" y="2"/>
                      </a:lnTo>
                      <a:lnTo>
                        <a:pt x="14" y="4"/>
                      </a:lnTo>
                      <a:lnTo>
                        <a:pt x="12" y="6"/>
                      </a:lnTo>
                      <a:lnTo>
                        <a:pt x="6" y="4"/>
                      </a:lnTo>
                      <a:lnTo>
                        <a:pt x="4" y="2"/>
                      </a:lnTo>
                      <a:lnTo>
                        <a:pt x="2" y="4"/>
                      </a:lnTo>
                      <a:lnTo>
                        <a:pt x="0" y="6"/>
                      </a:lnTo>
                      <a:lnTo>
                        <a:pt x="0" y="6"/>
                      </a:lnTo>
                      <a:lnTo>
                        <a:pt x="0" y="10"/>
                      </a:lnTo>
                      <a:lnTo>
                        <a:pt x="2" y="10"/>
                      </a:lnTo>
                      <a:lnTo>
                        <a:pt x="8" y="10"/>
                      </a:lnTo>
                      <a:lnTo>
                        <a:pt x="8" y="10"/>
                      </a:lnTo>
                      <a:lnTo>
                        <a:pt x="14" y="12"/>
                      </a:lnTo>
                      <a:lnTo>
                        <a:pt x="20" y="12"/>
                      </a:lnTo>
                      <a:lnTo>
                        <a:pt x="24" y="10"/>
                      </a:lnTo>
                      <a:lnTo>
                        <a:pt x="24" y="10"/>
                      </a:lnTo>
                      <a:lnTo>
                        <a:pt x="24" y="6"/>
                      </a:lnTo>
                      <a:lnTo>
                        <a:pt x="24" y="2"/>
                      </a:lnTo>
                      <a:lnTo>
                        <a:pt x="20" y="0"/>
                      </a:lnTo>
                      <a:lnTo>
                        <a:pt x="16" y="2"/>
                      </a:lnTo>
                      <a:lnTo>
                        <a:pt x="1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9" name="Freeform 6076"/>
                <p:cNvSpPr>
                  <a:spLocks/>
                </p:cNvSpPr>
                <p:nvPr/>
              </p:nvSpPr>
              <p:spPr bwMode="auto">
                <a:xfrm>
                  <a:off x="2325370" y="3263583"/>
                  <a:ext cx="7620" cy="2540"/>
                </a:xfrm>
                <a:custGeom>
                  <a:avLst/>
                  <a:gdLst/>
                  <a:ahLst/>
                  <a:cxnLst>
                    <a:cxn ang="0">
                      <a:pos x="0" y="4"/>
                    </a:cxn>
                    <a:cxn ang="0">
                      <a:pos x="0" y="4"/>
                    </a:cxn>
                    <a:cxn ang="0">
                      <a:pos x="6" y="4"/>
                    </a:cxn>
                    <a:cxn ang="0">
                      <a:pos x="12" y="2"/>
                    </a:cxn>
                    <a:cxn ang="0">
                      <a:pos x="12" y="2"/>
                    </a:cxn>
                    <a:cxn ang="0">
                      <a:pos x="12" y="2"/>
                    </a:cxn>
                    <a:cxn ang="0">
                      <a:pos x="10" y="0"/>
                    </a:cxn>
                    <a:cxn ang="0">
                      <a:pos x="6" y="0"/>
                    </a:cxn>
                    <a:cxn ang="0">
                      <a:pos x="2" y="0"/>
                    </a:cxn>
                    <a:cxn ang="0">
                      <a:pos x="0" y="2"/>
                    </a:cxn>
                    <a:cxn ang="0">
                      <a:pos x="0" y="4"/>
                    </a:cxn>
                    <a:cxn ang="0">
                      <a:pos x="0" y="4"/>
                    </a:cxn>
                  </a:cxnLst>
                  <a:rect l="0" t="0" r="r" b="b"/>
                  <a:pathLst>
                    <a:path w="12" h="4">
                      <a:moveTo>
                        <a:pt x="0" y="4"/>
                      </a:moveTo>
                      <a:lnTo>
                        <a:pt x="0" y="4"/>
                      </a:lnTo>
                      <a:lnTo>
                        <a:pt x="6" y="4"/>
                      </a:lnTo>
                      <a:lnTo>
                        <a:pt x="12" y="2"/>
                      </a:lnTo>
                      <a:lnTo>
                        <a:pt x="12" y="2"/>
                      </a:lnTo>
                      <a:lnTo>
                        <a:pt x="12" y="2"/>
                      </a:lnTo>
                      <a:lnTo>
                        <a:pt x="10" y="0"/>
                      </a:lnTo>
                      <a:lnTo>
                        <a:pt x="6" y="0"/>
                      </a:lnTo>
                      <a:lnTo>
                        <a:pt x="2" y="0"/>
                      </a:lnTo>
                      <a:lnTo>
                        <a:pt x="0" y="2"/>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0" name="Freeform 6077"/>
                <p:cNvSpPr>
                  <a:spLocks/>
                </p:cNvSpPr>
                <p:nvPr/>
              </p:nvSpPr>
              <p:spPr bwMode="auto">
                <a:xfrm>
                  <a:off x="2757170" y="2330133"/>
                  <a:ext cx="60960" cy="38100"/>
                </a:xfrm>
                <a:custGeom>
                  <a:avLst/>
                  <a:gdLst/>
                  <a:ahLst/>
                  <a:cxnLst>
                    <a:cxn ang="0">
                      <a:pos x="94" y="28"/>
                    </a:cxn>
                    <a:cxn ang="0">
                      <a:pos x="94" y="28"/>
                    </a:cxn>
                    <a:cxn ang="0">
                      <a:pos x="84" y="28"/>
                    </a:cxn>
                    <a:cxn ang="0">
                      <a:pos x="70" y="28"/>
                    </a:cxn>
                    <a:cxn ang="0">
                      <a:pos x="50" y="28"/>
                    </a:cxn>
                    <a:cxn ang="0">
                      <a:pos x="40" y="28"/>
                    </a:cxn>
                    <a:cxn ang="0">
                      <a:pos x="32" y="26"/>
                    </a:cxn>
                    <a:cxn ang="0">
                      <a:pos x="32" y="26"/>
                    </a:cxn>
                    <a:cxn ang="0">
                      <a:pos x="24" y="22"/>
                    </a:cxn>
                    <a:cxn ang="0">
                      <a:pos x="20" y="16"/>
                    </a:cxn>
                    <a:cxn ang="0">
                      <a:pos x="16" y="10"/>
                    </a:cxn>
                    <a:cxn ang="0">
                      <a:pos x="16" y="4"/>
                    </a:cxn>
                    <a:cxn ang="0">
                      <a:pos x="14" y="2"/>
                    </a:cxn>
                    <a:cxn ang="0">
                      <a:pos x="14" y="0"/>
                    </a:cxn>
                    <a:cxn ang="0">
                      <a:pos x="10" y="2"/>
                    </a:cxn>
                    <a:cxn ang="0">
                      <a:pos x="6" y="8"/>
                    </a:cxn>
                    <a:cxn ang="0">
                      <a:pos x="6" y="8"/>
                    </a:cxn>
                    <a:cxn ang="0">
                      <a:pos x="0" y="18"/>
                    </a:cxn>
                    <a:cxn ang="0">
                      <a:pos x="0" y="20"/>
                    </a:cxn>
                    <a:cxn ang="0">
                      <a:pos x="2" y="22"/>
                    </a:cxn>
                    <a:cxn ang="0">
                      <a:pos x="6" y="22"/>
                    </a:cxn>
                    <a:cxn ang="0">
                      <a:pos x="8" y="24"/>
                    </a:cxn>
                    <a:cxn ang="0">
                      <a:pos x="8" y="28"/>
                    </a:cxn>
                    <a:cxn ang="0">
                      <a:pos x="8" y="28"/>
                    </a:cxn>
                    <a:cxn ang="0">
                      <a:pos x="8" y="32"/>
                    </a:cxn>
                    <a:cxn ang="0">
                      <a:pos x="10" y="34"/>
                    </a:cxn>
                    <a:cxn ang="0">
                      <a:pos x="14" y="34"/>
                    </a:cxn>
                    <a:cxn ang="0">
                      <a:pos x="22" y="34"/>
                    </a:cxn>
                    <a:cxn ang="0">
                      <a:pos x="24" y="36"/>
                    </a:cxn>
                    <a:cxn ang="0">
                      <a:pos x="28" y="38"/>
                    </a:cxn>
                    <a:cxn ang="0">
                      <a:pos x="28" y="38"/>
                    </a:cxn>
                    <a:cxn ang="0">
                      <a:pos x="34" y="44"/>
                    </a:cxn>
                    <a:cxn ang="0">
                      <a:pos x="40" y="46"/>
                    </a:cxn>
                    <a:cxn ang="0">
                      <a:pos x="52" y="50"/>
                    </a:cxn>
                    <a:cxn ang="0">
                      <a:pos x="74" y="58"/>
                    </a:cxn>
                    <a:cxn ang="0">
                      <a:pos x="74" y="58"/>
                    </a:cxn>
                    <a:cxn ang="0">
                      <a:pos x="78" y="60"/>
                    </a:cxn>
                    <a:cxn ang="0">
                      <a:pos x="82" y="58"/>
                    </a:cxn>
                    <a:cxn ang="0">
                      <a:pos x="82" y="54"/>
                    </a:cxn>
                    <a:cxn ang="0">
                      <a:pos x="82" y="46"/>
                    </a:cxn>
                    <a:cxn ang="0">
                      <a:pos x="82" y="46"/>
                    </a:cxn>
                    <a:cxn ang="0">
                      <a:pos x="82" y="40"/>
                    </a:cxn>
                    <a:cxn ang="0">
                      <a:pos x="84" y="38"/>
                    </a:cxn>
                    <a:cxn ang="0">
                      <a:pos x="90" y="32"/>
                    </a:cxn>
                    <a:cxn ang="0">
                      <a:pos x="94" y="30"/>
                    </a:cxn>
                    <a:cxn ang="0">
                      <a:pos x="96" y="30"/>
                    </a:cxn>
                    <a:cxn ang="0">
                      <a:pos x="94" y="28"/>
                    </a:cxn>
                    <a:cxn ang="0">
                      <a:pos x="94" y="28"/>
                    </a:cxn>
                  </a:cxnLst>
                  <a:rect l="0" t="0" r="r" b="b"/>
                  <a:pathLst>
                    <a:path w="96" h="60">
                      <a:moveTo>
                        <a:pt x="94" y="28"/>
                      </a:moveTo>
                      <a:lnTo>
                        <a:pt x="94" y="28"/>
                      </a:lnTo>
                      <a:lnTo>
                        <a:pt x="84" y="28"/>
                      </a:lnTo>
                      <a:lnTo>
                        <a:pt x="70" y="28"/>
                      </a:lnTo>
                      <a:lnTo>
                        <a:pt x="50" y="28"/>
                      </a:lnTo>
                      <a:lnTo>
                        <a:pt x="40" y="28"/>
                      </a:lnTo>
                      <a:lnTo>
                        <a:pt x="32" y="26"/>
                      </a:lnTo>
                      <a:lnTo>
                        <a:pt x="32" y="26"/>
                      </a:lnTo>
                      <a:lnTo>
                        <a:pt x="24" y="22"/>
                      </a:lnTo>
                      <a:lnTo>
                        <a:pt x="20" y="16"/>
                      </a:lnTo>
                      <a:lnTo>
                        <a:pt x="16" y="10"/>
                      </a:lnTo>
                      <a:lnTo>
                        <a:pt x="16" y="4"/>
                      </a:lnTo>
                      <a:lnTo>
                        <a:pt x="14" y="2"/>
                      </a:lnTo>
                      <a:lnTo>
                        <a:pt x="14" y="0"/>
                      </a:lnTo>
                      <a:lnTo>
                        <a:pt x="10" y="2"/>
                      </a:lnTo>
                      <a:lnTo>
                        <a:pt x="6" y="8"/>
                      </a:lnTo>
                      <a:lnTo>
                        <a:pt x="6" y="8"/>
                      </a:lnTo>
                      <a:lnTo>
                        <a:pt x="0" y="18"/>
                      </a:lnTo>
                      <a:lnTo>
                        <a:pt x="0" y="20"/>
                      </a:lnTo>
                      <a:lnTo>
                        <a:pt x="2" y="22"/>
                      </a:lnTo>
                      <a:lnTo>
                        <a:pt x="6" y="22"/>
                      </a:lnTo>
                      <a:lnTo>
                        <a:pt x="8" y="24"/>
                      </a:lnTo>
                      <a:lnTo>
                        <a:pt x="8" y="28"/>
                      </a:lnTo>
                      <a:lnTo>
                        <a:pt x="8" y="28"/>
                      </a:lnTo>
                      <a:lnTo>
                        <a:pt x="8" y="32"/>
                      </a:lnTo>
                      <a:lnTo>
                        <a:pt x="10" y="34"/>
                      </a:lnTo>
                      <a:lnTo>
                        <a:pt x="14" y="34"/>
                      </a:lnTo>
                      <a:lnTo>
                        <a:pt x="22" y="34"/>
                      </a:lnTo>
                      <a:lnTo>
                        <a:pt x="24" y="36"/>
                      </a:lnTo>
                      <a:lnTo>
                        <a:pt x="28" y="38"/>
                      </a:lnTo>
                      <a:lnTo>
                        <a:pt x="28" y="38"/>
                      </a:lnTo>
                      <a:lnTo>
                        <a:pt x="34" y="44"/>
                      </a:lnTo>
                      <a:lnTo>
                        <a:pt x="40" y="46"/>
                      </a:lnTo>
                      <a:lnTo>
                        <a:pt x="52" y="50"/>
                      </a:lnTo>
                      <a:lnTo>
                        <a:pt x="74" y="58"/>
                      </a:lnTo>
                      <a:lnTo>
                        <a:pt x="74" y="58"/>
                      </a:lnTo>
                      <a:lnTo>
                        <a:pt x="78" y="60"/>
                      </a:lnTo>
                      <a:lnTo>
                        <a:pt x="82" y="58"/>
                      </a:lnTo>
                      <a:lnTo>
                        <a:pt x="82" y="54"/>
                      </a:lnTo>
                      <a:lnTo>
                        <a:pt x="82" y="46"/>
                      </a:lnTo>
                      <a:lnTo>
                        <a:pt x="82" y="46"/>
                      </a:lnTo>
                      <a:lnTo>
                        <a:pt x="82" y="40"/>
                      </a:lnTo>
                      <a:lnTo>
                        <a:pt x="84" y="38"/>
                      </a:lnTo>
                      <a:lnTo>
                        <a:pt x="90" y="32"/>
                      </a:lnTo>
                      <a:lnTo>
                        <a:pt x="94" y="30"/>
                      </a:lnTo>
                      <a:lnTo>
                        <a:pt x="96" y="30"/>
                      </a:lnTo>
                      <a:lnTo>
                        <a:pt x="94" y="28"/>
                      </a:lnTo>
                      <a:lnTo>
                        <a:pt x="94" y="2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1" name="Freeform 6078"/>
                <p:cNvSpPr>
                  <a:spLocks/>
                </p:cNvSpPr>
                <p:nvPr/>
              </p:nvSpPr>
              <p:spPr bwMode="auto">
                <a:xfrm>
                  <a:off x="2833370" y="2327593"/>
                  <a:ext cx="44450" cy="55880"/>
                </a:xfrm>
                <a:custGeom>
                  <a:avLst/>
                  <a:gdLst/>
                  <a:ahLst/>
                  <a:cxnLst>
                    <a:cxn ang="0">
                      <a:pos x="60" y="48"/>
                    </a:cxn>
                    <a:cxn ang="0">
                      <a:pos x="60" y="48"/>
                    </a:cxn>
                    <a:cxn ang="0">
                      <a:pos x="50" y="46"/>
                    </a:cxn>
                    <a:cxn ang="0">
                      <a:pos x="48" y="44"/>
                    </a:cxn>
                    <a:cxn ang="0">
                      <a:pos x="46" y="42"/>
                    </a:cxn>
                    <a:cxn ang="0">
                      <a:pos x="44" y="32"/>
                    </a:cxn>
                    <a:cxn ang="0">
                      <a:pos x="46" y="18"/>
                    </a:cxn>
                    <a:cxn ang="0">
                      <a:pos x="46" y="18"/>
                    </a:cxn>
                    <a:cxn ang="0">
                      <a:pos x="46" y="6"/>
                    </a:cxn>
                    <a:cxn ang="0">
                      <a:pos x="44" y="2"/>
                    </a:cxn>
                    <a:cxn ang="0">
                      <a:pos x="42" y="0"/>
                    </a:cxn>
                    <a:cxn ang="0">
                      <a:pos x="40" y="2"/>
                    </a:cxn>
                    <a:cxn ang="0">
                      <a:pos x="36" y="4"/>
                    </a:cxn>
                    <a:cxn ang="0">
                      <a:pos x="24" y="18"/>
                    </a:cxn>
                    <a:cxn ang="0">
                      <a:pos x="24" y="18"/>
                    </a:cxn>
                    <a:cxn ang="0">
                      <a:pos x="12" y="34"/>
                    </a:cxn>
                    <a:cxn ang="0">
                      <a:pos x="4" y="48"/>
                    </a:cxn>
                    <a:cxn ang="0">
                      <a:pos x="2" y="56"/>
                    </a:cxn>
                    <a:cxn ang="0">
                      <a:pos x="0" y="64"/>
                    </a:cxn>
                    <a:cxn ang="0">
                      <a:pos x="0" y="72"/>
                    </a:cxn>
                    <a:cxn ang="0">
                      <a:pos x="4" y="82"/>
                    </a:cxn>
                    <a:cxn ang="0">
                      <a:pos x="4" y="82"/>
                    </a:cxn>
                    <a:cxn ang="0">
                      <a:pos x="8" y="88"/>
                    </a:cxn>
                    <a:cxn ang="0">
                      <a:pos x="10" y="88"/>
                    </a:cxn>
                    <a:cxn ang="0">
                      <a:pos x="12" y="88"/>
                    </a:cxn>
                    <a:cxn ang="0">
                      <a:pos x="16" y="82"/>
                    </a:cxn>
                    <a:cxn ang="0">
                      <a:pos x="20" y="70"/>
                    </a:cxn>
                    <a:cxn ang="0">
                      <a:pos x="20" y="70"/>
                    </a:cxn>
                    <a:cxn ang="0">
                      <a:pos x="24" y="58"/>
                    </a:cxn>
                    <a:cxn ang="0">
                      <a:pos x="28" y="56"/>
                    </a:cxn>
                    <a:cxn ang="0">
                      <a:pos x="30" y="54"/>
                    </a:cxn>
                    <a:cxn ang="0">
                      <a:pos x="30" y="56"/>
                    </a:cxn>
                    <a:cxn ang="0">
                      <a:pos x="32" y="58"/>
                    </a:cxn>
                    <a:cxn ang="0">
                      <a:pos x="30" y="72"/>
                    </a:cxn>
                    <a:cxn ang="0">
                      <a:pos x="30" y="72"/>
                    </a:cxn>
                    <a:cxn ang="0">
                      <a:pos x="28" y="84"/>
                    </a:cxn>
                    <a:cxn ang="0">
                      <a:pos x="30" y="86"/>
                    </a:cxn>
                    <a:cxn ang="0">
                      <a:pos x="32" y="86"/>
                    </a:cxn>
                    <a:cxn ang="0">
                      <a:pos x="40" y="82"/>
                    </a:cxn>
                    <a:cxn ang="0">
                      <a:pos x="50" y="76"/>
                    </a:cxn>
                    <a:cxn ang="0">
                      <a:pos x="50" y="76"/>
                    </a:cxn>
                    <a:cxn ang="0">
                      <a:pos x="60" y="68"/>
                    </a:cxn>
                    <a:cxn ang="0">
                      <a:pos x="68" y="60"/>
                    </a:cxn>
                    <a:cxn ang="0">
                      <a:pos x="70" y="56"/>
                    </a:cxn>
                    <a:cxn ang="0">
                      <a:pos x="68" y="52"/>
                    </a:cxn>
                    <a:cxn ang="0">
                      <a:pos x="66" y="50"/>
                    </a:cxn>
                    <a:cxn ang="0">
                      <a:pos x="60" y="48"/>
                    </a:cxn>
                    <a:cxn ang="0">
                      <a:pos x="60" y="48"/>
                    </a:cxn>
                  </a:cxnLst>
                  <a:rect l="0" t="0" r="r" b="b"/>
                  <a:pathLst>
                    <a:path w="70" h="88">
                      <a:moveTo>
                        <a:pt x="60" y="48"/>
                      </a:moveTo>
                      <a:lnTo>
                        <a:pt x="60" y="48"/>
                      </a:lnTo>
                      <a:lnTo>
                        <a:pt x="50" y="46"/>
                      </a:lnTo>
                      <a:lnTo>
                        <a:pt x="48" y="44"/>
                      </a:lnTo>
                      <a:lnTo>
                        <a:pt x="46" y="42"/>
                      </a:lnTo>
                      <a:lnTo>
                        <a:pt x="44" y="32"/>
                      </a:lnTo>
                      <a:lnTo>
                        <a:pt x="46" y="18"/>
                      </a:lnTo>
                      <a:lnTo>
                        <a:pt x="46" y="18"/>
                      </a:lnTo>
                      <a:lnTo>
                        <a:pt x="46" y="6"/>
                      </a:lnTo>
                      <a:lnTo>
                        <a:pt x="44" y="2"/>
                      </a:lnTo>
                      <a:lnTo>
                        <a:pt x="42" y="0"/>
                      </a:lnTo>
                      <a:lnTo>
                        <a:pt x="40" y="2"/>
                      </a:lnTo>
                      <a:lnTo>
                        <a:pt x="36" y="4"/>
                      </a:lnTo>
                      <a:lnTo>
                        <a:pt x="24" y="18"/>
                      </a:lnTo>
                      <a:lnTo>
                        <a:pt x="24" y="18"/>
                      </a:lnTo>
                      <a:lnTo>
                        <a:pt x="12" y="34"/>
                      </a:lnTo>
                      <a:lnTo>
                        <a:pt x="4" y="48"/>
                      </a:lnTo>
                      <a:lnTo>
                        <a:pt x="2" y="56"/>
                      </a:lnTo>
                      <a:lnTo>
                        <a:pt x="0" y="64"/>
                      </a:lnTo>
                      <a:lnTo>
                        <a:pt x="0" y="72"/>
                      </a:lnTo>
                      <a:lnTo>
                        <a:pt x="4" y="82"/>
                      </a:lnTo>
                      <a:lnTo>
                        <a:pt x="4" y="82"/>
                      </a:lnTo>
                      <a:lnTo>
                        <a:pt x="8" y="88"/>
                      </a:lnTo>
                      <a:lnTo>
                        <a:pt x="10" y="88"/>
                      </a:lnTo>
                      <a:lnTo>
                        <a:pt x="12" y="88"/>
                      </a:lnTo>
                      <a:lnTo>
                        <a:pt x="16" y="82"/>
                      </a:lnTo>
                      <a:lnTo>
                        <a:pt x="20" y="70"/>
                      </a:lnTo>
                      <a:lnTo>
                        <a:pt x="20" y="70"/>
                      </a:lnTo>
                      <a:lnTo>
                        <a:pt x="24" y="58"/>
                      </a:lnTo>
                      <a:lnTo>
                        <a:pt x="28" y="56"/>
                      </a:lnTo>
                      <a:lnTo>
                        <a:pt x="30" y="54"/>
                      </a:lnTo>
                      <a:lnTo>
                        <a:pt x="30" y="56"/>
                      </a:lnTo>
                      <a:lnTo>
                        <a:pt x="32" y="58"/>
                      </a:lnTo>
                      <a:lnTo>
                        <a:pt x="30" y="72"/>
                      </a:lnTo>
                      <a:lnTo>
                        <a:pt x="30" y="72"/>
                      </a:lnTo>
                      <a:lnTo>
                        <a:pt x="28" y="84"/>
                      </a:lnTo>
                      <a:lnTo>
                        <a:pt x="30" y="86"/>
                      </a:lnTo>
                      <a:lnTo>
                        <a:pt x="32" y="86"/>
                      </a:lnTo>
                      <a:lnTo>
                        <a:pt x="40" y="82"/>
                      </a:lnTo>
                      <a:lnTo>
                        <a:pt x="50" y="76"/>
                      </a:lnTo>
                      <a:lnTo>
                        <a:pt x="50" y="76"/>
                      </a:lnTo>
                      <a:lnTo>
                        <a:pt x="60" y="68"/>
                      </a:lnTo>
                      <a:lnTo>
                        <a:pt x="68" y="60"/>
                      </a:lnTo>
                      <a:lnTo>
                        <a:pt x="70" y="56"/>
                      </a:lnTo>
                      <a:lnTo>
                        <a:pt x="68" y="52"/>
                      </a:lnTo>
                      <a:lnTo>
                        <a:pt x="66" y="50"/>
                      </a:lnTo>
                      <a:lnTo>
                        <a:pt x="60" y="48"/>
                      </a:lnTo>
                      <a:lnTo>
                        <a:pt x="60" y="4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2" name="Freeform 6079"/>
                <p:cNvSpPr>
                  <a:spLocks/>
                </p:cNvSpPr>
                <p:nvPr/>
              </p:nvSpPr>
              <p:spPr bwMode="auto">
                <a:xfrm>
                  <a:off x="2753360" y="2219643"/>
                  <a:ext cx="73660" cy="34290"/>
                </a:xfrm>
                <a:custGeom>
                  <a:avLst/>
                  <a:gdLst/>
                  <a:ahLst/>
                  <a:cxnLst>
                    <a:cxn ang="0">
                      <a:pos x="116" y="48"/>
                    </a:cxn>
                    <a:cxn ang="0">
                      <a:pos x="116" y="48"/>
                    </a:cxn>
                    <a:cxn ang="0">
                      <a:pos x="116" y="46"/>
                    </a:cxn>
                    <a:cxn ang="0">
                      <a:pos x="116" y="42"/>
                    </a:cxn>
                    <a:cxn ang="0">
                      <a:pos x="112" y="36"/>
                    </a:cxn>
                    <a:cxn ang="0">
                      <a:pos x="104" y="30"/>
                    </a:cxn>
                    <a:cxn ang="0">
                      <a:pos x="92" y="24"/>
                    </a:cxn>
                    <a:cxn ang="0">
                      <a:pos x="78" y="16"/>
                    </a:cxn>
                    <a:cxn ang="0">
                      <a:pos x="62" y="10"/>
                    </a:cxn>
                    <a:cxn ang="0">
                      <a:pos x="44" y="6"/>
                    </a:cxn>
                    <a:cxn ang="0">
                      <a:pos x="24" y="2"/>
                    </a:cxn>
                    <a:cxn ang="0">
                      <a:pos x="24" y="2"/>
                    </a:cxn>
                    <a:cxn ang="0">
                      <a:pos x="10" y="0"/>
                    </a:cxn>
                    <a:cxn ang="0">
                      <a:pos x="2" y="0"/>
                    </a:cxn>
                    <a:cxn ang="0">
                      <a:pos x="0" y="2"/>
                    </a:cxn>
                    <a:cxn ang="0">
                      <a:pos x="0" y="2"/>
                    </a:cxn>
                    <a:cxn ang="0">
                      <a:pos x="4" y="6"/>
                    </a:cxn>
                    <a:cxn ang="0">
                      <a:pos x="18" y="14"/>
                    </a:cxn>
                    <a:cxn ang="0">
                      <a:pos x="32" y="24"/>
                    </a:cxn>
                    <a:cxn ang="0">
                      <a:pos x="32" y="24"/>
                    </a:cxn>
                    <a:cxn ang="0">
                      <a:pos x="52" y="38"/>
                    </a:cxn>
                    <a:cxn ang="0">
                      <a:pos x="76" y="48"/>
                    </a:cxn>
                    <a:cxn ang="0">
                      <a:pos x="90" y="52"/>
                    </a:cxn>
                    <a:cxn ang="0">
                      <a:pos x="100" y="54"/>
                    </a:cxn>
                    <a:cxn ang="0">
                      <a:pos x="110" y="52"/>
                    </a:cxn>
                    <a:cxn ang="0">
                      <a:pos x="114" y="50"/>
                    </a:cxn>
                    <a:cxn ang="0">
                      <a:pos x="116" y="48"/>
                    </a:cxn>
                    <a:cxn ang="0">
                      <a:pos x="116" y="48"/>
                    </a:cxn>
                  </a:cxnLst>
                  <a:rect l="0" t="0" r="r" b="b"/>
                  <a:pathLst>
                    <a:path w="116" h="54">
                      <a:moveTo>
                        <a:pt x="116" y="48"/>
                      </a:moveTo>
                      <a:lnTo>
                        <a:pt x="116" y="48"/>
                      </a:lnTo>
                      <a:lnTo>
                        <a:pt x="116" y="46"/>
                      </a:lnTo>
                      <a:lnTo>
                        <a:pt x="116" y="42"/>
                      </a:lnTo>
                      <a:lnTo>
                        <a:pt x="112" y="36"/>
                      </a:lnTo>
                      <a:lnTo>
                        <a:pt x="104" y="30"/>
                      </a:lnTo>
                      <a:lnTo>
                        <a:pt x="92" y="24"/>
                      </a:lnTo>
                      <a:lnTo>
                        <a:pt x="78" y="16"/>
                      </a:lnTo>
                      <a:lnTo>
                        <a:pt x="62" y="10"/>
                      </a:lnTo>
                      <a:lnTo>
                        <a:pt x="44" y="6"/>
                      </a:lnTo>
                      <a:lnTo>
                        <a:pt x="24" y="2"/>
                      </a:lnTo>
                      <a:lnTo>
                        <a:pt x="24" y="2"/>
                      </a:lnTo>
                      <a:lnTo>
                        <a:pt x="10" y="0"/>
                      </a:lnTo>
                      <a:lnTo>
                        <a:pt x="2" y="0"/>
                      </a:lnTo>
                      <a:lnTo>
                        <a:pt x="0" y="2"/>
                      </a:lnTo>
                      <a:lnTo>
                        <a:pt x="0" y="2"/>
                      </a:lnTo>
                      <a:lnTo>
                        <a:pt x="4" y="6"/>
                      </a:lnTo>
                      <a:lnTo>
                        <a:pt x="18" y="14"/>
                      </a:lnTo>
                      <a:lnTo>
                        <a:pt x="32" y="24"/>
                      </a:lnTo>
                      <a:lnTo>
                        <a:pt x="32" y="24"/>
                      </a:lnTo>
                      <a:lnTo>
                        <a:pt x="52" y="38"/>
                      </a:lnTo>
                      <a:lnTo>
                        <a:pt x="76" y="48"/>
                      </a:lnTo>
                      <a:lnTo>
                        <a:pt x="90" y="52"/>
                      </a:lnTo>
                      <a:lnTo>
                        <a:pt x="100" y="54"/>
                      </a:lnTo>
                      <a:lnTo>
                        <a:pt x="110" y="52"/>
                      </a:lnTo>
                      <a:lnTo>
                        <a:pt x="114" y="50"/>
                      </a:lnTo>
                      <a:lnTo>
                        <a:pt x="116" y="48"/>
                      </a:lnTo>
                      <a:lnTo>
                        <a:pt x="116" y="4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3" name="Freeform 6080"/>
                <p:cNvSpPr>
                  <a:spLocks/>
                </p:cNvSpPr>
                <p:nvPr/>
              </p:nvSpPr>
              <p:spPr bwMode="auto">
                <a:xfrm>
                  <a:off x="2852420" y="3488373"/>
                  <a:ext cx="10160" cy="11430"/>
                </a:xfrm>
                <a:custGeom>
                  <a:avLst/>
                  <a:gdLst/>
                  <a:ahLst/>
                  <a:cxnLst>
                    <a:cxn ang="0">
                      <a:pos x="2" y="0"/>
                    </a:cxn>
                    <a:cxn ang="0">
                      <a:pos x="2" y="0"/>
                    </a:cxn>
                    <a:cxn ang="0">
                      <a:pos x="0" y="0"/>
                    </a:cxn>
                    <a:cxn ang="0">
                      <a:pos x="0" y="4"/>
                    </a:cxn>
                    <a:cxn ang="0">
                      <a:pos x="0" y="10"/>
                    </a:cxn>
                    <a:cxn ang="0">
                      <a:pos x="0" y="14"/>
                    </a:cxn>
                    <a:cxn ang="0">
                      <a:pos x="4" y="16"/>
                    </a:cxn>
                    <a:cxn ang="0">
                      <a:pos x="8" y="18"/>
                    </a:cxn>
                    <a:cxn ang="0">
                      <a:pos x="12" y="18"/>
                    </a:cxn>
                    <a:cxn ang="0">
                      <a:pos x="12" y="18"/>
                    </a:cxn>
                    <a:cxn ang="0">
                      <a:pos x="14" y="18"/>
                    </a:cxn>
                    <a:cxn ang="0">
                      <a:pos x="16" y="14"/>
                    </a:cxn>
                    <a:cxn ang="0">
                      <a:pos x="14" y="8"/>
                    </a:cxn>
                    <a:cxn ang="0">
                      <a:pos x="8" y="2"/>
                    </a:cxn>
                    <a:cxn ang="0">
                      <a:pos x="6" y="0"/>
                    </a:cxn>
                    <a:cxn ang="0">
                      <a:pos x="2" y="0"/>
                    </a:cxn>
                    <a:cxn ang="0">
                      <a:pos x="2" y="0"/>
                    </a:cxn>
                  </a:cxnLst>
                  <a:rect l="0" t="0" r="r" b="b"/>
                  <a:pathLst>
                    <a:path w="16" h="18">
                      <a:moveTo>
                        <a:pt x="2" y="0"/>
                      </a:moveTo>
                      <a:lnTo>
                        <a:pt x="2" y="0"/>
                      </a:lnTo>
                      <a:lnTo>
                        <a:pt x="0" y="0"/>
                      </a:lnTo>
                      <a:lnTo>
                        <a:pt x="0" y="4"/>
                      </a:lnTo>
                      <a:lnTo>
                        <a:pt x="0" y="10"/>
                      </a:lnTo>
                      <a:lnTo>
                        <a:pt x="0" y="14"/>
                      </a:lnTo>
                      <a:lnTo>
                        <a:pt x="4" y="16"/>
                      </a:lnTo>
                      <a:lnTo>
                        <a:pt x="8" y="18"/>
                      </a:lnTo>
                      <a:lnTo>
                        <a:pt x="12" y="18"/>
                      </a:lnTo>
                      <a:lnTo>
                        <a:pt x="12" y="18"/>
                      </a:lnTo>
                      <a:lnTo>
                        <a:pt x="14" y="18"/>
                      </a:lnTo>
                      <a:lnTo>
                        <a:pt x="16" y="14"/>
                      </a:lnTo>
                      <a:lnTo>
                        <a:pt x="14" y="8"/>
                      </a:lnTo>
                      <a:lnTo>
                        <a:pt x="8" y="2"/>
                      </a:lnTo>
                      <a:lnTo>
                        <a:pt x="6" y="0"/>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4" name="Freeform 6081"/>
                <p:cNvSpPr>
                  <a:spLocks/>
                </p:cNvSpPr>
                <p:nvPr/>
              </p:nvSpPr>
              <p:spPr bwMode="auto">
                <a:xfrm>
                  <a:off x="2805430" y="3330893"/>
                  <a:ext cx="2540" cy="3810"/>
                </a:xfrm>
                <a:custGeom>
                  <a:avLst/>
                  <a:gdLst/>
                  <a:ahLst/>
                  <a:cxnLst>
                    <a:cxn ang="0">
                      <a:pos x="0" y="0"/>
                    </a:cxn>
                    <a:cxn ang="0">
                      <a:pos x="0" y="0"/>
                    </a:cxn>
                    <a:cxn ang="0">
                      <a:pos x="0" y="6"/>
                    </a:cxn>
                    <a:cxn ang="0">
                      <a:pos x="0" y="6"/>
                    </a:cxn>
                    <a:cxn ang="0">
                      <a:pos x="2" y="4"/>
                    </a:cxn>
                    <a:cxn ang="0">
                      <a:pos x="2" y="4"/>
                    </a:cxn>
                    <a:cxn ang="0">
                      <a:pos x="4" y="4"/>
                    </a:cxn>
                    <a:cxn ang="0">
                      <a:pos x="4" y="2"/>
                    </a:cxn>
                    <a:cxn ang="0">
                      <a:pos x="2" y="0"/>
                    </a:cxn>
                    <a:cxn ang="0">
                      <a:pos x="0" y="0"/>
                    </a:cxn>
                    <a:cxn ang="0">
                      <a:pos x="0" y="0"/>
                    </a:cxn>
                  </a:cxnLst>
                  <a:rect l="0" t="0" r="r" b="b"/>
                  <a:pathLst>
                    <a:path w="4" h="6">
                      <a:moveTo>
                        <a:pt x="0" y="0"/>
                      </a:moveTo>
                      <a:lnTo>
                        <a:pt x="0" y="0"/>
                      </a:lnTo>
                      <a:lnTo>
                        <a:pt x="0" y="6"/>
                      </a:lnTo>
                      <a:lnTo>
                        <a:pt x="0" y="6"/>
                      </a:lnTo>
                      <a:lnTo>
                        <a:pt x="2" y="4"/>
                      </a:lnTo>
                      <a:lnTo>
                        <a:pt x="2" y="4"/>
                      </a:lnTo>
                      <a:lnTo>
                        <a:pt x="4" y="4"/>
                      </a:lnTo>
                      <a:lnTo>
                        <a:pt x="4" y="2"/>
                      </a:lnTo>
                      <a:lnTo>
                        <a:pt x="2" y="0"/>
                      </a:lnTo>
                      <a:lnTo>
                        <a:pt x="0" y="0"/>
                      </a:lnTo>
                      <a:lnTo>
                        <a:pt x="0"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5" name="Freeform 6082"/>
                <p:cNvSpPr>
                  <a:spLocks/>
                </p:cNvSpPr>
                <p:nvPr/>
              </p:nvSpPr>
              <p:spPr bwMode="auto">
                <a:xfrm>
                  <a:off x="2799080" y="3324543"/>
                  <a:ext cx="5080" cy="5080"/>
                </a:xfrm>
                <a:custGeom>
                  <a:avLst/>
                  <a:gdLst/>
                  <a:ahLst/>
                  <a:cxnLst>
                    <a:cxn ang="0">
                      <a:pos x="0" y="0"/>
                    </a:cxn>
                    <a:cxn ang="0">
                      <a:pos x="0" y="0"/>
                    </a:cxn>
                    <a:cxn ang="0">
                      <a:pos x="0" y="4"/>
                    </a:cxn>
                    <a:cxn ang="0">
                      <a:pos x="2" y="6"/>
                    </a:cxn>
                    <a:cxn ang="0">
                      <a:pos x="6" y="8"/>
                    </a:cxn>
                    <a:cxn ang="0">
                      <a:pos x="8" y="6"/>
                    </a:cxn>
                    <a:cxn ang="0">
                      <a:pos x="8" y="6"/>
                    </a:cxn>
                    <a:cxn ang="0">
                      <a:pos x="8" y="4"/>
                    </a:cxn>
                    <a:cxn ang="0">
                      <a:pos x="6" y="2"/>
                    </a:cxn>
                    <a:cxn ang="0">
                      <a:pos x="2" y="0"/>
                    </a:cxn>
                    <a:cxn ang="0">
                      <a:pos x="0" y="0"/>
                    </a:cxn>
                    <a:cxn ang="0">
                      <a:pos x="0" y="0"/>
                    </a:cxn>
                  </a:cxnLst>
                  <a:rect l="0" t="0" r="r" b="b"/>
                  <a:pathLst>
                    <a:path w="8" h="8">
                      <a:moveTo>
                        <a:pt x="0" y="0"/>
                      </a:moveTo>
                      <a:lnTo>
                        <a:pt x="0" y="0"/>
                      </a:lnTo>
                      <a:lnTo>
                        <a:pt x="0" y="4"/>
                      </a:lnTo>
                      <a:lnTo>
                        <a:pt x="2" y="6"/>
                      </a:lnTo>
                      <a:lnTo>
                        <a:pt x="6" y="8"/>
                      </a:lnTo>
                      <a:lnTo>
                        <a:pt x="8" y="6"/>
                      </a:lnTo>
                      <a:lnTo>
                        <a:pt x="8" y="6"/>
                      </a:lnTo>
                      <a:lnTo>
                        <a:pt x="8" y="4"/>
                      </a:lnTo>
                      <a:lnTo>
                        <a:pt x="6" y="2"/>
                      </a:lnTo>
                      <a:lnTo>
                        <a:pt x="2" y="0"/>
                      </a:lnTo>
                      <a:lnTo>
                        <a:pt x="0" y="0"/>
                      </a:lnTo>
                      <a:lnTo>
                        <a:pt x="0"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6" name="Freeform 6083"/>
                <p:cNvSpPr>
                  <a:spLocks/>
                </p:cNvSpPr>
                <p:nvPr/>
              </p:nvSpPr>
              <p:spPr bwMode="auto">
                <a:xfrm>
                  <a:off x="2814320" y="3343593"/>
                  <a:ext cx="2540" cy="5080"/>
                </a:xfrm>
                <a:custGeom>
                  <a:avLst/>
                  <a:gdLst/>
                  <a:ahLst/>
                  <a:cxnLst>
                    <a:cxn ang="0">
                      <a:pos x="2" y="0"/>
                    </a:cxn>
                    <a:cxn ang="0">
                      <a:pos x="2" y="0"/>
                    </a:cxn>
                    <a:cxn ang="0">
                      <a:pos x="0" y="2"/>
                    </a:cxn>
                    <a:cxn ang="0">
                      <a:pos x="0" y="6"/>
                    </a:cxn>
                    <a:cxn ang="0">
                      <a:pos x="2" y="8"/>
                    </a:cxn>
                    <a:cxn ang="0">
                      <a:pos x="4" y="8"/>
                    </a:cxn>
                    <a:cxn ang="0">
                      <a:pos x="4" y="8"/>
                    </a:cxn>
                    <a:cxn ang="0">
                      <a:pos x="4" y="2"/>
                    </a:cxn>
                    <a:cxn ang="0">
                      <a:pos x="4" y="0"/>
                    </a:cxn>
                    <a:cxn ang="0">
                      <a:pos x="2" y="0"/>
                    </a:cxn>
                    <a:cxn ang="0">
                      <a:pos x="2" y="0"/>
                    </a:cxn>
                  </a:cxnLst>
                  <a:rect l="0" t="0" r="r" b="b"/>
                  <a:pathLst>
                    <a:path w="4" h="8">
                      <a:moveTo>
                        <a:pt x="2" y="0"/>
                      </a:moveTo>
                      <a:lnTo>
                        <a:pt x="2" y="0"/>
                      </a:lnTo>
                      <a:lnTo>
                        <a:pt x="0" y="2"/>
                      </a:lnTo>
                      <a:lnTo>
                        <a:pt x="0" y="6"/>
                      </a:lnTo>
                      <a:lnTo>
                        <a:pt x="2" y="8"/>
                      </a:lnTo>
                      <a:lnTo>
                        <a:pt x="4" y="8"/>
                      </a:lnTo>
                      <a:lnTo>
                        <a:pt x="4" y="8"/>
                      </a:lnTo>
                      <a:lnTo>
                        <a:pt x="4" y="2"/>
                      </a:lnTo>
                      <a:lnTo>
                        <a:pt x="4" y="0"/>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7" name="Freeform 6085"/>
                <p:cNvSpPr>
                  <a:spLocks/>
                </p:cNvSpPr>
                <p:nvPr/>
              </p:nvSpPr>
              <p:spPr bwMode="auto">
                <a:xfrm>
                  <a:off x="2792730" y="3301683"/>
                  <a:ext cx="2540" cy="3810"/>
                </a:xfrm>
                <a:custGeom>
                  <a:avLst/>
                  <a:gdLst/>
                  <a:ahLst/>
                  <a:cxnLst>
                    <a:cxn ang="0">
                      <a:pos x="2" y="6"/>
                    </a:cxn>
                    <a:cxn ang="0">
                      <a:pos x="2" y="6"/>
                    </a:cxn>
                    <a:cxn ang="0">
                      <a:pos x="4" y="6"/>
                    </a:cxn>
                    <a:cxn ang="0">
                      <a:pos x="4" y="4"/>
                    </a:cxn>
                    <a:cxn ang="0">
                      <a:pos x="4" y="2"/>
                    </a:cxn>
                    <a:cxn ang="0">
                      <a:pos x="2" y="0"/>
                    </a:cxn>
                    <a:cxn ang="0">
                      <a:pos x="2" y="0"/>
                    </a:cxn>
                    <a:cxn ang="0">
                      <a:pos x="0" y="2"/>
                    </a:cxn>
                    <a:cxn ang="0">
                      <a:pos x="0" y="4"/>
                    </a:cxn>
                    <a:cxn ang="0">
                      <a:pos x="0" y="6"/>
                    </a:cxn>
                    <a:cxn ang="0">
                      <a:pos x="2" y="6"/>
                    </a:cxn>
                    <a:cxn ang="0">
                      <a:pos x="2" y="6"/>
                    </a:cxn>
                  </a:cxnLst>
                  <a:rect l="0" t="0" r="r" b="b"/>
                  <a:pathLst>
                    <a:path w="4" h="6">
                      <a:moveTo>
                        <a:pt x="2" y="6"/>
                      </a:moveTo>
                      <a:lnTo>
                        <a:pt x="2" y="6"/>
                      </a:lnTo>
                      <a:lnTo>
                        <a:pt x="4" y="6"/>
                      </a:lnTo>
                      <a:lnTo>
                        <a:pt x="4" y="4"/>
                      </a:lnTo>
                      <a:lnTo>
                        <a:pt x="4" y="2"/>
                      </a:lnTo>
                      <a:lnTo>
                        <a:pt x="2" y="0"/>
                      </a:lnTo>
                      <a:lnTo>
                        <a:pt x="2" y="0"/>
                      </a:lnTo>
                      <a:lnTo>
                        <a:pt x="0" y="2"/>
                      </a:lnTo>
                      <a:lnTo>
                        <a:pt x="0" y="4"/>
                      </a:lnTo>
                      <a:lnTo>
                        <a:pt x="0" y="6"/>
                      </a:lnTo>
                      <a:lnTo>
                        <a:pt x="2" y="6"/>
                      </a:lnTo>
                      <a:lnTo>
                        <a:pt x="2"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8" name="Freeform 6090"/>
                <p:cNvSpPr>
                  <a:spLocks/>
                </p:cNvSpPr>
                <p:nvPr/>
              </p:nvSpPr>
              <p:spPr bwMode="auto">
                <a:xfrm>
                  <a:off x="2880360" y="3452813"/>
                  <a:ext cx="6350" cy="8890"/>
                </a:xfrm>
                <a:custGeom>
                  <a:avLst/>
                  <a:gdLst/>
                  <a:ahLst/>
                  <a:cxnLst>
                    <a:cxn ang="0">
                      <a:pos x="0" y="4"/>
                    </a:cxn>
                    <a:cxn ang="0">
                      <a:pos x="0" y="4"/>
                    </a:cxn>
                    <a:cxn ang="0">
                      <a:pos x="2" y="8"/>
                    </a:cxn>
                    <a:cxn ang="0">
                      <a:pos x="4" y="12"/>
                    </a:cxn>
                    <a:cxn ang="0">
                      <a:pos x="6" y="14"/>
                    </a:cxn>
                    <a:cxn ang="0">
                      <a:pos x="8" y="12"/>
                    </a:cxn>
                    <a:cxn ang="0">
                      <a:pos x="8" y="12"/>
                    </a:cxn>
                    <a:cxn ang="0">
                      <a:pos x="10" y="10"/>
                    </a:cxn>
                    <a:cxn ang="0">
                      <a:pos x="10" y="8"/>
                    </a:cxn>
                    <a:cxn ang="0">
                      <a:pos x="6" y="2"/>
                    </a:cxn>
                    <a:cxn ang="0">
                      <a:pos x="6" y="2"/>
                    </a:cxn>
                    <a:cxn ang="0">
                      <a:pos x="2" y="0"/>
                    </a:cxn>
                    <a:cxn ang="0">
                      <a:pos x="2" y="0"/>
                    </a:cxn>
                    <a:cxn ang="0">
                      <a:pos x="0" y="4"/>
                    </a:cxn>
                    <a:cxn ang="0">
                      <a:pos x="0" y="4"/>
                    </a:cxn>
                  </a:cxnLst>
                  <a:rect l="0" t="0" r="r" b="b"/>
                  <a:pathLst>
                    <a:path w="10" h="14">
                      <a:moveTo>
                        <a:pt x="0" y="4"/>
                      </a:moveTo>
                      <a:lnTo>
                        <a:pt x="0" y="4"/>
                      </a:lnTo>
                      <a:lnTo>
                        <a:pt x="2" y="8"/>
                      </a:lnTo>
                      <a:lnTo>
                        <a:pt x="4" y="12"/>
                      </a:lnTo>
                      <a:lnTo>
                        <a:pt x="6" y="14"/>
                      </a:lnTo>
                      <a:lnTo>
                        <a:pt x="8" y="12"/>
                      </a:lnTo>
                      <a:lnTo>
                        <a:pt x="8" y="12"/>
                      </a:lnTo>
                      <a:lnTo>
                        <a:pt x="10" y="10"/>
                      </a:lnTo>
                      <a:lnTo>
                        <a:pt x="10" y="8"/>
                      </a:lnTo>
                      <a:lnTo>
                        <a:pt x="6" y="2"/>
                      </a:lnTo>
                      <a:lnTo>
                        <a:pt x="6" y="2"/>
                      </a:lnTo>
                      <a:lnTo>
                        <a:pt x="2" y="0"/>
                      </a:lnTo>
                      <a:lnTo>
                        <a:pt x="2" y="0"/>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9" name="Freeform 6093"/>
                <p:cNvSpPr>
                  <a:spLocks/>
                </p:cNvSpPr>
                <p:nvPr/>
              </p:nvSpPr>
              <p:spPr bwMode="auto">
                <a:xfrm>
                  <a:off x="2354580" y="1968183"/>
                  <a:ext cx="12700" cy="10160"/>
                </a:xfrm>
                <a:custGeom>
                  <a:avLst/>
                  <a:gdLst/>
                  <a:ahLst/>
                  <a:cxnLst>
                    <a:cxn ang="0">
                      <a:pos x="14" y="12"/>
                    </a:cxn>
                    <a:cxn ang="0">
                      <a:pos x="14" y="12"/>
                    </a:cxn>
                    <a:cxn ang="0">
                      <a:pos x="18" y="6"/>
                    </a:cxn>
                    <a:cxn ang="0">
                      <a:pos x="20" y="2"/>
                    </a:cxn>
                    <a:cxn ang="0">
                      <a:pos x="20" y="0"/>
                    </a:cxn>
                    <a:cxn ang="0">
                      <a:pos x="18" y="2"/>
                    </a:cxn>
                    <a:cxn ang="0">
                      <a:pos x="18" y="2"/>
                    </a:cxn>
                    <a:cxn ang="0">
                      <a:pos x="14" y="4"/>
                    </a:cxn>
                    <a:cxn ang="0">
                      <a:pos x="10" y="6"/>
                    </a:cxn>
                    <a:cxn ang="0">
                      <a:pos x="4" y="8"/>
                    </a:cxn>
                    <a:cxn ang="0">
                      <a:pos x="2" y="10"/>
                    </a:cxn>
                    <a:cxn ang="0">
                      <a:pos x="0" y="12"/>
                    </a:cxn>
                    <a:cxn ang="0">
                      <a:pos x="0" y="12"/>
                    </a:cxn>
                    <a:cxn ang="0">
                      <a:pos x="0" y="16"/>
                    </a:cxn>
                    <a:cxn ang="0">
                      <a:pos x="4" y="16"/>
                    </a:cxn>
                    <a:cxn ang="0">
                      <a:pos x="14" y="12"/>
                    </a:cxn>
                    <a:cxn ang="0">
                      <a:pos x="14" y="12"/>
                    </a:cxn>
                  </a:cxnLst>
                  <a:rect l="0" t="0" r="r" b="b"/>
                  <a:pathLst>
                    <a:path w="20" h="16">
                      <a:moveTo>
                        <a:pt x="14" y="12"/>
                      </a:moveTo>
                      <a:lnTo>
                        <a:pt x="14" y="12"/>
                      </a:lnTo>
                      <a:lnTo>
                        <a:pt x="18" y="6"/>
                      </a:lnTo>
                      <a:lnTo>
                        <a:pt x="20" y="2"/>
                      </a:lnTo>
                      <a:lnTo>
                        <a:pt x="20" y="0"/>
                      </a:lnTo>
                      <a:lnTo>
                        <a:pt x="18" y="2"/>
                      </a:lnTo>
                      <a:lnTo>
                        <a:pt x="18" y="2"/>
                      </a:lnTo>
                      <a:lnTo>
                        <a:pt x="14" y="4"/>
                      </a:lnTo>
                      <a:lnTo>
                        <a:pt x="10" y="6"/>
                      </a:lnTo>
                      <a:lnTo>
                        <a:pt x="4" y="8"/>
                      </a:lnTo>
                      <a:lnTo>
                        <a:pt x="2" y="10"/>
                      </a:lnTo>
                      <a:lnTo>
                        <a:pt x="0" y="12"/>
                      </a:lnTo>
                      <a:lnTo>
                        <a:pt x="0" y="12"/>
                      </a:lnTo>
                      <a:lnTo>
                        <a:pt x="0" y="16"/>
                      </a:lnTo>
                      <a:lnTo>
                        <a:pt x="4" y="16"/>
                      </a:lnTo>
                      <a:lnTo>
                        <a:pt x="14" y="12"/>
                      </a:lnTo>
                      <a:lnTo>
                        <a:pt x="14" y="1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0" name="Freeform 6095"/>
                <p:cNvSpPr>
                  <a:spLocks/>
                </p:cNvSpPr>
                <p:nvPr/>
              </p:nvSpPr>
              <p:spPr bwMode="auto">
                <a:xfrm>
                  <a:off x="2357120" y="1961833"/>
                  <a:ext cx="27940" cy="30480"/>
                </a:xfrm>
                <a:custGeom>
                  <a:avLst/>
                  <a:gdLst/>
                  <a:ahLst/>
                  <a:cxnLst>
                    <a:cxn ang="0">
                      <a:pos x="32" y="46"/>
                    </a:cxn>
                    <a:cxn ang="0">
                      <a:pos x="32" y="46"/>
                    </a:cxn>
                    <a:cxn ang="0">
                      <a:pos x="36" y="44"/>
                    </a:cxn>
                    <a:cxn ang="0">
                      <a:pos x="36" y="40"/>
                    </a:cxn>
                    <a:cxn ang="0">
                      <a:pos x="42" y="24"/>
                    </a:cxn>
                    <a:cxn ang="0">
                      <a:pos x="42" y="24"/>
                    </a:cxn>
                    <a:cxn ang="0">
                      <a:pos x="44" y="16"/>
                    </a:cxn>
                    <a:cxn ang="0">
                      <a:pos x="44" y="12"/>
                    </a:cxn>
                    <a:cxn ang="0">
                      <a:pos x="38" y="6"/>
                    </a:cxn>
                    <a:cxn ang="0">
                      <a:pos x="38" y="6"/>
                    </a:cxn>
                    <a:cxn ang="0">
                      <a:pos x="32" y="2"/>
                    </a:cxn>
                    <a:cxn ang="0">
                      <a:pos x="30" y="0"/>
                    </a:cxn>
                    <a:cxn ang="0">
                      <a:pos x="28" y="8"/>
                    </a:cxn>
                    <a:cxn ang="0">
                      <a:pos x="28" y="8"/>
                    </a:cxn>
                    <a:cxn ang="0">
                      <a:pos x="26" y="18"/>
                    </a:cxn>
                    <a:cxn ang="0">
                      <a:pos x="24" y="18"/>
                    </a:cxn>
                    <a:cxn ang="0">
                      <a:pos x="24" y="16"/>
                    </a:cxn>
                    <a:cxn ang="0">
                      <a:pos x="24" y="16"/>
                    </a:cxn>
                    <a:cxn ang="0">
                      <a:pos x="24" y="6"/>
                    </a:cxn>
                    <a:cxn ang="0">
                      <a:pos x="24" y="4"/>
                    </a:cxn>
                    <a:cxn ang="0">
                      <a:pos x="22" y="4"/>
                    </a:cxn>
                    <a:cxn ang="0">
                      <a:pos x="22" y="4"/>
                    </a:cxn>
                    <a:cxn ang="0">
                      <a:pos x="22" y="6"/>
                    </a:cxn>
                    <a:cxn ang="0">
                      <a:pos x="22" y="10"/>
                    </a:cxn>
                    <a:cxn ang="0">
                      <a:pos x="22" y="12"/>
                    </a:cxn>
                    <a:cxn ang="0">
                      <a:pos x="20" y="18"/>
                    </a:cxn>
                    <a:cxn ang="0">
                      <a:pos x="20" y="18"/>
                    </a:cxn>
                    <a:cxn ang="0">
                      <a:pos x="18" y="20"/>
                    </a:cxn>
                    <a:cxn ang="0">
                      <a:pos x="16" y="24"/>
                    </a:cxn>
                    <a:cxn ang="0">
                      <a:pos x="12" y="26"/>
                    </a:cxn>
                    <a:cxn ang="0">
                      <a:pos x="10" y="32"/>
                    </a:cxn>
                    <a:cxn ang="0">
                      <a:pos x="10" y="32"/>
                    </a:cxn>
                    <a:cxn ang="0">
                      <a:pos x="2" y="40"/>
                    </a:cxn>
                    <a:cxn ang="0">
                      <a:pos x="0" y="44"/>
                    </a:cxn>
                    <a:cxn ang="0">
                      <a:pos x="2" y="48"/>
                    </a:cxn>
                    <a:cxn ang="0">
                      <a:pos x="2" y="48"/>
                    </a:cxn>
                    <a:cxn ang="0">
                      <a:pos x="4" y="48"/>
                    </a:cxn>
                    <a:cxn ang="0">
                      <a:pos x="6" y="46"/>
                    </a:cxn>
                    <a:cxn ang="0">
                      <a:pos x="14" y="38"/>
                    </a:cxn>
                    <a:cxn ang="0">
                      <a:pos x="14" y="38"/>
                    </a:cxn>
                    <a:cxn ang="0">
                      <a:pos x="20" y="30"/>
                    </a:cxn>
                    <a:cxn ang="0">
                      <a:pos x="20" y="32"/>
                    </a:cxn>
                    <a:cxn ang="0">
                      <a:pos x="18" y="40"/>
                    </a:cxn>
                    <a:cxn ang="0">
                      <a:pos x="18" y="40"/>
                    </a:cxn>
                    <a:cxn ang="0">
                      <a:pos x="12" y="48"/>
                    </a:cxn>
                    <a:cxn ang="0">
                      <a:pos x="18" y="46"/>
                    </a:cxn>
                    <a:cxn ang="0">
                      <a:pos x="18" y="46"/>
                    </a:cxn>
                    <a:cxn ang="0">
                      <a:pos x="22" y="46"/>
                    </a:cxn>
                    <a:cxn ang="0">
                      <a:pos x="24" y="44"/>
                    </a:cxn>
                    <a:cxn ang="0">
                      <a:pos x="28" y="36"/>
                    </a:cxn>
                    <a:cxn ang="0">
                      <a:pos x="30" y="28"/>
                    </a:cxn>
                    <a:cxn ang="0">
                      <a:pos x="34" y="26"/>
                    </a:cxn>
                    <a:cxn ang="0">
                      <a:pos x="34" y="26"/>
                    </a:cxn>
                    <a:cxn ang="0">
                      <a:pos x="36" y="26"/>
                    </a:cxn>
                    <a:cxn ang="0">
                      <a:pos x="36" y="28"/>
                    </a:cxn>
                    <a:cxn ang="0">
                      <a:pos x="34" y="36"/>
                    </a:cxn>
                    <a:cxn ang="0">
                      <a:pos x="32" y="44"/>
                    </a:cxn>
                    <a:cxn ang="0">
                      <a:pos x="32" y="46"/>
                    </a:cxn>
                    <a:cxn ang="0">
                      <a:pos x="32" y="46"/>
                    </a:cxn>
                    <a:cxn ang="0">
                      <a:pos x="32" y="46"/>
                    </a:cxn>
                  </a:cxnLst>
                  <a:rect l="0" t="0" r="r" b="b"/>
                  <a:pathLst>
                    <a:path w="44" h="48">
                      <a:moveTo>
                        <a:pt x="32" y="46"/>
                      </a:moveTo>
                      <a:lnTo>
                        <a:pt x="32" y="46"/>
                      </a:lnTo>
                      <a:lnTo>
                        <a:pt x="36" y="44"/>
                      </a:lnTo>
                      <a:lnTo>
                        <a:pt x="36" y="40"/>
                      </a:lnTo>
                      <a:lnTo>
                        <a:pt x="42" y="24"/>
                      </a:lnTo>
                      <a:lnTo>
                        <a:pt x="42" y="24"/>
                      </a:lnTo>
                      <a:lnTo>
                        <a:pt x="44" y="16"/>
                      </a:lnTo>
                      <a:lnTo>
                        <a:pt x="44" y="12"/>
                      </a:lnTo>
                      <a:lnTo>
                        <a:pt x="38" y="6"/>
                      </a:lnTo>
                      <a:lnTo>
                        <a:pt x="38" y="6"/>
                      </a:lnTo>
                      <a:lnTo>
                        <a:pt x="32" y="2"/>
                      </a:lnTo>
                      <a:lnTo>
                        <a:pt x="30" y="0"/>
                      </a:lnTo>
                      <a:lnTo>
                        <a:pt x="28" y="8"/>
                      </a:lnTo>
                      <a:lnTo>
                        <a:pt x="28" y="8"/>
                      </a:lnTo>
                      <a:lnTo>
                        <a:pt x="26" y="18"/>
                      </a:lnTo>
                      <a:lnTo>
                        <a:pt x="24" y="18"/>
                      </a:lnTo>
                      <a:lnTo>
                        <a:pt x="24" y="16"/>
                      </a:lnTo>
                      <a:lnTo>
                        <a:pt x="24" y="16"/>
                      </a:lnTo>
                      <a:lnTo>
                        <a:pt x="24" y="6"/>
                      </a:lnTo>
                      <a:lnTo>
                        <a:pt x="24" y="4"/>
                      </a:lnTo>
                      <a:lnTo>
                        <a:pt x="22" y="4"/>
                      </a:lnTo>
                      <a:lnTo>
                        <a:pt x="22" y="4"/>
                      </a:lnTo>
                      <a:lnTo>
                        <a:pt x="22" y="6"/>
                      </a:lnTo>
                      <a:lnTo>
                        <a:pt x="22" y="10"/>
                      </a:lnTo>
                      <a:lnTo>
                        <a:pt x="22" y="12"/>
                      </a:lnTo>
                      <a:lnTo>
                        <a:pt x="20" y="18"/>
                      </a:lnTo>
                      <a:lnTo>
                        <a:pt x="20" y="18"/>
                      </a:lnTo>
                      <a:lnTo>
                        <a:pt x="18" y="20"/>
                      </a:lnTo>
                      <a:lnTo>
                        <a:pt x="16" y="24"/>
                      </a:lnTo>
                      <a:lnTo>
                        <a:pt x="12" y="26"/>
                      </a:lnTo>
                      <a:lnTo>
                        <a:pt x="10" y="32"/>
                      </a:lnTo>
                      <a:lnTo>
                        <a:pt x="10" y="32"/>
                      </a:lnTo>
                      <a:lnTo>
                        <a:pt x="2" y="40"/>
                      </a:lnTo>
                      <a:lnTo>
                        <a:pt x="0" y="44"/>
                      </a:lnTo>
                      <a:lnTo>
                        <a:pt x="2" y="48"/>
                      </a:lnTo>
                      <a:lnTo>
                        <a:pt x="2" y="48"/>
                      </a:lnTo>
                      <a:lnTo>
                        <a:pt x="4" y="48"/>
                      </a:lnTo>
                      <a:lnTo>
                        <a:pt x="6" y="46"/>
                      </a:lnTo>
                      <a:lnTo>
                        <a:pt x="14" y="38"/>
                      </a:lnTo>
                      <a:lnTo>
                        <a:pt x="14" y="38"/>
                      </a:lnTo>
                      <a:lnTo>
                        <a:pt x="20" y="30"/>
                      </a:lnTo>
                      <a:lnTo>
                        <a:pt x="20" y="32"/>
                      </a:lnTo>
                      <a:lnTo>
                        <a:pt x="18" y="40"/>
                      </a:lnTo>
                      <a:lnTo>
                        <a:pt x="18" y="40"/>
                      </a:lnTo>
                      <a:lnTo>
                        <a:pt x="12" y="48"/>
                      </a:lnTo>
                      <a:lnTo>
                        <a:pt x="18" y="46"/>
                      </a:lnTo>
                      <a:lnTo>
                        <a:pt x="18" y="46"/>
                      </a:lnTo>
                      <a:lnTo>
                        <a:pt x="22" y="46"/>
                      </a:lnTo>
                      <a:lnTo>
                        <a:pt x="24" y="44"/>
                      </a:lnTo>
                      <a:lnTo>
                        <a:pt x="28" y="36"/>
                      </a:lnTo>
                      <a:lnTo>
                        <a:pt x="30" y="28"/>
                      </a:lnTo>
                      <a:lnTo>
                        <a:pt x="34" y="26"/>
                      </a:lnTo>
                      <a:lnTo>
                        <a:pt x="34" y="26"/>
                      </a:lnTo>
                      <a:lnTo>
                        <a:pt x="36" y="26"/>
                      </a:lnTo>
                      <a:lnTo>
                        <a:pt x="36" y="28"/>
                      </a:lnTo>
                      <a:lnTo>
                        <a:pt x="34" y="36"/>
                      </a:lnTo>
                      <a:lnTo>
                        <a:pt x="32" y="44"/>
                      </a:lnTo>
                      <a:lnTo>
                        <a:pt x="32" y="46"/>
                      </a:lnTo>
                      <a:lnTo>
                        <a:pt x="32" y="46"/>
                      </a:lnTo>
                      <a:lnTo>
                        <a:pt x="32" y="4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1" name="Freeform 6096"/>
                <p:cNvSpPr>
                  <a:spLocks/>
                </p:cNvSpPr>
                <p:nvPr/>
              </p:nvSpPr>
              <p:spPr bwMode="auto">
                <a:xfrm>
                  <a:off x="2385060" y="1968183"/>
                  <a:ext cx="7620" cy="13970"/>
                </a:xfrm>
                <a:custGeom>
                  <a:avLst/>
                  <a:gdLst/>
                  <a:ahLst/>
                  <a:cxnLst>
                    <a:cxn ang="0">
                      <a:pos x="8" y="18"/>
                    </a:cxn>
                    <a:cxn ang="0">
                      <a:pos x="8" y="18"/>
                    </a:cxn>
                    <a:cxn ang="0">
                      <a:pos x="12" y="14"/>
                    </a:cxn>
                    <a:cxn ang="0">
                      <a:pos x="12" y="8"/>
                    </a:cxn>
                    <a:cxn ang="0">
                      <a:pos x="12" y="2"/>
                    </a:cxn>
                    <a:cxn ang="0">
                      <a:pos x="10" y="0"/>
                    </a:cxn>
                    <a:cxn ang="0">
                      <a:pos x="10" y="0"/>
                    </a:cxn>
                    <a:cxn ang="0">
                      <a:pos x="10" y="0"/>
                    </a:cxn>
                    <a:cxn ang="0">
                      <a:pos x="6" y="2"/>
                    </a:cxn>
                    <a:cxn ang="0">
                      <a:pos x="4" y="6"/>
                    </a:cxn>
                    <a:cxn ang="0">
                      <a:pos x="0" y="18"/>
                    </a:cxn>
                    <a:cxn ang="0">
                      <a:pos x="0" y="18"/>
                    </a:cxn>
                    <a:cxn ang="0">
                      <a:pos x="0" y="20"/>
                    </a:cxn>
                    <a:cxn ang="0">
                      <a:pos x="2" y="22"/>
                    </a:cxn>
                    <a:cxn ang="0">
                      <a:pos x="8" y="18"/>
                    </a:cxn>
                    <a:cxn ang="0">
                      <a:pos x="8" y="18"/>
                    </a:cxn>
                  </a:cxnLst>
                  <a:rect l="0" t="0" r="r" b="b"/>
                  <a:pathLst>
                    <a:path w="12" h="22">
                      <a:moveTo>
                        <a:pt x="8" y="18"/>
                      </a:moveTo>
                      <a:lnTo>
                        <a:pt x="8" y="18"/>
                      </a:lnTo>
                      <a:lnTo>
                        <a:pt x="12" y="14"/>
                      </a:lnTo>
                      <a:lnTo>
                        <a:pt x="12" y="8"/>
                      </a:lnTo>
                      <a:lnTo>
                        <a:pt x="12" y="2"/>
                      </a:lnTo>
                      <a:lnTo>
                        <a:pt x="10" y="0"/>
                      </a:lnTo>
                      <a:lnTo>
                        <a:pt x="10" y="0"/>
                      </a:lnTo>
                      <a:lnTo>
                        <a:pt x="10" y="0"/>
                      </a:lnTo>
                      <a:lnTo>
                        <a:pt x="6" y="2"/>
                      </a:lnTo>
                      <a:lnTo>
                        <a:pt x="4" y="6"/>
                      </a:lnTo>
                      <a:lnTo>
                        <a:pt x="0" y="18"/>
                      </a:lnTo>
                      <a:lnTo>
                        <a:pt x="0" y="18"/>
                      </a:lnTo>
                      <a:lnTo>
                        <a:pt x="0" y="20"/>
                      </a:lnTo>
                      <a:lnTo>
                        <a:pt x="2" y="22"/>
                      </a:lnTo>
                      <a:lnTo>
                        <a:pt x="8" y="18"/>
                      </a:lnTo>
                      <a:lnTo>
                        <a:pt x="8" y="1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2" name="Freeform 6097"/>
                <p:cNvSpPr>
                  <a:spLocks/>
                </p:cNvSpPr>
                <p:nvPr/>
              </p:nvSpPr>
              <p:spPr bwMode="auto">
                <a:xfrm>
                  <a:off x="2886710" y="2154873"/>
                  <a:ext cx="172720" cy="186690"/>
                </a:xfrm>
                <a:custGeom>
                  <a:avLst/>
                  <a:gdLst/>
                  <a:ahLst/>
                  <a:cxnLst>
                    <a:cxn ang="0">
                      <a:pos x="268" y="206"/>
                    </a:cxn>
                    <a:cxn ang="0">
                      <a:pos x="244" y="222"/>
                    </a:cxn>
                    <a:cxn ang="0">
                      <a:pos x="230" y="238"/>
                    </a:cxn>
                    <a:cxn ang="0">
                      <a:pos x="234" y="214"/>
                    </a:cxn>
                    <a:cxn ang="0">
                      <a:pos x="250" y="196"/>
                    </a:cxn>
                    <a:cxn ang="0">
                      <a:pos x="258" y="182"/>
                    </a:cxn>
                    <a:cxn ang="0">
                      <a:pos x="246" y="182"/>
                    </a:cxn>
                    <a:cxn ang="0">
                      <a:pos x="224" y="180"/>
                    </a:cxn>
                    <a:cxn ang="0">
                      <a:pos x="230" y="158"/>
                    </a:cxn>
                    <a:cxn ang="0">
                      <a:pos x="236" y="140"/>
                    </a:cxn>
                    <a:cxn ang="0">
                      <a:pos x="200" y="130"/>
                    </a:cxn>
                    <a:cxn ang="0">
                      <a:pos x="170" y="138"/>
                    </a:cxn>
                    <a:cxn ang="0">
                      <a:pos x="168" y="130"/>
                    </a:cxn>
                    <a:cxn ang="0">
                      <a:pos x="150" y="130"/>
                    </a:cxn>
                    <a:cxn ang="0">
                      <a:pos x="140" y="118"/>
                    </a:cxn>
                    <a:cxn ang="0">
                      <a:pos x="150" y="106"/>
                    </a:cxn>
                    <a:cxn ang="0">
                      <a:pos x="148" y="94"/>
                    </a:cxn>
                    <a:cxn ang="0">
                      <a:pos x="118" y="102"/>
                    </a:cxn>
                    <a:cxn ang="0">
                      <a:pos x="106" y="108"/>
                    </a:cxn>
                    <a:cxn ang="0">
                      <a:pos x="130" y="64"/>
                    </a:cxn>
                    <a:cxn ang="0">
                      <a:pos x="156" y="18"/>
                    </a:cxn>
                    <a:cxn ang="0">
                      <a:pos x="156" y="0"/>
                    </a:cxn>
                    <a:cxn ang="0">
                      <a:pos x="126" y="8"/>
                    </a:cxn>
                    <a:cxn ang="0">
                      <a:pos x="106" y="24"/>
                    </a:cxn>
                    <a:cxn ang="0">
                      <a:pos x="94" y="44"/>
                    </a:cxn>
                    <a:cxn ang="0">
                      <a:pos x="70" y="84"/>
                    </a:cxn>
                    <a:cxn ang="0">
                      <a:pos x="32" y="170"/>
                    </a:cxn>
                    <a:cxn ang="0">
                      <a:pos x="26" y="170"/>
                    </a:cxn>
                    <a:cxn ang="0">
                      <a:pos x="8" y="182"/>
                    </a:cxn>
                    <a:cxn ang="0">
                      <a:pos x="10" y="190"/>
                    </a:cxn>
                    <a:cxn ang="0">
                      <a:pos x="28" y="196"/>
                    </a:cxn>
                    <a:cxn ang="0">
                      <a:pos x="2" y="218"/>
                    </a:cxn>
                    <a:cxn ang="0">
                      <a:pos x="4" y="234"/>
                    </a:cxn>
                    <a:cxn ang="0">
                      <a:pos x="20" y="240"/>
                    </a:cxn>
                    <a:cxn ang="0">
                      <a:pos x="54" y="232"/>
                    </a:cxn>
                    <a:cxn ang="0">
                      <a:pos x="96" y="240"/>
                    </a:cxn>
                    <a:cxn ang="0">
                      <a:pos x="132" y="236"/>
                    </a:cxn>
                    <a:cxn ang="0">
                      <a:pos x="134" y="246"/>
                    </a:cxn>
                    <a:cxn ang="0">
                      <a:pos x="166" y="246"/>
                    </a:cxn>
                    <a:cxn ang="0">
                      <a:pos x="162" y="256"/>
                    </a:cxn>
                    <a:cxn ang="0">
                      <a:pos x="134" y="278"/>
                    </a:cxn>
                    <a:cxn ang="0">
                      <a:pos x="148" y="286"/>
                    </a:cxn>
                    <a:cxn ang="0">
                      <a:pos x="174" y="266"/>
                    </a:cxn>
                    <a:cxn ang="0">
                      <a:pos x="188" y="252"/>
                    </a:cxn>
                    <a:cxn ang="0">
                      <a:pos x="200" y="246"/>
                    </a:cxn>
                    <a:cxn ang="0">
                      <a:pos x="212" y="228"/>
                    </a:cxn>
                    <a:cxn ang="0">
                      <a:pos x="220" y="240"/>
                    </a:cxn>
                    <a:cxn ang="0">
                      <a:pos x="212" y="272"/>
                    </a:cxn>
                    <a:cxn ang="0">
                      <a:pos x="222" y="278"/>
                    </a:cxn>
                    <a:cxn ang="0">
                      <a:pos x="232" y="276"/>
                    </a:cxn>
                    <a:cxn ang="0">
                      <a:pos x="244" y="292"/>
                    </a:cxn>
                    <a:cxn ang="0">
                      <a:pos x="264" y="292"/>
                    </a:cxn>
                    <a:cxn ang="0">
                      <a:pos x="266" y="258"/>
                    </a:cxn>
                    <a:cxn ang="0">
                      <a:pos x="272" y="230"/>
                    </a:cxn>
                    <a:cxn ang="0">
                      <a:pos x="258" y="230"/>
                    </a:cxn>
                  </a:cxnLst>
                  <a:rect l="0" t="0" r="r" b="b"/>
                  <a:pathLst>
                    <a:path w="272" h="294">
                      <a:moveTo>
                        <a:pt x="262" y="218"/>
                      </a:moveTo>
                      <a:lnTo>
                        <a:pt x="262" y="218"/>
                      </a:lnTo>
                      <a:lnTo>
                        <a:pt x="266" y="210"/>
                      </a:lnTo>
                      <a:lnTo>
                        <a:pt x="268" y="206"/>
                      </a:lnTo>
                      <a:lnTo>
                        <a:pt x="266" y="204"/>
                      </a:lnTo>
                      <a:lnTo>
                        <a:pt x="262" y="206"/>
                      </a:lnTo>
                      <a:lnTo>
                        <a:pt x="250" y="216"/>
                      </a:lnTo>
                      <a:lnTo>
                        <a:pt x="244" y="222"/>
                      </a:lnTo>
                      <a:lnTo>
                        <a:pt x="238" y="230"/>
                      </a:lnTo>
                      <a:lnTo>
                        <a:pt x="238" y="230"/>
                      </a:lnTo>
                      <a:lnTo>
                        <a:pt x="234" y="236"/>
                      </a:lnTo>
                      <a:lnTo>
                        <a:pt x="230" y="238"/>
                      </a:lnTo>
                      <a:lnTo>
                        <a:pt x="228" y="234"/>
                      </a:lnTo>
                      <a:lnTo>
                        <a:pt x="228" y="228"/>
                      </a:lnTo>
                      <a:lnTo>
                        <a:pt x="230" y="222"/>
                      </a:lnTo>
                      <a:lnTo>
                        <a:pt x="234" y="214"/>
                      </a:lnTo>
                      <a:lnTo>
                        <a:pt x="238" y="206"/>
                      </a:lnTo>
                      <a:lnTo>
                        <a:pt x="244" y="200"/>
                      </a:lnTo>
                      <a:lnTo>
                        <a:pt x="244" y="200"/>
                      </a:lnTo>
                      <a:lnTo>
                        <a:pt x="250" y="196"/>
                      </a:lnTo>
                      <a:lnTo>
                        <a:pt x="256" y="192"/>
                      </a:lnTo>
                      <a:lnTo>
                        <a:pt x="258" y="188"/>
                      </a:lnTo>
                      <a:lnTo>
                        <a:pt x="258" y="186"/>
                      </a:lnTo>
                      <a:lnTo>
                        <a:pt x="258" y="182"/>
                      </a:lnTo>
                      <a:lnTo>
                        <a:pt x="256" y="182"/>
                      </a:lnTo>
                      <a:lnTo>
                        <a:pt x="252" y="182"/>
                      </a:lnTo>
                      <a:lnTo>
                        <a:pt x="246" y="182"/>
                      </a:lnTo>
                      <a:lnTo>
                        <a:pt x="246" y="182"/>
                      </a:lnTo>
                      <a:lnTo>
                        <a:pt x="240" y="184"/>
                      </a:lnTo>
                      <a:lnTo>
                        <a:pt x="234" y="184"/>
                      </a:lnTo>
                      <a:lnTo>
                        <a:pt x="228" y="182"/>
                      </a:lnTo>
                      <a:lnTo>
                        <a:pt x="224" y="180"/>
                      </a:lnTo>
                      <a:lnTo>
                        <a:pt x="222" y="174"/>
                      </a:lnTo>
                      <a:lnTo>
                        <a:pt x="222" y="170"/>
                      </a:lnTo>
                      <a:lnTo>
                        <a:pt x="224" y="164"/>
                      </a:lnTo>
                      <a:lnTo>
                        <a:pt x="230" y="158"/>
                      </a:lnTo>
                      <a:lnTo>
                        <a:pt x="230" y="158"/>
                      </a:lnTo>
                      <a:lnTo>
                        <a:pt x="236" y="152"/>
                      </a:lnTo>
                      <a:lnTo>
                        <a:pt x="238" y="146"/>
                      </a:lnTo>
                      <a:lnTo>
                        <a:pt x="236" y="140"/>
                      </a:lnTo>
                      <a:lnTo>
                        <a:pt x="230" y="136"/>
                      </a:lnTo>
                      <a:lnTo>
                        <a:pt x="222" y="132"/>
                      </a:lnTo>
                      <a:lnTo>
                        <a:pt x="212" y="130"/>
                      </a:lnTo>
                      <a:lnTo>
                        <a:pt x="200" y="130"/>
                      </a:lnTo>
                      <a:lnTo>
                        <a:pt x="186" y="134"/>
                      </a:lnTo>
                      <a:lnTo>
                        <a:pt x="186" y="134"/>
                      </a:lnTo>
                      <a:lnTo>
                        <a:pt x="176" y="136"/>
                      </a:lnTo>
                      <a:lnTo>
                        <a:pt x="170" y="138"/>
                      </a:lnTo>
                      <a:lnTo>
                        <a:pt x="168" y="136"/>
                      </a:lnTo>
                      <a:lnTo>
                        <a:pt x="168" y="134"/>
                      </a:lnTo>
                      <a:lnTo>
                        <a:pt x="168" y="132"/>
                      </a:lnTo>
                      <a:lnTo>
                        <a:pt x="168" y="130"/>
                      </a:lnTo>
                      <a:lnTo>
                        <a:pt x="164" y="128"/>
                      </a:lnTo>
                      <a:lnTo>
                        <a:pt x="158" y="130"/>
                      </a:lnTo>
                      <a:lnTo>
                        <a:pt x="158" y="130"/>
                      </a:lnTo>
                      <a:lnTo>
                        <a:pt x="150" y="130"/>
                      </a:lnTo>
                      <a:lnTo>
                        <a:pt x="144" y="130"/>
                      </a:lnTo>
                      <a:lnTo>
                        <a:pt x="142" y="126"/>
                      </a:lnTo>
                      <a:lnTo>
                        <a:pt x="140" y="122"/>
                      </a:lnTo>
                      <a:lnTo>
                        <a:pt x="140" y="118"/>
                      </a:lnTo>
                      <a:lnTo>
                        <a:pt x="142" y="112"/>
                      </a:lnTo>
                      <a:lnTo>
                        <a:pt x="146" y="108"/>
                      </a:lnTo>
                      <a:lnTo>
                        <a:pt x="150" y="106"/>
                      </a:lnTo>
                      <a:lnTo>
                        <a:pt x="150" y="106"/>
                      </a:lnTo>
                      <a:lnTo>
                        <a:pt x="154" y="104"/>
                      </a:lnTo>
                      <a:lnTo>
                        <a:pt x="154" y="102"/>
                      </a:lnTo>
                      <a:lnTo>
                        <a:pt x="152" y="98"/>
                      </a:lnTo>
                      <a:lnTo>
                        <a:pt x="148" y="94"/>
                      </a:lnTo>
                      <a:lnTo>
                        <a:pt x="142" y="92"/>
                      </a:lnTo>
                      <a:lnTo>
                        <a:pt x="136" y="92"/>
                      </a:lnTo>
                      <a:lnTo>
                        <a:pt x="128" y="96"/>
                      </a:lnTo>
                      <a:lnTo>
                        <a:pt x="118" y="102"/>
                      </a:lnTo>
                      <a:lnTo>
                        <a:pt x="118" y="102"/>
                      </a:lnTo>
                      <a:lnTo>
                        <a:pt x="110" y="110"/>
                      </a:lnTo>
                      <a:lnTo>
                        <a:pt x="108" y="110"/>
                      </a:lnTo>
                      <a:lnTo>
                        <a:pt x="106" y="108"/>
                      </a:lnTo>
                      <a:lnTo>
                        <a:pt x="108" y="102"/>
                      </a:lnTo>
                      <a:lnTo>
                        <a:pt x="118" y="84"/>
                      </a:lnTo>
                      <a:lnTo>
                        <a:pt x="130" y="64"/>
                      </a:lnTo>
                      <a:lnTo>
                        <a:pt x="130" y="64"/>
                      </a:lnTo>
                      <a:lnTo>
                        <a:pt x="138" y="46"/>
                      </a:lnTo>
                      <a:lnTo>
                        <a:pt x="148" y="30"/>
                      </a:lnTo>
                      <a:lnTo>
                        <a:pt x="156" y="18"/>
                      </a:lnTo>
                      <a:lnTo>
                        <a:pt x="156" y="18"/>
                      </a:lnTo>
                      <a:lnTo>
                        <a:pt x="160" y="12"/>
                      </a:lnTo>
                      <a:lnTo>
                        <a:pt x="160" y="8"/>
                      </a:lnTo>
                      <a:lnTo>
                        <a:pt x="160" y="4"/>
                      </a:lnTo>
                      <a:lnTo>
                        <a:pt x="156" y="0"/>
                      </a:lnTo>
                      <a:lnTo>
                        <a:pt x="152" y="0"/>
                      </a:lnTo>
                      <a:lnTo>
                        <a:pt x="144" y="0"/>
                      </a:lnTo>
                      <a:lnTo>
                        <a:pt x="136" y="2"/>
                      </a:lnTo>
                      <a:lnTo>
                        <a:pt x="126" y="8"/>
                      </a:lnTo>
                      <a:lnTo>
                        <a:pt x="126" y="8"/>
                      </a:lnTo>
                      <a:lnTo>
                        <a:pt x="116" y="14"/>
                      </a:lnTo>
                      <a:lnTo>
                        <a:pt x="110" y="18"/>
                      </a:lnTo>
                      <a:lnTo>
                        <a:pt x="106" y="24"/>
                      </a:lnTo>
                      <a:lnTo>
                        <a:pt x="104" y="28"/>
                      </a:lnTo>
                      <a:lnTo>
                        <a:pt x="102" y="36"/>
                      </a:lnTo>
                      <a:lnTo>
                        <a:pt x="98" y="40"/>
                      </a:lnTo>
                      <a:lnTo>
                        <a:pt x="94" y="44"/>
                      </a:lnTo>
                      <a:lnTo>
                        <a:pt x="94" y="44"/>
                      </a:lnTo>
                      <a:lnTo>
                        <a:pt x="88" y="50"/>
                      </a:lnTo>
                      <a:lnTo>
                        <a:pt x="82" y="60"/>
                      </a:lnTo>
                      <a:lnTo>
                        <a:pt x="70" y="84"/>
                      </a:lnTo>
                      <a:lnTo>
                        <a:pt x="56" y="116"/>
                      </a:lnTo>
                      <a:lnTo>
                        <a:pt x="42" y="150"/>
                      </a:lnTo>
                      <a:lnTo>
                        <a:pt x="42" y="150"/>
                      </a:lnTo>
                      <a:lnTo>
                        <a:pt x="32" y="170"/>
                      </a:lnTo>
                      <a:lnTo>
                        <a:pt x="30" y="172"/>
                      </a:lnTo>
                      <a:lnTo>
                        <a:pt x="28" y="172"/>
                      </a:lnTo>
                      <a:lnTo>
                        <a:pt x="28" y="170"/>
                      </a:lnTo>
                      <a:lnTo>
                        <a:pt x="26" y="170"/>
                      </a:lnTo>
                      <a:lnTo>
                        <a:pt x="24" y="170"/>
                      </a:lnTo>
                      <a:lnTo>
                        <a:pt x="18" y="174"/>
                      </a:lnTo>
                      <a:lnTo>
                        <a:pt x="18" y="174"/>
                      </a:lnTo>
                      <a:lnTo>
                        <a:pt x="8" y="182"/>
                      </a:lnTo>
                      <a:lnTo>
                        <a:pt x="6" y="186"/>
                      </a:lnTo>
                      <a:lnTo>
                        <a:pt x="4" y="188"/>
                      </a:lnTo>
                      <a:lnTo>
                        <a:pt x="6" y="188"/>
                      </a:lnTo>
                      <a:lnTo>
                        <a:pt x="10" y="190"/>
                      </a:lnTo>
                      <a:lnTo>
                        <a:pt x="22" y="192"/>
                      </a:lnTo>
                      <a:lnTo>
                        <a:pt x="22" y="192"/>
                      </a:lnTo>
                      <a:lnTo>
                        <a:pt x="28" y="194"/>
                      </a:lnTo>
                      <a:lnTo>
                        <a:pt x="28" y="196"/>
                      </a:lnTo>
                      <a:lnTo>
                        <a:pt x="28" y="198"/>
                      </a:lnTo>
                      <a:lnTo>
                        <a:pt x="14" y="206"/>
                      </a:lnTo>
                      <a:lnTo>
                        <a:pt x="8" y="212"/>
                      </a:lnTo>
                      <a:lnTo>
                        <a:pt x="2" y="218"/>
                      </a:lnTo>
                      <a:lnTo>
                        <a:pt x="0" y="222"/>
                      </a:lnTo>
                      <a:lnTo>
                        <a:pt x="0" y="226"/>
                      </a:lnTo>
                      <a:lnTo>
                        <a:pt x="0" y="230"/>
                      </a:lnTo>
                      <a:lnTo>
                        <a:pt x="4" y="234"/>
                      </a:lnTo>
                      <a:lnTo>
                        <a:pt x="4" y="234"/>
                      </a:lnTo>
                      <a:lnTo>
                        <a:pt x="6" y="236"/>
                      </a:lnTo>
                      <a:lnTo>
                        <a:pt x="10" y="240"/>
                      </a:lnTo>
                      <a:lnTo>
                        <a:pt x="20" y="240"/>
                      </a:lnTo>
                      <a:lnTo>
                        <a:pt x="38" y="234"/>
                      </a:lnTo>
                      <a:lnTo>
                        <a:pt x="38" y="234"/>
                      </a:lnTo>
                      <a:lnTo>
                        <a:pt x="48" y="232"/>
                      </a:lnTo>
                      <a:lnTo>
                        <a:pt x="54" y="232"/>
                      </a:lnTo>
                      <a:lnTo>
                        <a:pt x="68" y="236"/>
                      </a:lnTo>
                      <a:lnTo>
                        <a:pt x="74" y="238"/>
                      </a:lnTo>
                      <a:lnTo>
                        <a:pt x="84" y="240"/>
                      </a:lnTo>
                      <a:lnTo>
                        <a:pt x="96" y="240"/>
                      </a:lnTo>
                      <a:lnTo>
                        <a:pt x="112" y="238"/>
                      </a:lnTo>
                      <a:lnTo>
                        <a:pt x="112" y="238"/>
                      </a:lnTo>
                      <a:lnTo>
                        <a:pt x="126" y="236"/>
                      </a:lnTo>
                      <a:lnTo>
                        <a:pt x="132" y="236"/>
                      </a:lnTo>
                      <a:lnTo>
                        <a:pt x="134" y="238"/>
                      </a:lnTo>
                      <a:lnTo>
                        <a:pt x="134" y="240"/>
                      </a:lnTo>
                      <a:lnTo>
                        <a:pt x="134" y="244"/>
                      </a:lnTo>
                      <a:lnTo>
                        <a:pt x="134" y="246"/>
                      </a:lnTo>
                      <a:lnTo>
                        <a:pt x="140" y="246"/>
                      </a:lnTo>
                      <a:lnTo>
                        <a:pt x="154" y="246"/>
                      </a:lnTo>
                      <a:lnTo>
                        <a:pt x="154" y="246"/>
                      </a:lnTo>
                      <a:lnTo>
                        <a:pt x="166" y="246"/>
                      </a:lnTo>
                      <a:lnTo>
                        <a:pt x="170" y="246"/>
                      </a:lnTo>
                      <a:lnTo>
                        <a:pt x="170" y="248"/>
                      </a:lnTo>
                      <a:lnTo>
                        <a:pt x="168" y="252"/>
                      </a:lnTo>
                      <a:lnTo>
                        <a:pt x="162" y="256"/>
                      </a:lnTo>
                      <a:lnTo>
                        <a:pt x="144" y="268"/>
                      </a:lnTo>
                      <a:lnTo>
                        <a:pt x="138" y="274"/>
                      </a:lnTo>
                      <a:lnTo>
                        <a:pt x="134" y="278"/>
                      </a:lnTo>
                      <a:lnTo>
                        <a:pt x="134" y="278"/>
                      </a:lnTo>
                      <a:lnTo>
                        <a:pt x="136" y="282"/>
                      </a:lnTo>
                      <a:lnTo>
                        <a:pt x="138" y="284"/>
                      </a:lnTo>
                      <a:lnTo>
                        <a:pt x="142" y="286"/>
                      </a:lnTo>
                      <a:lnTo>
                        <a:pt x="148" y="286"/>
                      </a:lnTo>
                      <a:lnTo>
                        <a:pt x="154" y="284"/>
                      </a:lnTo>
                      <a:lnTo>
                        <a:pt x="162" y="280"/>
                      </a:lnTo>
                      <a:lnTo>
                        <a:pt x="168" y="274"/>
                      </a:lnTo>
                      <a:lnTo>
                        <a:pt x="174" y="266"/>
                      </a:lnTo>
                      <a:lnTo>
                        <a:pt x="174" y="266"/>
                      </a:lnTo>
                      <a:lnTo>
                        <a:pt x="180" y="258"/>
                      </a:lnTo>
                      <a:lnTo>
                        <a:pt x="184" y="254"/>
                      </a:lnTo>
                      <a:lnTo>
                        <a:pt x="188" y="252"/>
                      </a:lnTo>
                      <a:lnTo>
                        <a:pt x="192" y="252"/>
                      </a:lnTo>
                      <a:lnTo>
                        <a:pt x="194" y="252"/>
                      </a:lnTo>
                      <a:lnTo>
                        <a:pt x="196" y="250"/>
                      </a:lnTo>
                      <a:lnTo>
                        <a:pt x="200" y="246"/>
                      </a:lnTo>
                      <a:lnTo>
                        <a:pt x="204" y="238"/>
                      </a:lnTo>
                      <a:lnTo>
                        <a:pt x="204" y="238"/>
                      </a:lnTo>
                      <a:lnTo>
                        <a:pt x="208" y="232"/>
                      </a:lnTo>
                      <a:lnTo>
                        <a:pt x="212" y="228"/>
                      </a:lnTo>
                      <a:lnTo>
                        <a:pt x="214" y="228"/>
                      </a:lnTo>
                      <a:lnTo>
                        <a:pt x="218" y="230"/>
                      </a:lnTo>
                      <a:lnTo>
                        <a:pt x="220" y="234"/>
                      </a:lnTo>
                      <a:lnTo>
                        <a:pt x="220" y="240"/>
                      </a:lnTo>
                      <a:lnTo>
                        <a:pt x="218" y="248"/>
                      </a:lnTo>
                      <a:lnTo>
                        <a:pt x="216" y="256"/>
                      </a:lnTo>
                      <a:lnTo>
                        <a:pt x="216" y="256"/>
                      </a:lnTo>
                      <a:lnTo>
                        <a:pt x="212" y="272"/>
                      </a:lnTo>
                      <a:lnTo>
                        <a:pt x="210" y="282"/>
                      </a:lnTo>
                      <a:lnTo>
                        <a:pt x="210" y="284"/>
                      </a:lnTo>
                      <a:lnTo>
                        <a:pt x="212" y="284"/>
                      </a:lnTo>
                      <a:lnTo>
                        <a:pt x="222" y="278"/>
                      </a:lnTo>
                      <a:lnTo>
                        <a:pt x="222" y="278"/>
                      </a:lnTo>
                      <a:lnTo>
                        <a:pt x="228" y="274"/>
                      </a:lnTo>
                      <a:lnTo>
                        <a:pt x="230" y="274"/>
                      </a:lnTo>
                      <a:lnTo>
                        <a:pt x="232" y="276"/>
                      </a:lnTo>
                      <a:lnTo>
                        <a:pt x="234" y="280"/>
                      </a:lnTo>
                      <a:lnTo>
                        <a:pt x="236" y="284"/>
                      </a:lnTo>
                      <a:lnTo>
                        <a:pt x="240" y="290"/>
                      </a:lnTo>
                      <a:lnTo>
                        <a:pt x="244" y="292"/>
                      </a:lnTo>
                      <a:lnTo>
                        <a:pt x="252" y="294"/>
                      </a:lnTo>
                      <a:lnTo>
                        <a:pt x="252" y="294"/>
                      </a:lnTo>
                      <a:lnTo>
                        <a:pt x="260" y="294"/>
                      </a:lnTo>
                      <a:lnTo>
                        <a:pt x="264" y="292"/>
                      </a:lnTo>
                      <a:lnTo>
                        <a:pt x="266" y="288"/>
                      </a:lnTo>
                      <a:lnTo>
                        <a:pt x="266" y="284"/>
                      </a:lnTo>
                      <a:lnTo>
                        <a:pt x="264" y="268"/>
                      </a:lnTo>
                      <a:lnTo>
                        <a:pt x="266" y="258"/>
                      </a:lnTo>
                      <a:lnTo>
                        <a:pt x="270" y="246"/>
                      </a:lnTo>
                      <a:lnTo>
                        <a:pt x="270" y="246"/>
                      </a:lnTo>
                      <a:lnTo>
                        <a:pt x="272" y="236"/>
                      </a:lnTo>
                      <a:lnTo>
                        <a:pt x="272" y="230"/>
                      </a:lnTo>
                      <a:lnTo>
                        <a:pt x="268" y="228"/>
                      </a:lnTo>
                      <a:lnTo>
                        <a:pt x="264" y="230"/>
                      </a:lnTo>
                      <a:lnTo>
                        <a:pt x="260" y="230"/>
                      </a:lnTo>
                      <a:lnTo>
                        <a:pt x="258" y="230"/>
                      </a:lnTo>
                      <a:lnTo>
                        <a:pt x="258" y="226"/>
                      </a:lnTo>
                      <a:lnTo>
                        <a:pt x="262" y="218"/>
                      </a:lnTo>
                      <a:lnTo>
                        <a:pt x="262" y="21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3" name="Freeform 6114"/>
                <p:cNvSpPr>
                  <a:spLocks/>
                </p:cNvSpPr>
                <p:nvPr/>
              </p:nvSpPr>
              <p:spPr bwMode="auto">
                <a:xfrm>
                  <a:off x="2306320" y="2092643"/>
                  <a:ext cx="36830" cy="21590"/>
                </a:xfrm>
                <a:custGeom>
                  <a:avLst/>
                  <a:gdLst/>
                  <a:ahLst/>
                  <a:cxnLst>
                    <a:cxn ang="0">
                      <a:pos x="16" y="20"/>
                    </a:cxn>
                    <a:cxn ang="0">
                      <a:pos x="16" y="20"/>
                    </a:cxn>
                    <a:cxn ang="0">
                      <a:pos x="40" y="30"/>
                    </a:cxn>
                    <a:cxn ang="0">
                      <a:pos x="50" y="34"/>
                    </a:cxn>
                    <a:cxn ang="0">
                      <a:pos x="54" y="34"/>
                    </a:cxn>
                    <a:cxn ang="0">
                      <a:pos x="56" y="32"/>
                    </a:cxn>
                    <a:cxn ang="0">
                      <a:pos x="56" y="32"/>
                    </a:cxn>
                    <a:cxn ang="0">
                      <a:pos x="58" y="28"/>
                    </a:cxn>
                    <a:cxn ang="0">
                      <a:pos x="56" y="26"/>
                    </a:cxn>
                    <a:cxn ang="0">
                      <a:pos x="52" y="16"/>
                    </a:cxn>
                    <a:cxn ang="0">
                      <a:pos x="40" y="4"/>
                    </a:cxn>
                    <a:cxn ang="0">
                      <a:pos x="40" y="4"/>
                    </a:cxn>
                    <a:cxn ang="0">
                      <a:pos x="34" y="2"/>
                    </a:cxn>
                    <a:cxn ang="0">
                      <a:pos x="22" y="0"/>
                    </a:cxn>
                    <a:cxn ang="0">
                      <a:pos x="10" y="4"/>
                    </a:cxn>
                    <a:cxn ang="0">
                      <a:pos x="4" y="6"/>
                    </a:cxn>
                    <a:cxn ang="0">
                      <a:pos x="2" y="8"/>
                    </a:cxn>
                    <a:cxn ang="0">
                      <a:pos x="2" y="8"/>
                    </a:cxn>
                    <a:cxn ang="0">
                      <a:pos x="0" y="12"/>
                    </a:cxn>
                    <a:cxn ang="0">
                      <a:pos x="2" y="14"/>
                    </a:cxn>
                    <a:cxn ang="0">
                      <a:pos x="16" y="20"/>
                    </a:cxn>
                    <a:cxn ang="0">
                      <a:pos x="16" y="20"/>
                    </a:cxn>
                  </a:cxnLst>
                  <a:rect l="0" t="0" r="r" b="b"/>
                  <a:pathLst>
                    <a:path w="58" h="34">
                      <a:moveTo>
                        <a:pt x="16" y="20"/>
                      </a:moveTo>
                      <a:lnTo>
                        <a:pt x="16" y="20"/>
                      </a:lnTo>
                      <a:lnTo>
                        <a:pt x="40" y="30"/>
                      </a:lnTo>
                      <a:lnTo>
                        <a:pt x="50" y="34"/>
                      </a:lnTo>
                      <a:lnTo>
                        <a:pt x="54" y="34"/>
                      </a:lnTo>
                      <a:lnTo>
                        <a:pt x="56" y="32"/>
                      </a:lnTo>
                      <a:lnTo>
                        <a:pt x="56" y="32"/>
                      </a:lnTo>
                      <a:lnTo>
                        <a:pt x="58" y="28"/>
                      </a:lnTo>
                      <a:lnTo>
                        <a:pt x="56" y="26"/>
                      </a:lnTo>
                      <a:lnTo>
                        <a:pt x="52" y="16"/>
                      </a:lnTo>
                      <a:lnTo>
                        <a:pt x="40" y="4"/>
                      </a:lnTo>
                      <a:lnTo>
                        <a:pt x="40" y="4"/>
                      </a:lnTo>
                      <a:lnTo>
                        <a:pt x="34" y="2"/>
                      </a:lnTo>
                      <a:lnTo>
                        <a:pt x="22" y="0"/>
                      </a:lnTo>
                      <a:lnTo>
                        <a:pt x="10" y="4"/>
                      </a:lnTo>
                      <a:lnTo>
                        <a:pt x="4" y="6"/>
                      </a:lnTo>
                      <a:lnTo>
                        <a:pt x="2" y="8"/>
                      </a:lnTo>
                      <a:lnTo>
                        <a:pt x="2" y="8"/>
                      </a:lnTo>
                      <a:lnTo>
                        <a:pt x="0" y="12"/>
                      </a:lnTo>
                      <a:lnTo>
                        <a:pt x="2" y="14"/>
                      </a:lnTo>
                      <a:lnTo>
                        <a:pt x="16" y="20"/>
                      </a:lnTo>
                      <a:lnTo>
                        <a:pt x="16" y="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grpSp>
              <p:nvGrpSpPr>
                <p:cNvPr id="184" name="Gruppe 224"/>
                <p:cNvGrpSpPr/>
                <p:nvPr/>
              </p:nvGrpSpPr>
              <p:grpSpPr>
                <a:xfrm>
                  <a:off x="106680" y="699453"/>
                  <a:ext cx="3986530" cy="2951480"/>
                  <a:chOff x="106680" y="699453"/>
                  <a:chExt cx="3986530" cy="2951480"/>
                </a:xfrm>
                <a:grpFill/>
              </p:grpSpPr>
              <p:sp>
                <p:nvSpPr>
                  <p:cNvPr id="207" name="Freeform 6016"/>
                  <p:cNvSpPr>
                    <a:spLocks/>
                  </p:cNvSpPr>
                  <p:nvPr/>
                </p:nvSpPr>
                <p:spPr bwMode="auto">
                  <a:xfrm>
                    <a:off x="1352550" y="1099503"/>
                    <a:ext cx="40640" cy="26670"/>
                  </a:xfrm>
                  <a:custGeom>
                    <a:avLst/>
                    <a:gdLst/>
                    <a:ahLst/>
                    <a:cxnLst>
                      <a:cxn ang="0">
                        <a:pos x="54" y="2"/>
                      </a:cxn>
                      <a:cxn ang="0">
                        <a:pos x="54" y="2"/>
                      </a:cxn>
                      <a:cxn ang="0">
                        <a:pos x="32" y="12"/>
                      </a:cxn>
                      <a:cxn ang="0">
                        <a:pos x="10" y="24"/>
                      </a:cxn>
                      <a:cxn ang="0">
                        <a:pos x="4" y="30"/>
                      </a:cxn>
                      <a:cxn ang="0">
                        <a:pos x="0" y="36"/>
                      </a:cxn>
                      <a:cxn ang="0">
                        <a:pos x="2" y="38"/>
                      </a:cxn>
                      <a:cxn ang="0">
                        <a:pos x="4" y="40"/>
                      </a:cxn>
                      <a:cxn ang="0">
                        <a:pos x="16" y="42"/>
                      </a:cxn>
                      <a:cxn ang="0">
                        <a:pos x="16" y="42"/>
                      </a:cxn>
                      <a:cxn ang="0">
                        <a:pos x="22" y="42"/>
                      </a:cxn>
                      <a:cxn ang="0">
                        <a:pos x="28" y="42"/>
                      </a:cxn>
                      <a:cxn ang="0">
                        <a:pos x="40" y="36"/>
                      </a:cxn>
                      <a:cxn ang="0">
                        <a:pos x="50" y="28"/>
                      </a:cxn>
                      <a:cxn ang="0">
                        <a:pos x="58" y="20"/>
                      </a:cxn>
                      <a:cxn ang="0">
                        <a:pos x="62" y="10"/>
                      </a:cxn>
                      <a:cxn ang="0">
                        <a:pos x="64" y="4"/>
                      </a:cxn>
                      <a:cxn ang="0">
                        <a:pos x="64" y="2"/>
                      </a:cxn>
                      <a:cxn ang="0">
                        <a:pos x="62" y="0"/>
                      </a:cxn>
                      <a:cxn ang="0">
                        <a:pos x="58" y="0"/>
                      </a:cxn>
                      <a:cxn ang="0">
                        <a:pos x="54" y="2"/>
                      </a:cxn>
                      <a:cxn ang="0">
                        <a:pos x="54" y="2"/>
                      </a:cxn>
                    </a:cxnLst>
                    <a:rect l="0" t="0" r="r" b="b"/>
                    <a:pathLst>
                      <a:path w="64" h="42">
                        <a:moveTo>
                          <a:pt x="54" y="2"/>
                        </a:moveTo>
                        <a:lnTo>
                          <a:pt x="54" y="2"/>
                        </a:lnTo>
                        <a:lnTo>
                          <a:pt x="32" y="12"/>
                        </a:lnTo>
                        <a:lnTo>
                          <a:pt x="10" y="24"/>
                        </a:lnTo>
                        <a:lnTo>
                          <a:pt x="4" y="30"/>
                        </a:lnTo>
                        <a:lnTo>
                          <a:pt x="0" y="36"/>
                        </a:lnTo>
                        <a:lnTo>
                          <a:pt x="2" y="38"/>
                        </a:lnTo>
                        <a:lnTo>
                          <a:pt x="4" y="40"/>
                        </a:lnTo>
                        <a:lnTo>
                          <a:pt x="16" y="42"/>
                        </a:lnTo>
                        <a:lnTo>
                          <a:pt x="16" y="42"/>
                        </a:lnTo>
                        <a:lnTo>
                          <a:pt x="22" y="42"/>
                        </a:lnTo>
                        <a:lnTo>
                          <a:pt x="28" y="42"/>
                        </a:lnTo>
                        <a:lnTo>
                          <a:pt x="40" y="36"/>
                        </a:lnTo>
                        <a:lnTo>
                          <a:pt x="50" y="28"/>
                        </a:lnTo>
                        <a:lnTo>
                          <a:pt x="58" y="20"/>
                        </a:lnTo>
                        <a:lnTo>
                          <a:pt x="62" y="10"/>
                        </a:lnTo>
                        <a:lnTo>
                          <a:pt x="64" y="4"/>
                        </a:lnTo>
                        <a:lnTo>
                          <a:pt x="64" y="2"/>
                        </a:lnTo>
                        <a:lnTo>
                          <a:pt x="62" y="0"/>
                        </a:lnTo>
                        <a:lnTo>
                          <a:pt x="58" y="0"/>
                        </a:lnTo>
                        <a:lnTo>
                          <a:pt x="54" y="2"/>
                        </a:lnTo>
                        <a:lnTo>
                          <a:pt x="54"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8" name="Freeform 6017"/>
                  <p:cNvSpPr>
                    <a:spLocks/>
                  </p:cNvSpPr>
                  <p:nvPr/>
                </p:nvSpPr>
                <p:spPr bwMode="auto">
                  <a:xfrm>
                    <a:off x="1184910" y="1173163"/>
                    <a:ext cx="270510" cy="165100"/>
                  </a:xfrm>
                  <a:custGeom>
                    <a:avLst/>
                    <a:gdLst/>
                    <a:ahLst/>
                    <a:cxnLst>
                      <a:cxn ang="0">
                        <a:pos x="20" y="198"/>
                      </a:cxn>
                      <a:cxn ang="0">
                        <a:pos x="68" y="214"/>
                      </a:cxn>
                      <a:cxn ang="0">
                        <a:pos x="92" y="232"/>
                      </a:cxn>
                      <a:cxn ang="0">
                        <a:pos x="106" y="256"/>
                      </a:cxn>
                      <a:cxn ang="0">
                        <a:pos x="116" y="260"/>
                      </a:cxn>
                      <a:cxn ang="0">
                        <a:pos x="146" y="248"/>
                      </a:cxn>
                      <a:cxn ang="0">
                        <a:pos x="168" y="236"/>
                      </a:cxn>
                      <a:cxn ang="0">
                        <a:pos x="184" y="238"/>
                      </a:cxn>
                      <a:cxn ang="0">
                        <a:pos x="208" y="232"/>
                      </a:cxn>
                      <a:cxn ang="0">
                        <a:pos x="216" y="226"/>
                      </a:cxn>
                      <a:cxn ang="0">
                        <a:pos x="224" y="200"/>
                      </a:cxn>
                      <a:cxn ang="0">
                        <a:pos x="232" y="178"/>
                      </a:cxn>
                      <a:cxn ang="0">
                        <a:pos x="254" y="172"/>
                      </a:cxn>
                      <a:cxn ang="0">
                        <a:pos x="266" y="158"/>
                      </a:cxn>
                      <a:cxn ang="0">
                        <a:pos x="280" y="140"/>
                      </a:cxn>
                      <a:cxn ang="0">
                        <a:pos x="322" y="124"/>
                      </a:cxn>
                      <a:cxn ang="0">
                        <a:pos x="392" y="94"/>
                      </a:cxn>
                      <a:cxn ang="0">
                        <a:pos x="418" y="86"/>
                      </a:cxn>
                      <a:cxn ang="0">
                        <a:pos x="424" y="72"/>
                      </a:cxn>
                      <a:cxn ang="0">
                        <a:pos x="408" y="64"/>
                      </a:cxn>
                      <a:cxn ang="0">
                        <a:pos x="370" y="40"/>
                      </a:cxn>
                      <a:cxn ang="0">
                        <a:pos x="334" y="22"/>
                      </a:cxn>
                      <a:cxn ang="0">
                        <a:pos x="302" y="22"/>
                      </a:cxn>
                      <a:cxn ang="0">
                        <a:pos x="284" y="30"/>
                      </a:cxn>
                      <a:cxn ang="0">
                        <a:pos x="276" y="40"/>
                      </a:cxn>
                      <a:cxn ang="0">
                        <a:pos x="272" y="36"/>
                      </a:cxn>
                      <a:cxn ang="0">
                        <a:pos x="268" y="26"/>
                      </a:cxn>
                      <a:cxn ang="0">
                        <a:pos x="260" y="26"/>
                      </a:cxn>
                      <a:cxn ang="0">
                        <a:pos x="234" y="22"/>
                      </a:cxn>
                      <a:cxn ang="0">
                        <a:pos x="192" y="2"/>
                      </a:cxn>
                      <a:cxn ang="0">
                        <a:pos x="168" y="0"/>
                      </a:cxn>
                      <a:cxn ang="0">
                        <a:pos x="138" y="6"/>
                      </a:cxn>
                      <a:cxn ang="0">
                        <a:pos x="54" y="16"/>
                      </a:cxn>
                      <a:cxn ang="0">
                        <a:pos x="50" y="20"/>
                      </a:cxn>
                      <a:cxn ang="0">
                        <a:pos x="56" y="28"/>
                      </a:cxn>
                      <a:cxn ang="0">
                        <a:pos x="64" y="46"/>
                      </a:cxn>
                      <a:cxn ang="0">
                        <a:pos x="76" y="52"/>
                      </a:cxn>
                      <a:cxn ang="0">
                        <a:pos x="86" y="60"/>
                      </a:cxn>
                      <a:cxn ang="0">
                        <a:pos x="74" y="72"/>
                      </a:cxn>
                      <a:cxn ang="0">
                        <a:pos x="72" y="80"/>
                      </a:cxn>
                      <a:cxn ang="0">
                        <a:pos x="58" y="84"/>
                      </a:cxn>
                      <a:cxn ang="0">
                        <a:pos x="56" y="90"/>
                      </a:cxn>
                      <a:cxn ang="0">
                        <a:pos x="48" y="106"/>
                      </a:cxn>
                      <a:cxn ang="0">
                        <a:pos x="46" y="114"/>
                      </a:cxn>
                      <a:cxn ang="0">
                        <a:pos x="56" y="122"/>
                      </a:cxn>
                      <a:cxn ang="0">
                        <a:pos x="44" y="126"/>
                      </a:cxn>
                      <a:cxn ang="0">
                        <a:pos x="30" y="130"/>
                      </a:cxn>
                      <a:cxn ang="0">
                        <a:pos x="34" y="140"/>
                      </a:cxn>
                      <a:cxn ang="0">
                        <a:pos x="22" y="160"/>
                      </a:cxn>
                      <a:cxn ang="0">
                        <a:pos x="4" y="182"/>
                      </a:cxn>
                      <a:cxn ang="0">
                        <a:pos x="0" y="192"/>
                      </a:cxn>
                      <a:cxn ang="0">
                        <a:pos x="2" y="196"/>
                      </a:cxn>
                    </a:cxnLst>
                    <a:rect l="0" t="0" r="r" b="b"/>
                    <a:pathLst>
                      <a:path w="426" h="260">
                        <a:moveTo>
                          <a:pt x="2" y="196"/>
                        </a:moveTo>
                        <a:lnTo>
                          <a:pt x="2" y="196"/>
                        </a:lnTo>
                        <a:lnTo>
                          <a:pt x="20" y="198"/>
                        </a:lnTo>
                        <a:lnTo>
                          <a:pt x="38" y="204"/>
                        </a:lnTo>
                        <a:lnTo>
                          <a:pt x="68" y="214"/>
                        </a:lnTo>
                        <a:lnTo>
                          <a:pt x="68" y="214"/>
                        </a:lnTo>
                        <a:lnTo>
                          <a:pt x="78" y="220"/>
                        </a:lnTo>
                        <a:lnTo>
                          <a:pt x="86" y="226"/>
                        </a:lnTo>
                        <a:lnTo>
                          <a:pt x="92" y="232"/>
                        </a:lnTo>
                        <a:lnTo>
                          <a:pt x="96" y="240"/>
                        </a:lnTo>
                        <a:lnTo>
                          <a:pt x="102" y="252"/>
                        </a:lnTo>
                        <a:lnTo>
                          <a:pt x="106" y="256"/>
                        </a:lnTo>
                        <a:lnTo>
                          <a:pt x="110" y="260"/>
                        </a:lnTo>
                        <a:lnTo>
                          <a:pt x="110" y="260"/>
                        </a:lnTo>
                        <a:lnTo>
                          <a:pt x="116" y="260"/>
                        </a:lnTo>
                        <a:lnTo>
                          <a:pt x="122" y="260"/>
                        </a:lnTo>
                        <a:lnTo>
                          <a:pt x="134" y="256"/>
                        </a:lnTo>
                        <a:lnTo>
                          <a:pt x="146" y="248"/>
                        </a:lnTo>
                        <a:lnTo>
                          <a:pt x="160" y="240"/>
                        </a:lnTo>
                        <a:lnTo>
                          <a:pt x="160" y="240"/>
                        </a:lnTo>
                        <a:lnTo>
                          <a:pt x="168" y="236"/>
                        </a:lnTo>
                        <a:lnTo>
                          <a:pt x="172" y="234"/>
                        </a:lnTo>
                        <a:lnTo>
                          <a:pt x="180" y="236"/>
                        </a:lnTo>
                        <a:lnTo>
                          <a:pt x="184" y="238"/>
                        </a:lnTo>
                        <a:lnTo>
                          <a:pt x="190" y="238"/>
                        </a:lnTo>
                        <a:lnTo>
                          <a:pt x="198" y="236"/>
                        </a:lnTo>
                        <a:lnTo>
                          <a:pt x="208" y="232"/>
                        </a:lnTo>
                        <a:lnTo>
                          <a:pt x="208" y="232"/>
                        </a:lnTo>
                        <a:lnTo>
                          <a:pt x="212" y="230"/>
                        </a:lnTo>
                        <a:lnTo>
                          <a:pt x="216" y="226"/>
                        </a:lnTo>
                        <a:lnTo>
                          <a:pt x="222" y="218"/>
                        </a:lnTo>
                        <a:lnTo>
                          <a:pt x="224" y="210"/>
                        </a:lnTo>
                        <a:lnTo>
                          <a:pt x="224" y="200"/>
                        </a:lnTo>
                        <a:lnTo>
                          <a:pt x="224" y="192"/>
                        </a:lnTo>
                        <a:lnTo>
                          <a:pt x="226" y="184"/>
                        </a:lnTo>
                        <a:lnTo>
                          <a:pt x="232" y="178"/>
                        </a:lnTo>
                        <a:lnTo>
                          <a:pt x="244" y="174"/>
                        </a:lnTo>
                        <a:lnTo>
                          <a:pt x="244" y="174"/>
                        </a:lnTo>
                        <a:lnTo>
                          <a:pt x="254" y="172"/>
                        </a:lnTo>
                        <a:lnTo>
                          <a:pt x="260" y="170"/>
                        </a:lnTo>
                        <a:lnTo>
                          <a:pt x="264" y="164"/>
                        </a:lnTo>
                        <a:lnTo>
                          <a:pt x="266" y="158"/>
                        </a:lnTo>
                        <a:lnTo>
                          <a:pt x="268" y="152"/>
                        </a:lnTo>
                        <a:lnTo>
                          <a:pt x="272" y="146"/>
                        </a:lnTo>
                        <a:lnTo>
                          <a:pt x="280" y="140"/>
                        </a:lnTo>
                        <a:lnTo>
                          <a:pt x="292" y="136"/>
                        </a:lnTo>
                        <a:lnTo>
                          <a:pt x="292" y="136"/>
                        </a:lnTo>
                        <a:lnTo>
                          <a:pt x="322" y="124"/>
                        </a:lnTo>
                        <a:lnTo>
                          <a:pt x="348" y="112"/>
                        </a:lnTo>
                        <a:lnTo>
                          <a:pt x="370" y="102"/>
                        </a:lnTo>
                        <a:lnTo>
                          <a:pt x="392" y="94"/>
                        </a:lnTo>
                        <a:lnTo>
                          <a:pt x="392" y="94"/>
                        </a:lnTo>
                        <a:lnTo>
                          <a:pt x="408" y="90"/>
                        </a:lnTo>
                        <a:lnTo>
                          <a:pt x="418" y="86"/>
                        </a:lnTo>
                        <a:lnTo>
                          <a:pt x="424" y="82"/>
                        </a:lnTo>
                        <a:lnTo>
                          <a:pt x="426" y="76"/>
                        </a:lnTo>
                        <a:lnTo>
                          <a:pt x="424" y="72"/>
                        </a:lnTo>
                        <a:lnTo>
                          <a:pt x="420" y="70"/>
                        </a:lnTo>
                        <a:lnTo>
                          <a:pt x="408" y="64"/>
                        </a:lnTo>
                        <a:lnTo>
                          <a:pt x="408" y="64"/>
                        </a:lnTo>
                        <a:lnTo>
                          <a:pt x="398" y="60"/>
                        </a:lnTo>
                        <a:lnTo>
                          <a:pt x="390" y="54"/>
                        </a:lnTo>
                        <a:lnTo>
                          <a:pt x="370" y="40"/>
                        </a:lnTo>
                        <a:lnTo>
                          <a:pt x="360" y="32"/>
                        </a:lnTo>
                        <a:lnTo>
                          <a:pt x="348" y="26"/>
                        </a:lnTo>
                        <a:lnTo>
                          <a:pt x="334" y="22"/>
                        </a:lnTo>
                        <a:lnTo>
                          <a:pt x="318" y="22"/>
                        </a:lnTo>
                        <a:lnTo>
                          <a:pt x="318" y="22"/>
                        </a:lnTo>
                        <a:lnTo>
                          <a:pt x="302" y="22"/>
                        </a:lnTo>
                        <a:lnTo>
                          <a:pt x="294" y="24"/>
                        </a:lnTo>
                        <a:lnTo>
                          <a:pt x="288" y="26"/>
                        </a:lnTo>
                        <a:lnTo>
                          <a:pt x="284" y="30"/>
                        </a:lnTo>
                        <a:lnTo>
                          <a:pt x="282" y="36"/>
                        </a:lnTo>
                        <a:lnTo>
                          <a:pt x="280" y="38"/>
                        </a:lnTo>
                        <a:lnTo>
                          <a:pt x="276" y="40"/>
                        </a:lnTo>
                        <a:lnTo>
                          <a:pt x="276" y="40"/>
                        </a:lnTo>
                        <a:lnTo>
                          <a:pt x="272" y="40"/>
                        </a:lnTo>
                        <a:lnTo>
                          <a:pt x="272" y="36"/>
                        </a:lnTo>
                        <a:lnTo>
                          <a:pt x="272" y="32"/>
                        </a:lnTo>
                        <a:lnTo>
                          <a:pt x="272" y="30"/>
                        </a:lnTo>
                        <a:lnTo>
                          <a:pt x="268" y="26"/>
                        </a:lnTo>
                        <a:lnTo>
                          <a:pt x="268" y="26"/>
                        </a:lnTo>
                        <a:lnTo>
                          <a:pt x="266" y="26"/>
                        </a:lnTo>
                        <a:lnTo>
                          <a:pt x="260" y="26"/>
                        </a:lnTo>
                        <a:lnTo>
                          <a:pt x="250" y="24"/>
                        </a:lnTo>
                        <a:lnTo>
                          <a:pt x="234" y="22"/>
                        </a:lnTo>
                        <a:lnTo>
                          <a:pt x="234" y="22"/>
                        </a:lnTo>
                        <a:lnTo>
                          <a:pt x="218" y="16"/>
                        </a:lnTo>
                        <a:lnTo>
                          <a:pt x="208" y="12"/>
                        </a:lnTo>
                        <a:lnTo>
                          <a:pt x="192" y="2"/>
                        </a:lnTo>
                        <a:lnTo>
                          <a:pt x="186" y="0"/>
                        </a:lnTo>
                        <a:lnTo>
                          <a:pt x="178" y="0"/>
                        </a:lnTo>
                        <a:lnTo>
                          <a:pt x="168" y="0"/>
                        </a:lnTo>
                        <a:lnTo>
                          <a:pt x="154" y="2"/>
                        </a:lnTo>
                        <a:lnTo>
                          <a:pt x="154" y="2"/>
                        </a:lnTo>
                        <a:lnTo>
                          <a:pt x="138" y="6"/>
                        </a:lnTo>
                        <a:lnTo>
                          <a:pt x="120" y="8"/>
                        </a:lnTo>
                        <a:lnTo>
                          <a:pt x="82" y="12"/>
                        </a:lnTo>
                        <a:lnTo>
                          <a:pt x="54" y="16"/>
                        </a:lnTo>
                        <a:lnTo>
                          <a:pt x="48" y="18"/>
                        </a:lnTo>
                        <a:lnTo>
                          <a:pt x="48" y="18"/>
                        </a:lnTo>
                        <a:lnTo>
                          <a:pt x="50" y="20"/>
                        </a:lnTo>
                        <a:lnTo>
                          <a:pt x="50" y="20"/>
                        </a:lnTo>
                        <a:lnTo>
                          <a:pt x="54" y="24"/>
                        </a:lnTo>
                        <a:lnTo>
                          <a:pt x="56" y="28"/>
                        </a:lnTo>
                        <a:lnTo>
                          <a:pt x="58" y="36"/>
                        </a:lnTo>
                        <a:lnTo>
                          <a:pt x="60" y="42"/>
                        </a:lnTo>
                        <a:lnTo>
                          <a:pt x="64" y="46"/>
                        </a:lnTo>
                        <a:lnTo>
                          <a:pt x="68" y="48"/>
                        </a:lnTo>
                        <a:lnTo>
                          <a:pt x="76" y="52"/>
                        </a:lnTo>
                        <a:lnTo>
                          <a:pt x="76" y="52"/>
                        </a:lnTo>
                        <a:lnTo>
                          <a:pt x="84" y="56"/>
                        </a:lnTo>
                        <a:lnTo>
                          <a:pt x="86" y="58"/>
                        </a:lnTo>
                        <a:lnTo>
                          <a:pt x="86" y="60"/>
                        </a:lnTo>
                        <a:lnTo>
                          <a:pt x="84" y="64"/>
                        </a:lnTo>
                        <a:lnTo>
                          <a:pt x="76" y="68"/>
                        </a:lnTo>
                        <a:lnTo>
                          <a:pt x="74" y="72"/>
                        </a:lnTo>
                        <a:lnTo>
                          <a:pt x="72" y="76"/>
                        </a:lnTo>
                        <a:lnTo>
                          <a:pt x="72" y="76"/>
                        </a:lnTo>
                        <a:lnTo>
                          <a:pt x="72" y="80"/>
                        </a:lnTo>
                        <a:lnTo>
                          <a:pt x="70" y="82"/>
                        </a:lnTo>
                        <a:lnTo>
                          <a:pt x="64" y="82"/>
                        </a:lnTo>
                        <a:lnTo>
                          <a:pt x="58" y="84"/>
                        </a:lnTo>
                        <a:lnTo>
                          <a:pt x="56" y="86"/>
                        </a:lnTo>
                        <a:lnTo>
                          <a:pt x="56" y="90"/>
                        </a:lnTo>
                        <a:lnTo>
                          <a:pt x="56" y="90"/>
                        </a:lnTo>
                        <a:lnTo>
                          <a:pt x="56" y="94"/>
                        </a:lnTo>
                        <a:lnTo>
                          <a:pt x="54" y="98"/>
                        </a:lnTo>
                        <a:lnTo>
                          <a:pt x="48" y="106"/>
                        </a:lnTo>
                        <a:lnTo>
                          <a:pt x="44" y="110"/>
                        </a:lnTo>
                        <a:lnTo>
                          <a:pt x="44" y="112"/>
                        </a:lnTo>
                        <a:lnTo>
                          <a:pt x="46" y="114"/>
                        </a:lnTo>
                        <a:lnTo>
                          <a:pt x="46" y="114"/>
                        </a:lnTo>
                        <a:lnTo>
                          <a:pt x="54" y="118"/>
                        </a:lnTo>
                        <a:lnTo>
                          <a:pt x="56" y="122"/>
                        </a:lnTo>
                        <a:lnTo>
                          <a:pt x="56" y="124"/>
                        </a:lnTo>
                        <a:lnTo>
                          <a:pt x="54" y="124"/>
                        </a:lnTo>
                        <a:lnTo>
                          <a:pt x="44" y="126"/>
                        </a:lnTo>
                        <a:lnTo>
                          <a:pt x="44" y="126"/>
                        </a:lnTo>
                        <a:lnTo>
                          <a:pt x="34" y="128"/>
                        </a:lnTo>
                        <a:lnTo>
                          <a:pt x="30" y="130"/>
                        </a:lnTo>
                        <a:lnTo>
                          <a:pt x="30" y="134"/>
                        </a:lnTo>
                        <a:lnTo>
                          <a:pt x="34" y="140"/>
                        </a:lnTo>
                        <a:lnTo>
                          <a:pt x="34" y="140"/>
                        </a:lnTo>
                        <a:lnTo>
                          <a:pt x="34" y="144"/>
                        </a:lnTo>
                        <a:lnTo>
                          <a:pt x="32" y="150"/>
                        </a:lnTo>
                        <a:lnTo>
                          <a:pt x="22" y="160"/>
                        </a:lnTo>
                        <a:lnTo>
                          <a:pt x="10" y="172"/>
                        </a:lnTo>
                        <a:lnTo>
                          <a:pt x="6" y="178"/>
                        </a:lnTo>
                        <a:lnTo>
                          <a:pt x="4" y="182"/>
                        </a:lnTo>
                        <a:lnTo>
                          <a:pt x="4" y="182"/>
                        </a:lnTo>
                        <a:lnTo>
                          <a:pt x="2" y="188"/>
                        </a:lnTo>
                        <a:lnTo>
                          <a:pt x="0" y="192"/>
                        </a:lnTo>
                        <a:lnTo>
                          <a:pt x="0" y="194"/>
                        </a:lnTo>
                        <a:lnTo>
                          <a:pt x="2" y="196"/>
                        </a:lnTo>
                        <a:lnTo>
                          <a:pt x="2" y="19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9" name="Freeform 6018"/>
                  <p:cNvSpPr>
                    <a:spLocks/>
                  </p:cNvSpPr>
                  <p:nvPr/>
                </p:nvSpPr>
                <p:spPr bwMode="auto">
                  <a:xfrm>
                    <a:off x="1258570" y="1024573"/>
                    <a:ext cx="190500" cy="87630"/>
                  </a:xfrm>
                  <a:custGeom>
                    <a:avLst/>
                    <a:gdLst/>
                    <a:ahLst/>
                    <a:cxnLst>
                      <a:cxn ang="0">
                        <a:pos x="12" y="124"/>
                      </a:cxn>
                      <a:cxn ang="0">
                        <a:pos x="16" y="130"/>
                      </a:cxn>
                      <a:cxn ang="0">
                        <a:pos x="36" y="120"/>
                      </a:cxn>
                      <a:cxn ang="0">
                        <a:pos x="50" y="118"/>
                      </a:cxn>
                      <a:cxn ang="0">
                        <a:pos x="66" y="124"/>
                      </a:cxn>
                      <a:cxn ang="0">
                        <a:pos x="76" y="124"/>
                      </a:cxn>
                      <a:cxn ang="0">
                        <a:pos x="88" y="114"/>
                      </a:cxn>
                      <a:cxn ang="0">
                        <a:pos x="94" y="122"/>
                      </a:cxn>
                      <a:cxn ang="0">
                        <a:pos x="112" y="138"/>
                      </a:cxn>
                      <a:cxn ang="0">
                        <a:pos x="132" y="132"/>
                      </a:cxn>
                      <a:cxn ang="0">
                        <a:pos x="138" y="114"/>
                      </a:cxn>
                      <a:cxn ang="0">
                        <a:pos x="146" y="110"/>
                      </a:cxn>
                      <a:cxn ang="0">
                        <a:pos x="156" y="114"/>
                      </a:cxn>
                      <a:cxn ang="0">
                        <a:pos x="174" y="94"/>
                      </a:cxn>
                      <a:cxn ang="0">
                        <a:pos x="182" y="76"/>
                      </a:cxn>
                      <a:cxn ang="0">
                        <a:pos x="186" y="66"/>
                      </a:cxn>
                      <a:cxn ang="0">
                        <a:pos x="206" y="56"/>
                      </a:cxn>
                      <a:cxn ang="0">
                        <a:pos x="208" y="64"/>
                      </a:cxn>
                      <a:cxn ang="0">
                        <a:pos x="206" y="88"/>
                      </a:cxn>
                      <a:cxn ang="0">
                        <a:pos x="214" y="96"/>
                      </a:cxn>
                      <a:cxn ang="0">
                        <a:pos x="236" y="100"/>
                      </a:cxn>
                      <a:cxn ang="0">
                        <a:pos x="244" y="92"/>
                      </a:cxn>
                      <a:cxn ang="0">
                        <a:pos x="246" y="80"/>
                      </a:cxn>
                      <a:cxn ang="0">
                        <a:pos x="274" y="74"/>
                      </a:cxn>
                      <a:cxn ang="0">
                        <a:pos x="294" y="60"/>
                      </a:cxn>
                      <a:cxn ang="0">
                        <a:pos x="280" y="42"/>
                      </a:cxn>
                      <a:cxn ang="0">
                        <a:pos x="272" y="36"/>
                      </a:cxn>
                      <a:cxn ang="0">
                        <a:pos x="278" y="28"/>
                      </a:cxn>
                      <a:cxn ang="0">
                        <a:pos x="300" y="18"/>
                      </a:cxn>
                      <a:cxn ang="0">
                        <a:pos x="288" y="8"/>
                      </a:cxn>
                      <a:cxn ang="0">
                        <a:pos x="258" y="0"/>
                      </a:cxn>
                      <a:cxn ang="0">
                        <a:pos x="244" y="4"/>
                      </a:cxn>
                      <a:cxn ang="0">
                        <a:pos x="234" y="16"/>
                      </a:cxn>
                      <a:cxn ang="0">
                        <a:pos x="202" y="12"/>
                      </a:cxn>
                      <a:cxn ang="0">
                        <a:pos x="160" y="18"/>
                      </a:cxn>
                      <a:cxn ang="0">
                        <a:pos x="128" y="38"/>
                      </a:cxn>
                      <a:cxn ang="0">
                        <a:pos x="102" y="58"/>
                      </a:cxn>
                      <a:cxn ang="0">
                        <a:pos x="82" y="66"/>
                      </a:cxn>
                      <a:cxn ang="0">
                        <a:pos x="66" y="78"/>
                      </a:cxn>
                      <a:cxn ang="0">
                        <a:pos x="44" y="90"/>
                      </a:cxn>
                      <a:cxn ang="0">
                        <a:pos x="28" y="86"/>
                      </a:cxn>
                      <a:cxn ang="0">
                        <a:pos x="12" y="96"/>
                      </a:cxn>
                      <a:cxn ang="0">
                        <a:pos x="2" y="112"/>
                      </a:cxn>
                      <a:cxn ang="0">
                        <a:pos x="14" y="116"/>
                      </a:cxn>
                    </a:cxnLst>
                    <a:rect l="0" t="0" r="r" b="b"/>
                    <a:pathLst>
                      <a:path w="300" h="138">
                        <a:moveTo>
                          <a:pt x="14" y="120"/>
                        </a:moveTo>
                        <a:lnTo>
                          <a:pt x="14" y="120"/>
                        </a:lnTo>
                        <a:lnTo>
                          <a:pt x="12" y="124"/>
                        </a:lnTo>
                        <a:lnTo>
                          <a:pt x="12" y="126"/>
                        </a:lnTo>
                        <a:lnTo>
                          <a:pt x="14" y="128"/>
                        </a:lnTo>
                        <a:lnTo>
                          <a:pt x="16" y="130"/>
                        </a:lnTo>
                        <a:lnTo>
                          <a:pt x="24" y="128"/>
                        </a:lnTo>
                        <a:lnTo>
                          <a:pt x="36" y="120"/>
                        </a:lnTo>
                        <a:lnTo>
                          <a:pt x="36" y="120"/>
                        </a:lnTo>
                        <a:lnTo>
                          <a:pt x="42" y="118"/>
                        </a:lnTo>
                        <a:lnTo>
                          <a:pt x="46" y="116"/>
                        </a:lnTo>
                        <a:lnTo>
                          <a:pt x="50" y="118"/>
                        </a:lnTo>
                        <a:lnTo>
                          <a:pt x="52" y="118"/>
                        </a:lnTo>
                        <a:lnTo>
                          <a:pt x="60" y="124"/>
                        </a:lnTo>
                        <a:lnTo>
                          <a:pt x="66" y="124"/>
                        </a:lnTo>
                        <a:lnTo>
                          <a:pt x="72" y="126"/>
                        </a:lnTo>
                        <a:lnTo>
                          <a:pt x="72" y="126"/>
                        </a:lnTo>
                        <a:lnTo>
                          <a:pt x="76" y="124"/>
                        </a:lnTo>
                        <a:lnTo>
                          <a:pt x="82" y="122"/>
                        </a:lnTo>
                        <a:lnTo>
                          <a:pt x="86" y="116"/>
                        </a:lnTo>
                        <a:lnTo>
                          <a:pt x="88" y="114"/>
                        </a:lnTo>
                        <a:lnTo>
                          <a:pt x="90" y="114"/>
                        </a:lnTo>
                        <a:lnTo>
                          <a:pt x="94" y="122"/>
                        </a:lnTo>
                        <a:lnTo>
                          <a:pt x="94" y="122"/>
                        </a:lnTo>
                        <a:lnTo>
                          <a:pt x="98" y="130"/>
                        </a:lnTo>
                        <a:lnTo>
                          <a:pt x="104" y="134"/>
                        </a:lnTo>
                        <a:lnTo>
                          <a:pt x="112" y="138"/>
                        </a:lnTo>
                        <a:lnTo>
                          <a:pt x="118" y="138"/>
                        </a:lnTo>
                        <a:lnTo>
                          <a:pt x="126" y="136"/>
                        </a:lnTo>
                        <a:lnTo>
                          <a:pt x="132" y="132"/>
                        </a:lnTo>
                        <a:lnTo>
                          <a:pt x="136" y="124"/>
                        </a:lnTo>
                        <a:lnTo>
                          <a:pt x="138" y="114"/>
                        </a:lnTo>
                        <a:lnTo>
                          <a:pt x="138" y="114"/>
                        </a:lnTo>
                        <a:lnTo>
                          <a:pt x="138" y="106"/>
                        </a:lnTo>
                        <a:lnTo>
                          <a:pt x="140" y="104"/>
                        </a:lnTo>
                        <a:lnTo>
                          <a:pt x="146" y="110"/>
                        </a:lnTo>
                        <a:lnTo>
                          <a:pt x="150" y="114"/>
                        </a:lnTo>
                        <a:lnTo>
                          <a:pt x="154" y="114"/>
                        </a:lnTo>
                        <a:lnTo>
                          <a:pt x="156" y="114"/>
                        </a:lnTo>
                        <a:lnTo>
                          <a:pt x="160" y="112"/>
                        </a:lnTo>
                        <a:lnTo>
                          <a:pt x="164" y="108"/>
                        </a:lnTo>
                        <a:lnTo>
                          <a:pt x="174" y="94"/>
                        </a:lnTo>
                        <a:lnTo>
                          <a:pt x="174" y="94"/>
                        </a:lnTo>
                        <a:lnTo>
                          <a:pt x="180" y="82"/>
                        </a:lnTo>
                        <a:lnTo>
                          <a:pt x="182" y="76"/>
                        </a:lnTo>
                        <a:lnTo>
                          <a:pt x="182" y="68"/>
                        </a:lnTo>
                        <a:lnTo>
                          <a:pt x="184" y="66"/>
                        </a:lnTo>
                        <a:lnTo>
                          <a:pt x="186" y="66"/>
                        </a:lnTo>
                        <a:lnTo>
                          <a:pt x="198" y="58"/>
                        </a:lnTo>
                        <a:lnTo>
                          <a:pt x="198" y="58"/>
                        </a:lnTo>
                        <a:lnTo>
                          <a:pt x="206" y="56"/>
                        </a:lnTo>
                        <a:lnTo>
                          <a:pt x="208" y="58"/>
                        </a:lnTo>
                        <a:lnTo>
                          <a:pt x="210" y="58"/>
                        </a:lnTo>
                        <a:lnTo>
                          <a:pt x="208" y="64"/>
                        </a:lnTo>
                        <a:lnTo>
                          <a:pt x="206" y="72"/>
                        </a:lnTo>
                        <a:lnTo>
                          <a:pt x="204" y="80"/>
                        </a:lnTo>
                        <a:lnTo>
                          <a:pt x="206" y="88"/>
                        </a:lnTo>
                        <a:lnTo>
                          <a:pt x="208" y="92"/>
                        </a:lnTo>
                        <a:lnTo>
                          <a:pt x="210" y="94"/>
                        </a:lnTo>
                        <a:lnTo>
                          <a:pt x="214" y="96"/>
                        </a:lnTo>
                        <a:lnTo>
                          <a:pt x="222" y="98"/>
                        </a:lnTo>
                        <a:lnTo>
                          <a:pt x="222" y="98"/>
                        </a:lnTo>
                        <a:lnTo>
                          <a:pt x="236" y="100"/>
                        </a:lnTo>
                        <a:lnTo>
                          <a:pt x="242" y="98"/>
                        </a:lnTo>
                        <a:lnTo>
                          <a:pt x="246" y="96"/>
                        </a:lnTo>
                        <a:lnTo>
                          <a:pt x="244" y="92"/>
                        </a:lnTo>
                        <a:lnTo>
                          <a:pt x="244" y="86"/>
                        </a:lnTo>
                        <a:lnTo>
                          <a:pt x="244" y="82"/>
                        </a:lnTo>
                        <a:lnTo>
                          <a:pt x="246" y="80"/>
                        </a:lnTo>
                        <a:lnTo>
                          <a:pt x="254" y="78"/>
                        </a:lnTo>
                        <a:lnTo>
                          <a:pt x="254" y="78"/>
                        </a:lnTo>
                        <a:lnTo>
                          <a:pt x="274" y="74"/>
                        </a:lnTo>
                        <a:lnTo>
                          <a:pt x="284" y="70"/>
                        </a:lnTo>
                        <a:lnTo>
                          <a:pt x="290" y="66"/>
                        </a:lnTo>
                        <a:lnTo>
                          <a:pt x="294" y="60"/>
                        </a:lnTo>
                        <a:lnTo>
                          <a:pt x="294" y="54"/>
                        </a:lnTo>
                        <a:lnTo>
                          <a:pt x="290" y="48"/>
                        </a:lnTo>
                        <a:lnTo>
                          <a:pt x="280" y="42"/>
                        </a:lnTo>
                        <a:lnTo>
                          <a:pt x="280" y="42"/>
                        </a:lnTo>
                        <a:lnTo>
                          <a:pt x="274" y="38"/>
                        </a:lnTo>
                        <a:lnTo>
                          <a:pt x="272" y="36"/>
                        </a:lnTo>
                        <a:lnTo>
                          <a:pt x="272" y="34"/>
                        </a:lnTo>
                        <a:lnTo>
                          <a:pt x="272" y="32"/>
                        </a:lnTo>
                        <a:lnTo>
                          <a:pt x="278" y="28"/>
                        </a:lnTo>
                        <a:lnTo>
                          <a:pt x="288" y="24"/>
                        </a:lnTo>
                        <a:lnTo>
                          <a:pt x="296" y="22"/>
                        </a:lnTo>
                        <a:lnTo>
                          <a:pt x="300" y="18"/>
                        </a:lnTo>
                        <a:lnTo>
                          <a:pt x="300" y="16"/>
                        </a:lnTo>
                        <a:lnTo>
                          <a:pt x="298" y="14"/>
                        </a:lnTo>
                        <a:lnTo>
                          <a:pt x="288" y="8"/>
                        </a:lnTo>
                        <a:lnTo>
                          <a:pt x="288" y="8"/>
                        </a:lnTo>
                        <a:lnTo>
                          <a:pt x="266" y="0"/>
                        </a:lnTo>
                        <a:lnTo>
                          <a:pt x="258" y="0"/>
                        </a:lnTo>
                        <a:lnTo>
                          <a:pt x="254" y="0"/>
                        </a:lnTo>
                        <a:lnTo>
                          <a:pt x="248" y="2"/>
                        </a:lnTo>
                        <a:lnTo>
                          <a:pt x="244" y="4"/>
                        </a:lnTo>
                        <a:lnTo>
                          <a:pt x="238" y="14"/>
                        </a:lnTo>
                        <a:lnTo>
                          <a:pt x="238" y="14"/>
                        </a:lnTo>
                        <a:lnTo>
                          <a:pt x="234" y="16"/>
                        </a:lnTo>
                        <a:lnTo>
                          <a:pt x="232" y="16"/>
                        </a:lnTo>
                        <a:lnTo>
                          <a:pt x="224" y="16"/>
                        </a:lnTo>
                        <a:lnTo>
                          <a:pt x="202" y="12"/>
                        </a:lnTo>
                        <a:lnTo>
                          <a:pt x="186" y="12"/>
                        </a:lnTo>
                        <a:lnTo>
                          <a:pt x="170" y="14"/>
                        </a:lnTo>
                        <a:lnTo>
                          <a:pt x="160" y="18"/>
                        </a:lnTo>
                        <a:lnTo>
                          <a:pt x="150" y="22"/>
                        </a:lnTo>
                        <a:lnTo>
                          <a:pt x="140" y="28"/>
                        </a:lnTo>
                        <a:lnTo>
                          <a:pt x="128" y="38"/>
                        </a:lnTo>
                        <a:lnTo>
                          <a:pt x="128" y="38"/>
                        </a:lnTo>
                        <a:lnTo>
                          <a:pt x="112" y="50"/>
                        </a:lnTo>
                        <a:lnTo>
                          <a:pt x="102" y="58"/>
                        </a:lnTo>
                        <a:lnTo>
                          <a:pt x="94" y="62"/>
                        </a:lnTo>
                        <a:lnTo>
                          <a:pt x="90" y="62"/>
                        </a:lnTo>
                        <a:lnTo>
                          <a:pt x="82" y="66"/>
                        </a:lnTo>
                        <a:lnTo>
                          <a:pt x="76" y="70"/>
                        </a:lnTo>
                        <a:lnTo>
                          <a:pt x="66" y="78"/>
                        </a:lnTo>
                        <a:lnTo>
                          <a:pt x="66" y="78"/>
                        </a:lnTo>
                        <a:lnTo>
                          <a:pt x="58" y="86"/>
                        </a:lnTo>
                        <a:lnTo>
                          <a:pt x="50" y="88"/>
                        </a:lnTo>
                        <a:lnTo>
                          <a:pt x="44" y="90"/>
                        </a:lnTo>
                        <a:lnTo>
                          <a:pt x="38" y="88"/>
                        </a:lnTo>
                        <a:lnTo>
                          <a:pt x="34" y="86"/>
                        </a:lnTo>
                        <a:lnTo>
                          <a:pt x="28" y="86"/>
                        </a:lnTo>
                        <a:lnTo>
                          <a:pt x="20" y="90"/>
                        </a:lnTo>
                        <a:lnTo>
                          <a:pt x="12" y="96"/>
                        </a:lnTo>
                        <a:lnTo>
                          <a:pt x="12" y="96"/>
                        </a:lnTo>
                        <a:lnTo>
                          <a:pt x="4" y="104"/>
                        </a:lnTo>
                        <a:lnTo>
                          <a:pt x="0" y="108"/>
                        </a:lnTo>
                        <a:lnTo>
                          <a:pt x="2" y="112"/>
                        </a:lnTo>
                        <a:lnTo>
                          <a:pt x="4" y="112"/>
                        </a:lnTo>
                        <a:lnTo>
                          <a:pt x="12" y="114"/>
                        </a:lnTo>
                        <a:lnTo>
                          <a:pt x="14" y="116"/>
                        </a:lnTo>
                        <a:lnTo>
                          <a:pt x="14" y="120"/>
                        </a:lnTo>
                        <a:lnTo>
                          <a:pt x="14" y="1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0" name="Freeform 6019"/>
                  <p:cNvSpPr>
                    <a:spLocks/>
                  </p:cNvSpPr>
                  <p:nvPr/>
                </p:nvSpPr>
                <p:spPr bwMode="auto">
                  <a:xfrm>
                    <a:off x="1468120" y="1056323"/>
                    <a:ext cx="35560" cy="10160"/>
                  </a:xfrm>
                  <a:custGeom>
                    <a:avLst/>
                    <a:gdLst/>
                    <a:ahLst/>
                    <a:cxnLst>
                      <a:cxn ang="0">
                        <a:pos x="0" y="8"/>
                      </a:cxn>
                      <a:cxn ang="0">
                        <a:pos x="0" y="8"/>
                      </a:cxn>
                      <a:cxn ang="0">
                        <a:pos x="0" y="12"/>
                      </a:cxn>
                      <a:cxn ang="0">
                        <a:pos x="4" y="14"/>
                      </a:cxn>
                      <a:cxn ang="0">
                        <a:pos x="18" y="16"/>
                      </a:cxn>
                      <a:cxn ang="0">
                        <a:pos x="38" y="16"/>
                      </a:cxn>
                      <a:cxn ang="0">
                        <a:pos x="46" y="14"/>
                      </a:cxn>
                      <a:cxn ang="0">
                        <a:pos x="54" y="12"/>
                      </a:cxn>
                      <a:cxn ang="0">
                        <a:pos x="54" y="12"/>
                      </a:cxn>
                      <a:cxn ang="0">
                        <a:pos x="56" y="10"/>
                      </a:cxn>
                      <a:cxn ang="0">
                        <a:pos x="56" y="8"/>
                      </a:cxn>
                      <a:cxn ang="0">
                        <a:pos x="54" y="6"/>
                      </a:cxn>
                      <a:cxn ang="0">
                        <a:pos x="46" y="2"/>
                      </a:cxn>
                      <a:cxn ang="0">
                        <a:pos x="36" y="2"/>
                      </a:cxn>
                      <a:cxn ang="0">
                        <a:pos x="26" y="0"/>
                      </a:cxn>
                      <a:cxn ang="0">
                        <a:pos x="16" y="2"/>
                      </a:cxn>
                      <a:cxn ang="0">
                        <a:pos x="6" y="4"/>
                      </a:cxn>
                      <a:cxn ang="0">
                        <a:pos x="0" y="8"/>
                      </a:cxn>
                      <a:cxn ang="0">
                        <a:pos x="0" y="8"/>
                      </a:cxn>
                    </a:cxnLst>
                    <a:rect l="0" t="0" r="r" b="b"/>
                    <a:pathLst>
                      <a:path w="56" h="16">
                        <a:moveTo>
                          <a:pt x="0" y="8"/>
                        </a:moveTo>
                        <a:lnTo>
                          <a:pt x="0" y="8"/>
                        </a:lnTo>
                        <a:lnTo>
                          <a:pt x="0" y="12"/>
                        </a:lnTo>
                        <a:lnTo>
                          <a:pt x="4" y="14"/>
                        </a:lnTo>
                        <a:lnTo>
                          <a:pt x="18" y="16"/>
                        </a:lnTo>
                        <a:lnTo>
                          <a:pt x="38" y="16"/>
                        </a:lnTo>
                        <a:lnTo>
                          <a:pt x="46" y="14"/>
                        </a:lnTo>
                        <a:lnTo>
                          <a:pt x="54" y="12"/>
                        </a:lnTo>
                        <a:lnTo>
                          <a:pt x="54" y="12"/>
                        </a:lnTo>
                        <a:lnTo>
                          <a:pt x="56" y="10"/>
                        </a:lnTo>
                        <a:lnTo>
                          <a:pt x="56" y="8"/>
                        </a:lnTo>
                        <a:lnTo>
                          <a:pt x="54" y="6"/>
                        </a:lnTo>
                        <a:lnTo>
                          <a:pt x="46" y="2"/>
                        </a:lnTo>
                        <a:lnTo>
                          <a:pt x="36" y="2"/>
                        </a:lnTo>
                        <a:lnTo>
                          <a:pt x="26" y="0"/>
                        </a:lnTo>
                        <a:lnTo>
                          <a:pt x="16" y="2"/>
                        </a:lnTo>
                        <a:lnTo>
                          <a:pt x="6" y="4"/>
                        </a:lnTo>
                        <a:lnTo>
                          <a:pt x="0" y="8"/>
                        </a:lnTo>
                        <a:lnTo>
                          <a:pt x="0"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1" name="Freeform 6020"/>
                  <p:cNvSpPr>
                    <a:spLocks/>
                  </p:cNvSpPr>
                  <p:nvPr/>
                </p:nvSpPr>
                <p:spPr bwMode="auto">
                  <a:xfrm>
                    <a:off x="1464310" y="996633"/>
                    <a:ext cx="34290" cy="19050"/>
                  </a:xfrm>
                  <a:custGeom>
                    <a:avLst/>
                    <a:gdLst/>
                    <a:ahLst/>
                    <a:cxnLst>
                      <a:cxn ang="0">
                        <a:pos x="42" y="30"/>
                      </a:cxn>
                      <a:cxn ang="0">
                        <a:pos x="42" y="30"/>
                      </a:cxn>
                      <a:cxn ang="0">
                        <a:pos x="52" y="28"/>
                      </a:cxn>
                      <a:cxn ang="0">
                        <a:pos x="54" y="26"/>
                      </a:cxn>
                      <a:cxn ang="0">
                        <a:pos x="54" y="24"/>
                      </a:cxn>
                      <a:cxn ang="0">
                        <a:pos x="50" y="18"/>
                      </a:cxn>
                      <a:cxn ang="0">
                        <a:pos x="40" y="8"/>
                      </a:cxn>
                      <a:cxn ang="0">
                        <a:pos x="40" y="8"/>
                      </a:cxn>
                      <a:cxn ang="0">
                        <a:pos x="34" y="4"/>
                      </a:cxn>
                      <a:cxn ang="0">
                        <a:pos x="26" y="0"/>
                      </a:cxn>
                      <a:cxn ang="0">
                        <a:pos x="22" y="0"/>
                      </a:cxn>
                      <a:cxn ang="0">
                        <a:pos x="16" y="0"/>
                      </a:cxn>
                      <a:cxn ang="0">
                        <a:pos x="6" y="4"/>
                      </a:cxn>
                      <a:cxn ang="0">
                        <a:pos x="0" y="8"/>
                      </a:cxn>
                      <a:cxn ang="0">
                        <a:pos x="0" y="8"/>
                      </a:cxn>
                      <a:cxn ang="0">
                        <a:pos x="0" y="12"/>
                      </a:cxn>
                      <a:cxn ang="0">
                        <a:pos x="0" y="14"/>
                      </a:cxn>
                      <a:cxn ang="0">
                        <a:pos x="8" y="22"/>
                      </a:cxn>
                      <a:cxn ang="0">
                        <a:pos x="24" y="28"/>
                      </a:cxn>
                      <a:cxn ang="0">
                        <a:pos x="32" y="28"/>
                      </a:cxn>
                      <a:cxn ang="0">
                        <a:pos x="42" y="30"/>
                      </a:cxn>
                      <a:cxn ang="0">
                        <a:pos x="42" y="30"/>
                      </a:cxn>
                    </a:cxnLst>
                    <a:rect l="0" t="0" r="r" b="b"/>
                    <a:pathLst>
                      <a:path w="54" h="30">
                        <a:moveTo>
                          <a:pt x="42" y="30"/>
                        </a:moveTo>
                        <a:lnTo>
                          <a:pt x="42" y="30"/>
                        </a:lnTo>
                        <a:lnTo>
                          <a:pt x="52" y="28"/>
                        </a:lnTo>
                        <a:lnTo>
                          <a:pt x="54" y="26"/>
                        </a:lnTo>
                        <a:lnTo>
                          <a:pt x="54" y="24"/>
                        </a:lnTo>
                        <a:lnTo>
                          <a:pt x="50" y="18"/>
                        </a:lnTo>
                        <a:lnTo>
                          <a:pt x="40" y="8"/>
                        </a:lnTo>
                        <a:lnTo>
                          <a:pt x="40" y="8"/>
                        </a:lnTo>
                        <a:lnTo>
                          <a:pt x="34" y="4"/>
                        </a:lnTo>
                        <a:lnTo>
                          <a:pt x="26" y="0"/>
                        </a:lnTo>
                        <a:lnTo>
                          <a:pt x="22" y="0"/>
                        </a:lnTo>
                        <a:lnTo>
                          <a:pt x="16" y="0"/>
                        </a:lnTo>
                        <a:lnTo>
                          <a:pt x="6" y="4"/>
                        </a:lnTo>
                        <a:lnTo>
                          <a:pt x="0" y="8"/>
                        </a:lnTo>
                        <a:lnTo>
                          <a:pt x="0" y="8"/>
                        </a:lnTo>
                        <a:lnTo>
                          <a:pt x="0" y="12"/>
                        </a:lnTo>
                        <a:lnTo>
                          <a:pt x="0" y="14"/>
                        </a:lnTo>
                        <a:lnTo>
                          <a:pt x="8" y="22"/>
                        </a:lnTo>
                        <a:lnTo>
                          <a:pt x="24" y="28"/>
                        </a:lnTo>
                        <a:lnTo>
                          <a:pt x="32" y="28"/>
                        </a:lnTo>
                        <a:lnTo>
                          <a:pt x="42" y="30"/>
                        </a:lnTo>
                        <a:lnTo>
                          <a:pt x="42" y="3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2" name="Freeform 6021"/>
                  <p:cNvSpPr>
                    <a:spLocks/>
                  </p:cNvSpPr>
                  <p:nvPr/>
                </p:nvSpPr>
                <p:spPr bwMode="auto">
                  <a:xfrm>
                    <a:off x="1504950" y="994093"/>
                    <a:ext cx="97790" cy="39370"/>
                  </a:xfrm>
                  <a:custGeom>
                    <a:avLst/>
                    <a:gdLst/>
                    <a:ahLst/>
                    <a:cxnLst>
                      <a:cxn ang="0">
                        <a:pos x="106" y="56"/>
                      </a:cxn>
                      <a:cxn ang="0">
                        <a:pos x="106" y="56"/>
                      </a:cxn>
                      <a:cxn ang="0">
                        <a:pos x="120" y="52"/>
                      </a:cxn>
                      <a:cxn ang="0">
                        <a:pos x="130" y="48"/>
                      </a:cxn>
                      <a:cxn ang="0">
                        <a:pos x="136" y="44"/>
                      </a:cxn>
                      <a:cxn ang="0">
                        <a:pos x="138" y="40"/>
                      </a:cxn>
                      <a:cxn ang="0">
                        <a:pos x="138" y="34"/>
                      </a:cxn>
                      <a:cxn ang="0">
                        <a:pos x="132" y="30"/>
                      </a:cxn>
                      <a:cxn ang="0">
                        <a:pos x="124" y="28"/>
                      </a:cxn>
                      <a:cxn ang="0">
                        <a:pos x="114" y="26"/>
                      </a:cxn>
                      <a:cxn ang="0">
                        <a:pos x="114" y="26"/>
                      </a:cxn>
                      <a:cxn ang="0">
                        <a:pos x="104" y="24"/>
                      </a:cxn>
                      <a:cxn ang="0">
                        <a:pos x="104" y="24"/>
                      </a:cxn>
                      <a:cxn ang="0">
                        <a:pos x="118" y="22"/>
                      </a:cxn>
                      <a:cxn ang="0">
                        <a:pos x="138" y="16"/>
                      </a:cxn>
                      <a:cxn ang="0">
                        <a:pos x="148" y="12"/>
                      </a:cxn>
                      <a:cxn ang="0">
                        <a:pos x="152" y="8"/>
                      </a:cxn>
                      <a:cxn ang="0">
                        <a:pos x="152" y="8"/>
                      </a:cxn>
                      <a:cxn ang="0">
                        <a:pos x="154" y="4"/>
                      </a:cxn>
                      <a:cxn ang="0">
                        <a:pos x="152" y="2"/>
                      </a:cxn>
                      <a:cxn ang="0">
                        <a:pos x="148" y="0"/>
                      </a:cxn>
                      <a:cxn ang="0">
                        <a:pos x="138" y="0"/>
                      </a:cxn>
                      <a:cxn ang="0">
                        <a:pos x="124" y="0"/>
                      </a:cxn>
                      <a:cxn ang="0">
                        <a:pos x="90" y="4"/>
                      </a:cxn>
                      <a:cxn ang="0">
                        <a:pos x="50" y="8"/>
                      </a:cxn>
                      <a:cxn ang="0">
                        <a:pos x="50" y="8"/>
                      </a:cxn>
                      <a:cxn ang="0">
                        <a:pos x="18" y="14"/>
                      </a:cxn>
                      <a:cxn ang="0">
                        <a:pos x="8" y="18"/>
                      </a:cxn>
                      <a:cxn ang="0">
                        <a:pos x="4" y="22"/>
                      </a:cxn>
                      <a:cxn ang="0">
                        <a:pos x="0" y="26"/>
                      </a:cxn>
                      <a:cxn ang="0">
                        <a:pos x="0" y="30"/>
                      </a:cxn>
                      <a:cxn ang="0">
                        <a:pos x="8" y="46"/>
                      </a:cxn>
                      <a:cxn ang="0">
                        <a:pos x="8" y="46"/>
                      </a:cxn>
                      <a:cxn ang="0">
                        <a:pos x="14" y="52"/>
                      </a:cxn>
                      <a:cxn ang="0">
                        <a:pos x="22" y="58"/>
                      </a:cxn>
                      <a:cxn ang="0">
                        <a:pos x="32" y="60"/>
                      </a:cxn>
                      <a:cxn ang="0">
                        <a:pos x="46" y="62"/>
                      </a:cxn>
                      <a:cxn ang="0">
                        <a:pos x="74" y="60"/>
                      </a:cxn>
                      <a:cxn ang="0">
                        <a:pos x="106" y="56"/>
                      </a:cxn>
                      <a:cxn ang="0">
                        <a:pos x="106" y="56"/>
                      </a:cxn>
                    </a:cxnLst>
                    <a:rect l="0" t="0" r="r" b="b"/>
                    <a:pathLst>
                      <a:path w="154" h="62">
                        <a:moveTo>
                          <a:pt x="106" y="56"/>
                        </a:moveTo>
                        <a:lnTo>
                          <a:pt x="106" y="56"/>
                        </a:lnTo>
                        <a:lnTo>
                          <a:pt x="120" y="52"/>
                        </a:lnTo>
                        <a:lnTo>
                          <a:pt x="130" y="48"/>
                        </a:lnTo>
                        <a:lnTo>
                          <a:pt x="136" y="44"/>
                        </a:lnTo>
                        <a:lnTo>
                          <a:pt x="138" y="40"/>
                        </a:lnTo>
                        <a:lnTo>
                          <a:pt x="138" y="34"/>
                        </a:lnTo>
                        <a:lnTo>
                          <a:pt x="132" y="30"/>
                        </a:lnTo>
                        <a:lnTo>
                          <a:pt x="124" y="28"/>
                        </a:lnTo>
                        <a:lnTo>
                          <a:pt x="114" y="26"/>
                        </a:lnTo>
                        <a:lnTo>
                          <a:pt x="114" y="26"/>
                        </a:lnTo>
                        <a:lnTo>
                          <a:pt x="104" y="24"/>
                        </a:lnTo>
                        <a:lnTo>
                          <a:pt x="104" y="24"/>
                        </a:lnTo>
                        <a:lnTo>
                          <a:pt x="118" y="22"/>
                        </a:lnTo>
                        <a:lnTo>
                          <a:pt x="138" y="16"/>
                        </a:lnTo>
                        <a:lnTo>
                          <a:pt x="148" y="12"/>
                        </a:lnTo>
                        <a:lnTo>
                          <a:pt x="152" y="8"/>
                        </a:lnTo>
                        <a:lnTo>
                          <a:pt x="152" y="8"/>
                        </a:lnTo>
                        <a:lnTo>
                          <a:pt x="154" y="4"/>
                        </a:lnTo>
                        <a:lnTo>
                          <a:pt x="152" y="2"/>
                        </a:lnTo>
                        <a:lnTo>
                          <a:pt x="148" y="0"/>
                        </a:lnTo>
                        <a:lnTo>
                          <a:pt x="138" y="0"/>
                        </a:lnTo>
                        <a:lnTo>
                          <a:pt x="124" y="0"/>
                        </a:lnTo>
                        <a:lnTo>
                          <a:pt x="90" y="4"/>
                        </a:lnTo>
                        <a:lnTo>
                          <a:pt x="50" y="8"/>
                        </a:lnTo>
                        <a:lnTo>
                          <a:pt x="50" y="8"/>
                        </a:lnTo>
                        <a:lnTo>
                          <a:pt x="18" y="14"/>
                        </a:lnTo>
                        <a:lnTo>
                          <a:pt x="8" y="18"/>
                        </a:lnTo>
                        <a:lnTo>
                          <a:pt x="4" y="22"/>
                        </a:lnTo>
                        <a:lnTo>
                          <a:pt x="0" y="26"/>
                        </a:lnTo>
                        <a:lnTo>
                          <a:pt x="0" y="30"/>
                        </a:lnTo>
                        <a:lnTo>
                          <a:pt x="8" y="46"/>
                        </a:lnTo>
                        <a:lnTo>
                          <a:pt x="8" y="46"/>
                        </a:lnTo>
                        <a:lnTo>
                          <a:pt x="14" y="52"/>
                        </a:lnTo>
                        <a:lnTo>
                          <a:pt x="22" y="58"/>
                        </a:lnTo>
                        <a:lnTo>
                          <a:pt x="32" y="60"/>
                        </a:lnTo>
                        <a:lnTo>
                          <a:pt x="46" y="62"/>
                        </a:lnTo>
                        <a:lnTo>
                          <a:pt x="74" y="60"/>
                        </a:lnTo>
                        <a:lnTo>
                          <a:pt x="106" y="56"/>
                        </a:lnTo>
                        <a:lnTo>
                          <a:pt x="106" y="5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3" name="Freeform 6022"/>
                  <p:cNvSpPr>
                    <a:spLocks/>
                  </p:cNvSpPr>
                  <p:nvPr/>
                </p:nvSpPr>
                <p:spPr bwMode="auto">
                  <a:xfrm>
                    <a:off x="1772920" y="1067753"/>
                    <a:ext cx="143510" cy="87630"/>
                  </a:xfrm>
                  <a:custGeom>
                    <a:avLst/>
                    <a:gdLst/>
                    <a:ahLst/>
                    <a:cxnLst>
                      <a:cxn ang="0">
                        <a:pos x="144" y="12"/>
                      </a:cxn>
                      <a:cxn ang="0">
                        <a:pos x="130" y="4"/>
                      </a:cxn>
                      <a:cxn ang="0">
                        <a:pos x="104" y="4"/>
                      </a:cxn>
                      <a:cxn ang="0">
                        <a:pos x="88" y="8"/>
                      </a:cxn>
                      <a:cxn ang="0">
                        <a:pos x="78" y="14"/>
                      </a:cxn>
                      <a:cxn ang="0">
                        <a:pos x="84" y="22"/>
                      </a:cxn>
                      <a:cxn ang="0">
                        <a:pos x="124" y="62"/>
                      </a:cxn>
                      <a:cxn ang="0">
                        <a:pos x="102" y="50"/>
                      </a:cxn>
                      <a:cxn ang="0">
                        <a:pos x="82" y="34"/>
                      </a:cxn>
                      <a:cxn ang="0">
                        <a:pos x="74" y="24"/>
                      </a:cxn>
                      <a:cxn ang="0">
                        <a:pos x="64" y="20"/>
                      </a:cxn>
                      <a:cxn ang="0">
                        <a:pos x="54" y="18"/>
                      </a:cxn>
                      <a:cxn ang="0">
                        <a:pos x="32" y="20"/>
                      </a:cxn>
                      <a:cxn ang="0">
                        <a:pos x="26" y="26"/>
                      </a:cxn>
                      <a:cxn ang="0">
                        <a:pos x="32" y="36"/>
                      </a:cxn>
                      <a:cxn ang="0">
                        <a:pos x="46" y="52"/>
                      </a:cxn>
                      <a:cxn ang="0">
                        <a:pos x="56" y="64"/>
                      </a:cxn>
                      <a:cxn ang="0">
                        <a:pos x="42" y="60"/>
                      </a:cxn>
                      <a:cxn ang="0">
                        <a:pos x="32" y="62"/>
                      </a:cxn>
                      <a:cxn ang="0">
                        <a:pos x="26" y="66"/>
                      </a:cxn>
                      <a:cxn ang="0">
                        <a:pos x="8" y="74"/>
                      </a:cxn>
                      <a:cxn ang="0">
                        <a:pos x="0" y="78"/>
                      </a:cxn>
                      <a:cxn ang="0">
                        <a:pos x="4" y="86"/>
                      </a:cxn>
                      <a:cxn ang="0">
                        <a:pos x="8" y="88"/>
                      </a:cxn>
                      <a:cxn ang="0">
                        <a:pos x="26" y="90"/>
                      </a:cxn>
                      <a:cxn ang="0">
                        <a:pos x="66" y="86"/>
                      </a:cxn>
                      <a:cxn ang="0">
                        <a:pos x="122" y="76"/>
                      </a:cxn>
                      <a:cxn ang="0">
                        <a:pos x="136" y="76"/>
                      </a:cxn>
                      <a:cxn ang="0">
                        <a:pos x="138" y="80"/>
                      </a:cxn>
                      <a:cxn ang="0">
                        <a:pos x="106" y="90"/>
                      </a:cxn>
                      <a:cxn ang="0">
                        <a:pos x="92" y="98"/>
                      </a:cxn>
                      <a:cxn ang="0">
                        <a:pos x="90" y="104"/>
                      </a:cxn>
                      <a:cxn ang="0">
                        <a:pos x="92" y="106"/>
                      </a:cxn>
                      <a:cxn ang="0">
                        <a:pos x="100" y="120"/>
                      </a:cxn>
                      <a:cxn ang="0">
                        <a:pos x="104" y="136"/>
                      </a:cxn>
                      <a:cxn ang="0">
                        <a:pos x="116" y="136"/>
                      </a:cxn>
                      <a:cxn ang="0">
                        <a:pos x="126" y="134"/>
                      </a:cxn>
                      <a:cxn ang="0">
                        <a:pos x="142" y="128"/>
                      </a:cxn>
                      <a:cxn ang="0">
                        <a:pos x="166" y="132"/>
                      </a:cxn>
                      <a:cxn ang="0">
                        <a:pos x="200" y="128"/>
                      </a:cxn>
                      <a:cxn ang="0">
                        <a:pos x="208" y="122"/>
                      </a:cxn>
                      <a:cxn ang="0">
                        <a:pos x="208" y="112"/>
                      </a:cxn>
                      <a:cxn ang="0">
                        <a:pos x="202" y="100"/>
                      </a:cxn>
                      <a:cxn ang="0">
                        <a:pos x="202" y="88"/>
                      </a:cxn>
                      <a:cxn ang="0">
                        <a:pos x="210" y="88"/>
                      </a:cxn>
                      <a:cxn ang="0">
                        <a:pos x="214" y="92"/>
                      </a:cxn>
                      <a:cxn ang="0">
                        <a:pos x="226" y="98"/>
                      </a:cxn>
                      <a:cxn ang="0">
                        <a:pos x="224" y="90"/>
                      </a:cxn>
                      <a:cxn ang="0">
                        <a:pos x="216" y="76"/>
                      </a:cxn>
                      <a:cxn ang="0">
                        <a:pos x="212" y="60"/>
                      </a:cxn>
                      <a:cxn ang="0">
                        <a:pos x="208" y="30"/>
                      </a:cxn>
                      <a:cxn ang="0">
                        <a:pos x="196" y="10"/>
                      </a:cxn>
                      <a:cxn ang="0">
                        <a:pos x="184" y="4"/>
                      </a:cxn>
                      <a:cxn ang="0">
                        <a:pos x="164" y="0"/>
                      </a:cxn>
                      <a:cxn ang="0">
                        <a:pos x="156" y="6"/>
                      </a:cxn>
                      <a:cxn ang="0">
                        <a:pos x="148" y="14"/>
                      </a:cxn>
                      <a:cxn ang="0">
                        <a:pos x="144" y="12"/>
                      </a:cxn>
                    </a:cxnLst>
                    <a:rect l="0" t="0" r="r" b="b"/>
                    <a:pathLst>
                      <a:path w="226" h="138">
                        <a:moveTo>
                          <a:pt x="144" y="12"/>
                        </a:moveTo>
                        <a:lnTo>
                          <a:pt x="144" y="12"/>
                        </a:lnTo>
                        <a:lnTo>
                          <a:pt x="138" y="6"/>
                        </a:lnTo>
                        <a:lnTo>
                          <a:pt x="130" y="4"/>
                        </a:lnTo>
                        <a:lnTo>
                          <a:pt x="118" y="2"/>
                        </a:lnTo>
                        <a:lnTo>
                          <a:pt x="104" y="4"/>
                        </a:lnTo>
                        <a:lnTo>
                          <a:pt x="88" y="8"/>
                        </a:lnTo>
                        <a:lnTo>
                          <a:pt x="88" y="8"/>
                        </a:lnTo>
                        <a:lnTo>
                          <a:pt x="80" y="10"/>
                        </a:lnTo>
                        <a:lnTo>
                          <a:pt x="78" y="14"/>
                        </a:lnTo>
                        <a:lnTo>
                          <a:pt x="80" y="18"/>
                        </a:lnTo>
                        <a:lnTo>
                          <a:pt x="84" y="22"/>
                        </a:lnTo>
                        <a:lnTo>
                          <a:pt x="102" y="38"/>
                        </a:lnTo>
                        <a:lnTo>
                          <a:pt x="124" y="62"/>
                        </a:lnTo>
                        <a:lnTo>
                          <a:pt x="124" y="62"/>
                        </a:lnTo>
                        <a:lnTo>
                          <a:pt x="102" y="50"/>
                        </a:lnTo>
                        <a:lnTo>
                          <a:pt x="90" y="42"/>
                        </a:lnTo>
                        <a:lnTo>
                          <a:pt x="82" y="34"/>
                        </a:lnTo>
                        <a:lnTo>
                          <a:pt x="78" y="28"/>
                        </a:lnTo>
                        <a:lnTo>
                          <a:pt x="74" y="24"/>
                        </a:lnTo>
                        <a:lnTo>
                          <a:pt x="70" y="22"/>
                        </a:lnTo>
                        <a:lnTo>
                          <a:pt x="64" y="20"/>
                        </a:lnTo>
                        <a:lnTo>
                          <a:pt x="54" y="18"/>
                        </a:lnTo>
                        <a:lnTo>
                          <a:pt x="54" y="18"/>
                        </a:lnTo>
                        <a:lnTo>
                          <a:pt x="40" y="18"/>
                        </a:lnTo>
                        <a:lnTo>
                          <a:pt x="32" y="20"/>
                        </a:lnTo>
                        <a:lnTo>
                          <a:pt x="28" y="22"/>
                        </a:lnTo>
                        <a:lnTo>
                          <a:pt x="26" y="26"/>
                        </a:lnTo>
                        <a:lnTo>
                          <a:pt x="28" y="30"/>
                        </a:lnTo>
                        <a:lnTo>
                          <a:pt x="32" y="36"/>
                        </a:lnTo>
                        <a:lnTo>
                          <a:pt x="46" y="52"/>
                        </a:lnTo>
                        <a:lnTo>
                          <a:pt x="46" y="52"/>
                        </a:lnTo>
                        <a:lnTo>
                          <a:pt x="56" y="64"/>
                        </a:lnTo>
                        <a:lnTo>
                          <a:pt x="56" y="64"/>
                        </a:lnTo>
                        <a:lnTo>
                          <a:pt x="52" y="62"/>
                        </a:lnTo>
                        <a:lnTo>
                          <a:pt x="42" y="60"/>
                        </a:lnTo>
                        <a:lnTo>
                          <a:pt x="36" y="60"/>
                        </a:lnTo>
                        <a:lnTo>
                          <a:pt x="32" y="62"/>
                        </a:lnTo>
                        <a:lnTo>
                          <a:pt x="32" y="62"/>
                        </a:lnTo>
                        <a:lnTo>
                          <a:pt x="26" y="66"/>
                        </a:lnTo>
                        <a:lnTo>
                          <a:pt x="20" y="70"/>
                        </a:lnTo>
                        <a:lnTo>
                          <a:pt x="8" y="74"/>
                        </a:lnTo>
                        <a:lnTo>
                          <a:pt x="4" y="76"/>
                        </a:lnTo>
                        <a:lnTo>
                          <a:pt x="0" y="78"/>
                        </a:lnTo>
                        <a:lnTo>
                          <a:pt x="0" y="82"/>
                        </a:lnTo>
                        <a:lnTo>
                          <a:pt x="4" y="86"/>
                        </a:lnTo>
                        <a:lnTo>
                          <a:pt x="4" y="86"/>
                        </a:lnTo>
                        <a:lnTo>
                          <a:pt x="8" y="88"/>
                        </a:lnTo>
                        <a:lnTo>
                          <a:pt x="12" y="90"/>
                        </a:lnTo>
                        <a:lnTo>
                          <a:pt x="26" y="90"/>
                        </a:lnTo>
                        <a:lnTo>
                          <a:pt x="44" y="88"/>
                        </a:lnTo>
                        <a:lnTo>
                          <a:pt x="66" y="86"/>
                        </a:lnTo>
                        <a:lnTo>
                          <a:pt x="106" y="78"/>
                        </a:lnTo>
                        <a:lnTo>
                          <a:pt x="122" y="76"/>
                        </a:lnTo>
                        <a:lnTo>
                          <a:pt x="136" y="76"/>
                        </a:lnTo>
                        <a:lnTo>
                          <a:pt x="136" y="76"/>
                        </a:lnTo>
                        <a:lnTo>
                          <a:pt x="140" y="78"/>
                        </a:lnTo>
                        <a:lnTo>
                          <a:pt x="138" y="80"/>
                        </a:lnTo>
                        <a:lnTo>
                          <a:pt x="118" y="86"/>
                        </a:lnTo>
                        <a:lnTo>
                          <a:pt x="106" y="90"/>
                        </a:lnTo>
                        <a:lnTo>
                          <a:pt x="96" y="94"/>
                        </a:lnTo>
                        <a:lnTo>
                          <a:pt x="92" y="98"/>
                        </a:lnTo>
                        <a:lnTo>
                          <a:pt x="90" y="100"/>
                        </a:lnTo>
                        <a:lnTo>
                          <a:pt x="90" y="104"/>
                        </a:lnTo>
                        <a:lnTo>
                          <a:pt x="92" y="106"/>
                        </a:lnTo>
                        <a:lnTo>
                          <a:pt x="92" y="106"/>
                        </a:lnTo>
                        <a:lnTo>
                          <a:pt x="98" y="114"/>
                        </a:lnTo>
                        <a:lnTo>
                          <a:pt x="100" y="120"/>
                        </a:lnTo>
                        <a:lnTo>
                          <a:pt x="102" y="132"/>
                        </a:lnTo>
                        <a:lnTo>
                          <a:pt x="104" y="136"/>
                        </a:lnTo>
                        <a:lnTo>
                          <a:pt x="108" y="138"/>
                        </a:lnTo>
                        <a:lnTo>
                          <a:pt x="116" y="136"/>
                        </a:lnTo>
                        <a:lnTo>
                          <a:pt x="126" y="134"/>
                        </a:lnTo>
                        <a:lnTo>
                          <a:pt x="126" y="134"/>
                        </a:lnTo>
                        <a:lnTo>
                          <a:pt x="136" y="130"/>
                        </a:lnTo>
                        <a:lnTo>
                          <a:pt x="142" y="128"/>
                        </a:lnTo>
                        <a:lnTo>
                          <a:pt x="166" y="132"/>
                        </a:lnTo>
                        <a:lnTo>
                          <a:pt x="166" y="132"/>
                        </a:lnTo>
                        <a:lnTo>
                          <a:pt x="184" y="132"/>
                        </a:lnTo>
                        <a:lnTo>
                          <a:pt x="200" y="128"/>
                        </a:lnTo>
                        <a:lnTo>
                          <a:pt x="206" y="126"/>
                        </a:lnTo>
                        <a:lnTo>
                          <a:pt x="208" y="122"/>
                        </a:lnTo>
                        <a:lnTo>
                          <a:pt x="210" y="118"/>
                        </a:lnTo>
                        <a:lnTo>
                          <a:pt x="208" y="112"/>
                        </a:lnTo>
                        <a:lnTo>
                          <a:pt x="208" y="112"/>
                        </a:lnTo>
                        <a:lnTo>
                          <a:pt x="202" y="100"/>
                        </a:lnTo>
                        <a:lnTo>
                          <a:pt x="202" y="92"/>
                        </a:lnTo>
                        <a:lnTo>
                          <a:pt x="202" y="88"/>
                        </a:lnTo>
                        <a:lnTo>
                          <a:pt x="206" y="88"/>
                        </a:lnTo>
                        <a:lnTo>
                          <a:pt x="210" y="88"/>
                        </a:lnTo>
                        <a:lnTo>
                          <a:pt x="214" y="92"/>
                        </a:lnTo>
                        <a:lnTo>
                          <a:pt x="214" y="92"/>
                        </a:lnTo>
                        <a:lnTo>
                          <a:pt x="224" y="98"/>
                        </a:lnTo>
                        <a:lnTo>
                          <a:pt x="226" y="98"/>
                        </a:lnTo>
                        <a:lnTo>
                          <a:pt x="226" y="98"/>
                        </a:lnTo>
                        <a:lnTo>
                          <a:pt x="224" y="90"/>
                        </a:lnTo>
                        <a:lnTo>
                          <a:pt x="216" y="76"/>
                        </a:lnTo>
                        <a:lnTo>
                          <a:pt x="216" y="76"/>
                        </a:lnTo>
                        <a:lnTo>
                          <a:pt x="214" y="68"/>
                        </a:lnTo>
                        <a:lnTo>
                          <a:pt x="212" y="60"/>
                        </a:lnTo>
                        <a:lnTo>
                          <a:pt x="210" y="40"/>
                        </a:lnTo>
                        <a:lnTo>
                          <a:pt x="208" y="30"/>
                        </a:lnTo>
                        <a:lnTo>
                          <a:pt x="204" y="20"/>
                        </a:lnTo>
                        <a:lnTo>
                          <a:pt x="196" y="10"/>
                        </a:lnTo>
                        <a:lnTo>
                          <a:pt x="184" y="4"/>
                        </a:lnTo>
                        <a:lnTo>
                          <a:pt x="184" y="4"/>
                        </a:lnTo>
                        <a:lnTo>
                          <a:pt x="172" y="0"/>
                        </a:lnTo>
                        <a:lnTo>
                          <a:pt x="164" y="0"/>
                        </a:lnTo>
                        <a:lnTo>
                          <a:pt x="160" y="2"/>
                        </a:lnTo>
                        <a:lnTo>
                          <a:pt x="156" y="6"/>
                        </a:lnTo>
                        <a:lnTo>
                          <a:pt x="152" y="14"/>
                        </a:lnTo>
                        <a:lnTo>
                          <a:pt x="148" y="14"/>
                        </a:lnTo>
                        <a:lnTo>
                          <a:pt x="144" y="12"/>
                        </a:lnTo>
                        <a:lnTo>
                          <a:pt x="144" y="1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4" name="Freeform 6023"/>
                  <p:cNvSpPr>
                    <a:spLocks/>
                  </p:cNvSpPr>
                  <p:nvPr/>
                </p:nvSpPr>
                <p:spPr bwMode="auto">
                  <a:xfrm>
                    <a:off x="1842770" y="887413"/>
                    <a:ext cx="36830" cy="25400"/>
                  </a:xfrm>
                  <a:custGeom>
                    <a:avLst/>
                    <a:gdLst/>
                    <a:ahLst/>
                    <a:cxnLst>
                      <a:cxn ang="0">
                        <a:pos x="30" y="32"/>
                      </a:cxn>
                      <a:cxn ang="0">
                        <a:pos x="30" y="32"/>
                      </a:cxn>
                      <a:cxn ang="0">
                        <a:pos x="40" y="38"/>
                      </a:cxn>
                      <a:cxn ang="0">
                        <a:pos x="46" y="40"/>
                      </a:cxn>
                      <a:cxn ang="0">
                        <a:pos x="50" y="40"/>
                      </a:cxn>
                      <a:cxn ang="0">
                        <a:pos x="54" y="38"/>
                      </a:cxn>
                      <a:cxn ang="0">
                        <a:pos x="56" y="34"/>
                      </a:cxn>
                      <a:cxn ang="0">
                        <a:pos x="58" y="28"/>
                      </a:cxn>
                      <a:cxn ang="0">
                        <a:pos x="56" y="20"/>
                      </a:cxn>
                      <a:cxn ang="0">
                        <a:pos x="56" y="20"/>
                      </a:cxn>
                      <a:cxn ang="0">
                        <a:pos x="52" y="12"/>
                      </a:cxn>
                      <a:cxn ang="0">
                        <a:pos x="46" y="6"/>
                      </a:cxn>
                      <a:cxn ang="0">
                        <a:pos x="36" y="2"/>
                      </a:cxn>
                      <a:cxn ang="0">
                        <a:pos x="26" y="0"/>
                      </a:cxn>
                      <a:cxn ang="0">
                        <a:pos x="16" y="0"/>
                      </a:cxn>
                      <a:cxn ang="0">
                        <a:pos x="6" y="2"/>
                      </a:cxn>
                      <a:cxn ang="0">
                        <a:pos x="2" y="6"/>
                      </a:cxn>
                      <a:cxn ang="0">
                        <a:pos x="0" y="10"/>
                      </a:cxn>
                      <a:cxn ang="0">
                        <a:pos x="0" y="14"/>
                      </a:cxn>
                      <a:cxn ang="0">
                        <a:pos x="0" y="14"/>
                      </a:cxn>
                      <a:cxn ang="0">
                        <a:pos x="0" y="18"/>
                      </a:cxn>
                      <a:cxn ang="0">
                        <a:pos x="4" y="22"/>
                      </a:cxn>
                      <a:cxn ang="0">
                        <a:pos x="10" y="24"/>
                      </a:cxn>
                      <a:cxn ang="0">
                        <a:pos x="18" y="26"/>
                      </a:cxn>
                      <a:cxn ang="0">
                        <a:pos x="24" y="28"/>
                      </a:cxn>
                      <a:cxn ang="0">
                        <a:pos x="30" y="32"/>
                      </a:cxn>
                      <a:cxn ang="0">
                        <a:pos x="30" y="32"/>
                      </a:cxn>
                    </a:cxnLst>
                    <a:rect l="0" t="0" r="r" b="b"/>
                    <a:pathLst>
                      <a:path w="58" h="40">
                        <a:moveTo>
                          <a:pt x="30" y="32"/>
                        </a:moveTo>
                        <a:lnTo>
                          <a:pt x="30" y="32"/>
                        </a:lnTo>
                        <a:lnTo>
                          <a:pt x="40" y="38"/>
                        </a:lnTo>
                        <a:lnTo>
                          <a:pt x="46" y="40"/>
                        </a:lnTo>
                        <a:lnTo>
                          <a:pt x="50" y="40"/>
                        </a:lnTo>
                        <a:lnTo>
                          <a:pt x="54" y="38"/>
                        </a:lnTo>
                        <a:lnTo>
                          <a:pt x="56" y="34"/>
                        </a:lnTo>
                        <a:lnTo>
                          <a:pt x="58" y="28"/>
                        </a:lnTo>
                        <a:lnTo>
                          <a:pt x="56" y="20"/>
                        </a:lnTo>
                        <a:lnTo>
                          <a:pt x="56" y="20"/>
                        </a:lnTo>
                        <a:lnTo>
                          <a:pt x="52" y="12"/>
                        </a:lnTo>
                        <a:lnTo>
                          <a:pt x="46" y="6"/>
                        </a:lnTo>
                        <a:lnTo>
                          <a:pt x="36" y="2"/>
                        </a:lnTo>
                        <a:lnTo>
                          <a:pt x="26" y="0"/>
                        </a:lnTo>
                        <a:lnTo>
                          <a:pt x="16" y="0"/>
                        </a:lnTo>
                        <a:lnTo>
                          <a:pt x="6" y="2"/>
                        </a:lnTo>
                        <a:lnTo>
                          <a:pt x="2" y="6"/>
                        </a:lnTo>
                        <a:lnTo>
                          <a:pt x="0" y="10"/>
                        </a:lnTo>
                        <a:lnTo>
                          <a:pt x="0" y="14"/>
                        </a:lnTo>
                        <a:lnTo>
                          <a:pt x="0" y="14"/>
                        </a:lnTo>
                        <a:lnTo>
                          <a:pt x="0" y="18"/>
                        </a:lnTo>
                        <a:lnTo>
                          <a:pt x="4" y="22"/>
                        </a:lnTo>
                        <a:lnTo>
                          <a:pt x="10" y="24"/>
                        </a:lnTo>
                        <a:lnTo>
                          <a:pt x="18" y="26"/>
                        </a:lnTo>
                        <a:lnTo>
                          <a:pt x="24" y="28"/>
                        </a:lnTo>
                        <a:lnTo>
                          <a:pt x="30" y="32"/>
                        </a:lnTo>
                        <a:lnTo>
                          <a:pt x="30" y="3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5" name="Freeform 6024"/>
                  <p:cNvSpPr>
                    <a:spLocks/>
                  </p:cNvSpPr>
                  <p:nvPr/>
                </p:nvSpPr>
                <p:spPr bwMode="auto">
                  <a:xfrm>
                    <a:off x="1507490" y="963613"/>
                    <a:ext cx="102870" cy="24130"/>
                  </a:xfrm>
                  <a:custGeom>
                    <a:avLst/>
                    <a:gdLst/>
                    <a:ahLst/>
                    <a:cxnLst>
                      <a:cxn ang="0">
                        <a:pos x="20" y="34"/>
                      </a:cxn>
                      <a:cxn ang="0">
                        <a:pos x="20" y="34"/>
                      </a:cxn>
                      <a:cxn ang="0">
                        <a:pos x="26" y="32"/>
                      </a:cxn>
                      <a:cxn ang="0">
                        <a:pos x="34" y="32"/>
                      </a:cxn>
                      <a:cxn ang="0">
                        <a:pos x="60" y="36"/>
                      </a:cxn>
                      <a:cxn ang="0">
                        <a:pos x="60" y="36"/>
                      </a:cxn>
                      <a:cxn ang="0">
                        <a:pos x="72" y="38"/>
                      </a:cxn>
                      <a:cxn ang="0">
                        <a:pos x="76" y="36"/>
                      </a:cxn>
                      <a:cxn ang="0">
                        <a:pos x="84" y="34"/>
                      </a:cxn>
                      <a:cxn ang="0">
                        <a:pos x="108" y="34"/>
                      </a:cxn>
                      <a:cxn ang="0">
                        <a:pos x="108" y="34"/>
                      </a:cxn>
                      <a:cxn ang="0">
                        <a:pos x="124" y="36"/>
                      </a:cxn>
                      <a:cxn ang="0">
                        <a:pos x="138" y="34"/>
                      </a:cxn>
                      <a:cxn ang="0">
                        <a:pos x="150" y="32"/>
                      </a:cxn>
                      <a:cxn ang="0">
                        <a:pos x="158" y="28"/>
                      </a:cxn>
                      <a:cxn ang="0">
                        <a:pos x="162" y="24"/>
                      </a:cxn>
                      <a:cxn ang="0">
                        <a:pos x="162" y="22"/>
                      </a:cxn>
                      <a:cxn ang="0">
                        <a:pos x="160" y="18"/>
                      </a:cxn>
                      <a:cxn ang="0">
                        <a:pos x="152" y="12"/>
                      </a:cxn>
                      <a:cxn ang="0">
                        <a:pos x="138" y="6"/>
                      </a:cxn>
                      <a:cxn ang="0">
                        <a:pos x="138" y="6"/>
                      </a:cxn>
                      <a:cxn ang="0">
                        <a:pos x="122" y="0"/>
                      </a:cxn>
                      <a:cxn ang="0">
                        <a:pos x="108" y="0"/>
                      </a:cxn>
                      <a:cxn ang="0">
                        <a:pos x="96" y="0"/>
                      </a:cxn>
                      <a:cxn ang="0">
                        <a:pos x="86" y="2"/>
                      </a:cxn>
                      <a:cxn ang="0">
                        <a:pos x="64" y="10"/>
                      </a:cxn>
                      <a:cxn ang="0">
                        <a:pos x="52" y="14"/>
                      </a:cxn>
                      <a:cxn ang="0">
                        <a:pos x="36" y="16"/>
                      </a:cxn>
                      <a:cxn ang="0">
                        <a:pos x="36" y="16"/>
                      </a:cxn>
                      <a:cxn ang="0">
                        <a:pos x="22" y="20"/>
                      </a:cxn>
                      <a:cxn ang="0">
                        <a:pos x="10" y="24"/>
                      </a:cxn>
                      <a:cxn ang="0">
                        <a:pos x="4" y="28"/>
                      </a:cxn>
                      <a:cxn ang="0">
                        <a:pos x="0" y="30"/>
                      </a:cxn>
                      <a:cxn ang="0">
                        <a:pos x="0" y="34"/>
                      </a:cxn>
                      <a:cxn ang="0">
                        <a:pos x="4" y="36"/>
                      </a:cxn>
                      <a:cxn ang="0">
                        <a:pos x="10" y="36"/>
                      </a:cxn>
                      <a:cxn ang="0">
                        <a:pos x="20" y="34"/>
                      </a:cxn>
                      <a:cxn ang="0">
                        <a:pos x="20" y="34"/>
                      </a:cxn>
                    </a:cxnLst>
                    <a:rect l="0" t="0" r="r" b="b"/>
                    <a:pathLst>
                      <a:path w="162" h="38">
                        <a:moveTo>
                          <a:pt x="20" y="34"/>
                        </a:moveTo>
                        <a:lnTo>
                          <a:pt x="20" y="34"/>
                        </a:lnTo>
                        <a:lnTo>
                          <a:pt x="26" y="32"/>
                        </a:lnTo>
                        <a:lnTo>
                          <a:pt x="34" y="32"/>
                        </a:lnTo>
                        <a:lnTo>
                          <a:pt x="60" y="36"/>
                        </a:lnTo>
                        <a:lnTo>
                          <a:pt x="60" y="36"/>
                        </a:lnTo>
                        <a:lnTo>
                          <a:pt x="72" y="38"/>
                        </a:lnTo>
                        <a:lnTo>
                          <a:pt x="76" y="36"/>
                        </a:lnTo>
                        <a:lnTo>
                          <a:pt x="84" y="34"/>
                        </a:lnTo>
                        <a:lnTo>
                          <a:pt x="108" y="34"/>
                        </a:lnTo>
                        <a:lnTo>
                          <a:pt x="108" y="34"/>
                        </a:lnTo>
                        <a:lnTo>
                          <a:pt x="124" y="36"/>
                        </a:lnTo>
                        <a:lnTo>
                          <a:pt x="138" y="34"/>
                        </a:lnTo>
                        <a:lnTo>
                          <a:pt x="150" y="32"/>
                        </a:lnTo>
                        <a:lnTo>
                          <a:pt x="158" y="28"/>
                        </a:lnTo>
                        <a:lnTo>
                          <a:pt x="162" y="24"/>
                        </a:lnTo>
                        <a:lnTo>
                          <a:pt x="162" y="22"/>
                        </a:lnTo>
                        <a:lnTo>
                          <a:pt x="160" y="18"/>
                        </a:lnTo>
                        <a:lnTo>
                          <a:pt x="152" y="12"/>
                        </a:lnTo>
                        <a:lnTo>
                          <a:pt x="138" y="6"/>
                        </a:lnTo>
                        <a:lnTo>
                          <a:pt x="138" y="6"/>
                        </a:lnTo>
                        <a:lnTo>
                          <a:pt x="122" y="0"/>
                        </a:lnTo>
                        <a:lnTo>
                          <a:pt x="108" y="0"/>
                        </a:lnTo>
                        <a:lnTo>
                          <a:pt x="96" y="0"/>
                        </a:lnTo>
                        <a:lnTo>
                          <a:pt x="86" y="2"/>
                        </a:lnTo>
                        <a:lnTo>
                          <a:pt x="64" y="10"/>
                        </a:lnTo>
                        <a:lnTo>
                          <a:pt x="52" y="14"/>
                        </a:lnTo>
                        <a:lnTo>
                          <a:pt x="36" y="16"/>
                        </a:lnTo>
                        <a:lnTo>
                          <a:pt x="36" y="16"/>
                        </a:lnTo>
                        <a:lnTo>
                          <a:pt x="22" y="20"/>
                        </a:lnTo>
                        <a:lnTo>
                          <a:pt x="10" y="24"/>
                        </a:lnTo>
                        <a:lnTo>
                          <a:pt x="4" y="28"/>
                        </a:lnTo>
                        <a:lnTo>
                          <a:pt x="0" y="30"/>
                        </a:lnTo>
                        <a:lnTo>
                          <a:pt x="0" y="34"/>
                        </a:lnTo>
                        <a:lnTo>
                          <a:pt x="4" y="36"/>
                        </a:lnTo>
                        <a:lnTo>
                          <a:pt x="10" y="36"/>
                        </a:lnTo>
                        <a:lnTo>
                          <a:pt x="20" y="34"/>
                        </a:lnTo>
                        <a:lnTo>
                          <a:pt x="20" y="3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6" name="Freeform 6025"/>
                  <p:cNvSpPr>
                    <a:spLocks/>
                  </p:cNvSpPr>
                  <p:nvPr/>
                </p:nvSpPr>
                <p:spPr bwMode="auto">
                  <a:xfrm>
                    <a:off x="1703070" y="928053"/>
                    <a:ext cx="168910" cy="82550"/>
                  </a:xfrm>
                  <a:custGeom>
                    <a:avLst/>
                    <a:gdLst/>
                    <a:ahLst/>
                    <a:cxnLst>
                      <a:cxn ang="0">
                        <a:pos x="30" y="40"/>
                      </a:cxn>
                      <a:cxn ang="0">
                        <a:pos x="32" y="50"/>
                      </a:cxn>
                      <a:cxn ang="0">
                        <a:pos x="40" y="46"/>
                      </a:cxn>
                      <a:cxn ang="0">
                        <a:pos x="52" y="44"/>
                      </a:cxn>
                      <a:cxn ang="0">
                        <a:pos x="66" y="54"/>
                      </a:cxn>
                      <a:cxn ang="0">
                        <a:pos x="72" y="62"/>
                      </a:cxn>
                      <a:cxn ang="0">
                        <a:pos x="68" y="70"/>
                      </a:cxn>
                      <a:cxn ang="0">
                        <a:pos x="44" y="68"/>
                      </a:cxn>
                      <a:cxn ang="0">
                        <a:pos x="26" y="70"/>
                      </a:cxn>
                      <a:cxn ang="0">
                        <a:pos x="24" y="74"/>
                      </a:cxn>
                      <a:cxn ang="0">
                        <a:pos x="24" y="82"/>
                      </a:cxn>
                      <a:cxn ang="0">
                        <a:pos x="36" y="90"/>
                      </a:cxn>
                      <a:cxn ang="0">
                        <a:pos x="60" y="92"/>
                      </a:cxn>
                      <a:cxn ang="0">
                        <a:pos x="78" y="88"/>
                      </a:cxn>
                      <a:cxn ang="0">
                        <a:pos x="108" y="82"/>
                      </a:cxn>
                      <a:cxn ang="0">
                        <a:pos x="114" y="86"/>
                      </a:cxn>
                      <a:cxn ang="0">
                        <a:pos x="120" y="92"/>
                      </a:cxn>
                      <a:cxn ang="0">
                        <a:pos x="146" y="90"/>
                      </a:cxn>
                      <a:cxn ang="0">
                        <a:pos x="156" y="90"/>
                      </a:cxn>
                      <a:cxn ang="0">
                        <a:pos x="170" y="92"/>
                      </a:cxn>
                      <a:cxn ang="0">
                        <a:pos x="182" y="102"/>
                      </a:cxn>
                      <a:cxn ang="0">
                        <a:pos x="194" y="120"/>
                      </a:cxn>
                      <a:cxn ang="0">
                        <a:pos x="204" y="126"/>
                      </a:cxn>
                      <a:cxn ang="0">
                        <a:pos x="220" y="130"/>
                      </a:cxn>
                      <a:cxn ang="0">
                        <a:pos x="244" y="128"/>
                      </a:cxn>
                      <a:cxn ang="0">
                        <a:pos x="254" y="126"/>
                      </a:cxn>
                      <a:cxn ang="0">
                        <a:pos x="266" y="122"/>
                      </a:cxn>
                      <a:cxn ang="0">
                        <a:pos x="266" y="114"/>
                      </a:cxn>
                      <a:cxn ang="0">
                        <a:pos x="258" y="102"/>
                      </a:cxn>
                      <a:cxn ang="0">
                        <a:pos x="234" y="82"/>
                      </a:cxn>
                      <a:cxn ang="0">
                        <a:pos x="238" y="78"/>
                      </a:cxn>
                      <a:cxn ang="0">
                        <a:pos x="242" y="76"/>
                      </a:cxn>
                      <a:cxn ang="0">
                        <a:pos x="248" y="68"/>
                      </a:cxn>
                      <a:cxn ang="0">
                        <a:pos x="242" y="58"/>
                      </a:cxn>
                      <a:cxn ang="0">
                        <a:pos x="224" y="50"/>
                      </a:cxn>
                      <a:cxn ang="0">
                        <a:pos x="210" y="48"/>
                      </a:cxn>
                      <a:cxn ang="0">
                        <a:pos x="186" y="44"/>
                      </a:cxn>
                      <a:cxn ang="0">
                        <a:pos x="184" y="40"/>
                      </a:cxn>
                      <a:cxn ang="0">
                        <a:pos x="176" y="32"/>
                      </a:cxn>
                      <a:cxn ang="0">
                        <a:pos x="164" y="28"/>
                      </a:cxn>
                      <a:cxn ang="0">
                        <a:pos x="140" y="26"/>
                      </a:cxn>
                      <a:cxn ang="0">
                        <a:pos x="130" y="32"/>
                      </a:cxn>
                      <a:cxn ang="0">
                        <a:pos x="124" y="36"/>
                      </a:cxn>
                      <a:cxn ang="0">
                        <a:pos x="118" y="28"/>
                      </a:cxn>
                      <a:cxn ang="0">
                        <a:pos x="114" y="24"/>
                      </a:cxn>
                      <a:cxn ang="0">
                        <a:pos x="96" y="10"/>
                      </a:cxn>
                      <a:cxn ang="0">
                        <a:pos x="58" y="0"/>
                      </a:cxn>
                      <a:cxn ang="0">
                        <a:pos x="22" y="2"/>
                      </a:cxn>
                      <a:cxn ang="0">
                        <a:pos x="10" y="8"/>
                      </a:cxn>
                      <a:cxn ang="0">
                        <a:pos x="2" y="18"/>
                      </a:cxn>
                      <a:cxn ang="0">
                        <a:pos x="0" y="28"/>
                      </a:cxn>
                      <a:cxn ang="0">
                        <a:pos x="8" y="34"/>
                      </a:cxn>
                      <a:cxn ang="0">
                        <a:pos x="20" y="30"/>
                      </a:cxn>
                      <a:cxn ang="0">
                        <a:pos x="28" y="34"/>
                      </a:cxn>
                      <a:cxn ang="0">
                        <a:pos x="30" y="40"/>
                      </a:cxn>
                    </a:cxnLst>
                    <a:rect l="0" t="0" r="r" b="b"/>
                    <a:pathLst>
                      <a:path w="266" h="130">
                        <a:moveTo>
                          <a:pt x="30" y="40"/>
                        </a:moveTo>
                        <a:lnTo>
                          <a:pt x="30" y="40"/>
                        </a:lnTo>
                        <a:lnTo>
                          <a:pt x="30" y="48"/>
                        </a:lnTo>
                        <a:lnTo>
                          <a:pt x="32" y="50"/>
                        </a:lnTo>
                        <a:lnTo>
                          <a:pt x="36" y="50"/>
                        </a:lnTo>
                        <a:lnTo>
                          <a:pt x="40" y="46"/>
                        </a:lnTo>
                        <a:lnTo>
                          <a:pt x="46" y="44"/>
                        </a:lnTo>
                        <a:lnTo>
                          <a:pt x="52" y="44"/>
                        </a:lnTo>
                        <a:lnTo>
                          <a:pt x="58" y="46"/>
                        </a:lnTo>
                        <a:lnTo>
                          <a:pt x="66" y="54"/>
                        </a:lnTo>
                        <a:lnTo>
                          <a:pt x="66" y="54"/>
                        </a:lnTo>
                        <a:lnTo>
                          <a:pt x="72" y="62"/>
                        </a:lnTo>
                        <a:lnTo>
                          <a:pt x="72" y="66"/>
                        </a:lnTo>
                        <a:lnTo>
                          <a:pt x="68" y="70"/>
                        </a:lnTo>
                        <a:lnTo>
                          <a:pt x="60" y="70"/>
                        </a:lnTo>
                        <a:lnTo>
                          <a:pt x="44" y="68"/>
                        </a:lnTo>
                        <a:lnTo>
                          <a:pt x="34" y="68"/>
                        </a:lnTo>
                        <a:lnTo>
                          <a:pt x="26" y="70"/>
                        </a:lnTo>
                        <a:lnTo>
                          <a:pt x="26" y="70"/>
                        </a:lnTo>
                        <a:lnTo>
                          <a:pt x="24" y="74"/>
                        </a:lnTo>
                        <a:lnTo>
                          <a:pt x="22" y="78"/>
                        </a:lnTo>
                        <a:lnTo>
                          <a:pt x="24" y="82"/>
                        </a:lnTo>
                        <a:lnTo>
                          <a:pt x="28" y="86"/>
                        </a:lnTo>
                        <a:lnTo>
                          <a:pt x="36" y="90"/>
                        </a:lnTo>
                        <a:lnTo>
                          <a:pt x="46" y="92"/>
                        </a:lnTo>
                        <a:lnTo>
                          <a:pt x="60" y="92"/>
                        </a:lnTo>
                        <a:lnTo>
                          <a:pt x="78" y="88"/>
                        </a:lnTo>
                        <a:lnTo>
                          <a:pt x="78" y="88"/>
                        </a:lnTo>
                        <a:lnTo>
                          <a:pt x="98" y="82"/>
                        </a:lnTo>
                        <a:lnTo>
                          <a:pt x="108" y="82"/>
                        </a:lnTo>
                        <a:lnTo>
                          <a:pt x="112" y="82"/>
                        </a:lnTo>
                        <a:lnTo>
                          <a:pt x="114" y="86"/>
                        </a:lnTo>
                        <a:lnTo>
                          <a:pt x="116" y="88"/>
                        </a:lnTo>
                        <a:lnTo>
                          <a:pt x="120" y="92"/>
                        </a:lnTo>
                        <a:lnTo>
                          <a:pt x="130" y="92"/>
                        </a:lnTo>
                        <a:lnTo>
                          <a:pt x="146" y="90"/>
                        </a:lnTo>
                        <a:lnTo>
                          <a:pt x="146" y="90"/>
                        </a:lnTo>
                        <a:lnTo>
                          <a:pt x="156" y="90"/>
                        </a:lnTo>
                        <a:lnTo>
                          <a:pt x="164" y="90"/>
                        </a:lnTo>
                        <a:lnTo>
                          <a:pt x="170" y="92"/>
                        </a:lnTo>
                        <a:lnTo>
                          <a:pt x="174" y="94"/>
                        </a:lnTo>
                        <a:lnTo>
                          <a:pt x="182" y="102"/>
                        </a:lnTo>
                        <a:lnTo>
                          <a:pt x="186" y="110"/>
                        </a:lnTo>
                        <a:lnTo>
                          <a:pt x="194" y="120"/>
                        </a:lnTo>
                        <a:lnTo>
                          <a:pt x="198" y="124"/>
                        </a:lnTo>
                        <a:lnTo>
                          <a:pt x="204" y="126"/>
                        </a:lnTo>
                        <a:lnTo>
                          <a:pt x="210" y="128"/>
                        </a:lnTo>
                        <a:lnTo>
                          <a:pt x="220" y="130"/>
                        </a:lnTo>
                        <a:lnTo>
                          <a:pt x="230" y="130"/>
                        </a:lnTo>
                        <a:lnTo>
                          <a:pt x="244" y="128"/>
                        </a:lnTo>
                        <a:lnTo>
                          <a:pt x="244" y="128"/>
                        </a:lnTo>
                        <a:lnTo>
                          <a:pt x="254" y="126"/>
                        </a:lnTo>
                        <a:lnTo>
                          <a:pt x="262" y="124"/>
                        </a:lnTo>
                        <a:lnTo>
                          <a:pt x="266" y="122"/>
                        </a:lnTo>
                        <a:lnTo>
                          <a:pt x="266" y="118"/>
                        </a:lnTo>
                        <a:lnTo>
                          <a:pt x="266" y="114"/>
                        </a:lnTo>
                        <a:lnTo>
                          <a:pt x="264" y="110"/>
                        </a:lnTo>
                        <a:lnTo>
                          <a:pt x="258" y="102"/>
                        </a:lnTo>
                        <a:lnTo>
                          <a:pt x="240" y="88"/>
                        </a:lnTo>
                        <a:lnTo>
                          <a:pt x="234" y="82"/>
                        </a:lnTo>
                        <a:lnTo>
                          <a:pt x="234" y="80"/>
                        </a:lnTo>
                        <a:lnTo>
                          <a:pt x="238" y="78"/>
                        </a:lnTo>
                        <a:lnTo>
                          <a:pt x="238" y="78"/>
                        </a:lnTo>
                        <a:lnTo>
                          <a:pt x="242" y="76"/>
                        </a:lnTo>
                        <a:lnTo>
                          <a:pt x="246" y="72"/>
                        </a:lnTo>
                        <a:lnTo>
                          <a:pt x="248" y="68"/>
                        </a:lnTo>
                        <a:lnTo>
                          <a:pt x="246" y="64"/>
                        </a:lnTo>
                        <a:lnTo>
                          <a:pt x="242" y="58"/>
                        </a:lnTo>
                        <a:lnTo>
                          <a:pt x="236" y="54"/>
                        </a:lnTo>
                        <a:lnTo>
                          <a:pt x="224" y="50"/>
                        </a:lnTo>
                        <a:lnTo>
                          <a:pt x="210" y="48"/>
                        </a:lnTo>
                        <a:lnTo>
                          <a:pt x="210" y="48"/>
                        </a:lnTo>
                        <a:lnTo>
                          <a:pt x="190" y="46"/>
                        </a:lnTo>
                        <a:lnTo>
                          <a:pt x="186" y="44"/>
                        </a:lnTo>
                        <a:lnTo>
                          <a:pt x="186" y="42"/>
                        </a:lnTo>
                        <a:lnTo>
                          <a:pt x="184" y="40"/>
                        </a:lnTo>
                        <a:lnTo>
                          <a:pt x="182" y="36"/>
                        </a:lnTo>
                        <a:lnTo>
                          <a:pt x="176" y="32"/>
                        </a:lnTo>
                        <a:lnTo>
                          <a:pt x="164" y="28"/>
                        </a:lnTo>
                        <a:lnTo>
                          <a:pt x="164" y="28"/>
                        </a:lnTo>
                        <a:lnTo>
                          <a:pt x="150" y="26"/>
                        </a:lnTo>
                        <a:lnTo>
                          <a:pt x="140" y="26"/>
                        </a:lnTo>
                        <a:lnTo>
                          <a:pt x="134" y="28"/>
                        </a:lnTo>
                        <a:lnTo>
                          <a:pt x="130" y="32"/>
                        </a:lnTo>
                        <a:lnTo>
                          <a:pt x="126" y="34"/>
                        </a:lnTo>
                        <a:lnTo>
                          <a:pt x="124" y="36"/>
                        </a:lnTo>
                        <a:lnTo>
                          <a:pt x="122" y="34"/>
                        </a:lnTo>
                        <a:lnTo>
                          <a:pt x="118" y="28"/>
                        </a:lnTo>
                        <a:lnTo>
                          <a:pt x="118" y="28"/>
                        </a:lnTo>
                        <a:lnTo>
                          <a:pt x="114" y="24"/>
                        </a:lnTo>
                        <a:lnTo>
                          <a:pt x="110" y="18"/>
                        </a:lnTo>
                        <a:lnTo>
                          <a:pt x="96" y="10"/>
                        </a:lnTo>
                        <a:lnTo>
                          <a:pt x="78" y="4"/>
                        </a:lnTo>
                        <a:lnTo>
                          <a:pt x="58" y="0"/>
                        </a:lnTo>
                        <a:lnTo>
                          <a:pt x="40" y="0"/>
                        </a:lnTo>
                        <a:lnTo>
                          <a:pt x="22" y="2"/>
                        </a:lnTo>
                        <a:lnTo>
                          <a:pt x="14" y="4"/>
                        </a:lnTo>
                        <a:lnTo>
                          <a:pt x="10" y="8"/>
                        </a:lnTo>
                        <a:lnTo>
                          <a:pt x="4" y="12"/>
                        </a:lnTo>
                        <a:lnTo>
                          <a:pt x="2" y="18"/>
                        </a:lnTo>
                        <a:lnTo>
                          <a:pt x="2" y="18"/>
                        </a:lnTo>
                        <a:lnTo>
                          <a:pt x="0" y="28"/>
                        </a:lnTo>
                        <a:lnTo>
                          <a:pt x="2" y="32"/>
                        </a:lnTo>
                        <a:lnTo>
                          <a:pt x="8" y="34"/>
                        </a:lnTo>
                        <a:lnTo>
                          <a:pt x="14" y="32"/>
                        </a:lnTo>
                        <a:lnTo>
                          <a:pt x="20" y="30"/>
                        </a:lnTo>
                        <a:lnTo>
                          <a:pt x="24" y="30"/>
                        </a:lnTo>
                        <a:lnTo>
                          <a:pt x="28" y="34"/>
                        </a:lnTo>
                        <a:lnTo>
                          <a:pt x="30" y="40"/>
                        </a:lnTo>
                        <a:lnTo>
                          <a:pt x="30" y="4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7" name="Freeform 6026"/>
                  <p:cNvSpPr>
                    <a:spLocks/>
                  </p:cNvSpPr>
                  <p:nvPr/>
                </p:nvSpPr>
                <p:spPr bwMode="auto">
                  <a:xfrm>
                    <a:off x="1694180" y="1013143"/>
                    <a:ext cx="44450" cy="33020"/>
                  </a:xfrm>
                  <a:custGeom>
                    <a:avLst/>
                    <a:gdLst/>
                    <a:ahLst/>
                    <a:cxnLst>
                      <a:cxn ang="0">
                        <a:pos x="56" y="52"/>
                      </a:cxn>
                      <a:cxn ang="0">
                        <a:pos x="56" y="52"/>
                      </a:cxn>
                      <a:cxn ang="0">
                        <a:pos x="66" y="50"/>
                      </a:cxn>
                      <a:cxn ang="0">
                        <a:pos x="68" y="48"/>
                      </a:cxn>
                      <a:cxn ang="0">
                        <a:pos x="70" y="46"/>
                      </a:cxn>
                      <a:cxn ang="0">
                        <a:pos x="70" y="44"/>
                      </a:cxn>
                      <a:cxn ang="0">
                        <a:pos x="68" y="40"/>
                      </a:cxn>
                      <a:cxn ang="0">
                        <a:pos x="56" y="26"/>
                      </a:cxn>
                      <a:cxn ang="0">
                        <a:pos x="56" y="26"/>
                      </a:cxn>
                      <a:cxn ang="0">
                        <a:pos x="46" y="18"/>
                      </a:cxn>
                      <a:cxn ang="0">
                        <a:pos x="36" y="12"/>
                      </a:cxn>
                      <a:cxn ang="0">
                        <a:pos x="26" y="6"/>
                      </a:cxn>
                      <a:cxn ang="0">
                        <a:pos x="16" y="2"/>
                      </a:cxn>
                      <a:cxn ang="0">
                        <a:pos x="8" y="0"/>
                      </a:cxn>
                      <a:cxn ang="0">
                        <a:pos x="2" y="0"/>
                      </a:cxn>
                      <a:cxn ang="0">
                        <a:pos x="0" y="2"/>
                      </a:cxn>
                      <a:cxn ang="0">
                        <a:pos x="0" y="8"/>
                      </a:cxn>
                      <a:cxn ang="0">
                        <a:pos x="0" y="8"/>
                      </a:cxn>
                      <a:cxn ang="0">
                        <a:pos x="8" y="22"/>
                      </a:cxn>
                      <a:cxn ang="0">
                        <a:pos x="18" y="36"/>
                      </a:cxn>
                      <a:cxn ang="0">
                        <a:pos x="24" y="44"/>
                      </a:cxn>
                      <a:cxn ang="0">
                        <a:pos x="32" y="48"/>
                      </a:cxn>
                      <a:cxn ang="0">
                        <a:pos x="42" y="52"/>
                      </a:cxn>
                      <a:cxn ang="0">
                        <a:pos x="56" y="52"/>
                      </a:cxn>
                      <a:cxn ang="0">
                        <a:pos x="56" y="52"/>
                      </a:cxn>
                    </a:cxnLst>
                    <a:rect l="0" t="0" r="r" b="b"/>
                    <a:pathLst>
                      <a:path w="70" h="52">
                        <a:moveTo>
                          <a:pt x="56" y="52"/>
                        </a:moveTo>
                        <a:lnTo>
                          <a:pt x="56" y="52"/>
                        </a:lnTo>
                        <a:lnTo>
                          <a:pt x="66" y="50"/>
                        </a:lnTo>
                        <a:lnTo>
                          <a:pt x="68" y="48"/>
                        </a:lnTo>
                        <a:lnTo>
                          <a:pt x="70" y="46"/>
                        </a:lnTo>
                        <a:lnTo>
                          <a:pt x="70" y="44"/>
                        </a:lnTo>
                        <a:lnTo>
                          <a:pt x="68" y="40"/>
                        </a:lnTo>
                        <a:lnTo>
                          <a:pt x="56" y="26"/>
                        </a:lnTo>
                        <a:lnTo>
                          <a:pt x="56" y="26"/>
                        </a:lnTo>
                        <a:lnTo>
                          <a:pt x="46" y="18"/>
                        </a:lnTo>
                        <a:lnTo>
                          <a:pt x="36" y="12"/>
                        </a:lnTo>
                        <a:lnTo>
                          <a:pt x="26" y="6"/>
                        </a:lnTo>
                        <a:lnTo>
                          <a:pt x="16" y="2"/>
                        </a:lnTo>
                        <a:lnTo>
                          <a:pt x="8" y="0"/>
                        </a:lnTo>
                        <a:lnTo>
                          <a:pt x="2" y="0"/>
                        </a:lnTo>
                        <a:lnTo>
                          <a:pt x="0" y="2"/>
                        </a:lnTo>
                        <a:lnTo>
                          <a:pt x="0" y="8"/>
                        </a:lnTo>
                        <a:lnTo>
                          <a:pt x="0" y="8"/>
                        </a:lnTo>
                        <a:lnTo>
                          <a:pt x="8" y="22"/>
                        </a:lnTo>
                        <a:lnTo>
                          <a:pt x="18" y="36"/>
                        </a:lnTo>
                        <a:lnTo>
                          <a:pt x="24" y="44"/>
                        </a:lnTo>
                        <a:lnTo>
                          <a:pt x="32" y="48"/>
                        </a:lnTo>
                        <a:lnTo>
                          <a:pt x="42" y="52"/>
                        </a:lnTo>
                        <a:lnTo>
                          <a:pt x="56" y="52"/>
                        </a:lnTo>
                        <a:lnTo>
                          <a:pt x="56" y="5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8" name="Freeform 6027"/>
                  <p:cNvSpPr>
                    <a:spLocks/>
                  </p:cNvSpPr>
                  <p:nvPr/>
                </p:nvSpPr>
                <p:spPr bwMode="auto">
                  <a:xfrm>
                    <a:off x="1883410" y="957263"/>
                    <a:ext cx="95250" cy="54610"/>
                  </a:xfrm>
                  <a:custGeom>
                    <a:avLst/>
                    <a:gdLst/>
                    <a:ahLst/>
                    <a:cxnLst>
                      <a:cxn ang="0">
                        <a:pos x="14" y="38"/>
                      </a:cxn>
                      <a:cxn ang="0">
                        <a:pos x="22" y="44"/>
                      </a:cxn>
                      <a:cxn ang="0">
                        <a:pos x="44" y="54"/>
                      </a:cxn>
                      <a:cxn ang="0">
                        <a:pos x="50" y="56"/>
                      </a:cxn>
                      <a:cxn ang="0">
                        <a:pos x="52" y="58"/>
                      </a:cxn>
                      <a:cxn ang="0">
                        <a:pos x="42" y="64"/>
                      </a:cxn>
                      <a:cxn ang="0">
                        <a:pos x="32" y="68"/>
                      </a:cxn>
                      <a:cxn ang="0">
                        <a:pos x="40" y="68"/>
                      </a:cxn>
                      <a:cxn ang="0">
                        <a:pos x="50" y="70"/>
                      </a:cxn>
                      <a:cxn ang="0">
                        <a:pos x="56" y="76"/>
                      </a:cxn>
                      <a:cxn ang="0">
                        <a:pos x="60" y="84"/>
                      </a:cxn>
                      <a:cxn ang="0">
                        <a:pos x="66" y="86"/>
                      </a:cxn>
                      <a:cxn ang="0">
                        <a:pos x="74" y="82"/>
                      </a:cxn>
                      <a:cxn ang="0">
                        <a:pos x="98" y="76"/>
                      </a:cxn>
                      <a:cxn ang="0">
                        <a:pos x="132" y="70"/>
                      </a:cxn>
                      <a:cxn ang="0">
                        <a:pos x="142" y="64"/>
                      </a:cxn>
                      <a:cxn ang="0">
                        <a:pos x="140" y="60"/>
                      </a:cxn>
                      <a:cxn ang="0">
                        <a:pos x="140" y="52"/>
                      </a:cxn>
                      <a:cxn ang="0">
                        <a:pos x="150" y="42"/>
                      </a:cxn>
                      <a:cxn ang="0">
                        <a:pos x="148" y="36"/>
                      </a:cxn>
                      <a:cxn ang="0">
                        <a:pos x="140" y="32"/>
                      </a:cxn>
                      <a:cxn ang="0">
                        <a:pos x="122" y="24"/>
                      </a:cxn>
                      <a:cxn ang="0">
                        <a:pos x="100" y="22"/>
                      </a:cxn>
                      <a:cxn ang="0">
                        <a:pos x="82" y="14"/>
                      </a:cxn>
                      <a:cxn ang="0">
                        <a:pos x="68" y="8"/>
                      </a:cxn>
                      <a:cxn ang="0">
                        <a:pos x="42" y="0"/>
                      </a:cxn>
                      <a:cxn ang="0">
                        <a:pos x="18" y="0"/>
                      </a:cxn>
                      <a:cxn ang="0">
                        <a:pos x="8" y="8"/>
                      </a:cxn>
                      <a:cxn ang="0">
                        <a:pos x="8" y="14"/>
                      </a:cxn>
                      <a:cxn ang="0">
                        <a:pos x="10" y="20"/>
                      </a:cxn>
                      <a:cxn ang="0">
                        <a:pos x="6" y="28"/>
                      </a:cxn>
                      <a:cxn ang="0">
                        <a:pos x="0" y="30"/>
                      </a:cxn>
                      <a:cxn ang="0">
                        <a:pos x="14" y="38"/>
                      </a:cxn>
                    </a:cxnLst>
                    <a:rect l="0" t="0" r="r" b="b"/>
                    <a:pathLst>
                      <a:path w="150" h="86">
                        <a:moveTo>
                          <a:pt x="14" y="38"/>
                        </a:moveTo>
                        <a:lnTo>
                          <a:pt x="14" y="38"/>
                        </a:lnTo>
                        <a:lnTo>
                          <a:pt x="20" y="42"/>
                        </a:lnTo>
                        <a:lnTo>
                          <a:pt x="22" y="44"/>
                        </a:lnTo>
                        <a:lnTo>
                          <a:pt x="28" y="48"/>
                        </a:lnTo>
                        <a:lnTo>
                          <a:pt x="44" y="54"/>
                        </a:lnTo>
                        <a:lnTo>
                          <a:pt x="44" y="54"/>
                        </a:lnTo>
                        <a:lnTo>
                          <a:pt x="50" y="56"/>
                        </a:lnTo>
                        <a:lnTo>
                          <a:pt x="52" y="58"/>
                        </a:lnTo>
                        <a:lnTo>
                          <a:pt x="52" y="58"/>
                        </a:lnTo>
                        <a:lnTo>
                          <a:pt x="48" y="62"/>
                        </a:lnTo>
                        <a:lnTo>
                          <a:pt x="42" y="64"/>
                        </a:lnTo>
                        <a:lnTo>
                          <a:pt x="32" y="66"/>
                        </a:lnTo>
                        <a:lnTo>
                          <a:pt x="32" y="68"/>
                        </a:lnTo>
                        <a:lnTo>
                          <a:pt x="34" y="68"/>
                        </a:lnTo>
                        <a:lnTo>
                          <a:pt x="40" y="68"/>
                        </a:lnTo>
                        <a:lnTo>
                          <a:pt x="40" y="68"/>
                        </a:lnTo>
                        <a:lnTo>
                          <a:pt x="50" y="70"/>
                        </a:lnTo>
                        <a:lnTo>
                          <a:pt x="54" y="74"/>
                        </a:lnTo>
                        <a:lnTo>
                          <a:pt x="56" y="76"/>
                        </a:lnTo>
                        <a:lnTo>
                          <a:pt x="58" y="80"/>
                        </a:lnTo>
                        <a:lnTo>
                          <a:pt x="60" y="84"/>
                        </a:lnTo>
                        <a:lnTo>
                          <a:pt x="62" y="86"/>
                        </a:lnTo>
                        <a:lnTo>
                          <a:pt x="66" y="86"/>
                        </a:lnTo>
                        <a:lnTo>
                          <a:pt x="74" y="82"/>
                        </a:lnTo>
                        <a:lnTo>
                          <a:pt x="74" y="82"/>
                        </a:lnTo>
                        <a:lnTo>
                          <a:pt x="86" y="78"/>
                        </a:lnTo>
                        <a:lnTo>
                          <a:pt x="98" y="76"/>
                        </a:lnTo>
                        <a:lnTo>
                          <a:pt x="122" y="72"/>
                        </a:lnTo>
                        <a:lnTo>
                          <a:pt x="132" y="70"/>
                        </a:lnTo>
                        <a:lnTo>
                          <a:pt x="138" y="68"/>
                        </a:lnTo>
                        <a:lnTo>
                          <a:pt x="142" y="64"/>
                        </a:lnTo>
                        <a:lnTo>
                          <a:pt x="140" y="60"/>
                        </a:lnTo>
                        <a:lnTo>
                          <a:pt x="140" y="60"/>
                        </a:lnTo>
                        <a:lnTo>
                          <a:pt x="138" y="54"/>
                        </a:lnTo>
                        <a:lnTo>
                          <a:pt x="140" y="52"/>
                        </a:lnTo>
                        <a:lnTo>
                          <a:pt x="146" y="46"/>
                        </a:lnTo>
                        <a:lnTo>
                          <a:pt x="150" y="42"/>
                        </a:lnTo>
                        <a:lnTo>
                          <a:pt x="150" y="40"/>
                        </a:lnTo>
                        <a:lnTo>
                          <a:pt x="148" y="36"/>
                        </a:lnTo>
                        <a:lnTo>
                          <a:pt x="140" y="32"/>
                        </a:lnTo>
                        <a:lnTo>
                          <a:pt x="140" y="32"/>
                        </a:lnTo>
                        <a:lnTo>
                          <a:pt x="128" y="26"/>
                        </a:lnTo>
                        <a:lnTo>
                          <a:pt x="122" y="24"/>
                        </a:lnTo>
                        <a:lnTo>
                          <a:pt x="110" y="24"/>
                        </a:lnTo>
                        <a:lnTo>
                          <a:pt x="100" y="22"/>
                        </a:lnTo>
                        <a:lnTo>
                          <a:pt x="92" y="20"/>
                        </a:lnTo>
                        <a:lnTo>
                          <a:pt x="82" y="14"/>
                        </a:lnTo>
                        <a:lnTo>
                          <a:pt x="82" y="14"/>
                        </a:lnTo>
                        <a:lnTo>
                          <a:pt x="68" y="8"/>
                        </a:lnTo>
                        <a:lnTo>
                          <a:pt x="56" y="2"/>
                        </a:lnTo>
                        <a:lnTo>
                          <a:pt x="42" y="0"/>
                        </a:lnTo>
                        <a:lnTo>
                          <a:pt x="30" y="0"/>
                        </a:lnTo>
                        <a:lnTo>
                          <a:pt x="18" y="0"/>
                        </a:lnTo>
                        <a:lnTo>
                          <a:pt x="10" y="4"/>
                        </a:lnTo>
                        <a:lnTo>
                          <a:pt x="8" y="8"/>
                        </a:lnTo>
                        <a:lnTo>
                          <a:pt x="8" y="12"/>
                        </a:lnTo>
                        <a:lnTo>
                          <a:pt x="8" y="14"/>
                        </a:lnTo>
                        <a:lnTo>
                          <a:pt x="8" y="14"/>
                        </a:lnTo>
                        <a:lnTo>
                          <a:pt x="10" y="20"/>
                        </a:lnTo>
                        <a:lnTo>
                          <a:pt x="10" y="24"/>
                        </a:lnTo>
                        <a:lnTo>
                          <a:pt x="6" y="28"/>
                        </a:lnTo>
                        <a:lnTo>
                          <a:pt x="2" y="30"/>
                        </a:lnTo>
                        <a:lnTo>
                          <a:pt x="0" y="30"/>
                        </a:lnTo>
                        <a:lnTo>
                          <a:pt x="0" y="32"/>
                        </a:lnTo>
                        <a:lnTo>
                          <a:pt x="14" y="38"/>
                        </a:lnTo>
                        <a:lnTo>
                          <a:pt x="14" y="3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9" name="Freeform 6033"/>
                  <p:cNvSpPr>
                    <a:spLocks/>
                  </p:cNvSpPr>
                  <p:nvPr/>
                </p:nvSpPr>
                <p:spPr bwMode="auto">
                  <a:xfrm>
                    <a:off x="646430" y="1806893"/>
                    <a:ext cx="15240" cy="8890"/>
                  </a:xfrm>
                  <a:custGeom>
                    <a:avLst/>
                    <a:gdLst/>
                    <a:ahLst/>
                    <a:cxnLst>
                      <a:cxn ang="0">
                        <a:pos x="14" y="0"/>
                      </a:cxn>
                      <a:cxn ang="0">
                        <a:pos x="14" y="0"/>
                      </a:cxn>
                      <a:cxn ang="0">
                        <a:pos x="6" y="0"/>
                      </a:cxn>
                      <a:cxn ang="0">
                        <a:pos x="2" y="2"/>
                      </a:cxn>
                      <a:cxn ang="0">
                        <a:pos x="0" y="6"/>
                      </a:cxn>
                      <a:cxn ang="0">
                        <a:pos x="2" y="12"/>
                      </a:cxn>
                      <a:cxn ang="0">
                        <a:pos x="2" y="12"/>
                      </a:cxn>
                      <a:cxn ang="0">
                        <a:pos x="4" y="14"/>
                      </a:cxn>
                      <a:cxn ang="0">
                        <a:pos x="8" y="14"/>
                      </a:cxn>
                      <a:cxn ang="0">
                        <a:pos x="20" y="8"/>
                      </a:cxn>
                      <a:cxn ang="0">
                        <a:pos x="20" y="8"/>
                      </a:cxn>
                      <a:cxn ang="0">
                        <a:pos x="24" y="6"/>
                      </a:cxn>
                      <a:cxn ang="0">
                        <a:pos x="24" y="4"/>
                      </a:cxn>
                      <a:cxn ang="0">
                        <a:pos x="20" y="2"/>
                      </a:cxn>
                      <a:cxn ang="0">
                        <a:pos x="14" y="0"/>
                      </a:cxn>
                      <a:cxn ang="0">
                        <a:pos x="14" y="0"/>
                      </a:cxn>
                    </a:cxnLst>
                    <a:rect l="0" t="0" r="r" b="b"/>
                    <a:pathLst>
                      <a:path w="24" h="14">
                        <a:moveTo>
                          <a:pt x="14" y="0"/>
                        </a:moveTo>
                        <a:lnTo>
                          <a:pt x="14" y="0"/>
                        </a:lnTo>
                        <a:lnTo>
                          <a:pt x="6" y="0"/>
                        </a:lnTo>
                        <a:lnTo>
                          <a:pt x="2" y="2"/>
                        </a:lnTo>
                        <a:lnTo>
                          <a:pt x="0" y="6"/>
                        </a:lnTo>
                        <a:lnTo>
                          <a:pt x="2" y="12"/>
                        </a:lnTo>
                        <a:lnTo>
                          <a:pt x="2" y="12"/>
                        </a:lnTo>
                        <a:lnTo>
                          <a:pt x="4" y="14"/>
                        </a:lnTo>
                        <a:lnTo>
                          <a:pt x="8" y="14"/>
                        </a:lnTo>
                        <a:lnTo>
                          <a:pt x="20" y="8"/>
                        </a:lnTo>
                        <a:lnTo>
                          <a:pt x="20" y="8"/>
                        </a:lnTo>
                        <a:lnTo>
                          <a:pt x="24" y="6"/>
                        </a:lnTo>
                        <a:lnTo>
                          <a:pt x="24" y="4"/>
                        </a:lnTo>
                        <a:lnTo>
                          <a:pt x="20" y="2"/>
                        </a:lnTo>
                        <a:lnTo>
                          <a:pt x="14" y="0"/>
                        </a:lnTo>
                        <a:lnTo>
                          <a:pt x="1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0" name="Freeform 6037"/>
                  <p:cNvSpPr>
                    <a:spLocks/>
                  </p:cNvSpPr>
                  <p:nvPr/>
                </p:nvSpPr>
                <p:spPr bwMode="auto">
                  <a:xfrm>
                    <a:off x="615950" y="1811973"/>
                    <a:ext cx="24130" cy="22860"/>
                  </a:xfrm>
                  <a:custGeom>
                    <a:avLst/>
                    <a:gdLst/>
                    <a:ahLst/>
                    <a:cxnLst>
                      <a:cxn ang="0">
                        <a:pos x="28" y="2"/>
                      </a:cxn>
                      <a:cxn ang="0">
                        <a:pos x="28" y="2"/>
                      </a:cxn>
                      <a:cxn ang="0">
                        <a:pos x="18" y="16"/>
                      </a:cxn>
                      <a:cxn ang="0">
                        <a:pos x="0" y="34"/>
                      </a:cxn>
                      <a:cxn ang="0">
                        <a:pos x="0" y="34"/>
                      </a:cxn>
                      <a:cxn ang="0">
                        <a:pos x="0" y="36"/>
                      </a:cxn>
                      <a:cxn ang="0">
                        <a:pos x="4" y="36"/>
                      </a:cxn>
                      <a:cxn ang="0">
                        <a:pos x="16" y="32"/>
                      </a:cxn>
                      <a:cxn ang="0">
                        <a:pos x="16" y="32"/>
                      </a:cxn>
                      <a:cxn ang="0">
                        <a:pos x="20" y="30"/>
                      </a:cxn>
                      <a:cxn ang="0">
                        <a:pos x="22" y="26"/>
                      </a:cxn>
                      <a:cxn ang="0">
                        <a:pos x="26" y="20"/>
                      </a:cxn>
                      <a:cxn ang="0">
                        <a:pos x="32" y="12"/>
                      </a:cxn>
                      <a:cxn ang="0">
                        <a:pos x="32" y="12"/>
                      </a:cxn>
                      <a:cxn ang="0">
                        <a:pos x="36" y="4"/>
                      </a:cxn>
                      <a:cxn ang="0">
                        <a:pos x="38" y="2"/>
                      </a:cxn>
                      <a:cxn ang="0">
                        <a:pos x="36" y="0"/>
                      </a:cxn>
                      <a:cxn ang="0">
                        <a:pos x="32" y="0"/>
                      </a:cxn>
                      <a:cxn ang="0">
                        <a:pos x="28" y="2"/>
                      </a:cxn>
                      <a:cxn ang="0">
                        <a:pos x="28" y="2"/>
                      </a:cxn>
                    </a:cxnLst>
                    <a:rect l="0" t="0" r="r" b="b"/>
                    <a:pathLst>
                      <a:path w="38" h="36">
                        <a:moveTo>
                          <a:pt x="28" y="2"/>
                        </a:moveTo>
                        <a:lnTo>
                          <a:pt x="28" y="2"/>
                        </a:lnTo>
                        <a:lnTo>
                          <a:pt x="18" y="16"/>
                        </a:lnTo>
                        <a:lnTo>
                          <a:pt x="0" y="34"/>
                        </a:lnTo>
                        <a:lnTo>
                          <a:pt x="0" y="34"/>
                        </a:lnTo>
                        <a:lnTo>
                          <a:pt x="0" y="36"/>
                        </a:lnTo>
                        <a:lnTo>
                          <a:pt x="4" y="36"/>
                        </a:lnTo>
                        <a:lnTo>
                          <a:pt x="16" y="32"/>
                        </a:lnTo>
                        <a:lnTo>
                          <a:pt x="16" y="32"/>
                        </a:lnTo>
                        <a:lnTo>
                          <a:pt x="20" y="30"/>
                        </a:lnTo>
                        <a:lnTo>
                          <a:pt x="22" y="26"/>
                        </a:lnTo>
                        <a:lnTo>
                          <a:pt x="26" y="20"/>
                        </a:lnTo>
                        <a:lnTo>
                          <a:pt x="32" y="12"/>
                        </a:lnTo>
                        <a:lnTo>
                          <a:pt x="32" y="12"/>
                        </a:lnTo>
                        <a:lnTo>
                          <a:pt x="36" y="4"/>
                        </a:lnTo>
                        <a:lnTo>
                          <a:pt x="38" y="2"/>
                        </a:lnTo>
                        <a:lnTo>
                          <a:pt x="36" y="0"/>
                        </a:lnTo>
                        <a:lnTo>
                          <a:pt x="32" y="0"/>
                        </a:lnTo>
                        <a:lnTo>
                          <a:pt x="28" y="2"/>
                        </a:lnTo>
                        <a:lnTo>
                          <a:pt x="28"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1" name="Freeform 6054"/>
                  <p:cNvSpPr>
                    <a:spLocks/>
                  </p:cNvSpPr>
                  <p:nvPr/>
                </p:nvSpPr>
                <p:spPr bwMode="auto">
                  <a:xfrm>
                    <a:off x="1395730" y="1058863"/>
                    <a:ext cx="317500" cy="121920"/>
                  </a:xfrm>
                  <a:custGeom>
                    <a:avLst/>
                    <a:gdLst/>
                    <a:ahLst/>
                    <a:cxnLst>
                      <a:cxn ang="0">
                        <a:pos x="314" y="78"/>
                      </a:cxn>
                      <a:cxn ang="0">
                        <a:pos x="338" y="86"/>
                      </a:cxn>
                      <a:cxn ang="0">
                        <a:pos x="354" y="100"/>
                      </a:cxn>
                      <a:cxn ang="0">
                        <a:pos x="340" y="106"/>
                      </a:cxn>
                      <a:cxn ang="0">
                        <a:pos x="280" y="102"/>
                      </a:cxn>
                      <a:cxn ang="0">
                        <a:pos x="258" y="102"/>
                      </a:cxn>
                      <a:cxn ang="0">
                        <a:pos x="236" y="72"/>
                      </a:cxn>
                      <a:cxn ang="0">
                        <a:pos x="186" y="46"/>
                      </a:cxn>
                      <a:cxn ang="0">
                        <a:pos x="154" y="54"/>
                      </a:cxn>
                      <a:cxn ang="0">
                        <a:pos x="138" y="36"/>
                      </a:cxn>
                      <a:cxn ang="0">
                        <a:pos x="102" y="32"/>
                      </a:cxn>
                      <a:cxn ang="0">
                        <a:pos x="42" y="58"/>
                      </a:cxn>
                      <a:cxn ang="0">
                        <a:pos x="46" y="66"/>
                      </a:cxn>
                      <a:cxn ang="0">
                        <a:pos x="22" y="88"/>
                      </a:cxn>
                      <a:cxn ang="0">
                        <a:pos x="24" y="98"/>
                      </a:cxn>
                      <a:cxn ang="0">
                        <a:pos x="14" y="110"/>
                      </a:cxn>
                      <a:cxn ang="0">
                        <a:pos x="6" y="132"/>
                      </a:cxn>
                      <a:cxn ang="0">
                        <a:pos x="66" y="146"/>
                      </a:cxn>
                      <a:cxn ang="0">
                        <a:pos x="94" y="138"/>
                      </a:cxn>
                      <a:cxn ang="0">
                        <a:pos x="106" y="146"/>
                      </a:cxn>
                      <a:cxn ang="0">
                        <a:pos x="124" y="148"/>
                      </a:cxn>
                      <a:cxn ang="0">
                        <a:pos x="144" y="126"/>
                      </a:cxn>
                      <a:cxn ang="0">
                        <a:pos x="152" y="130"/>
                      </a:cxn>
                      <a:cxn ang="0">
                        <a:pos x="158" y="140"/>
                      </a:cxn>
                      <a:cxn ang="0">
                        <a:pos x="232" y="132"/>
                      </a:cxn>
                      <a:cxn ang="0">
                        <a:pos x="264" y="134"/>
                      </a:cxn>
                      <a:cxn ang="0">
                        <a:pos x="212" y="148"/>
                      </a:cxn>
                      <a:cxn ang="0">
                        <a:pos x="144" y="160"/>
                      </a:cxn>
                      <a:cxn ang="0">
                        <a:pos x="134" y="176"/>
                      </a:cxn>
                      <a:cxn ang="0">
                        <a:pos x="166" y="190"/>
                      </a:cxn>
                      <a:cxn ang="0">
                        <a:pos x="234" y="184"/>
                      </a:cxn>
                      <a:cxn ang="0">
                        <a:pos x="296" y="164"/>
                      </a:cxn>
                      <a:cxn ang="0">
                        <a:pos x="350" y="146"/>
                      </a:cxn>
                      <a:cxn ang="0">
                        <a:pos x="378" y="152"/>
                      </a:cxn>
                      <a:cxn ang="0">
                        <a:pos x="394" y="144"/>
                      </a:cxn>
                      <a:cxn ang="0">
                        <a:pos x="420" y="150"/>
                      </a:cxn>
                      <a:cxn ang="0">
                        <a:pos x="460" y="138"/>
                      </a:cxn>
                      <a:cxn ang="0">
                        <a:pos x="492" y="106"/>
                      </a:cxn>
                      <a:cxn ang="0">
                        <a:pos x="498" y="84"/>
                      </a:cxn>
                      <a:cxn ang="0">
                        <a:pos x="470" y="68"/>
                      </a:cxn>
                      <a:cxn ang="0">
                        <a:pos x="436" y="70"/>
                      </a:cxn>
                      <a:cxn ang="0">
                        <a:pos x="398" y="80"/>
                      </a:cxn>
                      <a:cxn ang="0">
                        <a:pos x="400" y="68"/>
                      </a:cxn>
                      <a:cxn ang="0">
                        <a:pos x="384" y="60"/>
                      </a:cxn>
                      <a:cxn ang="0">
                        <a:pos x="384" y="52"/>
                      </a:cxn>
                      <a:cxn ang="0">
                        <a:pos x="382" y="40"/>
                      </a:cxn>
                      <a:cxn ang="0">
                        <a:pos x="370" y="18"/>
                      </a:cxn>
                      <a:cxn ang="0">
                        <a:pos x="358" y="0"/>
                      </a:cxn>
                      <a:cxn ang="0">
                        <a:pos x="300" y="28"/>
                      </a:cxn>
                      <a:cxn ang="0">
                        <a:pos x="290" y="40"/>
                      </a:cxn>
                      <a:cxn ang="0">
                        <a:pos x="318" y="54"/>
                      </a:cxn>
                      <a:cxn ang="0">
                        <a:pos x="328" y="66"/>
                      </a:cxn>
                    </a:cxnLst>
                    <a:rect l="0" t="0" r="r" b="b"/>
                    <a:pathLst>
                      <a:path w="500" h="192">
                        <a:moveTo>
                          <a:pt x="322" y="70"/>
                        </a:moveTo>
                        <a:lnTo>
                          <a:pt x="322" y="70"/>
                        </a:lnTo>
                        <a:lnTo>
                          <a:pt x="316" y="76"/>
                        </a:lnTo>
                        <a:lnTo>
                          <a:pt x="314" y="78"/>
                        </a:lnTo>
                        <a:lnTo>
                          <a:pt x="316" y="80"/>
                        </a:lnTo>
                        <a:lnTo>
                          <a:pt x="320" y="82"/>
                        </a:lnTo>
                        <a:lnTo>
                          <a:pt x="330" y="84"/>
                        </a:lnTo>
                        <a:lnTo>
                          <a:pt x="338" y="86"/>
                        </a:lnTo>
                        <a:lnTo>
                          <a:pt x="348" y="90"/>
                        </a:lnTo>
                        <a:lnTo>
                          <a:pt x="354" y="94"/>
                        </a:lnTo>
                        <a:lnTo>
                          <a:pt x="356" y="96"/>
                        </a:lnTo>
                        <a:lnTo>
                          <a:pt x="354" y="100"/>
                        </a:lnTo>
                        <a:lnTo>
                          <a:pt x="354" y="100"/>
                        </a:lnTo>
                        <a:lnTo>
                          <a:pt x="352" y="104"/>
                        </a:lnTo>
                        <a:lnTo>
                          <a:pt x="346" y="108"/>
                        </a:lnTo>
                        <a:lnTo>
                          <a:pt x="340" y="106"/>
                        </a:lnTo>
                        <a:lnTo>
                          <a:pt x="332" y="106"/>
                        </a:lnTo>
                        <a:lnTo>
                          <a:pt x="310" y="102"/>
                        </a:lnTo>
                        <a:lnTo>
                          <a:pt x="296" y="100"/>
                        </a:lnTo>
                        <a:lnTo>
                          <a:pt x="280" y="102"/>
                        </a:lnTo>
                        <a:lnTo>
                          <a:pt x="280" y="102"/>
                        </a:lnTo>
                        <a:lnTo>
                          <a:pt x="268" y="104"/>
                        </a:lnTo>
                        <a:lnTo>
                          <a:pt x="260" y="104"/>
                        </a:lnTo>
                        <a:lnTo>
                          <a:pt x="258" y="102"/>
                        </a:lnTo>
                        <a:lnTo>
                          <a:pt x="256" y="98"/>
                        </a:lnTo>
                        <a:lnTo>
                          <a:pt x="252" y="90"/>
                        </a:lnTo>
                        <a:lnTo>
                          <a:pt x="246" y="82"/>
                        </a:lnTo>
                        <a:lnTo>
                          <a:pt x="236" y="72"/>
                        </a:lnTo>
                        <a:lnTo>
                          <a:pt x="220" y="60"/>
                        </a:lnTo>
                        <a:lnTo>
                          <a:pt x="220" y="60"/>
                        </a:lnTo>
                        <a:lnTo>
                          <a:pt x="200" y="50"/>
                        </a:lnTo>
                        <a:lnTo>
                          <a:pt x="186" y="46"/>
                        </a:lnTo>
                        <a:lnTo>
                          <a:pt x="174" y="46"/>
                        </a:lnTo>
                        <a:lnTo>
                          <a:pt x="166" y="50"/>
                        </a:lnTo>
                        <a:lnTo>
                          <a:pt x="160" y="52"/>
                        </a:lnTo>
                        <a:lnTo>
                          <a:pt x="154" y="54"/>
                        </a:lnTo>
                        <a:lnTo>
                          <a:pt x="150" y="52"/>
                        </a:lnTo>
                        <a:lnTo>
                          <a:pt x="144" y="44"/>
                        </a:lnTo>
                        <a:lnTo>
                          <a:pt x="144" y="44"/>
                        </a:lnTo>
                        <a:lnTo>
                          <a:pt x="138" y="36"/>
                        </a:lnTo>
                        <a:lnTo>
                          <a:pt x="130" y="30"/>
                        </a:lnTo>
                        <a:lnTo>
                          <a:pt x="122" y="30"/>
                        </a:lnTo>
                        <a:lnTo>
                          <a:pt x="112" y="30"/>
                        </a:lnTo>
                        <a:lnTo>
                          <a:pt x="102" y="32"/>
                        </a:lnTo>
                        <a:lnTo>
                          <a:pt x="88" y="38"/>
                        </a:lnTo>
                        <a:lnTo>
                          <a:pt x="60" y="50"/>
                        </a:lnTo>
                        <a:lnTo>
                          <a:pt x="60" y="50"/>
                        </a:lnTo>
                        <a:lnTo>
                          <a:pt x="42" y="58"/>
                        </a:lnTo>
                        <a:lnTo>
                          <a:pt x="40" y="60"/>
                        </a:lnTo>
                        <a:lnTo>
                          <a:pt x="42" y="60"/>
                        </a:lnTo>
                        <a:lnTo>
                          <a:pt x="44" y="64"/>
                        </a:lnTo>
                        <a:lnTo>
                          <a:pt x="46" y="66"/>
                        </a:lnTo>
                        <a:lnTo>
                          <a:pt x="42" y="72"/>
                        </a:lnTo>
                        <a:lnTo>
                          <a:pt x="32" y="80"/>
                        </a:lnTo>
                        <a:lnTo>
                          <a:pt x="32" y="80"/>
                        </a:lnTo>
                        <a:lnTo>
                          <a:pt x="22" y="88"/>
                        </a:lnTo>
                        <a:lnTo>
                          <a:pt x="20" y="94"/>
                        </a:lnTo>
                        <a:lnTo>
                          <a:pt x="20" y="96"/>
                        </a:lnTo>
                        <a:lnTo>
                          <a:pt x="22" y="98"/>
                        </a:lnTo>
                        <a:lnTo>
                          <a:pt x="24" y="98"/>
                        </a:lnTo>
                        <a:lnTo>
                          <a:pt x="26" y="100"/>
                        </a:lnTo>
                        <a:lnTo>
                          <a:pt x="22" y="104"/>
                        </a:lnTo>
                        <a:lnTo>
                          <a:pt x="14" y="110"/>
                        </a:lnTo>
                        <a:lnTo>
                          <a:pt x="14" y="110"/>
                        </a:lnTo>
                        <a:lnTo>
                          <a:pt x="4" y="118"/>
                        </a:lnTo>
                        <a:lnTo>
                          <a:pt x="0" y="124"/>
                        </a:lnTo>
                        <a:lnTo>
                          <a:pt x="2" y="128"/>
                        </a:lnTo>
                        <a:lnTo>
                          <a:pt x="6" y="132"/>
                        </a:lnTo>
                        <a:lnTo>
                          <a:pt x="26" y="138"/>
                        </a:lnTo>
                        <a:lnTo>
                          <a:pt x="54" y="144"/>
                        </a:lnTo>
                        <a:lnTo>
                          <a:pt x="54" y="144"/>
                        </a:lnTo>
                        <a:lnTo>
                          <a:pt x="66" y="146"/>
                        </a:lnTo>
                        <a:lnTo>
                          <a:pt x="76" y="146"/>
                        </a:lnTo>
                        <a:lnTo>
                          <a:pt x="84" y="144"/>
                        </a:lnTo>
                        <a:lnTo>
                          <a:pt x="88" y="142"/>
                        </a:lnTo>
                        <a:lnTo>
                          <a:pt x="94" y="138"/>
                        </a:lnTo>
                        <a:lnTo>
                          <a:pt x="96" y="136"/>
                        </a:lnTo>
                        <a:lnTo>
                          <a:pt x="98" y="140"/>
                        </a:lnTo>
                        <a:lnTo>
                          <a:pt x="98" y="140"/>
                        </a:lnTo>
                        <a:lnTo>
                          <a:pt x="106" y="146"/>
                        </a:lnTo>
                        <a:lnTo>
                          <a:pt x="110" y="148"/>
                        </a:lnTo>
                        <a:lnTo>
                          <a:pt x="114" y="150"/>
                        </a:lnTo>
                        <a:lnTo>
                          <a:pt x="118" y="150"/>
                        </a:lnTo>
                        <a:lnTo>
                          <a:pt x="124" y="148"/>
                        </a:lnTo>
                        <a:lnTo>
                          <a:pt x="128" y="144"/>
                        </a:lnTo>
                        <a:lnTo>
                          <a:pt x="134" y="138"/>
                        </a:lnTo>
                        <a:lnTo>
                          <a:pt x="134" y="138"/>
                        </a:lnTo>
                        <a:lnTo>
                          <a:pt x="144" y="126"/>
                        </a:lnTo>
                        <a:lnTo>
                          <a:pt x="150" y="122"/>
                        </a:lnTo>
                        <a:lnTo>
                          <a:pt x="152" y="122"/>
                        </a:lnTo>
                        <a:lnTo>
                          <a:pt x="154" y="124"/>
                        </a:lnTo>
                        <a:lnTo>
                          <a:pt x="152" y="130"/>
                        </a:lnTo>
                        <a:lnTo>
                          <a:pt x="152" y="130"/>
                        </a:lnTo>
                        <a:lnTo>
                          <a:pt x="150" y="134"/>
                        </a:lnTo>
                        <a:lnTo>
                          <a:pt x="154" y="138"/>
                        </a:lnTo>
                        <a:lnTo>
                          <a:pt x="158" y="140"/>
                        </a:lnTo>
                        <a:lnTo>
                          <a:pt x="166" y="142"/>
                        </a:lnTo>
                        <a:lnTo>
                          <a:pt x="192" y="140"/>
                        </a:lnTo>
                        <a:lnTo>
                          <a:pt x="232" y="132"/>
                        </a:lnTo>
                        <a:lnTo>
                          <a:pt x="232" y="132"/>
                        </a:lnTo>
                        <a:lnTo>
                          <a:pt x="252" y="130"/>
                        </a:lnTo>
                        <a:lnTo>
                          <a:pt x="262" y="130"/>
                        </a:lnTo>
                        <a:lnTo>
                          <a:pt x="266" y="130"/>
                        </a:lnTo>
                        <a:lnTo>
                          <a:pt x="264" y="134"/>
                        </a:lnTo>
                        <a:lnTo>
                          <a:pt x="256" y="138"/>
                        </a:lnTo>
                        <a:lnTo>
                          <a:pt x="244" y="142"/>
                        </a:lnTo>
                        <a:lnTo>
                          <a:pt x="228" y="144"/>
                        </a:lnTo>
                        <a:lnTo>
                          <a:pt x="212" y="148"/>
                        </a:lnTo>
                        <a:lnTo>
                          <a:pt x="212" y="148"/>
                        </a:lnTo>
                        <a:lnTo>
                          <a:pt x="176" y="152"/>
                        </a:lnTo>
                        <a:lnTo>
                          <a:pt x="158" y="156"/>
                        </a:lnTo>
                        <a:lnTo>
                          <a:pt x="144" y="160"/>
                        </a:lnTo>
                        <a:lnTo>
                          <a:pt x="136" y="166"/>
                        </a:lnTo>
                        <a:lnTo>
                          <a:pt x="134" y="168"/>
                        </a:lnTo>
                        <a:lnTo>
                          <a:pt x="134" y="172"/>
                        </a:lnTo>
                        <a:lnTo>
                          <a:pt x="134" y="176"/>
                        </a:lnTo>
                        <a:lnTo>
                          <a:pt x="138" y="178"/>
                        </a:lnTo>
                        <a:lnTo>
                          <a:pt x="152" y="186"/>
                        </a:lnTo>
                        <a:lnTo>
                          <a:pt x="152" y="186"/>
                        </a:lnTo>
                        <a:lnTo>
                          <a:pt x="166" y="190"/>
                        </a:lnTo>
                        <a:lnTo>
                          <a:pt x="178" y="192"/>
                        </a:lnTo>
                        <a:lnTo>
                          <a:pt x="192" y="192"/>
                        </a:lnTo>
                        <a:lnTo>
                          <a:pt x="206" y="190"/>
                        </a:lnTo>
                        <a:lnTo>
                          <a:pt x="234" y="184"/>
                        </a:lnTo>
                        <a:lnTo>
                          <a:pt x="266" y="174"/>
                        </a:lnTo>
                        <a:lnTo>
                          <a:pt x="266" y="174"/>
                        </a:lnTo>
                        <a:lnTo>
                          <a:pt x="282" y="170"/>
                        </a:lnTo>
                        <a:lnTo>
                          <a:pt x="296" y="164"/>
                        </a:lnTo>
                        <a:lnTo>
                          <a:pt x="318" y="154"/>
                        </a:lnTo>
                        <a:lnTo>
                          <a:pt x="328" y="150"/>
                        </a:lnTo>
                        <a:lnTo>
                          <a:pt x="338" y="146"/>
                        </a:lnTo>
                        <a:lnTo>
                          <a:pt x="350" y="146"/>
                        </a:lnTo>
                        <a:lnTo>
                          <a:pt x="360" y="148"/>
                        </a:lnTo>
                        <a:lnTo>
                          <a:pt x="360" y="148"/>
                        </a:lnTo>
                        <a:lnTo>
                          <a:pt x="370" y="150"/>
                        </a:lnTo>
                        <a:lnTo>
                          <a:pt x="378" y="152"/>
                        </a:lnTo>
                        <a:lnTo>
                          <a:pt x="382" y="150"/>
                        </a:lnTo>
                        <a:lnTo>
                          <a:pt x="386" y="148"/>
                        </a:lnTo>
                        <a:lnTo>
                          <a:pt x="388" y="146"/>
                        </a:lnTo>
                        <a:lnTo>
                          <a:pt x="394" y="144"/>
                        </a:lnTo>
                        <a:lnTo>
                          <a:pt x="400" y="144"/>
                        </a:lnTo>
                        <a:lnTo>
                          <a:pt x="410" y="146"/>
                        </a:lnTo>
                        <a:lnTo>
                          <a:pt x="410" y="146"/>
                        </a:lnTo>
                        <a:lnTo>
                          <a:pt x="420" y="150"/>
                        </a:lnTo>
                        <a:lnTo>
                          <a:pt x="430" y="150"/>
                        </a:lnTo>
                        <a:lnTo>
                          <a:pt x="440" y="148"/>
                        </a:lnTo>
                        <a:lnTo>
                          <a:pt x="450" y="144"/>
                        </a:lnTo>
                        <a:lnTo>
                          <a:pt x="460" y="138"/>
                        </a:lnTo>
                        <a:lnTo>
                          <a:pt x="470" y="130"/>
                        </a:lnTo>
                        <a:lnTo>
                          <a:pt x="482" y="120"/>
                        </a:lnTo>
                        <a:lnTo>
                          <a:pt x="492" y="106"/>
                        </a:lnTo>
                        <a:lnTo>
                          <a:pt x="492" y="106"/>
                        </a:lnTo>
                        <a:lnTo>
                          <a:pt x="496" y="100"/>
                        </a:lnTo>
                        <a:lnTo>
                          <a:pt x="500" y="94"/>
                        </a:lnTo>
                        <a:lnTo>
                          <a:pt x="500" y="88"/>
                        </a:lnTo>
                        <a:lnTo>
                          <a:pt x="498" y="84"/>
                        </a:lnTo>
                        <a:lnTo>
                          <a:pt x="496" y="80"/>
                        </a:lnTo>
                        <a:lnTo>
                          <a:pt x="492" y="76"/>
                        </a:lnTo>
                        <a:lnTo>
                          <a:pt x="482" y="70"/>
                        </a:lnTo>
                        <a:lnTo>
                          <a:pt x="470" y="68"/>
                        </a:lnTo>
                        <a:lnTo>
                          <a:pt x="456" y="66"/>
                        </a:lnTo>
                        <a:lnTo>
                          <a:pt x="444" y="68"/>
                        </a:lnTo>
                        <a:lnTo>
                          <a:pt x="436" y="70"/>
                        </a:lnTo>
                        <a:lnTo>
                          <a:pt x="436" y="70"/>
                        </a:lnTo>
                        <a:lnTo>
                          <a:pt x="420" y="76"/>
                        </a:lnTo>
                        <a:lnTo>
                          <a:pt x="406" y="80"/>
                        </a:lnTo>
                        <a:lnTo>
                          <a:pt x="402" y="82"/>
                        </a:lnTo>
                        <a:lnTo>
                          <a:pt x="398" y="80"/>
                        </a:lnTo>
                        <a:lnTo>
                          <a:pt x="398" y="78"/>
                        </a:lnTo>
                        <a:lnTo>
                          <a:pt x="400" y="72"/>
                        </a:lnTo>
                        <a:lnTo>
                          <a:pt x="400" y="72"/>
                        </a:lnTo>
                        <a:lnTo>
                          <a:pt x="400" y="68"/>
                        </a:lnTo>
                        <a:lnTo>
                          <a:pt x="398" y="64"/>
                        </a:lnTo>
                        <a:lnTo>
                          <a:pt x="394" y="62"/>
                        </a:lnTo>
                        <a:lnTo>
                          <a:pt x="390" y="62"/>
                        </a:lnTo>
                        <a:lnTo>
                          <a:pt x="384" y="60"/>
                        </a:lnTo>
                        <a:lnTo>
                          <a:pt x="380" y="60"/>
                        </a:lnTo>
                        <a:lnTo>
                          <a:pt x="380" y="56"/>
                        </a:lnTo>
                        <a:lnTo>
                          <a:pt x="384" y="52"/>
                        </a:lnTo>
                        <a:lnTo>
                          <a:pt x="384" y="52"/>
                        </a:lnTo>
                        <a:lnTo>
                          <a:pt x="388" y="46"/>
                        </a:lnTo>
                        <a:lnTo>
                          <a:pt x="388" y="44"/>
                        </a:lnTo>
                        <a:lnTo>
                          <a:pt x="386" y="42"/>
                        </a:lnTo>
                        <a:lnTo>
                          <a:pt x="382" y="40"/>
                        </a:lnTo>
                        <a:lnTo>
                          <a:pt x="378" y="38"/>
                        </a:lnTo>
                        <a:lnTo>
                          <a:pt x="374" y="34"/>
                        </a:lnTo>
                        <a:lnTo>
                          <a:pt x="372" y="28"/>
                        </a:lnTo>
                        <a:lnTo>
                          <a:pt x="370" y="18"/>
                        </a:lnTo>
                        <a:lnTo>
                          <a:pt x="370" y="18"/>
                        </a:lnTo>
                        <a:lnTo>
                          <a:pt x="368" y="8"/>
                        </a:lnTo>
                        <a:lnTo>
                          <a:pt x="364" y="2"/>
                        </a:lnTo>
                        <a:lnTo>
                          <a:pt x="358" y="0"/>
                        </a:lnTo>
                        <a:lnTo>
                          <a:pt x="350" y="2"/>
                        </a:lnTo>
                        <a:lnTo>
                          <a:pt x="340" y="6"/>
                        </a:lnTo>
                        <a:lnTo>
                          <a:pt x="328" y="12"/>
                        </a:lnTo>
                        <a:lnTo>
                          <a:pt x="300" y="28"/>
                        </a:lnTo>
                        <a:lnTo>
                          <a:pt x="300" y="28"/>
                        </a:lnTo>
                        <a:lnTo>
                          <a:pt x="294" y="32"/>
                        </a:lnTo>
                        <a:lnTo>
                          <a:pt x="292" y="36"/>
                        </a:lnTo>
                        <a:lnTo>
                          <a:pt x="290" y="40"/>
                        </a:lnTo>
                        <a:lnTo>
                          <a:pt x="292" y="42"/>
                        </a:lnTo>
                        <a:lnTo>
                          <a:pt x="298" y="46"/>
                        </a:lnTo>
                        <a:lnTo>
                          <a:pt x="308" y="50"/>
                        </a:lnTo>
                        <a:lnTo>
                          <a:pt x="318" y="54"/>
                        </a:lnTo>
                        <a:lnTo>
                          <a:pt x="326" y="58"/>
                        </a:lnTo>
                        <a:lnTo>
                          <a:pt x="328" y="60"/>
                        </a:lnTo>
                        <a:lnTo>
                          <a:pt x="328" y="64"/>
                        </a:lnTo>
                        <a:lnTo>
                          <a:pt x="328" y="66"/>
                        </a:lnTo>
                        <a:lnTo>
                          <a:pt x="322" y="70"/>
                        </a:lnTo>
                        <a:lnTo>
                          <a:pt x="322" y="7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2" name="Freeform 6074"/>
                  <p:cNvSpPr>
                    <a:spLocks/>
                  </p:cNvSpPr>
                  <p:nvPr/>
                </p:nvSpPr>
                <p:spPr bwMode="auto">
                  <a:xfrm>
                    <a:off x="2233930" y="3139123"/>
                    <a:ext cx="278130" cy="109220"/>
                  </a:xfrm>
                  <a:custGeom>
                    <a:avLst/>
                    <a:gdLst/>
                    <a:ahLst/>
                    <a:cxnLst>
                      <a:cxn ang="0">
                        <a:pos x="416" y="160"/>
                      </a:cxn>
                      <a:cxn ang="0">
                        <a:pos x="436" y="156"/>
                      </a:cxn>
                      <a:cxn ang="0">
                        <a:pos x="428" y="148"/>
                      </a:cxn>
                      <a:cxn ang="0">
                        <a:pos x="414" y="136"/>
                      </a:cxn>
                      <a:cxn ang="0">
                        <a:pos x="384" y="126"/>
                      </a:cxn>
                      <a:cxn ang="0">
                        <a:pos x="374" y="120"/>
                      </a:cxn>
                      <a:cxn ang="0">
                        <a:pos x="376" y="108"/>
                      </a:cxn>
                      <a:cxn ang="0">
                        <a:pos x="358" y="106"/>
                      </a:cxn>
                      <a:cxn ang="0">
                        <a:pos x="350" y="100"/>
                      </a:cxn>
                      <a:cxn ang="0">
                        <a:pos x="338" y="100"/>
                      </a:cxn>
                      <a:cxn ang="0">
                        <a:pos x="326" y="92"/>
                      </a:cxn>
                      <a:cxn ang="0">
                        <a:pos x="300" y="68"/>
                      </a:cxn>
                      <a:cxn ang="0">
                        <a:pos x="300" y="76"/>
                      </a:cxn>
                      <a:cxn ang="0">
                        <a:pos x="292" y="64"/>
                      </a:cxn>
                      <a:cxn ang="0">
                        <a:pos x="286" y="60"/>
                      </a:cxn>
                      <a:cxn ang="0">
                        <a:pos x="260" y="48"/>
                      </a:cxn>
                      <a:cxn ang="0">
                        <a:pos x="230" y="40"/>
                      </a:cxn>
                      <a:cxn ang="0">
                        <a:pos x="216" y="28"/>
                      </a:cxn>
                      <a:cxn ang="0">
                        <a:pos x="194" y="14"/>
                      </a:cxn>
                      <a:cxn ang="0">
                        <a:pos x="180" y="8"/>
                      </a:cxn>
                      <a:cxn ang="0">
                        <a:pos x="164" y="8"/>
                      </a:cxn>
                      <a:cxn ang="0">
                        <a:pos x="150" y="0"/>
                      </a:cxn>
                      <a:cxn ang="0">
                        <a:pos x="136" y="4"/>
                      </a:cxn>
                      <a:cxn ang="0">
                        <a:pos x="112" y="0"/>
                      </a:cxn>
                      <a:cxn ang="0">
                        <a:pos x="92" y="10"/>
                      </a:cxn>
                      <a:cxn ang="0">
                        <a:pos x="56" y="18"/>
                      </a:cxn>
                      <a:cxn ang="0">
                        <a:pos x="24" y="42"/>
                      </a:cxn>
                      <a:cxn ang="0">
                        <a:pos x="24" y="58"/>
                      </a:cxn>
                      <a:cxn ang="0">
                        <a:pos x="2" y="66"/>
                      </a:cxn>
                      <a:cxn ang="0">
                        <a:pos x="4" y="72"/>
                      </a:cxn>
                      <a:cxn ang="0">
                        <a:pos x="18" y="72"/>
                      </a:cxn>
                      <a:cxn ang="0">
                        <a:pos x="24" y="72"/>
                      </a:cxn>
                      <a:cxn ang="0">
                        <a:pos x="40" y="62"/>
                      </a:cxn>
                      <a:cxn ang="0">
                        <a:pos x="70" y="44"/>
                      </a:cxn>
                      <a:cxn ang="0">
                        <a:pos x="92" y="30"/>
                      </a:cxn>
                      <a:cxn ang="0">
                        <a:pos x="132" y="32"/>
                      </a:cxn>
                      <a:cxn ang="0">
                        <a:pos x="124" y="38"/>
                      </a:cxn>
                      <a:cxn ang="0">
                        <a:pos x="118" y="46"/>
                      </a:cxn>
                      <a:cxn ang="0">
                        <a:pos x="164" y="58"/>
                      </a:cxn>
                      <a:cxn ang="0">
                        <a:pos x="186" y="62"/>
                      </a:cxn>
                      <a:cxn ang="0">
                        <a:pos x="214" y="80"/>
                      </a:cxn>
                      <a:cxn ang="0">
                        <a:pos x="242" y="84"/>
                      </a:cxn>
                      <a:cxn ang="0">
                        <a:pos x="256" y="94"/>
                      </a:cxn>
                      <a:cxn ang="0">
                        <a:pos x="268" y="120"/>
                      </a:cxn>
                      <a:cxn ang="0">
                        <a:pos x="288" y="128"/>
                      </a:cxn>
                      <a:cxn ang="0">
                        <a:pos x="318" y="136"/>
                      </a:cxn>
                      <a:cxn ang="0">
                        <a:pos x="310" y="150"/>
                      </a:cxn>
                      <a:cxn ang="0">
                        <a:pos x="290" y="168"/>
                      </a:cxn>
                      <a:cxn ang="0">
                        <a:pos x="348" y="164"/>
                      </a:cxn>
                      <a:cxn ang="0">
                        <a:pos x="382" y="170"/>
                      </a:cxn>
                      <a:cxn ang="0">
                        <a:pos x="400" y="166"/>
                      </a:cxn>
                    </a:cxnLst>
                    <a:rect l="0" t="0" r="r" b="b"/>
                    <a:pathLst>
                      <a:path w="438" h="172">
                        <a:moveTo>
                          <a:pt x="400" y="166"/>
                        </a:moveTo>
                        <a:lnTo>
                          <a:pt x="400" y="166"/>
                        </a:lnTo>
                        <a:lnTo>
                          <a:pt x="410" y="162"/>
                        </a:lnTo>
                        <a:lnTo>
                          <a:pt x="416" y="160"/>
                        </a:lnTo>
                        <a:lnTo>
                          <a:pt x="426" y="160"/>
                        </a:lnTo>
                        <a:lnTo>
                          <a:pt x="432" y="162"/>
                        </a:lnTo>
                        <a:lnTo>
                          <a:pt x="436" y="156"/>
                        </a:lnTo>
                        <a:lnTo>
                          <a:pt x="436" y="156"/>
                        </a:lnTo>
                        <a:lnTo>
                          <a:pt x="438" y="152"/>
                        </a:lnTo>
                        <a:lnTo>
                          <a:pt x="438" y="150"/>
                        </a:lnTo>
                        <a:lnTo>
                          <a:pt x="434" y="150"/>
                        </a:lnTo>
                        <a:lnTo>
                          <a:pt x="428" y="148"/>
                        </a:lnTo>
                        <a:lnTo>
                          <a:pt x="424" y="146"/>
                        </a:lnTo>
                        <a:lnTo>
                          <a:pt x="420" y="144"/>
                        </a:lnTo>
                        <a:lnTo>
                          <a:pt x="420" y="144"/>
                        </a:lnTo>
                        <a:lnTo>
                          <a:pt x="414" y="136"/>
                        </a:lnTo>
                        <a:lnTo>
                          <a:pt x="410" y="132"/>
                        </a:lnTo>
                        <a:lnTo>
                          <a:pt x="400" y="128"/>
                        </a:lnTo>
                        <a:lnTo>
                          <a:pt x="384" y="126"/>
                        </a:lnTo>
                        <a:lnTo>
                          <a:pt x="384" y="126"/>
                        </a:lnTo>
                        <a:lnTo>
                          <a:pt x="372" y="124"/>
                        </a:lnTo>
                        <a:lnTo>
                          <a:pt x="370" y="124"/>
                        </a:lnTo>
                        <a:lnTo>
                          <a:pt x="372" y="122"/>
                        </a:lnTo>
                        <a:lnTo>
                          <a:pt x="374" y="120"/>
                        </a:lnTo>
                        <a:lnTo>
                          <a:pt x="376" y="116"/>
                        </a:lnTo>
                        <a:lnTo>
                          <a:pt x="376" y="112"/>
                        </a:lnTo>
                        <a:lnTo>
                          <a:pt x="376" y="112"/>
                        </a:lnTo>
                        <a:lnTo>
                          <a:pt x="376" y="108"/>
                        </a:lnTo>
                        <a:lnTo>
                          <a:pt x="374" y="108"/>
                        </a:lnTo>
                        <a:lnTo>
                          <a:pt x="368" y="106"/>
                        </a:lnTo>
                        <a:lnTo>
                          <a:pt x="362" y="106"/>
                        </a:lnTo>
                        <a:lnTo>
                          <a:pt x="358" y="106"/>
                        </a:lnTo>
                        <a:lnTo>
                          <a:pt x="356" y="104"/>
                        </a:lnTo>
                        <a:lnTo>
                          <a:pt x="356" y="104"/>
                        </a:lnTo>
                        <a:lnTo>
                          <a:pt x="352" y="102"/>
                        </a:lnTo>
                        <a:lnTo>
                          <a:pt x="350" y="100"/>
                        </a:lnTo>
                        <a:lnTo>
                          <a:pt x="344" y="102"/>
                        </a:lnTo>
                        <a:lnTo>
                          <a:pt x="340" y="102"/>
                        </a:lnTo>
                        <a:lnTo>
                          <a:pt x="338" y="102"/>
                        </a:lnTo>
                        <a:lnTo>
                          <a:pt x="338" y="100"/>
                        </a:lnTo>
                        <a:lnTo>
                          <a:pt x="338" y="100"/>
                        </a:lnTo>
                        <a:lnTo>
                          <a:pt x="334" y="96"/>
                        </a:lnTo>
                        <a:lnTo>
                          <a:pt x="332" y="94"/>
                        </a:lnTo>
                        <a:lnTo>
                          <a:pt x="326" y="92"/>
                        </a:lnTo>
                        <a:lnTo>
                          <a:pt x="320" y="86"/>
                        </a:lnTo>
                        <a:lnTo>
                          <a:pt x="320" y="86"/>
                        </a:lnTo>
                        <a:lnTo>
                          <a:pt x="304" y="70"/>
                        </a:lnTo>
                        <a:lnTo>
                          <a:pt x="300" y="68"/>
                        </a:lnTo>
                        <a:lnTo>
                          <a:pt x="300" y="70"/>
                        </a:lnTo>
                        <a:lnTo>
                          <a:pt x="300" y="72"/>
                        </a:lnTo>
                        <a:lnTo>
                          <a:pt x="300" y="72"/>
                        </a:lnTo>
                        <a:lnTo>
                          <a:pt x="300" y="76"/>
                        </a:lnTo>
                        <a:lnTo>
                          <a:pt x="300" y="76"/>
                        </a:lnTo>
                        <a:lnTo>
                          <a:pt x="296" y="76"/>
                        </a:lnTo>
                        <a:lnTo>
                          <a:pt x="294" y="70"/>
                        </a:lnTo>
                        <a:lnTo>
                          <a:pt x="292" y="64"/>
                        </a:lnTo>
                        <a:lnTo>
                          <a:pt x="292" y="64"/>
                        </a:lnTo>
                        <a:lnTo>
                          <a:pt x="292" y="62"/>
                        </a:lnTo>
                        <a:lnTo>
                          <a:pt x="292" y="60"/>
                        </a:lnTo>
                        <a:lnTo>
                          <a:pt x="286" y="60"/>
                        </a:lnTo>
                        <a:lnTo>
                          <a:pt x="276" y="56"/>
                        </a:lnTo>
                        <a:lnTo>
                          <a:pt x="268" y="54"/>
                        </a:lnTo>
                        <a:lnTo>
                          <a:pt x="260" y="48"/>
                        </a:lnTo>
                        <a:lnTo>
                          <a:pt x="260" y="48"/>
                        </a:lnTo>
                        <a:lnTo>
                          <a:pt x="252" y="42"/>
                        </a:lnTo>
                        <a:lnTo>
                          <a:pt x="244" y="40"/>
                        </a:lnTo>
                        <a:lnTo>
                          <a:pt x="234" y="40"/>
                        </a:lnTo>
                        <a:lnTo>
                          <a:pt x="230" y="40"/>
                        </a:lnTo>
                        <a:lnTo>
                          <a:pt x="226" y="38"/>
                        </a:lnTo>
                        <a:lnTo>
                          <a:pt x="220" y="34"/>
                        </a:lnTo>
                        <a:lnTo>
                          <a:pt x="216" y="28"/>
                        </a:lnTo>
                        <a:lnTo>
                          <a:pt x="216" y="28"/>
                        </a:lnTo>
                        <a:lnTo>
                          <a:pt x="210" y="20"/>
                        </a:lnTo>
                        <a:lnTo>
                          <a:pt x="204" y="16"/>
                        </a:lnTo>
                        <a:lnTo>
                          <a:pt x="200" y="14"/>
                        </a:lnTo>
                        <a:lnTo>
                          <a:pt x="194" y="14"/>
                        </a:lnTo>
                        <a:lnTo>
                          <a:pt x="186" y="14"/>
                        </a:lnTo>
                        <a:lnTo>
                          <a:pt x="182" y="12"/>
                        </a:lnTo>
                        <a:lnTo>
                          <a:pt x="180" y="8"/>
                        </a:lnTo>
                        <a:lnTo>
                          <a:pt x="180" y="8"/>
                        </a:lnTo>
                        <a:lnTo>
                          <a:pt x="176" y="6"/>
                        </a:lnTo>
                        <a:lnTo>
                          <a:pt x="174" y="4"/>
                        </a:lnTo>
                        <a:lnTo>
                          <a:pt x="168" y="6"/>
                        </a:lnTo>
                        <a:lnTo>
                          <a:pt x="164" y="8"/>
                        </a:lnTo>
                        <a:lnTo>
                          <a:pt x="160" y="6"/>
                        </a:lnTo>
                        <a:lnTo>
                          <a:pt x="156" y="4"/>
                        </a:lnTo>
                        <a:lnTo>
                          <a:pt x="156" y="4"/>
                        </a:lnTo>
                        <a:lnTo>
                          <a:pt x="150" y="0"/>
                        </a:lnTo>
                        <a:lnTo>
                          <a:pt x="148" y="2"/>
                        </a:lnTo>
                        <a:lnTo>
                          <a:pt x="146" y="2"/>
                        </a:lnTo>
                        <a:lnTo>
                          <a:pt x="142" y="4"/>
                        </a:lnTo>
                        <a:lnTo>
                          <a:pt x="136" y="4"/>
                        </a:lnTo>
                        <a:lnTo>
                          <a:pt x="126" y="2"/>
                        </a:lnTo>
                        <a:lnTo>
                          <a:pt x="126" y="2"/>
                        </a:lnTo>
                        <a:lnTo>
                          <a:pt x="118" y="0"/>
                        </a:lnTo>
                        <a:lnTo>
                          <a:pt x="112" y="0"/>
                        </a:lnTo>
                        <a:lnTo>
                          <a:pt x="108" y="2"/>
                        </a:lnTo>
                        <a:lnTo>
                          <a:pt x="104" y="4"/>
                        </a:lnTo>
                        <a:lnTo>
                          <a:pt x="98" y="8"/>
                        </a:lnTo>
                        <a:lnTo>
                          <a:pt x="92" y="10"/>
                        </a:lnTo>
                        <a:lnTo>
                          <a:pt x="86" y="10"/>
                        </a:lnTo>
                        <a:lnTo>
                          <a:pt x="86" y="10"/>
                        </a:lnTo>
                        <a:lnTo>
                          <a:pt x="68" y="14"/>
                        </a:lnTo>
                        <a:lnTo>
                          <a:pt x="56" y="18"/>
                        </a:lnTo>
                        <a:lnTo>
                          <a:pt x="44" y="22"/>
                        </a:lnTo>
                        <a:lnTo>
                          <a:pt x="36" y="28"/>
                        </a:lnTo>
                        <a:lnTo>
                          <a:pt x="28" y="34"/>
                        </a:lnTo>
                        <a:lnTo>
                          <a:pt x="24" y="42"/>
                        </a:lnTo>
                        <a:lnTo>
                          <a:pt x="22" y="48"/>
                        </a:lnTo>
                        <a:lnTo>
                          <a:pt x="24" y="54"/>
                        </a:lnTo>
                        <a:lnTo>
                          <a:pt x="24" y="54"/>
                        </a:lnTo>
                        <a:lnTo>
                          <a:pt x="24" y="58"/>
                        </a:lnTo>
                        <a:lnTo>
                          <a:pt x="22" y="60"/>
                        </a:lnTo>
                        <a:lnTo>
                          <a:pt x="14" y="62"/>
                        </a:lnTo>
                        <a:lnTo>
                          <a:pt x="4" y="64"/>
                        </a:lnTo>
                        <a:lnTo>
                          <a:pt x="2" y="66"/>
                        </a:lnTo>
                        <a:lnTo>
                          <a:pt x="0" y="68"/>
                        </a:lnTo>
                        <a:lnTo>
                          <a:pt x="0" y="68"/>
                        </a:lnTo>
                        <a:lnTo>
                          <a:pt x="2" y="70"/>
                        </a:lnTo>
                        <a:lnTo>
                          <a:pt x="4" y="72"/>
                        </a:lnTo>
                        <a:lnTo>
                          <a:pt x="8" y="72"/>
                        </a:lnTo>
                        <a:lnTo>
                          <a:pt x="14" y="72"/>
                        </a:lnTo>
                        <a:lnTo>
                          <a:pt x="16" y="72"/>
                        </a:lnTo>
                        <a:lnTo>
                          <a:pt x="18" y="72"/>
                        </a:lnTo>
                        <a:lnTo>
                          <a:pt x="18" y="72"/>
                        </a:lnTo>
                        <a:lnTo>
                          <a:pt x="18" y="74"/>
                        </a:lnTo>
                        <a:lnTo>
                          <a:pt x="20" y="74"/>
                        </a:lnTo>
                        <a:lnTo>
                          <a:pt x="24" y="72"/>
                        </a:lnTo>
                        <a:lnTo>
                          <a:pt x="30" y="68"/>
                        </a:lnTo>
                        <a:lnTo>
                          <a:pt x="38" y="68"/>
                        </a:lnTo>
                        <a:lnTo>
                          <a:pt x="38" y="68"/>
                        </a:lnTo>
                        <a:lnTo>
                          <a:pt x="40" y="62"/>
                        </a:lnTo>
                        <a:lnTo>
                          <a:pt x="42" y="58"/>
                        </a:lnTo>
                        <a:lnTo>
                          <a:pt x="52" y="54"/>
                        </a:lnTo>
                        <a:lnTo>
                          <a:pt x="62" y="48"/>
                        </a:lnTo>
                        <a:lnTo>
                          <a:pt x="70" y="44"/>
                        </a:lnTo>
                        <a:lnTo>
                          <a:pt x="76" y="40"/>
                        </a:lnTo>
                        <a:lnTo>
                          <a:pt x="76" y="40"/>
                        </a:lnTo>
                        <a:lnTo>
                          <a:pt x="84" y="34"/>
                        </a:lnTo>
                        <a:lnTo>
                          <a:pt x="92" y="30"/>
                        </a:lnTo>
                        <a:lnTo>
                          <a:pt x="100" y="28"/>
                        </a:lnTo>
                        <a:lnTo>
                          <a:pt x="108" y="28"/>
                        </a:lnTo>
                        <a:lnTo>
                          <a:pt x="124" y="28"/>
                        </a:lnTo>
                        <a:lnTo>
                          <a:pt x="132" y="32"/>
                        </a:lnTo>
                        <a:lnTo>
                          <a:pt x="132" y="32"/>
                        </a:lnTo>
                        <a:lnTo>
                          <a:pt x="134" y="34"/>
                        </a:lnTo>
                        <a:lnTo>
                          <a:pt x="132" y="36"/>
                        </a:lnTo>
                        <a:lnTo>
                          <a:pt x="124" y="38"/>
                        </a:lnTo>
                        <a:lnTo>
                          <a:pt x="116" y="42"/>
                        </a:lnTo>
                        <a:lnTo>
                          <a:pt x="116" y="44"/>
                        </a:lnTo>
                        <a:lnTo>
                          <a:pt x="118" y="46"/>
                        </a:lnTo>
                        <a:lnTo>
                          <a:pt x="118" y="46"/>
                        </a:lnTo>
                        <a:lnTo>
                          <a:pt x="126" y="52"/>
                        </a:lnTo>
                        <a:lnTo>
                          <a:pt x="134" y="56"/>
                        </a:lnTo>
                        <a:lnTo>
                          <a:pt x="146" y="58"/>
                        </a:lnTo>
                        <a:lnTo>
                          <a:pt x="164" y="58"/>
                        </a:lnTo>
                        <a:lnTo>
                          <a:pt x="164" y="58"/>
                        </a:lnTo>
                        <a:lnTo>
                          <a:pt x="174" y="58"/>
                        </a:lnTo>
                        <a:lnTo>
                          <a:pt x="180" y="60"/>
                        </a:lnTo>
                        <a:lnTo>
                          <a:pt x="186" y="62"/>
                        </a:lnTo>
                        <a:lnTo>
                          <a:pt x="190" y="66"/>
                        </a:lnTo>
                        <a:lnTo>
                          <a:pt x="200" y="74"/>
                        </a:lnTo>
                        <a:lnTo>
                          <a:pt x="206" y="78"/>
                        </a:lnTo>
                        <a:lnTo>
                          <a:pt x="214" y="80"/>
                        </a:lnTo>
                        <a:lnTo>
                          <a:pt x="214" y="80"/>
                        </a:lnTo>
                        <a:lnTo>
                          <a:pt x="222" y="84"/>
                        </a:lnTo>
                        <a:lnTo>
                          <a:pt x="230" y="84"/>
                        </a:lnTo>
                        <a:lnTo>
                          <a:pt x="242" y="84"/>
                        </a:lnTo>
                        <a:lnTo>
                          <a:pt x="246" y="84"/>
                        </a:lnTo>
                        <a:lnTo>
                          <a:pt x="250" y="86"/>
                        </a:lnTo>
                        <a:lnTo>
                          <a:pt x="252" y="88"/>
                        </a:lnTo>
                        <a:lnTo>
                          <a:pt x="256" y="94"/>
                        </a:lnTo>
                        <a:lnTo>
                          <a:pt x="256" y="94"/>
                        </a:lnTo>
                        <a:lnTo>
                          <a:pt x="260" y="106"/>
                        </a:lnTo>
                        <a:lnTo>
                          <a:pt x="266" y="116"/>
                        </a:lnTo>
                        <a:lnTo>
                          <a:pt x="268" y="120"/>
                        </a:lnTo>
                        <a:lnTo>
                          <a:pt x="274" y="124"/>
                        </a:lnTo>
                        <a:lnTo>
                          <a:pt x="280" y="126"/>
                        </a:lnTo>
                        <a:lnTo>
                          <a:pt x="288" y="128"/>
                        </a:lnTo>
                        <a:lnTo>
                          <a:pt x="288" y="128"/>
                        </a:lnTo>
                        <a:lnTo>
                          <a:pt x="304" y="128"/>
                        </a:lnTo>
                        <a:lnTo>
                          <a:pt x="310" y="130"/>
                        </a:lnTo>
                        <a:lnTo>
                          <a:pt x="316" y="134"/>
                        </a:lnTo>
                        <a:lnTo>
                          <a:pt x="318" y="136"/>
                        </a:lnTo>
                        <a:lnTo>
                          <a:pt x="318" y="140"/>
                        </a:lnTo>
                        <a:lnTo>
                          <a:pt x="316" y="144"/>
                        </a:lnTo>
                        <a:lnTo>
                          <a:pt x="310" y="150"/>
                        </a:lnTo>
                        <a:lnTo>
                          <a:pt x="310" y="150"/>
                        </a:lnTo>
                        <a:lnTo>
                          <a:pt x="298" y="158"/>
                        </a:lnTo>
                        <a:lnTo>
                          <a:pt x="292" y="162"/>
                        </a:lnTo>
                        <a:lnTo>
                          <a:pt x="290" y="166"/>
                        </a:lnTo>
                        <a:lnTo>
                          <a:pt x="290" y="168"/>
                        </a:lnTo>
                        <a:lnTo>
                          <a:pt x="296" y="170"/>
                        </a:lnTo>
                        <a:lnTo>
                          <a:pt x="328" y="166"/>
                        </a:lnTo>
                        <a:lnTo>
                          <a:pt x="328" y="166"/>
                        </a:lnTo>
                        <a:lnTo>
                          <a:pt x="348" y="164"/>
                        </a:lnTo>
                        <a:lnTo>
                          <a:pt x="360" y="166"/>
                        </a:lnTo>
                        <a:lnTo>
                          <a:pt x="370" y="166"/>
                        </a:lnTo>
                        <a:lnTo>
                          <a:pt x="376" y="168"/>
                        </a:lnTo>
                        <a:lnTo>
                          <a:pt x="382" y="170"/>
                        </a:lnTo>
                        <a:lnTo>
                          <a:pt x="386" y="172"/>
                        </a:lnTo>
                        <a:lnTo>
                          <a:pt x="392" y="170"/>
                        </a:lnTo>
                        <a:lnTo>
                          <a:pt x="400" y="166"/>
                        </a:lnTo>
                        <a:lnTo>
                          <a:pt x="400" y="16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3" name="Freeform 6084"/>
                  <p:cNvSpPr>
                    <a:spLocks/>
                  </p:cNvSpPr>
                  <p:nvPr/>
                </p:nvSpPr>
                <p:spPr bwMode="auto">
                  <a:xfrm>
                    <a:off x="2791460" y="3296603"/>
                    <a:ext cx="5080" cy="5080"/>
                  </a:xfrm>
                  <a:custGeom>
                    <a:avLst/>
                    <a:gdLst/>
                    <a:ahLst/>
                    <a:cxnLst>
                      <a:cxn ang="0">
                        <a:pos x="0" y="6"/>
                      </a:cxn>
                      <a:cxn ang="0">
                        <a:pos x="0" y="6"/>
                      </a:cxn>
                      <a:cxn ang="0">
                        <a:pos x="0" y="8"/>
                      </a:cxn>
                      <a:cxn ang="0">
                        <a:pos x="4" y="6"/>
                      </a:cxn>
                      <a:cxn ang="0">
                        <a:pos x="6" y="4"/>
                      </a:cxn>
                      <a:cxn ang="0">
                        <a:pos x="8" y="2"/>
                      </a:cxn>
                      <a:cxn ang="0">
                        <a:pos x="8" y="2"/>
                      </a:cxn>
                      <a:cxn ang="0">
                        <a:pos x="6" y="0"/>
                      </a:cxn>
                      <a:cxn ang="0">
                        <a:pos x="2" y="2"/>
                      </a:cxn>
                      <a:cxn ang="0">
                        <a:pos x="0" y="4"/>
                      </a:cxn>
                      <a:cxn ang="0">
                        <a:pos x="0" y="6"/>
                      </a:cxn>
                      <a:cxn ang="0">
                        <a:pos x="0" y="6"/>
                      </a:cxn>
                    </a:cxnLst>
                    <a:rect l="0" t="0" r="r" b="b"/>
                    <a:pathLst>
                      <a:path w="8" h="8">
                        <a:moveTo>
                          <a:pt x="0" y="6"/>
                        </a:moveTo>
                        <a:lnTo>
                          <a:pt x="0" y="6"/>
                        </a:lnTo>
                        <a:lnTo>
                          <a:pt x="0" y="8"/>
                        </a:lnTo>
                        <a:lnTo>
                          <a:pt x="4" y="6"/>
                        </a:lnTo>
                        <a:lnTo>
                          <a:pt x="6" y="4"/>
                        </a:lnTo>
                        <a:lnTo>
                          <a:pt x="8" y="2"/>
                        </a:lnTo>
                        <a:lnTo>
                          <a:pt x="8" y="2"/>
                        </a:lnTo>
                        <a:lnTo>
                          <a:pt x="6" y="0"/>
                        </a:lnTo>
                        <a:lnTo>
                          <a:pt x="2" y="2"/>
                        </a:lnTo>
                        <a:lnTo>
                          <a:pt x="0" y="4"/>
                        </a:lnTo>
                        <a:lnTo>
                          <a:pt x="0" y="6"/>
                        </a:lnTo>
                        <a:lnTo>
                          <a:pt x="0"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4" name="Freeform 6086"/>
                  <p:cNvSpPr>
                    <a:spLocks noEditPoints="1"/>
                  </p:cNvSpPr>
                  <p:nvPr/>
                </p:nvSpPr>
                <p:spPr bwMode="auto">
                  <a:xfrm>
                    <a:off x="106680" y="1296353"/>
                    <a:ext cx="2874010" cy="2354580"/>
                  </a:xfrm>
                  <a:custGeom>
                    <a:avLst/>
                    <a:gdLst/>
                    <a:ahLst/>
                    <a:cxnLst>
                      <a:cxn ang="0">
                        <a:pos x="3400" y="3516"/>
                      </a:cxn>
                      <a:cxn ang="0">
                        <a:pos x="3292" y="3276"/>
                      </a:cxn>
                      <a:cxn ang="0">
                        <a:pos x="3246" y="3102"/>
                      </a:cxn>
                      <a:cxn ang="0">
                        <a:pos x="3116" y="3080"/>
                      </a:cxn>
                      <a:cxn ang="0">
                        <a:pos x="2830" y="2916"/>
                      </a:cxn>
                      <a:cxn ang="0">
                        <a:pos x="3078" y="2572"/>
                      </a:cxn>
                      <a:cxn ang="0">
                        <a:pos x="3134" y="2554"/>
                      </a:cxn>
                      <a:cxn ang="0">
                        <a:pos x="3436" y="2646"/>
                      </a:cxn>
                      <a:cxn ang="0">
                        <a:pos x="3526" y="2642"/>
                      </a:cxn>
                      <a:cxn ang="0">
                        <a:pos x="3686" y="2282"/>
                      </a:cxn>
                      <a:cxn ang="0">
                        <a:pos x="3698" y="2162"/>
                      </a:cxn>
                      <a:cxn ang="0">
                        <a:pos x="3748" y="2092"/>
                      </a:cxn>
                      <a:cxn ang="0">
                        <a:pos x="3924" y="1928"/>
                      </a:cxn>
                      <a:cxn ang="0">
                        <a:pos x="4006" y="1782"/>
                      </a:cxn>
                      <a:cxn ang="0">
                        <a:pos x="4138" y="1824"/>
                      </a:cxn>
                      <a:cxn ang="0">
                        <a:pos x="4150" y="1496"/>
                      </a:cxn>
                      <a:cxn ang="0">
                        <a:pos x="4522" y="1296"/>
                      </a:cxn>
                      <a:cxn ang="0">
                        <a:pos x="4314" y="1090"/>
                      </a:cxn>
                      <a:cxn ang="0">
                        <a:pos x="4060" y="934"/>
                      </a:cxn>
                      <a:cxn ang="0">
                        <a:pos x="3720" y="680"/>
                      </a:cxn>
                      <a:cxn ang="0">
                        <a:pos x="3570" y="1166"/>
                      </a:cxn>
                      <a:cxn ang="0">
                        <a:pos x="3346" y="1132"/>
                      </a:cxn>
                      <a:cxn ang="0">
                        <a:pos x="3060" y="648"/>
                      </a:cxn>
                      <a:cxn ang="0">
                        <a:pos x="3304" y="420"/>
                      </a:cxn>
                      <a:cxn ang="0">
                        <a:pos x="3452" y="258"/>
                      </a:cxn>
                      <a:cxn ang="0">
                        <a:pos x="3282" y="322"/>
                      </a:cxn>
                      <a:cxn ang="0">
                        <a:pos x="3048" y="164"/>
                      </a:cxn>
                      <a:cxn ang="0">
                        <a:pos x="2954" y="232"/>
                      </a:cxn>
                      <a:cxn ang="0">
                        <a:pos x="2726" y="298"/>
                      </a:cxn>
                      <a:cxn ang="0">
                        <a:pos x="2330" y="286"/>
                      </a:cxn>
                      <a:cxn ang="0">
                        <a:pos x="1732" y="136"/>
                      </a:cxn>
                      <a:cxn ang="0">
                        <a:pos x="1406" y="178"/>
                      </a:cxn>
                      <a:cxn ang="0">
                        <a:pos x="636" y="94"/>
                      </a:cxn>
                      <a:cxn ang="0">
                        <a:pos x="54" y="266"/>
                      </a:cxn>
                      <a:cxn ang="0">
                        <a:pos x="28" y="440"/>
                      </a:cxn>
                      <a:cxn ang="0">
                        <a:pos x="270" y="598"/>
                      </a:cxn>
                      <a:cxn ang="0">
                        <a:pos x="246" y="900"/>
                      </a:cxn>
                      <a:cxn ang="0">
                        <a:pos x="218" y="1124"/>
                      </a:cxn>
                      <a:cxn ang="0">
                        <a:pos x="548" y="956"/>
                      </a:cxn>
                      <a:cxn ang="0">
                        <a:pos x="648" y="882"/>
                      </a:cxn>
                      <a:cxn ang="0">
                        <a:pos x="1136" y="842"/>
                      </a:cxn>
                      <a:cxn ang="0">
                        <a:pos x="1412" y="1020"/>
                      </a:cxn>
                      <a:cxn ang="0">
                        <a:pos x="1524" y="1162"/>
                      </a:cxn>
                      <a:cxn ang="0">
                        <a:pos x="1646" y="1306"/>
                      </a:cxn>
                      <a:cxn ang="0">
                        <a:pos x="1750" y="1434"/>
                      </a:cxn>
                      <a:cxn ang="0">
                        <a:pos x="1840" y="1570"/>
                      </a:cxn>
                      <a:cxn ang="0">
                        <a:pos x="1838" y="2170"/>
                      </a:cxn>
                      <a:cxn ang="0">
                        <a:pos x="2146" y="2682"/>
                      </a:cxn>
                      <a:cxn ang="0">
                        <a:pos x="2168" y="2564"/>
                      </a:cxn>
                      <a:cxn ang="0">
                        <a:pos x="2530" y="2998"/>
                      </a:cxn>
                      <a:cxn ang="0">
                        <a:pos x="3202" y="3400"/>
                      </a:cxn>
                      <a:cxn ang="0">
                        <a:pos x="3330" y="3570"/>
                      </a:cxn>
                      <a:cxn ang="0">
                        <a:pos x="3432" y="3656"/>
                      </a:cxn>
                      <a:cxn ang="0">
                        <a:pos x="3562" y="3616"/>
                      </a:cxn>
                      <a:cxn ang="0">
                        <a:pos x="3408" y="1922"/>
                      </a:cxn>
                      <a:cxn ang="0">
                        <a:pos x="3590" y="1870"/>
                      </a:cxn>
                      <a:cxn ang="0">
                        <a:pos x="3578" y="1812"/>
                      </a:cxn>
                      <a:cxn ang="0">
                        <a:pos x="3344" y="1588"/>
                      </a:cxn>
                      <a:cxn ang="0">
                        <a:pos x="3548" y="1750"/>
                      </a:cxn>
                      <a:cxn ang="0">
                        <a:pos x="3418" y="1798"/>
                      </a:cxn>
                      <a:cxn ang="0">
                        <a:pos x="3294" y="1766"/>
                      </a:cxn>
                      <a:cxn ang="0">
                        <a:pos x="3244" y="1726"/>
                      </a:cxn>
                      <a:cxn ang="0">
                        <a:pos x="3258" y="1654"/>
                      </a:cxn>
                    </a:cxnLst>
                    <a:rect l="0" t="0" r="r" b="b"/>
                    <a:pathLst>
                      <a:path w="4526" h="3708">
                        <a:moveTo>
                          <a:pt x="3654" y="3626"/>
                        </a:moveTo>
                        <a:lnTo>
                          <a:pt x="3654" y="3626"/>
                        </a:lnTo>
                        <a:lnTo>
                          <a:pt x="3654" y="3626"/>
                        </a:lnTo>
                        <a:lnTo>
                          <a:pt x="3654" y="3626"/>
                        </a:lnTo>
                        <a:lnTo>
                          <a:pt x="3642" y="3614"/>
                        </a:lnTo>
                        <a:lnTo>
                          <a:pt x="3628" y="3600"/>
                        </a:lnTo>
                        <a:lnTo>
                          <a:pt x="3622" y="3596"/>
                        </a:lnTo>
                        <a:lnTo>
                          <a:pt x="3614" y="3592"/>
                        </a:lnTo>
                        <a:lnTo>
                          <a:pt x="3606" y="3590"/>
                        </a:lnTo>
                        <a:lnTo>
                          <a:pt x="3598" y="3588"/>
                        </a:lnTo>
                        <a:lnTo>
                          <a:pt x="3598" y="3588"/>
                        </a:lnTo>
                        <a:lnTo>
                          <a:pt x="3588" y="3590"/>
                        </a:lnTo>
                        <a:lnTo>
                          <a:pt x="3588" y="3588"/>
                        </a:lnTo>
                        <a:lnTo>
                          <a:pt x="3588" y="3588"/>
                        </a:lnTo>
                        <a:lnTo>
                          <a:pt x="3588" y="3586"/>
                        </a:lnTo>
                        <a:lnTo>
                          <a:pt x="3586" y="3584"/>
                        </a:lnTo>
                        <a:lnTo>
                          <a:pt x="3574" y="3582"/>
                        </a:lnTo>
                        <a:lnTo>
                          <a:pt x="3574" y="3582"/>
                        </a:lnTo>
                        <a:lnTo>
                          <a:pt x="3562" y="3582"/>
                        </a:lnTo>
                        <a:lnTo>
                          <a:pt x="3560" y="3582"/>
                        </a:lnTo>
                        <a:lnTo>
                          <a:pt x="3560" y="3584"/>
                        </a:lnTo>
                        <a:lnTo>
                          <a:pt x="3556" y="3590"/>
                        </a:lnTo>
                        <a:lnTo>
                          <a:pt x="3552" y="3594"/>
                        </a:lnTo>
                        <a:lnTo>
                          <a:pt x="3546" y="3598"/>
                        </a:lnTo>
                        <a:lnTo>
                          <a:pt x="3546" y="3598"/>
                        </a:lnTo>
                        <a:lnTo>
                          <a:pt x="3524" y="3608"/>
                        </a:lnTo>
                        <a:lnTo>
                          <a:pt x="3518" y="3612"/>
                        </a:lnTo>
                        <a:lnTo>
                          <a:pt x="3514" y="3616"/>
                        </a:lnTo>
                        <a:lnTo>
                          <a:pt x="3496" y="3622"/>
                        </a:lnTo>
                        <a:lnTo>
                          <a:pt x="3496" y="3622"/>
                        </a:lnTo>
                        <a:lnTo>
                          <a:pt x="3492" y="3622"/>
                        </a:lnTo>
                        <a:lnTo>
                          <a:pt x="3488" y="3620"/>
                        </a:lnTo>
                        <a:lnTo>
                          <a:pt x="3480" y="3612"/>
                        </a:lnTo>
                        <a:lnTo>
                          <a:pt x="3480" y="3612"/>
                        </a:lnTo>
                        <a:lnTo>
                          <a:pt x="3476" y="3608"/>
                        </a:lnTo>
                        <a:lnTo>
                          <a:pt x="3474" y="3604"/>
                        </a:lnTo>
                        <a:lnTo>
                          <a:pt x="3474" y="3604"/>
                        </a:lnTo>
                        <a:lnTo>
                          <a:pt x="3472" y="3602"/>
                        </a:lnTo>
                        <a:lnTo>
                          <a:pt x="3470" y="3602"/>
                        </a:lnTo>
                        <a:lnTo>
                          <a:pt x="3468" y="3604"/>
                        </a:lnTo>
                        <a:lnTo>
                          <a:pt x="3470" y="3610"/>
                        </a:lnTo>
                        <a:lnTo>
                          <a:pt x="3470" y="3610"/>
                        </a:lnTo>
                        <a:lnTo>
                          <a:pt x="3470" y="3610"/>
                        </a:lnTo>
                        <a:lnTo>
                          <a:pt x="3468" y="3612"/>
                        </a:lnTo>
                        <a:lnTo>
                          <a:pt x="3464" y="3612"/>
                        </a:lnTo>
                        <a:lnTo>
                          <a:pt x="3460" y="3610"/>
                        </a:lnTo>
                        <a:lnTo>
                          <a:pt x="3456" y="3608"/>
                        </a:lnTo>
                        <a:lnTo>
                          <a:pt x="3456" y="3608"/>
                        </a:lnTo>
                        <a:lnTo>
                          <a:pt x="3458" y="3604"/>
                        </a:lnTo>
                        <a:lnTo>
                          <a:pt x="3460" y="3604"/>
                        </a:lnTo>
                        <a:lnTo>
                          <a:pt x="3460" y="3602"/>
                        </a:lnTo>
                        <a:lnTo>
                          <a:pt x="3460" y="3600"/>
                        </a:lnTo>
                        <a:lnTo>
                          <a:pt x="3460" y="3600"/>
                        </a:lnTo>
                        <a:lnTo>
                          <a:pt x="3458" y="3600"/>
                        </a:lnTo>
                        <a:lnTo>
                          <a:pt x="3454" y="3600"/>
                        </a:lnTo>
                        <a:lnTo>
                          <a:pt x="3452" y="3600"/>
                        </a:lnTo>
                        <a:lnTo>
                          <a:pt x="3452" y="3596"/>
                        </a:lnTo>
                        <a:lnTo>
                          <a:pt x="3452" y="3596"/>
                        </a:lnTo>
                        <a:lnTo>
                          <a:pt x="3452" y="3590"/>
                        </a:lnTo>
                        <a:lnTo>
                          <a:pt x="3450" y="3588"/>
                        </a:lnTo>
                        <a:lnTo>
                          <a:pt x="3444" y="3584"/>
                        </a:lnTo>
                        <a:lnTo>
                          <a:pt x="3444" y="3584"/>
                        </a:lnTo>
                        <a:lnTo>
                          <a:pt x="3440" y="3578"/>
                        </a:lnTo>
                        <a:lnTo>
                          <a:pt x="3432" y="3568"/>
                        </a:lnTo>
                        <a:lnTo>
                          <a:pt x="3422" y="3558"/>
                        </a:lnTo>
                        <a:lnTo>
                          <a:pt x="3412" y="3544"/>
                        </a:lnTo>
                        <a:lnTo>
                          <a:pt x="3412" y="3544"/>
                        </a:lnTo>
                        <a:lnTo>
                          <a:pt x="3406" y="3534"/>
                        </a:lnTo>
                        <a:lnTo>
                          <a:pt x="3404" y="3528"/>
                        </a:lnTo>
                        <a:lnTo>
                          <a:pt x="3404" y="3522"/>
                        </a:lnTo>
                        <a:lnTo>
                          <a:pt x="3400" y="3516"/>
                        </a:lnTo>
                        <a:lnTo>
                          <a:pt x="3400" y="3516"/>
                        </a:lnTo>
                        <a:lnTo>
                          <a:pt x="3396" y="3512"/>
                        </a:lnTo>
                        <a:lnTo>
                          <a:pt x="3392" y="3504"/>
                        </a:lnTo>
                        <a:lnTo>
                          <a:pt x="3392" y="3504"/>
                        </a:lnTo>
                        <a:lnTo>
                          <a:pt x="3392" y="3498"/>
                        </a:lnTo>
                        <a:lnTo>
                          <a:pt x="3392" y="3492"/>
                        </a:lnTo>
                        <a:lnTo>
                          <a:pt x="3396" y="3486"/>
                        </a:lnTo>
                        <a:lnTo>
                          <a:pt x="3398" y="3484"/>
                        </a:lnTo>
                        <a:lnTo>
                          <a:pt x="3398" y="3484"/>
                        </a:lnTo>
                        <a:lnTo>
                          <a:pt x="3400" y="3482"/>
                        </a:lnTo>
                        <a:lnTo>
                          <a:pt x="3400" y="3478"/>
                        </a:lnTo>
                        <a:lnTo>
                          <a:pt x="3398" y="3474"/>
                        </a:lnTo>
                        <a:lnTo>
                          <a:pt x="3396" y="3472"/>
                        </a:lnTo>
                        <a:lnTo>
                          <a:pt x="3396" y="3472"/>
                        </a:lnTo>
                        <a:lnTo>
                          <a:pt x="3396" y="3470"/>
                        </a:lnTo>
                        <a:lnTo>
                          <a:pt x="3394" y="3470"/>
                        </a:lnTo>
                        <a:lnTo>
                          <a:pt x="3396" y="3464"/>
                        </a:lnTo>
                        <a:lnTo>
                          <a:pt x="3400" y="3452"/>
                        </a:lnTo>
                        <a:lnTo>
                          <a:pt x="3400" y="3452"/>
                        </a:lnTo>
                        <a:lnTo>
                          <a:pt x="3400" y="3446"/>
                        </a:lnTo>
                        <a:lnTo>
                          <a:pt x="3402" y="3444"/>
                        </a:lnTo>
                        <a:lnTo>
                          <a:pt x="3404" y="3444"/>
                        </a:lnTo>
                        <a:lnTo>
                          <a:pt x="3404" y="3444"/>
                        </a:lnTo>
                        <a:lnTo>
                          <a:pt x="3408" y="3444"/>
                        </a:lnTo>
                        <a:lnTo>
                          <a:pt x="3406" y="3438"/>
                        </a:lnTo>
                        <a:lnTo>
                          <a:pt x="3406" y="3438"/>
                        </a:lnTo>
                        <a:lnTo>
                          <a:pt x="3406" y="3424"/>
                        </a:lnTo>
                        <a:lnTo>
                          <a:pt x="3404" y="3404"/>
                        </a:lnTo>
                        <a:lnTo>
                          <a:pt x="3404" y="3404"/>
                        </a:lnTo>
                        <a:lnTo>
                          <a:pt x="3402" y="3396"/>
                        </a:lnTo>
                        <a:lnTo>
                          <a:pt x="3404" y="3392"/>
                        </a:lnTo>
                        <a:lnTo>
                          <a:pt x="3406" y="3386"/>
                        </a:lnTo>
                        <a:lnTo>
                          <a:pt x="3408" y="3378"/>
                        </a:lnTo>
                        <a:lnTo>
                          <a:pt x="3408" y="3378"/>
                        </a:lnTo>
                        <a:lnTo>
                          <a:pt x="3410" y="3368"/>
                        </a:lnTo>
                        <a:lnTo>
                          <a:pt x="3414" y="3358"/>
                        </a:lnTo>
                        <a:lnTo>
                          <a:pt x="3418" y="3350"/>
                        </a:lnTo>
                        <a:lnTo>
                          <a:pt x="3418" y="3346"/>
                        </a:lnTo>
                        <a:lnTo>
                          <a:pt x="3418" y="3342"/>
                        </a:lnTo>
                        <a:lnTo>
                          <a:pt x="3418" y="3342"/>
                        </a:lnTo>
                        <a:lnTo>
                          <a:pt x="3416" y="3334"/>
                        </a:lnTo>
                        <a:lnTo>
                          <a:pt x="3416" y="3328"/>
                        </a:lnTo>
                        <a:lnTo>
                          <a:pt x="3418" y="3324"/>
                        </a:lnTo>
                        <a:lnTo>
                          <a:pt x="3420" y="3318"/>
                        </a:lnTo>
                        <a:lnTo>
                          <a:pt x="3420" y="3318"/>
                        </a:lnTo>
                        <a:lnTo>
                          <a:pt x="3420" y="3314"/>
                        </a:lnTo>
                        <a:lnTo>
                          <a:pt x="3418" y="3310"/>
                        </a:lnTo>
                        <a:lnTo>
                          <a:pt x="3412" y="3304"/>
                        </a:lnTo>
                        <a:lnTo>
                          <a:pt x="3406" y="3300"/>
                        </a:lnTo>
                        <a:lnTo>
                          <a:pt x="3406" y="3300"/>
                        </a:lnTo>
                        <a:lnTo>
                          <a:pt x="3388" y="3290"/>
                        </a:lnTo>
                        <a:lnTo>
                          <a:pt x="3380" y="3280"/>
                        </a:lnTo>
                        <a:lnTo>
                          <a:pt x="3380" y="3280"/>
                        </a:lnTo>
                        <a:lnTo>
                          <a:pt x="3372" y="3274"/>
                        </a:lnTo>
                        <a:lnTo>
                          <a:pt x="3360" y="3270"/>
                        </a:lnTo>
                        <a:lnTo>
                          <a:pt x="3350" y="3268"/>
                        </a:lnTo>
                        <a:lnTo>
                          <a:pt x="3344" y="3268"/>
                        </a:lnTo>
                        <a:lnTo>
                          <a:pt x="3344" y="3268"/>
                        </a:lnTo>
                        <a:lnTo>
                          <a:pt x="3340" y="3270"/>
                        </a:lnTo>
                        <a:lnTo>
                          <a:pt x="3334" y="3270"/>
                        </a:lnTo>
                        <a:lnTo>
                          <a:pt x="3326" y="3270"/>
                        </a:lnTo>
                        <a:lnTo>
                          <a:pt x="3320" y="3268"/>
                        </a:lnTo>
                        <a:lnTo>
                          <a:pt x="3320" y="3268"/>
                        </a:lnTo>
                        <a:lnTo>
                          <a:pt x="3308" y="3264"/>
                        </a:lnTo>
                        <a:lnTo>
                          <a:pt x="3306" y="3264"/>
                        </a:lnTo>
                        <a:lnTo>
                          <a:pt x="3308" y="3266"/>
                        </a:lnTo>
                        <a:lnTo>
                          <a:pt x="3308" y="3266"/>
                        </a:lnTo>
                        <a:lnTo>
                          <a:pt x="3308" y="3268"/>
                        </a:lnTo>
                        <a:lnTo>
                          <a:pt x="3308" y="3270"/>
                        </a:lnTo>
                        <a:lnTo>
                          <a:pt x="3304" y="3272"/>
                        </a:lnTo>
                        <a:lnTo>
                          <a:pt x="3292" y="3276"/>
                        </a:lnTo>
                        <a:lnTo>
                          <a:pt x="3292" y="3276"/>
                        </a:lnTo>
                        <a:lnTo>
                          <a:pt x="3278" y="3278"/>
                        </a:lnTo>
                        <a:lnTo>
                          <a:pt x="3266" y="3276"/>
                        </a:lnTo>
                        <a:lnTo>
                          <a:pt x="3258" y="3274"/>
                        </a:lnTo>
                        <a:lnTo>
                          <a:pt x="3248" y="3274"/>
                        </a:lnTo>
                        <a:lnTo>
                          <a:pt x="3248" y="3274"/>
                        </a:lnTo>
                        <a:lnTo>
                          <a:pt x="3244" y="3276"/>
                        </a:lnTo>
                        <a:lnTo>
                          <a:pt x="3242" y="3274"/>
                        </a:lnTo>
                        <a:lnTo>
                          <a:pt x="3240" y="3272"/>
                        </a:lnTo>
                        <a:lnTo>
                          <a:pt x="3238" y="3270"/>
                        </a:lnTo>
                        <a:lnTo>
                          <a:pt x="3238" y="3270"/>
                        </a:lnTo>
                        <a:lnTo>
                          <a:pt x="3236" y="3270"/>
                        </a:lnTo>
                        <a:lnTo>
                          <a:pt x="3232" y="3272"/>
                        </a:lnTo>
                        <a:lnTo>
                          <a:pt x="3226" y="3276"/>
                        </a:lnTo>
                        <a:lnTo>
                          <a:pt x="3222" y="3282"/>
                        </a:lnTo>
                        <a:lnTo>
                          <a:pt x="3218" y="3282"/>
                        </a:lnTo>
                        <a:lnTo>
                          <a:pt x="3216" y="3280"/>
                        </a:lnTo>
                        <a:lnTo>
                          <a:pt x="3216" y="3280"/>
                        </a:lnTo>
                        <a:lnTo>
                          <a:pt x="3206" y="3272"/>
                        </a:lnTo>
                        <a:lnTo>
                          <a:pt x="3202" y="3268"/>
                        </a:lnTo>
                        <a:lnTo>
                          <a:pt x="3200" y="3268"/>
                        </a:lnTo>
                        <a:lnTo>
                          <a:pt x="3202" y="3270"/>
                        </a:lnTo>
                        <a:lnTo>
                          <a:pt x="3202" y="3270"/>
                        </a:lnTo>
                        <a:lnTo>
                          <a:pt x="3204" y="3274"/>
                        </a:lnTo>
                        <a:lnTo>
                          <a:pt x="3202" y="3280"/>
                        </a:lnTo>
                        <a:lnTo>
                          <a:pt x="3202" y="3280"/>
                        </a:lnTo>
                        <a:lnTo>
                          <a:pt x="3200" y="3282"/>
                        </a:lnTo>
                        <a:lnTo>
                          <a:pt x="3198" y="3280"/>
                        </a:lnTo>
                        <a:lnTo>
                          <a:pt x="3194" y="3274"/>
                        </a:lnTo>
                        <a:lnTo>
                          <a:pt x="3188" y="3270"/>
                        </a:lnTo>
                        <a:lnTo>
                          <a:pt x="3188" y="3270"/>
                        </a:lnTo>
                        <a:lnTo>
                          <a:pt x="3188" y="3268"/>
                        </a:lnTo>
                        <a:lnTo>
                          <a:pt x="3190" y="3264"/>
                        </a:lnTo>
                        <a:lnTo>
                          <a:pt x="3196" y="3256"/>
                        </a:lnTo>
                        <a:lnTo>
                          <a:pt x="3202" y="3250"/>
                        </a:lnTo>
                        <a:lnTo>
                          <a:pt x="3208" y="3242"/>
                        </a:lnTo>
                        <a:lnTo>
                          <a:pt x="3208" y="3242"/>
                        </a:lnTo>
                        <a:lnTo>
                          <a:pt x="3212" y="3236"/>
                        </a:lnTo>
                        <a:lnTo>
                          <a:pt x="3214" y="3228"/>
                        </a:lnTo>
                        <a:lnTo>
                          <a:pt x="3216" y="3206"/>
                        </a:lnTo>
                        <a:lnTo>
                          <a:pt x="3218" y="3182"/>
                        </a:lnTo>
                        <a:lnTo>
                          <a:pt x="3222" y="3160"/>
                        </a:lnTo>
                        <a:lnTo>
                          <a:pt x="3222" y="3160"/>
                        </a:lnTo>
                        <a:lnTo>
                          <a:pt x="3222" y="3154"/>
                        </a:lnTo>
                        <a:lnTo>
                          <a:pt x="3220" y="3150"/>
                        </a:lnTo>
                        <a:lnTo>
                          <a:pt x="3218" y="3148"/>
                        </a:lnTo>
                        <a:lnTo>
                          <a:pt x="3216" y="3148"/>
                        </a:lnTo>
                        <a:lnTo>
                          <a:pt x="3216" y="3148"/>
                        </a:lnTo>
                        <a:lnTo>
                          <a:pt x="3214" y="3150"/>
                        </a:lnTo>
                        <a:lnTo>
                          <a:pt x="3212" y="3150"/>
                        </a:lnTo>
                        <a:lnTo>
                          <a:pt x="3212" y="3144"/>
                        </a:lnTo>
                        <a:lnTo>
                          <a:pt x="3212" y="3144"/>
                        </a:lnTo>
                        <a:lnTo>
                          <a:pt x="3220" y="3128"/>
                        </a:lnTo>
                        <a:lnTo>
                          <a:pt x="3220" y="3128"/>
                        </a:lnTo>
                        <a:lnTo>
                          <a:pt x="3222" y="3124"/>
                        </a:lnTo>
                        <a:lnTo>
                          <a:pt x="3224" y="3124"/>
                        </a:lnTo>
                        <a:lnTo>
                          <a:pt x="3224" y="3128"/>
                        </a:lnTo>
                        <a:lnTo>
                          <a:pt x="3222" y="3134"/>
                        </a:lnTo>
                        <a:lnTo>
                          <a:pt x="3222" y="3134"/>
                        </a:lnTo>
                        <a:lnTo>
                          <a:pt x="3222" y="3140"/>
                        </a:lnTo>
                        <a:lnTo>
                          <a:pt x="3224" y="3144"/>
                        </a:lnTo>
                        <a:lnTo>
                          <a:pt x="3226" y="3148"/>
                        </a:lnTo>
                        <a:lnTo>
                          <a:pt x="3230" y="3154"/>
                        </a:lnTo>
                        <a:lnTo>
                          <a:pt x="3230" y="3154"/>
                        </a:lnTo>
                        <a:lnTo>
                          <a:pt x="3232" y="3156"/>
                        </a:lnTo>
                        <a:lnTo>
                          <a:pt x="3232" y="3152"/>
                        </a:lnTo>
                        <a:lnTo>
                          <a:pt x="3236" y="3138"/>
                        </a:lnTo>
                        <a:lnTo>
                          <a:pt x="3242" y="3118"/>
                        </a:lnTo>
                        <a:lnTo>
                          <a:pt x="3244" y="3104"/>
                        </a:lnTo>
                        <a:lnTo>
                          <a:pt x="3244" y="3104"/>
                        </a:lnTo>
                        <a:lnTo>
                          <a:pt x="3246" y="3102"/>
                        </a:lnTo>
                        <a:lnTo>
                          <a:pt x="3244" y="3102"/>
                        </a:lnTo>
                        <a:lnTo>
                          <a:pt x="3240" y="3102"/>
                        </a:lnTo>
                        <a:lnTo>
                          <a:pt x="3238" y="3102"/>
                        </a:lnTo>
                        <a:lnTo>
                          <a:pt x="3242" y="3098"/>
                        </a:lnTo>
                        <a:lnTo>
                          <a:pt x="3242" y="3098"/>
                        </a:lnTo>
                        <a:lnTo>
                          <a:pt x="3250" y="3088"/>
                        </a:lnTo>
                        <a:lnTo>
                          <a:pt x="3248" y="3086"/>
                        </a:lnTo>
                        <a:lnTo>
                          <a:pt x="3244" y="3088"/>
                        </a:lnTo>
                        <a:lnTo>
                          <a:pt x="3244" y="3088"/>
                        </a:lnTo>
                        <a:lnTo>
                          <a:pt x="3238" y="3090"/>
                        </a:lnTo>
                        <a:lnTo>
                          <a:pt x="3236" y="3088"/>
                        </a:lnTo>
                        <a:lnTo>
                          <a:pt x="3236" y="3084"/>
                        </a:lnTo>
                        <a:lnTo>
                          <a:pt x="3242" y="3078"/>
                        </a:lnTo>
                        <a:lnTo>
                          <a:pt x="3242" y="3078"/>
                        </a:lnTo>
                        <a:lnTo>
                          <a:pt x="3246" y="3076"/>
                        </a:lnTo>
                        <a:lnTo>
                          <a:pt x="3248" y="3072"/>
                        </a:lnTo>
                        <a:lnTo>
                          <a:pt x="3248" y="3064"/>
                        </a:lnTo>
                        <a:lnTo>
                          <a:pt x="3252" y="3050"/>
                        </a:lnTo>
                        <a:lnTo>
                          <a:pt x="3256" y="3040"/>
                        </a:lnTo>
                        <a:lnTo>
                          <a:pt x="3264" y="3030"/>
                        </a:lnTo>
                        <a:lnTo>
                          <a:pt x="3264" y="3030"/>
                        </a:lnTo>
                        <a:lnTo>
                          <a:pt x="3274" y="3016"/>
                        </a:lnTo>
                        <a:lnTo>
                          <a:pt x="3276" y="3010"/>
                        </a:lnTo>
                        <a:lnTo>
                          <a:pt x="3274" y="3006"/>
                        </a:lnTo>
                        <a:lnTo>
                          <a:pt x="3272" y="3002"/>
                        </a:lnTo>
                        <a:lnTo>
                          <a:pt x="3272" y="3002"/>
                        </a:lnTo>
                        <a:lnTo>
                          <a:pt x="3272" y="2996"/>
                        </a:lnTo>
                        <a:lnTo>
                          <a:pt x="3272" y="2994"/>
                        </a:lnTo>
                        <a:lnTo>
                          <a:pt x="3268" y="2992"/>
                        </a:lnTo>
                        <a:lnTo>
                          <a:pt x="3266" y="2988"/>
                        </a:lnTo>
                        <a:lnTo>
                          <a:pt x="3266" y="2988"/>
                        </a:lnTo>
                        <a:lnTo>
                          <a:pt x="3264" y="2986"/>
                        </a:lnTo>
                        <a:lnTo>
                          <a:pt x="3260" y="2986"/>
                        </a:lnTo>
                        <a:lnTo>
                          <a:pt x="3256" y="2986"/>
                        </a:lnTo>
                        <a:lnTo>
                          <a:pt x="3252" y="2988"/>
                        </a:lnTo>
                        <a:lnTo>
                          <a:pt x="3252" y="2988"/>
                        </a:lnTo>
                        <a:lnTo>
                          <a:pt x="3254" y="2990"/>
                        </a:lnTo>
                        <a:lnTo>
                          <a:pt x="3254" y="2990"/>
                        </a:lnTo>
                        <a:lnTo>
                          <a:pt x="3260" y="2990"/>
                        </a:lnTo>
                        <a:lnTo>
                          <a:pt x="3260" y="2992"/>
                        </a:lnTo>
                        <a:lnTo>
                          <a:pt x="3256" y="2994"/>
                        </a:lnTo>
                        <a:lnTo>
                          <a:pt x="3256" y="2994"/>
                        </a:lnTo>
                        <a:lnTo>
                          <a:pt x="3254" y="2994"/>
                        </a:lnTo>
                        <a:lnTo>
                          <a:pt x="3250" y="2994"/>
                        </a:lnTo>
                        <a:lnTo>
                          <a:pt x="3242" y="2990"/>
                        </a:lnTo>
                        <a:lnTo>
                          <a:pt x="3230" y="2988"/>
                        </a:lnTo>
                        <a:lnTo>
                          <a:pt x="3222" y="2986"/>
                        </a:lnTo>
                        <a:lnTo>
                          <a:pt x="3214" y="2986"/>
                        </a:lnTo>
                        <a:lnTo>
                          <a:pt x="3214" y="2986"/>
                        </a:lnTo>
                        <a:lnTo>
                          <a:pt x="3202" y="2990"/>
                        </a:lnTo>
                        <a:lnTo>
                          <a:pt x="3196" y="2992"/>
                        </a:lnTo>
                        <a:lnTo>
                          <a:pt x="3190" y="2996"/>
                        </a:lnTo>
                        <a:lnTo>
                          <a:pt x="3180" y="2998"/>
                        </a:lnTo>
                        <a:lnTo>
                          <a:pt x="3180" y="2998"/>
                        </a:lnTo>
                        <a:lnTo>
                          <a:pt x="3162" y="3000"/>
                        </a:lnTo>
                        <a:lnTo>
                          <a:pt x="3146" y="3004"/>
                        </a:lnTo>
                        <a:lnTo>
                          <a:pt x="3140" y="3008"/>
                        </a:lnTo>
                        <a:lnTo>
                          <a:pt x="3134" y="3012"/>
                        </a:lnTo>
                        <a:lnTo>
                          <a:pt x="3130" y="3016"/>
                        </a:lnTo>
                        <a:lnTo>
                          <a:pt x="3130" y="3020"/>
                        </a:lnTo>
                        <a:lnTo>
                          <a:pt x="3130" y="3020"/>
                        </a:lnTo>
                        <a:lnTo>
                          <a:pt x="3128" y="3028"/>
                        </a:lnTo>
                        <a:lnTo>
                          <a:pt x="3126" y="3034"/>
                        </a:lnTo>
                        <a:lnTo>
                          <a:pt x="3124" y="3040"/>
                        </a:lnTo>
                        <a:lnTo>
                          <a:pt x="3124" y="3056"/>
                        </a:lnTo>
                        <a:lnTo>
                          <a:pt x="3124" y="3056"/>
                        </a:lnTo>
                        <a:lnTo>
                          <a:pt x="3126" y="3068"/>
                        </a:lnTo>
                        <a:lnTo>
                          <a:pt x="3124" y="3070"/>
                        </a:lnTo>
                        <a:lnTo>
                          <a:pt x="3122" y="3072"/>
                        </a:lnTo>
                        <a:lnTo>
                          <a:pt x="3118" y="3076"/>
                        </a:lnTo>
                        <a:lnTo>
                          <a:pt x="3116" y="3080"/>
                        </a:lnTo>
                        <a:lnTo>
                          <a:pt x="3116" y="3088"/>
                        </a:lnTo>
                        <a:lnTo>
                          <a:pt x="3116" y="3088"/>
                        </a:lnTo>
                        <a:lnTo>
                          <a:pt x="3114" y="3096"/>
                        </a:lnTo>
                        <a:lnTo>
                          <a:pt x="3112" y="3102"/>
                        </a:lnTo>
                        <a:lnTo>
                          <a:pt x="3108" y="3108"/>
                        </a:lnTo>
                        <a:lnTo>
                          <a:pt x="3104" y="3112"/>
                        </a:lnTo>
                        <a:lnTo>
                          <a:pt x="3094" y="3118"/>
                        </a:lnTo>
                        <a:lnTo>
                          <a:pt x="3086" y="3122"/>
                        </a:lnTo>
                        <a:lnTo>
                          <a:pt x="3086" y="3122"/>
                        </a:lnTo>
                        <a:lnTo>
                          <a:pt x="3084" y="3126"/>
                        </a:lnTo>
                        <a:lnTo>
                          <a:pt x="3084" y="3126"/>
                        </a:lnTo>
                        <a:lnTo>
                          <a:pt x="3088" y="3128"/>
                        </a:lnTo>
                        <a:lnTo>
                          <a:pt x="3092" y="3132"/>
                        </a:lnTo>
                        <a:lnTo>
                          <a:pt x="3092" y="3134"/>
                        </a:lnTo>
                        <a:lnTo>
                          <a:pt x="3090" y="3138"/>
                        </a:lnTo>
                        <a:lnTo>
                          <a:pt x="3090" y="3138"/>
                        </a:lnTo>
                        <a:lnTo>
                          <a:pt x="3086" y="3142"/>
                        </a:lnTo>
                        <a:lnTo>
                          <a:pt x="3078" y="3144"/>
                        </a:lnTo>
                        <a:lnTo>
                          <a:pt x="3072" y="3144"/>
                        </a:lnTo>
                        <a:lnTo>
                          <a:pt x="3070" y="3142"/>
                        </a:lnTo>
                        <a:lnTo>
                          <a:pt x="3070" y="3140"/>
                        </a:lnTo>
                        <a:lnTo>
                          <a:pt x="3070" y="3140"/>
                        </a:lnTo>
                        <a:lnTo>
                          <a:pt x="3068" y="3134"/>
                        </a:lnTo>
                        <a:lnTo>
                          <a:pt x="3066" y="3132"/>
                        </a:lnTo>
                        <a:lnTo>
                          <a:pt x="3058" y="3132"/>
                        </a:lnTo>
                        <a:lnTo>
                          <a:pt x="3046" y="3132"/>
                        </a:lnTo>
                        <a:lnTo>
                          <a:pt x="3046" y="3132"/>
                        </a:lnTo>
                        <a:lnTo>
                          <a:pt x="3038" y="3134"/>
                        </a:lnTo>
                        <a:lnTo>
                          <a:pt x="3034" y="3138"/>
                        </a:lnTo>
                        <a:lnTo>
                          <a:pt x="3028" y="3142"/>
                        </a:lnTo>
                        <a:lnTo>
                          <a:pt x="3010" y="3144"/>
                        </a:lnTo>
                        <a:lnTo>
                          <a:pt x="3010" y="3144"/>
                        </a:lnTo>
                        <a:lnTo>
                          <a:pt x="2996" y="3146"/>
                        </a:lnTo>
                        <a:lnTo>
                          <a:pt x="2986" y="3152"/>
                        </a:lnTo>
                        <a:lnTo>
                          <a:pt x="2978" y="3156"/>
                        </a:lnTo>
                        <a:lnTo>
                          <a:pt x="2968" y="3160"/>
                        </a:lnTo>
                        <a:lnTo>
                          <a:pt x="2968" y="3160"/>
                        </a:lnTo>
                        <a:lnTo>
                          <a:pt x="2964" y="3160"/>
                        </a:lnTo>
                        <a:lnTo>
                          <a:pt x="2960" y="3158"/>
                        </a:lnTo>
                        <a:lnTo>
                          <a:pt x="2956" y="3148"/>
                        </a:lnTo>
                        <a:lnTo>
                          <a:pt x="2952" y="3144"/>
                        </a:lnTo>
                        <a:lnTo>
                          <a:pt x="2946" y="3138"/>
                        </a:lnTo>
                        <a:lnTo>
                          <a:pt x="2938" y="3134"/>
                        </a:lnTo>
                        <a:lnTo>
                          <a:pt x="2924" y="3130"/>
                        </a:lnTo>
                        <a:lnTo>
                          <a:pt x="2924" y="3130"/>
                        </a:lnTo>
                        <a:lnTo>
                          <a:pt x="2912" y="3126"/>
                        </a:lnTo>
                        <a:lnTo>
                          <a:pt x="2904" y="3120"/>
                        </a:lnTo>
                        <a:lnTo>
                          <a:pt x="2898" y="3112"/>
                        </a:lnTo>
                        <a:lnTo>
                          <a:pt x="2894" y="3102"/>
                        </a:lnTo>
                        <a:lnTo>
                          <a:pt x="2884" y="3076"/>
                        </a:lnTo>
                        <a:lnTo>
                          <a:pt x="2876" y="3062"/>
                        </a:lnTo>
                        <a:lnTo>
                          <a:pt x="2864" y="3046"/>
                        </a:lnTo>
                        <a:lnTo>
                          <a:pt x="2864" y="3046"/>
                        </a:lnTo>
                        <a:lnTo>
                          <a:pt x="2858" y="3036"/>
                        </a:lnTo>
                        <a:lnTo>
                          <a:pt x="2852" y="3028"/>
                        </a:lnTo>
                        <a:lnTo>
                          <a:pt x="2848" y="3010"/>
                        </a:lnTo>
                        <a:lnTo>
                          <a:pt x="2844" y="2998"/>
                        </a:lnTo>
                        <a:lnTo>
                          <a:pt x="2844" y="2994"/>
                        </a:lnTo>
                        <a:lnTo>
                          <a:pt x="2842" y="2992"/>
                        </a:lnTo>
                        <a:lnTo>
                          <a:pt x="2842" y="2992"/>
                        </a:lnTo>
                        <a:lnTo>
                          <a:pt x="2838" y="2990"/>
                        </a:lnTo>
                        <a:lnTo>
                          <a:pt x="2836" y="2988"/>
                        </a:lnTo>
                        <a:lnTo>
                          <a:pt x="2834" y="2976"/>
                        </a:lnTo>
                        <a:lnTo>
                          <a:pt x="2830" y="2948"/>
                        </a:lnTo>
                        <a:lnTo>
                          <a:pt x="2830" y="2948"/>
                        </a:lnTo>
                        <a:lnTo>
                          <a:pt x="2830" y="2938"/>
                        </a:lnTo>
                        <a:lnTo>
                          <a:pt x="2828" y="2934"/>
                        </a:lnTo>
                        <a:lnTo>
                          <a:pt x="2828" y="2932"/>
                        </a:lnTo>
                        <a:lnTo>
                          <a:pt x="2830" y="2926"/>
                        </a:lnTo>
                        <a:lnTo>
                          <a:pt x="2830" y="2926"/>
                        </a:lnTo>
                        <a:lnTo>
                          <a:pt x="2830" y="2916"/>
                        </a:lnTo>
                        <a:lnTo>
                          <a:pt x="2830" y="2906"/>
                        </a:lnTo>
                        <a:lnTo>
                          <a:pt x="2830" y="2886"/>
                        </a:lnTo>
                        <a:lnTo>
                          <a:pt x="2834" y="2854"/>
                        </a:lnTo>
                        <a:lnTo>
                          <a:pt x="2834" y="2854"/>
                        </a:lnTo>
                        <a:lnTo>
                          <a:pt x="2840" y="2820"/>
                        </a:lnTo>
                        <a:lnTo>
                          <a:pt x="2846" y="2800"/>
                        </a:lnTo>
                        <a:lnTo>
                          <a:pt x="2852" y="2784"/>
                        </a:lnTo>
                        <a:lnTo>
                          <a:pt x="2856" y="2766"/>
                        </a:lnTo>
                        <a:lnTo>
                          <a:pt x="2856" y="2766"/>
                        </a:lnTo>
                        <a:lnTo>
                          <a:pt x="2854" y="2748"/>
                        </a:lnTo>
                        <a:lnTo>
                          <a:pt x="2850" y="2728"/>
                        </a:lnTo>
                        <a:lnTo>
                          <a:pt x="2846" y="2710"/>
                        </a:lnTo>
                        <a:lnTo>
                          <a:pt x="2846" y="2696"/>
                        </a:lnTo>
                        <a:lnTo>
                          <a:pt x="2846" y="2696"/>
                        </a:lnTo>
                        <a:lnTo>
                          <a:pt x="2850" y="2686"/>
                        </a:lnTo>
                        <a:lnTo>
                          <a:pt x="2854" y="2678"/>
                        </a:lnTo>
                        <a:lnTo>
                          <a:pt x="2858" y="2672"/>
                        </a:lnTo>
                        <a:lnTo>
                          <a:pt x="2864" y="2662"/>
                        </a:lnTo>
                        <a:lnTo>
                          <a:pt x="2864" y="2662"/>
                        </a:lnTo>
                        <a:lnTo>
                          <a:pt x="2866" y="2658"/>
                        </a:lnTo>
                        <a:lnTo>
                          <a:pt x="2870" y="2654"/>
                        </a:lnTo>
                        <a:lnTo>
                          <a:pt x="2880" y="2646"/>
                        </a:lnTo>
                        <a:lnTo>
                          <a:pt x="2886" y="2642"/>
                        </a:lnTo>
                        <a:lnTo>
                          <a:pt x="2888" y="2640"/>
                        </a:lnTo>
                        <a:lnTo>
                          <a:pt x="2886" y="2638"/>
                        </a:lnTo>
                        <a:lnTo>
                          <a:pt x="2886" y="2638"/>
                        </a:lnTo>
                        <a:lnTo>
                          <a:pt x="2880" y="2628"/>
                        </a:lnTo>
                        <a:lnTo>
                          <a:pt x="2878" y="2626"/>
                        </a:lnTo>
                        <a:lnTo>
                          <a:pt x="2882" y="2628"/>
                        </a:lnTo>
                        <a:lnTo>
                          <a:pt x="2882" y="2628"/>
                        </a:lnTo>
                        <a:lnTo>
                          <a:pt x="2886" y="2628"/>
                        </a:lnTo>
                        <a:lnTo>
                          <a:pt x="2890" y="2628"/>
                        </a:lnTo>
                        <a:lnTo>
                          <a:pt x="2892" y="2626"/>
                        </a:lnTo>
                        <a:lnTo>
                          <a:pt x="2894" y="2628"/>
                        </a:lnTo>
                        <a:lnTo>
                          <a:pt x="2894" y="2628"/>
                        </a:lnTo>
                        <a:lnTo>
                          <a:pt x="2896" y="2628"/>
                        </a:lnTo>
                        <a:lnTo>
                          <a:pt x="2902" y="2628"/>
                        </a:lnTo>
                        <a:lnTo>
                          <a:pt x="2912" y="2624"/>
                        </a:lnTo>
                        <a:lnTo>
                          <a:pt x="2926" y="2616"/>
                        </a:lnTo>
                        <a:lnTo>
                          <a:pt x="2936" y="2606"/>
                        </a:lnTo>
                        <a:lnTo>
                          <a:pt x="2936" y="2606"/>
                        </a:lnTo>
                        <a:lnTo>
                          <a:pt x="2942" y="2600"/>
                        </a:lnTo>
                        <a:lnTo>
                          <a:pt x="2948" y="2594"/>
                        </a:lnTo>
                        <a:lnTo>
                          <a:pt x="2964" y="2584"/>
                        </a:lnTo>
                        <a:lnTo>
                          <a:pt x="2964" y="2584"/>
                        </a:lnTo>
                        <a:lnTo>
                          <a:pt x="2980" y="2572"/>
                        </a:lnTo>
                        <a:lnTo>
                          <a:pt x="2990" y="2570"/>
                        </a:lnTo>
                        <a:lnTo>
                          <a:pt x="3006" y="2568"/>
                        </a:lnTo>
                        <a:lnTo>
                          <a:pt x="3006" y="2568"/>
                        </a:lnTo>
                        <a:lnTo>
                          <a:pt x="3014" y="2568"/>
                        </a:lnTo>
                        <a:lnTo>
                          <a:pt x="3020" y="2570"/>
                        </a:lnTo>
                        <a:lnTo>
                          <a:pt x="3032" y="2574"/>
                        </a:lnTo>
                        <a:lnTo>
                          <a:pt x="3040" y="2580"/>
                        </a:lnTo>
                        <a:lnTo>
                          <a:pt x="3046" y="2580"/>
                        </a:lnTo>
                        <a:lnTo>
                          <a:pt x="3050" y="2580"/>
                        </a:lnTo>
                        <a:lnTo>
                          <a:pt x="3050" y="2580"/>
                        </a:lnTo>
                        <a:lnTo>
                          <a:pt x="3060" y="2578"/>
                        </a:lnTo>
                        <a:lnTo>
                          <a:pt x="3064" y="2580"/>
                        </a:lnTo>
                        <a:lnTo>
                          <a:pt x="3068" y="2582"/>
                        </a:lnTo>
                        <a:lnTo>
                          <a:pt x="3072" y="2580"/>
                        </a:lnTo>
                        <a:lnTo>
                          <a:pt x="3072" y="2580"/>
                        </a:lnTo>
                        <a:lnTo>
                          <a:pt x="3074" y="2578"/>
                        </a:lnTo>
                        <a:lnTo>
                          <a:pt x="3072" y="2578"/>
                        </a:lnTo>
                        <a:lnTo>
                          <a:pt x="3066" y="2576"/>
                        </a:lnTo>
                        <a:lnTo>
                          <a:pt x="3058" y="2572"/>
                        </a:lnTo>
                        <a:lnTo>
                          <a:pt x="3058" y="2572"/>
                        </a:lnTo>
                        <a:lnTo>
                          <a:pt x="3060" y="2568"/>
                        </a:lnTo>
                        <a:lnTo>
                          <a:pt x="3060" y="2568"/>
                        </a:lnTo>
                        <a:lnTo>
                          <a:pt x="3068" y="2566"/>
                        </a:lnTo>
                        <a:lnTo>
                          <a:pt x="3074" y="2568"/>
                        </a:lnTo>
                        <a:lnTo>
                          <a:pt x="3078" y="2572"/>
                        </a:lnTo>
                        <a:lnTo>
                          <a:pt x="3082" y="2578"/>
                        </a:lnTo>
                        <a:lnTo>
                          <a:pt x="3082" y="2578"/>
                        </a:lnTo>
                        <a:lnTo>
                          <a:pt x="3084" y="2580"/>
                        </a:lnTo>
                        <a:lnTo>
                          <a:pt x="3086" y="2582"/>
                        </a:lnTo>
                        <a:lnTo>
                          <a:pt x="3092" y="2584"/>
                        </a:lnTo>
                        <a:lnTo>
                          <a:pt x="3096" y="2586"/>
                        </a:lnTo>
                        <a:lnTo>
                          <a:pt x="3094" y="2588"/>
                        </a:lnTo>
                        <a:lnTo>
                          <a:pt x="3092" y="2590"/>
                        </a:lnTo>
                        <a:lnTo>
                          <a:pt x="3092" y="2590"/>
                        </a:lnTo>
                        <a:lnTo>
                          <a:pt x="3092" y="2594"/>
                        </a:lnTo>
                        <a:lnTo>
                          <a:pt x="3094" y="2596"/>
                        </a:lnTo>
                        <a:lnTo>
                          <a:pt x="3102" y="2600"/>
                        </a:lnTo>
                        <a:lnTo>
                          <a:pt x="3112" y="2600"/>
                        </a:lnTo>
                        <a:lnTo>
                          <a:pt x="3118" y="2600"/>
                        </a:lnTo>
                        <a:lnTo>
                          <a:pt x="3118" y="2600"/>
                        </a:lnTo>
                        <a:lnTo>
                          <a:pt x="3120" y="2596"/>
                        </a:lnTo>
                        <a:lnTo>
                          <a:pt x="3126" y="2594"/>
                        </a:lnTo>
                        <a:lnTo>
                          <a:pt x="3130" y="2594"/>
                        </a:lnTo>
                        <a:lnTo>
                          <a:pt x="3134" y="2600"/>
                        </a:lnTo>
                        <a:lnTo>
                          <a:pt x="3134" y="2600"/>
                        </a:lnTo>
                        <a:lnTo>
                          <a:pt x="3136" y="2602"/>
                        </a:lnTo>
                        <a:lnTo>
                          <a:pt x="3138" y="2604"/>
                        </a:lnTo>
                        <a:lnTo>
                          <a:pt x="3142" y="2602"/>
                        </a:lnTo>
                        <a:lnTo>
                          <a:pt x="3144" y="2596"/>
                        </a:lnTo>
                        <a:lnTo>
                          <a:pt x="3144" y="2592"/>
                        </a:lnTo>
                        <a:lnTo>
                          <a:pt x="3142" y="2588"/>
                        </a:lnTo>
                        <a:lnTo>
                          <a:pt x="3142" y="2588"/>
                        </a:lnTo>
                        <a:lnTo>
                          <a:pt x="3142" y="2584"/>
                        </a:lnTo>
                        <a:lnTo>
                          <a:pt x="3146" y="2584"/>
                        </a:lnTo>
                        <a:lnTo>
                          <a:pt x="3152" y="2586"/>
                        </a:lnTo>
                        <a:lnTo>
                          <a:pt x="3160" y="2594"/>
                        </a:lnTo>
                        <a:lnTo>
                          <a:pt x="3160" y="2594"/>
                        </a:lnTo>
                        <a:lnTo>
                          <a:pt x="3166" y="2602"/>
                        </a:lnTo>
                        <a:lnTo>
                          <a:pt x="3168" y="2608"/>
                        </a:lnTo>
                        <a:lnTo>
                          <a:pt x="3168" y="2610"/>
                        </a:lnTo>
                        <a:lnTo>
                          <a:pt x="3170" y="2610"/>
                        </a:lnTo>
                        <a:lnTo>
                          <a:pt x="3176" y="2606"/>
                        </a:lnTo>
                        <a:lnTo>
                          <a:pt x="3176" y="2606"/>
                        </a:lnTo>
                        <a:lnTo>
                          <a:pt x="3180" y="2602"/>
                        </a:lnTo>
                        <a:lnTo>
                          <a:pt x="3182" y="2600"/>
                        </a:lnTo>
                        <a:lnTo>
                          <a:pt x="3182" y="2596"/>
                        </a:lnTo>
                        <a:lnTo>
                          <a:pt x="3180" y="2594"/>
                        </a:lnTo>
                        <a:lnTo>
                          <a:pt x="3174" y="2590"/>
                        </a:lnTo>
                        <a:lnTo>
                          <a:pt x="3162" y="2584"/>
                        </a:lnTo>
                        <a:lnTo>
                          <a:pt x="3162" y="2584"/>
                        </a:lnTo>
                        <a:lnTo>
                          <a:pt x="3158" y="2580"/>
                        </a:lnTo>
                        <a:lnTo>
                          <a:pt x="3158" y="2578"/>
                        </a:lnTo>
                        <a:lnTo>
                          <a:pt x="3160" y="2576"/>
                        </a:lnTo>
                        <a:lnTo>
                          <a:pt x="3164" y="2574"/>
                        </a:lnTo>
                        <a:lnTo>
                          <a:pt x="3170" y="2568"/>
                        </a:lnTo>
                        <a:lnTo>
                          <a:pt x="3172" y="2564"/>
                        </a:lnTo>
                        <a:lnTo>
                          <a:pt x="3172" y="2560"/>
                        </a:lnTo>
                        <a:lnTo>
                          <a:pt x="3172" y="2560"/>
                        </a:lnTo>
                        <a:lnTo>
                          <a:pt x="3170" y="2556"/>
                        </a:lnTo>
                        <a:lnTo>
                          <a:pt x="3168" y="2556"/>
                        </a:lnTo>
                        <a:lnTo>
                          <a:pt x="3164" y="2558"/>
                        </a:lnTo>
                        <a:lnTo>
                          <a:pt x="3160" y="2562"/>
                        </a:lnTo>
                        <a:lnTo>
                          <a:pt x="3158" y="2562"/>
                        </a:lnTo>
                        <a:lnTo>
                          <a:pt x="3156" y="2562"/>
                        </a:lnTo>
                        <a:lnTo>
                          <a:pt x="3156" y="2562"/>
                        </a:lnTo>
                        <a:lnTo>
                          <a:pt x="3154" y="2560"/>
                        </a:lnTo>
                        <a:lnTo>
                          <a:pt x="3154" y="2558"/>
                        </a:lnTo>
                        <a:lnTo>
                          <a:pt x="3156" y="2556"/>
                        </a:lnTo>
                        <a:lnTo>
                          <a:pt x="3158" y="2552"/>
                        </a:lnTo>
                        <a:lnTo>
                          <a:pt x="3154" y="2550"/>
                        </a:lnTo>
                        <a:lnTo>
                          <a:pt x="3154" y="2550"/>
                        </a:lnTo>
                        <a:lnTo>
                          <a:pt x="3148" y="2550"/>
                        </a:lnTo>
                        <a:lnTo>
                          <a:pt x="3144" y="2554"/>
                        </a:lnTo>
                        <a:lnTo>
                          <a:pt x="3142" y="2556"/>
                        </a:lnTo>
                        <a:lnTo>
                          <a:pt x="3134" y="2554"/>
                        </a:lnTo>
                        <a:lnTo>
                          <a:pt x="3134" y="2554"/>
                        </a:lnTo>
                        <a:lnTo>
                          <a:pt x="3130" y="2550"/>
                        </a:lnTo>
                        <a:lnTo>
                          <a:pt x="3128" y="2548"/>
                        </a:lnTo>
                        <a:lnTo>
                          <a:pt x="3128" y="2544"/>
                        </a:lnTo>
                        <a:lnTo>
                          <a:pt x="3130" y="2540"/>
                        </a:lnTo>
                        <a:lnTo>
                          <a:pt x="3132" y="2538"/>
                        </a:lnTo>
                        <a:lnTo>
                          <a:pt x="3136" y="2536"/>
                        </a:lnTo>
                        <a:lnTo>
                          <a:pt x="3142" y="2536"/>
                        </a:lnTo>
                        <a:lnTo>
                          <a:pt x="3148" y="2538"/>
                        </a:lnTo>
                        <a:lnTo>
                          <a:pt x="3148" y="2538"/>
                        </a:lnTo>
                        <a:lnTo>
                          <a:pt x="3156" y="2544"/>
                        </a:lnTo>
                        <a:lnTo>
                          <a:pt x="3164" y="2546"/>
                        </a:lnTo>
                        <a:lnTo>
                          <a:pt x="3170" y="2544"/>
                        </a:lnTo>
                        <a:lnTo>
                          <a:pt x="3178" y="2538"/>
                        </a:lnTo>
                        <a:lnTo>
                          <a:pt x="3178" y="2538"/>
                        </a:lnTo>
                        <a:lnTo>
                          <a:pt x="3182" y="2536"/>
                        </a:lnTo>
                        <a:lnTo>
                          <a:pt x="3190" y="2536"/>
                        </a:lnTo>
                        <a:lnTo>
                          <a:pt x="3202" y="2536"/>
                        </a:lnTo>
                        <a:lnTo>
                          <a:pt x="3214" y="2538"/>
                        </a:lnTo>
                        <a:lnTo>
                          <a:pt x="3218" y="2538"/>
                        </a:lnTo>
                        <a:lnTo>
                          <a:pt x="3220" y="2536"/>
                        </a:lnTo>
                        <a:lnTo>
                          <a:pt x="3220" y="2536"/>
                        </a:lnTo>
                        <a:lnTo>
                          <a:pt x="3222" y="2522"/>
                        </a:lnTo>
                        <a:lnTo>
                          <a:pt x="3224" y="2520"/>
                        </a:lnTo>
                        <a:lnTo>
                          <a:pt x="3226" y="2522"/>
                        </a:lnTo>
                        <a:lnTo>
                          <a:pt x="3232" y="2534"/>
                        </a:lnTo>
                        <a:lnTo>
                          <a:pt x="3232" y="2534"/>
                        </a:lnTo>
                        <a:lnTo>
                          <a:pt x="3232" y="2538"/>
                        </a:lnTo>
                        <a:lnTo>
                          <a:pt x="3230" y="2540"/>
                        </a:lnTo>
                        <a:lnTo>
                          <a:pt x="3226" y="2544"/>
                        </a:lnTo>
                        <a:lnTo>
                          <a:pt x="3224" y="2546"/>
                        </a:lnTo>
                        <a:lnTo>
                          <a:pt x="3234" y="2544"/>
                        </a:lnTo>
                        <a:lnTo>
                          <a:pt x="3234" y="2544"/>
                        </a:lnTo>
                        <a:lnTo>
                          <a:pt x="3268" y="2536"/>
                        </a:lnTo>
                        <a:lnTo>
                          <a:pt x="3282" y="2536"/>
                        </a:lnTo>
                        <a:lnTo>
                          <a:pt x="3296" y="2538"/>
                        </a:lnTo>
                        <a:lnTo>
                          <a:pt x="3296" y="2538"/>
                        </a:lnTo>
                        <a:lnTo>
                          <a:pt x="3312" y="2544"/>
                        </a:lnTo>
                        <a:lnTo>
                          <a:pt x="3318" y="2546"/>
                        </a:lnTo>
                        <a:lnTo>
                          <a:pt x="3320" y="2552"/>
                        </a:lnTo>
                        <a:lnTo>
                          <a:pt x="3320" y="2552"/>
                        </a:lnTo>
                        <a:lnTo>
                          <a:pt x="3324" y="2556"/>
                        </a:lnTo>
                        <a:lnTo>
                          <a:pt x="3326" y="2556"/>
                        </a:lnTo>
                        <a:lnTo>
                          <a:pt x="3330" y="2560"/>
                        </a:lnTo>
                        <a:lnTo>
                          <a:pt x="3330" y="2566"/>
                        </a:lnTo>
                        <a:lnTo>
                          <a:pt x="3330" y="2566"/>
                        </a:lnTo>
                        <a:lnTo>
                          <a:pt x="3332" y="2570"/>
                        </a:lnTo>
                        <a:lnTo>
                          <a:pt x="3336" y="2572"/>
                        </a:lnTo>
                        <a:lnTo>
                          <a:pt x="3340" y="2570"/>
                        </a:lnTo>
                        <a:lnTo>
                          <a:pt x="3346" y="2570"/>
                        </a:lnTo>
                        <a:lnTo>
                          <a:pt x="3360" y="2564"/>
                        </a:lnTo>
                        <a:lnTo>
                          <a:pt x="3368" y="2562"/>
                        </a:lnTo>
                        <a:lnTo>
                          <a:pt x="3368" y="2562"/>
                        </a:lnTo>
                        <a:lnTo>
                          <a:pt x="3370" y="2560"/>
                        </a:lnTo>
                        <a:lnTo>
                          <a:pt x="3372" y="2560"/>
                        </a:lnTo>
                        <a:lnTo>
                          <a:pt x="3372" y="2556"/>
                        </a:lnTo>
                        <a:lnTo>
                          <a:pt x="3376" y="2552"/>
                        </a:lnTo>
                        <a:lnTo>
                          <a:pt x="3382" y="2552"/>
                        </a:lnTo>
                        <a:lnTo>
                          <a:pt x="3382" y="2552"/>
                        </a:lnTo>
                        <a:lnTo>
                          <a:pt x="3388" y="2554"/>
                        </a:lnTo>
                        <a:lnTo>
                          <a:pt x="3394" y="2558"/>
                        </a:lnTo>
                        <a:lnTo>
                          <a:pt x="3406" y="2574"/>
                        </a:lnTo>
                        <a:lnTo>
                          <a:pt x="3418" y="2592"/>
                        </a:lnTo>
                        <a:lnTo>
                          <a:pt x="3424" y="2596"/>
                        </a:lnTo>
                        <a:lnTo>
                          <a:pt x="3428" y="2598"/>
                        </a:lnTo>
                        <a:lnTo>
                          <a:pt x="3428" y="2598"/>
                        </a:lnTo>
                        <a:lnTo>
                          <a:pt x="3432" y="2600"/>
                        </a:lnTo>
                        <a:lnTo>
                          <a:pt x="3434" y="2604"/>
                        </a:lnTo>
                        <a:lnTo>
                          <a:pt x="3438" y="2616"/>
                        </a:lnTo>
                        <a:lnTo>
                          <a:pt x="3440" y="2630"/>
                        </a:lnTo>
                        <a:lnTo>
                          <a:pt x="3436" y="2646"/>
                        </a:lnTo>
                        <a:lnTo>
                          <a:pt x="3436" y="2646"/>
                        </a:lnTo>
                        <a:lnTo>
                          <a:pt x="3434" y="2658"/>
                        </a:lnTo>
                        <a:lnTo>
                          <a:pt x="3434" y="2670"/>
                        </a:lnTo>
                        <a:lnTo>
                          <a:pt x="3436" y="2676"/>
                        </a:lnTo>
                        <a:lnTo>
                          <a:pt x="3438" y="2678"/>
                        </a:lnTo>
                        <a:lnTo>
                          <a:pt x="3440" y="2676"/>
                        </a:lnTo>
                        <a:lnTo>
                          <a:pt x="3440" y="2676"/>
                        </a:lnTo>
                        <a:lnTo>
                          <a:pt x="3446" y="2672"/>
                        </a:lnTo>
                        <a:lnTo>
                          <a:pt x="3450" y="2670"/>
                        </a:lnTo>
                        <a:lnTo>
                          <a:pt x="3450" y="2670"/>
                        </a:lnTo>
                        <a:lnTo>
                          <a:pt x="3452" y="2672"/>
                        </a:lnTo>
                        <a:lnTo>
                          <a:pt x="3448" y="2678"/>
                        </a:lnTo>
                        <a:lnTo>
                          <a:pt x="3448" y="2678"/>
                        </a:lnTo>
                        <a:lnTo>
                          <a:pt x="3444" y="2682"/>
                        </a:lnTo>
                        <a:lnTo>
                          <a:pt x="3444" y="2688"/>
                        </a:lnTo>
                        <a:lnTo>
                          <a:pt x="3446" y="2698"/>
                        </a:lnTo>
                        <a:lnTo>
                          <a:pt x="3450" y="2710"/>
                        </a:lnTo>
                        <a:lnTo>
                          <a:pt x="3456" y="2718"/>
                        </a:lnTo>
                        <a:lnTo>
                          <a:pt x="3456" y="2718"/>
                        </a:lnTo>
                        <a:lnTo>
                          <a:pt x="3458" y="2720"/>
                        </a:lnTo>
                        <a:lnTo>
                          <a:pt x="3460" y="2720"/>
                        </a:lnTo>
                        <a:lnTo>
                          <a:pt x="3462" y="2720"/>
                        </a:lnTo>
                        <a:lnTo>
                          <a:pt x="3462" y="2718"/>
                        </a:lnTo>
                        <a:lnTo>
                          <a:pt x="3462" y="2720"/>
                        </a:lnTo>
                        <a:lnTo>
                          <a:pt x="3464" y="2726"/>
                        </a:lnTo>
                        <a:lnTo>
                          <a:pt x="3464" y="2726"/>
                        </a:lnTo>
                        <a:lnTo>
                          <a:pt x="3466" y="2734"/>
                        </a:lnTo>
                        <a:lnTo>
                          <a:pt x="3470" y="2738"/>
                        </a:lnTo>
                        <a:lnTo>
                          <a:pt x="3474" y="2742"/>
                        </a:lnTo>
                        <a:lnTo>
                          <a:pt x="3476" y="2754"/>
                        </a:lnTo>
                        <a:lnTo>
                          <a:pt x="3476" y="2754"/>
                        </a:lnTo>
                        <a:lnTo>
                          <a:pt x="3478" y="2760"/>
                        </a:lnTo>
                        <a:lnTo>
                          <a:pt x="3480" y="2764"/>
                        </a:lnTo>
                        <a:lnTo>
                          <a:pt x="3484" y="2768"/>
                        </a:lnTo>
                        <a:lnTo>
                          <a:pt x="3486" y="2768"/>
                        </a:lnTo>
                        <a:lnTo>
                          <a:pt x="3492" y="2772"/>
                        </a:lnTo>
                        <a:lnTo>
                          <a:pt x="3496" y="2776"/>
                        </a:lnTo>
                        <a:lnTo>
                          <a:pt x="3498" y="2782"/>
                        </a:lnTo>
                        <a:lnTo>
                          <a:pt x="3498" y="2782"/>
                        </a:lnTo>
                        <a:lnTo>
                          <a:pt x="3500" y="2792"/>
                        </a:lnTo>
                        <a:lnTo>
                          <a:pt x="3504" y="2796"/>
                        </a:lnTo>
                        <a:lnTo>
                          <a:pt x="3506" y="2796"/>
                        </a:lnTo>
                        <a:lnTo>
                          <a:pt x="3504" y="2798"/>
                        </a:lnTo>
                        <a:lnTo>
                          <a:pt x="3504" y="2798"/>
                        </a:lnTo>
                        <a:lnTo>
                          <a:pt x="3502" y="2804"/>
                        </a:lnTo>
                        <a:lnTo>
                          <a:pt x="3504" y="2808"/>
                        </a:lnTo>
                        <a:lnTo>
                          <a:pt x="3508" y="2808"/>
                        </a:lnTo>
                        <a:lnTo>
                          <a:pt x="3518" y="2806"/>
                        </a:lnTo>
                        <a:lnTo>
                          <a:pt x="3518" y="2806"/>
                        </a:lnTo>
                        <a:lnTo>
                          <a:pt x="3522" y="2806"/>
                        </a:lnTo>
                        <a:lnTo>
                          <a:pt x="3524" y="2806"/>
                        </a:lnTo>
                        <a:lnTo>
                          <a:pt x="3526" y="2810"/>
                        </a:lnTo>
                        <a:lnTo>
                          <a:pt x="3526" y="2810"/>
                        </a:lnTo>
                        <a:lnTo>
                          <a:pt x="3530" y="2804"/>
                        </a:lnTo>
                        <a:lnTo>
                          <a:pt x="3530" y="2804"/>
                        </a:lnTo>
                        <a:lnTo>
                          <a:pt x="3534" y="2796"/>
                        </a:lnTo>
                        <a:lnTo>
                          <a:pt x="3536" y="2790"/>
                        </a:lnTo>
                        <a:lnTo>
                          <a:pt x="3536" y="2786"/>
                        </a:lnTo>
                        <a:lnTo>
                          <a:pt x="3540" y="2778"/>
                        </a:lnTo>
                        <a:lnTo>
                          <a:pt x="3540" y="2778"/>
                        </a:lnTo>
                        <a:lnTo>
                          <a:pt x="3544" y="2768"/>
                        </a:lnTo>
                        <a:lnTo>
                          <a:pt x="3544" y="2758"/>
                        </a:lnTo>
                        <a:lnTo>
                          <a:pt x="3544" y="2746"/>
                        </a:lnTo>
                        <a:lnTo>
                          <a:pt x="3546" y="2732"/>
                        </a:lnTo>
                        <a:lnTo>
                          <a:pt x="3546" y="2732"/>
                        </a:lnTo>
                        <a:lnTo>
                          <a:pt x="3546" y="2722"/>
                        </a:lnTo>
                        <a:lnTo>
                          <a:pt x="3544" y="2712"/>
                        </a:lnTo>
                        <a:lnTo>
                          <a:pt x="3536" y="2686"/>
                        </a:lnTo>
                        <a:lnTo>
                          <a:pt x="3526" y="2662"/>
                        </a:lnTo>
                        <a:lnTo>
                          <a:pt x="3526" y="2650"/>
                        </a:lnTo>
                        <a:lnTo>
                          <a:pt x="3526" y="2642"/>
                        </a:lnTo>
                        <a:lnTo>
                          <a:pt x="3526" y="2642"/>
                        </a:lnTo>
                        <a:lnTo>
                          <a:pt x="3526" y="2636"/>
                        </a:lnTo>
                        <a:lnTo>
                          <a:pt x="3524" y="2630"/>
                        </a:lnTo>
                        <a:lnTo>
                          <a:pt x="3514" y="2610"/>
                        </a:lnTo>
                        <a:lnTo>
                          <a:pt x="3506" y="2598"/>
                        </a:lnTo>
                        <a:lnTo>
                          <a:pt x="3500" y="2582"/>
                        </a:lnTo>
                        <a:lnTo>
                          <a:pt x="3496" y="2564"/>
                        </a:lnTo>
                        <a:lnTo>
                          <a:pt x="3492" y="2542"/>
                        </a:lnTo>
                        <a:lnTo>
                          <a:pt x="3492" y="2542"/>
                        </a:lnTo>
                        <a:lnTo>
                          <a:pt x="3490" y="2520"/>
                        </a:lnTo>
                        <a:lnTo>
                          <a:pt x="3492" y="2500"/>
                        </a:lnTo>
                        <a:lnTo>
                          <a:pt x="3496" y="2484"/>
                        </a:lnTo>
                        <a:lnTo>
                          <a:pt x="3502" y="2470"/>
                        </a:lnTo>
                        <a:lnTo>
                          <a:pt x="3508" y="2458"/>
                        </a:lnTo>
                        <a:lnTo>
                          <a:pt x="3514" y="2448"/>
                        </a:lnTo>
                        <a:lnTo>
                          <a:pt x="3524" y="2438"/>
                        </a:lnTo>
                        <a:lnTo>
                          <a:pt x="3524" y="2438"/>
                        </a:lnTo>
                        <a:lnTo>
                          <a:pt x="3528" y="2434"/>
                        </a:lnTo>
                        <a:lnTo>
                          <a:pt x="3528" y="2432"/>
                        </a:lnTo>
                        <a:lnTo>
                          <a:pt x="3528" y="2428"/>
                        </a:lnTo>
                        <a:lnTo>
                          <a:pt x="3528" y="2426"/>
                        </a:lnTo>
                        <a:lnTo>
                          <a:pt x="3528" y="2426"/>
                        </a:lnTo>
                        <a:lnTo>
                          <a:pt x="3536" y="2424"/>
                        </a:lnTo>
                        <a:lnTo>
                          <a:pt x="3536" y="2424"/>
                        </a:lnTo>
                        <a:lnTo>
                          <a:pt x="3542" y="2424"/>
                        </a:lnTo>
                        <a:lnTo>
                          <a:pt x="3548" y="2420"/>
                        </a:lnTo>
                        <a:lnTo>
                          <a:pt x="3556" y="2412"/>
                        </a:lnTo>
                        <a:lnTo>
                          <a:pt x="3564" y="2402"/>
                        </a:lnTo>
                        <a:lnTo>
                          <a:pt x="3568" y="2400"/>
                        </a:lnTo>
                        <a:lnTo>
                          <a:pt x="3570" y="2398"/>
                        </a:lnTo>
                        <a:lnTo>
                          <a:pt x="3570" y="2398"/>
                        </a:lnTo>
                        <a:lnTo>
                          <a:pt x="3574" y="2398"/>
                        </a:lnTo>
                        <a:lnTo>
                          <a:pt x="3576" y="2394"/>
                        </a:lnTo>
                        <a:lnTo>
                          <a:pt x="3580" y="2384"/>
                        </a:lnTo>
                        <a:lnTo>
                          <a:pt x="3588" y="2370"/>
                        </a:lnTo>
                        <a:lnTo>
                          <a:pt x="3592" y="2362"/>
                        </a:lnTo>
                        <a:lnTo>
                          <a:pt x="3600" y="2356"/>
                        </a:lnTo>
                        <a:lnTo>
                          <a:pt x="3600" y="2356"/>
                        </a:lnTo>
                        <a:lnTo>
                          <a:pt x="3606" y="2352"/>
                        </a:lnTo>
                        <a:lnTo>
                          <a:pt x="3612" y="2350"/>
                        </a:lnTo>
                        <a:lnTo>
                          <a:pt x="3624" y="2350"/>
                        </a:lnTo>
                        <a:lnTo>
                          <a:pt x="3628" y="2350"/>
                        </a:lnTo>
                        <a:lnTo>
                          <a:pt x="3630" y="2350"/>
                        </a:lnTo>
                        <a:lnTo>
                          <a:pt x="3634" y="2346"/>
                        </a:lnTo>
                        <a:lnTo>
                          <a:pt x="3636" y="2342"/>
                        </a:lnTo>
                        <a:lnTo>
                          <a:pt x="3636" y="2342"/>
                        </a:lnTo>
                        <a:lnTo>
                          <a:pt x="3638" y="2334"/>
                        </a:lnTo>
                        <a:lnTo>
                          <a:pt x="3642" y="2328"/>
                        </a:lnTo>
                        <a:lnTo>
                          <a:pt x="3654" y="2318"/>
                        </a:lnTo>
                        <a:lnTo>
                          <a:pt x="3666" y="2310"/>
                        </a:lnTo>
                        <a:lnTo>
                          <a:pt x="3680" y="2306"/>
                        </a:lnTo>
                        <a:lnTo>
                          <a:pt x="3680" y="2306"/>
                        </a:lnTo>
                        <a:lnTo>
                          <a:pt x="3690" y="2304"/>
                        </a:lnTo>
                        <a:lnTo>
                          <a:pt x="3696" y="2300"/>
                        </a:lnTo>
                        <a:lnTo>
                          <a:pt x="3698" y="2294"/>
                        </a:lnTo>
                        <a:lnTo>
                          <a:pt x="3698" y="2292"/>
                        </a:lnTo>
                        <a:lnTo>
                          <a:pt x="3696" y="2290"/>
                        </a:lnTo>
                        <a:lnTo>
                          <a:pt x="3696" y="2290"/>
                        </a:lnTo>
                        <a:lnTo>
                          <a:pt x="3694" y="2290"/>
                        </a:lnTo>
                        <a:lnTo>
                          <a:pt x="3690" y="2290"/>
                        </a:lnTo>
                        <a:lnTo>
                          <a:pt x="3686" y="2294"/>
                        </a:lnTo>
                        <a:lnTo>
                          <a:pt x="3680" y="2296"/>
                        </a:lnTo>
                        <a:lnTo>
                          <a:pt x="3676" y="2298"/>
                        </a:lnTo>
                        <a:lnTo>
                          <a:pt x="3674" y="2296"/>
                        </a:lnTo>
                        <a:lnTo>
                          <a:pt x="3674" y="2296"/>
                        </a:lnTo>
                        <a:lnTo>
                          <a:pt x="3672" y="2294"/>
                        </a:lnTo>
                        <a:lnTo>
                          <a:pt x="3674" y="2292"/>
                        </a:lnTo>
                        <a:lnTo>
                          <a:pt x="3680" y="2290"/>
                        </a:lnTo>
                        <a:lnTo>
                          <a:pt x="3682" y="2288"/>
                        </a:lnTo>
                        <a:lnTo>
                          <a:pt x="3684" y="2286"/>
                        </a:lnTo>
                        <a:lnTo>
                          <a:pt x="3684" y="2286"/>
                        </a:lnTo>
                        <a:lnTo>
                          <a:pt x="3686" y="2282"/>
                        </a:lnTo>
                        <a:lnTo>
                          <a:pt x="3684" y="2278"/>
                        </a:lnTo>
                        <a:lnTo>
                          <a:pt x="3678" y="2272"/>
                        </a:lnTo>
                        <a:lnTo>
                          <a:pt x="3676" y="2268"/>
                        </a:lnTo>
                        <a:lnTo>
                          <a:pt x="3682" y="2268"/>
                        </a:lnTo>
                        <a:lnTo>
                          <a:pt x="3682" y="2268"/>
                        </a:lnTo>
                        <a:lnTo>
                          <a:pt x="3692" y="2272"/>
                        </a:lnTo>
                        <a:lnTo>
                          <a:pt x="3696" y="2274"/>
                        </a:lnTo>
                        <a:lnTo>
                          <a:pt x="3698" y="2276"/>
                        </a:lnTo>
                        <a:lnTo>
                          <a:pt x="3700" y="2274"/>
                        </a:lnTo>
                        <a:lnTo>
                          <a:pt x="3706" y="2270"/>
                        </a:lnTo>
                        <a:lnTo>
                          <a:pt x="3706" y="2270"/>
                        </a:lnTo>
                        <a:lnTo>
                          <a:pt x="3710" y="2264"/>
                        </a:lnTo>
                        <a:lnTo>
                          <a:pt x="3714" y="2262"/>
                        </a:lnTo>
                        <a:lnTo>
                          <a:pt x="3716" y="2260"/>
                        </a:lnTo>
                        <a:lnTo>
                          <a:pt x="3718" y="2254"/>
                        </a:lnTo>
                        <a:lnTo>
                          <a:pt x="3718" y="2254"/>
                        </a:lnTo>
                        <a:lnTo>
                          <a:pt x="3720" y="2246"/>
                        </a:lnTo>
                        <a:lnTo>
                          <a:pt x="3718" y="2242"/>
                        </a:lnTo>
                        <a:lnTo>
                          <a:pt x="3714" y="2240"/>
                        </a:lnTo>
                        <a:lnTo>
                          <a:pt x="3710" y="2244"/>
                        </a:lnTo>
                        <a:lnTo>
                          <a:pt x="3710" y="2244"/>
                        </a:lnTo>
                        <a:lnTo>
                          <a:pt x="3708" y="2244"/>
                        </a:lnTo>
                        <a:lnTo>
                          <a:pt x="3708" y="2242"/>
                        </a:lnTo>
                        <a:lnTo>
                          <a:pt x="3704" y="2240"/>
                        </a:lnTo>
                        <a:lnTo>
                          <a:pt x="3694" y="2240"/>
                        </a:lnTo>
                        <a:lnTo>
                          <a:pt x="3694" y="2240"/>
                        </a:lnTo>
                        <a:lnTo>
                          <a:pt x="3684" y="2242"/>
                        </a:lnTo>
                        <a:lnTo>
                          <a:pt x="3678" y="2240"/>
                        </a:lnTo>
                        <a:lnTo>
                          <a:pt x="3678" y="2236"/>
                        </a:lnTo>
                        <a:lnTo>
                          <a:pt x="3678" y="2230"/>
                        </a:lnTo>
                        <a:lnTo>
                          <a:pt x="3678" y="2230"/>
                        </a:lnTo>
                        <a:lnTo>
                          <a:pt x="3678" y="2228"/>
                        </a:lnTo>
                        <a:lnTo>
                          <a:pt x="3678" y="2228"/>
                        </a:lnTo>
                        <a:lnTo>
                          <a:pt x="3680" y="2232"/>
                        </a:lnTo>
                        <a:lnTo>
                          <a:pt x="3684" y="2236"/>
                        </a:lnTo>
                        <a:lnTo>
                          <a:pt x="3686" y="2236"/>
                        </a:lnTo>
                        <a:lnTo>
                          <a:pt x="3690" y="2236"/>
                        </a:lnTo>
                        <a:lnTo>
                          <a:pt x="3696" y="2234"/>
                        </a:lnTo>
                        <a:lnTo>
                          <a:pt x="3696" y="2234"/>
                        </a:lnTo>
                        <a:lnTo>
                          <a:pt x="3704" y="2230"/>
                        </a:lnTo>
                        <a:lnTo>
                          <a:pt x="3708" y="2230"/>
                        </a:lnTo>
                        <a:lnTo>
                          <a:pt x="3714" y="2232"/>
                        </a:lnTo>
                        <a:lnTo>
                          <a:pt x="3718" y="2236"/>
                        </a:lnTo>
                        <a:lnTo>
                          <a:pt x="3724" y="2244"/>
                        </a:lnTo>
                        <a:lnTo>
                          <a:pt x="3726" y="2248"/>
                        </a:lnTo>
                        <a:lnTo>
                          <a:pt x="3728" y="2248"/>
                        </a:lnTo>
                        <a:lnTo>
                          <a:pt x="3728" y="2248"/>
                        </a:lnTo>
                        <a:lnTo>
                          <a:pt x="3728" y="2246"/>
                        </a:lnTo>
                        <a:lnTo>
                          <a:pt x="3728" y="2244"/>
                        </a:lnTo>
                        <a:lnTo>
                          <a:pt x="3724" y="2236"/>
                        </a:lnTo>
                        <a:lnTo>
                          <a:pt x="3718" y="2222"/>
                        </a:lnTo>
                        <a:lnTo>
                          <a:pt x="3712" y="2198"/>
                        </a:lnTo>
                        <a:lnTo>
                          <a:pt x="3712" y="2198"/>
                        </a:lnTo>
                        <a:lnTo>
                          <a:pt x="3708" y="2188"/>
                        </a:lnTo>
                        <a:lnTo>
                          <a:pt x="3706" y="2186"/>
                        </a:lnTo>
                        <a:lnTo>
                          <a:pt x="3704" y="2186"/>
                        </a:lnTo>
                        <a:lnTo>
                          <a:pt x="3700" y="2188"/>
                        </a:lnTo>
                        <a:lnTo>
                          <a:pt x="3694" y="2190"/>
                        </a:lnTo>
                        <a:lnTo>
                          <a:pt x="3694" y="2190"/>
                        </a:lnTo>
                        <a:lnTo>
                          <a:pt x="3692" y="2190"/>
                        </a:lnTo>
                        <a:lnTo>
                          <a:pt x="3692" y="2190"/>
                        </a:lnTo>
                        <a:lnTo>
                          <a:pt x="3696" y="2186"/>
                        </a:lnTo>
                        <a:lnTo>
                          <a:pt x="3698" y="2180"/>
                        </a:lnTo>
                        <a:lnTo>
                          <a:pt x="3698" y="2176"/>
                        </a:lnTo>
                        <a:lnTo>
                          <a:pt x="3694" y="2174"/>
                        </a:lnTo>
                        <a:lnTo>
                          <a:pt x="3694" y="2174"/>
                        </a:lnTo>
                        <a:lnTo>
                          <a:pt x="3690" y="2170"/>
                        </a:lnTo>
                        <a:lnTo>
                          <a:pt x="3692" y="2170"/>
                        </a:lnTo>
                        <a:lnTo>
                          <a:pt x="3696" y="2168"/>
                        </a:lnTo>
                        <a:lnTo>
                          <a:pt x="3698" y="2166"/>
                        </a:lnTo>
                        <a:lnTo>
                          <a:pt x="3698" y="2162"/>
                        </a:lnTo>
                        <a:lnTo>
                          <a:pt x="3698" y="2156"/>
                        </a:lnTo>
                        <a:lnTo>
                          <a:pt x="3698" y="2156"/>
                        </a:lnTo>
                        <a:lnTo>
                          <a:pt x="3696" y="2144"/>
                        </a:lnTo>
                        <a:lnTo>
                          <a:pt x="3696" y="2140"/>
                        </a:lnTo>
                        <a:lnTo>
                          <a:pt x="3696" y="2136"/>
                        </a:lnTo>
                        <a:lnTo>
                          <a:pt x="3690" y="2130"/>
                        </a:lnTo>
                        <a:lnTo>
                          <a:pt x="3690" y="2130"/>
                        </a:lnTo>
                        <a:lnTo>
                          <a:pt x="3678" y="2118"/>
                        </a:lnTo>
                        <a:lnTo>
                          <a:pt x="3678" y="2118"/>
                        </a:lnTo>
                        <a:lnTo>
                          <a:pt x="3678" y="2118"/>
                        </a:lnTo>
                        <a:lnTo>
                          <a:pt x="3686" y="2122"/>
                        </a:lnTo>
                        <a:lnTo>
                          <a:pt x="3686" y="2122"/>
                        </a:lnTo>
                        <a:lnTo>
                          <a:pt x="3694" y="2126"/>
                        </a:lnTo>
                        <a:lnTo>
                          <a:pt x="3696" y="2124"/>
                        </a:lnTo>
                        <a:lnTo>
                          <a:pt x="3696" y="2124"/>
                        </a:lnTo>
                        <a:lnTo>
                          <a:pt x="3692" y="2108"/>
                        </a:lnTo>
                        <a:lnTo>
                          <a:pt x="3692" y="2108"/>
                        </a:lnTo>
                        <a:lnTo>
                          <a:pt x="3688" y="2092"/>
                        </a:lnTo>
                        <a:lnTo>
                          <a:pt x="3690" y="2076"/>
                        </a:lnTo>
                        <a:lnTo>
                          <a:pt x="3690" y="2076"/>
                        </a:lnTo>
                        <a:lnTo>
                          <a:pt x="3692" y="2064"/>
                        </a:lnTo>
                        <a:lnTo>
                          <a:pt x="3696" y="2058"/>
                        </a:lnTo>
                        <a:lnTo>
                          <a:pt x="3702" y="2054"/>
                        </a:lnTo>
                        <a:lnTo>
                          <a:pt x="3702" y="2054"/>
                        </a:lnTo>
                        <a:lnTo>
                          <a:pt x="3704" y="2050"/>
                        </a:lnTo>
                        <a:lnTo>
                          <a:pt x="3704" y="2052"/>
                        </a:lnTo>
                        <a:lnTo>
                          <a:pt x="3700" y="2058"/>
                        </a:lnTo>
                        <a:lnTo>
                          <a:pt x="3698" y="2064"/>
                        </a:lnTo>
                        <a:lnTo>
                          <a:pt x="3698" y="2064"/>
                        </a:lnTo>
                        <a:lnTo>
                          <a:pt x="3694" y="2076"/>
                        </a:lnTo>
                        <a:lnTo>
                          <a:pt x="3694" y="2082"/>
                        </a:lnTo>
                        <a:lnTo>
                          <a:pt x="3696" y="2086"/>
                        </a:lnTo>
                        <a:lnTo>
                          <a:pt x="3696" y="2086"/>
                        </a:lnTo>
                        <a:lnTo>
                          <a:pt x="3696" y="2088"/>
                        </a:lnTo>
                        <a:lnTo>
                          <a:pt x="3696" y="2090"/>
                        </a:lnTo>
                        <a:lnTo>
                          <a:pt x="3694" y="2094"/>
                        </a:lnTo>
                        <a:lnTo>
                          <a:pt x="3696" y="2098"/>
                        </a:lnTo>
                        <a:lnTo>
                          <a:pt x="3696" y="2098"/>
                        </a:lnTo>
                        <a:lnTo>
                          <a:pt x="3698" y="2104"/>
                        </a:lnTo>
                        <a:lnTo>
                          <a:pt x="3696" y="2106"/>
                        </a:lnTo>
                        <a:lnTo>
                          <a:pt x="3696" y="2110"/>
                        </a:lnTo>
                        <a:lnTo>
                          <a:pt x="3700" y="2114"/>
                        </a:lnTo>
                        <a:lnTo>
                          <a:pt x="3700" y="2114"/>
                        </a:lnTo>
                        <a:lnTo>
                          <a:pt x="3706" y="2116"/>
                        </a:lnTo>
                        <a:lnTo>
                          <a:pt x="3708" y="2116"/>
                        </a:lnTo>
                        <a:lnTo>
                          <a:pt x="3710" y="2116"/>
                        </a:lnTo>
                        <a:lnTo>
                          <a:pt x="3712" y="2120"/>
                        </a:lnTo>
                        <a:lnTo>
                          <a:pt x="3712" y="2120"/>
                        </a:lnTo>
                        <a:lnTo>
                          <a:pt x="3712" y="2126"/>
                        </a:lnTo>
                        <a:lnTo>
                          <a:pt x="3712" y="2130"/>
                        </a:lnTo>
                        <a:lnTo>
                          <a:pt x="3712" y="2134"/>
                        </a:lnTo>
                        <a:lnTo>
                          <a:pt x="3716" y="2136"/>
                        </a:lnTo>
                        <a:lnTo>
                          <a:pt x="3716" y="2136"/>
                        </a:lnTo>
                        <a:lnTo>
                          <a:pt x="3718" y="2138"/>
                        </a:lnTo>
                        <a:lnTo>
                          <a:pt x="3716" y="2142"/>
                        </a:lnTo>
                        <a:lnTo>
                          <a:pt x="3710" y="2154"/>
                        </a:lnTo>
                        <a:lnTo>
                          <a:pt x="3706" y="2166"/>
                        </a:lnTo>
                        <a:lnTo>
                          <a:pt x="3706" y="2172"/>
                        </a:lnTo>
                        <a:lnTo>
                          <a:pt x="3710" y="2176"/>
                        </a:lnTo>
                        <a:lnTo>
                          <a:pt x="3710" y="2176"/>
                        </a:lnTo>
                        <a:lnTo>
                          <a:pt x="3712" y="2176"/>
                        </a:lnTo>
                        <a:lnTo>
                          <a:pt x="3714" y="2172"/>
                        </a:lnTo>
                        <a:lnTo>
                          <a:pt x="3720" y="2158"/>
                        </a:lnTo>
                        <a:lnTo>
                          <a:pt x="3728" y="2138"/>
                        </a:lnTo>
                        <a:lnTo>
                          <a:pt x="3738" y="2122"/>
                        </a:lnTo>
                        <a:lnTo>
                          <a:pt x="3738" y="2122"/>
                        </a:lnTo>
                        <a:lnTo>
                          <a:pt x="3744" y="2114"/>
                        </a:lnTo>
                        <a:lnTo>
                          <a:pt x="3746" y="2108"/>
                        </a:lnTo>
                        <a:lnTo>
                          <a:pt x="3748" y="2102"/>
                        </a:lnTo>
                        <a:lnTo>
                          <a:pt x="3748" y="2096"/>
                        </a:lnTo>
                        <a:lnTo>
                          <a:pt x="3748" y="2092"/>
                        </a:lnTo>
                        <a:lnTo>
                          <a:pt x="3746" y="2088"/>
                        </a:lnTo>
                        <a:lnTo>
                          <a:pt x="3744" y="2086"/>
                        </a:lnTo>
                        <a:lnTo>
                          <a:pt x="3740" y="2086"/>
                        </a:lnTo>
                        <a:lnTo>
                          <a:pt x="3740" y="2086"/>
                        </a:lnTo>
                        <a:lnTo>
                          <a:pt x="3738" y="2084"/>
                        </a:lnTo>
                        <a:lnTo>
                          <a:pt x="3736" y="2082"/>
                        </a:lnTo>
                        <a:lnTo>
                          <a:pt x="3732" y="2074"/>
                        </a:lnTo>
                        <a:lnTo>
                          <a:pt x="3726" y="2054"/>
                        </a:lnTo>
                        <a:lnTo>
                          <a:pt x="3726" y="2054"/>
                        </a:lnTo>
                        <a:lnTo>
                          <a:pt x="3724" y="2044"/>
                        </a:lnTo>
                        <a:lnTo>
                          <a:pt x="3726" y="2036"/>
                        </a:lnTo>
                        <a:lnTo>
                          <a:pt x="3730" y="2030"/>
                        </a:lnTo>
                        <a:lnTo>
                          <a:pt x="3738" y="2024"/>
                        </a:lnTo>
                        <a:lnTo>
                          <a:pt x="3738" y="2024"/>
                        </a:lnTo>
                        <a:lnTo>
                          <a:pt x="3742" y="2024"/>
                        </a:lnTo>
                        <a:lnTo>
                          <a:pt x="3736" y="2030"/>
                        </a:lnTo>
                        <a:lnTo>
                          <a:pt x="3732" y="2034"/>
                        </a:lnTo>
                        <a:lnTo>
                          <a:pt x="3730" y="2040"/>
                        </a:lnTo>
                        <a:lnTo>
                          <a:pt x="3730" y="2046"/>
                        </a:lnTo>
                        <a:lnTo>
                          <a:pt x="3732" y="2054"/>
                        </a:lnTo>
                        <a:lnTo>
                          <a:pt x="3732" y="2054"/>
                        </a:lnTo>
                        <a:lnTo>
                          <a:pt x="3738" y="2060"/>
                        </a:lnTo>
                        <a:lnTo>
                          <a:pt x="3742" y="2062"/>
                        </a:lnTo>
                        <a:lnTo>
                          <a:pt x="3748" y="2064"/>
                        </a:lnTo>
                        <a:lnTo>
                          <a:pt x="3750" y="2066"/>
                        </a:lnTo>
                        <a:lnTo>
                          <a:pt x="3750" y="2072"/>
                        </a:lnTo>
                        <a:lnTo>
                          <a:pt x="3750" y="2072"/>
                        </a:lnTo>
                        <a:lnTo>
                          <a:pt x="3750" y="2078"/>
                        </a:lnTo>
                        <a:lnTo>
                          <a:pt x="3752" y="2078"/>
                        </a:lnTo>
                        <a:lnTo>
                          <a:pt x="3754" y="2078"/>
                        </a:lnTo>
                        <a:lnTo>
                          <a:pt x="3758" y="2074"/>
                        </a:lnTo>
                        <a:lnTo>
                          <a:pt x="3766" y="2062"/>
                        </a:lnTo>
                        <a:lnTo>
                          <a:pt x="3774" y="2048"/>
                        </a:lnTo>
                        <a:lnTo>
                          <a:pt x="3774" y="2048"/>
                        </a:lnTo>
                        <a:lnTo>
                          <a:pt x="3784" y="2030"/>
                        </a:lnTo>
                        <a:lnTo>
                          <a:pt x="3790" y="2014"/>
                        </a:lnTo>
                        <a:lnTo>
                          <a:pt x="3790" y="2008"/>
                        </a:lnTo>
                        <a:lnTo>
                          <a:pt x="3790" y="2002"/>
                        </a:lnTo>
                        <a:lnTo>
                          <a:pt x="3790" y="2000"/>
                        </a:lnTo>
                        <a:lnTo>
                          <a:pt x="3786" y="1998"/>
                        </a:lnTo>
                        <a:lnTo>
                          <a:pt x="3786" y="1998"/>
                        </a:lnTo>
                        <a:lnTo>
                          <a:pt x="3778" y="1996"/>
                        </a:lnTo>
                        <a:lnTo>
                          <a:pt x="3776" y="1996"/>
                        </a:lnTo>
                        <a:lnTo>
                          <a:pt x="3776" y="1994"/>
                        </a:lnTo>
                        <a:lnTo>
                          <a:pt x="3778" y="1988"/>
                        </a:lnTo>
                        <a:lnTo>
                          <a:pt x="3784" y="1980"/>
                        </a:lnTo>
                        <a:lnTo>
                          <a:pt x="3784" y="1980"/>
                        </a:lnTo>
                        <a:lnTo>
                          <a:pt x="3796" y="1972"/>
                        </a:lnTo>
                        <a:lnTo>
                          <a:pt x="3808" y="1962"/>
                        </a:lnTo>
                        <a:lnTo>
                          <a:pt x="3824" y="1956"/>
                        </a:lnTo>
                        <a:lnTo>
                          <a:pt x="3838" y="1950"/>
                        </a:lnTo>
                        <a:lnTo>
                          <a:pt x="3838" y="1950"/>
                        </a:lnTo>
                        <a:lnTo>
                          <a:pt x="3854" y="1948"/>
                        </a:lnTo>
                        <a:lnTo>
                          <a:pt x="3870" y="1946"/>
                        </a:lnTo>
                        <a:lnTo>
                          <a:pt x="3886" y="1944"/>
                        </a:lnTo>
                        <a:lnTo>
                          <a:pt x="3890" y="1944"/>
                        </a:lnTo>
                        <a:lnTo>
                          <a:pt x="3892" y="1940"/>
                        </a:lnTo>
                        <a:lnTo>
                          <a:pt x="3892" y="1940"/>
                        </a:lnTo>
                        <a:lnTo>
                          <a:pt x="3894" y="1926"/>
                        </a:lnTo>
                        <a:lnTo>
                          <a:pt x="3896" y="1924"/>
                        </a:lnTo>
                        <a:lnTo>
                          <a:pt x="3898" y="1928"/>
                        </a:lnTo>
                        <a:lnTo>
                          <a:pt x="3898" y="1928"/>
                        </a:lnTo>
                        <a:lnTo>
                          <a:pt x="3900" y="1936"/>
                        </a:lnTo>
                        <a:lnTo>
                          <a:pt x="3904" y="1940"/>
                        </a:lnTo>
                        <a:lnTo>
                          <a:pt x="3906" y="1940"/>
                        </a:lnTo>
                        <a:lnTo>
                          <a:pt x="3908" y="1940"/>
                        </a:lnTo>
                        <a:lnTo>
                          <a:pt x="3914" y="1932"/>
                        </a:lnTo>
                        <a:lnTo>
                          <a:pt x="3914" y="1932"/>
                        </a:lnTo>
                        <a:lnTo>
                          <a:pt x="3920" y="1928"/>
                        </a:lnTo>
                        <a:lnTo>
                          <a:pt x="3922" y="1926"/>
                        </a:lnTo>
                        <a:lnTo>
                          <a:pt x="3924" y="1928"/>
                        </a:lnTo>
                        <a:lnTo>
                          <a:pt x="3924" y="1930"/>
                        </a:lnTo>
                        <a:lnTo>
                          <a:pt x="3924" y="1936"/>
                        </a:lnTo>
                        <a:lnTo>
                          <a:pt x="3926" y="1936"/>
                        </a:lnTo>
                        <a:lnTo>
                          <a:pt x="3928" y="1934"/>
                        </a:lnTo>
                        <a:lnTo>
                          <a:pt x="3928" y="1934"/>
                        </a:lnTo>
                        <a:lnTo>
                          <a:pt x="3932" y="1932"/>
                        </a:lnTo>
                        <a:lnTo>
                          <a:pt x="3936" y="1930"/>
                        </a:lnTo>
                        <a:lnTo>
                          <a:pt x="3946" y="1930"/>
                        </a:lnTo>
                        <a:lnTo>
                          <a:pt x="3952" y="1928"/>
                        </a:lnTo>
                        <a:lnTo>
                          <a:pt x="3952" y="1924"/>
                        </a:lnTo>
                        <a:lnTo>
                          <a:pt x="3952" y="1920"/>
                        </a:lnTo>
                        <a:lnTo>
                          <a:pt x="3952" y="1920"/>
                        </a:lnTo>
                        <a:lnTo>
                          <a:pt x="3948" y="1906"/>
                        </a:lnTo>
                        <a:lnTo>
                          <a:pt x="3946" y="1904"/>
                        </a:lnTo>
                        <a:lnTo>
                          <a:pt x="3942" y="1904"/>
                        </a:lnTo>
                        <a:lnTo>
                          <a:pt x="3942" y="1904"/>
                        </a:lnTo>
                        <a:lnTo>
                          <a:pt x="3940" y="1904"/>
                        </a:lnTo>
                        <a:lnTo>
                          <a:pt x="3942" y="1906"/>
                        </a:lnTo>
                        <a:lnTo>
                          <a:pt x="3946" y="1908"/>
                        </a:lnTo>
                        <a:lnTo>
                          <a:pt x="3948" y="1914"/>
                        </a:lnTo>
                        <a:lnTo>
                          <a:pt x="3948" y="1914"/>
                        </a:lnTo>
                        <a:lnTo>
                          <a:pt x="3944" y="1920"/>
                        </a:lnTo>
                        <a:lnTo>
                          <a:pt x="3940" y="1924"/>
                        </a:lnTo>
                        <a:lnTo>
                          <a:pt x="3936" y="1926"/>
                        </a:lnTo>
                        <a:lnTo>
                          <a:pt x="3932" y="1926"/>
                        </a:lnTo>
                        <a:lnTo>
                          <a:pt x="3930" y="1922"/>
                        </a:lnTo>
                        <a:lnTo>
                          <a:pt x="3928" y="1918"/>
                        </a:lnTo>
                        <a:lnTo>
                          <a:pt x="3928" y="1918"/>
                        </a:lnTo>
                        <a:lnTo>
                          <a:pt x="3924" y="1908"/>
                        </a:lnTo>
                        <a:lnTo>
                          <a:pt x="3924" y="1902"/>
                        </a:lnTo>
                        <a:lnTo>
                          <a:pt x="3920" y="1896"/>
                        </a:lnTo>
                        <a:lnTo>
                          <a:pt x="3912" y="1894"/>
                        </a:lnTo>
                        <a:lnTo>
                          <a:pt x="3912" y="1894"/>
                        </a:lnTo>
                        <a:lnTo>
                          <a:pt x="3910" y="1894"/>
                        </a:lnTo>
                        <a:lnTo>
                          <a:pt x="3910" y="1892"/>
                        </a:lnTo>
                        <a:lnTo>
                          <a:pt x="3918" y="1884"/>
                        </a:lnTo>
                        <a:lnTo>
                          <a:pt x="3926" y="1876"/>
                        </a:lnTo>
                        <a:lnTo>
                          <a:pt x="3926" y="1874"/>
                        </a:lnTo>
                        <a:lnTo>
                          <a:pt x="3924" y="1872"/>
                        </a:lnTo>
                        <a:lnTo>
                          <a:pt x="3924" y="1872"/>
                        </a:lnTo>
                        <a:lnTo>
                          <a:pt x="3922" y="1868"/>
                        </a:lnTo>
                        <a:lnTo>
                          <a:pt x="3920" y="1864"/>
                        </a:lnTo>
                        <a:lnTo>
                          <a:pt x="3922" y="1850"/>
                        </a:lnTo>
                        <a:lnTo>
                          <a:pt x="3928" y="1836"/>
                        </a:lnTo>
                        <a:lnTo>
                          <a:pt x="3936" y="1826"/>
                        </a:lnTo>
                        <a:lnTo>
                          <a:pt x="3936" y="1826"/>
                        </a:lnTo>
                        <a:lnTo>
                          <a:pt x="3940" y="1820"/>
                        </a:lnTo>
                        <a:lnTo>
                          <a:pt x="3940" y="1816"/>
                        </a:lnTo>
                        <a:lnTo>
                          <a:pt x="3940" y="1814"/>
                        </a:lnTo>
                        <a:lnTo>
                          <a:pt x="3942" y="1810"/>
                        </a:lnTo>
                        <a:lnTo>
                          <a:pt x="3942" y="1810"/>
                        </a:lnTo>
                        <a:lnTo>
                          <a:pt x="3944" y="1808"/>
                        </a:lnTo>
                        <a:lnTo>
                          <a:pt x="3946" y="1808"/>
                        </a:lnTo>
                        <a:lnTo>
                          <a:pt x="3948" y="1812"/>
                        </a:lnTo>
                        <a:lnTo>
                          <a:pt x="3952" y="1814"/>
                        </a:lnTo>
                        <a:lnTo>
                          <a:pt x="3954" y="1814"/>
                        </a:lnTo>
                        <a:lnTo>
                          <a:pt x="3958" y="1812"/>
                        </a:lnTo>
                        <a:lnTo>
                          <a:pt x="3958" y="1812"/>
                        </a:lnTo>
                        <a:lnTo>
                          <a:pt x="3966" y="1806"/>
                        </a:lnTo>
                        <a:lnTo>
                          <a:pt x="3970" y="1802"/>
                        </a:lnTo>
                        <a:lnTo>
                          <a:pt x="3974" y="1800"/>
                        </a:lnTo>
                        <a:lnTo>
                          <a:pt x="3976" y="1800"/>
                        </a:lnTo>
                        <a:lnTo>
                          <a:pt x="3976" y="1800"/>
                        </a:lnTo>
                        <a:lnTo>
                          <a:pt x="3982" y="1798"/>
                        </a:lnTo>
                        <a:lnTo>
                          <a:pt x="3984" y="1796"/>
                        </a:lnTo>
                        <a:lnTo>
                          <a:pt x="3988" y="1786"/>
                        </a:lnTo>
                        <a:lnTo>
                          <a:pt x="3992" y="1778"/>
                        </a:lnTo>
                        <a:lnTo>
                          <a:pt x="3996" y="1776"/>
                        </a:lnTo>
                        <a:lnTo>
                          <a:pt x="4000" y="1778"/>
                        </a:lnTo>
                        <a:lnTo>
                          <a:pt x="4000" y="1778"/>
                        </a:lnTo>
                        <a:lnTo>
                          <a:pt x="4006" y="1782"/>
                        </a:lnTo>
                        <a:lnTo>
                          <a:pt x="4008" y="1780"/>
                        </a:lnTo>
                        <a:lnTo>
                          <a:pt x="4010" y="1780"/>
                        </a:lnTo>
                        <a:lnTo>
                          <a:pt x="4012" y="1776"/>
                        </a:lnTo>
                        <a:lnTo>
                          <a:pt x="4016" y="1772"/>
                        </a:lnTo>
                        <a:lnTo>
                          <a:pt x="4016" y="1772"/>
                        </a:lnTo>
                        <a:lnTo>
                          <a:pt x="4022" y="1772"/>
                        </a:lnTo>
                        <a:lnTo>
                          <a:pt x="4024" y="1774"/>
                        </a:lnTo>
                        <a:lnTo>
                          <a:pt x="4028" y="1776"/>
                        </a:lnTo>
                        <a:lnTo>
                          <a:pt x="4036" y="1772"/>
                        </a:lnTo>
                        <a:lnTo>
                          <a:pt x="4036" y="1772"/>
                        </a:lnTo>
                        <a:lnTo>
                          <a:pt x="4044" y="1766"/>
                        </a:lnTo>
                        <a:lnTo>
                          <a:pt x="4052" y="1764"/>
                        </a:lnTo>
                        <a:lnTo>
                          <a:pt x="4060" y="1762"/>
                        </a:lnTo>
                        <a:lnTo>
                          <a:pt x="4066" y="1756"/>
                        </a:lnTo>
                        <a:lnTo>
                          <a:pt x="4066" y="1756"/>
                        </a:lnTo>
                        <a:lnTo>
                          <a:pt x="4070" y="1752"/>
                        </a:lnTo>
                        <a:lnTo>
                          <a:pt x="4070" y="1748"/>
                        </a:lnTo>
                        <a:lnTo>
                          <a:pt x="4068" y="1746"/>
                        </a:lnTo>
                        <a:lnTo>
                          <a:pt x="4066" y="1742"/>
                        </a:lnTo>
                        <a:lnTo>
                          <a:pt x="4066" y="1742"/>
                        </a:lnTo>
                        <a:lnTo>
                          <a:pt x="4064" y="1736"/>
                        </a:lnTo>
                        <a:lnTo>
                          <a:pt x="4062" y="1734"/>
                        </a:lnTo>
                        <a:lnTo>
                          <a:pt x="4054" y="1730"/>
                        </a:lnTo>
                        <a:lnTo>
                          <a:pt x="4054" y="1730"/>
                        </a:lnTo>
                        <a:lnTo>
                          <a:pt x="4052" y="1726"/>
                        </a:lnTo>
                        <a:lnTo>
                          <a:pt x="4050" y="1718"/>
                        </a:lnTo>
                        <a:lnTo>
                          <a:pt x="4050" y="1704"/>
                        </a:lnTo>
                        <a:lnTo>
                          <a:pt x="4050" y="1704"/>
                        </a:lnTo>
                        <a:lnTo>
                          <a:pt x="4052" y="1706"/>
                        </a:lnTo>
                        <a:lnTo>
                          <a:pt x="4054" y="1708"/>
                        </a:lnTo>
                        <a:lnTo>
                          <a:pt x="4054" y="1716"/>
                        </a:lnTo>
                        <a:lnTo>
                          <a:pt x="4054" y="1716"/>
                        </a:lnTo>
                        <a:lnTo>
                          <a:pt x="4054" y="1720"/>
                        </a:lnTo>
                        <a:lnTo>
                          <a:pt x="4056" y="1724"/>
                        </a:lnTo>
                        <a:lnTo>
                          <a:pt x="4060" y="1728"/>
                        </a:lnTo>
                        <a:lnTo>
                          <a:pt x="4066" y="1730"/>
                        </a:lnTo>
                        <a:lnTo>
                          <a:pt x="4066" y="1730"/>
                        </a:lnTo>
                        <a:lnTo>
                          <a:pt x="4078" y="1734"/>
                        </a:lnTo>
                        <a:lnTo>
                          <a:pt x="4088" y="1734"/>
                        </a:lnTo>
                        <a:lnTo>
                          <a:pt x="4096" y="1734"/>
                        </a:lnTo>
                        <a:lnTo>
                          <a:pt x="4106" y="1732"/>
                        </a:lnTo>
                        <a:lnTo>
                          <a:pt x="4122" y="1724"/>
                        </a:lnTo>
                        <a:lnTo>
                          <a:pt x="4144" y="1714"/>
                        </a:lnTo>
                        <a:lnTo>
                          <a:pt x="4144" y="1714"/>
                        </a:lnTo>
                        <a:lnTo>
                          <a:pt x="4152" y="1708"/>
                        </a:lnTo>
                        <a:lnTo>
                          <a:pt x="4156" y="1708"/>
                        </a:lnTo>
                        <a:lnTo>
                          <a:pt x="4156" y="1708"/>
                        </a:lnTo>
                        <a:lnTo>
                          <a:pt x="4158" y="1712"/>
                        </a:lnTo>
                        <a:lnTo>
                          <a:pt x="4160" y="1714"/>
                        </a:lnTo>
                        <a:lnTo>
                          <a:pt x="4164" y="1718"/>
                        </a:lnTo>
                        <a:lnTo>
                          <a:pt x="4172" y="1718"/>
                        </a:lnTo>
                        <a:lnTo>
                          <a:pt x="4188" y="1716"/>
                        </a:lnTo>
                        <a:lnTo>
                          <a:pt x="4188" y="1716"/>
                        </a:lnTo>
                        <a:lnTo>
                          <a:pt x="4202" y="1716"/>
                        </a:lnTo>
                        <a:lnTo>
                          <a:pt x="4194" y="1720"/>
                        </a:lnTo>
                        <a:lnTo>
                          <a:pt x="4172" y="1728"/>
                        </a:lnTo>
                        <a:lnTo>
                          <a:pt x="4148" y="1740"/>
                        </a:lnTo>
                        <a:lnTo>
                          <a:pt x="4148" y="1740"/>
                        </a:lnTo>
                        <a:lnTo>
                          <a:pt x="4136" y="1746"/>
                        </a:lnTo>
                        <a:lnTo>
                          <a:pt x="4126" y="1754"/>
                        </a:lnTo>
                        <a:lnTo>
                          <a:pt x="4118" y="1762"/>
                        </a:lnTo>
                        <a:lnTo>
                          <a:pt x="4110" y="1770"/>
                        </a:lnTo>
                        <a:lnTo>
                          <a:pt x="4106" y="1780"/>
                        </a:lnTo>
                        <a:lnTo>
                          <a:pt x="4104" y="1790"/>
                        </a:lnTo>
                        <a:lnTo>
                          <a:pt x="4106" y="1802"/>
                        </a:lnTo>
                        <a:lnTo>
                          <a:pt x="4110" y="1812"/>
                        </a:lnTo>
                        <a:lnTo>
                          <a:pt x="4110" y="1812"/>
                        </a:lnTo>
                        <a:lnTo>
                          <a:pt x="4116" y="1822"/>
                        </a:lnTo>
                        <a:lnTo>
                          <a:pt x="4124" y="1826"/>
                        </a:lnTo>
                        <a:lnTo>
                          <a:pt x="4130" y="1828"/>
                        </a:lnTo>
                        <a:lnTo>
                          <a:pt x="4138" y="1824"/>
                        </a:lnTo>
                        <a:lnTo>
                          <a:pt x="4146" y="1818"/>
                        </a:lnTo>
                        <a:lnTo>
                          <a:pt x="4154" y="1810"/>
                        </a:lnTo>
                        <a:lnTo>
                          <a:pt x="4174" y="1786"/>
                        </a:lnTo>
                        <a:lnTo>
                          <a:pt x="4174" y="1786"/>
                        </a:lnTo>
                        <a:lnTo>
                          <a:pt x="4182" y="1776"/>
                        </a:lnTo>
                        <a:lnTo>
                          <a:pt x="4190" y="1770"/>
                        </a:lnTo>
                        <a:lnTo>
                          <a:pt x="4196" y="1768"/>
                        </a:lnTo>
                        <a:lnTo>
                          <a:pt x="4202" y="1768"/>
                        </a:lnTo>
                        <a:lnTo>
                          <a:pt x="4208" y="1768"/>
                        </a:lnTo>
                        <a:lnTo>
                          <a:pt x="4216" y="1766"/>
                        </a:lnTo>
                        <a:lnTo>
                          <a:pt x="4224" y="1764"/>
                        </a:lnTo>
                        <a:lnTo>
                          <a:pt x="4238" y="1756"/>
                        </a:lnTo>
                        <a:lnTo>
                          <a:pt x="4238" y="1756"/>
                        </a:lnTo>
                        <a:lnTo>
                          <a:pt x="4252" y="1748"/>
                        </a:lnTo>
                        <a:lnTo>
                          <a:pt x="4266" y="1742"/>
                        </a:lnTo>
                        <a:lnTo>
                          <a:pt x="4290" y="1734"/>
                        </a:lnTo>
                        <a:lnTo>
                          <a:pt x="4300" y="1730"/>
                        </a:lnTo>
                        <a:lnTo>
                          <a:pt x="4306" y="1728"/>
                        </a:lnTo>
                        <a:lnTo>
                          <a:pt x="4308" y="1724"/>
                        </a:lnTo>
                        <a:lnTo>
                          <a:pt x="4304" y="1720"/>
                        </a:lnTo>
                        <a:lnTo>
                          <a:pt x="4304" y="1720"/>
                        </a:lnTo>
                        <a:lnTo>
                          <a:pt x="4284" y="1700"/>
                        </a:lnTo>
                        <a:lnTo>
                          <a:pt x="4280" y="1698"/>
                        </a:lnTo>
                        <a:lnTo>
                          <a:pt x="4276" y="1696"/>
                        </a:lnTo>
                        <a:lnTo>
                          <a:pt x="4270" y="1696"/>
                        </a:lnTo>
                        <a:lnTo>
                          <a:pt x="4264" y="1698"/>
                        </a:lnTo>
                        <a:lnTo>
                          <a:pt x="4264" y="1698"/>
                        </a:lnTo>
                        <a:lnTo>
                          <a:pt x="4258" y="1700"/>
                        </a:lnTo>
                        <a:lnTo>
                          <a:pt x="4246" y="1700"/>
                        </a:lnTo>
                        <a:lnTo>
                          <a:pt x="4236" y="1700"/>
                        </a:lnTo>
                        <a:lnTo>
                          <a:pt x="4224" y="1696"/>
                        </a:lnTo>
                        <a:lnTo>
                          <a:pt x="4212" y="1694"/>
                        </a:lnTo>
                        <a:lnTo>
                          <a:pt x="4204" y="1690"/>
                        </a:lnTo>
                        <a:lnTo>
                          <a:pt x="4198" y="1684"/>
                        </a:lnTo>
                        <a:lnTo>
                          <a:pt x="4196" y="1682"/>
                        </a:lnTo>
                        <a:lnTo>
                          <a:pt x="4196" y="1680"/>
                        </a:lnTo>
                        <a:lnTo>
                          <a:pt x="4196" y="1680"/>
                        </a:lnTo>
                        <a:lnTo>
                          <a:pt x="4196" y="1676"/>
                        </a:lnTo>
                        <a:lnTo>
                          <a:pt x="4194" y="1674"/>
                        </a:lnTo>
                        <a:lnTo>
                          <a:pt x="4186" y="1672"/>
                        </a:lnTo>
                        <a:lnTo>
                          <a:pt x="4178" y="1668"/>
                        </a:lnTo>
                        <a:lnTo>
                          <a:pt x="4172" y="1664"/>
                        </a:lnTo>
                        <a:lnTo>
                          <a:pt x="4166" y="1654"/>
                        </a:lnTo>
                        <a:lnTo>
                          <a:pt x="4160" y="1640"/>
                        </a:lnTo>
                        <a:lnTo>
                          <a:pt x="4160" y="1640"/>
                        </a:lnTo>
                        <a:lnTo>
                          <a:pt x="4156" y="1624"/>
                        </a:lnTo>
                        <a:lnTo>
                          <a:pt x="4156" y="1610"/>
                        </a:lnTo>
                        <a:lnTo>
                          <a:pt x="4158" y="1598"/>
                        </a:lnTo>
                        <a:lnTo>
                          <a:pt x="4160" y="1588"/>
                        </a:lnTo>
                        <a:lnTo>
                          <a:pt x="4162" y="1580"/>
                        </a:lnTo>
                        <a:lnTo>
                          <a:pt x="4162" y="1576"/>
                        </a:lnTo>
                        <a:lnTo>
                          <a:pt x="4158" y="1574"/>
                        </a:lnTo>
                        <a:lnTo>
                          <a:pt x="4148" y="1576"/>
                        </a:lnTo>
                        <a:lnTo>
                          <a:pt x="4148" y="1576"/>
                        </a:lnTo>
                        <a:lnTo>
                          <a:pt x="4134" y="1578"/>
                        </a:lnTo>
                        <a:lnTo>
                          <a:pt x="4126" y="1580"/>
                        </a:lnTo>
                        <a:lnTo>
                          <a:pt x="4124" y="1578"/>
                        </a:lnTo>
                        <a:lnTo>
                          <a:pt x="4126" y="1574"/>
                        </a:lnTo>
                        <a:lnTo>
                          <a:pt x="4140" y="1564"/>
                        </a:lnTo>
                        <a:lnTo>
                          <a:pt x="4164" y="1550"/>
                        </a:lnTo>
                        <a:lnTo>
                          <a:pt x="4164" y="1550"/>
                        </a:lnTo>
                        <a:lnTo>
                          <a:pt x="4178" y="1538"/>
                        </a:lnTo>
                        <a:lnTo>
                          <a:pt x="4182" y="1532"/>
                        </a:lnTo>
                        <a:lnTo>
                          <a:pt x="4184" y="1528"/>
                        </a:lnTo>
                        <a:lnTo>
                          <a:pt x="4184" y="1522"/>
                        </a:lnTo>
                        <a:lnTo>
                          <a:pt x="4180" y="1516"/>
                        </a:lnTo>
                        <a:lnTo>
                          <a:pt x="4174" y="1508"/>
                        </a:lnTo>
                        <a:lnTo>
                          <a:pt x="4166" y="1502"/>
                        </a:lnTo>
                        <a:lnTo>
                          <a:pt x="4166" y="1502"/>
                        </a:lnTo>
                        <a:lnTo>
                          <a:pt x="4160" y="1498"/>
                        </a:lnTo>
                        <a:lnTo>
                          <a:pt x="4150" y="1496"/>
                        </a:lnTo>
                        <a:lnTo>
                          <a:pt x="4140" y="1496"/>
                        </a:lnTo>
                        <a:lnTo>
                          <a:pt x="4130" y="1496"/>
                        </a:lnTo>
                        <a:lnTo>
                          <a:pt x="4102" y="1500"/>
                        </a:lnTo>
                        <a:lnTo>
                          <a:pt x="4074" y="1508"/>
                        </a:lnTo>
                        <a:lnTo>
                          <a:pt x="4044" y="1518"/>
                        </a:lnTo>
                        <a:lnTo>
                          <a:pt x="4018" y="1532"/>
                        </a:lnTo>
                        <a:lnTo>
                          <a:pt x="3996" y="1546"/>
                        </a:lnTo>
                        <a:lnTo>
                          <a:pt x="3988" y="1554"/>
                        </a:lnTo>
                        <a:lnTo>
                          <a:pt x="3982" y="1560"/>
                        </a:lnTo>
                        <a:lnTo>
                          <a:pt x="3982" y="1560"/>
                        </a:lnTo>
                        <a:lnTo>
                          <a:pt x="3964" y="1584"/>
                        </a:lnTo>
                        <a:lnTo>
                          <a:pt x="3948" y="1602"/>
                        </a:lnTo>
                        <a:lnTo>
                          <a:pt x="3934" y="1616"/>
                        </a:lnTo>
                        <a:lnTo>
                          <a:pt x="3922" y="1626"/>
                        </a:lnTo>
                        <a:lnTo>
                          <a:pt x="3914" y="1634"/>
                        </a:lnTo>
                        <a:lnTo>
                          <a:pt x="3908" y="1636"/>
                        </a:lnTo>
                        <a:lnTo>
                          <a:pt x="3908" y="1636"/>
                        </a:lnTo>
                        <a:lnTo>
                          <a:pt x="3908" y="1634"/>
                        </a:lnTo>
                        <a:lnTo>
                          <a:pt x="3914" y="1628"/>
                        </a:lnTo>
                        <a:lnTo>
                          <a:pt x="3914" y="1628"/>
                        </a:lnTo>
                        <a:lnTo>
                          <a:pt x="3924" y="1616"/>
                        </a:lnTo>
                        <a:lnTo>
                          <a:pt x="3936" y="1600"/>
                        </a:lnTo>
                        <a:lnTo>
                          <a:pt x="3964" y="1560"/>
                        </a:lnTo>
                        <a:lnTo>
                          <a:pt x="3978" y="1542"/>
                        </a:lnTo>
                        <a:lnTo>
                          <a:pt x="3994" y="1524"/>
                        </a:lnTo>
                        <a:lnTo>
                          <a:pt x="4010" y="1510"/>
                        </a:lnTo>
                        <a:lnTo>
                          <a:pt x="4020" y="1504"/>
                        </a:lnTo>
                        <a:lnTo>
                          <a:pt x="4030" y="1500"/>
                        </a:lnTo>
                        <a:lnTo>
                          <a:pt x="4030" y="1500"/>
                        </a:lnTo>
                        <a:lnTo>
                          <a:pt x="4040" y="1496"/>
                        </a:lnTo>
                        <a:lnTo>
                          <a:pt x="4050" y="1490"/>
                        </a:lnTo>
                        <a:lnTo>
                          <a:pt x="4056" y="1486"/>
                        </a:lnTo>
                        <a:lnTo>
                          <a:pt x="4060" y="1482"/>
                        </a:lnTo>
                        <a:lnTo>
                          <a:pt x="4066" y="1472"/>
                        </a:lnTo>
                        <a:lnTo>
                          <a:pt x="4068" y="1464"/>
                        </a:lnTo>
                        <a:lnTo>
                          <a:pt x="4072" y="1456"/>
                        </a:lnTo>
                        <a:lnTo>
                          <a:pt x="4076" y="1452"/>
                        </a:lnTo>
                        <a:lnTo>
                          <a:pt x="4082" y="1448"/>
                        </a:lnTo>
                        <a:lnTo>
                          <a:pt x="4090" y="1444"/>
                        </a:lnTo>
                        <a:lnTo>
                          <a:pt x="4102" y="1440"/>
                        </a:lnTo>
                        <a:lnTo>
                          <a:pt x="4136" y="1432"/>
                        </a:lnTo>
                        <a:lnTo>
                          <a:pt x="4136" y="1432"/>
                        </a:lnTo>
                        <a:lnTo>
                          <a:pt x="4160" y="1430"/>
                        </a:lnTo>
                        <a:lnTo>
                          <a:pt x="4182" y="1428"/>
                        </a:lnTo>
                        <a:lnTo>
                          <a:pt x="4202" y="1430"/>
                        </a:lnTo>
                        <a:lnTo>
                          <a:pt x="4220" y="1432"/>
                        </a:lnTo>
                        <a:lnTo>
                          <a:pt x="4252" y="1436"/>
                        </a:lnTo>
                        <a:lnTo>
                          <a:pt x="4278" y="1442"/>
                        </a:lnTo>
                        <a:lnTo>
                          <a:pt x="4304" y="1446"/>
                        </a:lnTo>
                        <a:lnTo>
                          <a:pt x="4316" y="1444"/>
                        </a:lnTo>
                        <a:lnTo>
                          <a:pt x="4330" y="1442"/>
                        </a:lnTo>
                        <a:lnTo>
                          <a:pt x="4342" y="1438"/>
                        </a:lnTo>
                        <a:lnTo>
                          <a:pt x="4356" y="1430"/>
                        </a:lnTo>
                        <a:lnTo>
                          <a:pt x="4370" y="1420"/>
                        </a:lnTo>
                        <a:lnTo>
                          <a:pt x="4386" y="1406"/>
                        </a:lnTo>
                        <a:lnTo>
                          <a:pt x="4386" y="1406"/>
                        </a:lnTo>
                        <a:lnTo>
                          <a:pt x="4414" y="1382"/>
                        </a:lnTo>
                        <a:lnTo>
                          <a:pt x="4434" y="1368"/>
                        </a:lnTo>
                        <a:lnTo>
                          <a:pt x="4448" y="1362"/>
                        </a:lnTo>
                        <a:lnTo>
                          <a:pt x="4458" y="1362"/>
                        </a:lnTo>
                        <a:lnTo>
                          <a:pt x="4470" y="1366"/>
                        </a:lnTo>
                        <a:lnTo>
                          <a:pt x="4474" y="1366"/>
                        </a:lnTo>
                        <a:lnTo>
                          <a:pt x="4482" y="1358"/>
                        </a:lnTo>
                        <a:lnTo>
                          <a:pt x="4482" y="1358"/>
                        </a:lnTo>
                        <a:lnTo>
                          <a:pt x="4492" y="1348"/>
                        </a:lnTo>
                        <a:lnTo>
                          <a:pt x="4502" y="1342"/>
                        </a:lnTo>
                        <a:lnTo>
                          <a:pt x="4518" y="1330"/>
                        </a:lnTo>
                        <a:lnTo>
                          <a:pt x="4524" y="1324"/>
                        </a:lnTo>
                        <a:lnTo>
                          <a:pt x="4526" y="1316"/>
                        </a:lnTo>
                        <a:lnTo>
                          <a:pt x="4526" y="1308"/>
                        </a:lnTo>
                        <a:lnTo>
                          <a:pt x="4522" y="1296"/>
                        </a:lnTo>
                        <a:lnTo>
                          <a:pt x="4522" y="1296"/>
                        </a:lnTo>
                        <a:lnTo>
                          <a:pt x="4518" y="1284"/>
                        </a:lnTo>
                        <a:lnTo>
                          <a:pt x="4518" y="1278"/>
                        </a:lnTo>
                        <a:lnTo>
                          <a:pt x="4518" y="1274"/>
                        </a:lnTo>
                        <a:lnTo>
                          <a:pt x="4522" y="1270"/>
                        </a:lnTo>
                        <a:lnTo>
                          <a:pt x="4524" y="1268"/>
                        </a:lnTo>
                        <a:lnTo>
                          <a:pt x="4526" y="1264"/>
                        </a:lnTo>
                        <a:lnTo>
                          <a:pt x="4524" y="1258"/>
                        </a:lnTo>
                        <a:lnTo>
                          <a:pt x="4522" y="1248"/>
                        </a:lnTo>
                        <a:lnTo>
                          <a:pt x="4522" y="1248"/>
                        </a:lnTo>
                        <a:lnTo>
                          <a:pt x="4516" y="1238"/>
                        </a:lnTo>
                        <a:lnTo>
                          <a:pt x="4510" y="1234"/>
                        </a:lnTo>
                        <a:lnTo>
                          <a:pt x="4502" y="1232"/>
                        </a:lnTo>
                        <a:lnTo>
                          <a:pt x="4496" y="1230"/>
                        </a:lnTo>
                        <a:lnTo>
                          <a:pt x="4488" y="1230"/>
                        </a:lnTo>
                        <a:lnTo>
                          <a:pt x="4480" y="1228"/>
                        </a:lnTo>
                        <a:lnTo>
                          <a:pt x="4472" y="1222"/>
                        </a:lnTo>
                        <a:lnTo>
                          <a:pt x="4464" y="1214"/>
                        </a:lnTo>
                        <a:lnTo>
                          <a:pt x="4464" y="1214"/>
                        </a:lnTo>
                        <a:lnTo>
                          <a:pt x="4454" y="1204"/>
                        </a:lnTo>
                        <a:lnTo>
                          <a:pt x="4446" y="1198"/>
                        </a:lnTo>
                        <a:lnTo>
                          <a:pt x="4436" y="1198"/>
                        </a:lnTo>
                        <a:lnTo>
                          <a:pt x="4428" y="1200"/>
                        </a:lnTo>
                        <a:lnTo>
                          <a:pt x="4416" y="1204"/>
                        </a:lnTo>
                        <a:lnTo>
                          <a:pt x="4406" y="1212"/>
                        </a:lnTo>
                        <a:lnTo>
                          <a:pt x="4376" y="1234"/>
                        </a:lnTo>
                        <a:lnTo>
                          <a:pt x="4376" y="1234"/>
                        </a:lnTo>
                        <a:lnTo>
                          <a:pt x="4362" y="1242"/>
                        </a:lnTo>
                        <a:lnTo>
                          <a:pt x="4352" y="1246"/>
                        </a:lnTo>
                        <a:lnTo>
                          <a:pt x="4344" y="1246"/>
                        </a:lnTo>
                        <a:lnTo>
                          <a:pt x="4342" y="1242"/>
                        </a:lnTo>
                        <a:lnTo>
                          <a:pt x="4342" y="1238"/>
                        </a:lnTo>
                        <a:lnTo>
                          <a:pt x="4346" y="1230"/>
                        </a:lnTo>
                        <a:lnTo>
                          <a:pt x="4354" y="1226"/>
                        </a:lnTo>
                        <a:lnTo>
                          <a:pt x="4364" y="1220"/>
                        </a:lnTo>
                        <a:lnTo>
                          <a:pt x="4364" y="1220"/>
                        </a:lnTo>
                        <a:lnTo>
                          <a:pt x="4376" y="1218"/>
                        </a:lnTo>
                        <a:lnTo>
                          <a:pt x="4386" y="1214"/>
                        </a:lnTo>
                        <a:lnTo>
                          <a:pt x="4400" y="1204"/>
                        </a:lnTo>
                        <a:lnTo>
                          <a:pt x="4414" y="1196"/>
                        </a:lnTo>
                        <a:lnTo>
                          <a:pt x="4424" y="1192"/>
                        </a:lnTo>
                        <a:lnTo>
                          <a:pt x="4438" y="1190"/>
                        </a:lnTo>
                        <a:lnTo>
                          <a:pt x="4438" y="1190"/>
                        </a:lnTo>
                        <a:lnTo>
                          <a:pt x="4450" y="1186"/>
                        </a:lnTo>
                        <a:lnTo>
                          <a:pt x="4456" y="1184"/>
                        </a:lnTo>
                        <a:lnTo>
                          <a:pt x="4458" y="1178"/>
                        </a:lnTo>
                        <a:lnTo>
                          <a:pt x="4456" y="1174"/>
                        </a:lnTo>
                        <a:lnTo>
                          <a:pt x="4450" y="1170"/>
                        </a:lnTo>
                        <a:lnTo>
                          <a:pt x="4442" y="1166"/>
                        </a:lnTo>
                        <a:lnTo>
                          <a:pt x="4432" y="1162"/>
                        </a:lnTo>
                        <a:lnTo>
                          <a:pt x="4418" y="1160"/>
                        </a:lnTo>
                        <a:lnTo>
                          <a:pt x="4418" y="1160"/>
                        </a:lnTo>
                        <a:lnTo>
                          <a:pt x="4406" y="1158"/>
                        </a:lnTo>
                        <a:lnTo>
                          <a:pt x="4400" y="1154"/>
                        </a:lnTo>
                        <a:lnTo>
                          <a:pt x="4396" y="1150"/>
                        </a:lnTo>
                        <a:lnTo>
                          <a:pt x="4394" y="1146"/>
                        </a:lnTo>
                        <a:lnTo>
                          <a:pt x="4392" y="1142"/>
                        </a:lnTo>
                        <a:lnTo>
                          <a:pt x="4388" y="1138"/>
                        </a:lnTo>
                        <a:lnTo>
                          <a:pt x="4378" y="1136"/>
                        </a:lnTo>
                        <a:lnTo>
                          <a:pt x="4364" y="1132"/>
                        </a:lnTo>
                        <a:lnTo>
                          <a:pt x="4364" y="1132"/>
                        </a:lnTo>
                        <a:lnTo>
                          <a:pt x="4350" y="1130"/>
                        </a:lnTo>
                        <a:lnTo>
                          <a:pt x="4342" y="1126"/>
                        </a:lnTo>
                        <a:lnTo>
                          <a:pt x="4340" y="1122"/>
                        </a:lnTo>
                        <a:lnTo>
                          <a:pt x="4338" y="1116"/>
                        </a:lnTo>
                        <a:lnTo>
                          <a:pt x="4340" y="1112"/>
                        </a:lnTo>
                        <a:lnTo>
                          <a:pt x="4338" y="1106"/>
                        </a:lnTo>
                        <a:lnTo>
                          <a:pt x="4334" y="1102"/>
                        </a:lnTo>
                        <a:lnTo>
                          <a:pt x="4324" y="1096"/>
                        </a:lnTo>
                        <a:lnTo>
                          <a:pt x="4324" y="1096"/>
                        </a:lnTo>
                        <a:lnTo>
                          <a:pt x="4314" y="1090"/>
                        </a:lnTo>
                        <a:lnTo>
                          <a:pt x="4304" y="1084"/>
                        </a:lnTo>
                        <a:lnTo>
                          <a:pt x="4296" y="1078"/>
                        </a:lnTo>
                        <a:lnTo>
                          <a:pt x="4290" y="1070"/>
                        </a:lnTo>
                        <a:lnTo>
                          <a:pt x="4286" y="1062"/>
                        </a:lnTo>
                        <a:lnTo>
                          <a:pt x="4286" y="1052"/>
                        </a:lnTo>
                        <a:lnTo>
                          <a:pt x="4288" y="1042"/>
                        </a:lnTo>
                        <a:lnTo>
                          <a:pt x="4294" y="1030"/>
                        </a:lnTo>
                        <a:lnTo>
                          <a:pt x="4294" y="1030"/>
                        </a:lnTo>
                        <a:lnTo>
                          <a:pt x="4298" y="1024"/>
                        </a:lnTo>
                        <a:lnTo>
                          <a:pt x="4298" y="1020"/>
                        </a:lnTo>
                        <a:lnTo>
                          <a:pt x="4298" y="1016"/>
                        </a:lnTo>
                        <a:lnTo>
                          <a:pt x="4296" y="1012"/>
                        </a:lnTo>
                        <a:lnTo>
                          <a:pt x="4290" y="1008"/>
                        </a:lnTo>
                        <a:lnTo>
                          <a:pt x="4282" y="1004"/>
                        </a:lnTo>
                        <a:lnTo>
                          <a:pt x="4274" y="1002"/>
                        </a:lnTo>
                        <a:lnTo>
                          <a:pt x="4268" y="998"/>
                        </a:lnTo>
                        <a:lnTo>
                          <a:pt x="4266" y="996"/>
                        </a:lnTo>
                        <a:lnTo>
                          <a:pt x="4266" y="994"/>
                        </a:lnTo>
                        <a:lnTo>
                          <a:pt x="4266" y="990"/>
                        </a:lnTo>
                        <a:lnTo>
                          <a:pt x="4270" y="986"/>
                        </a:lnTo>
                        <a:lnTo>
                          <a:pt x="4270" y="986"/>
                        </a:lnTo>
                        <a:lnTo>
                          <a:pt x="4274" y="978"/>
                        </a:lnTo>
                        <a:lnTo>
                          <a:pt x="4274" y="970"/>
                        </a:lnTo>
                        <a:lnTo>
                          <a:pt x="4270" y="966"/>
                        </a:lnTo>
                        <a:lnTo>
                          <a:pt x="4264" y="960"/>
                        </a:lnTo>
                        <a:lnTo>
                          <a:pt x="4258" y="954"/>
                        </a:lnTo>
                        <a:lnTo>
                          <a:pt x="4252" y="948"/>
                        </a:lnTo>
                        <a:lnTo>
                          <a:pt x="4246" y="940"/>
                        </a:lnTo>
                        <a:lnTo>
                          <a:pt x="4244" y="928"/>
                        </a:lnTo>
                        <a:lnTo>
                          <a:pt x="4244" y="928"/>
                        </a:lnTo>
                        <a:lnTo>
                          <a:pt x="4240" y="912"/>
                        </a:lnTo>
                        <a:lnTo>
                          <a:pt x="4238" y="908"/>
                        </a:lnTo>
                        <a:lnTo>
                          <a:pt x="4236" y="906"/>
                        </a:lnTo>
                        <a:lnTo>
                          <a:pt x="4230" y="902"/>
                        </a:lnTo>
                        <a:lnTo>
                          <a:pt x="4228" y="898"/>
                        </a:lnTo>
                        <a:lnTo>
                          <a:pt x="4226" y="890"/>
                        </a:lnTo>
                        <a:lnTo>
                          <a:pt x="4226" y="890"/>
                        </a:lnTo>
                        <a:lnTo>
                          <a:pt x="4222" y="882"/>
                        </a:lnTo>
                        <a:lnTo>
                          <a:pt x="4218" y="878"/>
                        </a:lnTo>
                        <a:lnTo>
                          <a:pt x="4210" y="872"/>
                        </a:lnTo>
                        <a:lnTo>
                          <a:pt x="4206" y="868"/>
                        </a:lnTo>
                        <a:lnTo>
                          <a:pt x="4200" y="862"/>
                        </a:lnTo>
                        <a:lnTo>
                          <a:pt x="4194" y="852"/>
                        </a:lnTo>
                        <a:lnTo>
                          <a:pt x="4186" y="838"/>
                        </a:lnTo>
                        <a:lnTo>
                          <a:pt x="4186" y="838"/>
                        </a:lnTo>
                        <a:lnTo>
                          <a:pt x="4180" y="824"/>
                        </a:lnTo>
                        <a:lnTo>
                          <a:pt x="4174" y="816"/>
                        </a:lnTo>
                        <a:lnTo>
                          <a:pt x="4168" y="812"/>
                        </a:lnTo>
                        <a:lnTo>
                          <a:pt x="4164" y="812"/>
                        </a:lnTo>
                        <a:lnTo>
                          <a:pt x="4158" y="814"/>
                        </a:lnTo>
                        <a:lnTo>
                          <a:pt x="4154" y="820"/>
                        </a:lnTo>
                        <a:lnTo>
                          <a:pt x="4140" y="836"/>
                        </a:lnTo>
                        <a:lnTo>
                          <a:pt x="4140" y="836"/>
                        </a:lnTo>
                        <a:lnTo>
                          <a:pt x="4132" y="848"/>
                        </a:lnTo>
                        <a:lnTo>
                          <a:pt x="4128" y="860"/>
                        </a:lnTo>
                        <a:lnTo>
                          <a:pt x="4124" y="884"/>
                        </a:lnTo>
                        <a:lnTo>
                          <a:pt x="4120" y="896"/>
                        </a:lnTo>
                        <a:lnTo>
                          <a:pt x="4116" y="904"/>
                        </a:lnTo>
                        <a:lnTo>
                          <a:pt x="4114" y="906"/>
                        </a:lnTo>
                        <a:lnTo>
                          <a:pt x="4110" y="908"/>
                        </a:lnTo>
                        <a:lnTo>
                          <a:pt x="4106" y="908"/>
                        </a:lnTo>
                        <a:lnTo>
                          <a:pt x="4100" y="906"/>
                        </a:lnTo>
                        <a:lnTo>
                          <a:pt x="4100" y="906"/>
                        </a:lnTo>
                        <a:lnTo>
                          <a:pt x="4090" y="904"/>
                        </a:lnTo>
                        <a:lnTo>
                          <a:pt x="4086" y="906"/>
                        </a:lnTo>
                        <a:lnTo>
                          <a:pt x="4084" y="908"/>
                        </a:lnTo>
                        <a:lnTo>
                          <a:pt x="4084" y="912"/>
                        </a:lnTo>
                        <a:lnTo>
                          <a:pt x="4082" y="916"/>
                        </a:lnTo>
                        <a:lnTo>
                          <a:pt x="4080" y="922"/>
                        </a:lnTo>
                        <a:lnTo>
                          <a:pt x="4074" y="928"/>
                        </a:lnTo>
                        <a:lnTo>
                          <a:pt x="4060" y="934"/>
                        </a:lnTo>
                        <a:lnTo>
                          <a:pt x="4060" y="934"/>
                        </a:lnTo>
                        <a:lnTo>
                          <a:pt x="4048" y="936"/>
                        </a:lnTo>
                        <a:lnTo>
                          <a:pt x="4038" y="934"/>
                        </a:lnTo>
                        <a:lnTo>
                          <a:pt x="4030" y="930"/>
                        </a:lnTo>
                        <a:lnTo>
                          <a:pt x="4024" y="922"/>
                        </a:lnTo>
                        <a:lnTo>
                          <a:pt x="4018" y="914"/>
                        </a:lnTo>
                        <a:lnTo>
                          <a:pt x="4010" y="908"/>
                        </a:lnTo>
                        <a:lnTo>
                          <a:pt x="4002" y="902"/>
                        </a:lnTo>
                        <a:lnTo>
                          <a:pt x="3988" y="900"/>
                        </a:lnTo>
                        <a:lnTo>
                          <a:pt x="3988" y="900"/>
                        </a:lnTo>
                        <a:lnTo>
                          <a:pt x="3976" y="900"/>
                        </a:lnTo>
                        <a:lnTo>
                          <a:pt x="3972" y="900"/>
                        </a:lnTo>
                        <a:lnTo>
                          <a:pt x="3970" y="896"/>
                        </a:lnTo>
                        <a:lnTo>
                          <a:pt x="3972" y="892"/>
                        </a:lnTo>
                        <a:lnTo>
                          <a:pt x="3974" y="888"/>
                        </a:lnTo>
                        <a:lnTo>
                          <a:pt x="3976" y="884"/>
                        </a:lnTo>
                        <a:lnTo>
                          <a:pt x="3974" y="880"/>
                        </a:lnTo>
                        <a:lnTo>
                          <a:pt x="3968" y="874"/>
                        </a:lnTo>
                        <a:lnTo>
                          <a:pt x="3968" y="874"/>
                        </a:lnTo>
                        <a:lnTo>
                          <a:pt x="3962" y="870"/>
                        </a:lnTo>
                        <a:lnTo>
                          <a:pt x="3960" y="866"/>
                        </a:lnTo>
                        <a:lnTo>
                          <a:pt x="3962" y="864"/>
                        </a:lnTo>
                        <a:lnTo>
                          <a:pt x="3964" y="860"/>
                        </a:lnTo>
                        <a:lnTo>
                          <a:pt x="3966" y="856"/>
                        </a:lnTo>
                        <a:lnTo>
                          <a:pt x="3968" y="850"/>
                        </a:lnTo>
                        <a:lnTo>
                          <a:pt x="3968" y="844"/>
                        </a:lnTo>
                        <a:lnTo>
                          <a:pt x="3964" y="836"/>
                        </a:lnTo>
                        <a:lnTo>
                          <a:pt x="3964" y="836"/>
                        </a:lnTo>
                        <a:lnTo>
                          <a:pt x="3960" y="824"/>
                        </a:lnTo>
                        <a:lnTo>
                          <a:pt x="3958" y="814"/>
                        </a:lnTo>
                        <a:lnTo>
                          <a:pt x="3962" y="802"/>
                        </a:lnTo>
                        <a:lnTo>
                          <a:pt x="3966" y="794"/>
                        </a:lnTo>
                        <a:lnTo>
                          <a:pt x="3974" y="776"/>
                        </a:lnTo>
                        <a:lnTo>
                          <a:pt x="3974" y="770"/>
                        </a:lnTo>
                        <a:lnTo>
                          <a:pt x="3972" y="764"/>
                        </a:lnTo>
                        <a:lnTo>
                          <a:pt x="3972" y="764"/>
                        </a:lnTo>
                        <a:lnTo>
                          <a:pt x="3968" y="758"/>
                        </a:lnTo>
                        <a:lnTo>
                          <a:pt x="3964" y="758"/>
                        </a:lnTo>
                        <a:lnTo>
                          <a:pt x="3960" y="760"/>
                        </a:lnTo>
                        <a:lnTo>
                          <a:pt x="3958" y="764"/>
                        </a:lnTo>
                        <a:lnTo>
                          <a:pt x="3954" y="770"/>
                        </a:lnTo>
                        <a:lnTo>
                          <a:pt x="3952" y="772"/>
                        </a:lnTo>
                        <a:lnTo>
                          <a:pt x="3950" y="770"/>
                        </a:lnTo>
                        <a:lnTo>
                          <a:pt x="3950" y="770"/>
                        </a:lnTo>
                        <a:lnTo>
                          <a:pt x="3944" y="766"/>
                        </a:lnTo>
                        <a:lnTo>
                          <a:pt x="3936" y="762"/>
                        </a:lnTo>
                        <a:lnTo>
                          <a:pt x="3914" y="756"/>
                        </a:lnTo>
                        <a:lnTo>
                          <a:pt x="3902" y="752"/>
                        </a:lnTo>
                        <a:lnTo>
                          <a:pt x="3894" y="748"/>
                        </a:lnTo>
                        <a:lnTo>
                          <a:pt x="3888" y="742"/>
                        </a:lnTo>
                        <a:lnTo>
                          <a:pt x="3886" y="740"/>
                        </a:lnTo>
                        <a:lnTo>
                          <a:pt x="3886" y="736"/>
                        </a:lnTo>
                        <a:lnTo>
                          <a:pt x="3886" y="736"/>
                        </a:lnTo>
                        <a:lnTo>
                          <a:pt x="3886" y="728"/>
                        </a:lnTo>
                        <a:lnTo>
                          <a:pt x="3882" y="722"/>
                        </a:lnTo>
                        <a:lnTo>
                          <a:pt x="3878" y="716"/>
                        </a:lnTo>
                        <a:lnTo>
                          <a:pt x="3870" y="710"/>
                        </a:lnTo>
                        <a:lnTo>
                          <a:pt x="3826" y="680"/>
                        </a:lnTo>
                        <a:lnTo>
                          <a:pt x="3826" y="680"/>
                        </a:lnTo>
                        <a:lnTo>
                          <a:pt x="3806" y="668"/>
                        </a:lnTo>
                        <a:lnTo>
                          <a:pt x="3800" y="668"/>
                        </a:lnTo>
                        <a:lnTo>
                          <a:pt x="3796" y="666"/>
                        </a:lnTo>
                        <a:lnTo>
                          <a:pt x="3790" y="668"/>
                        </a:lnTo>
                        <a:lnTo>
                          <a:pt x="3788" y="670"/>
                        </a:lnTo>
                        <a:lnTo>
                          <a:pt x="3780" y="678"/>
                        </a:lnTo>
                        <a:lnTo>
                          <a:pt x="3774" y="680"/>
                        </a:lnTo>
                        <a:lnTo>
                          <a:pt x="3768" y="684"/>
                        </a:lnTo>
                        <a:lnTo>
                          <a:pt x="3760" y="684"/>
                        </a:lnTo>
                        <a:lnTo>
                          <a:pt x="3750" y="686"/>
                        </a:lnTo>
                        <a:lnTo>
                          <a:pt x="3736" y="684"/>
                        </a:lnTo>
                        <a:lnTo>
                          <a:pt x="3720" y="680"/>
                        </a:lnTo>
                        <a:lnTo>
                          <a:pt x="3700" y="674"/>
                        </a:lnTo>
                        <a:lnTo>
                          <a:pt x="3676" y="664"/>
                        </a:lnTo>
                        <a:lnTo>
                          <a:pt x="3676" y="664"/>
                        </a:lnTo>
                        <a:lnTo>
                          <a:pt x="3666" y="662"/>
                        </a:lnTo>
                        <a:lnTo>
                          <a:pt x="3656" y="660"/>
                        </a:lnTo>
                        <a:lnTo>
                          <a:pt x="3648" y="660"/>
                        </a:lnTo>
                        <a:lnTo>
                          <a:pt x="3642" y="662"/>
                        </a:lnTo>
                        <a:lnTo>
                          <a:pt x="3636" y="664"/>
                        </a:lnTo>
                        <a:lnTo>
                          <a:pt x="3632" y="668"/>
                        </a:lnTo>
                        <a:lnTo>
                          <a:pt x="3626" y="678"/>
                        </a:lnTo>
                        <a:lnTo>
                          <a:pt x="3622" y="690"/>
                        </a:lnTo>
                        <a:lnTo>
                          <a:pt x="3622" y="702"/>
                        </a:lnTo>
                        <a:lnTo>
                          <a:pt x="3626" y="712"/>
                        </a:lnTo>
                        <a:lnTo>
                          <a:pt x="3630" y="720"/>
                        </a:lnTo>
                        <a:lnTo>
                          <a:pt x="3630" y="720"/>
                        </a:lnTo>
                        <a:lnTo>
                          <a:pt x="3634" y="726"/>
                        </a:lnTo>
                        <a:lnTo>
                          <a:pt x="3636" y="732"/>
                        </a:lnTo>
                        <a:lnTo>
                          <a:pt x="3638" y="738"/>
                        </a:lnTo>
                        <a:lnTo>
                          <a:pt x="3638" y="746"/>
                        </a:lnTo>
                        <a:lnTo>
                          <a:pt x="3634" y="760"/>
                        </a:lnTo>
                        <a:lnTo>
                          <a:pt x="3626" y="772"/>
                        </a:lnTo>
                        <a:lnTo>
                          <a:pt x="3626" y="772"/>
                        </a:lnTo>
                        <a:lnTo>
                          <a:pt x="3622" y="776"/>
                        </a:lnTo>
                        <a:lnTo>
                          <a:pt x="3622" y="780"/>
                        </a:lnTo>
                        <a:lnTo>
                          <a:pt x="3624" y="782"/>
                        </a:lnTo>
                        <a:lnTo>
                          <a:pt x="3626" y="786"/>
                        </a:lnTo>
                        <a:lnTo>
                          <a:pt x="3634" y="794"/>
                        </a:lnTo>
                        <a:lnTo>
                          <a:pt x="3640" y="802"/>
                        </a:lnTo>
                        <a:lnTo>
                          <a:pt x="3644" y="814"/>
                        </a:lnTo>
                        <a:lnTo>
                          <a:pt x="3644" y="814"/>
                        </a:lnTo>
                        <a:lnTo>
                          <a:pt x="3648" y="824"/>
                        </a:lnTo>
                        <a:lnTo>
                          <a:pt x="3650" y="832"/>
                        </a:lnTo>
                        <a:lnTo>
                          <a:pt x="3650" y="840"/>
                        </a:lnTo>
                        <a:lnTo>
                          <a:pt x="3648" y="844"/>
                        </a:lnTo>
                        <a:lnTo>
                          <a:pt x="3642" y="854"/>
                        </a:lnTo>
                        <a:lnTo>
                          <a:pt x="3636" y="870"/>
                        </a:lnTo>
                        <a:lnTo>
                          <a:pt x="3636" y="870"/>
                        </a:lnTo>
                        <a:lnTo>
                          <a:pt x="3634" y="878"/>
                        </a:lnTo>
                        <a:lnTo>
                          <a:pt x="3630" y="882"/>
                        </a:lnTo>
                        <a:lnTo>
                          <a:pt x="3620" y="888"/>
                        </a:lnTo>
                        <a:lnTo>
                          <a:pt x="3616" y="890"/>
                        </a:lnTo>
                        <a:lnTo>
                          <a:pt x="3612" y="894"/>
                        </a:lnTo>
                        <a:lnTo>
                          <a:pt x="3610" y="900"/>
                        </a:lnTo>
                        <a:lnTo>
                          <a:pt x="3606" y="910"/>
                        </a:lnTo>
                        <a:lnTo>
                          <a:pt x="3606" y="910"/>
                        </a:lnTo>
                        <a:lnTo>
                          <a:pt x="3606" y="916"/>
                        </a:lnTo>
                        <a:lnTo>
                          <a:pt x="3608" y="920"/>
                        </a:lnTo>
                        <a:lnTo>
                          <a:pt x="3614" y="926"/>
                        </a:lnTo>
                        <a:lnTo>
                          <a:pt x="3622" y="932"/>
                        </a:lnTo>
                        <a:lnTo>
                          <a:pt x="3634" y="940"/>
                        </a:lnTo>
                        <a:lnTo>
                          <a:pt x="3648" y="950"/>
                        </a:lnTo>
                        <a:lnTo>
                          <a:pt x="3660" y="964"/>
                        </a:lnTo>
                        <a:lnTo>
                          <a:pt x="3666" y="972"/>
                        </a:lnTo>
                        <a:lnTo>
                          <a:pt x="3672" y="984"/>
                        </a:lnTo>
                        <a:lnTo>
                          <a:pt x="3678" y="996"/>
                        </a:lnTo>
                        <a:lnTo>
                          <a:pt x="3684" y="1010"/>
                        </a:lnTo>
                        <a:lnTo>
                          <a:pt x="3684" y="1010"/>
                        </a:lnTo>
                        <a:lnTo>
                          <a:pt x="3686" y="1026"/>
                        </a:lnTo>
                        <a:lnTo>
                          <a:pt x="3688" y="1040"/>
                        </a:lnTo>
                        <a:lnTo>
                          <a:pt x="3688" y="1052"/>
                        </a:lnTo>
                        <a:lnTo>
                          <a:pt x="3684" y="1066"/>
                        </a:lnTo>
                        <a:lnTo>
                          <a:pt x="3680" y="1078"/>
                        </a:lnTo>
                        <a:lnTo>
                          <a:pt x="3674" y="1088"/>
                        </a:lnTo>
                        <a:lnTo>
                          <a:pt x="3668" y="1100"/>
                        </a:lnTo>
                        <a:lnTo>
                          <a:pt x="3660" y="1108"/>
                        </a:lnTo>
                        <a:lnTo>
                          <a:pt x="3642" y="1126"/>
                        </a:lnTo>
                        <a:lnTo>
                          <a:pt x="3624" y="1140"/>
                        </a:lnTo>
                        <a:lnTo>
                          <a:pt x="3604" y="1150"/>
                        </a:lnTo>
                        <a:lnTo>
                          <a:pt x="3584" y="1158"/>
                        </a:lnTo>
                        <a:lnTo>
                          <a:pt x="3584" y="1158"/>
                        </a:lnTo>
                        <a:lnTo>
                          <a:pt x="3570" y="1166"/>
                        </a:lnTo>
                        <a:lnTo>
                          <a:pt x="3562" y="1172"/>
                        </a:lnTo>
                        <a:lnTo>
                          <a:pt x="3562" y="1174"/>
                        </a:lnTo>
                        <a:lnTo>
                          <a:pt x="3562" y="1176"/>
                        </a:lnTo>
                        <a:lnTo>
                          <a:pt x="3566" y="1184"/>
                        </a:lnTo>
                        <a:lnTo>
                          <a:pt x="3572" y="1190"/>
                        </a:lnTo>
                        <a:lnTo>
                          <a:pt x="3578" y="1200"/>
                        </a:lnTo>
                        <a:lnTo>
                          <a:pt x="3582" y="1212"/>
                        </a:lnTo>
                        <a:lnTo>
                          <a:pt x="3584" y="1220"/>
                        </a:lnTo>
                        <a:lnTo>
                          <a:pt x="3584" y="1228"/>
                        </a:lnTo>
                        <a:lnTo>
                          <a:pt x="3584" y="1228"/>
                        </a:lnTo>
                        <a:lnTo>
                          <a:pt x="3586" y="1244"/>
                        </a:lnTo>
                        <a:lnTo>
                          <a:pt x="3588" y="1260"/>
                        </a:lnTo>
                        <a:lnTo>
                          <a:pt x="3598" y="1290"/>
                        </a:lnTo>
                        <a:lnTo>
                          <a:pt x="3602" y="1302"/>
                        </a:lnTo>
                        <a:lnTo>
                          <a:pt x="3604" y="1314"/>
                        </a:lnTo>
                        <a:lnTo>
                          <a:pt x="3604" y="1324"/>
                        </a:lnTo>
                        <a:lnTo>
                          <a:pt x="3600" y="1328"/>
                        </a:lnTo>
                        <a:lnTo>
                          <a:pt x="3598" y="1330"/>
                        </a:lnTo>
                        <a:lnTo>
                          <a:pt x="3598" y="1330"/>
                        </a:lnTo>
                        <a:lnTo>
                          <a:pt x="3594" y="1334"/>
                        </a:lnTo>
                        <a:lnTo>
                          <a:pt x="3592" y="1336"/>
                        </a:lnTo>
                        <a:lnTo>
                          <a:pt x="3590" y="1344"/>
                        </a:lnTo>
                        <a:lnTo>
                          <a:pt x="3592" y="1352"/>
                        </a:lnTo>
                        <a:lnTo>
                          <a:pt x="3594" y="1358"/>
                        </a:lnTo>
                        <a:lnTo>
                          <a:pt x="3596" y="1362"/>
                        </a:lnTo>
                        <a:lnTo>
                          <a:pt x="3594" y="1366"/>
                        </a:lnTo>
                        <a:lnTo>
                          <a:pt x="3590" y="1364"/>
                        </a:lnTo>
                        <a:lnTo>
                          <a:pt x="3580" y="1358"/>
                        </a:lnTo>
                        <a:lnTo>
                          <a:pt x="3580" y="1358"/>
                        </a:lnTo>
                        <a:lnTo>
                          <a:pt x="3570" y="1354"/>
                        </a:lnTo>
                        <a:lnTo>
                          <a:pt x="3568" y="1354"/>
                        </a:lnTo>
                        <a:lnTo>
                          <a:pt x="3566" y="1356"/>
                        </a:lnTo>
                        <a:lnTo>
                          <a:pt x="3562" y="1362"/>
                        </a:lnTo>
                        <a:lnTo>
                          <a:pt x="3562" y="1370"/>
                        </a:lnTo>
                        <a:lnTo>
                          <a:pt x="3562" y="1376"/>
                        </a:lnTo>
                        <a:lnTo>
                          <a:pt x="3560" y="1382"/>
                        </a:lnTo>
                        <a:lnTo>
                          <a:pt x="3558" y="1384"/>
                        </a:lnTo>
                        <a:lnTo>
                          <a:pt x="3554" y="1384"/>
                        </a:lnTo>
                        <a:lnTo>
                          <a:pt x="3546" y="1380"/>
                        </a:lnTo>
                        <a:lnTo>
                          <a:pt x="3546" y="1380"/>
                        </a:lnTo>
                        <a:lnTo>
                          <a:pt x="3536" y="1372"/>
                        </a:lnTo>
                        <a:lnTo>
                          <a:pt x="3530" y="1366"/>
                        </a:lnTo>
                        <a:lnTo>
                          <a:pt x="3522" y="1352"/>
                        </a:lnTo>
                        <a:lnTo>
                          <a:pt x="3516" y="1342"/>
                        </a:lnTo>
                        <a:lnTo>
                          <a:pt x="3508" y="1332"/>
                        </a:lnTo>
                        <a:lnTo>
                          <a:pt x="3494" y="1316"/>
                        </a:lnTo>
                        <a:lnTo>
                          <a:pt x="3474" y="1298"/>
                        </a:lnTo>
                        <a:lnTo>
                          <a:pt x="3474" y="1298"/>
                        </a:lnTo>
                        <a:lnTo>
                          <a:pt x="3464" y="1286"/>
                        </a:lnTo>
                        <a:lnTo>
                          <a:pt x="3458" y="1276"/>
                        </a:lnTo>
                        <a:lnTo>
                          <a:pt x="3456" y="1266"/>
                        </a:lnTo>
                        <a:lnTo>
                          <a:pt x="3456" y="1254"/>
                        </a:lnTo>
                        <a:lnTo>
                          <a:pt x="3456" y="1234"/>
                        </a:lnTo>
                        <a:lnTo>
                          <a:pt x="3456" y="1222"/>
                        </a:lnTo>
                        <a:lnTo>
                          <a:pt x="3454" y="1210"/>
                        </a:lnTo>
                        <a:lnTo>
                          <a:pt x="3454" y="1210"/>
                        </a:lnTo>
                        <a:lnTo>
                          <a:pt x="3450" y="1194"/>
                        </a:lnTo>
                        <a:lnTo>
                          <a:pt x="3450" y="1182"/>
                        </a:lnTo>
                        <a:lnTo>
                          <a:pt x="3454" y="1172"/>
                        </a:lnTo>
                        <a:lnTo>
                          <a:pt x="3456" y="1162"/>
                        </a:lnTo>
                        <a:lnTo>
                          <a:pt x="3458" y="1154"/>
                        </a:lnTo>
                        <a:lnTo>
                          <a:pt x="3456" y="1148"/>
                        </a:lnTo>
                        <a:lnTo>
                          <a:pt x="3452" y="1142"/>
                        </a:lnTo>
                        <a:lnTo>
                          <a:pt x="3440" y="1138"/>
                        </a:lnTo>
                        <a:lnTo>
                          <a:pt x="3440" y="1138"/>
                        </a:lnTo>
                        <a:lnTo>
                          <a:pt x="3414" y="1134"/>
                        </a:lnTo>
                        <a:lnTo>
                          <a:pt x="3394" y="1130"/>
                        </a:lnTo>
                        <a:lnTo>
                          <a:pt x="3378" y="1130"/>
                        </a:lnTo>
                        <a:lnTo>
                          <a:pt x="3368" y="1130"/>
                        </a:lnTo>
                        <a:lnTo>
                          <a:pt x="3354" y="1132"/>
                        </a:lnTo>
                        <a:lnTo>
                          <a:pt x="3346" y="1132"/>
                        </a:lnTo>
                        <a:lnTo>
                          <a:pt x="3340" y="1130"/>
                        </a:lnTo>
                        <a:lnTo>
                          <a:pt x="3340" y="1130"/>
                        </a:lnTo>
                        <a:lnTo>
                          <a:pt x="3334" y="1128"/>
                        </a:lnTo>
                        <a:lnTo>
                          <a:pt x="3330" y="1124"/>
                        </a:lnTo>
                        <a:lnTo>
                          <a:pt x="3322" y="1116"/>
                        </a:lnTo>
                        <a:lnTo>
                          <a:pt x="3316" y="1110"/>
                        </a:lnTo>
                        <a:lnTo>
                          <a:pt x="3306" y="1104"/>
                        </a:lnTo>
                        <a:lnTo>
                          <a:pt x="3290" y="1098"/>
                        </a:lnTo>
                        <a:lnTo>
                          <a:pt x="3268" y="1092"/>
                        </a:lnTo>
                        <a:lnTo>
                          <a:pt x="3268" y="1092"/>
                        </a:lnTo>
                        <a:lnTo>
                          <a:pt x="3246" y="1084"/>
                        </a:lnTo>
                        <a:lnTo>
                          <a:pt x="3236" y="1078"/>
                        </a:lnTo>
                        <a:lnTo>
                          <a:pt x="3232" y="1072"/>
                        </a:lnTo>
                        <a:lnTo>
                          <a:pt x="3230" y="1066"/>
                        </a:lnTo>
                        <a:lnTo>
                          <a:pt x="3226" y="1058"/>
                        </a:lnTo>
                        <a:lnTo>
                          <a:pt x="3216" y="1048"/>
                        </a:lnTo>
                        <a:lnTo>
                          <a:pt x="3198" y="1036"/>
                        </a:lnTo>
                        <a:lnTo>
                          <a:pt x="3166" y="1022"/>
                        </a:lnTo>
                        <a:lnTo>
                          <a:pt x="3166" y="1022"/>
                        </a:lnTo>
                        <a:lnTo>
                          <a:pt x="3146" y="1016"/>
                        </a:lnTo>
                        <a:lnTo>
                          <a:pt x="3130" y="1012"/>
                        </a:lnTo>
                        <a:lnTo>
                          <a:pt x="3114" y="1010"/>
                        </a:lnTo>
                        <a:lnTo>
                          <a:pt x="3102" y="1010"/>
                        </a:lnTo>
                        <a:lnTo>
                          <a:pt x="3090" y="1012"/>
                        </a:lnTo>
                        <a:lnTo>
                          <a:pt x="3080" y="1014"/>
                        </a:lnTo>
                        <a:lnTo>
                          <a:pt x="3064" y="1020"/>
                        </a:lnTo>
                        <a:lnTo>
                          <a:pt x="3052" y="1026"/>
                        </a:lnTo>
                        <a:lnTo>
                          <a:pt x="3046" y="1028"/>
                        </a:lnTo>
                        <a:lnTo>
                          <a:pt x="3044" y="1026"/>
                        </a:lnTo>
                        <a:lnTo>
                          <a:pt x="3042" y="1022"/>
                        </a:lnTo>
                        <a:lnTo>
                          <a:pt x="3040" y="1008"/>
                        </a:lnTo>
                        <a:lnTo>
                          <a:pt x="3040" y="1008"/>
                        </a:lnTo>
                        <a:lnTo>
                          <a:pt x="3040" y="992"/>
                        </a:lnTo>
                        <a:lnTo>
                          <a:pt x="3038" y="978"/>
                        </a:lnTo>
                        <a:lnTo>
                          <a:pt x="3032" y="962"/>
                        </a:lnTo>
                        <a:lnTo>
                          <a:pt x="3026" y="948"/>
                        </a:lnTo>
                        <a:lnTo>
                          <a:pt x="3024" y="938"/>
                        </a:lnTo>
                        <a:lnTo>
                          <a:pt x="3020" y="928"/>
                        </a:lnTo>
                        <a:lnTo>
                          <a:pt x="3020" y="928"/>
                        </a:lnTo>
                        <a:lnTo>
                          <a:pt x="3018" y="922"/>
                        </a:lnTo>
                        <a:lnTo>
                          <a:pt x="3016" y="918"/>
                        </a:lnTo>
                        <a:lnTo>
                          <a:pt x="3012" y="914"/>
                        </a:lnTo>
                        <a:lnTo>
                          <a:pt x="3008" y="914"/>
                        </a:lnTo>
                        <a:lnTo>
                          <a:pt x="2998" y="912"/>
                        </a:lnTo>
                        <a:lnTo>
                          <a:pt x="2986" y="912"/>
                        </a:lnTo>
                        <a:lnTo>
                          <a:pt x="2974" y="910"/>
                        </a:lnTo>
                        <a:lnTo>
                          <a:pt x="2968" y="908"/>
                        </a:lnTo>
                        <a:lnTo>
                          <a:pt x="2962" y="904"/>
                        </a:lnTo>
                        <a:lnTo>
                          <a:pt x="2958" y="898"/>
                        </a:lnTo>
                        <a:lnTo>
                          <a:pt x="2954" y="890"/>
                        </a:lnTo>
                        <a:lnTo>
                          <a:pt x="2950" y="882"/>
                        </a:lnTo>
                        <a:lnTo>
                          <a:pt x="2948" y="868"/>
                        </a:lnTo>
                        <a:lnTo>
                          <a:pt x="2948" y="868"/>
                        </a:lnTo>
                        <a:lnTo>
                          <a:pt x="2948" y="854"/>
                        </a:lnTo>
                        <a:lnTo>
                          <a:pt x="2948" y="840"/>
                        </a:lnTo>
                        <a:lnTo>
                          <a:pt x="2952" y="824"/>
                        </a:lnTo>
                        <a:lnTo>
                          <a:pt x="2956" y="808"/>
                        </a:lnTo>
                        <a:lnTo>
                          <a:pt x="2968" y="778"/>
                        </a:lnTo>
                        <a:lnTo>
                          <a:pt x="2982" y="750"/>
                        </a:lnTo>
                        <a:lnTo>
                          <a:pt x="2998" y="724"/>
                        </a:lnTo>
                        <a:lnTo>
                          <a:pt x="3014" y="706"/>
                        </a:lnTo>
                        <a:lnTo>
                          <a:pt x="3026" y="692"/>
                        </a:lnTo>
                        <a:lnTo>
                          <a:pt x="3030" y="690"/>
                        </a:lnTo>
                        <a:lnTo>
                          <a:pt x="3034" y="690"/>
                        </a:lnTo>
                        <a:lnTo>
                          <a:pt x="3034" y="690"/>
                        </a:lnTo>
                        <a:lnTo>
                          <a:pt x="3038" y="688"/>
                        </a:lnTo>
                        <a:lnTo>
                          <a:pt x="3042" y="684"/>
                        </a:lnTo>
                        <a:lnTo>
                          <a:pt x="3044" y="670"/>
                        </a:lnTo>
                        <a:lnTo>
                          <a:pt x="3048" y="662"/>
                        </a:lnTo>
                        <a:lnTo>
                          <a:pt x="3052" y="654"/>
                        </a:lnTo>
                        <a:lnTo>
                          <a:pt x="3060" y="648"/>
                        </a:lnTo>
                        <a:lnTo>
                          <a:pt x="3070" y="646"/>
                        </a:lnTo>
                        <a:lnTo>
                          <a:pt x="3070" y="646"/>
                        </a:lnTo>
                        <a:lnTo>
                          <a:pt x="3096" y="644"/>
                        </a:lnTo>
                        <a:lnTo>
                          <a:pt x="3106" y="640"/>
                        </a:lnTo>
                        <a:lnTo>
                          <a:pt x="3116" y="636"/>
                        </a:lnTo>
                        <a:lnTo>
                          <a:pt x="3120" y="630"/>
                        </a:lnTo>
                        <a:lnTo>
                          <a:pt x="3120" y="624"/>
                        </a:lnTo>
                        <a:lnTo>
                          <a:pt x="3116" y="614"/>
                        </a:lnTo>
                        <a:lnTo>
                          <a:pt x="3106" y="604"/>
                        </a:lnTo>
                        <a:lnTo>
                          <a:pt x="3106" y="604"/>
                        </a:lnTo>
                        <a:lnTo>
                          <a:pt x="3098" y="596"/>
                        </a:lnTo>
                        <a:lnTo>
                          <a:pt x="3098" y="594"/>
                        </a:lnTo>
                        <a:lnTo>
                          <a:pt x="3098" y="592"/>
                        </a:lnTo>
                        <a:lnTo>
                          <a:pt x="3104" y="590"/>
                        </a:lnTo>
                        <a:lnTo>
                          <a:pt x="3112" y="590"/>
                        </a:lnTo>
                        <a:lnTo>
                          <a:pt x="3124" y="590"/>
                        </a:lnTo>
                        <a:lnTo>
                          <a:pt x="3136" y="586"/>
                        </a:lnTo>
                        <a:lnTo>
                          <a:pt x="3140" y="584"/>
                        </a:lnTo>
                        <a:lnTo>
                          <a:pt x="3144" y="580"/>
                        </a:lnTo>
                        <a:lnTo>
                          <a:pt x="3148" y="576"/>
                        </a:lnTo>
                        <a:lnTo>
                          <a:pt x="3150" y="568"/>
                        </a:lnTo>
                        <a:lnTo>
                          <a:pt x="3150" y="568"/>
                        </a:lnTo>
                        <a:lnTo>
                          <a:pt x="3152" y="562"/>
                        </a:lnTo>
                        <a:lnTo>
                          <a:pt x="3154" y="558"/>
                        </a:lnTo>
                        <a:lnTo>
                          <a:pt x="3156" y="556"/>
                        </a:lnTo>
                        <a:lnTo>
                          <a:pt x="3158" y="556"/>
                        </a:lnTo>
                        <a:lnTo>
                          <a:pt x="3166" y="560"/>
                        </a:lnTo>
                        <a:lnTo>
                          <a:pt x="3176" y="566"/>
                        </a:lnTo>
                        <a:lnTo>
                          <a:pt x="3188" y="570"/>
                        </a:lnTo>
                        <a:lnTo>
                          <a:pt x="3194" y="572"/>
                        </a:lnTo>
                        <a:lnTo>
                          <a:pt x="3200" y="570"/>
                        </a:lnTo>
                        <a:lnTo>
                          <a:pt x="3206" y="568"/>
                        </a:lnTo>
                        <a:lnTo>
                          <a:pt x="3214" y="562"/>
                        </a:lnTo>
                        <a:lnTo>
                          <a:pt x="3220" y="554"/>
                        </a:lnTo>
                        <a:lnTo>
                          <a:pt x="3228" y="542"/>
                        </a:lnTo>
                        <a:lnTo>
                          <a:pt x="3228" y="542"/>
                        </a:lnTo>
                        <a:lnTo>
                          <a:pt x="3242" y="520"/>
                        </a:lnTo>
                        <a:lnTo>
                          <a:pt x="3252" y="506"/>
                        </a:lnTo>
                        <a:lnTo>
                          <a:pt x="3258" y="496"/>
                        </a:lnTo>
                        <a:lnTo>
                          <a:pt x="3260" y="492"/>
                        </a:lnTo>
                        <a:lnTo>
                          <a:pt x="3258" y="490"/>
                        </a:lnTo>
                        <a:lnTo>
                          <a:pt x="3256" y="488"/>
                        </a:lnTo>
                        <a:lnTo>
                          <a:pt x="3244" y="486"/>
                        </a:lnTo>
                        <a:lnTo>
                          <a:pt x="3228" y="484"/>
                        </a:lnTo>
                        <a:lnTo>
                          <a:pt x="3204" y="478"/>
                        </a:lnTo>
                        <a:lnTo>
                          <a:pt x="3204" y="478"/>
                        </a:lnTo>
                        <a:lnTo>
                          <a:pt x="3186" y="474"/>
                        </a:lnTo>
                        <a:lnTo>
                          <a:pt x="3176" y="470"/>
                        </a:lnTo>
                        <a:lnTo>
                          <a:pt x="3170" y="464"/>
                        </a:lnTo>
                        <a:lnTo>
                          <a:pt x="3164" y="460"/>
                        </a:lnTo>
                        <a:lnTo>
                          <a:pt x="3154" y="450"/>
                        </a:lnTo>
                        <a:lnTo>
                          <a:pt x="3144" y="444"/>
                        </a:lnTo>
                        <a:lnTo>
                          <a:pt x="3132" y="438"/>
                        </a:lnTo>
                        <a:lnTo>
                          <a:pt x="3132" y="438"/>
                        </a:lnTo>
                        <a:lnTo>
                          <a:pt x="3140" y="438"/>
                        </a:lnTo>
                        <a:lnTo>
                          <a:pt x="3148" y="438"/>
                        </a:lnTo>
                        <a:lnTo>
                          <a:pt x="3158" y="440"/>
                        </a:lnTo>
                        <a:lnTo>
                          <a:pt x="3166" y="442"/>
                        </a:lnTo>
                        <a:lnTo>
                          <a:pt x="3184" y="452"/>
                        </a:lnTo>
                        <a:lnTo>
                          <a:pt x="3202" y="462"/>
                        </a:lnTo>
                        <a:lnTo>
                          <a:pt x="3220" y="470"/>
                        </a:lnTo>
                        <a:lnTo>
                          <a:pt x="3230" y="472"/>
                        </a:lnTo>
                        <a:lnTo>
                          <a:pt x="3238" y="474"/>
                        </a:lnTo>
                        <a:lnTo>
                          <a:pt x="3246" y="474"/>
                        </a:lnTo>
                        <a:lnTo>
                          <a:pt x="3254" y="472"/>
                        </a:lnTo>
                        <a:lnTo>
                          <a:pt x="3262" y="466"/>
                        </a:lnTo>
                        <a:lnTo>
                          <a:pt x="3270" y="460"/>
                        </a:lnTo>
                        <a:lnTo>
                          <a:pt x="3270" y="460"/>
                        </a:lnTo>
                        <a:lnTo>
                          <a:pt x="3296" y="434"/>
                        </a:lnTo>
                        <a:lnTo>
                          <a:pt x="3302" y="426"/>
                        </a:lnTo>
                        <a:lnTo>
                          <a:pt x="3304" y="420"/>
                        </a:lnTo>
                        <a:lnTo>
                          <a:pt x="3304" y="416"/>
                        </a:lnTo>
                        <a:lnTo>
                          <a:pt x="3298" y="412"/>
                        </a:lnTo>
                        <a:lnTo>
                          <a:pt x="3278" y="402"/>
                        </a:lnTo>
                        <a:lnTo>
                          <a:pt x="3278" y="402"/>
                        </a:lnTo>
                        <a:lnTo>
                          <a:pt x="3270" y="394"/>
                        </a:lnTo>
                        <a:lnTo>
                          <a:pt x="3270" y="392"/>
                        </a:lnTo>
                        <a:lnTo>
                          <a:pt x="3270" y="390"/>
                        </a:lnTo>
                        <a:lnTo>
                          <a:pt x="3278" y="388"/>
                        </a:lnTo>
                        <a:lnTo>
                          <a:pt x="3288" y="388"/>
                        </a:lnTo>
                        <a:lnTo>
                          <a:pt x="3302" y="388"/>
                        </a:lnTo>
                        <a:lnTo>
                          <a:pt x="3316" y="390"/>
                        </a:lnTo>
                        <a:lnTo>
                          <a:pt x="3328" y="394"/>
                        </a:lnTo>
                        <a:lnTo>
                          <a:pt x="3336" y="400"/>
                        </a:lnTo>
                        <a:lnTo>
                          <a:pt x="3336" y="400"/>
                        </a:lnTo>
                        <a:lnTo>
                          <a:pt x="3346" y="410"/>
                        </a:lnTo>
                        <a:lnTo>
                          <a:pt x="3356" y="418"/>
                        </a:lnTo>
                        <a:lnTo>
                          <a:pt x="3366" y="426"/>
                        </a:lnTo>
                        <a:lnTo>
                          <a:pt x="3374" y="438"/>
                        </a:lnTo>
                        <a:lnTo>
                          <a:pt x="3374" y="438"/>
                        </a:lnTo>
                        <a:lnTo>
                          <a:pt x="3380" y="448"/>
                        </a:lnTo>
                        <a:lnTo>
                          <a:pt x="3388" y="452"/>
                        </a:lnTo>
                        <a:lnTo>
                          <a:pt x="3398" y="454"/>
                        </a:lnTo>
                        <a:lnTo>
                          <a:pt x="3410" y="452"/>
                        </a:lnTo>
                        <a:lnTo>
                          <a:pt x="3410" y="452"/>
                        </a:lnTo>
                        <a:lnTo>
                          <a:pt x="3412" y="450"/>
                        </a:lnTo>
                        <a:lnTo>
                          <a:pt x="3414" y="448"/>
                        </a:lnTo>
                        <a:lnTo>
                          <a:pt x="3412" y="444"/>
                        </a:lnTo>
                        <a:lnTo>
                          <a:pt x="3398" y="436"/>
                        </a:lnTo>
                        <a:lnTo>
                          <a:pt x="3392" y="432"/>
                        </a:lnTo>
                        <a:lnTo>
                          <a:pt x="3386" y="426"/>
                        </a:lnTo>
                        <a:lnTo>
                          <a:pt x="3384" y="424"/>
                        </a:lnTo>
                        <a:lnTo>
                          <a:pt x="3384" y="422"/>
                        </a:lnTo>
                        <a:lnTo>
                          <a:pt x="3386" y="418"/>
                        </a:lnTo>
                        <a:lnTo>
                          <a:pt x="3390" y="416"/>
                        </a:lnTo>
                        <a:lnTo>
                          <a:pt x="3390" y="416"/>
                        </a:lnTo>
                        <a:lnTo>
                          <a:pt x="3398" y="412"/>
                        </a:lnTo>
                        <a:lnTo>
                          <a:pt x="3404" y="406"/>
                        </a:lnTo>
                        <a:lnTo>
                          <a:pt x="3414" y="396"/>
                        </a:lnTo>
                        <a:lnTo>
                          <a:pt x="3426" y="388"/>
                        </a:lnTo>
                        <a:lnTo>
                          <a:pt x="3432" y="386"/>
                        </a:lnTo>
                        <a:lnTo>
                          <a:pt x="3438" y="386"/>
                        </a:lnTo>
                        <a:lnTo>
                          <a:pt x="3438" y="386"/>
                        </a:lnTo>
                        <a:lnTo>
                          <a:pt x="3444" y="386"/>
                        </a:lnTo>
                        <a:lnTo>
                          <a:pt x="3450" y="384"/>
                        </a:lnTo>
                        <a:lnTo>
                          <a:pt x="3456" y="380"/>
                        </a:lnTo>
                        <a:lnTo>
                          <a:pt x="3460" y="374"/>
                        </a:lnTo>
                        <a:lnTo>
                          <a:pt x="3468" y="364"/>
                        </a:lnTo>
                        <a:lnTo>
                          <a:pt x="3474" y="360"/>
                        </a:lnTo>
                        <a:lnTo>
                          <a:pt x="3478" y="360"/>
                        </a:lnTo>
                        <a:lnTo>
                          <a:pt x="3478" y="360"/>
                        </a:lnTo>
                        <a:lnTo>
                          <a:pt x="3484" y="358"/>
                        </a:lnTo>
                        <a:lnTo>
                          <a:pt x="3490" y="354"/>
                        </a:lnTo>
                        <a:lnTo>
                          <a:pt x="3492" y="348"/>
                        </a:lnTo>
                        <a:lnTo>
                          <a:pt x="3494" y="342"/>
                        </a:lnTo>
                        <a:lnTo>
                          <a:pt x="3492" y="334"/>
                        </a:lnTo>
                        <a:lnTo>
                          <a:pt x="3488" y="324"/>
                        </a:lnTo>
                        <a:lnTo>
                          <a:pt x="3482" y="316"/>
                        </a:lnTo>
                        <a:lnTo>
                          <a:pt x="3472" y="306"/>
                        </a:lnTo>
                        <a:lnTo>
                          <a:pt x="3472" y="306"/>
                        </a:lnTo>
                        <a:lnTo>
                          <a:pt x="3464" y="298"/>
                        </a:lnTo>
                        <a:lnTo>
                          <a:pt x="3460" y="292"/>
                        </a:lnTo>
                        <a:lnTo>
                          <a:pt x="3460" y="288"/>
                        </a:lnTo>
                        <a:lnTo>
                          <a:pt x="3462" y="284"/>
                        </a:lnTo>
                        <a:lnTo>
                          <a:pt x="3464" y="282"/>
                        </a:lnTo>
                        <a:lnTo>
                          <a:pt x="3466" y="278"/>
                        </a:lnTo>
                        <a:lnTo>
                          <a:pt x="3464" y="272"/>
                        </a:lnTo>
                        <a:lnTo>
                          <a:pt x="3458" y="266"/>
                        </a:lnTo>
                        <a:lnTo>
                          <a:pt x="3458" y="266"/>
                        </a:lnTo>
                        <a:lnTo>
                          <a:pt x="3452" y="260"/>
                        </a:lnTo>
                        <a:lnTo>
                          <a:pt x="3452" y="258"/>
                        </a:lnTo>
                        <a:lnTo>
                          <a:pt x="3452" y="258"/>
                        </a:lnTo>
                        <a:lnTo>
                          <a:pt x="3458" y="256"/>
                        </a:lnTo>
                        <a:lnTo>
                          <a:pt x="3466" y="256"/>
                        </a:lnTo>
                        <a:lnTo>
                          <a:pt x="3476" y="256"/>
                        </a:lnTo>
                        <a:lnTo>
                          <a:pt x="3484" y="254"/>
                        </a:lnTo>
                        <a:lnTo>
                          <a:pt x="3492" y="250"/>
                        </a:lnTo>
                        <a:lnTo>
                          <a:pt x="3494" y="248"/>
                        </a:lnTo>
                        <a:lnTo>
                          <a:pt x="3496" y="242"/>
                        </a:lnTo>
                        <a:lnTo>
                          <a:pt x="3496" y="242"/>
                        </a:lnTo>
                        <a:lnTo>
                          <a:pt x="3498" y="234"/>
                        </a:lnTo>
                        <a:lnTo>
                          <a:pt x="3496" y="230"/>
                        </a:lnTo>
                        <a:lnTo>
                          <a:pt x="3492" y="228"/>
                        </a:lnTo>
                        <a:lnTo>
                          <a:pt x="3488" y="226"/>
                        </a:lnTo>
                        <a:lnTo>
                          <a:pt x="3486" y="224"/>
                        </a:lnTo>
                        <a:lnTo>
                          <a:pt x="3484" y="222"/>
                        </a:lnTo>
                        <a:lnTo>
                          <a:pt x="3484" y="220"/>
                        </a:lnTo>
                        <a:lnTo>
                          <a:pt x="3490" y="214"/>
                        </a:lnTo>
                        <a:lnTo>
                          <a:pt x="3490" y="214"/>
                        </a:lnTo>
                        <a:lnTo>
                          <a:pt x="3492" y="206"/>
                        </a:lnTo>
                        <a:lnTo>
                          <a:pt x="3492" y="204"/>
                        </a:lnTo>
                        <a:lnTo>
                          <a:pt x="3486" y="202"/>
                        </a:lnTo>
                        <a:lnTo>
                          <a:pt x="3480" y="200"/>
                        </a:lnTo>
                        <a:lnTo>
                          <a:pt x="3472" y="198"/>
                        </a:lnTo>
                        <a:lnTo>
                          <a:pt x="3464" y="196"/>
                        </a:lnTo>
                        <a:lnTo>
                          <a:pt x="3458" y="192"/>
                        </a:lnTo>
                        <a:lnTo>
                          <a:pt x="3454" y="182"/>
                        </a:lnTo>
                        <a:lnTo>
                          <a:pt x="3454" y="182"/>
                        </a:lnTo>
                        <a:lnTo>
                          <a:pt x="3452" y="174"/>
                        </a:lnTo>
                        <a:lnTo>
                          <a:pt x="3446" y="170"/>
                        </a:lnTo>
                        <a:lnTo>
                          <a:pt x="3438" y="168"/>
                        </a:lnTo>
                        <a:lnTo>
                          <a:pt x="3428" y="168"/>
                        </a:lnTo>
                        <a:lnTo>
                          <a:pt x="3404" y="166"/>
                        </a:lnTo>
                        <a:lnTo>
                          <a:pt x="3392" y="164"/>
                        </a:lnTo>
                        <a:lnTo>
                          <a:pt x="3378" y="160"/>
                        </a:lnTo>
                        <a:lnTo>
                          <a:pt x="3378" y="160"/>
                        </a:lnTo>
                        <a:lnTo>
                          <a:pt x="3360" y="152"/>
                        </a:lnTo>
                        <a:lnTo>
                          <a:pt x="3356" y="152"/>
                        </a:lnTo>
                        <a:lnTo>
                          <a:pt x="3354" y="152"/>
                        </a:lnTo>
                        <a:lnTo>
                          <a:pt x="3348" y="156"/>
                        </a:lnTo>
                        <a:lnTo>
                          <a:pt x="3344" y="158"/>
                        </a:lnTo>
                        <a:lnTo>
                          <a:pt x="3334" y="158"/>
                        </a:lnTo>
                        <a:lnTo>
                          <a:pt x="3334" y="158"/>
                        </a:lnTo>
                        <a:lnTo>
                          <a:pt x="3326" y="160"/>
                        </a:lnTo>
                        <a:lnTo>
                          <a:pt x="3320" y="164"/>
                        </a:lnTo>
                        <a:lnTo>
                          <a:pt x="3318" y="172"/>
                        </a:lnTo>
                        <a:lnTo>
                          <a:pt x="3318" y="180"/>
                        </a:lnTo>
                        <a:lnTo>
                          <a:pt x="3322" y="190"/>
                        </a:lnTo>
                        <a:lnTo>
                          <a:pt x="3326" y="198"/>
                        </a:lnTo>
                        <a:lnTo>
                          <a:pt x="3330" y="206"/>
                        </a:lnTo>
                        <a:lnTo>
                          <a:pt x="3338" y="210"/>
                        </a:lnTo>
                        <a:lnTo>
                          <a:pt x="3338" y="210"/>
                        </a:lnTo>
                        <a:lnTo>
                          <a:pt x="3342" y="212"/>
                        </a:lnTo>
                        <a:lnTo>
                          <a:pt x="3346" y="216"/>
                        </a:lnTo>
                        <a:lnTo>
                          <a:pt x="3346" y="222"/>
                        </a:lnTo>
                        <a:lnTo>
                          <a:pt x="3344" y="226"/>
                        </a:lnTo>
                        <a:lnTo>
                          <a:pt x="3342" y="230"/>
                        </a:lnTo>
                        <a:lnTo>
                          <a:pt x="3338" y="232"/>
                        </a:lnTo>
                        <a:lnTo>
                          <a:pt x="3332" y="234"/>
                        </a:lnTo>
                        <a:lnTo>
                          <a:pt x="3326" y="234"/>
                        </a:lnTo>
                        <a:lnTo>
                          <a:pt x="3326" y="234"/>
                        </a:lnTo>
                        <a:lnTo>
                          <a:pt x="3322" y="236"/>
                        </a:lnTo>
                        <a:lnTo>
                          <a:pt x="3320" y="240"/>
                        </a:lnTo>
                        <a:lnTo>
                          <a:pt x="3318" y="256"/>
                        </a:lnTo>
                        <a:lnTo>
                          <a:pt x="3318" y="266"/>
                        </a:lnTo>
                        <a:lnTo>
                          <a:pt x="3316" y="278"/>
                        </a:lnTo>
                        <a:lnTo>
                          <a:pt x="3310" y="288"/>
                        </a:lnTo>
                        <a:lnTo>
                          <a:pt x="3300" y="296"/>
                        </a:lnTo>
                        <a:lnTo>
                          <a:pt x="3300" y="296"/>
                        </a:lnTo>
                        <a:lnTo>
                          <a:pt x="3292" y="302"/>
                        </a:lnTo>
                        <a:lnTo>
                          <a:pt x="3286" y="310"/>
                        </a:lnTo>
                        <a:lnTo>
                          <a:pt x="3284" y="316"/>
                        </a:lnTo>
                        <a:lnTo>
                          <a:pt x="3282" y="322"/>
                        </a:lnTo>
                        <a:lnTo>
                          <a:pt x="3280" y="328"/>
                        </a:lnTo>
                        <a:lnTo>
                          <a:pt x="3278" y="332"/>
                        </a:lnTo>
                        <a:lnTo>
                          <a:pt x="3274" y="338"/>
                        </a:lnTo>
                        <a:lnTo>
                          <a:pt x="3264" y="342"/>
                        </a:lnTo>
                        <a:lnTo>
                          <a:pt x="3264" y="342"/>
                        </a:lnTo>
                        <a:lnTo>
                          <a:pt x="3250" y="344"/>
                        </a:lnTo>
                        <a:lnTo>
                          <a:pt x="3246" y="344"/>
                        </a:lnTo>
                        <a:lnTo>
                          <a:pt x="3244" y="340"/>
                        </a:lnTo>
                        <a:lnTo>
                          <a:pt x="3238" y="330"/>
                        </a:lnTo>
                        <a:lnTo>
                          <a:pt x="3232" y="322"/>
                        </a:lnTo>
                        <a:lnTo>
                          <a:pt x="3222" y="312"/>
                        </a:lnTo>
                        <a:lnTo>
                          <a:pt x="3222" y="312"/>
                        </a:lnTo>
                        <a:lnTo>
                          <a:pt x="3214" y="304"/>
                        </a:lnTo>
                        <a:lnTo>
                          <a:pt x="3210" y="298"/>
                        </a:lnTo>
                        <a:lnTo>
                          <a:pt x="3212" y="292"/>
                        </a:lnTo>
                        <a:lnTo>
                          <a:pt x="3216" y="288"/>
                        </a:lnTo>
                        <a:lnTo>
                          <a:pt x="3226" y="280"/>
                        </a:lnTo>
                        <a:lnTo>
                          <a:pt x="3232" y="276"/>
                        </a:lnTo>
                        <a:lnTo>
                          <a:pt x="3234" y="270"/>
                        </a:lnTo>
                        <a:lnTo>
                          <a:pt x="3234" y="270"/>
                        </a:lnTo>
                        <a:lnTo>
                          <a:pt x="3232" y="260"/>
                        </a:lnTo>
                        <a:lnTo>
                          <a:pt x="3228" y="248"/>
                        </a:lnTo>
                        <a:lnTo>
                          <a:pt x="3220" y="234"/>
                        </a:lnTo>
                        <a:lnTo>
                          <a:pt x="3212" y="220"/>
                        </a:lnTo>
                        <a:lnTo>
                          <a:pt x="3200" y="210"/>
                        </a:lnTo>
                        <a:lnTo>
                          <a:pt x="3190" y="202"/>
                        </a:lnTo>
                        <a:lnTo>
                          <a:pt x="3184" y="200"/>
                        </a:lnTo>
                        <a:lnTo>
                          <a:pt x="3178" y="200"/>
                        </a:lnTo>
                        <a:lnTo>
                          <a:pt x="3172" y="202"/>
                        </a:lnTo>
                        <a:lnTo>
                          <a:pt x="3168" y="206"/>
                        </a:lnTo>
                        <a:lnTo>
                          <a:pt x="3168" y="206"/>
                        </a:lnTo>
                        <a:lnTo>
                          <a:pt x="3158" y="216"/>
                        </a:lnTo>
                        <a:lnTo>
                          <a:pt x="3154" y="230"/>
                        </a:lnTo>
                        <a:lnTo>
                          <a:pt x="3148" y="254"/>
                        </a:lnTo>
                        <a:lnTo>
                          <a:pt x="3146" y="262"/>
                        </a:lnTo>
                        <a:lnTo>
                          <a:pt x="3142" y="268"/>
                        </a:lnTo>
                        <a:lnTo>
                          <a:pt x="3140" y="268"/>
                        </a:lnTo>
                        <a:lnTo>
                          <a:pt x="3138" y="268"/>
                        </a:lnTo>
                        <a:lnTo>
                          <a:pt x="3130" y="260"/>
                        </a:lnTo>
                        <a:lnTo>
                          <a:pt x="3130" y="260"/>
                        </a:lnTo>
                        <a:lnTo>
                          <a:pt x="3124" y="252"/>
                        </a:lnTo>
                        <a:lnTo>
                          <a:pt x="3122" y="246"/>
                        </a:lnTo>
                        <a:lnTo>
                          <a:pt x="3122" y="242"/>
                        </a:lnTo>
                        <a:lnTo>
                          <a:pt x="3124" y="238"/>
                        </a:lnTo>
                        <a:lnTo>
                          <a:pt x="3126" y="236"/>
                        </a:lnTo>
                        <a:lnTo>
                          <a:pt x="3128" y="232"/>
                        </a:lnTo>
                        <a:lnTo>
                          <a:pt x="3124" y="226"/>
                        </a:lnTo>
                        <a:lnTo>
                          <a:pt x="3118" y="216"/>
                        </a:lnTo>
                        <a:lnTo>
                          <a:pt x="3118" y="216"/>
                        </a:lnTo>
                        <a:lnTo>
                          <a:pt x="3112" y="208"/>
                        </a:lnTo>
                        <a:lnTo>
                          <a:pt x="3110" y="204"/>
                        </a:lnTo>
                        <a:lnTo>
                          <a:pt x="3110" y="202"/>
                        </a:lnTo>
                        <a:lnTo>
                          <a:pt x="3114" y="198"/>
                        </a:lnTo>
                        <a:lnTo>
                          <a:pt x="3120" y="194"/>
                        </a:lnTo>
                        <a:lnTo>
                          <a:pt x="3126" y="192"/>
                        </a:lnTo>
                        <a:lnTo>
                          <a:pt x="3128" y="190"/>
                        </a:lnTo>
                        <a:lnTo>
                          <a:pt x="3126" y="186"/>
                        </a:lnTo>
                        <a:lnTo>
                          <a:pt x="3116" y="180"/>
                        </a:lnTo>
                        <a:lnTo>
                          <a:pt x="3116" y="180"/>
                        </a:lnTo>
                        <a:lnTo>
                          <a:pt x="3104" y="174"/>
                        </a:lnTo>
                        <a:lnTo>
                          <a:pt x="3094" y="172"/>
                        </a:lnTo>
                        <a:lnTo>
                          <a:pt x="3088" y="172"/>
                        </a:lnTo>
                        <a:lnTo>
                          <a:pt x="3082" y="174"/>
                        </a:lnTo>
                        <a:lnTo>
                          <a:pt x="3076" y="176"/>
                        </a:lnTo>
                        <a:lnTo>
                          <a:pt x="3070" y="178"/>
                        </a:lnTo>
                        <a:lnTo>
                          <a:pt x="3064" y="176"/>
                        </a:lnTo>
                        <a:lnTo>
                          <a:pt x="3054" y="172"/>
                        </a:lnTo>
                        <a:lnTo>
                          <a:pt x="3054" y="172"/>
                        </a:lnTo>
                        <a:lnTo>
                          <a:pt x="3050" y="170"/>
                        </a:lnTo>
                        <a:lnTo>
                          <a:pt x="3048" y="168"/>
                        </a:lnTo>
                        <a:lnTo>
                          <a:pt x="3048" y="164"/>
                        </a:lnTo>
                        <a:lnTo>
                          <a:pt x="3048" y="162"/>
                        </a:lnTo>
                        <a:lnTo>
                          <a:pt x="3054" y="154"/>
                        </a:lnTo>
                        <a:lnTo>
                          <a:pt x="3062" y="148"/>
                        </a:lnTo>
                        <a:lnTo>
                          <a:pt x="3076" y="134"/>
                        </a:lnTo>
                        <a:lnTo>
                          <a:pt x="3080" y="130"/>
                        </a:lnTo>
                        <a:lnTo>
                          <a:pt x="3080" y="126"/>
                        </a:lnTo>
                        <a:lnTo>
                          <a:pt x="3078" y="124"/>
                        </a:lnTo>
                        <a:lnTo>
                          <a:pt x="3078" y="124"/>
                        </a:lnTo>
                        <a:lnTo>
                          <a:pt x="3064" y="114"/>
                        </a:lnTo>
                        <a:lnTo>
                          <a:pt x="3046" y="102"/>
                        </a:lnTo>
                        <a:lnTo>
                          <a:pt x="3038" y="94"/>
                        </a:lnTo>
                        <a:lnTo>
                          <a:pt x="3032" y="86"/>
                        </a:lnTo>
                        <a:lnTo>
                          <a:pt x="3028" y="78"/>
                        </a:lnTo>
                        <a:lnTo>
                          <a:pt x="3026" y="66"/>
                        </a:lnTo>
                        <a:lnTo>
                          <a:pt x="3026" y="66"/>
                        </a:lnTo>
                        <a:lnTo>
                          <a:pt x="3026" y="62"/>
                        </a:lnTo>
                        <a:lnTo>
                          <a:pt x="3026" y="56"/>
                        </a:lnTo>
                        <a:lnTo>
                          <a:pt x="3020" y="44"/>
                        </a:lnTo>
                        <a:lnTo>
                          <a:pt x="3010" y="34"/>
                        </a:lnTo>
                        <a:lnTo>
                          <a:pt x="2998" y="24"/>
                        </a:lnTo>
                        <a:lnTo>
                          <a:pt x="2986" y="14"/>
                        </a:lnTo>
                        <a:lnTo>
                          <a:pt x="2972" y="8"/>
                        </a:lnTo>
                        <a:lnTo>
                          <a:pt x="2960" y="2"/>
                        </a:lnTo>
                        <a:lnTo>
                          <a:pt x="2948" y="0"/>
                        </a:lnTo>
                        <a:lnTo>
                          <a:pt x="2948" y="0"/>
                        </a:lnTo>
                        <a:lnTo>
                          <a:pt x="2940" y="0"/>
                        </a:lnTo>
                        <a:lnTo>
                          <a:pt x="2936" y="2"/>
                        </a:lnTo>
                        <a:lnTo>
                          <a:pt x="2934" y="4"/>
                        </a:lnTo>
                        <a:lnTo>
                          <a:pt x="2932" y="8"/>
                        </a:lnTo>
                        <a:lnTo>
                          <a:pt x="2932" y="12"/>
                        </a:lnTo>
                        <a:lnTo>
                          <a:pt x="2928" y="16"/>
                        </a:lnTo>
                        <a:lnTo>
                          <a:pt x="2924" y="20"/>
                        </a:lnTo>
                        <a:lnTo>
                          <a:pt x="2916" y="22"/>
                        </a:lnTo>
                        <a:lnTo>
                          <a:pt x="2916" y="22"/>
                        </a:lnTo>
                        <a:lnTo>
                          <a:pt x="2908" y="26"/>
                        </a:lnTo>
                        <a:lnTo>
                          <a:pt x="2904" y="28"/>
                        </a:lnTo>
                        <a:lnTo>
                          <a:pt x="2902" y="30"/>
                        </a:lnTo>
                        <a:lnTo>
                          <a:pt x="2902" y="34"/>
                        </a:lnTo>
                        <a:lnTo>
                          <a:pt x="2902" y="38"/>
                        </a:lnTo>
                        <a:lnTo>
                          <a:pt x="2900" y="42"/>
                        </a:lnTo>
                        <a:lnTo>
                          <a:pt x="2894" y="46"/>
                        </a:lnTo>
                        <a:lnTo>
                          <a:pt x="2886" y="50"/>
                        </a:lnTo>
                        <a:lnTo>
                          <a:pt x="2886" y="50"/>
                        </a:lnTo>
                        <a:lnTo>
                          <a:pt x="2878" y="56"/>
                        </a:lnTo>
                        <a:lnTo>
                          <a:pt x="2876" y="62"/>
                        </a:lnTo>
                        <a:lnTo>
                          <a:pt x="2876" y="70"/>
                        </a:lnTo>
                        <a:lnTo>
                          <a:pt x="2878" y="80"/>
                        </a:lnTo>
                        <a:lnTo>
                          <a:pt x="2886" y="98"/>
                        </a:lnTo>
                        <a:lnTo>
                          <a:pt x="2888" y="106"/>
                        </a:lnTo>
                        <a:lnTo>
                          <a:pt x="2886" y="114"/>
                        </a:lnTo>
                        <a:lnTo>
                          <a:pt x="2886" y="114"/>
                        </a:lnTo>
                        <a:lnTo>
                          <a:pt x="2884" y="128"/>
                        </a:lnTo>
                        <a:lnTo>
                          <a:pt x="2884" y="136"/>
                        </a:lnTo>
                        <a:lnTo>
                          <a:pt x="2886" y="142"/>
                        </a:lnTo>
                        <a:lnTo>
                          <a:pt x="2890" y="150"/>
                        </a:lnTo>
                        <a:lnTo>
                          <a:pt x="2898" y="156"/>
                        </a:lnTo>
                        <a:lnTo>
                          <a:pt x="2910" y="162"/>
                        </a:lnTo>
                        <a:lnTo>
                          <a:pt x="2924" y="168"/>
                        </a:lnTo>
                        <a:lnTo>
                          <a:pt x="2924" y="168"/>
                        </a:lnTo>
                        <a:lnTo>
                          <a:pt x="2940" y="172"/>
                        </a:lnTo>
                        <a:lnTo>
                          <a:pt x="2954" y="180"/>
                        </a:lnTo>
                        <a:lnTo>
                          <a:pt x="2964" y="186"/>
                        </a:lnTo>
                        <a:lnTo>
                          <a:pt x="2970" y="194"/>
                        </a:lnTo>
                        <a:lnTo>
                          <a:pt x="2974" y="202"/>
                        </a:lnTo>
                        <a:lnTo>
                          <a:pt x="2974" y="208"/>
                        </a:lnTo>
                        <a:lnTo>
                          <a:pt x="2972" y="214"/>
                        </a:lnTo>
                        <a:lnTo>
                          <a:pt x="2966" y="218"/>
                        </a:lnTo>
                        <a:lnTo>
                          <a:pt x="2966" y="218"/>
                        </a:lnTo>
                        <a:lnTo>
                          <a:pt x="2958" y="222"/>
                        </a:lnTo>
                        <a:lnTo>
                          <a:pt x="2954" y="226"/>
                        </a:lnTo>
                        <a:lnTo>
                          <a:pt x="2954" y="232"/>
                        </a:lnTo>
                        <a:lnTo>
                          <a:pt x="2956" y="234"/>
                        </a:lnTo>
                        <a:lnTo>
                          <a:pt x="2960" y="238"/>
                        </a:lnTo>
                        <a:lnTo>
                          <a:pt x="2966" y="238"/>
                        </a:lnTo>
                        <a:lnTo>
                          <a:pt x="2972" y="236"/>
                        </a:lnTo>
                        <a:lnTo>
                          <a:pt x="2980" y="234"/>
                        </a:lnTo>
                        <a:lnTo>
                          <a:pt x="2980" y="234"/>
                        </a:lnTo>
                        <a:lnTo>
                          <a:pt x="2986" y="230"/>
                        </a:lnTo>
                        <a:lnTo>
                          <a:pt x="2992" y="230"/>
                        </a:lnTo>
                        <a:lnTo>
                          <a:pt x="2996" y="232"/>
                        </a:lnTo>
                        <a:lnTo>
                          <a:pt x="2996" y="238"/>
                        </a:lnTo>
                        <a:lnTo>
                          <a:pt x="2994" y="246"/>
                        </a:lnTo>
                        <a:lnTo>
                          <a:pt x="2988" y="254"/>
                        </a:lnTo>
                        <a:lnTo>
                          <a:pt x="2980" y="262"/>
                        </a:lnTo>
                        <a:lnTo>
                          <a:pt x="2968" y="272"/>
                        </a:lnTo>
                        <a:lnTo>
                          <a:pt x="2968" y="272"/>
                        </a:lnTo>
                        <a:lnTo>
                          <a:pt x="2956" y="280"/>
                        </a:lnTo>
                        <a:lnTo>
                          <a:pt x="2946" y="282"/>
                        </a:lnTo>
                        <a:lnTo>
                          <a:pt x="2940" y="284"/>
                        </a:lnTo>
                        <a:lnTo>
                          <a:pt x="2934" y="282"/>
                        </a:lnTo>
                        <a:lnTo>
                          <a:pt x="2930" y="280"/>
                        </a:lnTo>
                        <a:lnTo>
                          <a:pt x="2928" y="282"/>
                        </a:lnTo>
                        <a:lnTo>
                          <a:pt x="2926" y="284"/>
                        </a:lnTo>
                        <a:lnTo>
                          <a:pt x="2922" y="290"/>
                        </a:lnTo>
                        <a:lnTo>
                          <a:pt x="2922" y="290"/>
                        </a:lnTo>
                        <a:lnTo>
                          <a:pt x="2920" y="300"/>
                        </a:lnTo>
                        <a:lnTo>
                          <a:pt x="2924" y="312"/>
                        </a:lnTo>
                        <a:lnTo>
                          <a:pt x="2930" y="334"/>
                        </a:lnTo>
                        <a:lnTo>
                          <a:pt x="2934" y="342"/>
                        </a:lnTo>
                        <a:lnTo>
                          <a:pt x="2934" y="348"/>
                        </a:lnTo>
                        <a:lnTo>
                          <a:pt x="2934" y="350"/>
                        </a:lnTo>
                        <a:lnTo>
                          <a:pt x="2930" y="348"/>
                        </a:lnTo>
                        <a:lnTo>
                          <a:pt x="2922" y="344"/>
                        </a:lnTo>
                        <a:lnTo>
                          <a:pt x="2922" y="344"/>
                        </a:lnTo>
                        <a:lnTo>
                          <a:pt x="2902" y="330"/>
                        </a:lnTo>
                        <a:lnTo>
                          <a:pt x="2896" y="326"/>
                        </a:lnTo>
                        <a:lnTo>
                          <a:pt x="2892" y="320"/>
                        </a:lnTo>
                        <a:lnTo>
                          <a:pt x="2892" y="316"/>
                        </a:lnTo>
                        <a:lnTo>
                          <a:pt x="2892" y="312"/>
                        </a:lnTo>
                        <a:lnTo>
                          <a:pt x="2896" y="298"/>
                        </a:lnTo>
                        <a:lnTo>
                          <a:pt x="2896" y="298"/>
                        </a:lnTo>
                        <a:lnTo>
                          <a:pt x="2900" y="286"/>
                        </a:lnTo>
                        <a:lnTo>
                          <a:pt x="2902" y="280"/>
                        </a:lnTo>
                        <a:lnTo>
                          <a:pt x="2900" y="276"/>
                        </a:lnTo>
                        <a:lnTo>
                          <a:pt x="2898" y="272"/>
                        </a:lnTo>
                        <a:lnTo>
                          <a:pt x="2892" y="270"/>
                        </a:lnTo>
                        <a:lnTo>
                          <a:pt x="2886" y="270"/>
                        </a:lnTo>
                        <a:lnTo>
                          <a:pt x="2876" y="270"/>
                        </a:lnTo>
                        <a:lnTo>
                          <a:pt x="2876" y="270"/>
                        </a:lnTo>
                        <a:lnTo>
                          <a:pt x="2866" y="270"/>
                        </a:lnTo>
                        <a:lnTo>
                          <a:pt x="2858" y="268"/>
                        </a:lnTo>
                        <a:lnTo>
                          <a:pt x="2844" y="260"/>
                        </a:lnTo>
                        <a:lnTo>
                          <a:pt x="2838" y="256"/>
                        </a:lnTo>
                        <a:lnTo>
                          <a:pt x="2830" y="254"/>
                        </a:lnTo>
                        <a:lnTo>
                          <a:pt x="2820" y="254"/>
                        </a:lnTo>
                        <a:lnTo>
                          <a:pt x="2810" y="258"/>
                        </a:lnTo>
                        <a:lnTo>
                          <a:pt x="2810" y="258"/>
                        </a:lnTo>
                        <a:lnTo>
                          <a:pt x="2800" y="264"/>
                        </a:lnTo>
                        <a:lnTo>
                          <a:pt x="2796" y="272"/>
                        </a:lnTo>
                        <a:lnTo>
                          <a:pt x="2796" y="278"/>
                        </a:lnTo>
                        <a:lnTo>
                          <a:pt x="2796" y="286"/>
                        </a:lnTo>
                        <a:lnTo>
                          <a:pt x="2798" y="292"/>
                        </a:lnTo>
                        <a:lnTo>
                          <a:pt x="2798" y="298"/>
                        </a:lnTo>
                        <a:lnTo>
                          <a:pt x="2794" y="304"/>
                        </a:lnTo>
                        <a:lnTo>
                          <a:pt x="2786" y="308"/>
                        </a:lnTo>
                        <a:lnTo>
                          <a:pt x="2786" y="308"/>
                        </a:lnTo>
                        <a:lnTo>
                          <a:pt x="2778" y="310"/>
                        </a:lnTo>
                        <a:lnTo>
                          <a:pt x="2772" y="308"/>
                        </a:lnTo>
                        <a:lnTo>
                          <a:pt x="2760" y="302"/>
                        </a:lnTo>
                        <a:lnTo>
                          <a:pt x="2752" y="300"/>
                        </a:lnTo>
                        <a:lnTo>
                          <a:pt x="2742" y="298"/>
                        </a:lnTo>
                        <a:lnTo>
                          <a:pt x="2726" y="298"/>
                        </a:lnTo>
                        <a:lnTo>
                          <a:pt x="2708" y="302"/>
                        </a:lnTo>
                        <a:lnTo>
                          <a:pt x="2708" y="302"/>
                        </a:lnTo>
                        <a:lnTo>
                          <a:pt x="2680" y="306"/>
                        </a:lnTo>
                        <a:lnTo>
                          <a:pt x="2658" y="306"/>
                        </a:lnTo>
                        <a:lnTo>
                          <a:pt x="2640" y="302"/>
                        </a:lnTo>
                        <a:lnTo>
                          <a:pt x="2626" y="298"/>
                        </a:lnTo>
                        <a:lnTo>
                          <a:pt x="2606" y="286"/>
                        </a:lnTo>
                        <a:lnTo>
                          <a:pt x="2598" y="284"/>
                        </a:lnTo>
                        <a:lnTo>
                          <a:pt x="2590" y="286"/>
                        </a:lnTo>
                        <a:lnTo>
                          <a:pt x="2590" y="286"/>
                        </a:lnTo>
                        <a:lnTo>
                          <a:pt x="2580" y="288"/>
                        </a:lnTo>
                        <a:lnTo>
                          <a:pt x="2572" y="288"/>
                        </a:lnTo>
                        <a:lnTo>
                          <a:pt x="2564" y="286"/>
                        </a:lnTo>
                        <a:lnTo>
                          <a:pt x="2556" y="282"/>
                        </a:lnTo>
                        <a:lnTo>
                          <a:pt x="2544" y="272"/>
                        </a:lnTo>
                        <a:lnTo>
                          <a:pt x="2532" y="260"/>
                        </a:lnTo>
                        <a:lnTo>
                          <a:pt x="2520" y="246"/>
                        </a:lnTo>
                        <a:lnTo>
                          <a:pt x="2510" y="234"/>
                        </a:lnTo>
                        <a:lnTo>
                          <a:pt x="2504" y="230"/>
                        </a:lnTo>
                        <a:lnTo>
                          <a:pt x="2498" y="226"/>
                        </a:lnTo>
                        <a:lnTo>
                          <a:pt x="2492" y="224"/>
                        </a:lnTo>
                        <a:lnTo>
                          <a:pt x="2486" y="224"/>
                        </a:lnTo>
                        <a:lnTo>
                          <a:pt x="2486" y="224"/>
                        </a:lnTo>
                        <a:lnTo>
                          <a:pt x="2456" y="230"/>
                        </a:lnTo>
                        <a:lnTo>
                          <a:pt x="2438" y="234"/>
                        </a:lnTo>
                        <a:lnTo>
                          <a:pt x="2422" y="240"/>
                        </a:lnTo>
                        <a:lnTo>
                          <a:pt x="2408" y="246"/>
                        </a:lnTo>
                        <a:lnTo>
                          <a:pt x="2398" y="252"/>
                        </a:lnTo>
                        <a:lnTo>
                          <a:pt x="2394" y="256"/>
                        </a:lnTo>
                        <a:lnTo>
                          <a:pt x="2392" y="262"/>
                        </a:lnTo>
                        <a:lnTo>
                          <a:pt x="2392" y="266"/>
                        </a:lnTo>
                        <a:lnTo>
                          <a:pt x="2394" y="270"/>
                        </a:lnTo>
                        <a:lnTo>
                          <a:pt x="2394" y="270"/>
                        </a:lnTo>
                        <a:lnTo>
                          <a:pt x="2398" y="274"/>
                        </a:lnTo>
                        <a:lnTo>
                          <a:pt x="2400" y="278"/>
                        </a:lnTo>
                        <a:lnTo>
                          <a:pt x="2406" y="280"/>
                        </a:lnTo>
                        <a:lnTo>
                          <a:pt x="2410" y="280"/>
                        </a:lnTo>
                        <a:lnTo>
                          <a:pt x="2420" y="278"/>
                        </a:lnTo>
                        <a:lnTo>
                          <a:pt x="2432" y="274"/>
                        </a:lnTo>
                        <a:lnTo>
                          <a:pt x="2456" y="264"/>
                        </a:lnTo>
                        <a:lnTo>
                          <a:pt x="2464" y="262"/>
                        </a:lnTo>
                        <a:lnTo>
                          <a:pt x="2468" y="262"/>
                        </a:lnTo>
                        <a:lnTo>
                          <a:pt x="2472" y="264"/>
                        </a:lnTo>
                        <a:lnTo>
                          <a:pt x="2472" y="264"/>
                        </a:lnTo>
                        <a:lnTo>
                          <a:pt x="2474" y="266"/>
                        </a:lnTo>
                        <a:lnTo>
                          <a:pt x="2476" y="268"/>
                        </a:lnTo>
                        <a:lnTo>
                          <a:pt x="2472" y="272"/>
                        </a:lnTo>
                        <a:lnTo>
                          <a:pt x="2456" y="278"/>
                        </a:lnTo>
                        <a:lnTo>
                          <a:pt x="2436" y="286"/>
                        </a:lnTo>
                        <a:lnTo>
                          <a:pt x="2428" y="292"/>
                        </a:lnTo>
                        <a:lnTo>
                          <a:pt x="2422" y="298"/>
                        </a:lnTo>
                        <a:lnTo>
                          <a:pt x="2422" y="298"/>
                        </a:lnTo>
                        <a:lnTo>
                          <a:pt x="2422" y="304"/>
                        </a:lnTo>
                        <a:lnTo>
                          <a:pt x="2424" y="308"/>
                        </a:lnTo>
                        <a:lnTo>
                          <a:pt x="2428" y="320"/>
                        </a:lnTo>
                        <a:lnTo>
                          <a:pt x="2440" y="342"/>
                        </a:lnTo>
                        <a:lnTo>
                          <a:pt x="2444" y="350"/>
                        </a:lnTo>
                        <a:lnTo>
                          <a:pt x="2444" y="352"/>
                        </a:lnTo>
                        <a:lnTo>
                          <a:pt x="2444" y="354"/>
                        </a:lnTo>
                        <a:lnTo>
                          <a:pt x="2436" y="350"/>
                        </a:lnTo>
                        <a:lnTo>
                          <a:pt x="2418" y="340"/>
                        </a:lnTo>
                        <a:lnTo>
                          <a:pt x="2418" y="340"/>
                        </a:lnTo>
                        <a:lnTo>
                          <a:pt x="2398" y="326"/>
                        </a:lnTo>
                        <a:lnTo>
                          <a:pt x="2382" y="318"/>
                        </a:lnTo>
                        <a:lnTo>
                          <a:pt x="2364" y="310"/>
                        </a:lnTo>
                        <a:lnTo>
                          <a:pt x="2354" y="306"/>
                        </a:lnTo>
                        <a:lnTo>
                          <a:pt x="2348" y="302"/>
                        </a:lnTo>
                        <a:lnTo>
                          <a:pt x="2340" y="294"/>
                        </a:lnTo>
                        <a:lnTo>
                          <a:pt x="2340" y="294"/>
                        </a:lnTo>
                        <a:lnTo>
                          <a:pt x="2334" y="288"/>
                        </a:lnTo>
                        <a:lnTo>
                          <a:pt x="2330" y="286"/>
                        </a:lnTo>
                        <a:lnTo>
                          <a:pt x="2326" y="288"/>
                        </a:lnTo>
                        <a:lnTo>
                          <a:pt x="2320" y="290"/>
                        </a:lnTo>
                        <a:lnTo>
                          <a:pt x="2314" y="296"/>
                        </a:lnTo>
                        <a:lnTo>
                          <a:pt x="2304" y="300"/>
                        </a:lnTo>
                        <a:lnTo>
                          <a:pt x="2286" y="304"/>
                        </a:lnTo>
                        <a:lnTo>
                          <a:pt x="2262" y="308"/>
                        </a:lnTo>
                        <a:lnTo>
                          <a:pt x="2262" y="308"/>
                        </a:lnTo>
                        <a:lnTo>
                          <a:pt x="2206" y="308"/>
                        </a:lnTo>
                        <a:lnTo>
                          <a:pt x="2180" y="308"/>
                        </a:lnTo>
                        <a:lnTo>
                          <a:pt x="2156" y="306"/>
                        </a:lnTo>
                        <a:lnTo>
                          <a:pt x="2140" y="302"/>
                        </a:lnTo>
                        <a:lnTo>
                          <a:pt x="2128" y="298"/>
                        </a:lnTo>
                        <a:lnTo>
                          <a:pt x="2124" y="296"/>
                        </a:lnTo>
                        <a:lnTo>
                          <a:pt x="2124" y="292"/>
                        </a:lnTo>
                        <a:lnTo>
                          <a:pt x="2126" y="288"/>
                        </a:lnTo>
                        <a:lnTo>
                          <a:pt x="2130" y="284"/>
                        </a:lnTo>
                        <a:lnTo>
                          <a:pt x="2130" y="284"/>
                        </a:lnTo>
                        <a:lnTo>
                          <a:pt x="2142" y="278"/>
                        </a:lnTo>
                        <a:lnTo>
                          <a:pt x="2154" y="274"/>
                        </a:lnTo>
                        <a:lnTo>
                          <a:pt x="2172" y="272"/>
                        </a:lnTo>
                        <a:lnTo>
                          <a:pt x="2178" y="270"/>
                        </a:lnTo>
                        <a:lnTo>
                          <a:pt x="2180" y="268"/>
                        </a:lnTo>
                        <a:lnTo>
                          <a:pt x="2178" y="264"/>
                        </a:lnTo>
                        <a:lnTo>
                          <a:pt x="2170" y="256"/>
                        </a:lnTo>
                        <a:lnTo>
                          <a:pt x="2170" y="256"/>
                        </a:lnTo>
                        <a:lnTo>
                          <a:pt x="2154" y="240"/>
                        </a:lnTo>
                        <a:lnTo>
                          <a:pt x="2144" y="232"/>
                        </a:lnTo>
                        <a:lnTo>
                          <a:pt x="2134" y="228"/>
                        </a:lnTo>
                        <a:lnTo>
                          <a:pt x="2124" y="222"/>
                        </a:lnTo>
                        <a:lnTo>
                          <a:pt x="2110" y="220"/>
                        </a:lnTo>
                        <a:lnTo>
                          <a:pt x="2096" y="220"/>
                        </a:lnTo>
                        <a:lnTo>
                          <a:pt x="2080" y="220"/>
                        </a:lnTo>
                        <a:lnTo>
                          <a:pt x="2080" y="220"/>
                        </a:lnTo>
                        <a:lnTo>
                          <a:pt x="2064" y="222"/>
                        </a:lnTo>
                        <a:lnTo>
                          <a:pt x="2046" y="220"/>
                        </a:lnTo>
                        <a:lnTo>
                          <a:pt x="2030" y="218"/>
                        </a:lnTo>
                        <a:lnTo>
                          <a:pt x="2014" y="212"/>
                        </a:lnTo>
                        <a:lnTo>
                          <a:pt x="1982" y="202"/>
                        </a:lnTo>
                        <a:lnTo>
                          <a:pt x="1948" y="194"/>
                        </a:lnTo>
                        <a:lnTo>
                          <a:pt x="1948" y="194"/>
                        </a:lnTo>
                        <a:lnTo>
                          <a:pt x="1932" y="190"/>
                        </a:lnTo>
                        <a:lnTo>
                          <a:pt x="1918" y="184"/>
                        </a:lnTo>
                        <a:lnTo>
                          <a:pt x="1890" y="172"/>
                        </a:lnTo>
                        <a:lnTo>
                          <a:pt x="1876" y="166"/>
                        </a:lnTo>
                        <a:lnTo>
                          <a:pt x="1862" y="160"/>
                        </a:lnTo>
                        <a:lnTo>
                          <a:pt x="1848" y="158"/>
                        </a:lnTo>
                        <a:lnTo>
                          <a:pt x="1832" y="158"/>
                        </a:lnTo>
                        <a:lnTo>
                          <a:pt x="1832" y="158"/>
                        </a:lnTo>
                        <a:lnTo>
                          <a:pt x="1820" y="160"/>
                        </a:lnTo>
                        <a:lnTo>
                          <a:pt x="1812" y="164"/>
                        </a:lnTo>
                        <a:lnTo>
                          <a:pt x="1808" y="170"/>
                        </a:lnTo>
                        <a:lnTo>
                          <a:pt x="1806" y="176"/>
                        </a:lnTo>
                        <a:lnTo>
                          <a:pt x="1804" y="182"/>
                        </a:lnTo>
                        <a:lnTo>
                          <a:pt x="1800" y="186"/>
                        </a:lnTo>
                        <a:lnTo>
                          <a:pt x="1792" y="188"/>
                        </a:lnTo>
                        <a:lnTo>
                          <a:pt x="1780" y="188"/>
                        </a:lnTo>
                        <a:lnTo>
                          <a:pt x="1780" y="188"/>
                        </a:lnTo>
                        <a:lnTo>
                          <a:pt x="1774" y="186"/>
                        </a:lnTo>
                        <a:lnTo>
                          <a:pt x="1768" y="184"/>
                        </a:lnTo>
                        <a:lnTo>
                          <a:pt x="1764" y="180"/>
                        </a:lnTo>
                        <a:lnTo>
                          <a:pt x="1762" y="176"/>
                        </a:lnTo>
                        <a:lnTo>
                          <a:pt x="1760" y="166"/>
                        </a:lnTo>
                        <a:lnTo>
                          <a:pt x="1760" y="156"/>
                        </a:lnTo>
                        <a:lnTo>
                          <a:pt x="1760" y="146"/>
                        </a:lnTo>
                        <a:lnTo>
                          <a:pt x="1758" y="138"/>
                        </a:lnTo>
                        <a:lnTo>
                          <a:pt x="1756" y="136"/>
                        </a:lnTo>
                        <a:lnTo>
                          <a:pt x="1750" y="134"/>
                        </a:lnTo>
                        <a:lnTo>
                          <a:pt x="1744" y="134"/>
                        </a:lnTo>
                        <a:lnTo>
                          <a:pt x="1736" y="134"/>
                        </a:lnTo>
                        <a:lnTo>
                          <a:pt x="1736" y="134"/>
                        </a:lnTo>
                        <a:lnTo>
                          <a:pt x="1732" y="136"/>
                        </a:lnTo>
                        <a:lnTo>
                          <a:pt x="1730" y="140"/>
                        </a:lnTo>
                        <a:lnTo>
                          <a:pt x="1726" y="148"/>
                        </a:lnTo>
                        <a:lnTo>
                          <a:pt x="1724" y="172"/>
                        </a:lnTo>
                        <a:lnTo>
                          <a:pt x="1720" y="182"/>
                        </a:lnTo>
                        <a:lnTo>
                          <a:pt x="1718" y="186"/>
                        </a:lnTo>
                        <a:lnTo>
                          <a:pt x="1716" y="190"/>
                        </a:lnTo>
                        <a:lnTo>
                          <a:pt x="1712" y="190"/>
                        </a:lnTo>
                        <a:lnTo>
                          <a:pt x="1706" y="190"/>
                        </a:lnTo>
                        <a:lnTo>
                          <a:pt x="1698" y="188"/>
                        </a:lnTo>
                        <a:lnTo>
                          <a:pt x="1688" y="184"/>
                        </a:lnTo>
                        <a:lnTo>
                          <a:pt x="1688" y="184"/>
                        </a:lnTo>
                        <a:lnTo>
                          <a:pt x="1684" y="182"/>
                        </a:lnTo>
                        <a:lnTo>
                          <a:pt x="1678" y="176"/>
                        </a:lnTo>
                        <a:lnTo>
                          <a:pt x="1668" y="162"/>
                        </a:lnTo>
                        <a:lnTo>
                          <a:pt x="1650" y="132"/>
                        </a:lnTo>
                        <a:lnTo>
                          <a:pt x="1640" y="116"/>
                        </a:lnTo>
                        <a:lnTo>
                          <a:pt x="1630" y="106"/>
                        </a:lnTo>
                        <a:lnTo>
                          <a:pt x="1624" y="104"/>
                        </a:lnTo>
                        <a:lnTo>
                          <a:pt x="1620" y="102"/>
                        </a:lnTo>
                        <a:lnTo>
                          <a:pt x="1614" y="102"/>
                        </a:lnTo>
                        <a:lnTo>
                          <a:pt x="1608" y="106"/>
                        </a:lnTo>
                        <a:lnTo>
                          <a:pt x="1608" y="106"/>
                        </a:lnTo>
                        <a:lnTo>
                          <a:pt x="1600" y="114"/>
                        </a:lnTo>
                        <a:lnTo>
                          <a:pt x="1598" y="116"/>
                        </a:lnTo>
                        <a:lnTo>
                          <a:pt x="1600" y="118"/>
                        </a:lnTo>
                        <a:lnTo>
                          <a:pt x="1604" y="120"/>
                        </a:lnTo>
                        <a:lnTo>
                          <a:pt x="1610" y="122"/>
                        </a:lnTo>
                        <a:lnTo>
                          <a:pt x="1616" y="124"/>
                        </a:lnTo>
                        <a:lnTo>
                          <a:pt x="1616" y="126"/>
                        </a:lnTo>
                        <a:lnTo>
                          <a:pt x="1616" y="130"/>
                        </a:lnTo>
                        <a:lnTo>
                          <a:pt x="1610" y="138"/>
                        </a:lnTo>
                        <a:lnTo>
                          <a:pt x="1592" y="150"/>
                        </a:lnTo>
                        <a:lnTo>
                          <a:pt x="1592" y="150"/>
                        </a:lnTo>
                        <a:lnTo>
                          <a:pt x="1574" y="160"/>
                        </a:lnTo>
                        <a:lnTo>
                          <a:pt x="1572" y="160"/>
                        </a:lnTo>
                        <a:lnTo>
                          <a:pt x="1570" y="158"/>
                        </a:lnTo>
                        <a:lnTo>
                          <a:pt x="1568" y="156"/>
                        </a:lnTo>
                        <a:lnTo>
                          <a:pt x="1560" y="156"/>
                        </a:lnTo>
                        <a:lnTo>
                          <a:pt x="1546" y="160"/>
                        </a:lnTo>
                        <a:lnTo>
                          <a:pt x="1522" y="168"/>
                        </a:lnTo>
                        <a:lnTo>
                          <a:pt x="1522" y="168"/>
                        </a:lnTo>
                        <a:lnTo>
                          <a:pt x="1482" y="180"/>
                        </a:lnTo>
                        <a:lnTo>
                          <a:pt x="1476" y="182"/>
                        </a:lnTo>
                        <a:lnTo>
                          <a:pt x="1476" y="180"/>
                        </a:lnTo>
                        <a:lnTo>
                          <a:pt x="1476" y="180"/>
                        </a:lnTo>
                        <a:lnTo>
                          <a:pt x="1494" y="168"/>
                        </a:lnTo>
                        <a:lnTo>
                          <a:pt x="1526" y="152"/>
                        </a:lnTo>
                        <a:lnTo>
                          <a:pt x="1526" y="152"/>
                        </a:lnTo>
                        <a:lnTo>
                          <a:pt x="1552" y="140"/>
                        </a:lnTo>
                        <a:lnTo>
                          <a:pt x="1558" y="136"/>
                        </a:lnTo>
                        <a:lnTo>
                          <a:pt x="1560" y="132"/>
                        </a:lnTo>
                        <a:lnTo>
                          <a:pt x="1560" y="132"/>
                        </a:lnTo>
                        <a:lnTo>
                          <a:pt x="1556" y="132"/>
                        </a:lnTo>
                        <a:lnTo>
                          <a:pt x="1538" y="134"/>
                        </a:lnTo>
                        <a:lnTo>
                          <a:pt x="1538" y="134"/>
                        </a:lnTo>
                        <a:lnTo>
                          <a:pt x="1530" y="136"/>
                        </a:lnTo>
                        <a:lnTo>
                          <a:pt x="1522" y="134"/>
                        </a:lnTo>
                        <a:lnTo>
                          <a:pt x="1510" y="134"/>
                        </a:lnTo>
                        <a:lnTo>
                          <a:pt x="1506" y="134"/>
                        </a:lnTo>
                        <a:lnTo>
                          <a:pt x="1498" y="136"/>
                        </a:lnTo>
                        <a:lnTo>
                          <a:pt x="1488" y="140"/>
                        </a:lnTo>
                        <a:lnTo>
                          <a:pt x="1474" y="148"/>
                        </a:lnTo>
                        <a:lnTo>
                          <a:pt x="1474" y="148"/>
                        </a:lnTo>
                        <a:lnTo>
                          <a:pt x="1462" y="156"/>
                        </a:lnTo>
                        <a:lnTo>
                          <a:pt x="1454" y="160"/>
                        </a:lnTo>
                        <a:lnTo>
                          <a:pt x="1448" y="160"/>
                        </a:lnTo>
                        <a:lnTo>
                          <a:pt x="1442" y="162"/>
                        </a:lnTo>
                        <a:lnTo>
                          <a:pt x="1438" y="162"/>
                        </a:lnTo>
                        <a:lnTo>
                          <a:pt x="1432" y="164"/>
                        </a:lnTo>
                        <a:lnTo>
                          <a:pt x="1422" y="168"/>
                        </a:lnTo>
                        <a:lnTo>
                          <a:pt x="1406" y="178"/>
                        </a:lnTo>
                        <a:lnTo>
                          <a:pt x="1406" y="178"/>
                        </a:lnTo>
                        <a:lnTo>
                          <a:pt x="1378" y="198"/>
                        </a:lnTo>
                        <a:lnTo>
                          <a:pt x="1358" y="210"/>
                        </a:lnTo>
                        <a:lnTo>
                          <a:pt x="1352" y="214"/>
                        </a:lnTo>
                        <a:lnTo>
                          <a:pt x="1350" y="218"/>
                        </a:lnTo>
                        <a:lnTo>
                          <a:pt x="1350" y="224"/>
                        </a:lnTo>
                        <a:lnTo>
                          <a:pt x="1352" y="230"/>
                        </a:lnTo>
                        <a:lnTo>
                          <a:pt x="1352" y="230"/>
                        </a:lnTo>
                        <a:lnTo>
                          <a:pt x="1352" y="234"/>
                        </a:lnTo>
                        <a:lnTo>
                          <a:pt x="1352" y="236"/>
                        </a:lnTo>
                        <a:lnTo>
                          <a:pt x="1340" y="232"/>
                        </a:lnTo>
                        <a:lnTo>
                          <a:pt x="1332" y="230"/>
                        </a:lnTo>
                        <a:lnTo>
                          <a:pt x="1324" y="228"/>
                        </a:lnTo>
                        <a:lnTo>
                          <a:pt x="1316" y="230"/>
                        </a:lnTo>
                        <a:lnTo>
                          <a:pt x="1308" y="232"/>
                        </a:lnTo>
                        <a:lnTo>
                          <a:pt x="1308" y="232"/>
                        </a:lnTo>
                        <a:lnTo>
                          <a:pt x="1300" y="236"/>
                        </a:lnTo>
                        <a:lnTo>
                          <a:pt x="1296" y="236"/>
                        </a:lnTo>
                        <a:lnTo>
                          <a:pt x="1294" y="236"/>
                        </a:lnTo>
                        <a:lnTo>
                          <a:pt x="1290" y="232"/>
                        </a:lnTo>
                        <a:lnTo>
                          <a:pt x="1286" y="228"/>
                        </a:lnTo>
                        <a:lnTo>
                          <a:pt x="1280" y="226"/>
                        </a:lnTo>
                        <a:lnTo>
                          <a:pt x="1270" y="224"/>
                        </a:lnTo>
                        <a:lnTo>
                          <a:pt x="1258" y="222"/>
                        </a:lnTo>
                        <a:lnTo>
                          <a:pt x="1258" y="222"/>
                        </a:lnTo>
                        <a:lnTo>
                          <a:pt x="1236" y="220"/>
                        </a:lnTo>
                        <a:lnTo>
                          <a:pt x="1216" y="214"/>
                        </a:lnTo>
                        <a:lnTo>
                          <a:pt x="1198" y="206"/>
                        </a:lnTo>
                        <a:lnTo>
                          <a:pt x="1178" y="196"/>
                        </a:lnTo>
                        <a:lnTo>
                          <a:pt x="1160" y="186"/>
                        </a:lnTo>
                        <a:lnTo>
                          <a:pt x="1138" y="178"/>
                        </a:lnTo>
                        <a:lnTo>
                          <a:pt x="1114" y="172"/>
                        </a:lnTo>
                        <a:lnTo>
                          <a:pt x="1102" y="172"/>
                        </a:lnTo>
                        <a:lnTo>
                          <a:pt x="1088" y="172"/>
                        </a:lnTo>
                        <a:lnTo>
                          <a:pt x="1088" y="172"/>
                        </a:lnTo>
                        <a:lnTo>
                          <a:pt x="1074" y="170"/>
                        </a:lnTo>
                        <a:lnTo>
                          <a:pt x="1062" y="168"/>
                        </a:lnTo>
                        <a:lnTo>
                          <a:pt x="1052" y="162"/>
                        </a:lnTo>
                        <a:lnTo>
                          <a:pt x="1044" y="158"/>
                        </a:lnTo>
                        <a:lnTo>
                          <a:pt x="1036" y="152"/>
                        </a:lnTo>
                        <a:lnTo>
                          <a:pt x="1026" y="146"/>
                        </a:lnTo>
                        <a:lnTo>
                          <a:pt x="1014" y="142"/>
                        </a:lnTo>
                        <a:lnTo>
                          <a:pt x="998" y="140"/>
                        </a:lnTo>
                        <a:lnTo>
                          <a:pt x="998" y="140"/>
                        </a:lnTo>
                        <a:lnTo>
                          <a:pt x="982" y="138"/>
                        </a:lnTo>
                        <a:lnTo>
                          <a:pt x="970" y="140"/>
                        </a:lnTo>
                        <a:lnTo>
                          <a:pt x="950" y="144"/>
                        </a:lnTo>
                        <a:lnTo>
                          <a:pt x="940" y="146"/>
                        </a:lnTo>
                        <a:lnTo>
                          <a:pt x="932" y="146"/>
                        </a:lnTo>
                        <a:lnTo>
                          <a:pt x="922" y="146"/>
                        </a:lnTo>
                        <a:lnTo>
                          <a:pt x="912" y="142"/>
                        </a:lnTo>
                        <a:lnTo>
                          <a:pt x="912" y="142"/>
                        </a:lnTo>
                        <a:lnTo>
                          <a:pt x="898" y="138"/>
                        </a:lnTo>
                        <a:lnTo>
                          <a:pt x="884" y="134"/>
                        </a:lnTo>
                        <a:lnTo>
                          <a:pt x="852" y="132"/>
                        </a:lnTo>
                        <a:lnTo>
                          <a:pt x="816" y="128"/>
                        </a:lnTo>
                        <a:lnTo>
                          <a:pt x="798" y="122"/>
                        </a:lnTo>
                        <a:lnTo>
                          <a:pt x="778" y="116"/>
                        </a:lnTo>
                        <a:lnTo>
                          <a:pt x="778" y="116"/>
                        </a:lnTo>
                        <a:lnTo>
                          <a:pt x="758" y="110"/>
                        </a:lnTo>
                        <a:lnTo>
                          <a:pt x="744" y="108"/>
                        </a:lnTo>
                        <a:lnTo>
                          <a:pt x="732" y="108"/>
                        </a:lnTo>
                        <a:lnTo>
                          <a:pt x="722" y="110"/>
                        </a:lnTo>
                        <a:lnTo>
                          <a:pt x="710" y="114"/>
                        </a:lnTo>
                        <a:lnTo>
                          <a:pt x="698" y="116"/>
                        </a:lnTo>
                        <a:lnTo>
                          <a:pt x="682" y="114"/>
                        </a:lnTo>
                        <a:lnTo>
                          <a:pt x="664" y="110"/>
                        </a:lnTo>
                        <a:lnTo>
                          <a:pt x="664" y="110"/>
                        </a:lnTo>
                        <a:lnTo>
                          <a:pt x="648" y="104"/>
                        </a:lnTo>
                        <a:lnTo>
                          <a:pt x="640" y="98"/>
                        </a:lnTo>
                        <a:lnTo>
                          <a:pt x="636" y="94"/>
                        </a:lnTo>
                        <a:lnTo>
                          <a:pt x="636" y="90"/>
                        </a:lnTo>
                        <a:lnTo>
                          <a:pt x="634" y="86"/>
                        </a:lnTo>
                        <a:lnTo>
                          <a:pt x="630" y="82"/>
                        </a:lnTo>
                        <a:lnTo>
                          <a:pt x="622" y="82"/>
                        </a:lnTo>
                        <a:lnTo>
                          <a:pt x="604" y="80"/>
                        </a:lnTo>
                        <a:lnTo>
                          <a:pt x="604" y="80"/>
                        </a:lnTo>
                        <a:lnTo>
                          <a:pt x="572" y="82"/>
                        </a:lnTo>
                        <a:lnTo>
                          <a:pt x="556" y="82"/>
                        </a:lnTo>
                        <a:lnTo>
                          <a:pt x="552" y="82"/>
                        </a:lnTo>
                        <a:lnTo>
                          <a:pt x="548" y="80"/>
                        </a:lnTo>
                        <a:lnTo>
                          <a:pt x="540" y="72"/>
                        </a:lnTo>
                        <a:lnTo>
                          <a:pt x="540" y="72"/>
                        </a:lnTo>
                        <a:lnTo>
                          <a:pt x="534" y="66"/>
                        </a:lnTo>
                        <a:lnTo>
                          <a:pt x="528" y="66"/>
                        </a:lnTo>
                        <a:lnTo>
                          <a:pt x="524" y="66"/>
                        </a:lnTo>
                        <a:lnTo>
                          <a:pt x="518" y="68"/>
                        </a:lnTo>
                        <a:lnTo>
                          <a:pt x="510" y="70"/>
                        </a:lnTo>
                        <a:lnTo>
                          <a:pt x="506" y="70"/>
                        </a:lnTo>
                        <a:lnTo>
                          <a:pt x="500" y="66"/>
                        </a:lnTo>
                        <a:lnTo>
                          <a:pt x="500" y="66"/>
                        </a:lnTo>
                        <a:lnTo>
                          <a:pt x="488" y="56"/>
                        </a:lnTo>
                        <a:lnTo>
                          <a:pt x="482" y="52"/>
                        </a:lnTo>
                        <a:lnTo>
                          <a:pt x="474" y="50"/>
                        </a:lnTo>
                        <a:lnTo>
                          <a:pt x="466" y="50"/>
                        </a:lnTo>
                        <a:lnTo>
                          <a:pt x="456" y="52"/>
                        </a:lnTo>
                        <a:lnTo>
                          <a:pt x="444" y="58"/>
                        </a:lnTo>
                        <a:lnTo>
                          <a:pt x="432" y="68"/>
                        </a:lnTo>
                        <a:lnTo>
                          <a:pt x="432" y="68"/>
                        </a:lnTo>
                        <a:lnTo>
                          <a:pt x="418" y="78"/>
                        </a:lnTo>
                        <a:lnTo>
                          <a:pt x="404" y="82"/>
                        </a:lnTo>
                        <a:lnTo>
                          <a:pt x="392" y="84"/>
                        </a:lnTo>
                        <a:lnTo>
                          <a:pt x="378" y="84"/>
                        </a:lnTo>
                        <a:lnTo>
                          <a:pt x="364" y="84"/>
                        </a:lnTo>
                        <a:lnTo>
                          <a:pt x="348" y="86"/>
                        </a:lnTo>
                        <a:lnTo>
                          <a:pt x="330" y="94"/>
                        </a:lnTo>
                        <a:lnTo>
                          <a:pt x="310" y="106"/>
                        </a:lnTo>
                        <a:lnTo>
                          <a:pt x="310" y="106"/>
                        </a:lnTo>
                        <a:lnTo>
                          <a:pt x="300" y="114"/>
                        </a:lnTo>
                        <a:lnTo>
                          <a:pt x="290" y="120"/>
                        </a:lnTo>
                        <a:lnTo>
                          <a:pt x="282" y="122"/>
                        </a:lnTo>
                        <a:lnTo>
                          <a:pt x="274" y="124"/>
                        </a:lnTo>
                        <a:lnTo>
                          <a:pt x="260" y="126"/>
                        </a:lnTo>
                        <a:lnTo>
                          <a:pt x="250" y="124"/>
                        </a:lnTo>
                        <a:lnTo>
                          <a:pt x="240" y="124"/>
                        </a:lnTo>
                        <a:lnTo>
                          <a:pt x="236" y="124"/>
                        </a:lnTo>
                        <a:lnTo>
                          <a:pt x="230" y="126"/>
                        </a:lnTo>
                        <a:lnTo>
                          <a:pt x="226" y="130"/>
                        </a:lnTo>
                        <a:lnTo>
                          <a:pt x="222" y="134"/>
                        </a:lnTo>
                        <a:lnTo>
                          <a:pt x="212" y="152"/>
                        </a:lnTo>
                        <a:lnTo>
                          <a:pt x="212" y="152"/>
                        </a:lnTo>
                        <a:lnTo>
                          <a:pt x="202" y="172"/>
                        </a:lnTo>
                        <a:lnTo>
                          <a:pt x="192" y="188"/>
                        </a:lnTo>
                        <a:lnTo>
                          <a:pt x="182" y="202"/>
                        </a:lnTo>
                        <a:lnTo>
                          <a:pt x="172" y="212"/>
                        </a:lnTo>
                        <a:lnTo>
                          <a:pt x="158" y="220"/>
                        </a:lnTo>
                        <a:lnTo>
                          <a:pt x="142" y="224"/>
                        </a:lnTo>
                        <a:lnTo>
                          <a:pt x="122" y="228"/>
                        </a:lnTo>
                        <a:lnTo>
                          <a:pt x="96" y="228"/>
                        </a:lnTo>
                        <a:lnTo>
                          <a:pt x="96" y="228"/>
                        </a:lnTo>
                        <a:lnTo>
                          <a:pt x="84" y="230"/>
                        </a:lnTo>
                        <a:lnTo>
                          <a:pt x="78" y="232"/>
                        </a:lnTo>
                        <a:lnTo>
                          <a:pt x="74" y="236"/>
                        </a:lnTo>
                        <a:lnTo>
                          <a:pt x="74" y="240"/>
                        </a:lnTo>
                        <a:lnTo>
                          <a:pt x="74" y="244"/>
                        </a:lnTo>
                        <a:lnTo>
                          <a:pt x="72" y="250"/>
                        </a:lnTo>
                        <a:lnTo>
                          <a:pt x="66" y="254"/>
                        </a:lnTo>
                        <a:lnTo>
                          <a:pt x="58" y="258"/>
                        </a:lnTo>
                        <a:lnTo>
                          <a:pt x="58" y="258"/>
                        </a:lnTo>
                        <a:lnTo>
                          <a:pt x="54" y="260"/>
                        </a:lnTo>
                        <a:lnTo>
                          <a:pt x="52" y="262"/>
                        </a:lnTo>
                        <a:lnTo>
                          <a:pt x="54" y="266"/>
                        </a:lnTo>
                        <a:lnTo>
                          <a:pt x="58" y="268"/>
                        </a:lnTo>
                        <a:lnTo>
                          <a:pt x="72" y="274"/>
                        </a:lnTo>
                        <a:lnTo>
                          <a:pt x="92" y="282"/>
                        </a:lnTo>
                        <a:lnTo>
                          <a:pt x="114" y="292"/>
                        </a:lnTo>
                        <a:lnTo>
                          <a:pt x="136" y="304"/>
                        </a:lnTo>
                        <a:lnTo>
                          <a:pt x="156" y="318"/>
                        </a:lnTo>
                        <a:lnTo>
                          <a:pt x="162" y="326"/>
                        </a:lnTo>
                        <a:lnTo>
                          <a:pt x="168" y="334"/>
                        </a:lnTo>
                        <a:lnTo>
                          <a:pt x="168" y="334"/>
                        </a:lnTo>
                        <a:lnTo>
                          <a:pt x="172" y="342"/>
                        </a:lnTo>
                        <a:lnTo>
                          <a:pt x="176" y="346"/>
                        </a:lnTo>
                        <a:lnTo>
                          <a:pt x="186" y="354"/>
                        </a:lnTo>
                        <a:lnTo>
                          <a:pt x="196" y="356"/>
                        </a:lnTo>
                        <a:lnTo>
                          <a:pt x="206" y="356"/>
                        </a:lnTo>
                        <a:lnTo>
                          <a:pt x="212" y="356"/>
                        </a:lnTo>
                        <a:lnTo>
                          <a:pt x="218" y="356"/>
                        </a:lnTo>
                        <a:lnTo>
                          <a:pt x="220" y="356"/>
                        </a:lnTo>
                        <a:lnTo>
                          <a:pt x="222" y="358"/>
                        </a:lnTo>
                        <a:lnTo>
                          <a:pt x="220" y="364"/>
                        </a:lnTo>
                        <a:lnTo>
                          <a:pt x="220" y="364"/>
                        </a:lnTo>
                        <a:lnTo>
                          <a:pt x="220" y="372"/>
                        </a:lnTo>
                        <a:lnTo>
                          <a:pt x="220" y="376"/>
                        </a:lnTo>
                        <a:lnTo>
                          <a:pt x="224" y="378"/>
                        </a:lnTo>
                        <a:lnTo>
                          <a:pt x="228" y="380"/>
                        </a:lnTo>
                        <a:lnTo>
                          <a:pt x="232" y="380"/>
                        </a:lnTo>
                        <a:lnTo>
                          <a:pt x="236" y="382"/>
                        </a:lnTo>
                        <a:lnTo>
                          <a:pt x="240" y="386"/>
                        </a:lnTo>
                        <a:lnTo>
                          <a:pt x="242" y="392"/>
                        </a:lnTo>
                        <a:lnTo>
                          <a:pt x="242" y="392"/>
                        </a:lnTo>
                        <a:lnTo>
                          <a:pt x="244" y="400"/>
                        </a:lnTo>
                        <a:lnTo>
                          <a:pt x="248" y="402"/>
                        </a:lnTo>
                        <a:lnTo>
                          <a:pt x="254" y="404"/>
                        </a:lnTo>
                        <a:lnTo>
                          <a:pt x="260" y="402"/>
                        </a:lnTo>
                        <a:lnTo>
                          <a:pt x="266" y="402"/>
                        </a:lnTo>
                        <a:lnTo>
                          <a:pt x="270" y="402"/>
                        </a:lnTo>
                        <a:lnTo>
                          <a:pt x="274" y="404"/>
                        </a:lnTo>
                        <a:lnTo>
                          <a:pt x="276" y="410"/>
                        </a:lnTo>
                        <a:lnTo>
                          <a:pt x="276" y="410"/>
                        </a:lnTo>
                        <a:lnTo>
                          <a:pt x="274" y="418"/>
                        </a:lnTo>
                        <a:lnTo>
                          <a:pt x="272" y="418"/>
                        </a:lnTo>
                        <a:lnTo>
                          <a:pt x="270" y="418"/>
                        </a:lnTo>
                        <a:lnTo>
                          <a:pt x="266" y="416"/>
                        </a:lnTo>
                        <a:lnTo>
                          <a:pt x="262" y="416"/>
                        </a:lnTo>
                        <a:lnTo>
                          <a:pt x="258" y="418"/>
                        </a:lnTo>
                        <a:lnTo>
                          <a:pt x="252" y="424"/>
                        </a:lnTo>
                        <a:lnTo>
                          <a:pt x="252" y="424"/>
                        </a:lnTo>
                        <a:lnTo>
                          <a:pt x="250" y="426"/>
                        </a:lnTo>
                        <a:lnTo>
                          <a:pt x="248" y="426"/>
                        </a:lnTo>
                        <a:lnTo>
                          <a:pt x="240" y="422"/>
                        </a:lnTo>
                        <a:lnTo>
                          <a:pt x="234" y="420"/>
                        </a:lnTo>
                        <a:lnTo>
                          <a:pt x="224" y="420"/>
                        </a:lnTo>
                        <a:lnTo>
                          <a:pt x="212" y="420"/>
                        </a:lnTo>
                        <a:lnTo>
                          <a:pt x="194" y="422"/>
                        </a:lnTo>
                        <a:lnTo>
                          <a:pt x="194" y="422"/>
                        </a:lnTo>
                        <a:lnTo>
                          <a:pt x="186" y="422"/>
                        </a:lnTo>
                        <a:lnTo>
                          <a:pt x="180" y="420"/>
                        </a:lnTo>
                        <a:lnTo>
                          <a:pt x="176" y="418"/>
                        </a:lnTo>
                        <a:lnTo>
                          <a:pt x="174" y="416"/>
                        </a:lnTo>
                        <a:lnTo>
                          <a:pt x="174" y="408"/>
                        </a:lnTo>
                        <a:lnTo>
                          <a:pt x="176" y="398"/>
                        </a:lnTo>
                        <a:lnTo>
                          <a:pt x="176" y="390"/>
                        </a:lnTo>
                        <a:lnTo>
                          <a:pt x="174" y="388"/>
                        </a:lnTo>
                        <a:lnTo>
                          <a:pt x="172" y="384"/>
                        </a:lnTo>
                        <a:lnTo>
                          <a:pt x="168" y="384"/>
                        </a:lnTo>
                        <a:lnTo>
                          <a:pt x="162" y="384"/>
                        </a:lnTo>
                        <a:lnTo>
                          <a:pt x="140" y="388"/>
                        </a:lnTo>
                        <a:lnTo>
                          <a:pt x="140" y="388"/>
                        </a:lnTo>
                        <a:lnTo>
                          <a:pt x="116" y="396"/>
                        </a:lnTo>
                        <a:lnTo>
                          <a:pt x="92" y="406"/>
                        </a:lnTo>
                        <a:lnTo>
                          <a:pt x="56" y="424"/>
                        </a:lnTo>
                        <a:lnTo>
                          <a:pt x="28" y="440"/>
                        </a:lnTo>
                        <a:lnTo>
                          <a:pt x="18" y="444"/>
                        </a:lnTo>
                        <a:lnTo>
                          <a:pt x="10" y="446"/>
                        </a:lnTo>
                        <a:lnTo>
                          <a:pt x="10" y="446"/>
                        </a:lnTo>
                        <a:lnTo>
                          <a:pt x="4" y="448"/>
                        </a:lnTo>
                        <a:lnTo>
                          <a:pt x="0" y="452"/>
                        </a:lnTo>
                        <a:lnTo>
                          <a:pt x="0" y="456"/>
                        </a:lnTo>
                        <a:lnTo>
                          <a:pt x="2" y="460"/>
                        </a:lnTo>
                        <a:lnTo>
                          <a:pt x="8" y="466"/>
                        </a:lnTo>
                        <a:lnTo>
                          <a:pt x="16" y="470"/>
                        </a:lnTo>
                        <a:lnTo>
                          <a:pt x="28" y="472"/>
                        </a:lnTo>
                        <a:lnTo>
                          <a:pt x="42" y="474"/>
                        </a:lnTo>
                        <a:lnTo>
                          <a:pt x="42" y="474"/>
                        </a:lnTo>
                        <a:lnTo>
                          <a:pt x="54" y="474"/>
                        </a:lnTo>
                        <a:lnTo>
                          <a:pt x="60" y="478"/>
                        </a:lnTo>
                        <a:lnTo>
                          <a:pt x="58" y="480"/>
                        </a:lnTo>
                        <a:lnTo>
                          <a:pt x="56" y="484"/>
                        </a:lnTo>
                        <a:lnTo>
                          <a:pt x="52" y="488"/>
                        </a:lnTo>
                        <a:lnTo>
                          <a:pt x="50" y="492"/>
                        </a:lnTo>
                        <a:lnTo>
                          <a:pt x="50" y="498"/>
                        </a:lnTo>
                        <a:lnTo>
                          <a:pt x="56" y="502"/>
                        </a:lnTo>
                        <a:lnTo>
                          <a:pt x="56" y="502"/>
                        </a:lnTo>
                        <a:lnTo>
                          <a:pt x="64" y="506"/>
                        </a:lnTo>
                        <a:lnTo>
                          <a:pt x="66" y="512"/>
                        </a:lnTo>
                        <a:lnTo>
                          <a:pt x="68" y="520"/>
                        </a:lnTo>
                        <a:lnTo>
                          <a:pt x="70" y="524"/>
                        </a:lnTo>
                        <a:lnTo>
                          <a:pt x="74" y="528"/>
                        </a:lnTo>
                        <a:lnTo>
                          <a:pt x="82" y="532"/>
                        </a:lnTo>
                        <a:lnTo>
                          <a:pt x="94" y="534"/>
                        </a:lnTo>
                        <a:lnTo>
                          <a:pt x="94" y="534"/>
                        </a:lnTo>
                        <a:lnTo>
                          <a:pt x="110" y="534"/>
                        </a:lnTo>
                        <a:lnTo>
                          <a:pt x="122" y="534"/>
                        </a:lnTo>
                        <a:lnTo>
                          <a:pt x="144" y="528"/>
                        </a:lnTo>
                        <a:lnTo>
                          <a:pt x="154" y="526"/>
                        </a:lnTo>
                        <a:lnTo>
                          <a:pt x="166" y="526"/>
                        </a:lnTo>
                        <a:lnTo>
                          <a:pt x="176" y="528"/>
                        </a:lnTo>
                        <a:lnTo>
                          <a:pt x="190" y="534"/>
                        </a:lnTo>
                        <a:lnTo>
                          <a:pt x="190" y="534"/>
                        </a:lnTo>
                        <a:lnTo>
                          <a:pt x="198" y="536"/>
                        </a:lnTo>
                        <a:lnTo>
                          <a:pt x="204" y="538"/>
                        </a:lnTo>
                        <a:lnTo>
                          <a:pt x="210" y="538"/>
                        </a:lnTo>
                        <a:lnTo>
                          <a:pt x="218" y="536"/>
                        </a:lnTo>
                        <a:lnTo>
                          <a:pt x="230" y="530"/>
                        </a:lnTo>
                        <a:lnTo>
                          <a:pt x="242" y="522"/>
                        </a:lnTo>
                        <a:lnTo>
                          <a:pt x="254" y="512"/>
                        </a:lnTo>
                        <a:lnTo>
                          <a:pt x="266" y="506"/>
                        </a:lnTo>
                        <a:lnTo>
                          <a:pt x="270" y="506"/>
                        </a:lnTo>
                        <a:lnTo>
                          <a:pt x="276" y="506"/>
                        </a:lnTo>
                        <a:lnTo>
                          <a:pt x="280" y="508"/>
                        </a:lnTo>
                        <a:lnTo>
                          <a:pt x="286" y="510"/>
                        </a:lnTo>
                        <a:lnTo>
                          <a:pt x="286" y="510"/>
                        </a:lnTo>
                        <a:lnTo>
                          <a:pt x="290" y="516"/>
                        </a:lnTo>
                        <a:lnTo>
                          <a:pt x="290" y="518"/>
                        </a:lnTo>
                        <a:lnTo>
                          <a:pt x="290" y="522"/>
                        </a:lnTo>
                        <a:lnTo>
                          <a:pt x="288" y="524"/>
                        </a:lnTo>
                        <a:lnTo>
                          <a:pt x="282" y="526"/>
                        </a:lnTo>
                        <a:lnTo>
                          <a:pt x="272" y="528"/>
                        </a:lnTo>
                        <a:lnTo>
                          <a:pt x="264" y="530"/>
                        </a:lnTo>
                        <a:lnTo>
                          <a:pt x="260" y="534"/>
                        </a:lnTo>
                        <a:lnTo>
                          <a:pt x="260" y="536"/>
                        </a:lnTo>
                        <a:lnTo>
                          <a:pt x="262" y="538"/>
                        </a:lnTo>
                        <a:lnTo>
                          <a:pt x="274" y="544"/>
                        </a:lnTo>
                        <a:lnTo>
                          <a:pt x="274" y="544"/>
                        </a:lnTo>
                        <a:lnTo>
                          <a:pt x="280" y="550"/>
                        </a:lnTo>
                        <a:lnTo>
                          <a:pt x="286" y="554"/>
                        </a:lnTo>
                        <a:lnTo>
                          <a:pt x="290" y="558"/>
                        </a:lnTo>
                        <a:lnTo>
                          <a:pt x="292" y="564"/>
                        </a:lnTo>
                        <a:lnTo>
                          <a:pt x="292" y="570"/>
                        </a:lnTo>
                        <a:lnTo>
                          <a:pt x="292" y="574"/>
                        </a:lnTo>
                        <a:lnTo>
                          <a:pt x="288" y="584"/>
                        </a:lnTo>
                        <a:lnTo>
                          <a:pt x="280" y="592"/>
                        </a:lnTo>
                        <a:lnTo>
                          <a:pt x="270" y="598"/>
                        </a:lnTo>
                        <a:lnTo>
                          <a:pt x="258" y="600"/>
                        </a:lnTo>
                        <a:lnTo>
                          <a:pt x="244" y="598"/>
                        </a:lnTo>
                        <a:lnTo>
                          <a:pt x="244" y="598"/>
                        </a:lnTo>
                        <a:lnTo>
                          <a:pt x="240" y="598"/>
                        </a:lnTo>
                        <a:lnTo>
                          <a:pt x="234" y="598"/>
                        </a:lnTo>
                        <a:lnTo>
                          <a:pt x="226" y="602"/>
                        </a:lnTo>
                        <a:lnTo>
                          <a:pt x="220" y="610"/>
                        </a:lnTo>
                        <a:lnTo>
                          <a:pt x="214" y="618"/>
                        </a:lnTo>
                        <a:lnTo>
                          <a:pt x="210" y="624"/>
                        </a:lnTo>
                        <a:lnTo>
                          <a:pt x="202" y="630"/>
                        </a:lnTo>
                        <a:lnTo>
                          <a:pt x="198" y="630"/>
                        </a:lnTo>
                        <a:lnTo>
                          <a:pt x="192" y="630"/>
                        </a:lnTo>
                        <a:lnTo>
                          <a:pt x="186" y="628"/>
                        </a:lnTo>
                        <a:lnTo>
                          <a:pt x="180" y="624"/>
                        </a:lnTo>
                        <a:lnTo>
                          <a:pt x="180" y="624"/>
                        </a:lnTo>
                        <a:lnTo>
                          <a:pt x="172" y="620"/>
                        </a:lnTo>
                        <a:lnTo>
                          <a:pt x="166" y="618"/>
                        </a:lnTo>
                        <a:lnTo>
                          <a:pt x="160" y="618"/>
                        </a:lnTo>
                        <a:lnTo>
                          <a:pt x="154" y="620"/>
                        </a:lnTo>
                        <a:lnTo>
                          <a:pt x="144" y="626"/>
                        </a:lnTo>
                        <a:lnTo>
                          <a:pt x="136" y="636"/>
                        </a:lnTo>
                        <a:lnTo>
                          <a:pt x="124" y="658"/>
                        </a:lnTo>
                        <a:lnTo>
                          <a:pt x="118" y="666"/>
                        </a:lnTo>
                        <a:lnTo>
                          <a:pt x="112" y="672"/>
                        </a:lnTo>
                        <a:lnTo>
                          <a:pt x="112" y="672"/>
                        </a:lnTo>
                        <a:lnTo>
                          <a:pt x="106" y="674"/>
                        </a:lnTo>
                        <a:lnTo>
                          <a:pt x="102" y="678"/>
                        </a:lnTo>
                        <a:lnTo>
                          <a:pt x="96" y="690"/>
                        </a:lnTo>
                        <a:lnTo>
                          <a:pt x="92" y="702"/>
                        </a:lnTo>
                        <a:lnTo>
                          <a:pt x="88" y="708"/>
                        </a:lnTo>
                        <a:lnTo>
                          <a:pt x="82" y="712"/>
                        </a:lnTo>
                        <a:lnTo>
                          <a:pt x="82" y="712"/>
                        </a:lnTo>
                        <a:lnTo>
                          <a:pt x="76" y="716"/>
                        </a:lnTo>
                        <a:lnTo>
                          <a:pt x="74" y="720"/>
                        </a:lnTo>
                        <a:lnTo>
                          <a:pt x="74" y="726"/>
                        </a:lnTo>
                        <a:lnTo>
                          <a:pt x="76" y="730"/>
                        </a:lnTo>
                        <a:lnTo>
                          <a:pt x="88" y="740"/>
                        </a:lnTo>
                        <a:lnTo>
                          <a:pt x="108" y="756"/>
                        </a:lnTo>
                        <a:lnTo>
                          <a:pt x="108" y="756"/>
                        </a:lnTo>
                        <a:lnTo>
                          <a:pt x="116" y="764"/>
                        </a:lnTo>
                        <a:lnTo>
                          <a:pt x="118" y="772"/>
                        </a:lnTo>
                        <a:lnTo>
                          <a:pt x="118" y="778"/>
                        </a:lnTo>
                        <a:lnTo>
                          <a:pt x="116" y="784"/>
                        </a:lnTo>
                        <a:lnTo>
                          <a:pt x="114" y="790"/>
                        </a:lnTo>
                        <a:lnTo>
                          <a:pt x="112" y="794"/>
                        </a:lnTo>
                        <a:lnTo>
                          <a:pt x="112" y="800"/>
                        </a:lnTo>
                        <a:lnTo>
                          <a:pt x="116" y="804"/>
                        </a:lnTo>
                        <a:lnTo>
                          <a:pt x="116" y="804"/>
                        </a:lnTo>
                        <a:lnTo>
                          <a:pt x="132" y="818"/>
                        </a:lnTo>
                        <a:lnTo>
                          <a:pt x="148" y="834"/>
                        </a:lnTo>
                        <a:lnTo>
                          <a:pt x="158" y="840"/>
                        </a:lnTo>
                        <a:lnTo>
                          <a:pt x="168" y="844"/>
                        </a:lnTo>
                        <a:lnTo>
                          <a:pt x="180" y="844"/>
                        </a:lnTo>
                        <a:lnTo>
                          <a:pt x="194" y="840"/>
                        </a:lnTo>
                        <a:lnTo>
                          <a:pt x="194" y="840"/>
                        </a:lnTo>
                        <a:lnTo>
                          <a:pt x="208" y="836"/>
                        </a:lnTo>
                        <a:lnTo>
                          <a:pt x="218" y="834"/>
                        </a:lnTo>
                        <a:lnTo>
                          <a:pt x="228" y="836"/>
                        </a:lnTo>
                        <a:lnTo>
                          <a:pt x="234" y="838"/>
                        </a:lnTo>
                        <a:lnTo>
                          <a:pt x="240" y="842"/>
                        </a:lnTo>
                        <a:lnTo>
                          <a:pt x="242" y="848"/>
                        </a:lnTo>
                        <a:lnTo>
                          <a:pt x="242" y="858"/>
                        </a:lnTo>
                        <a:lnTo>
                          <a:pt x="238" y="868"/>
                        </a:lnTo>
                        <a:lnTo>
                          <a:pt x="238" y="868"/>
                        </a:lnTo>
                        <a:lnTo>
                          <a:pt x="236" y="878"/>
                        </a:lnTo>
                        <a:lnTo>
                          <a:pt x="236" y="884"/>
                        </a:lnTo>
                        <a:lnTo>
                          <a:pt x="238" y="888"/>
                        </a:lnTo>
                        <a:lnTo>
                          <a:pt x="242" y="890"/>
                        </a:lnTo>
                        <a:lnTo>
                          <a:pt x="244" y="892"/>
                        </a:lnTo>
                        <a:lnTo>
                          <a:pt x="246" y="896"/>
                        </a:lnTo>
                        <a:lnTo>
                          <a:pt x="246" y="900"/>
                        </a:lnTo>
                        <a:lnTo>
                          <a:pt x="244" y="908"/>
                        </a:lnTo>
                        <a:lnTo>
                          <a:pt x="244" y="908"/>
                        </a:lnTo>
                        <a:lnTo>
                          <a:pt x="242" y="918"/>
                        </a:lnTo>
                        <a:lnTo>
                          <a:pt x="244" y="922"/>
                        </a:lnTo>
                        <a:lnTo>
                          <a:pt x="248" y="924"/>
                        </a:lnTo>
                        <a:lnTo>
                          <a:pt x="254" y="924"/>
                        </a:lnTo>
                        <a:lnTo>
                          <a:pt x="262" y="920"/>
                        </a:lnTo>
                        <a:lnTo>
                          <a:pt x="270" y="916"/>
                        </a:lnTo>
                        <a:lnTo>
                          <a:pt x="284" y="904"/>
                        </a:lnTo>
                        <a:lnTo>
                          <a:pt x="284" y="904"/>
                        </a:lnTo>
                        <a:lnTo>
                          <a:pt x="292" y="900"/>
                        </a:lnTo>
                        <a:lnTo>
                          <a:pt x="300" y="898"/>
                        </a:lnTo>
                        <a:lnTo>
                          <a:pt x="308" y="898"/>
                        </a:lnTo>
                        <a:lnTo>
                          <a:pt x="316" y="902"/>
                        </a:lnTo>
                        <a:lnTo>
                          <a:pt x="326" y="906"/>
                        </a:lnTo>
                        <a:lnTo>
                          <a:pt x="336" y="912"/>
                        </a:lnTo>
                        <a:lnTo>
                          <a:pt x="352" y="926"/>
                        </a:lnTo>
                        <a:lnTo>
                          <a:pt x="352" y="926"/>
                        </a:lnTo>
                        <a:lnTo>
                          <a:pt x="358" y="930"/>
                        </a:lnTo>
                        <a:lnTo>
                          <a:pt x="362" y="932"/>
                        </a:lnTo>
                        <a:lnTo>
                          <a:pt x="366" y="930"/>
                        </a:lnTo>
                        <a:lnTo>
                          <a:pt x="370" y="926"/>
                        </a:lnTo>
                        <a:lnTo>
                          <a:pt x="376" y="918"/>
                        </a:lnTo>
                        <a:lnTo>
                          <a:pt x="380" y="916"/>
                        </a:lnTo>
                        <a:lnTo>
                          <a:pt x="386" y="918"/>
                        </a:lnTo>
                        <a:lnTo>
                          <a:pt x="386" y="918"/>
                        </a:lnTo>
                        <a:lnTo>
                          <a:pt x="392" y="920"/>
                        </a:lnTo>
                        <a:lnTo>
                          <a:pt x="402" y="918"/>
                        </a:lnTo>
                        <a:lnTo>
                          <a:pt x="420" y="912"/>
                        </a:lnTo>
                        <a:lnTo>
                          <a:pt x="432" y="908"/>
                        </a:lnTo>
                        <a:lnTo>
                          <a:pt x="432" y="908"/>
                        </a:lnTo>
                        <a:lnTo>
                          <a:pt x="432" y="910"/>
                        </a:lnTo>
                        <a:lnTo>
                          <a:pt x="430" y="916"/>
                        </a:lnTo>
                        <a:lnTo>
                          <a:pt x="430" y="916"/>
                        </a:lnTo>
                        <a:lnTo>
                          <a:pt x="418" y="932"/>
                        </a:lnTo>
                        <a:lnTo>
                          <a:pt x="412" y="946"/>
                        </a:lnTo>
                        <a:lnTo>
                          <a:pt x="410" y="962"/>
                        </a:lnTo>
                        <a:lnTo>
                          <a:pt x="410" y="978"/>
                        </a:lnTo>
                        <a:lnTo>
                          <a:pt x="410" y="978"/>
                        </a:lnTo>
                        <a:lnTo>
                          <a:pt x="408" y="986"/>
                        </a:lnTo>
                        <a:lnTo>
                          <a:pt x="406" y="990"/>
                        </a:lnTo>
                        <a:lnTo>
                          <a:pt x="402" y="992"/>
                        </a:lnTo>
                        <a:lnTo>
                          <a:pt x="396" y="994"/>
                        </a:lnTo>
                        <a:lnTo>
                          <a:pt x="392" y="998"/>
                        </a:lnTo>
                        <a:lnTo>
                          <a:pt x="386" y="1000"/>
                        </a:lnTo>
                        <a:lnTo>
                          <a:pt x="380" y="1008"/>
                        </a:lnTo>
                        <a:lnTo>
                          <a:pt x="374" y="1018"/>
                        </a:lnTo>
                        <a:lnTo>
                          <a:pt x="374" y="1018"/>
                        </a:lnTo>
                        <a:lnTo>
                          <a:pt x="368" y="1028"/>
                        </a:lnTo>
                        <a:lnTo>
                          <a:pt x="360" y="1036"/>
                        </a:lnTo>
                        <a:lnTo>
                          <a:pt x="352" y="1040"/>
                        </a:lnTo>
                        <a:lnTo>
                          <a:pt x="342" y="1044"/>
                        </a:lnTo>
                        <a:lnTo>
                          <a:pt x="332" y="1048"/>
                        </a:lnTo>
                        <a:lnTo>
                          <a:pt x="324" y="1054"/>
                        </a:lnTo>
                        <a:lnTo>
                          <a:pt x="314" y="1060"/>
                        </a:lnTo>
                        <a:lnTo>
                          <a:pt x="306" y="1072"/>
                        </a:lnTo>
                        <a:lnTo>
                          <a:pt x="306" y="1072"/>
                        </a:lnTo>
                        <a:lnTo>
                          <a:pt x="300" y="1082"/>
                        </a:lnTo>
                        <a:lnTo>
                          <a:pt x="296" y="1088"/>
                        </a:lnTo>
                        <a:lnTo>
                          <a:pt x="292" y="1090"/>
                        </a:lnTo>
                        <a:lnTo>
                          <a:pt x="288" y="1088"/>
                        </a:lnTo>
                        <a:lnTo>
                          <a:pt x="276" y="1086"/>
                        </a:lnTo>
                        <a:lnTo>
                          <a:pt x="268" y="1088"/>
                        </a:lnTo>
                        <a:lnTo>
                          <a:pt x="254" y="1090"/>
                        </a:lnTo>
                        <a:lnTo>
                          <a:pt x="254" y="1090"/>
                        </a:lnTo>
                        <a:lnTo>
                          <a:pt x="244" y="1096"/>
                        </a:lnTo>
                        <a:lnTo>
                          <a:pt x="236" y="1100"/>
                        </a:lnTo>
                        <a:lnTo>
                          <a:pt x="232" y="1104"/>
                        </a:lnTo>
                        <a:lnTo>
                          <a:pt x="228" y="1110"/>
                        </a:lnTo>
                        <a:lnTo>
                          <a:pt x="222" y="1118"/>
                        </a:lnTo>
                        <a:lnTo>
                          <a:pt x="218" y="1124"/>
                        </a:lnTo>
                        <a:lnTo>
                          <a:pt x="210" y="1128"/>
                        </a:lnTo>
                        <a:lnTo>
                          <a:pt x="210" y="1128"/>
                        </a:lnTo>
                        <a:lnTo>
                          <a:pt x="200" y="1132"/>
                        </a:lnTo>
                        <a:lnTo>
                          <a:pt x="194" y="1138"/>
                        </a:lnTo>
                        <a:lnTo>
                          <a:pt x="188" y="1144"/>
                        </a:lnTo>
                        <a:lnTo>
                          <a:pt x="186" y="1148"/>
                        </a:lnTo>
                        <a:lnTo>
                          <a:pt x="188" y="1152"/>
                        </a:lnTo>
                        <a:lnTo>
                          <a:pt x="192" y="1154"/>
                        </a:lnTo>
                        <a:lnTo>
                          <a:pt x="200" y="1154"/>
                        </a:lnTo>
                        <a:lnTo>
                          <a:pt x="212" y="1150"/>
                        </a:lnTo>
                        <a:lnTo>
                          <a:pt x="212" y="1150"/>
                        </a:lnTo>
                        <a:lnTo>
                          <a:pt x="224" y="1144"/>
                        </a:lnTo>
                        <a:lnTo>
                          <a:pt x="234" y="1138"/>
                        </a:lnTo>
                        <a:lnTo>
                          <a:pt x="248" y="1124"/>
                        </a:lnTo>
                        <a:lnTo>
                          <a:pt x="256" y="1116"/>
                        </a:lnTo>
                        <a:lnTo>
                          <a:pt x="258" y="1116"/>
                        </a:lnTo>
                        <a:lnTo>
                          <a:pt x="262" y="1120"/>
                        </a:lnTo>
                        <a:lnTo>
                          <a:pt x="262" y="1120"/>
                        </a:lnTo>
                        <a:lnTo>
                          <a:pt x="266" y="1124"/>
                        </a:lnTo>
                        <a:lnTo>
                          <a:pt x="270" y="1124"/>
                        </a:lnTo>
                        <a:lnTo>
                          <a:pt x="278" y="1122"/>
                        </a:lnTo>
                        <a:lnTo>
                          <a:pt x="282" y="1120"/>
                        </a:lnTo>
                        <a:lnTo>
                          <a:pt x="284" y="1120"/>
                        </a:lnTo>
                        <a:lnTo>
                          <a:pt x="288" y="1124"/>
                        </a:lnTo>
                        <a:lnTo>
                          <a:pt x="290" y="1128"/>
                        </a:lnTo>
                        <a:lnTo>
                          <a:pt x="290" y="1128"/>
                        </a:lnTo>
                        <a:lnTo>
                          <a:pt x="292" y="1136"/>
                        </a:lnTo>
                        <a:lnTo>
                          <a:pt x="296" y="1138"/>
                        </a:lnTo>
                        <a:lnTo>
                          <a:pt x="298" y="1140"/>
                        </a:lnTo>
                        <a:lnTo>
                          <a:pt x="302" y="1138"/>
                        </a:lnTo>
                        <a:lnTo>
                          <a:pt x="306" y="1136"/>
                        </a:lnTo>
                        <a:lnTo>
                          <a:pt x="308" y="1130"/>
                        </a:lnTo>
                        <a:lnTo>
                          <a:pt x="308" y="1126"/>
                        </a:lnTo>
                        <a:lnTo>
                          <a:pt x="306" y="1120"/>
                        </a:lnTo>
                        <a:lnTo>
                          <a:pt x="306" y="1120"/>
                        </a:lnTo>
                        <a:lnTo>
                          <a:pt x="306" y="1114"/>
                        </a:lnTo>
                        <a:lnTo>
                          <a:pt x="308" y="1110"/>
                        </a:lnTo>
                        <a:lnTo>
                          <a:pt x="312" y="1106"/>
                        </a:lnTo>
                        <a:lnTo>
                          <a:pt x="316" y="1102"/>
                        </a:lnTo>
                        <a:lnTo>
                          <a:pt x="322" y="1100"/>
                        </a:lnTo>
                        <a:lnTo>
                          <a:pt x="328" y="1100"/>
                        </a:lnTo>
                        <a:lnTo>
                          <a:pt x="332" y="1102"/>
                        </a:lnTo>
                        <a:lnTo>
                          <a:pt x="334" y="1108"/>
                        </a:lnTo>
                        <a:lnTo>
                          <a:pt x="334" y="1108"/>
                        </a:lnTo>
                        <a:lnTo>
                          <a:pt x="334" y="1110"/>
                        </a:lnTo>
                        <a:lnTo>
                          <a:pt x="336" y="1110"/>
                        </a:lnTo>
                        <a:lnTo>
                          <a:pt x="340" y="1110"/>
                        </a:lnTo>
                        <a:lnTo>
                          <a:pt x="354" y="1100"/>
                        </a:lnTo>
                        <a:lnTo>
                          <a:pt x="372" y="1088"/>
                        </a:lnTo>
                        <a:lnTo>
                          <a:pt x="380" y="1084"/>
                        </a:lnTo>
                        <a:lnTo>
                          <a:pt x="388" y="1082"/>
                        </a:lnTo>
                        <a:lnTo>
                          <a:pt x="388" y="1082"/>
                        </a:lnTo>
                        <a:lnTo>
                          <a:pt x="394" y="1082"/>
                        </a:lnTo>
                        <a:lnTo>
                          <a:pt x="396" y="1080"/>
                        </a:lnTo>
                        <a:lnTo>
                          <a:pt x="394" y="1074"/>
                        </a:lnTo>
                        <a:lnTo>
                          <a:pt x="394" y="1068"/>
                        </a:lnTo>
                        <a:lnTo>
                          <a:pt x="398" y="1062"/>
                        </a:lnTo>
                        <a:lnTo>
                          <a:pt x="408" y="1052"/>
                        </a:lnTo>
                        <a:lnTo>
                          <a:pt x="424" y="1042"/>
                        </a:lnTo>
                        <a:lnTo>
                          <a:pt x="424" y="1042"/>
                        </a:lnTo>
                        <a:lnTo>
                          <a:pt x="440" y="1032"/>
                        </a:lnTo>
                        <a:lnTo>
                          <a:pt x="452" y="1024"/>
                        </a:lnTo>
                        <a:lnTo>
                          <a:pt x="462" y="1016"/>
                        </a:lnTo>
                        <a:lnTo>
                          <a:pt x="468" y="1010"/>
                        </a:lnTo>
                        <a:lnTo>
                          <a:pt x="478" y="998"/>
                        </a:lnTo>
                        <a:lnTo>
                          <a:pt x="484" y="994"/>
                        </a:lnTo>
                        <a:lnTo>
                          <a:pt x="492" y="988"/>
                        </a:lnTo>
                        <a:lnTo>
                          <a:pt x="492" y="988"/>
                        </a:lnTo>
                        <a:lnTo>
                          <a:pt x="516" y="976"/>
                        </a:lnTo>
                        <a:lnTo>
                          <a:pt x="538" y="964"/>
                        </a:lnTo>
                        <a:lnTo>
                          <a:pt x="548" y="956"/>
                        </a:lnTo>
                        <a:lnTo>
                          <a:pt x="556" y="950"/>
                        </a:lnTo>
                        <a:lnTo>
                          <a:pt x="562" y="942"/>
                        </a:lnTo>
                        <a:lnTo>
                          <a:pt x="566" y="934"/>
                        </a:lnTo>
                        <a:lnTo>
                          <a:pt x="566" y="934"/>
                        </a:lnTo>
                        <a:lnTo>
                          <a:pt x="568" y="928"/>
                        </a:lnTo>
                        <a:lnTo>
                          <a:pt x="572" y="922"/>
                        </a:lnTo>
                        <a:lnTo>
                          <a:pt x="580" y="916"/>
                        </a:lnTo>
                        <a:lnTo>
                          <a:pt x="588" y="912"/>
                        </a:lnTo>
                        <a:lnTo>
                          <a:pt x="592" y="906"/>
                        </a:lnTo>
                        <a:lnTo>
                          <a:pt x="592" y="900"/>
                        </a:lnTo>
                        <a:lnTo>
                          <a:pt x="592" y="900"/>
                        </a:lnTo>
                        <a:lnTo>
                          <a:pt x="592" y="898"/>
                        </a:lnTo>
                        <a:lnTo>
                          <a:pt x="590" y="896"/>
                        </a:lnTo>
                        <a:lnTo>
                          <a:pt x="582" y="892"/>
                        </a:lnTo>
                        <a:lnTo>
                          <a:pt x="564" y="892"/>
                        </a:lnTo>
                        <a:lnTo>
                          <a:pt x="556" y="890"/>
                        </a:lnTo>
                        <a:lnTo>
                          <a:pt x="554" y="890"/>
                        </a:lnTo>
                        <a:lnTo>
                          <a:pt x="554" y="888"/>
                        </a:lnTo>
                        <a:lnTo>
                          <a:pt x="554" y="886"/>
                        </a:lnTo>
                        <a:lnTo>
                          <a:pt x="556" y="882"/>
                        </a:lnTo>
                        <a:lnTo>
                          <a:pt x="570" y="870"/>
                        </a:lnTo>
                        <a:lnTo>
                          <a:pt x="570" y="870"/>
                        </a:lnTo>
                        <a:lnTo>
                          <a:pt x="598" y="846"/>
                        </a:lnTo>
                        <a:lnTo>
                          <a:pt x="616" y="828"/>
                        </a:lnTo>
                        <a:lnTo>
                          <a:pt x="630" y="810"/>
                        </a:lnTo>
                        <a:lnTo>
                          <a:pt x="644" y="786"/>
                        </a:lnTo>
                        <a:lnTo>
                          <a:pt x="644" y="786"/>
                        </a:lnTo>
                        <a:lnTo>
                          <a:pt x="654" y="774"/>
                        </a:lnTo>
                        <a:lnTo>
                          <a:pt x="666" y="764"/>
                        </a:lnTo>
                        <a:lnTo>
                          <a:pt x="680" y="756"/>
                        </a:lnTo>
                        <a:lnTo>
                          <a:pt x="694" y="750"/>
                        </a:lnTo>
                        <a:lnTo>
                          <a:pt x="710" y="750"/>
                        </a:lnTo>
                        <a:lnTo>
                          <a:pt x="726" y="752"/>
                        </a:lnTo>
                        <a:lnTo>
                          <a:pt x="742" y="758"/>
                        </a:lnTo>
                        <a:lnTo>
                          <a:pt x="750" y="764"/>
                        </a:lnTo>
                        <a:lnTo>
                          <a:pt x="758" y="770"/>
                        </a:lnTo>
                        <a:lnTo>
                          <a:pt x="758" y="770"/>
                        </a:lnTo>
                        <a:lnTo>
                          <a:pt x="768" y="782"/>
                        </a:lnTo>
                        <a:lnTo>
                          <a:pt x="770" y="784"/>
                        </a:lnTo>
                        <a:lnTo>
                          <a:pt x="770" y="784"/>
                        </a:lnTo>
                        <a:lnTo>
                          <a:pt x="752" y="776"/>
                        </a:lnTo>
                        <a:lnTo>
                          <a:pt x="738" y="768"/>
                        </a:lnTo>
                        <a:lnTo>
                          <a:pt x="720" y="764"/>
                        </a:lnTo>
                        <a:lnTo>
                          <a:pt x="712" y="762"/>
                        </a:lnTo>
                        <a:lnTo>
                          <a:pt x="704" y="762"/>
                        </a:lnTo>
                        <a:lnTo>
                          <a:pt x="696" y="764"/>
                        </a:lnTo>
                        <a:lnTo>
                          <a:pt x="690" y="768"/>
                        </a:lnTo>
                        <a:lnTo>
                          <a:pt x="690" y="768"/>
                        </a:lnTo>
                        <a:lnTo>
                          <a:pt x="680" y="776"/>
                        </a:lnTo>
                        <a:lnTo>
                          <a:pt x="674" y="784"/>
                        </a:lnTo>
                        <a:lnTo>
                          <a:pt x="672" y="790"/>
                        </a:lnTo>
                        <a:lnTo>
                          <a:pt x="672" y="796"/>
                        </a:lnTo>
                        <a:lnTo>
                          <a:pt x="672" y="802"/>
                        </a:lnTo>
                        <a:lnTo>
                          <a:pt x="670" y="810"/>
                        </a:lnTo>
                        <a:lnTo>
                          <a:pt x="666" y="818"/>
                        </a:lnTo>
                        <a:lnTo>
                          <a:pt x="658" y="828"/>
                        </a:lnTo>
                        <a:lnTo>
                          <a:pt x="658" y="828"/>
                        </a:lnTo>
                        <a:lnTo>
                          <a:pt x="652" y="836"/>
                        </a:lnTo>
                        <a:lnTo>
                          <a:pt x="650" y="844"/>
                        </a:lnTo>
                        <a:lnTo>
                          <a:pt x="652" y="848"/>
                        </a:lnTo>
                        <a:lnTo>
                          <a:pt x="656" y="852"/>
                        </a:lnTo>
                        <a:lnTo>
                          <a:pt x="660" y="856"/>
                        </a:lnTo>
                        <a:lnTo>
                          <a:pt x="662" y="858"/>
                        </a:lnTo>
                        <a:lnTo>
                          <a:pt x="662" y="862"/>
                        </a:lnTo>
                        <a:lnTo>
                          <a:pt x="656" y="866"/>
                        </a:lnTo>
                        <a:lnTo>
                          <a:pt x="656" y="866"/>
                        </a:lnTo>
                        <a:lnTo>
                          <a:pt x="646" y="874"/>
                        </a:lnTo>
                        <a:lnTo>
                          <a:pt x="644" y="876"/>
                        </a:lnTo>
                        <a:lnTo>
                          <a:pt x="644" y="878"/>
                        </a:lnTo>
                        <a:lnTo>
                          <a:pt x="646" y="880"/>
                        </a:lnTo>
                        <a:lnTo>
                          <a:pt x="648" y="882"/>
                        </a:lnTo>
                        <a:lnTo>
                          <a:pt x="658" y="884"/>
                        </a:lnTo>
                        <a:lnTo>
                          <a:pt x="670" y="884"/>
                        </a:lnTo>
                        <a:lnTo>
                          <a:pt x="684" y="882"/>
                        </a:lnTo>
                        <a:lnTo>
                          <a:pt x="698" y="876"/>
                        </a:lnTo>
                        <a:lnTo>
                          <a:pt x="712" y="866"/>
                        </a:lnTo>
                        <a:lnTo>
                          <a:pt x="712" y="866"/>
                        </a:lnTo>
                        <a:lnTo>
                          <a:pt x="732" y="850"/>
                        </a:lnTo>
                        <a:lnTo>
                          <a:pt x="748" y="840"/>
                        </a:lnTo>
                        <a:lnTo>
                          <a:pt x="762" y="834"/>
                        </a:lnTo>
                        <a:lnTo>
                          <a:pt x="778" y="834"/>
                        </a:lnTo>
                        <a:lnTo>
                          <a:pt x="778" y="834"/>
                        </a:lnTo>
                        <a:lnTo>
                          <a:pt x="786" y="832"/>
                        </a:lnTo>
                        <a:lnTo>
                          <a:pt x="790" y="830"/>
                        </a:lnTo>
                        <a:lnTo>
                          <a:pt x="790" y="828"/>
                        </a:lnTo>
                        <a:lnTo>
                          <a:pt x="790" y="824"/>
                        </a:lnTo>
                        <a:lnTo>
                          <a:pt x="790" y="820"/>
                        </a:lnTo>
                        <a:lnTo>
                          <a:pt x="790" y="818"/>
                        </a:lnTo>
                        <a:lnTo>
                          <a:pt x="794" y="814"/>
                        </a:lnTo>
                        <a:lnTo>
                          <a:pt x="800" y="810"/>
                        </a:lnTo>
                        <a:lnTo>
                          <a:pt x="800" y="810"/>
                        </a:lnTo>
                        <a:lnTo>
                          <a:pt x="804" y="806"/>
                        </a:lnTo>
                        <a:lnTo>
                          <a:pt x="806" y="802"/>
                        </a:lnTo>
                        <a:lnTo>
                          <a:pt x="804" y="796"/>
                        </a:lnTo>
                        <a:lnTo>
                          <a:pt x="802" y="790"/>
                        </a:lnTo>
                        <a:lnTo>
                          <a:pt x="800" y="784"/>
                        </a:lnTo>
                        <a:lnTo>
                          <a:pt x="800" y="780"/>
                        </a:lnTo>
                        <a:lnTo>
                          <a:pt x="804" y="776"/>
                        </a:lnTo>
                        <a:lnTo>
                          <a:pt x="812" y="774"/>
                        </a:lnTo>
                        <a:lnTo>
                          <a:pt x="812" y="774"/>
                        </a:lnTo>
                        <a:lnTo>
                          <a:pt x="824" y="772"/>
                        </a:lnTo>
                        <a:lnTo>
                          <a:pt x="834" y="770"/>
                        </a:lnTo>
                        <a:lnTo>
                          <a:pt x="850" y="764"/>
                        </a:lnTo>
                        <a:lnTo>
                          <a:pt x="856" y="764"/>
                        </a:lnTo>
                        <a:lnTo>
                          <a:pt x="860" y="764"/>
                        </a:lnTo>
                        <a:lnTo>
                          <a:pt x="862" y="768"/>
                        </a:lnTo>
                        <a:lnTo>
                          <a:pt x="862" y="774"/>
                        </a:lnTo>
                        <a:lnTo>
                          <a:pt x="862" y="774"/>
                        </a:lnTo>
                        <a:lnTo>
                          <a:pt x="862" y="780"/>
                        </a:lnTo>
                        <a:lnTo>
                          <a:pt x="866" y="784"/>
                        </a:lnTo>
                        <a:lnTo>
                          <a:pt x="870" y="788"/>
                        </a:lnTo>
                        <a:lnTo>
                          <a:pt x="874" y="790"/>
                        </a:lnTo>
                        <a:lnTo>
                          <a:pt x="888" y="794"/>
                        </a:lnTo>
                        <a:lnTo>
                          <a:pt x="896" y="798"/>
                        </a:lnTo>
                        <a:lnTo>
                          <a:pt x="906" y="802"/>
                        </a:lnTo>
                        <a:lnTo>
                          <a:pt x="906" y="802"/>
                        </a:lnTo>
                        <a:lnTo>
                          <a:pt x="912" y="806"/>
                        </a:lnTo>
                        <a:lnTo>
                          <a:pt x="918" y="806"/>
                        </a:lnTo>
                        <a:lnTo>
                          <a:pt x="922" y="804"/>
                        </a:lnTo>
                        <a:lnTo>
                          <a:pt x="924" y="802"/>
                        </a:lnTo>
                        <a:lnTo>
                          <a:pt x="926" y="800"/>
                        </a:lnTo>
                        <a:lnTo>
                          <a:pt x="930" y="800"/>
                        </a:lnTo>
                        <a:lnTo>
                          <a:pt x="934" y="804"/>
                        </a:lnTo>
                        <a:lnTo>
                          <a:pt x="940" y="810"/>
                        </a:lnTo>
                        <a:lnTo>
                          <a:pt x="940" y="810"/>
                        </a:lnTo>
                        <a:lnTo>
                          <a:pt x="948" y="820"/>
                        </a:lnTo>
                        <a:lnTo>
                          <a:pt x="958" y="824"/>
                        </a:lnTo>
                        <a:lnTo>
                          <a:pt x="968" y="828"/>
                        </a:lnTo>
                        <a:lnTo>
                          <a:pt x="978" y="828"/>
                        </a:lnTo>
                        <a:lnTo>
                          <a:pt x="1002" y="826"/>
                        </a:lnTo>
                        <a:lnTo>
                          <a:pt x="1024" y="824"/>
                        </a:lnTo>
                        <a:lnTo>
                          <a:pt x="1024" y="824"/>
                        </a:lnTo>
                        <a:lnTo>
                          <a:pt x="1036" y="826"/>
                        </a:lnTo>
                        <a:lnTo>
                          <a:pt x="1050" y="830"/>
                        </a:lnTo>
                        <a:lnTo>
                          <a:pt x="1076" y="842"/>
                        </a:lnTo>
                        <a:lnTo>
                          <a:pt x="1090" y="846"/>
                        </a:lnTo>
                        <a:lnTo>
                          <a:pt x="1104" y="850"/>
                        </a:lnTo>
                        <a:lnTo>
                          <a:pt x="1116" y="850"/>
                        </a:lnTo>
                        <a:lnTo>
                          <a:pt x="1122" y="848"/>
                        </a:lnTo>
                        <a:lnTo>
                          <a:pt x="1126" y="846"/>
                        </a:lnTo>
                        <a:lnTo>
                          <a:pt x="1126" y="846"/>
                        </a:lnTo>
                        <a:lnTo>
                          <a:pt x="1136" y="842"/>
                        </a:lnTo>
                        <a:lnTo>
                          <a:pt x="1142" y="840"/>
                        </a:lnTo>
                        <a:lnTo>
                          <a:pt x="1146" y="840"/>
                        </a:lnTo>
                        <a:lnTo>
                          <a:pt x="1150" y="842"/>
                        </a:lnTo>
                        <a:lnTo>
                          <a:pt x="1150" y="846"/>
                        </a:lnTo>
                        <a:lnTo>
                          <a:pt x="1150" y="850"/>
                        </a:lnTo>
                        <a:lnTo>
                          <a:pt x="1146" y="854"/>
                        </a:lnTo>
                        <a:lnTo>
                          <a:pt x="1142" y="858"/>
                        </a:lnTo>
                        <a:lnTo>
                          <a:pt x="1142" y="858"/>
                        </a:lnTo>
                        <a:lnTo>
                          <a:pt x="1138" y="860"/>
                        </a:lnTo>
                        <a:lnTo>
                          <a:pt x="1140" y="864"/>
                        </a:lnTo>
                        <a:lnTo>
                          <a:pt x="1146" y="868"/>
                        </a:lnTo>
                        <a:lnTo>
                          <a:pt x="1154" y="874"/>
                        </a:lnTo>
                        <a:lnTo>
                          <a:pt x="1174" y="882"/>
                        </a:lnTo>
                        <a:lnTo>
                          <a:pt x="1192" y="892"/>
                        </a:lnTo>
                        <a:lnTo>
                          <a:pt x="1192" y="892"/>
                        </a:lnTo>
                        <a:lnTo>
                          <a:pt x="1206" y="900"/>
                        </a:lnTo>
                        <a:lnTo>
                          <a:pt x="1216" y="912"/>
                        </a:lnTo>
                        <a:lnTo>
                          <a:pt x="1228" y="924"/>
                        </a:lnTo>
                        <a:lnTo>
                          <a:pt x="1244" y="934"/>
                        </a:lnTo>
                        <a:lnTo>
                          <a:pt x="1244" y="934"/>
                        </a:lnTo>
                        <a:lnTo>
                          <a:pt x="1254" y="938"/>
                        </a:lnTo>
                        <a:lnTo>
                          <a:pt x="1264" y="940"/>
                        </a:lnTo>
                        <a:lnTo>
                          <a:pt x="1272" y="940"/>
                        </a:lnTo>
                        <a:lnTo>
                          <a:pt x="1278" y="940"/>
                        </a:lnTo>
                        <a:lnTo>
                          <a:pt x="1282" y="938"/>
                        </a:lnTo>
                        <a:lnTo>
                          <a:pt x="1284" y="934"/>
                        </a:lnTo>
                        <a:lnTo>
                          <a:pt x="1284" y="930"/>
                        </a:lnTo>
                        <a:lnTo>
                          <a:pt x="1280" y="924"/>
                        </a:lnTo>
                        <a:lnTo>
                          <a:pt x="1280" y="924"/>
                        </a:lnTo>
                        <a:lnTo>
                          <a:pt x="1272" y="912"/>
                        </a:lnTo>
                        <a:lnTo>
                          <a:pt x="1268" y="904"/>
                        </a:lnTo>
                        <a:lnTo>
                          <a:pt x="1268" y="902"/>
                        </a:lnTo>
                        <a:lnTo>
                          <a:pt x="1270" y="902"/>
                        </a:lnTo>
                        <a:lnTo>
                          <a:pt x="1282" y="912"/>
                        </a:lnTo>
                        <a:lnTo>
                          <a:pt x="1282" y="912"/>
                        </a:lnTo>
                        <a:lnTo>
                          <a:pt x="1298" y="928"/>
                        </a:lnTo>
                        <a:lnTo>
                          <a:pt x="1314" y="938"/>
                        </a:lnTo>
                        <a:lnTo>
                          <a:pt x="1320" y="940"/>
                        </a:lnTo>
                        <a:lnTo>
                          <a:pt x="1324" y="940"/>
                        </a:lnTo>
                        <a:lnTo>
                          <a:pt x="1326" y="938"/>
                        </a:lnTo>
                        <a:lnTo>
                          <a:pt x="1326" y="930"/>
                        </a:lnTo>
                        <a:lnTo>
                          <a:pt x="1326" y="930"/>
                        </a:lnTo>
                        <a:lnTo>
                          <a:pt x="1322" y="916"/>
                        </a:lnTo>
                        <a:lnTo>
                          <a:pt x="1322" y="908"/>
                        </a:lnTo>
                        <a:lnTo>
                          <a:pt x="1322" y="906"/>
                        </a:lnTo>
                        <a:lnTo>
                          <a:pt x="1324" y="908"/>
                        </a:lnTo>
                        <a:lnTo>
                          <a:pt x="1332" y="922"/>
                        </a:lnTo>
                        <a:lnTo>
                          <a:pt x="1332" y="922"/>
                        </a:lnTo>
                        <a:lnTo>
                          <a:pt x="1338" y="930"/>
                        </a:lnTo>
                        <a:lnTo>
                          <a:pt x="1344" y="934"/>
                        </a:lnTo>
                        <a:lnTo>
                          <a:pt x="1348" y="936"/>
                        </a:lnTo>
                        <a:lnTo>
                          <a:pt x="1354" y="938"/>
                        </a:lnTo>
                        <a:lnTo>
                          <a:pt x="1358" y="938"/>
                        </a:lnTo>
                        <a:lnTo>
                          <a:pt x="1362" y="940"/>
                        </a:lnTo>
                        <a:lnTo>
                          <a:pt x="1368" y="942"/>
                        </a:lnTo>
                        <a:lnTo>
                          <a:pt x="1372" y="950"/>
                        </a:lnTo>
                        <a:lnTo>
                          <a:pt x="1372" y="950"/>
                        </a:lnTo>
                        <a:lnTo>
                          <a:pt x="1378" y="966"/>
                        </a:lnTo>
                        <a:lnTo>
                          <a:pt x="1382" y="976"/>
                        </a:lnTo>
                        <a:lnTo>
                          <a:pt x="1384" y="982"/>
                        </a:lnTo>
                        <a:lnTo>
                          <a:pt x="1390" y="988"/>
                        </a:lnTo>
                        <a:lnTo>
                          <a:pt x="1390" y="988"/>
                        </a:lnTo>
                        <a:lnTo>
                          <a:pt x="1394" y="992"/>
                        </a:lnTo>
                        <a:lnTo>
                          <a:pt x="1394" y="996"/>
                        </a:lnTo>
                        <a:lnTo>
                          <a:pt x="1390" y="1002"/>
                        </a:lnTo>
                        <a:lnTo>
                          <a:pt x="1388" y="1006"/>
                        </a:lnTo>
                        <a:lnTo>
                          <a:pt x="1388" y="1008"/>
                        </a:lnTo>
                        <a:lnTo>
                          <a:pt x="1392" y="1012"/>
                        </a:lnTo>
                        <a:lnTo>
                          <a:pt x="1398" y="1014"/>
                        </a:lnTo>
                        <a:lnTo>
                          <a:pt x="1398" y="1014"/>
                        </a:lnTo>
                        <a:lnTo>
                          <a:pt x="1412" y="1020"/>
                        </a:lnTo>
                        <a:lnTo>
                          <a:pt x="1414" y="1024"/>
                        </a:lnTo>
                        <a:lnTo>
                          <a:pt x="1416" y="1026"/>
                        </a:lnTo>
                        <a:lnTo>
                          <a:pt x="1422" y="1036"/>
                        </a:lnTo>
                        <a:lnTo>
                          <a:pt x="1426" y="1042"/>
                        </a:lnTo>
                        <a:lnTo>
                          <a:pt x="1434" y="1052"/>
                        </a:lnTo>
                        <a:lnTo>
                          <a:pt x="1434" y="1052"/>
                        </a:lnTo>
                        <a:lnTo>
                          <a:pt x="1452" y="1064"/>
                        </a:lnTo>
                        <a:lnTo>
                          <a:pt x="1464" y="1070"/>
                        </a:lnTo>
                        <a:lnTo>
                          <a:pt x="1466" y="1074"/>
                        </a:lnTo>
                        <a:lnTo>
                          <a:pt x="1460" y="1076"/>
                        </a:lnTo>
                        <a:lnTo>
                          <a:pt x="1460" y="1076"/>
                        </a:lnTo>
                        <a:lnTo>
                          <a:pt x="1452" y="1080"/>
                        </a:lnTo>
                        <a:lnTo>
                          <a:pt x="1450" y="1086"/>
                        </a:lnTo>
                        <a:lnTo>
                          <a:pt x="1448" y="1092"/>
                        </a:lnTo>
                        <a:lnTo>
                          <a:pt x="1442" y="1100"/>
                        </a:lnTo>
                        <a:lnTo>
                          <a:pt x="1442" y="1100"/>
                        </a:lnTo>
                        <a:lnTo>
                          <a:pt x="1440" y="1104"/>
                        </a:lnTo>
                        <a:lnTo>
                          <a:pt x="1440" y="1108"/>
                        </a:lnTo>
                        <a:lnTo>
                          <a:pt x="1440" y="1112"/>
                        </a:lnTo>
                        <a:lnTo>
                          <a:pt x="1442" y="1114"/>
                        </a:lnTo>
                        <a:lnTo>
                          <a:pt x="1446" y="1116"/>
                        </a:lnTo>
                        <a:lnTo>
                          <a:pt x="1450" y="1114"/>
                        </a:lnTo>
                        <a:lnTo>
                          <a:pt x="1452" y="1112"/>
                        </a:lnTo>
                        <a:lnTo>
                          <a:pt x="1456" y="1106"/>
                        </a:lnTo>
                        <a:lnTo>
                          <a:pt x="1456" y="1106"/>
                        </a:lnTo>
                        <a:lnTo>
                          <a:pt x="1462" y="1092"/>
                        </a:lnTo>
                        <a:lnTo>
                          <a:pt x="1466" y="1088"/>
                        </a:lnTo>
                        <a:lnTo>
                          <a:pt x="1470" y="1084"/>
                        </a:lnTo>
                        <a:lnTo>
                          <a:pt x="1474" y="1082"/>
                        </a:lnTo>
                        <a:lnTo>
                          <a:pt x="1478" y="1084"/>
                        </a:lnTo>
                        <a:lnTo>
                          <a:pt x="1484" y="1088"/>
                        </a:lnTo>
                        <a:lnTo>
                          <a:pt x="1488" y="1094"/>
                        </a:lnTo>
                        <a:lnTo>
                          <a:pt x="1488" y="1094"/>
                        </a:lnTo>
                        <a:lnTo>
                          <a:pt x="1492" y="1104"/>
                        </a:lnTo>
                        <a:lnTo>
                          <a:pt x="1494" y="1112"/>
                        </a:lnTo>
                        <a:lnTo>
                          <a:pt x="1494" y="1118"/>
                        </a:lnTo>
                        <a:lnTo>
                          <a:pt x="1492" y="1124"/>
                        </a:lnTo>
                        <a:lnTo>
                          <a:pt x="1488" y="1134"/>
                        </a:lnTo>
                        <a:lnTo>
                          <a:pt x="1488" y="1138"/>
                        </a:lnTo>
                        <a:lnTo>
                          <a:pt x="1488" y="1144"/>
                        </a:lnTo>
                        <a:lnTo>
                          <a:pt x="1488" y="1144"/>
                        </a:lnTo>
                        <a:lnTo>
                          <a:pt x="1492" y="1152"/>
                        </a:lnTo>
                        <a:lnTo>
                          <a:pt x="1494" y="1160"/>
                        </a:lnTo>
                        <a:lnTo>
                          <a:pt x="1496" y="1164"/>
                        </a:lnTo>
                        <a:lnTo>
                          <a:pt x="1498" y="1164"/>
                        </a:lnTo>
                        <a:lnTo>
                          <a:pt x="1502" y="1162"/>
                        </a:lnTo>
                        <a:lnTo>
                          <a:pt x="1508" y="1158"/>
                        </a:lnTo>
                        <a:lnTo>
                          <a:pt x="1508" y="1158"/>
                        </a:lnTo>
                        <a:lnTo>
                          <a:pt x="1516" y="1150"/>
                        </a:lnTo>
                        <a:lnTo>
                          <a:pt x="1524" y="1142"/>
                        </a:lnTo>
                        <a:lnTo>
                          <a:pt x="1526" y="1138"/>
                        </a:lnTo>
                        <a:lnTo>
                          <a:pt x="1526" y="1132"/>
                        </a:lnTo>
                        <a:lnTo>
                          <a:pt x="1524" y="1118"/>
                        </a:lnTo>
                        <a:lnTo>
                          <a:pt x="1524" y="1118"/>
                        </a:lnTo>
                        <a:lnTo>
                          <a:pt x="1522" y="1106"/>
                        </a:lnTo>
                        <a:lnTo>
                          <a:pt x="1524" y="1098"/>
                        </a:lnTo>
                        <a:lnTo>
                          <a:pt x="1528" y="1094"/>
                        </a:lnTo>
                        <a:lnTo>
                          <a:pt x="1530" y="1090"/>
                        </a:lnTo>
                        <a:lnTo>
                          <a:pt x="1530" y="1090"/>
                        </a:lnTo>
                        <a:lnTo>
                          <a:pt x="1528" y="1098"/>
                        </a:lnTo>
                        <a:lnTo>
                          <a:pt x="1530" y="1106"/>
                        </a:lnTo>
                        <a:lnTo>
                          <a:pt x="1532" y="1118"/>
                        </a:lnTo>
                        <a:lnTo>
                          <a:pt x="1534" y="1130"/>
                        </a:lnTo>
                        <a:lnTo>
                          <a:pt x="1532" y="1136"/>
                        </a:lnTo>
                        <a:lnTo>
                          <a:pt x="1530" y="1140"/>
                        </a:lnTo>
                        <a:lnTo>
                          <a:pt x="1530" y="1140"/>
                        </a:lnTo>
                        <a:lnTo>
                          <a:pt x="1526" y="1142"/>
                        </a:lnTo>
                        <a:lnTo>
                          <a:pt x="1526" y="1146"/>
                        </a:lnTo>
                        <a:lnTo>
                          <a:pt x="1526" y="1152"/>
                        </a:lnTo>
                        <a:lnTo>
                          <a:pt x="1526" y="1160"/>
                        </a:lnTo>
                        <a:lnTo>
                          <a:pt x="1524" y="1162"/>
                        </a:lnTo>
                        <a:lnTo>
                          <a:pt x="1522" y="1166"/>
                        </a:lnTo>
                        <a:lnTo>
                          <a:pt x="1522" y="1166"/>
                        </a:lnTo>
                        <a:lnTo>
                          <a:pt x="1516" y="1172"/>
                        </a:lnTo>
                        <a:lnTo>
                          <a:pt x="1512" y="1178"/>
                        </a:lnTo>
                        <a:lnTo>
                          <a:pt x="1512" y="1182"/>
                        </a:lnTo>
                        <a:lnTo>
                          <a:pt x="1512" y="1186"/>
                        </a:lnTo>
                        <a:lnTo>
                          <a:pt x="1518" y="1192"/>
                        </a:lnTo>
                        <a:lnTo>
                          <a:pt x="1520" y="1194"/>
                        </a:lnTo>
                        <a:lnTo>
                          <a:pt x="1524" y="1198"/>
                        </a:lnTo>
                        <a:lnTo>
                          <a:pt x="1524" y="1198"/>
                        </a:lnTo>
                        <a:lnTo>
                          <a:pt x="1528" y="1210"/>
                        </a:lnTo>
                        <a:lnTo>
                          <a:pt x="1534" y="1222"/>
                        </a:lnTo>
                        <a:lnTo>
                          <a:pt x="1542" y="1232"/>
                        </a:lnTo>
                        <a:lnTo>
                          <a:pt x="1554" y="1244"/>
                        </a:lnTo>
                        <a:lnTo>
                          <a:pt x="1554" y="1244"/>
                        </a:lnTo>
                        <a:lnTo>
                          <a:pt x="1558" y="1246"/>
                        </a:lnTo>
                        <a:lnTo>
                          <a:pt x="1560" y="1244"/>
                        </a:lnTo>
                        <a:lnTo>
                          <a:pt x="1562" y="1236"/>
                        </a:lnTo>
                        <a:lnTo>
                          <a:pt x="1564" y="1230"/>
                        </a:lnTo>
                        <a:lnTo>
                          <a:pt x="1566" y="1224"/>
                        </a:lnTo>
                        <a:lnTo>
                          <a:pt x="1574" y="1218"/>
                        </a:lnTo>
                        <a:lnTo>
                          <a:pt x="1584" y="1216"/>
                        </a:lnTo>
                        <a:lnTo>
                          <a:pt x="1584" y="1216"/>
                        </a:lnTo>
                        <a:lnTo>
                          <a:pt x="1592" y="1216"/>
                        </a:lnTo>
                        <a:lnTo>
                          <a:pt x="1594" y="1216"/>
                        </a:lnTo>
                        <a:lnTo>
                          <a:pt x="1586" y="1222"/>
                        </a:lnTo>
                        <a:lnTo>
                          <a:pt x="1582" y="1228"/>
                        </a:lnTo>
                        <a:lnTo>
                          <a:pt x="1578" y="1234"/>
                        </a:lnTo>
                        <a:lnTo>
                          <a:pt x="1574" y="1240"/>
                        </a:lnTo>
                        <a:lnTo>
                          <a:pt x="1576" y="1248"/>
                        </a:lnTo>
                        <a:lnTo>
                          <a:pt x="1576" y="1248"/>
                        </a:lnTo>
                        <a:lnTo>
                          <a:pt x="1582" y="1258"/>
                        </a:lnTo>
                        <a:lnTo>
                          <a:pt x="1586" y="1260"/>
                        </a:lnTo>
                        <a:lnTo>
                          <a:pt x="1588" y="1262"/>
                        </a:lnTo>
                        <a:lnTo>
                          <a:pt x="1590" y="1274"/>
                        </a:lnTo>
                        <a:lnTo>
                          <a:pt x="1590" y="1274"/>
                        </a:lnTo>
                        <a:lnTo>
                          <a:pt x="1592" y="1280"/>
                        </a:lnTo>
                        <a:lnTo>
                          <a:pt x="1596" y="1280"/>
                        </a:lnTo>
                        <a:lnTo>
                          <a:pt x="1600" y="1280"/>
                        </a:lnTo>
                        <a:lnTo>
                          <a:pt x="1604" y="1278"/>
                        </a:lnTo>
                        <a:lnTo>
                          <a:pt x="1608" y="1278"/>
                        </a:lnTo>
                        <a:lnTo>
                          <a:pt x="1610" y="1278"/>
                        </a:lnTo>
                        <a:lnTo>
                          <a:pt x="1610" y="1280"/>
                        </a:lnTo>
                        <a:lnTo>
                          <a:pt x="1606" y="1290"/>
                        </a:lnTo>
                        <a:lnTo>
                          <a:pt x="1606" y="1290"/>
                        </a:lnTo>
                        <a:lnTo>
                          <a:pt x="1598" y="1306"/>
                        </a:lnTo>
                        <a:lnTo>
                          <a:pt x="1596" y="1318"/>
                        </a:lnTo>
                        <a:lnTo>
                          <a:pt x="1598" y="1322"/>
                        </a:lnTo>
                        <a:lnTo>
                          <a:pt x="1600" y="1322"/>
                        </a:lnTo>
                        <a:lnTo>
                          <a:pt x="1600" y="1322"/>
                        </a:lnTo>
                        <a:lnTo>
                          <a:pt x="1602" y="1322"/>
                        </a:lnTo>
                        <a:lnTo>
                          <a:pt x="1602" y="1324"/>
                        </a:lnTo>
                        <a:lnTo>
                          <a:pt x="1602" y="1330"/>
                        </a:lnTo>
                        <a:lnTo>
                          <a:pt x="1602" y="1336"/>
                        </a:lnTo>
                        <a:lnTo>
                          <a:pt x="1604" y="1340"/>
                        </a:lnTo>
                        <a:lnTo>
                          <a:pt x="1608" y="1342"/>
                        </a:lnTo>
                        <a:lnTo>
                          <a:pt x="1608" y="1342"/>
                        </a:lnTo>
                        <a:lnTo>
                          <a:pt x="1610" y="1342"/>
                        </a:lnTo>
                        <a:lnTo>
                          <a:pt x="1612" y="1340"/>
                        </a:lnTo>
                        <a:lnTo>
                          <a:pt x="1614" y="1330"/>
                        </a:lnTo>
                        <a:lnTo>
                          <a:pt x="1616" y="1320"/>
                        </a:lnTo>
                        <a:lnTo>
                          <a:pt x="1618" y="1316"/>
                        </a:lnTo>
                        <a:lnTo>
                          <a:pt x="1622" y="1314"/>
                        </a:lnTo>
                        <a:lnTo>
                          <a:pt x="1622" y="1314"/>
                        </a:lnTo>
                        <a:lnTo>
                          <a:pt x="1630" y="1310"/>
                        </a:lnTo>
                        <a:lnTo>
                          <a:pt x="1636" y="1304"/>
                        </a:lnTo>
                        <a:lnTo>
                          <a:pt x="1642" y="1300"/>
                        </a:lnTo>
                        <a:lnTo>
                          <a:pt x="1642" y="1300"/>
                        </a:lnTo>
                        <a:lnTo>
                          <a:pt x="1644" y="1304"/>
                        </a:lnTo>
                        <a:lnTo>
                          <a:pt x="1644" y="1304"/>
                        </a:lnTo>
                        <a:lnTo>
                          <a:pt x="1646" y="1306"/>
                        </a:lnTo>
                        <a:lnTo>
                          <a:pt x="1648" y="1308"/>
                        </a:lnTo>
                        <a:lnTo>
                          <a:pt x="1654" y="1308"/>
                        </a:lnTo>
                        <a:lnTo>
                          <a:pt x="1660" y="1308"/>
                        </a:lnTo>
                        <a:lnTo>
                          <a:pt x="1660" y="1310"/>
                        </a:lnTo>
                        <a:lnTo>
                          <a:pt x="1660" y="1314"/>
                        </a:lnTo>
                        <a:lnTo>
                          <a:pt x="1660" y="1314"/>
                        </a:lnTo>
                        <a:lnTo>
                          <a:pt x="1660" y="1318"/>
                        </a:lnTo>
                        <a:lnTo>
                          <a:pt x="1658" y="1318"/>
                        </a:lnTo>
                        <a:lnTo>
                          <a:pt x="1656" y="1316"/>
                        </a:lnTo>
                        <a:lnTo>
                          <a:pt x="1652" y="1314"/>
                        </a:lnTo>
                        <a:lnTo>
                          <a:pt x="1648" y="1312"/>
                        </a:lnTo>
                        <a:lnTo>
                          <a:pt x="1642" y="1314"/>
                        </a:lnTo>
                        <a:lnTo>
                          <a:pt x="1634" y="1318"/>
                        </a:lnTo>
                        <a:lnTo>
                          <a:pt x="1634" y="1318"/>
                        </a:lnTo>
                        <a:lnTo>
                          <a:pt x="1622" y="1330"/>
                        </a:lnTo>
                        <a:lnTo>
                          <a:pt x="1618" y="1336"/>
                        </a:lnTo>
                        <a:lnTo>
                          <a:pt x="1618" y="1342"/>
                        </a:lnTo>
                        <a:lnTo>
                          <a:pt x="1618" y="1350"/>
                        </a:lnTo>
                        <a:lnTo>
                          <a:pt x="1618" y="1350"/>
                        </a:lnTo>
                        <a:lnTo>
                          <a:pt x="1620" y="1356"/>
                        </a:lnTo>
                        <a:lnTo>
                          <a:pt x="1622" y="1358"/>
                        </a:lnTo>
                        <a:lnTo>
                          <a:pt x="1626" y="1360"/>
                        </a:lnTo>
                        <a:lnTo>
                          <a:pt x="1628" y="1362"/>
                        </a:lnTo>
                        <a:lnTo>
                          <a:pt x="1624" y="1366"/>
                        </a:lnTo>
                        <a:lnTo>
                          <a:pt x="1624" y="1366"/>
                        </a:lnTo>
                        <a:lnTo>
                          <a:pt x="1622" y="1368"/>
                        </a:lnTo>
                        <a:lnTo>
                          <a:pt x="1622" y="1370"/>
                        </a:lnTo>
                        <a:lnTo>
                          <a:pt x="1624" y="1372"/>
                        </a:lnTo>
                        <a:lnTo>
                          <a:pt x="1626" y="1374"/>
                        </a:lnTo>
                        <a:lnTo>
                          <a:pt x="1624" y="1376"/>
                        </a:lnTo>
                        <a:lnTo>
                          <a:pt x="1624" y="1376"/>
                        </a:lnTo>
                        <a:lnTo>
                          <a:pt x="1620" y="1378"/>
                        </a:lnTo>
                        <a:lnTo>
                          <a:pt x="1620" y="1382"/>
                        </a:lnTo>
                        <a:lnTo>
                          <a:pt x="1620" y="1384"/>
                        </a:lnTo>
                        <a:lnTo>
                          <a:pt x="1622" y="1386"/>
                        </a:lnTo>
                        <a:lnTo>
                          <a:pt x="1630" y="1392"/>
                        </a:lnTo>
                        <a:lnTo>
                          <a:pt x="1642" y="1396"/>
                        </a:lnTo>
                        <a:lnTo>
                          <a:pt x="1642" y="1396"/>
                        </a:lnTo>
                        <a:lnTo>
                          <a:pt x="1650" y="1398"/>
                        </a:lnTo>
                        <a:lnTo>
                          <a:pt x="1656" y="1396"/>
                        </a:lnTo>
                        <a:lnTo>
                          <a:pt x="1662" y="1394"/>
                        </a:lnTo>
                        <a:lnTo>
                          <a:pt x="1670" y="1394"/>
                        </a:lnTo>
                        <a:lnTo>
                          <a:pt x="1670" y="1394"/>
                        </a:lnTo>
                        <a:lnTo>
                          <a:pt x="1676" y="1396"/>
                        </a:lnTo>
                        <a:lnTo>
                          <a:pt x="1676" y="1398"/>
                        </a:lnTo>
                        <a:lnTo>
                          <a:pt x="1676" y="1400"/>
                        </a:lnTo>
                        <a:lnTo>
                          <a:pt x="1682" y="1400"/>
                        </a:lnTo>
                        <a:lnTo>
                          <a:pt x="1682" y="1400"/>
                        </a:lnTo>
                        <a:lnTo>
                          <a:pt x="1688" y="1402"/>
                        </a:lnTo>
                        <a:lnTo>
                          <a:pt x="1688" y="1404"/>
                        </a:lnTo>
                        <a:lnTo>
                          <a:pt x="1686" y="1412"/>
                        </a:lnTo>
                        <a:lnTo>
                          <a:pt x="1686" y="1416"/>
                        </a:lnTo>
                        <a:lnTo>
                          <a:pt x="1686" y="1420"/>
                        </a:lnTo>
                        <a:lnTo>
                          <a:pt x="1688" y="1422"/>
                        </a:lnTo>
                        <a:lnTo>
                          <a:pt x="1694" y="1420"/>
                        </a:lnTo>
                        <a:lnTo>
                          <a:pt x="1694" y="1420"/>
                        </a:lnTo>
                        <a:lnTo>
                          <a:pt x="1700" y="1420"/>
                        </a:lnTo>
                        <a:lnTo>
                          <a:pt x="1702" y="1422"/>
                        </a:lnTo>
                        <a:lnTo>
                          <a:pt x="1706" y="1424"/>
                        </a:lnTo>
                        <a:lnTo>
                          <a:pt x="1714" y="1422"/>
                        </a:lnTo>
                        <a:lnTo>
                          <a:pt x="1714" y="1422"/>
                        </a:lnTo>
                        <a:lnTo>
                          <a:pt x="1718" y="1422"/>
                        </a:lnTo>
                        <a:lnTo>
                          <a:pt x="1722" y="1422"/>
                        </a:lnTo>
                        <a:lnTo>
                          <a:pt x="1730" y="1426"/>
                        </a:lnTo>
                        <a:lnTo>
                          <a:pt x="1736" y="1430"/>
                        </a:lnTo>
                        <a:lnTo>
                          <a:pt x="1738" y="1430"/>
                        </a:lnTo>
                        <a:lnTo>
                          <a:pt x="1742" y="1428"/>
                        </a:lnTo>
                        <a:lnTo>
                          <a:pt x="1742" y="1428"/>
                        </a:lnTo>
                        <a:lnTo>
                          <a:pt x="1744" y="1428"/>
                        </a:lnTo>
                        <a:lnTo>
                          <a:pt x="1748" y="1430"/>
                        </a:lnTo>
                        <a:lnTo>
                          <a:pt x="1750" y="1434"/>
                        </a:lnTo>
                        <a:lnTo>
                          <a:pt x="1750" y="1442"/>
                        </a:lnTo>
                        <a:lnTo>
                          <a:pt x="1748" y="1444"/>
                        </a:lnTo>
                        <a:lnTo>
                          <a:pt x="1744" y="1446"/>
                        </a:lnTo>
                        <a:lnTo>
                          <a:pt x="1744" y="1446"/>
                        </a:lnTo>
                        <a:lnTo>
                          <a:pt x="1742" y="1448"/>
                        </a:lnTo>
                        <a:lnTo>
                          <a:pt x="1742" y="1450"/>
                        </a:lnTo>
                        <a:lnTo>
                          <a:pt x="1748" y="1458"/>
                        </a:lnTo>
                        <a:lnTo>
                          <a:pt x="1758" y="1464"/>
                        </a:lnTo>
                        <a:lnTo>
                          <a:pt x="1764" y="1464"/>
                        </a:lnTo>
                        <a:lnTo>
                          <a:pt x="1768" y="1464"/>
                        </a:lnTo>
                        <a:lnTo>
                          <a:pt x="1768" y="1464"/>
                        </a:lnTo>
                        <a:lnTo>
                          <a:pt x="1774" y="1458"/>
                        </a:lnTo>
                        <a:lnTo>
                          <a:pt x="1778" y="1454"/>
                        </a:lnTo>
                        <a:lnTo>
                          <a:pt x="1778" y="1452"/>
                        </a:lnTo>
                        <a:lnTo>
                          <a:pt x="1778" y="1454"/>
                        </a:lnTo>
                        <a:lnTo>
                          <a:pt x="1780" y="1460"/>
                        </a:lnTo>
                        <a:lnTo>
                          <a:pt x="1780" y="1460"/>
                        </a:lnTo>
                        <a:lnTo>
                          <a:pt x="1780" y="1468"/>
                        </a:lnTo>
                        <a:lnTo>
                          <a:pt x="1784" y="1470"/>
                        </a:lnTo>
                        <a:lnTo>
                          <a:pt x="1786" y="1470"/>
                        </a:lnTo>
                        <a:lnTo>
                          <a:pt x="1786" y="1474"/>
                        </a:lnTo>
                        <a:lnTo>
                          <a:pt x="1786" y="1474"/>
                        </a:lnTo>
                        <a:lnTo>
                          <a:pt x="1784" y="1476"/>
                        </a:lnTo>
                        <a:lnTo>
                          <a:pt x="1782" y="1476"/>
                        </a:lnTo>
                        <a:lnTo>
                          <a:pt x="1780" y="1472"/>
                        </a:lnTo>
                        <a:lnTo>
                          <a:pt x="1776" y="1468"/>
                        </a:lnTo>
                        <a:lnTo>
                          <a:pt x="1774" y="1468"/>
                        </a:lnTo>
                        <a:lnTo>
                          <a:pt x="1772" y="1470"/>
                        </a:lnTo>
                        <a:lnTo>
                          <a:pt x="1772" y="1470"/>
                        </a:lnTo>
                        <a:lnTo>
                          <a:pt x="1770" y="1472"/>
                        </a:lnTo>
                        <a:lnTo>
                          <a:pt x="1772" y="1476"/>
                        </a:lnTo>
                        <a:lnTo>
                          <a:pt x="1780" y="1484"/>
                        </a:lnTo>
                        <a:lnTo>
                          <a:pt x="1790" y="1486"/>
                        </a:lnTo>
                        <a:lnTo>
                          <a:pt x="1794" y="1486"/>
                        </a:lnTo>
                        <a:lnTo>
                          <a:pt x="1794" y="1484"/>
                        </a:lnTo>
                        <a:lnTo>
                          <a:pt x="1794" y="1484"/>
                        </a:lnTo>
                        <a:lnTo>
                          <a:pt x="1796" y="1478"/>
                        </a:lnTo>
                        <a:lnTo>
                          <a:pt x="1800" y="1474"/>
                        </a:lnTo>
                        <a:lnTo>
                          <a:pt x="1804" y="1474"/>
                        </a:lnTo>
                        <a:lnTo>
                          <a:pt x="1804" y="1478"/>
                        </a:lnTo>
                        <a:lnTo>
                          <a:pt x="1804" y="1478"/>
                        </a:lnTo>
                        <a:lnTo>
                          <a:pt x="1804" y="1486"/>
                        </a:lnTo>
                        <a:lnTo>
                          <a:pt x="1806" y="1492"/>
                        </a:lnTo>
                        <a:lnTo>
                          <a:pt x="1808" y="1498"/>
                        </a:lnTo>
                        <a:lnTo>
                          <a:pt x="1808" y="1504"/>
                        </a:lnTo>
                        <a:lnTo>
                          <a:pt x="1808" y="1504"/>
                        </a:lnTo>
                        <a:lnTo>
                          <a:pt x="1808" y="1510"/>
                        </a:lnTo>
                        <a:lnTo>
                          <a:pt x="1810" y="1512"/>
                        </a:lnTo>
                        <a:lnTo>
                          <a:pt x="1812" y="1510"/>
                        </a:lnTo>
                        <a:lnTo>
                          <a:pt x="1816" y="1506"/>
                        </a:lnTo>
                        <a:lnTo>
                          <a:pt x="1816" y="1506"/>
                        </a:lnTo>
                        <a:lnTo>
                          <a:pt x="1818" y="1504"/>
                        </a:lnTo>
                        <a:lnTo>
                          <a:pt x="1820" y="1506"/>
                        </a:lnTo>
                        <a:lnTo>
                          <a:pt x="1822" y="1508"/>
                        </a:lnTo>
                        <a:lnTo>
                          <a:pt x="1822" y="1508"/>
                        </a:lnTo>
                        <a:lnTo>
                          <a:pt x="1822" y="1516"/>
                        </a:lnTo>
                        <a:lnTo>
                          <a:pt x="1824" y="1520"/>
                        </a:lnTo>
                        <a:lnTo>
                          <a:pt x="1828" y="1526"/>
                        </a:lnTo>
                        <a:lnTo>
                          <a:pt x="1832" y="1528"/>
                        </a:lnTo>
                        <a:lnTo>
                          <a:pt x="1832" y="1530"/>
                        </a:lnTo>
                        <a:lnTo>
                          <a:pt x="1832" y="1534"/>
                        </a:lnTo>
                        <a:lnTo>
                          <a:pt x="1832" y="1534"/>
                        </a:lnTo>
                        <a:lnTo>
                          <a:pt x="1832" y="1538"/>
                        </a:lnTo>
                        <a:lnTo>
                          <a:pt x="1830" y="1538"/>
                        </a:lnTo>
                        <a:lnTo>
                          <a:pt x="1826" y="1540"/>
                        </a:lnTo>
                        <a:lnTo>
                          <a:pt x="1824" y="1540"/>
                        </a:lnTo>
                        <a:lnTo>
                          <a:pt x="1824" y="1542"/>
                        </a:lnTo>
                        <a:lnTo>
                          <a:pt x="1830" y="1550"/>
                        </a:lnTo>
                        <a:lnTo>
                          <a:pt x="1830" y="1550"/>
                        </a:lnTo>
                        <a:lnTo>
                          <a:pt x="1836" y="1562"/>
                        </a:lnTo>
                        <a:lnTo>
                          <a:pt x="1840" y="1570"/>
                        </a:lnTo>
                        <a:lnTo>
                          <a:pt x="1840" y="1582"/>
                        </a:lnTo>
                        <a:lnTo>
                          <a:pt x="1840" y="1600"/>
                        </a:lnTo>
                        <a:lnTo>
                          <a:pt x="1840" y="1600"/>
                        </a:lnTo>
                        <a:lnTo>
                          <a:pt x="1838" y="1608"/>
                        </a:lnTo>
                        <a:lnTo>
                          <a:pt x="1836" y="1610"/>
                        </a:lnTo>
                        <a:lnTo>
                          <a:pt x="1834" y="1608"/>
                        </a:lnTo>
                        <a:lnTo>
                          <a:pt x="1834" y="1604"/>
                        </a:lnTo>
                        <a:lnTo>
                          <a:pt x="1828" y="1570"/>
                        </a:lnTo>
                        <a:lnTo>
                          <a:pt x="1828" y="1570"/>
                        </a:lnTo>
                        <a:lnTo>
                          <a:pt x="1824" y="1564"/>
                        </a:lnTo>
                        <a:lnTo>
                          <a:pt x="1816" y="1560"/>
                        </a:lnTo>
                        <a:lnTo>
                          <a:pt x="1808" y="1558"/>
                        </a:lnTo>
                        <a:lnTo>
                          <a:pt x="1798" y="1556"/>
                        </a:lnTo>
                        <a:lnTo>
                          <a:pt x="1776" y="1554"/>
                        </a:lnTo>
                        <a:lnTo>
                          <a:pt x="1766" y="1552"/>
                        </a:lnTo>
                        <a:lnTo>
                          <a:pt x="1758" y="1548"/>
                        </a:lnTo>
                        <a:lnTo>
                          <a:pt x="1758" y="1548"/>
                        </a:lnTo>
                        <a:lnTo>
                          <a:pt x="1752" y="1546"/>
                        </a:lnTo>
                        <a:lnTo>
                          <a:pt x="1746" y="1546"/>
                        </a:lnTo>
                        <a:lnTo>
                          <a:pt x="1744" y="1548"/>
                        </a:lnTo>
                        <a:lnTo>
                          <a:pt x="1742" y="1552"/>
                        </a:lnTo>
                        <a:lnTo>
                          <a:pt x="1744" y="1556"/>
                        </a:lnTo>
                        <a:lnTo>
                          <a:pt x="1746" y="1564"/>
                        </a:lnTo>
                        <a:lnTo>
                          <a:pt x="1754" y="1578"/>
                        </a:lnTo>
                        <a:lnTo>
                          <a:pt x="1754" y="1578"/>
                        </a:lnTo>
                        <a:lnTo>
                          <a:pt x="1758" y="1586"/>
                        </a:lnTo>
                        <a:lnTo>
                          <a:pt x="1764" y="1598"/>
                        </a:lnTo>
                        <a:lnTo>
                          <a:pt x="1770" y="1626"/>
                        </a:lnTo>
                        <a:lnTo>
                          <a:pt x="1774" y="1658"/>
                        </a:lnTo>
                        <a:lnTo>
                          <a:pt x="1774" y="1690"/>
                        </a:lnTo>
                        <a:lnTo>
                          <a:pt x="1774" y="1690"/>
                        </a:lnTo>
                        <a:lnTo>
                          <a:pt x="1774" y="1726"/>
                        </a:lnTo>
                        <a:lnTo>
                          <a:pt x="1770" y="1768"/>
                        </a:lnTo>
                        <a:lnTo>
                          <a:pt x="1766" y="1810"/>
                        </a:lnTo>
                        <a:lnTo>
                          <a:pt x="1762" y="1828"/>
                        </a:lnTo>
                        <a:lnTo>
                          <a:pt x="1756" y="1842"/>
                        </a:lnTo>
                        <a:lnTo>
                          <a:pt x="1756" y="1842"/>
                        </a:lnTo>
                        <a:lnTo>
                          <a:pt x="1754" y="1854"/>
                        </a:lnTo>
                        <a:lnTo>
                          <a:pt x="1754" y="1870"/>
                        </a:lnTo>
                        <a:lnTo>
                          <a:pt x="1756" y="1886"/>
                        </a:lnTo>
                        <a:lnTo>
                          <a:pt x="1760" y="1904"/>
                        </a:lnTo>
                        <a:lnTo>
                          <a:pt x="1764" y="1920"/>
                        </a:lnTo>
                        <a:lnTo>
                          <a:pt x="1766" y="1938"/>
                        </a:lnTo>
                        <a:lnTo>
                          <a:pt x="1766" y="1956"/>
                        </a:lnTo>
                        <a:lnTo>
                          <a:pt x="1762" y="1972"/>
                        </a:lnTo>
                        <a:lnTo>
                          <a:pt x="1762" y="1972"/>
                        </a:lnTo>
                        <a:lnTo>
                          <a:pt x="1760" y="1986"/>
                        </a:lnTo>
                        <a:lnTo>
                          <a:pt x="1758" y="1996"/>
                        </a:lnTo>
                        <a:lnTo>
                          <a:pt x="1762" y="2006"/>
                        </a:lnTo>
                        <a:lnTo>
                          <a:pt x="1766" y="2012"/>
                        </a:lnTo>
                        <a:lnTo>
                          <a:pt x="1774" y="2030"/>
                        </a:lnTo>
                        <a:lnTo>
                          <a:pt x="1778" y="2042"/>
                        </a:lnTo>
                        <a:lnTo>
                          <a:pt x="1780" y="2056"/>
                        </a:lnTo>
                        <a:lnTo>
                          <a:pt x="1780" y="2056"/>
                        </a:lnTo>
                        <a:lnTo>
                          <a:pt x="1784" y="2072"/>
                        </a:lnTo>
                        <a:lnTo>
                          <a:pt x="1786" y="2082"/>
                        </a:lnTo>
                        <a:lnTo>
                          <a:pt x="1792" y="2090"/>
                        </a:lnTo>
                        <a:lnTo>
                          <a:pt x="1798" y="2096"/>
                        </a:lnTo>
                        <a:lnTo>
                          <a:pt x="1808" y="2104"/>
                        </a:lnTo>
                        <a:lnTo>
                          <a:pt x="1812" y="2110"/>
                        </a:lnTo>
                        <a:lnTo>
                          <a:pt x="1814" y="2118"/>
                        </a:lnTo>
                        <a:lnTo>
                          <a:pt x="1814" y="2118"/>
                        </a:lnTo>
                        <a:lnTo>
                          <a:pt x="1816" y="2124"/>
                        </a:lnTo>
                        <a:lnTo>
                          <a:pt x="1818" y="2128"/>
                        </a:lnTo>
                        <a:lnTo>
                          <a:pt x="1824" y="2132"/>
                        </a:lnTo>
                        <a:lnTo>
                          <a:pt x="1828" y="2136"/>
                        </a:lnTo>
                        <a:lnTo>
                          <a:pt x="1832" y="2140"/>
                        </a:lnTo>
                        <a:lnTo>
                          <a:pt x="1834" y="2146"/>
                        </a:lnTo>
                        <a:lnTo>
                          <a:pt x="1836" y="2158"/>
                        </a:lnTo>
                        <a:lnTo>
                          <a:pt x="1836" y="2158"/>
                        </a:lnTo>
                        <a:lnTo>
                          <a:pt x="1838" y="2170"/>
                        </a:lnTo>
                        <a:lnTo>
                          <a:pt x="1842" y="2178"/>
                        </a:lnTo>
                        <a:lnTo>
                          <a:pt x="1846" y="2182"/>
                        </a:lnTo>
                        <a:lnTo>
                          <a:pt x="1852" y="2186"/>
                        </a:lnTo>
                        <a:lnTo>
                          <a:pt x="1856" y="2188"/>
                        </a:lnTo>
                        <a:lnTo>
                          <a:pt x="1860" y="2190"/>
                        </a:lnTo>
                        <a:lnTo>
                          <a:pt x="1862" y="2194"/>
                        </a:lnTo>
                        <a:lnTo>
                          <a:pt x="1860" y="2200"/>
                        </a:lnTo>
                        <a:lnTo>
                          <a:pt x="1860" y="2200"/>
                        </a:lnTo>
                        <a:lnTo>
                          <a:pt x="1858" y="2208"/>
                        </a:lnTo>
                        <a:lnTo>
                          <a:pt x="1858" y="2214"/>
                        </a:lnTo>
                        <a:lnTo>
                          <a:pt x="1860" y="2218"/>
                        </a:lnTo>
                        <a:lnTo>
                          <a:pt x="1862" y="2224"/>
                        </a:lnTo>
                        <a:lnTo>
                          <a:pt x="1872" y="2238"/>
                        </a:lnTo>
                        <a:lnTo>
                          <a:pt x="1890" y="2260"/>
                        </a:lnTo>
                        <a:lnTo>
                          <a:pt x="1890" y="2260"/>
                        </a:lnTo>
                        <a:lnTo>
                          <a:pt x="1900" y="2272"/>
                        </a:lnTo>
                        <a:lnTo>
                          <a:pt x="1904" y="2282"/>
                        </a:lnTo>
                        <a:lnTo>
                          <a:pt x="1908" y="2292"/>
                        </a:lnTo>
                        <a:lnTo>
                          <a:pt x="1908" y="2298"/>
                        </a:lnTo>
                        <a:lnTo>
                          <a:pt x="1910" y="2310"/>
                        </a:lnTo>
                        <a:lnTo>
                          <a:pt x="1912" y="2314"/>
                        </a:lnTo>
                        <a:lnTo>
                          <a:pt x="1916" y="2318"/>
                        </a:lnTo>
                        <a:lnTo>
                          <a:pt x="1916" y="2318"/>
                        </a:lnTo>
                        <a:lnTo>
                          <a:pt x="1920" y="2322"/>
                        </a:lnTo>
                        <a:lnTo>
                          <a:pt x="1926" y="2324"/>
                        </a:lnTo>
                        <a:lnTo>
                          <a:pt x="1940" y="2326"/>
                        </a:lnTo>
                        <a:lnTo>
                          <a:pt x="1948" y="2328"/>
                        </a:lnTo>
                        <a:lnTo>
                          <a:pt x="1958" y="2332"/>
                        </a:lnTo>
                        <a:lnTo>
                          <a:pt x="1968" y="2336"/>
                        </a:lnTo>
                        <a:lnTo>
                          <a:pt x="1978" y="2344"/>
                        </a:lnTo>
                        <a:lnTo>
                          <a:pt x="1978" y="2344"/>
                        </a:lnTo>
                        <a:lnTo>
                          <a:pt x="1986" y="2352"/>
                        </a:lnTo>
                        <a:lnTo>
                          <a:pt x="1994" y="2358"/>
                        </a:lnTo>
                        <a:lnTo>
                          <a:pt x="2006" y="2360"/>
                        </a:lnTo>
                        <a:lnTo>
                          <a:pt x="2016" y="2364"/>
                        </a:lnTo>
                        <a:lnTo>
                          <a:pt x="2022" y="2368"/>
                        </a:lnTo>
                        <a:lnTo>
                          <a:pt x="2030" y="2374"/>
                        </a:lnTo>
                        <a:lnTo>
                          <a:pt x="2030" y="2374"/>
                        </a:lnTo>
                        <a:lnTo>
                          <a:pt x="2036" y="2382"/>
                        </a:lnTo>
                        <a:lnTo>
                          <a:pt x="2040" y="2388"/>
                        </a:lnTo>
                        <a:lnTo>
                          <a:pt x="2046" y="2400"/>
                        </a:lnTo>
                        <a:lnTo>
                          <a:pt x="2048" y="2410"/>
                        </a:lnTo>
                        <a:lnTo>
                          <a:pt x="2052" y="2424"/>
                        </a:lnTo>
                        <a:lnTo>
                          <a:pt x="2052" y="2424"/>
                        </a:lnTo>
                        <a:lnTo>
                          <a:pt x="2052" y="2424"/>
                        </a:lnTo>
                        <a:lnTo>
                          <a:pt x="2052" y="2424"/>
                        </a:lnTo>
                        <a:lnTo>
                          <a:pt x="2066" y="2454"/>
                        </a:lnTo>
                        <a:lnTo>
                          <a:pt x="2078" y="2480"/>
                        </a:lnTo>
                        <a:lnTo>
                          <a:pt x="2092" y="2520"/>
                        </a:lnTo>
                        <a:lnTo>
                          <a:pt x="2100" y="2548"/>
                        </a:lnTo>
                        <a:lnTo>
                          <a:pt x="2106" y="2560"/>
                        </a:lnTo>
                        <a:lnTo>
                          <a:pt x="2112" y="2568"/>
                        </a:lnTo>
                        <a:lnTo>
                          <a:pt x="2112" y="2568"/>
                        </a:lnTo>
                        <a:lnTo>
                          <a:pt x="2120" y="2578"/>
                        </a:lnTo>
                        <a:lnTo>
                          <a:pt x="2130" y="2586"/>
                        </a:lnTo>
                        <a:lnTo>
                          <a:pt x="2150" y="2604"/>
                        </a:lnTo>
                        <a:lnTo>
                          <a:pt x="2160" y="2614"/>
                        </a:lnTo>
                        <a:lnTo>
                          <a:pt x="2166" y="2624"/>
                        </a:lnTo>
                        <a:lnTo>
                          <a:pt x="2170" y="2636"/>
                        </a:lnTo>
                        <a:lnTo>
                          <a:pt x="2170" y="2650"/>
                        </a:lnTo>
                        <a:lnTo>
                          <a:pt x="2170" y="2650"/>
                        </a:lnTo>
                        <a:lnTo>
                          <a:pt x="2170" y="2656"/>
                        </a:lnTo>
                        <a:lnTo>
                          <a:pt x="2168" y="2662"/>
                        </a:lnTo>
                        <a:lnTo>
                          <a:pt x="2164" y="2664"/>
                        </a:lnTo>
                        <a:lnTo>
                          <a:pt x="2162" y="2668"/>
                        </a:lnTo>
                        <a:lnTo>
                          <a:pt x="2154" y="2668"/>
                        </a:lnTo>
                        <a:lnTo>
                          <a:pt x="2148" y="2668"/>
                        </a:lnTo>
                        <a:lnTo>
                          <a:pt x="2142" y="2668"/>
                        </a:lnTo>
                        <a:lnTo>
                          <a:pt x="2138" y="2668"/>
                        </a:lnTo>
                        <a:lnTo>
                          <a:pt x="2140" y="2672"/>
                        </a:lnTo>
                        <a:lnTo>
                          <a:pt x="2146" y="2682"/>
                        </a:lnTo>
                        <a:lnTo>
                          <a:pt x="2146" y="2682"/>
                        </a:lnTo>
                        <a:lnTo>
                          <a:pt x="2156" y="2692"/>
                        </a:lnTo>
                        <a:lnTo>
                          <a:pt x="2166" y="2700"/>
                        </a:lnTo>
                        <a:lnTo>
                          <a:pt x="2188" y="2716"/>
                        </a:lnTo>
                        <a:lnTo>
                          <a:pt x="2212" y="2730"/>
                        </a:lnTo>
                        <a:lnTo>
                          <a:pt x="2226" y="2738"/>
                        </a:lnTo>
                        <a:lnTo>
                          <a:pt x="2238" y="2748"/>
                        </a:lnTo>
                        <a:lnTo>
                          <a:pt x="2238" y="2748"/>
                        </a:lnTo>
                        <a:lnTo>
                          <a:pt x="2244" y="2754"/>
                        </a:lnTo>
                        <a:lnTo>
                          <a:pt x="2248" y="2758"/>
                        </a:lnTo>
                        <a:lnTo>
                          <a:pt x="2250" y="2764"/>
                        </a:lnTo>
                        <a:lnTo>
                          <a:pt x="2252" y="2770"/>
                        </a:lnTo>
                        <a:lnTo>
                          <a:pt x="2250" y="2782"/>
                        </a:lnTo>
                        <a:lnTo>
                          <a:pt x="2250" y="2794"/>
                        </a:lnTo>
                        <a:lnTo>
                          <a:pt x="2248" y="2808"/>
                        </a:lnTo>
                        <a:lnTo>
                          <a:pt x="2250" y="2814"/>
                        </a:lnTo>
                        <a:lnTo>
                          <a:pt x="2252" y="2820"/>
                        </a:lnTo>
                        <a:lnTo>
                          <a:pt x="2256" y="2828"/>
                        </a:lnTo>
                        <a:lnTo>
                          <a:pt x="2262" y="2834"/>
                        </a:lnTo>
                        <a:lnTo>
                          <a:pt x="2270" y="2842"/>
                        </a:lnTo>
                        <a:lnTo>
                          <a:pt x="2280" y="2850"/>
                        </a:lnTo>
                        <a:lnTo>
                          <a:pt x="2280" y="2850"/>
                        </a:lnTo>
                        <a:lnTo>
                          <a:pt x="2300" y="2866"/>
                        </a:lnTo>
                        <a:lnTo>
                          <a:pt x="2316" y="2882"/>
                        </a:lnTo>
                        <a:lnTo>
                          <a:pt x="2326" y="2894"/>
                        </a:lnTo>
                        <a:lnTo>
                          <a:pt x="2332" y="2906"/>
                        </a:lnTo>
                        <a:lnTo>
                          <a:pt x="2336" y="2914"/>
                        </a:lnTo>
                        <a:lnTo>
                          <a:pt x="2340" y="2918"/>
                        </a:lnTo>
                        <a:lnTo>
                          <a:pt x="2344" y="2920"/>
                        </a:lnTo>
                        <a:lnTo>
                          <a:pt x="2350" y="2916"/>
                        </a:lnTo>
                        <a:lnTo>
                          <a:pt x="2350" y="2916"/>
                        </a:lnTo>
                        <a:lnTo>
                          <a:pt x="2358" y="2910"/>
                        </a:lnTo>
                        <a:lnTo>
                          <a:pt x="2362" y="2906"/>
                        </a:lnTo>
                        <a:lnTo>
                          <a:pt x="2364" y="2900"/>
                        </a:lnTo>
                        <a:lnTo>
                          <a:pt x="2364" y="2896"/>
                        </a:lnTo>
                        <a:lnTo>
                          <a:pt x="2358" y="2884"/>
                        </a:lnTo>
                        <a:lnTo>
                          <a:pt x="2346" y="2864"/>
                        </a:lnTo>
                        <a:lnTo>
                          <a:pt x="2346" y="2864"/>
                        </a:lnTo>
                        <a:lnTo>
                          <a:pt x="2340" y="2856"/>
                        </a:lnTo>
                        <a:lnTo>
                          <a:pt x="2336" y="2850"/>
                        </a:lnTo>
                        <a:lnTo>
                          <a:pt x="2332" y="2850"/>
                        </a:lnTo>
                        <a:lnTo>
                          <a:pt x="2330" y="2850"/>
                        </a:lnTo>
                        <a:lnTo>
                          <a:pt x="2324" y="2854"/>
                        </a:lnTo>
                        <a:lnTo>
                          <a:pt x="2320" y="2854"/>
                        </a:lnTo>
                        <a:lnTo>
                          <a:pt x="2316" y="2850"/>
                        </a:lnTo>
                        <a:lnTo>
                          <a:pt x="2316" y="2850"/>
                        </a:lnTo>
                        <a:lnTo>
                          <a:pt x="2312" y="2846"/>
                        </a:lnTo>
                        <a:lnTo>
                          <a:pt x="2310" y="2842"/>
                        </a:lnTo>
                        <a:lnTo>
                          <a:pt x="2310" y="2832"/>
                        </a:lnTo>
                        <a:lnTo>
                          <a:pt x="2310" y="2826"/>
                        </a:lnTo>
                        <a:lnTo>
                          <a:pt x="2310" y="2820"/>
                        </a:lnTo>
                        <a:lnTo>
                          <a:pt x="2306" y="2810"/>
                        </a:lnTo>
                        <a:lnTo>
                          <a:pt x="2300" y="2798"/>
                        </a:lnTo>
                        <a:lnTo>
                          <a:pt x="2300" y="2798"/>
                        </a:lnTo>
                        <a:lnTo>
                          <a:pt x="2290" y="2776"/>
                        </a:lnTo>
                        <a:lnTo>
                          <a:pt x="2286" y="2762"/>
                        </a:lnTo>
                        <a:lnTo>
                          <a:pt x="2282" y="2748"/>
                        </a:lnTo>
                        <a:lnTo>
                          <a:pt x="2276" y="2730"/>
                        </a:lnTo>
                        <a:lnTo>
                          <a:pt x="2276" y="2730"/>
                        </a:lnTo>
                        <a:lnTo>
                          <a:pt x="2270" y="2718"/>
                        </a:lnTo>
                        <a:lnTo>
                          <a:pt x="2264" y="2708"/>
                        </a:lnTo>
                        <a:lnTo>
                          <a:pt x="2250" y="2690"/>
                        </a:lnTo>
                        <a:lnTo>
                          <a:pt x="2236" y="2672"/>
                        </a:lnTo>
                        <a:lnTo>
                          <a:pt x="2230" y="2662"/>
                        </a:lnTo>
                        <a:lnTo>
                          <a:pt x="2224" y="2648"/>
                        </a:lnTo>
                        <a:lnTo>
                          <a:pt x="2224" y="2648"/>
                        </a:lnTo>
                        <a:lnTo>
                          <a:pt x="2220" y="2636"/>
                        </a:lnTo>
                        <a:lnTo>
                          <a:pt x="2214" y="2624"/>
                        </a:lnTo>
                        <a:lnTo>
                          <a:pt x="2198" y="2604"/>
                        </a:lnTo>
                        <a:lnTo>
                          <a:pt x="2182" y="2584"/>
                        </a:lnTo>
                        <a:lnTo>
                          <a:pt x="2168" y="2564"/>
                        </a:lnTo>
                        <a:lnTo>
                          <a:pt x="2168" y="2564"/>
                        </a:lnTo>
                        <a:lnTo>
                          <a:pt x="2160" y="2550"/>
                        </a:lnTo>
                        <a:lnTo>
                          <a:pt x="2154" y="2534"/>
                        </a:lnTo>
                        <a:lnTo>
                          <a:pt x="2148" y="2516"/>
                        </a:lnTo>
                        <a:lnTo>
                          <a:pt x="2144" y="2498"/>
                        </a:lnTo>
                        <a:lnTo>
                          <a:pt x="2142" y="2482"/>
                        </a:lnTo>
                        <a:lnTo>
                          <a:pt x="2142" y="2470"/>
                        </a:lnTo>
                        <a:lnTo>
                          <a:pt x="2144" y="2466"/>
                        </a:lnTo>
                        <a:lnTo>
                          <a:pt x="2146" y="2464"/>
                        </a:lnTo>
                        <a:lnTo>
                          <a:pt x="2148" y="2464"/>
                        </a:lnTo>
                        <a:lnTo>
                          <a:pt x="2154" y="2466"/>
                        </a:lnTo>
                        <a:lnTo>
                          <a:pt x="2154" y="2466"/>
                        </a:lnTo>
                        <a:lnTo>
                          <a:pt x="2168" y="2474"/>
                        </a:lnTo>
                        <a:lnTo>
                          <a:pt x="2172" y="2476"/>
                        </a:lnTo>
                        <a:lnTo>
                          <a:pt x="2178" y="2474"/>
                        </a:lnTo>
                        <a:lnTo>
                          <a:pt x="2186" y="2478"/>
                        </a:lnTo>
                        <a:lnTo>
                          <a:pt x="2186" y="2478"/>
                        </a:lnTo>
                        <a:lnTo>
                          <a:pt x="2198" y="2484"/>
                        </a:lnTo>
                        <a:lnTo>
                          <a:pt x="2202" y="2488"/>
                        </a:lnTo>
                        <a:lnTo>
                          <a:pt x="2206" y="2492"/>
                        </a:lnTo>
                        <a:lnTo>
                          <a:pt x="2214" y="2508"/>
                        </a:lnTo>
                        <a:lnTo>
                          <a:pt x="2222" y="2536"/>
                        </a:lnTo>
                        <a:lnTo>
                          <a:pt x="2222" y="2536"/>
                        </a:lnTo>
                        <a:lnTo>
                          <a:pt x="2228" y="2556"/>
                        </a:lnTo>
                        <a:lnTo>
                          <a:pt x="2236" y="2574"/>
                        </a:lnTo>
                        <a:lnTo>
                          <a:pt x="2244" y="2594"/>
                        </a:lnTo>
                        <a:lnTo>
                          <a:pt x="2254" y="2612"/>
                        </a:lnTo>
                        <a:lnTo>
                          <a:pt x="2264" y="2628"/>
                        </a:lnTo>
                        <a:lnTo>
                          <a:pt x="2276" y="2642"/>
                        </a:lnTo>
                        <a:lnTo>
                          <a:pt x="2288" y="2654"/>
                        </a:lnTo>
                        <a:lnTo>
                          <a:pt x="2300" y="2664"/>
                        </a:lnTo>
                        <a:lnTo>
                          <a:pt x="2300" y="2664"/>
                        </a:lnTo>
                        <a:lnTo>
                          <a:pt x="2308" y="2672"/>
                        </a:lnTo>
                        <a:lnTo>
                          <a:pt x="2314" y="2678"/>
                        </a:lnTo>
                        <a:lnTo>
                          <a:pt x="2320" y="2694"/>
                        </a:lnTo>
                        <a:lnTo>
                          <a:pt x="2324" y="2700"/>
                        </a:lnTo>
                        <a:lnTo>
                          <a:pt x="2328" y="2706"/>
                        </a:lnTo>
                        <a:lnTo>
                          <a:pt x="2338" y="2714"/>
                        </a:lnTo>
                        <a:lnTo>
                          <a:pt x="2352" y="2722"/>
                        </a:lnTo>
                        <a:lnTo>
                          <a:pt x="2352" y="2722"/>
                        </a:lnTo>
                        <a:lnTo>
                          <a:pt x="2360" y="2724"/>
                        </a:lnTo>
                        <a:lnTo>
                          <a:pt x="2364" y="2728"/>
                        </a:lnTo>
                        <a:lnTo>
                          <a:pt x="2368" y="2732"/>
                        </a:lnTo>
                        <a:lnTo>
                          <a:pt x="2370" y="2736"/>
                        </a:lnTo>
                        <a:lnTo>
                          <a:pt x="2368" y="2746"/>
                        </a:lnTo>
                        <a:lnTo>
                          <a:pt x="2366" y="2754"/>
                        </a:lnTo>
                        <a:lnTo>
                          <a:pt x="2364" y="2764"/>
                        </a:lnTo>
                        <a:lnTo>
                          <a:pt x="2362" y="2772"/>
                        </a:lnTo>
                        <a:lnTo>
                          <a:pt x="2364" y="2776"/>
                        </a:lnTo>
                        <a:lnTo>
                          <a:pt x="2368" y="2782"/>
                        </a:lnTo>
                        <a:lnTo>
                          <a:pt x="2372" y="2786"/>
                        </a:lnTo>
                        <a:lnTo>
                          <a:pt x="2380" y="2790"/>
                        </a:lnTo>
                        <a:lnTo>
                          <a:pt x="2380" y="2790"/>
                        </a:lnTo>
                        <a:lnTo>
                          <a:pt x="2394" y="2798"/>
                        </a:lnTo>
                        <a:lnTo>
                          <a:pt x="2402" y="2804"/>
                        </a:lnTo>
                        <a:lnTo>
                          <a:pt x="2408" y="2810"/>
                        </a:lnTo>
                        <a:lnTo>
                          <a:pt x="2410" y="2816"/>
                        </a:lnTo>
                        <a:lnTo>
                          <a:pt x="2422" y="2834"/>
                        </a:lnTo>
                        <a:lnTo>
                          <a:pt x="2432" y="2848"/>
                        </a:lnTo>
                        <a:lnTo>
                          <a:pt x="2450" y="2864"/>
                        </a:lnTo>
                        <a:lnTo>
                          <a:pt x="2450" y="2864"/>
                        </a:lnTo>
                        <a:lnTo>
                          <a:pt x="2476" y="2890"/>
                        </a:lnTo>
                        <a:lnTo>
                          <a:pt x="2494" y="2912"/>
                        </a:lnTo>
                        <a:lnTo>
                          <a:pt x="2504" y="2928"/>
                        </a:lnTo>
                        <a:lnTo>
                          <a:pt x="2512" y="2942"/>
                        </a:lnTo>
                        <a:lnTo>
                          <a:pt x="2516" y="2954"/>
                        </a:lnTo>
                        <a:lnTo>
                          <a:pt x="2518" y="2964"/>
                        </a:lnTo>
                        <a:lnTo>
                          <a:pt x="2522" y="2976"/>
                        </a:lnTo>
                        <a:lnTo>
                          <a:pt x="2526" y="2988"/>
                        </a:lnTo>
                        <a:lnTo>
                          <a:pt x="2526" y="2988"/>
                        </a:lnTo>
                        <a:lnTo>
                          <a:pt x="2530" y="2998"/>
                        </a:lnTo>
                        <a:lnTo>
                          <a:pt x="2530" y="3010"/>
                        </a:lnTo>
                        <a:lnTo>
                          <a:pt x="2528" y="3020"/>
                        </a:lnTo>
                        <a:lnTo>
                          <a:pt x="2524" y="3028"/>
                        </a:lnTo>
                        <a:lnTo>
                          <a:pt x="2518" y="3038"/>
                        </a:lnTo>
                        <a:lnTo>
                          <a:pt x="2516" y="3050"/>
                        </a:lnTo>
                        <a:lnTo>
                          <a:pt x="2516" y="3060"/>
                        </a:lnTo>
                        <a:lnTo>
                          <a:pt x="2520" y="3072"/>
                        </a:lnTo>
                        <a:lnTo>
                          <a:pt x="2520" y="3072"/>
                        </a:lnTo>
                        <a:lnTo>
                          <a:pt x="2528" y="3084"/>
                        </a:lnTo>
                        <a:lnTo>
                          <a:pt x="2534" y="3094"/>
                        </a:lnTo>
                        <a:lnTo>
                          <a:pt x="2550" y="3106"/>
                        </a:lnTo>
                        <a:lnTo>
                          <a:pt x="2570" y="3120"/>
                        </a:lnTo>
                        <a:lnTo>
                          <a:pt x="2580" y="3130"/>
                        </a:lnTo>
                        <a:lnTo>
                          <a:pt x="2594" y="3140"/>
                        </a:lnTo>
                        <a:lnTo>
                          <a:pt x="2594" y="3140"/>
                        </a:lnTo>
                        <a:lnTo>
                          <a:pt x="2606" y="3152"/>
                        </a:lnTo>
                        <a:lnTo>
                          <a:pt x="2618" y="3158"/>
                        </a:lnTo>
                        <a:lnTo>
                          <a:pt x="2628" y="3162"/>
                        </a:lnTo>
                        <a:lnTo>
                          <a:pt x="2638" y="3164"/>
                        </a:lnTo>
                        <a:lnTo>
                          <a:pt x="2648" y="3168"/>
                        </a:lnTo>
                        <a:lnTo>
                          <a:pt x="2658" y="3170"/>
                        </a:lnTo>
                        <a:lnTo>
                          <a:pt x="2668" y="3176"/>
                        </a:lnTo>
                        <a:lnTo>
                          <a:pt x="2680" y="3186"/>
                        </a:lnTo>
                        <a:lnTo>
                          <a:pt x="2680" y="3186"/>
                        </a:lnTo>
                        <a:lnTo>
                          <a:pt x="2694" y="3198"/>
                        </a:lnTo>
                        <a:lnTo>
                          <a:pt x="2714" y="3210"/>
                        </a:lnTo>
                        <a:lnTo>
                          <a:pt x="2736" y="3224"/>
                        </a:lnTo>
                        <a:lnTo>
                          <a:pt x="2762" y="3236"/>
                        </a:lnTo>
                        <a:lnTo>
                          <a:pt x="2814" y="3260"/>
                        </a:lnTo>
                        <a:lnTo>
                          <a:pt x="2862" y="3278"/>
                        </a:lnTo>
                        <a:lnTo>
                          <a:pt x="2862" y="3278"/>
                        </a:lnTo>
                        <a:lnTo>
                          <a:pt x="2880" y="3282"/>
                        </a:lnTo>
                        <a:lnTo>
                          <a:pt x="2894" y="3282"/>
                        </a:lnTo>
                        <a:lnTo>
                          <a:pt x="2906" y="3278"/>
                        </a:lnTo>
                        <a:lnTo>
                          <a:pt x="2916" y="3272"/>
                        </a:lnTo>
                        <a:lnTo>
                          <a:pt x="2926" y="3266"/>
                        </a:lnTo>
                        <a:lnTo>
                          <a:pt x="2938" y="3260"/>
                        </a:lnTo>
                        <a:lnTo>
                          <a:pt x="2950" y="3258"/>
                        </a:lnTo>
                        <a:lnTo>
                          <a:pt x="2968" y="3260"/>
                        </a:lnTo>
                        <a:lnTo>
                          <a:pt x="2968" y="3260"/>
                        </a:lnTo>
                        <a:lnTo>
                          <a:pt x="2984" y="3264"/>
                        </a:lnTo>
                        <a:lnTo>
                          <a:pt x="2996" y="3272"/>
                        </a:lnTo>
                        <a:lnTo>
                          <a:pt x="3006" y="3280"/>
                        </a:lnTo>
                        <a:lnTo>
                          <a:pt x="3014" y="3290"/>
                        </a:lnTo>
                        <a:lnTo>
                          <a:pt x="3032" y="3314"/>
                        </a:lnTo>
                        <a:lnTo>
                          <a:pt x="3042" y="3326"/>
                        </a:lnTo>
                        <a:lnTo>
                          <a:pt x="3054" y="3338"/>
                        </a:lnTo>
                        <a:lnTo>
                          <a:pt x="3054" y="3338"/>
                        </a:lnTo>
                        <a:lnTo>
                          <a:pt x="3072" y="3356"/>
                        </a:lnTo>
                        <a:lnTo>
                          <a:pt x="3086" y="3364"/>
                        </a:lnTo>
                        <a:lnTo>
                          <a:pt x="3094" y="3368"/>
                        </a:lnTo>
                        <a:lnTo>
                          <a:pt x="3104" y="3368"/>
                        </a:lnTo>
                        <a:lnTo>
                          <a:pt x="3104" y="3368"/>
                        </a:lnTo>
                        <a:lnTo>
                          <a:pt x="3116" y="3368"/>
                        </a:lnTo>
                        <a:lnTo>
                          <a:pt x="3124" y="3370"/>
                        </a:lnTo>
                        <a:lnTo>
                          <a:pt x="3140" y="3376"/>
                        </a:lnTo>
                        <a:lnTo>
                          <a:pt x="3140" y="3376"/>
                        </a:lnTo>
                        <a:lnTo>
                          <a:pt x="3146" y="3382"/>
                        </a:lnTo>
                        <a:lnTo>
                          <a:pt x="3150" y="3386"/>
                        </a:lnTo>
                        <a:lnTo>
                          <a:pt x="3152" y="3388"/>
                        </a:lnTo>
                        <a:lnTo>
                          <a:pt x="3160" y="3390"/>
                        </a:lnTo>
                        <a:lnTo>
                          <a:pt x="3160" y="3390"/>
                        </a:lnTo>
                        <a:lnTo>
                          <a:pt x="3174" y="3392"/>
                        </a:lnTo>
                        <a:lnTo>
                          <a:pt x="3186" y="3398"/>
                        </a:lnTo>
                        <a:lnTo>
                          <a:pt x="3196" y="3404"/>
                        </a:lnTo>
                        <a:lnTo>
                          <a:pt x="3204" y="3406"/>
                        </a:lnTo>
                        <a:lnTo>
                          <a:pt x="3204" y="3406"/>
                        </a:lnTo>
                        <a:lnTo>
                          <a:pt x="3204" y="3406"/>
                        </a:lnTo>
                        <a:lnTo>
                          <a:pt x="3204" y="3404"/>
                        </a:lnTo>
                        <a:lnTo>
                          <a:pt x="3202" y="3402"/>
                        </a:lnTo>
                        <a:lnTo>
                          <a:pt x="3202" y="3400"/>
                        </a:lnTo>
                        <a:lnTo>
                          <a:pt x="3210" y="3404"/>
                        </a:lnTo>
                        <a:lnTo>
                          <a:pt x="3210" y="3404"/>
                        </a:lnTo>
                        <a:lnTo>
                          <a:pt x="3212" y="3406"/>
                        </a:lnTo>
                        <a:lnTo>
                          <a:pt x="3218" y="3406"/>
                        </a:lnTo>
                        <a:lnTo>
                          <a:pt x="3226" y="3406"/>
                        </a:lnTo>
                        <a:lnTo>
                          <a:pt x="3234" y="3404"/>
                        </a:lnTo>
                        <a:lnTo>
                          <a:pt x="3236" y="3402"/>
                        </a:lnTo>
                        <a:lnTo>
                          <a:pt x="3234" y="3400"/>
                        </a:lnTo>
                        <a:lnTo>
                          <a:pt x="3234" y="3400"/>
                        </a:lnTo>
                        <a:lnTo>
                          <a:pt x="3230" y="3398"/>
                        </a:lnTo>
                        <a:lnTo>
                          <a:pt x="3230" y="3396"/>
                        </a:lnTo>
                        <a:lnTo>
                          <a:pt x="3230" y="3394"/>
                        </a:lnTo>
                        <a:lnTo>
                          <a:pt x="3232" y="3394"/>
                        </a:lnTo>
                        <a:lnTo>
                          <a:pt x="3232" y="3394"/>
                        </a:lnTo>
                        <a:lnTo>
                          <a:pt x="3236" y="3396"/>
                        </a:lnTo>
                        <a:lnTo>
                          <a:pt x="3238" y="3396"/>
                        </a:lnTo>
                        <a:lnTo>
                          <a:pt x="3240" y="3392"/>
                        </a:lnTo>
                        <a:lnTo>
                          <a:pt x="3240" y="3392"/>
                        </a:lnTo>
                        <a:lnTo>
                          <a:pt x="3242" y="3398"/>
                        </a:lnTo>
                        <a:lnTo>
                          <a:pt x="3242" y="3398"/>
                        </a:lnTo>
                        <a:lnTo>
                          <a:pt x="3248" y="3406"/>
                        </a:lnTo>
                        <a:lnTo>
                          <a:pt x="3252" y="3410"/>
                        </a:lnTo>
                        <a:lnTo>
                          <a:pt x="3254" y="3412"/>
                        </a:lnTo>
                        <a:lnTo>
                          <a:pt x="3252" y="3416"/>
                        </a:lnTo>
                        <a:lnTo>
                          <a:pt x="3252" y="3416"/>
                        </a:lnTo>
                        <a:lnTo>
                          <a:pt x="3250" y="3418"/>
                        </a:lnTo>
                        <a:lnTo>
                          <a:pt x="3250" y="3418"/>
                        </a:lnTo>
                        <a:lnTo>
                          <a:pt x="3246" y="3416"/>
                        </a:lnTo>
                        <a:lnTo>
                          <a:pt x="3244" y="3412"/>
                        </a:lnTo>
                        <a:lnTo>
                          <a:pt x="3242" y="3412"/>
                        </a:lnTo>
                        <a:lnTo>
                          <a:pt x="3240" y="3414"/>
                        </a:lnTo>
                        <a:lnTo>
                          <a:pt x="3240" y="3414"/>
                        </a:lnTo>
                        <a:lnTo>
                          <a:pt x="3238" y="3418"/>
                        </a:lnTo>
                        <a:lnTo>
                          <a:pt x="3242" y="3422"/>
                        </a:lnTo>
                        <a:lnTo>
                          <a:pt x="3246" y="3426"/>
                        </a:lnTo>
                        <a:lnTo>
                          <a:pt x="3252" y="3434"/>
                        </a:lnTo>
                        <a:lnTo>
                          <a:pt x="3252" y="3434"/>
                        </a:lnTo>
                        <a:lnTo>
                          <a:pt x="3258" y="3442"/>
                        </a:lnTo>
                        <a:lnTo>
                          <a:pt x="3266" y="3448"/>
                        </a:lnTo>
                        <a:lnTo>
                          <a:pt x="3274" y="3454"/>
                        </a:lnTo>
                        <a:lnTo>
                          <a:pt x="3278" y="3460"/>
                        </a:lnTo>
                        <a:lnTo>
                          <a:pt x="3282" y="3466"/>
                        </a:lnTo>
                        <a:lnTo>
                          <a:pt x="3282" y="3466"/>
                        </a:lnTo>
                        <a:lnTo>
                          <a:pt x="3288" y="3478"/>
                        </a:lnTo>
                        <a:lnTo>
                          <a:pt x="3294" y="3486"/>
                        </a:lnTo>
                        <a:lnTo>
                          <a:pt x="3304" y="3494"/>
                        </a:lnTo>
                        <a:lnTo>
                          <a:pt x="3316" y="3506"/>
                        </a:lnTo>
                        <a:lnTo>
                          <a:pt x="3316" y="3506"/>
                        </a:lnTo>
                        <a:lnTo>
                          <a:pt x="3318" y="3510"/>
                        </a:lnTo>
                        <a:lnTo>
                          <a:pt x="3318" y="3512"/>
                        </a:lnTo>
                        <a:lnTo>
                          <a:pt x="3314" y="3514"/>
                        </a:lnTo>
                        <a:lnTo>
                          <a:pt x="3310" y="3518"/>
                        </a:lnTo>
                        <a:lnTo>
                          <a:pt x="3310" y="3518"/>
                        </a:lnTo>
                        <a:lnTo>
                          <a:pt x="3310" y="3520"/>
                        </a:lnTo>
                        <a:lnTo>
                          <a:pt x="3310" y="3520"/>
                        </a:lnTo>
                        <a:lnTo>
                          <a:pt x="3316" y="3522"/>
                        </a:lnTo>
                        <a:lnTo>
                          <a:pt x="3318" y="3522"/>
                        </a:lnTo>
                        <a:lnTo>
                          <a:pt x="3318" y="3522"/>
                        </a:lnTo>
                        <a:lnTo>
                          <a:pt x="3318" y="3528"/>
                        </a:lnTo>
                        <a:lnTo>
                          <a:pt x="3318" y="3528"/>
                        </a:lnTo>
                        <a:lnTo>
                          <a:pt x="3318" y="3534"/>
                        </a:lnTo>
                        <a:lnTo>
                          <a:pt x="3316" y="3534"/>
                        </a:lnTo>
                        <a:lnTo>
                          <a:pt x="3314" y="3536"/>
                        </a:lnTo>
                        <a:lnTo>
                          <a:pt x="3312" y="3540"/>
                        </a:lnTo>
                        <a:lnTo>
                          <a:pt x="3312" y="3540"/>
                        </a:lnTo>
                        <a:lnTo>
                          <a:pt x="3312" y="3550"/>
                        </a:lnTo>
                        <a:lnTo>
                          <a:pt x="3314" y="3558"/>
                        </a:lnTo>
                        <a:lnTo>
                          <a:pt x="3318" y="3564"/>
                        </a:lnTo>
                        <a:lnTo>
                          <a:pt x="3322" y="3566"/>
                        </a:lnTo>
                        <a:lnTo>
                          <a:pt x="3322" y="3566"/>
                        </a:lnTo>
                        <a:lnTo>
                          <a:pt x="3330" y="3570"/>
                        </a:lnTo>
                        <a:lnTo>
                          <a:pt x="3334" y="3574"/>
                        </a:lnTo>
                        <a:lnTo>
                          <a:pt x="3338" y="3578"/>
                        </a:lnTo>
                        <a:lnTo>
                          <a:pt x="3338" y="3578"/>
                        </a:lnTo>
                        <a:lnTo>
                          <a:pt x="3340" y="3582"/>
                        </a:lnTo>
                        <a:lnTo>
                          <a:pt x="3342" y="3580"/>
                        </a:lnTo>
                        <a:lnTo>
                          <a:pt x="3348" y="3574"/>
                        </a:lnTo>
                        <a:lnTo>
                          <a:pt x="3348" y="3574"/>
                        </a:lnTo>
                        <a:lnTo>
                          <a:pt x="3350" y="3572"/>
                        </a:lnTo>
                        <a:lnTo>
                          <a:pt x="3350" y="3570"/>
                        </a:lnTo>
                        <a:lnTo>
                          <a:pt x="3348" y="3566"/>
                        </a:lnTo>
                        <a:lnTo>
                          <a:pt x="3338" y="3558"/>
                        </a:lnTo>
                        <a:lnTo>
                          <a:pt x="3338" y="3558"/>
                        </a:lnTo>
                        <a:lnTo>
                          <a:pt x="3336" y="3554"/>
                        </a:lnTo>
                        <a:lnTo>
                          <a:pt x="3336" y="3552"/>
                        </a:lnTo>
                        <a:lnTo>
                          <a:pt x="3336" y="3550"/>
                        </a:lnTo>
                        <a:lnTo>
                          <a:pt x="3338" y="3552"/>
                        </a:lnTo>
                        <a:lnTo>
                          <a:pt x="3338" y="3552"/>
                        </a:lnTo>
                        <a:lnTo>
                          <a:pt x="3342" y="3554"/>
                        </a:lnTo>
                        <a:lnTo>
                          <a:pt x="3348" y="3558"/>
                        </a:lnTo>
                        <a:lnTo>
                          <a:pt x="3354" y="3562"/>
                        </a:lnTo>
                        <a:lnTo>
                          <a:pt x="3358" y="3566"/>
                        </a:lnTo>
                        <a:lnTo>
                          <a:pt x="3358" y="3566"/>
                        </a:lnTo>
                        <a:lnTo>
                          <a:pt x="3358" y="3576"/>
                        </a:lnTo>
                        <a:lnTo>
                          <a:pt x="3360" y="3578"/>
                        </a:lnTo>
                        <a:lnTo>
                          <a:pt x="3362" y="3582"/>
                        </a:lnTo>
                        <a:lnTo>
                          <a:pt x="3362" y="3582"/>
                        </a:lnTo>
                        <a:lnTo>
                          <a:pt x="3366" y="3584"/>
                        </a:lnTo>
                        <a:lnTo>
                          <a:pt x="3368" y="3586"/>
                        </a:lnTo>
                        <a:lnTo>
                          <a:pt x="3374" y="3586"/>
                        </a:lnTo>
                        <a:lnTo>
                          <a:pt x="3384" y="3592"/>
                        </a:lnTo>
                        <a:lnTo>
                          <a:pt x="3384" y="3592"/>
                        </a:lnTo>
                        <a:lnTo>
                          <a:pt x="3398" y="3604"/>
                        </a:lnTo>
                        <a:lnTo>
                          <a:pt x="3402" y="3608"/>
                        </a:lnTo>
                        <a:lnTo>
                          <a:pt x="3402" y="3612"/>
                        </a:lnTo>
                        <a:lnTo>
                          <a:pt x="3402" y="3612"/>
                        </a:lnTo>
                        <a:lnTo>
                          <a:pt x="3402" y="3620"/>
                        </a:lnTo>
                        <a:lnTo>
                          <a:pt x="3400" y="3624"/>
                        </a:lnTo>
                        <a:lnTo>
                          <a:pt x="3398" y="3626"/>
                        </a:lnTo>
                        <a:lnTo>
                          <a:pt x="3398" y="3626"/>
                        </a:lnTo>
                        <a:lnTo>
                          <a:pt x="3398" y="3628"/>
                        </a:lnTo>
                        <a:lnTo>
                          <a:pt x="3396" y="3630"/>
                        </a:lnTo>
                        <a:lnTo>
                          <a:pt x="3400" y="3634"/>
                        </a:lnTo>
                        <a:lnTo>
                          <a:pt x="3404" y="3636"/>
                        </a:lnTo>
                        <a:lnTo>
                          <a:pt x="3408" y="3638"/>
                        </a:lnTo>
                        <a:lnTo>
                          <a:pt x="3408" y="3638"/>
                        </a:lnTo>
                        <a:lnTo>
                          <a:pt x="3410" y="3640"/>
                        </a:lnTo>
                        <a:lnTo>
                          <a:pt x="3414" y="3640"/>
                        </a:lnTo>
                        <a:lnTo>
                          <a:pt x="3414" y="3642"/>
                        </a:lnTo>
                        <a:lnTo>
                          <a:pt x="3416" y="3640"/>
                        </a:lnTo>
                        <a:lnTo>
                          <a:pt x="3416" y="3640"/>
                        </a:lnTo>
                        <a:lnTo>
                          <a:pt x="3416" y="3636"/>
                        </a:lnTo>
                        <a:lnTo>
                          <a:pt x="3414" y="3634"/>
                        </a:lnTo>
                        <a:lnTo>
                          <a:pt x="3410" y="3630"/>
                        </a:lnTo>
                        <a:lnTo>
                          <a:pt x="3406" y="3626"/>
                        </a:lnTo>
                        <a:lnTo>
                          <a:pt x="3408" y="3626"/>
                        </a:lnTo>
                        <a:lnTo>
                          <a:pt x="3410" y="3624"/>
                        </a:lnTo>
                        <a:lnTo>
                          <a:pt x="3410" y="3624"/>
                        </a:lnTo>
                        <a:lnTo>
                          <a:pt x="3414" y="3622"/>
                        </a:lnTo>
                        <a:lnTo>
                          <a:pt x="3414" y="3624"/>
                        </a:lnTo>
                        <a:lnTo>
                          <a:pt x="3416" y="3628"/>
                        </a:lnTo>
                        <a:lnTo>
                          <a:pt x="3418" y="3630"/>
                        </a:lnTo>
                        <a:lnTo>
                          <a:pt x="3418" y="3630"/>
                        </a:lnTo>
                        <a:lnTo>
                          <a:pt x="3420" y="3630"/>
                        </a:lnTo>
                        <a:lnTo>
                          <a:pt x="3422" y="3632"/>
                        </a:lnTo>
                        <a:lnTo>
                          <a:pt x="3422" y="3636"/>
                        </a:lnTo>
                        <a:lnTo>
                          <a:pt x="3422" y="3642"/>
                        </a:lnTo>
                        <a:lnTo>
                          <a:pt x="3422" y="3646"/>
                        </a:lnTo>
                        <a:lnTo>
                          <a:pt x="3422" y="3646"/>
                        </a:lnTo>
                        <a:lnTo>
                          <a:pt x="3428" y="3654"/>
                        </a:lnTo>
                        <a:lnTo>
                          <a:pt x="3430" y="3656"/>
                        </a:lnTo>
                        <a:lnTo>
                          <a:pt x="3432" y="3656"/>
                        </a:lnTo>
                        <a:lnTo>
                          <a:pt x="3432" y="3656"/>
                        </a:lnTo>
                        <a:lnTo>
                          <a:pt x="3434" y="3648"/>
                        </a:lnTo>
                        <a:lnTo>
                          <a:pt x="3436" y="3646"/>
                        </a:lnTo>
                        <a:lnTo>
                          <a:pt x="3440" y="3644"/>
                        </a:lnTo>
                        <a:lnTo>
                          <a:pt x="3440" y="3644"/>
                        </a:lnTo>
                        <a:lnTo>
                          <a:pt x="3452" y="3646"/>
                        </a:lnTo>
                        <a:lnTo>
                          <a:pt x="3464" y="3650"/>
                        </a:lnTo>
                        <a:lnTo>
                          <a:pt x="3472" y="3652"/>
                        </a:lnTo>
                        <a:lnTo>
                          <a:pt x="3476" y="3654"/>
                        </a:lnTo>
                        <a:lnTo>
                          <a:pt x="3476" y="3654"/>
                        </a:lnTo>
                        <a:lnTo>
                          <a:pt x="3478" y="3652"/>
                        </a:lnTo>
                        <a:lnTo>
                          <a:pt x="3480" y="3654"/>
                        </a:lnTo>
                        <a:lnTo>
                          <a:pt x="3482" y="3662"/>
                        </a:lnTo>
                        <a:lnTo>
                          <a:pt x="3482" y="3662"/>
                        </a:lnTo>
                        <a:lnTo>
                          <a:pt x="3484" y="3666"/>
                        </a:lnTo>
                        <a:lnTo>
                          <a:pt x="3484" y="3670"/>
                        </a:lnTo>
                        <a:lnTo>
                          <a:pt x="3486" y="3672"/>
                        </a:lnTo>
                        <a:lnTo>
                          <a:pt x="3490" y="3676"/>
                        </a:lnTo>
                        <a:lnTo>
                          <a:pt x="3490" y="3676"/>
                        </a:lnTo>
                        <a:lnTo>
                          <a:pt x="3496" y="3678"/>
                        </a:lnTo>
                        <a:lnTo>
                          <a:pt x="3498" y="3678"/>
                        </a:lnTo>
                        <a:lnTo>
                          <a:pt x="3498" y="3674"/>
                        </a:lnTo>
                        <a:lnTo>
                          <a:pt x="3498" y="3674"/>
                        </a:lnTo>
                        <a:lnTo>
                          <a:pt x="3500" y="3668"/>
                        </a:lnTo>
                        <a:lnTo>
                          <a:pt x="3502" y="3666"/>
                        </a:lnTo>
                        <a:lnTo>
                          <a:pt x="3504" y="3666"/>
                        </a:lnTo>
                        <a:lnTo>
                          <a:pt x="3504" y="3668"/>
                        </a:lnTo>
                        <a:lnTo>
                          <a:pt x="3504" y="3668"/>
                        </a:lnTo>
                        <a:lnTo>
                          <a:pt x="3504" y="3672"/>
                        </a:lnTo>
                        <a:lnTo>
                          <a:pt x="3508" y="3680"/>
                        </a:lnTo>
                        <a:lnTo>
                          <a:pt x="3510" y="3686"/>
                        </a:lnTo>
                        <a:lnTo>
                          <a:pt x="3510" y="3694"/>
                        </a:lnTo>
                        <a:lnTo>
                          <a:pt x="3510" y="3694"/>
                        </a:lnTo>
                        <a:lnTo>
                          <a:pt x="3510" y="3696"/>
                        </a:lnTo>
                        <a:lnTo>
                          <a:pt x="3510" y="3698"/>
                        </a:lnTo>
                        <a:lnTo>
                          <a:pt x="3516" y="3698"/>
                        </a:lnTo>
                        <a:lnTo>
                          <a:pt x="3528" y="3696"/>
                        </a:lnTo>
                        <a:lnTo>
                          <a:pt x="3528" y="3696"/>
                        </a:lnTo>
                        <a:lnTo>
                          <a:pt x="3530" y="3696"/>
                        </a:lnTo>
                        <a:lnTo>
                          <a:pt x="3532" y="3696"/>
                        </a:lnTo>
                        <a:lnTo>
                          <a:pt x="3532" y="3692"/>
                        </a:lnTo>
                        <a:lnTo>
                          <a:pt x="3532" y="3690"/>
                        </a:lnTo>
                        <a:lnTo>
                          <a:pt x="3538" y="3688"/>
                        </a:lnTo>
                        <a:lnTo>
                          <a:pt x="3538" y="3688"/>
                        </a:lnTo>
                        <a:lnTo>
                          <a:pt x="3544" y="3688"/>
                        </a:lnTo>
                        <a:lnTo>
                          <a:pt x="3546" y="3686"/>
                        </a:lnTo>
                        <a:lnTo>
                          <a:pt x="3548" y="3684"/>
                        </a:lnTo>
                        <a:lnTo>
                          <a:pt x="3546" y="3680"/>
                        </a:lnTo>
                        <a:lnTo>
                          <a:pt x="3542" y="3672"/>
                        </a:lnTo>
                        <a:lnTo>
                          <a:pt x="3542" y="3672"/>
                        </a:lnTo>
                        <a:lnTo>
                          <a:pt x="3536" y="3664"/>
                        </a:lnTo>
                        <a:lnTo>
                          <a:pt x="3534" y="3660"/>
                        </a:lnTo>
                        <a:lnTo>
                          <a:pt x="3534" y="3658"/>
                        </a:lnTo>
                        <a:lnTo>
                          <a:pt x="3532" y="3658"/>
                        </a:lnTo>
                        <a:lnTo>
                          <a:pt x="3532" y="3658"/>
                        </a:lnTo>
                        <a:lnTo>
                          <a:pt x="3530" y="3658"/>
                        </a:lnTo>
                        <a:lnTo>
                          <a:pt x="3528" y="3656"/>
                        </a:lnTo>
                        <a:lnTo>
                          <a:pt x="3526" y="3652"/>
                        </a:lnTo>
                        <a:lnTo>
                          <a:pt x="3528" y="3648"/>
                        </a:lnTo>
                        <a:lnTo>
                          <a:pt x="3530" y="3646"/>
                        </a:lnTo>
                        <a:lnTo>
                          <a:pt x="3532" y="3646"/>
                        </a:lnTo>
                        <a:lnTo>
                          <a:pt x="3532" y="3646"/>
                        </a:lnTo>
                        <a:lnTo>
                          <a:pt x="3538" y="3644"/>
                        </a:lnTo>
                        <a:lnTo>
                          <a:pt x="3544" y="3642"/>
                        </a:lnTo>
                        <a:lnTo>
                          <a:pt x="3550" y="3636"/>
                        </a:lnTo>
                        <a:lnTo>
                          <a:pt x="3556" y="3628"/>
                        </a:lnTo>
                        <a:lnTo>
                          <a:pt x="3556" y="3628"/>
                        </a:lnTo>
                        <a:lnTo>
                          <a:pt x="3558" y="3624"/>
                        </a:lnTo>
                        <a:lnTo>
                          <a:pt x="3558" y="3622"/>
                        </a:lnTo>
                        <a:lnTo>
                          <a:pt x="3558" y="3618"/>
                        </a:lnTo>
                        <a:lnTo>
                          <a:pt x="3562" y="3616"/>
                        </a:lnTo>
                        <a:lnTo>
                          <a:pt x="3562" y="3616"/>
                        </a:lnTo>
                        <a:lnTo>
                          <a:pt x="3566" y="3614"/>
                        </a:lnTo>
                        <a:lnTo>
                          <a:pt x="3568" y="3612"/>
                        </a:lnTo>
                        <a:lnTo>
                          <a:pt x="3570" y="3610"/>
                        </a:lnTo>
                        <a:lnTo>
                          <a:pt x="3576" y="3610"/>
                        </a:lnTo>
                        <a:lnTo>
                          <a:pt x="3576" y="3610"/>
                        </a:lnTo>
                        <a:lnTo>
                          <a:pt x="3586" y="3612"/>
                        </a:lnTo>
                        <a:lnTo>
                          <a:pt x="3598" y="3620"/>
                        </a:lnTo>
                        <a:lnTo>
                          <a:pt x="3606" y="3626"/>
                        </a:lnTo>
                        <a:lnTo>
                          <a:pt x="3608" y="3630"/>
                        </a:lnTo>
                        <a:lnTo>
                          <a:pt x="3608" y="3632"/>
                        </a:lnTo>
                        <a:lnTo>
                          <a:pt x="3608" y="3632"/>
                        </a:lnTo>
                        <a:lnTo>
                          <a:pt x="3606" y="3636"/>
                        </a:lnTo>
                        <a:lnTo>
                          <a:pt x="3608" y="3638"/>
                        </a:lnTo>
                        <a:lnTo>
                          <a:pt x="3610" y="3640"/>
                        </a:lnTo>
                        <a:lnTo>
                          <a:pt x="3612" y="3640"/>
                        </a:lnTo>
                        <a:lnTo>
                          <a:pt x="3612" y="3640"/>
                        </a:lnTo>
                        <a:lnTo>
                          <a:pt x="3616" y="3638"/>
                        </a:lnTo>
                        <a:lnTo>
                          <a:pt x="3616" y="3638"/>
                        </a:lnTo>
                        <a:lnTo>
                          <a:pt x="3618" y="3638"/>
                        </a:lnTo>
                        <a:lnTo>
                          <a:pt x="3620" y="3638"/>
                        </a:lnTo>
                        <a:lnTo>
                          <a:pt x="3620" y="3638"/>
                        </a:lnTo>
                        <a:lnTo>
                          <a:pt x="3622" y="3638"/>
                        </a:lnTo>
                        <a:lnTo>
                          <a:pt x="3620" y="3640"/>
                        </a:lnTo>
                        <a:lnTo>
                          <a:pt x="3618" y="3648"/>
                        </a:lnTo>
                        <a:lnTo>
                          <a:pt x="3614" y="3658"/>
                        </a:lnTo>
                        <a:lnTo>
                          <a:pt x="3612" y="3662"/>
                        </a:lnTo>
                        <a:lnTo>
                          <a:pt x="3614" y="3666"/>
                        </a:lnTo>
                        <a:lnTo>
                          <a:pt x="3614" y="3666"/>
                        </a:lnTo>
                        <a:lnTo>
                          <a:pt x="3622" y="3682"/>
                        </a:lnTo>
                        <a:lnTo>
                          <a:pt x="3626" y="3690"/>
                        </a:lnTo>
                        <a:lnTo>
                          <a:pt x="3632" y="3696"/>
                        </a:lnTo>
                        <a:lnTo>
                          <a:pt x="3632" y="3696"/>
                        </a:lnTo>
                        <a:lnTo>
                          <a:pt x="3636" y="3700"/>
                        </a:lnTo>
                        <a:lnTo>
                          <a:pt x="3638" y="3702"/>
                        </a:lnTo>
                        <a:lnTo>
                          <a:pt x="3640" y="3704"/>
                        </a:lnTo>
                        <a:lnTo>
                          <a:pt x="3640" y="3708"/>
                        </a:lnTo>
                        <a:lnTo>
                          <a:pt x="3672" y="3654"/>
                        </a:lnTo>
                        <a:lnTo>
                          <a:pt x="3672" y="3654"/>
                        </a:lnTo>
                        <a:lnTo>
                          <a:pt x="3654" y="3626"/>
                        </a:lnTo>
                        <a:lnTo>
                          <a:pt x="3654" y="3626"/>
                        </a:lnTo>
                        <a:close/>
                        <a:moveTo>
                          <a:pt x="3590" y="1870"/>
                        </a:moveTo>
                        <a:lnTo>
                          <a:pt x="3590" y="1870"/>
                        </a:lnTo>
                        <a:lnTo>
                          <a:pt x="3570" y="1886"/>
                        </a:lnTo>
                        <a:lnTo>
                          <a:pt x="3558" y="1894"/>
                        </a:lnTo>
                        <a:lnTo>
                          <a:pt x="3546" y="1900"/>
                        </a:lnTo>
                        <a:lnTo>
                          <a:pt x="3546" y="1900"/>
                        </a:lnTo>
                        <a:lnTo>
                          <a:pt x="3536" y="1904"/>
                        </a:lnTo>
                        <a:lnTo>
                          <a:pt x="3524" y="1910"/>
                        </a:lnTo>
                        <a:lnTo>
                          <a:pt x="3508" y="1920"/>
                        </a:lnTo>
                        <a:lnTo>
                          <a:pt x="3488" y="1932"/>
                        </a:lnTo>
                        <a:lnTo>
                          <a:pt x="3488" y="1932"/>
                        </a:lnTo>
                        <a:lnTo>
                          <a:pt x="3466" y="1938"/>
                        </a:lnTo>
                        <a:lnTo>
                          <a:pt x="3448" y="1942"/>
                        </a:lnTo>
                        <a:lnTo>
                          <a:pt x="3434" y="1942"/>
                        </a:lnTo>
                        <a:lnTo>
                          <a:pt x="3426" y="1940"/>
                        </a:lnTo>
                        <a:lnTo>
                          <a:pt x="3426" y="1940"/>
                        </a:lnTo>
                        <a:lnTo>
                          <a:pt x="3424" y="1938"/>
                        </a:lnTo>
                        <a:lnTo>
                          <a:pt x="3424" y="1938"/>
                        </a:lnTo>
                        <a:lnTo>
                          <a:pt x="3430" y="1936"/>
                        </a:lnTo>
                        <a:lnTo>
                          <a:pt x="3434" y="1936"/>
                        </a:lnTo>
                        <a:lnTo>
                          <a:pt x="3434" y="1934"/>
                        </a:lnTo>
                        <a:lnTo>
                          <a:pt x="3434" y="1934"/>
                        </a:lnTo>
                        <a:lnTo>
                          <a:pt x="3434" y="1934"/>
                        </a:lnTo>
                        <a:lnTo>
                          <a:pt x="3426" y="1932"/>
                        </a:lnTo>
                        <a:lnTo>
                          <a:pt x="3418" y="1930"/>
                        </a:lnTo>
                        <a:lnTo>
                          <a:pt x="3410" y="1930"/>
                        </a:lnTo>
                        <a:lnTo>
                          <a:pt x="3408" y="1928"/>
                        </a:lnTo>
                        <a:lnTo>
                          <a:pt x="3406" y="1926"/>
                        </a:lnTo>
                        <a:lnTo>
                          <a:pt x="3406" y="1926"/>
                        </a:lnTo>
                        <a:lnTo>
                          <a:pt x="3408" y="1922"/>
                        </a:lnTo>
                        <a:lnTo>
                          <a:pt x="3410" y="1916"/>
                        </a:lnTo>
                        <a:lnTo>
                          <a:pt x="3414" y="1910"/>
                        </a:lnTo>
                        <a:lnTo>
                          <a:pt x="3416" y="1900"/>
                        </a:lnTo>
                        <a:lnTo>
                          <a:pt x="3416" y="1900"/>
                        </a:lnTo>
                        <a:lnTo>
                          <a:pt x="3420" y="1892"/>
                        </a:lnTo>
                        <a:lnTo>
                          <a:pt x="3422" y="1890"/>
                        </a:lnTo>
                        <a:lnTo>
                          <a:pt x="3426" y="1886"/>
                        </a:lnTo>
                        <a:lnTo>
                          <a:pt x="3430" y="1880"/>
                        </a:lnTo>
                        <a:lnTo>
                          <a:pt x="3430" y="1880"/>
                        </a:lnTo>
                        <a:lnTo>
                          <a:pt x="3434" y="1872"/>
                        </a:lnTo>
                        <a:lnTo>
                          <a:pt x="3436" y="1870"/>
                        </a:lnTo>
                        <a:lnTo>
                          <a:pt x="3438" y="1872"/>
                        </a:lnTo>
                        <a:lnTo>
                          <a:pt x="3440" y="1880"/>
                        </a:lnTo>
                        <a:lnTo>
                          <a:pt x="3440" y="1880"/>
                        </a:lnTo>
                        <a:lnTo>
                          <a:pt x="3446" y="1882"/>
                        </a:lnTo>
                        <a:lnTo>
                          <a:pt x="3448" y="1884"/>
                        </a:lnTo>
                        <a:lnTo>
                          <a:pt x="3450" y="1886"/>
                        </a:lnTo>
                        <a:lnTo>
                          <a:pt x="3448" y="1888"/>
                        </a:lnTo>
                        <a:lnTo>
                          <a:pt x="3442" y="1892"/>
                        </a:lnTo>
                        <a:lnTo>
                          <a:pt x="3432" y="1894"/>
                        </a:lnTo>
                        <a:lnTo>
                          <a:pt x="3432" y="1894"/>
                        </a:lnTo>
                        <a:lnTo>
                          <a:pt x="3426" y="1894"/>
                        </a:lnTo>
                        <a:lnTo>
                          <a:pt x="3424" y="1896"/>
                        </a:lnTo>
                        <a:lnTo>
                          <a:pt x="3422" y="1898"/>
                        </a:lnTo>
                        <a:lnTo>
                          <a:pt x="3422" y="1902"/>
                        </a:lnTo>
                        <a:lnTo>
                          <a:pt x="3422" y="1904"/>
                        </a:lnTo>
                        <a:lnTo>
                          <a:pt x="3424" y="1906"/>
                        </a:lnTo>
                        <a:lnTo>
                          <a:pt x="3428" y="1908"/>
                        </a:lnTo>
                        <a:lnTo>
                          <a:pt x="3432" y="1908"/>
                        </a:lnTo>
                        <a:lnTo>
                          <a:pt x="3432" y="1908"/>
                        </a:lnTo>
                        <a:lnTo>
                          <a:pt x="3438" y="1908"/>
                        </a:lnTo>
                        <a:lnTo>
                          <a:pt x="3442" y="1910"/>
                        </a:lnTo>
                        <a:lnTo>
                          <a:pt x="3444" y="1912"/>
                        </a:lnTo>
                        <a:lnTo>
                          <a:pt x="3446" y="1910"/>
                        </a:lnTo>
                        <a:lnTo>
                          <a:pt x="3446" y="1910"/>
                        </a:lnTo>
                        <a:lnTo>
                          <a:pt x="3450" y="1904"/>
                        </a:lnTo>
                        <a:lnTo>
                          <a:pt x="3456" y="1900"/>
                        </a:lnTo>
                        <a:lnTo>
                          <a:pt x="3466" y="1896"/>
                        </a:lnTo>
                        <a:lnTo>
                          <a:pt x="3466" y="1896"/>
                        </a:lnTo>
                        <a:lnTo>
                          <a:pt x="3470" y="1892"/>
                        </a:lnTo>
                        <a:lnTo>
                          <a:pt x="3474" y="1888"/>
                        </a:lnTo>
                        <a:lnTo>
                          <a:pt x="3482" y="1880"/>
                        </a:lnTo>
                        <a:lnTo>
                          <a:pt x="3488" y="1876"/>
                        </a:lnTo>
                        <a:lnTo>
                          <a:pt x="3496" y="1874"/>
                        </a:lnTo>
                        <a:lnTo>
                          <a:pt x="3504" y="1874"/>
                        </a:lnTo>
                        <a:lnTo>
                          <a:pt x="3518" y="1876"/>
                        </a:lnTo>
                        <a:lnTo>
                          <a:pt x="3518" y="1876"/>
                        </a:lnTo>
                        <a:lnTo>
                          <a:pt x="3534" y="1880"/>
                        </a:lnTo>
                        <a:lnTo>
                          <a:pt x="3538" y="1880"/>
                        </a:lnTo>
                        <a:lnTo>
                          <a:pt x="3536" y="1878"/>
                        </a:lnTo>
                        <a:lnTo>
                          <a:pt x="3532" y="1876"/>
                        </a:lnTo>
                        <a:lnTo>
                          <a:pt x="3532" y="1872"/>
                        </a:lnTo>
                        <a:lnTo>
                          <a:pt x="3532" y="1870"/>
                        </a:lnTo>
                        <a:lnTo>
                          <a:pt x="3532" y="1870"/>
                        </a:lnTo>
                        <a:lnTo>
                          <a:pt x="3536" y="1866"/>
                        </a:lnTo>
                        <a:lnTo>
                          <a:pt x="3540" y="1864"/>
                        </a:lnTo>
                        <a:lnTo>
                          <a:pt x="3560" y="1862"/>
                        </a:lnTo>
                        <a:lnTo>
                          <a:pt x="3560" y="1862"/>
                        </a:lnTo>
                        <a:lnTo>
                          <a:pt x="3580" y="1860"/>
                        </a:lnTo>
                        <a:lnTo>
                          <a:pt x="3584" y="1860"/>
                        </a:lnTo>
                        <a:lnTo>
                          <a:pt x="3586" y="1858"/>
                        </a:lnTo>
                        <a:lnTo>
                          <a:pt x="3586" y="1858"/>
                        </a:lnTo>
                        <a:lnTo>
                          <a:pt x="3586" y="1854"/>
                        </a:lnTo>
                        <a:lnTo>
                          <a:pt x="3586" y="1852"/>
                        </a:lnTo>
                        <a:lnTo>
                          <a:pt x="3588" y="1850"/>
                        </a:lnTo>
                        <a:lnTo>
                          <a:pt x="3588" y="1850"/>
                        </a:lnTo>
                        <a:lnTo>
                          <a:pt x="3590" y="1850"/>
                        </a:lnTo>
                        <a:lnTo>
                          <a:pt x="3592" y="1852"/>
                        </a:lnTo>
                        <a:lnTo>
                          <a:pt x="3594" y="1858"/>
                        </a:lnTo>
                        <a:lnTo>
                          <a:pt x="3592" y="1864"/>
                        </a:lnTo>
                        <a:lnTo>
                          <a:pt x="3590" y="1870"/>
                        </a:lnTo>
                        <a:lnTo>
                          <a:pt x="3590" y="1870"/>
                        </a:lnTo>
                        <a:close/>
                        <a:moveTo>
                          <a:pt x="3578" y="1812"/>
                        </a:moveTo>
                        <a:lnTo>
                          <a:pt x="3578" y="1812"/>
                        </a:lnTo>
                        <a:lnTo>
                          <a:pt x="3586" y="1806"/>
                        </a:lnTo>
                        <a:lnTo>
                          <a:pt x="3596" y="1804"/>
                        </a:lnTo>
                        <a:lnTo>
                          <a:pt x="3624" y="1798"/>
                        </a:lnTo>
                        <a:lnTo>
                          <a:pt x="3624" y="1798"/>
                        </a:lnTo>
                        <a:lnTo>
                          <a:pt x="3636" y="1796"/>
                        </a:lnTo>
                        <a:lnTo>
                          <a:pt x="3642" y="1794"/>
                        </a:lnTo>
                        <a:lnTo>
                          <a:pt x="3656" y="1802"/>
                        </a:lnTo>
                        <a:lnTo>
                          <a:pt x="3656" y="1802"/>
                        </a:lnTo>
                        <a:lnTo>
                          <a:pt x="3662" y="1804"/>
                        </a:lnTo>
                        <a:lnTo>
                          <a:pt x="3664" y="1804"/>
                        </a:lnTo>
                        <a:lnTo>
                          <a:pt x="3668" y="1804"/>
                        </a:lnTo>
                        <a:lnTo>
                          <a:pt x="3668" y="1802"/>
                        </a:lnTo>
                        <a:lnTo>
                          <a:pt x="3672" y="1794"/>
                        </a:lnTo>
                        <a:lnTo>
                          <a:pt x="3674" y="1790"/>
                        </a:lnTo>
                        <a:lnTo>
                          <a:pt x="3678" y="1788"/>
                        </a:lnTo>
                        <a:lnTo>
                          <a:pt x="3678" y="1788"/>
                        </a:lnTo>
                        <a:lnTo>
                          <a:pt x="3686" y="1782"/>
                        </a:lnTo>
                        <a:lnTo>
                          <a:pt x="3696" y="1778"/>
                        </a:lnTo>
                        <a:lnTo>
                          <a:pt x="3706" y="1776"/>
                        </a:lnTo>
                        <a:lnTo>
                          <a:pt x="3716" y="1770"/>
                        </a:lnTo>
                        <a:lnTo>
                          <a:pt x="3716" y="1770"/>
                        </a:lnTo>
                        <a:lnTo>
                          <a:pt x="3714" y="1774"/>
                        </a:lnTo>
                        <a:lnTo>
                          <a:pt x="3712" y="1778"/>
                        </a:lnTo>
                        <a:lnTo>
                          <a:pt x="3708" y="1782"/>
                        </a:lnTo>
                        <a:lnTo>
                          <a:pt x="3702" y="1784"/>
                        </a:lnTo>
                        <a:lnTo>
                          <a:pt x="3702" y="1784"/>
                        </a:lnTo>
                        <a:lnTo>
                          <a:pt x="3698" y="1786"/>
                        </a:lnTo>
                        <a:lnTo>
                          <a:pt x="3694" y="1790"/>
                        </a:lnTo>
                        <a:lnTo>
                          <a:pt x="3696" y="1794"/>
                        </a:lnTo>
                        <a:lnTo>
                          <a:pt x="3698" y="1798"/>
                        </a:lnTo>
                        <a:lnTo>
                          <a:pt x="3698" y="1798"/>
                        </a:lnTo>
                        <a:lnTo>
                          <a:pt x="3702" y="1800"/>
                        </a:lnTo>
                        <a:lnTo>
                          <a:pt x="3702" y="1802"/>
                        </a:lnTo>
                        <a:lnTo>
                          <a:pt x="3700" y="1806"/>
                        </a:lnTo>
                        <a:lnTo>
                          <a:pt x="3700" y="1814"/>
                        </a:lnTo>
                        <a:lnTo>
                          <a:pt x="3700" y="1814"/>
                        </a:lnTo>
                        <a:lnTo>
                          <a:pt x="3700" y="1820"/>
                        </a:lnTo>
                        <a:lnTo>
                          <a:pt x="3696" y="1822"/>
                        </a:lnTo>
                        <a:lnTo>
                          <a:pt x="3690" y="1826"/>
                        </a:lnTo>
                        <a:lnTo>
                          <a:pt x="3684" y="1830"/>
                        </a:lnTo>
                        <a:lnTo>
                          <a:pt x="3684" y="1830"/>
                        </a:lnTo>
                        <a:lnTo>
                          <a:pt x="3680" y="1834"/>
                        </a:lnTo>
                        <a:lnTo>
                          <a:pt x="3676" y="1836"/>
                        </a:lnTo>
                        <a:lnTo>
                          <a:pt x="3662" y="1838"/>
                        </a:lnTo>
                        <a:lnTo>
                          <a:pt x="3648" y="1838"/>
                        </a:lnTo>
                        <a:lnTo>
                          <a:pt x="3638" y="1834"/>
                        </a:lnTo>
                        <a:lnTo>
                          <a:pt x="3638" y="1834"/>
                        </a:lnTo>
                        <a:lnTo>
                          <a:pt x="3628" y="1832"/>
                        </a:lnTo>
                        <a:lnTo>
                          <a:pt x="3616" y="1830"/>
                        </a:lnTo>
                        <a:lnTo>
                          <a:pt x="3604" y="1832"/>
                        </a:lnTo>
                        <a:lnTo>
                          <a:pt x="3594" y="1834"/>
                        </a:lnTo>
                        <a:lnTo>
                          <a:pt x="3594" y="1834"/>
                        </a:lnTo>
                        <a:lnTo>
                          <a:pt x="3588" y="1838"/>
                        </a:lnTo>
                        <a:lnTo>
                          <a:pt x="3582" y="1840"/>
                        </a:lnTo>
                        <a:lnTo>
                          <a:pt x="3574" y="1842"/>
                        </a:lnTo>
                        <a:lnTo>
                          <a:pt x="3574" y="1842"/>
                        </a:lnTo>
                        <a:lnTo>
                          <a:pt x="3568" y="1842"/>
                        </a:lnTo>
                        <a:lnTo>
                          <a:pt x="3562" y="1842"/>
                        </a:lnTo>
                        <a:lnTo>
                          <a:pt x="3560" y="1840"/>
                        </a:lnTo>
                        <a:lnTo>
                          <a:pt x="3558" y="1838"/>
                        </a:lnTo>
                        <a:lnTo>
                          <a:pt x="3558" y="1834"/>
                        </a:lnTo>
                        <a:lnTo>
                          <a:pt x="3560" y="1828"/>
                        </a:lnTo>
                        <a:lnTo>
                          <a:pt x="3560" y="1828"/>
                        </a:lnTo>
                        <a:lnTo>
                          <a:pt x="3564" y="1820"/>
                        </a:lnTo>
                        <a:lnTo>
                          <a:pt x="3570" y="1818"/>
                        </a:lnTo>
                        <a:lnTo>
                          <a:pt x="3574" y="1816"/>
                        </a:lnTo>
                        <a:lnTo>
                          <a:pt x="3578" y="1812"/>
                        </a:lnTo>
                        <a:lnTo>
                          <a:pt x="3578" y="1812"/>
                        </a:lnTo>
                        <a:close/>
                        <a:moveTo>
                          <a:pt x="3092" y="1606"/>
                        </a:moveTo>
                        <a:lnTo>
                          <a:pt x="3092" y="1606"/>
                        </a:lnTo>
                        <a:lnTo>
                          <a:pt x="3104" y="1594"/>
                        </a:lnTo>
                        <a:lnTo>
                          <a:pt x="3118" y="1586"/>
                        </a:lnTo>
                        <a:lnTo>
                          <a:pt x="3158" y="1566"/>
                        </a:lnTo>
                        <a:lnTo>
                          <a:pt x="3158" y="1566"/>
                        </a:lnTo>
                        <a:lnTo>
                          <a:pt x="3164" y="1564"/>
                        </a:lnTo>
                        <a:lnTo>
                          <a:pt x="3164" y="1564"/>
                        </a:lnTo>
                        <a:lnTo>
                          <a:pt x="3168" y="1560"/>
                        </a:lnTo>
                        <a:lnTo>
                          <a:pt x="3172" y="1556"/>
                        </a:lnTo>
                        <a:lnTo>
                          <a:pt x="3176" y="1544"/>
                        </a:lnTo>
                        <a:lnTo>
                          <a:pt x="3176" y="1544"/>
                        </a:lnTo>
                        <a:lnTo>
                          <a:pt x="3180" y="1538"/>
                        </a:lnTo>
                        <a:lnTo>
                          <a:pt x="3184" y="1534"/>
                        </a:lnTo>
                        <a:lnTo>
                          <a:pt x="3188" y="1534"/>
                        </a:lnTo>
                        <a:lnTo>
                          <a:pt x="3190" y="1536"/>
                        </a:lnTo>
                        <a:lnTo>
                          <a:pt x="3190" y="1538"/>
                        </a:lnTo>
                        <a:lnTo>
                          <a:pt x="3190" y="1542"/>
                        </a:lnTo>
                        <a:lnTo>
                          <a:pt x="3190" y="1542"/>
                        </a:lnTo>
                        <a:lnTo>
                          <a:pt x="3188" y="1548"/>
                        </a:lnTo>
                        <a:lnTo>
                          <a:pt x="3192" y="1544"/>
                        </a:lnTo>
                        <a:lnTo>
                          <a:pt x="3196" y="1536"/>
                        </a:lnTo>
                        <a:lnTo>
                          <a:pt x="3200" y="1524"/>
                        </a:lnTo>
                        <a:lnTo>
                          <a:pt x="3200" y="1524"/>
                        </a:lnTo>
                        <a:lnTo>
                          <a:pt x="3204" y="1516"/>
                        </a:lnTo>
                        <a:lnTo>
                          <a:pt x="3206" y="1516"/>
                        </a:lnTo>
                        <a:lnTo>
                          <a:pt x="3208" y="1516"/>
                        </a:lnTo>
                        <a:lnTo>
                          <a:pt x="3208" y="1522"/>
                        </a:lnTo>
                        <a:lnTo>
                          <a:pt x="3206" y="1532"/>
                        </a:lnTo>
                        <a:lnTo>
                          <a:pt x="3206" y="1532"/>
                        </a:lnTo>
                        <a:lnTo>
                          <a:pt x="3204" y="1538"/>
                        </a:lnTo>
                        <a:lnTo>
                          <a:pt x="3204" y="1540"/>
                        </a:lnTo>
                        <a:lnTo>
                          <a:pt x="3204" y="1540"/>
                        </a:lnTo>
                        <a:lnTo>
                          <a:pt x="3216" y="1532"/>
                        </a:lnTo>
                        <a:lnTo>
                          <a:pt x="3216" y="1532"/>
                        </a:lnTo>
                        <a:lnTo>
                          <a:pt x="3218" y="1530"/>
                        </a:lnTo>
                        <a:lnTo>
                          <a:pt x="3220" y="1526"/>
                        </a:lnTo>
                        <a:lnTo>
                          <a:pt x="3218" y="1520"/>
                        </a:lnTo>
                        <a:lnTo>
                          <a:pt x="3216" y="1514"/>
                        </a:lnTo>
                        <a:lnTo>
                          <a:pt x="3216" y="1512"/>
                        </a:lnTo>
                        <a:lnTo>
                          <a:pt x="3216" y="1510"/>
                        </a:lnTo>
                        <a:lnTo>
                          <a:pt x="3216" y="1510"/>
                        </a:lnTo>
                        <a:lnTo>
                          <a:pt x="3220" y="1508"/>
                        </a:lnTo>
                        <a:lnTo>
                          <a:pt x="3224" y="1510"/>
                        </a:lnTo>
                        <a:lnTo>
                          <a:pt x="3236" y="1514"/>
                        </a:lnTo>
                        <a:lnTo>
                          <a:pt x="3248" y="1520"/>
                        </a:lnTo>
                        <a:lnTo>
                          <a:pt x="3254" y="1522"/>
                        </a:lnTo>
                        <a:lnTo>
                          <a:pt x="3260" y="1522"/>
                        </a:lnTo>
                        <a:lnTo>
                          <a:pt x="3260" y="1522"/>
                        </a:lnTo>
                        <a:lnTo>
                          <a:pt x="3268" y="1522"/>
                        </a:lnTo>
                        <a:lnTo>
                          <a:pt x="3272" y="1522"/>
                        </a:lnTo>
                        <a:lnTo>
                          <a:pt x="3276" y="1522"/>
                        </a:lnTo>
                        <a:lnTo>
                          <a:pt x="3284" y="1522"/>
                        </a:lnTo>
                        <a:lnTo>
                          <a:pt x="3284" y="1522"/>
                        </a:lnTo>
                        <a:lnTo>
                          <a:pt x="3288" y="1524"/>
                        </a:lnTo>
                        <a:lnTo>
                          <a:pt x="3292" y="1528"/>
                        </a:lnTo>
                        <a:lnTo>
                          <a:pt x="3296" y="1542"/>
                        </a:lnTo>
                        <a:lnTo>
                          <a:pt x="3298" y="1550"/>
                        </a:lnTo>
                        <a:lnTo>
                          <a:pt x="3302" y="1558"/>
                        </a:lnTo>
                        <a:lnTo>
                          <a:pt x="3308" y="1566"/>
                        </a:lnTo>
                        <a:lnTo>
                          <a:pt x="3314" y="1570"/>
                        </a:lnTo>
                        <a:lnTo>
                          <a:pt x="3314" y="1570"/>
                        </a:lnTo>
                        <a:lnTo>
                          <a:pt x="3320" y="1572"/>
                        </a:lnTo>
                        <a:lnTo>
                          <a:pt x="3328" y="1572"/>
                        </a:lnTo>
                        <a:lnTo>
                          <a:pt x="3340" y="1570"/>
                        </a:lnTo>
                        <a:lnTo>
                          <a:pt x="3344" y="1570"/>
                        </a:lnTo>
                        <a:lnTo>
                          <a:pt x="3348" y="1570"/>
                        </a:lnTo>
                        <a:lnTo>
                          <a:pt x="3348" y="1574"/>
                        </a:lnTo>
                        <a:lnTo>
                          <a:pt x="3346" y="1580"/>
                        </a:lnTo>
                        <a:lnTo>
                          <a:pt x="3346" y="1580"/>
                        </a:lnTo>
                        <a:lnTo>
                          <a:pt x="3344" y="1588"/>
                        </a:lnTo>
                        <a:lnTo>
                          <a:pt x="3346" y="1594"/>
                        </a:lnTo>
                        <a:lnTo>
                          <a:pt x="3358" y="1604"/>
                        </a:lnTo>
                        <a:lnTo>
                          <a:pt x="3358" y="1604"/>
                        </a:lnTo>
                        <a:lnTo>
                          <a:pt x="3360" y="1606"/>
                        </a:lnTo>
                        <a:lnTo>
                          <a:pt x="3360" y="1610"/>
                        </a:lnTo>
                        <a:lnTo>
                          <a:pt x="3358" y="1618"/>
                        </a:lnTo>
                        <a:lnTo>
                          <a:pt x="3354" y="1624"/>
                        </a:lnTo>
                        <a:lnTo>
                          <a:pt x="3354" y="1626"/>
                        </a:lnTo>
                        <a:lnTo>
                          <a:pt x="3356" y="1630"/>
                        </a:lnTo>
                        <a:lnTo>
                          <a:pt x="3356" y="1630"/>
                        </a:lnTo>
                        <a:lnTo>
                          <a:pt x="3362" y="1630"/>
                        </a:lnTo>
                        <a:lnTo>
                          <a:pt x="3364" y="1630"/>
                        </a:lnTo>
                        <a:lnTo>
                          <a:pt x="3366" y="1630"/>
                        </a:lnTo>
                        <a:lnTo>
                          <a:pt x="3368" y="1632"/>
                        </a:lnTo>
                        <a:lnTo>
                          <a:pt x="3368" y="1632"/>
                        </a:lnTo>
                        <a:lnTo>
                          <a:pt x="3370" y="1634"/>
                        </a:lnTo>
                        <a:lnTo>
                          <a:pt x="3368" y="1636"/>
                        </a:lnTo>
                        <a:lnTo>
                          <a:pt x="3364" y="1640"/>
                        </a:lnTo>
                        <a:lnTo>
                          <a:pt x="3362" y="1642"/>
                        </a:lnTo>
                        <a:lnTo>
                          <a:pt x="3362" y="1648"/>
                        </a:lnTo>
                        <a:lnTo>
                          <a:pt x="3362" y="1648"/>
                        </a:lnTo>
                        <a:lnTo>
                          <a:pt x="3362" y="1652"/>
                        </a:lnTo>
                        <a:lnTo>
                          <a:pt x="3364" y="1654"/>
                        </a:lnTo>
                        <a:lnTo>
                          <a:pt x="3372" y="1652"/>
                        </a:lnTo>
                        <a:lnTo>
                          <a:pt x="3380" y="1652"/>
                        </a:lnTo>
                        <a:lnTo>
                          <a:pt x="3382" y="1652"/>
                        </a:lnTo>
                        <a:lnTo>
                          <a:pt x="3382" y="1656"/>
                        </a:lnTo>
                        <a:lnTo>
                          <a:pt x="3382" y="1656"/>
                        </a:lnTo>
                        <a:lnTo>
                          <a:pt x="3382" y="1662"/>
                        </a:lnTo>
                        <a:lnTo>
                          <a:pt x="3386" y="1664"/>
                        </a:lnTo>
                        <a:lnTo>
                          <a:pt x="3392" y="1666"/>
                        </a:lnTo>
                        <a:lnTo>
                          <a:pt x="3402" y="1668"/>
                        </a:lnTo>
                        <a:lnTo>
                          <a:pt x="3402" y="1668"/>
                        </a:lnTo>
                        <a:lnTo>
                          <a:pt x="3416" y="1672"/>
                        </a:lnTo>
                        <a:lnTo>
                          <a:pt x="3430" y="1674"/>
                        </a:lnTo>
                        <a:lnTo>
                          <a:pt x="3446" y="1674"/>
                        </a:lnTo>
                        <a:lnTo>
                          <a:pt x="3460" y="1676"/>
                        </a:lnTo>
                        <a:lnTo>
                          <a:pt x="3460" y="1676"/>
                        </a:lnTo>
                        <a:lnTo>
                          <a:pt x="3470" y="1676"/>
                        </a:lnTo>
                        <a:lnTo>
                          <a:pt x="3478" y="1676"/>
                        </a:lnTo>
                        <a:lnTo>
                          <a:pt x="3484" y="1678"/>
                        </a:lnTo>
                        <a:lnTo>
                          <a:pt x="3484" y="1678"/>
                        </a:lnTo>
                        <a:lnTo>
                          <a:pt x="3484" y="1680"/>
                        </a:lnTo>
                        <a:lnTo>
                          <a:pt x="3484" y="1680"/>
                        </a:lnTo>
                        <a:lnTo>
                          <a:pt x="3484" y="1682"/>
                        </a:lnTo>
                        <a:lnTo>
                          <a:pt x="3484" y="1684"/>
                        </a:lnTo>
                        <a:lnTo>
                          <a:pt x="3490" y="1686"/>
                        </a:lnTo>
                        <a:lnTo>
                          <a:pt x="3508" y="1686"/>
                        </a:lnTo>
                        <a:lnTo>
                          <a:pt x="3508" y="1686"/>
                        </a:lnTo>
                        <a:lnTo>
                          <a:pt x="3514" y="1688"/>
                        </a:lnTo>
                        <a:lnTo>
                          <a:pt x="3518" y="1692"/>
                        </a:lnTo>
                        <a:lnTo>
                          <a:pt x="3526" y="1704"/>
                        </a:lnTo>
                        <a:lnTo>
                          <a:pt x="3532" y="1716"/>
                        </a:lnTo>
                        <a:lnTo>
                          <a:pt x="3534" y="1718"/>
                        </a:lnTo>
                        <a:lnTo>
                          <a:pt x="3536" y="1718"/>
                        </a:lnTo>
                        <a:lnTo>
                          <a:pt x="3536" y="1718"/>
                        </a:lnTo>
                        <a:lnTo>
                          <a:pt x="3540" y="1716"/>
                        </a:lnTo>
                        <a:lnTo>
                          <a:pt x="3542" y="1716"/>
                        </a:lnTo>
                        <a:lnTo>
                          <a:pt x="3544" y="1720"/>
                        </a:lnTo>
                        <a:lnTo>
                          <a:pt x="3544" y="1726"/>
                        </a:lnTo>
                        <a:lnTo>
                          <a:pt x="3544" y="1726"/>
                        </a:lnTo>
                        <a:lnTo>
                          <a:pt x="3544" y="1730"/>
                        </a:lnTo>
                        <a:lnTo>
                          <a:pt x="3546" y="1734"/>
                        </a:lnTo>
                        <a:lnTo>
                          <a:pt x="3552" y="1742"/>
                        </a:lnTo>
                        <a:lnTo>
                          <a:pt x="3556" y="1748"/>
                        </a:lnTo>
                        <a:lnTo>
                          <a:pt x="3560" y="1756"/>
                        </a:lnTo>
                        <a:lnTo>
                          <a:pt x="3560" y="1756"/>
                        </a:lnTo>
                        <a:lnTo>
                          <a:pt x="3558" y="1758"/>
                        </a:lnTo>
                        <a:lnTo>
                          <a:pt x="3558" y="1758"/>
                        </a:lnTo>
                        <a:lnTo>
                          <a:pt x="3554" y="1754"/>
                        </a:lnTo>
                        <a:lnTo>
                          <a:pt x="3548" y="1750"/>
                        </a:lnTo>
                        <a:lnTo>
                          <a:pt x="3546" y="1750"/>
                        </a:lnTo>
                        <a:lnTo>
                          <a:pt x="3544" y="1750"/>
                        </a:lnTo>
                        <a:lnTo>
                          <a:pt x="3544" y="1750"/>
                        </a:lnTo>
                        <a:lnTo>
                          <a:pt x="3542" y="1752"/>
                        </a:lnTo>
                        <a:lnTo>
                          <a:pt x="3542" y="1754"/>
                        </a:lnTo>
                        <a:lnTo>
                          <a:pt x="3546" y="1760"/>
                        </a:lnTo>
                        <a:lnTo>
                          <a:pt x="3548" y="1766"/>
                        </a:lnTo>
                        <a:lnTo>
                          <a:pt x="3546" y="1768"/>
                        </a:lnTo>
                        <a:lnTo>
                          <a:pt x="3544" y="1770"/>
                        </a:lnTo>
                        <a:lnTo>
                          <a:pt x="3544" y="1770"/>
                        </a:lnTo>
                        <a:lnTo>
                          <a:pt x="3542" y="1772"/>
                        </a:lnTo>
                        <a:lnTo>
                          <a:pt x="3538" y="1770"/>
                        </a:lnTo>
                        <a:lnTo>
                          <a:pt x="3530" y="1764"/>
                        </a:lnTo>
                        <a:lnTo>
                          <a:pt x="3520" y="1760"/>
                        </a:lnTo>
                        <a:lnTo>
                          <a:pt x="3516" y="1758"/>
                        </a:lnTo>
                        <a:lnTo>
                          <a:pt x="3512" y="1760"/>
                        </a:lnTo>
                        <a:lnTo>
                          <a:pt x="3512" y="1760"/>
                        </a:lnTo>
                        <a:lnTo>
                          <a:pt x="3508" y="1762"/>
                        </a:lnTo>
                        <a:lnTo>
                          <a:pt x="3508" y="1758"/>
                        </a:lnTo>
                        <a:lnTo>
                          <a:pt x="3508" y="1754"/>
                        </a:lnTo>
                        <a:lnTo>
                          <a:pt x="3508" y="1754"/>
                        </a:lnTo>
                        <a:lnTo>
                          <a:pt x="3504" y="1754"/>
                        </a:lnTo>
                        <a:lnTo>
                          <a:pt x="3504" y="1754"/>
                        </a:lnTo>
                        <a:lnTo>
                          <a:pt x="3502" y="1754"/>
                        </a:lnTo>
                        <a:lnTo>
                          <a:pt x="3502" y="1754"/>
                        </a:lnTo>
                        <a:lnTo>
                          <a:pt x="3504" y="1750"/>
                        </a:lnTo>
                        <a:lnTo>
                          <a:pt x="3506" y="1746"/>
                        </a:lnTo>
                        <a:lnTo>
                          <a:pt x="3504" y="1744"/>
                        </a:lnTo>
                        <a:lnTo>
                          <a:pt x="3502" y="1742"/>
                        </a:lnTo>
                        <a:lnTo>
                          <a:pt x="3502" y="1742"/>
                        </a:lnTo>
                        <a:lnTo>
                          <a:pt x="3498" y="1742"/>
                        </a:lnTo>
                        <a:lnTo>
                          <a:pt x="3496" y="1740"/>
                        </a:lnTo>
                        <a:lnTo>
                          <a:pt x="3494" y="1734"/>
                        </a:lnTo>
                        <a:lnTo>
                          <a:pt x="3494" y="1728"/>
                        </a:lnTo>
                        <a:lnTo>
                          <a:pt x="3492" y="1728"/>
                        </a:lnTo>
                        <a:lnTo>
                          <a:pt x="3490" y="1726"/>
                        </a:lnTo>
                        <a:lnTo>
                          <a:pt x="3490" y="1726"/>
                        </a:lnTo>
                        <a:lnTo>
                          <a:pt x="3486" y="1726"/>
                        </a:lnTo>
                        <a:lnTo>
                          <a:pt x="3482" y="1726"/>
                        </a:lnTo>
                        <a:lnTo>
                          <a:pt x="3480" y="1724"/>
                        </a:lnTo>
                        <a:lnTo>
                          <a:pt x="3478" y="1726"/>
                        </a:lnTo>
                        <a:lnTo>
                          <a:pt x="3478" y="1726"/>
                        </a:lnTo>
                        <a:lnTo>
                          <a:pt x="3480" y="1730"/>
                        </a:lnTo>
                        <a:lnTo>
                          <a:pt x="3484" y="1736"/>
                        </a:lnTo>
                        <a:lnTo>
                          <a:pt x="3490" y="1744"/>
                        </a:lnTo>
                        <a:lnTo>
                          <a:pt x="3496" y="1756"/>
                        </a:lnTo>
                        <a:lnTo>
                          <a:pt x="3496" y="1756"/>
                        </a:lnTo>
                        <a:lnTo>
                          <a:pt x="3496" y="1762"/>
                        </a:lnTo>
                        <a:lnTo>
                          <a:pt x="3494" y="1766"/>
                        </a:lnTo>
                        <a:lnTo>
                          <a:pt x="3486" y="1776"/>
                        </a:lnTo>
                        <a:lnTo>
                          <a:pt x="3482" y="1782"/>
                        </a:lnTo>
                        <a:lnTo>
                          <a:pt x="3480" y="1788"/>
                        </a:lnTo>
                        <a:lnTo>
                          <a:pt x="3476" y="1796"/>
                        </a:lnTo>
                        <a:lnTo>
                          <a:pt x="3476" y="1806"/>
                        </a:lnTo>
                        <a:lnTo>
                          <a:pt x="3476" y="1806"/>
                        </a:lnTo>
                        <a:lnTo>
                          <a:pt x="3476" y="1826"/>
                        </a:lnTo>
                        <a:lnTo>
                          <a:pt x="3476" y="1832"/>
                        </a:lnTo>
                        <a:lnTo>
                          <a:pt x="3472" y="1838"/>
                        </a:lnTo>
                        <a:lnTo>
                          <a:pt x="3468" y="1842"/>
                        </a:lnTo>
                        <a:lnTo>
                          <a:pt x="3464" y="1844"/>
                        </a:lnTo>
                        <a:lnTo>
                          <a:pt x="3448" y="1852"/>
                        </a:lnTo>
                        <a:lnTo>
                          <a:pt x="3448" y="1852"/>
                        </a:lnTo>
                        <a:lnTo>
                          <a:pt x="3446" y="1846"/>
                        </a:lnTo>
                        <a:lnTo>
                          <a:pt x="3444" y="1838"/>
                        </a:lnTo>
                        <a:lnTo>
                          <a:pt x="3440" y="1818"/>
                        </a:lnTo>
                        <a:lnTo>
                          <a:pt x="3438" y="1808"/>
                        </a:lnTo>
                        <a:lnTo>
                          <a:pt x="3434" y="1802"/>
                        </a:lnTo>
                        <a:lnTo>
                          <a:pt x="3428" y="1796"/>
                        </a:lnTo>
                        <a:lnTo>
                          <a:pt x="3424" y="1796"/>
                        </a:lnTo>
                        <a:lnTo>
                          <a:pt x="3424" y="1796"/>
                        </a:lnTo>
                        <a:lnTo>
                          <a:pt x="3418" y="1798"/>
                        </a:lnTo>
                        <a:lnTo>
                          <a:pt x="3414" y="1800"/>
                        </a:lnTo>
                        <a:lnTo>
                          <a:pt x="3408" y="1808"/>
                        </a:lnTo>
                        <a:lnTo>
                          <a:pt x="3404" y="1816"/>
                        </a:lnTo>
                        <a:lnTo>
                          <a:pt x="3400" y="1818"/>
                        </a:lnTo>
                        <a:lnTo>
                          <a:pt x="3398" y="1820"/>
                        </a:lnTo>
                        <a:lnTo>
                          <a:pt x="3398" y="1820"/>
                        </a:lnTo>
                        <a:lnTo>
                          <a:pt x="3394" y="1818"/>
                        </a:lnTo>
                        <a:lnTo>
                          <a:pt x="3392" y="1816"/>
                        </a:lnTo>
                        <a:lnTo>
                          <a:pt x="3388" y="1810"/>
                        </a:lnTo>
                        <a:lnTo>
                          <a:pt x="3390" y="1802"/>
                        </a:lnTo>
                        <a:lnTo>
                          <a:pt x="3392" y="1798"/>
                        </a:lnTo>
                        <a:lnTo>
                          <a:pt x="3394" y="1796"/>
                        </a:lnTo>
                        <a:lnTo>
                          <a:pt x="3394" y="1796"/>
                        </a:lnTo>
                        <a:lnTo>
                          <a:pt x="3400" y="1790"/>
                        </a:lnTo>
                        <a:lnTo>
                          <a:pt x="3406" y="1784"/>
                        </a:lnTo>
                        <a:lnTo>
                          <a:pt x="3410" y="1776"/>
                        </a:lnTo>
                        <a:lnTo>
                          <a:pt x="3412" y="1764"/>
                        </a:lnTo>
                        <a:lnTo>
                          <a:pt x="3412" y="1764"/>
                        </a:lnTo>
                        <a:lnTo>
                          <a:pt x="3412" y="1758"/>
                        </a:lnTo>
                        <a:lnTo>
                          <a:pt x="3412" y="1754"/>
                        </a:lnTo>
                        <a:lnTo>
                          <a:pt x="3410" y="1746"/>
                        </a:lnTo>
                        <a:lnTo>
                          <a:pt x="3408" y="1740"/>
                        </a:lnTo>
                        <a:lnTo>
                          <a:pt x="3408" y="1738"/>
                        </a:lnTo>
                        <a:lnTo>
                          <a:pt x="3410" y="1738"/>
                        </a:lnTo>
                        <a:lnTo>
                          <a:pt x="3410" y="1738"/>
                        </a:lnTo>
                        <a:lnTo>
                          <a:pt x="3414" y="1736"/>
                        </a:lnTo>
                        <a:lnTo>
                          <a:pt x="3414" y="1734"/>
                        </a:lnTo>
                        <a:lnTo>
                          <a:pt x="3410" y="1728"/>
                        </a:lnTo>
                        <a:lnTo>
                          <a:pt x="3402" y="1722"/>
                        </a:lnTo>
                        <a:lnTo>
                          <a:pt x="3392" y="1716"/>
                        </a:lnTo>
                        <a:lnTo>
                          <a:pt x="3392" y="1716"/>
                        </a:lnTo>
                        <a:lnTo>
                          <a:pt x="3382" y="1712"/>
                        </a:lnTo>
                        <a:lnTo>
                          <a:pt x="3380" y="1708"/>
                        </a:lnTo>
                        <a:lnTo>
                          <a:pt x="3378" y="1706"/>
                        </a:lnTo>
                        <a:lnTo>
                          <a:pt x="3372" y="1704"/>
                        </a:lnTo>
                        <a:lnTo>
                          <a:pt x="3372" y="1704"/>
                        </a:lnTo>
                        <a:lnTo>
                          <a:pt x="3366" y="1702"/>
                        </a:lnTo>
                        <a:lnTo>
                          <a:pt x="3362" y="1698"/>
                        </a:lnTo>
                        <a:lnTo>
                          <a:pt x="3358" y="1696"/>
                        </a:lnTo>
                        <a:lnTo>
                          <a:pt x="3356" y="1696"/>
                        </a:lnTo>
                        <a:lnTo>
                          <a:pt x="3352" y="1698"/>
                        </a:lnTo>
                        <a:lnTo>
                          <a:pt x="3346" y="1702"/>
                        </a:lnTo>
                        <a:lnTo>
                          <a:pt x="3346" y="1702"/>
                        </a:lnTo>
                        <a:lnTo>
                          <a:pt x="3342" y="1706"/>
                        </a:lnTo>
                        <a:lnTo>
                          <a:pt x="3340" y="1710"/>
                        </a:lnTo>
                        <a:lnTo>
                          <a:pt x="3342" y="1712"/>
                        </a:lnTo>
                        <a:lnTo>
                          <a:pt x="3344" y="1714"/>
                        </a:lnTo>
                        <a:lnTo>
                          <a:pt x="3346" y="1718"/>
                        </a:lnTo>
                        <a:lnTo>
                          <a:pt x="3340" y="1720"/>
                        </a:lnTo>
                        <a:lnTo>
                          <a:pt x="3340" y="1720"/>
                        </a:lnTo>
                        <a:lnTo>
                          <a:pt x="3334" y="1722"/>
                        </a:lnTo>
                        <a:lnTo>
                          <a:pt x="3330" y="1726"/>
                        </a:lnTo>
                        <a:lnTo>
                          <a:pt x="3328" y="1732"/>
                        </a:lnTo>
                        <a:lnTo>
                          <a:pt x="3328" y="1738"/>
                        </a:lnTo>
                        <a:lnTo>
                          <a:pt x="3326" y="1748"/>
                        </a:lnTo>
                        <a:lnTo>
                          <a:pt x="3324" y="1752"/>
                        </a:lnTo>
                        <a:lnTo>
                          <a:pt x="3322" y="1752"/>
                        </a:lnTo>
                        <a:lnTo>
                          <a:pt x="3322" y="1752"/>
                        </a:lnTo>
                        <a:lnTo>
                          <a:pt x="3320" y="1752"/>
                        </a:lnTo>
                        <a:lnTo>
                          <a:pt x="3318" y="1748"/>
                        </a:lnTo>
                        <a:lnTo>
                          <a:pt x="3318" y="1738"/>
                        </a:lnTo>
                        <a:lnTo>
                          <a:pt x="3318" y="1734"/>
                        </a:lnTo>
                        <a:lnTo>
                          <a:pt x="3316" y="1734"/>
                        </a:lnTo>
                        <a:lnTo>
                          <a:pt x="3314" y="1736"/>
                        </a:lnTo>
                        <a:lnTo>
                          <a:pt x="3308" y="1744"/>
                        </a:lnTo>
                        <a:lnTo>
                          <a:pt x="3308" y="1744"/>
                        </a:lnTo>
                        <a:lnTo>
                          <a:pt x="3300" y="1752"/>
                        </a:lnTo>
                        <a:lnTo>
                          <a:pt x="3296" y="1754"/>
                        </a:lnTo>
                        <a:lnTo>
                          <a:pt x="3294" y="1756"/>
                        </a:lnTo>
                        <a:lnTo>
                          <a:pt x="3294" y="1766"/>
                        </a:lnTo>
                        <a:lnTo>
                          <a:pt x="3294" y="1766"/>
                        </a:lnTo>
                        <a:lnTo>
                          <a:pt x="3296" y="1772"/>
                        </a:lnTo>
                        <a:lnTo>
                          <a:pt x="3294" y="1778"/>
                        </a:lnTo>
                        <a:lnTo>
                          <a:pt x="3290" y="1786"/>
                        </a:lnTo>
                        <a:lnTo>
                          <a:pt x="3286" y="1792"/>
                        </a:lnTo>
                        <a:lnTo>
                          <a:pt x="3286" y="1796"/>
                        </a:lnTo>
                        <a:lnTo>
                          <a:pt x="3286" y="1800"/>
                        </a:lnTo>
                        <a:lnTo>
                          <a:pt x="3286" y="1800"/>
                        </a:lnTo>
                        <a:lnTo>
                          <a:pt x="3288" y="1808"/>
                        </a:lnTo>
                        <a:lnTo>
                          <a:pt x="3286" y="1812"/>
                        </a:lnTo>
                        <a:lnTo>
                          <a:pt x="3284" y="1818"/>
                        </a:lnTo>
                        <a:lnTo>
                          <a:pt x="3286" y="1828"/>
                        </a:lnTo>
                        <a:lnTo>
                          <a:pt x="3286" y="1828"/>
                        </a:lnTo>
                        <a:lnTo>
                          <a:pt x="3292" y="1840"/>
                        </a:lnTo>
                        <a:lnTo>
                          <a:pt x="3294" y="1852"/>
                        </a:lnTo>
                        <a:lnTo>
                          <a:pt x="3296" y="1862"/>
                        </a:lnTo>
                        <a:lnTo>
                          <a:pt x="3294" y="1872"/>
                        </a:lnTo>
                        <a:lnTo>
                          <a:pt x="3294" y="1880"/>
                        </a:lnTo>
                        <a:lnTo>
                          <a:pt x="3290" y="1890"/>
                        </a:lnTo>
                        <a:lnTo>
                          <a:pt x="3282" y="1908"/>
                        </a:lnTo>
                        <a:lnTo>
                          <a:pt x="3282" y="1908"/>
                        </a:lnTo>
                        <a:lnTo>
                          <a:pt x="3276" y="1916"/>
                        </a:lnTo>
                        <a:lnTo>
                          <a:pt x="3270" y="1922"/>
                        </a:lnTo>
                        <a:lnTo>
                          <a:pt x="3264" y="1928"/>
                        </a:lnTo>
                        <a:lnTo>
                          <a:pt x="3258" y="1930"/>
                        </a:lnTo>
                        <a:lnTo>
                          <a:pt x="3252" y="1930"/>
                        </a:lnTo>
                        <a:lnTo>
                          <a:pt x="3246" y="1926"/>
                        </a:lnTo>
                        <a:lnTo>
                          <a:pt x="3242" y="1922"/>
                        </a:lnTo>
                        <a:lnTo>
                          <a:pt x="3236" y="1914"/>
                        </a:lnTo>
                        <a:lnTo>
                          <a:pt x="3236" y="1914"/>
                        </a:lnTo>
                        <a:lnTo>
                          <a:pt x="3232" y="1904"/>
                        </a:lnTo>
                        <a:lnTo>
                          <a:pt x="3230" y="1898"/>
                        </a:lnTo>
                        <a:lnTo>
                          <a:pt x="3230" y="1884"/>
                        </a:lnTo>
                        <a:lnTo>
                          <a:pt x="3230" y="1872"/>
                        </a:lnTo>
                        <a:lnTo>
                          <a:pt x="3230" y="1864"/>
                        </a:lnTo>
                        <a:lnTo>
                          <a:pt x="3230" y="1856"/>
                        </a:lnTo>
                        <a:lnTo>
                          <a:pt x="3230" y="1856"/>
                        </a:lnTo>
                        <a:lnTo>
                          <a:pt x="3228" y="1842"/>
                        </a:lnTo>
                        <a:lnTo>
                          <a:pt x="3228" y="1834"/>
                        </a:lnTo>
                        <a:lnTo>
                          <a:pt x="3232" y="1824"/>
                        </a:lnTo>
                        <a:lnTo>
                          <a:pt x="3234" y="1810"/>
                        </a:lnTo>
                        <a:lnTo>
                          <a:pt x="3234" y="1810"/>
                        </a:lnTo>
                        <a:lnTo>
                          <a:pt x="3234" y="1802"/>
                        </a:lnTo>
                        <a:lnTo>
                          <a:pt x="3236" y="1796"/>
                        </a:lnTo>
                        <a:lnTo>
                          <a:pt x="3238" y="1792"/>
                        </a:lnTo>
                        <a:lnTo>
                          <a:pt x="3240" y="1792"/>
                        </a:lnTo>
                        <a:lnTo>
                          <a:pt x="3242" y="1790"/>
                        </a:lnTo>
                        <a:lnTo>
                          <a:pt x="3242" y="1784"/>
                        </a:lnTo>
                        <a:lnTo>
                          <a:pt x="3242" y="1784"/>
                        </a:lnTo>
                        <a:lnTo>
                          <a:pt x="3240" y="1780"/>
                        </a:lnTo>
                        <a:lnTo>
                          <a:pt x="3242" y="1776"/>
                        </a:lnTo>
                        <a:lnTo>
                          <a:pt x="3246" y="1764"/>
                        </a:lnTo>
                        <a:lnTo>
                          <a:pt x="3248" y="1754"/>
                        </a:lnTo>
                        <a:lnTo>
                          <a:pt x="3248" y="1752"/>
                        </a:lnTo>
                        <a:lnTo>
                          <a:pt x="3246" y="1748"/>
                        </a:lnTo>
                        <a:lnTo>
                          <a:pt x="3246" y="1748"/>
                        </a:lnTo>
                        <a:lnTo>
                          <a:pt x="3240" y="1748"/>
                        </a:lnTo>
                        <a:lnTo>
                          <a:pt x="3238" y="1752"/>
                        </a:lnTo>
                        <a:lnTo>
                          <a:pt x="3234" y="1758"/>
                        </a:lnTo>
                        <a:lnTo>
                          <a:pt x="3228" y="1764"/>
                        </a:lnTo>
                        <a:lnTo>
                          <a:pt x="3228" y="1764"/>
                        </a:lnTo>
                        <a:lnTo>
                          <a:pt x="3226" y="1766"/>
                        </a:lnTo>
                        <a:lnTo>
                          <a:pt x="3224" y="1766"/>
                        </a:lnTo>
                        <a:lnTo>
                          <a:pt x="3224" y="1758"/>
                        </a:lnTo>
                        <a:lnTo>
                          <a:pt x="3226" y="1750"/>
                        </a:lnTo>
                        <a:lnTo>
                          <a:pt x="3230" y="1746"/>
                        </a:lnTo>
                        <a:lnTo>
                          <a:pt x="3232" y="1742"/>
                        </a:lnTo>
                        <a:lnTo>
                          <a:pt x="3232" y="1742"/>
                        </a:lnTo>
                        <a:lnTo>
                          <a:pt x="3236" y="1740"/>
                        </a:lnTo>
                        <a:lnTo>
                          <a:pt x="3238" y="1736"/>
                        </a:lnTo>
                        <a:lnTo>
                          <a:pt x="3240" y="1732"/>
                        </a:lnTo>
                        <a:lnTo>
                          <a:pt x="3244" y="1726"/>
                        </a:lnTo>
                        <a:lnTo>
                          <a:pt x="3244" y="1726"/>
                        </a:lnTo>
                        <a:lnTo>
                          <a:pt x="3252" y="1714"/>
                        </a:lnTo>
                        <a:lnTo>
                          <a:pt x="3258" y="1700"/>
                        </a:lnTo>
                        <a:lnTo>
                          <a:pt x="3264" y="1692"/>
                        </a:lnTo>
                        <a:lnTo>
                          <a:pt x="3266" y="1690"/>
                        </a:lnTo>
                        <a:lnTo>
                          <a:pt x="3266" y="1692"/>
                        </a:lnTo>
                        <a:lnTo>
                          <a:pt x="3266" y="1692"/>
                        </a:lnTo>
                        <a:lnTo>
                          <a:pt x="3268" y="1696"/>
                        </a:lnTo>
                        <a:lnTo>
                          <a:pt x="3270" y="1696"/>
                        </a:lnTo>
                        <a:lnTo>
                          <a:pt x="3274" y="1694"/>
                        </a:lnTo>
                        <a:lnTo>
                          <a:pt x="3278" y="1692"/>
                        </a:lnTo>
                        <a:lnTo>
                          <a:pt x="3280" y="1692"/>
                        </a:lnTo>
                        <a:lnTo>
                          <a:pt x="3278" y="1698"/>
                        </a:lnTo>
                        <a:lnTo>
                          <a:pt x="3278" y="1698"/>
                        </a:lnTo>
                        <a:lnTo>
                          <a:pt x="3278" y="1702"/>
                        </a:lnTo>
                        <a:lnTo>
                          <a:pt x="3278" y="1702"/>
                        </a:lnTo>
                        <a:lnTo>
                          <a:pt x="3284" y="1696"/>
                        </a:lnTo>
                        <a:lnTo>
                          <a:pt x="3292" y="1688"/>
                        </a:lnTo>
                        <a:lnTo>
                          <a:pt x="3296" y="1686"/>
                        </a:lnTo>
                        <a:lnTo>
                          <a:pt x="3300" y="1684"/>
                        </a:lnTo>
                        <a:lnTo>
                          <a:pt x="3300" y="1684"/>
                        </a:lnTo>
                        <a:lnTo>
                          <a:pt x="3310" y="1684"/>
                        </a:lnTo>
                        <a:lnTo>
                          <a:pt x="3314" y="1684"/>
                        </a:lnTo>
                        <a:lnTo>
                          <a:pt x="3320" y="1678"/>
                        </a:lnTo>
                        <a:lnTo>
                          <a:pt x="3324" y="1676"/>
                        </a:lnTo>
                        <a:lnTo>
                          <a:pt x="3328" y="1678"/>
                        </a:lnTo>
                        <a:lnTo>
                          <a:pt x="3336" y="1680"/>
                        </a:lnTo>
                        <a:lnTo>
                          <a:pt x="3346" y="1686"/>
                        </a:lnTo>
                        <a:lnTo>
                          <a:pt x="3346" y="1686"/>
                        </a:lnTo>
                        <a:lnTo>
                          <a:pt x="3352" y="1690"/>
                        </a:lnTo>
                        <a:lnTo>
                          <a:pt x="3354" y="1690"/>
                        </a:lnTo>
                        <a:lnTo>
                          <a:pt x="3356" y="1688"/>
                        </a:lnTo>
                        <a:lnTo>
                          <a:pt x="3358" y="1686"/>
                        </a:lnTo>
                        <a:lnTo>
                          <a:pt x="3358" y="1682"/>
                        </a:lnTo>
                        <a:lnTo>
                          <a:pt x="3360" y="1680"/>
                        </a:lnTo>
                        <a:lnTo>
                          <a:pt x="3362" y="1680"/>
                        </a:lnTo>
                        <a:lnTo>
                          <a:pt x="3362" y="1680"/>
                        </a:lnTo>
                        <a:lnTo>
                          <a:pt x="3370" y="1684"/>
                        </a:lnTo>
                        <a:lnTo>
                          <a:pt x="3380" y="1686"/>
                        </a:lnTo>
                        <a:lnTo>
                          <a:pt x="3386" y="1684"/>
                        </a:lnTo>
                        <a:lnTo>
                          <a:pt x="3388" y="1682"/>
                        </a:lnTo>
                        <a:lnTo>
                          <a:pt x="3388" y="1678"/>
                        </a:lnTo>
                        <a:lnTo>
                          <a:pt x="3388" y="1678"/>
                        </a:lnTo>
                        <a:lnTo>
                          <a:pt x="3384" y="1674"/>
                        </a:lnTo>
                        <a:lnTo>
                          <a:pt x="3380" y="1672"/>
                        </a:lnTo>
                        <a:lnTo>
                          <a:pt x="3376" y="1670"/>
                        </a:lnTo>
                        <a:lnTo>
                          <a:pt x="3374" y="1662"/>
                        </a:lnTo>
                        <a:lnTo>
                          <a:pt x="3374" y="1662"/>
                        </a:lnTo>
                        <a:lnTo>
                          <a:pt x="3374" y="1658"/>
                        </a:lnTo>
                        <a:lnTo>
                          <a:pt x="3372" y="1658"/>
                        </a:lnTo>
                        <a:lnTo>
                          <a:pt x="3368" y="1658"/>
                        </a:lnTo>
                        <a:lnTo>
                          <a:pt x="3360" y="1658"/>
                        </a:lnTo>
                        <a:lnTo>
                          <a:pt x="3348" y="1654"/>
                        </a:lnTo>
                        <a:lnTo>
                          <a:pt x="3348" y="1654"/>
                        </a:lnTo>
                        <a:lnTo>
                          <a:pt x="3346" y="1652"/>
                        </a:lnTo>
                        <a:lnTo>
                          <a:pt x="3344" y="1650"/>
                        </a:lnTo>
                        <a:lnTo>
                          <a:pt x="3344" y="1644"/>
                        </a:lnTo>
                        <a:lnTo>
                          <a:pt x="3346" y="1638"/>
                        </a:lnTo>
                        <a:lnTo>
                          <a:pt x="3344" y="1638"/>
                        </a:lnTo>
                        <a:lnTo>
                          <a:pt x="3340" y="1640"/>
                        </a:lnTo>
                        <a:lnTo>
                          <a:pt x="3340" y="1640"/>
                        </a:lnTo>
                        <a:lnTo>
                          <a:pt x="3330" y="1642"/>
                        </a:lnTo>
                        <a:lnTo>
                          <a:pt x="3314" y="1644"/>
                        </a:lnTo>
                        <a:lnTo>
                          <a:pt x="3300" y="1646"/>
                        </a:lnTo>
                        <a:lnTo>
                          <a:pt x="3294" y="1648"/>
                        </a:lnTo>
                        <a:lnTo>
                          <a:pt x="3288" y="1652"/>
                        </a:lnTo>
                        <a:lnTo>
                          <a:pt x="3288" y="1652"/>
                        </a:lnTo>
                        <a:lnTo>
                          <a:pt x="3280" y="1656"/>
                        </a:lnTo>
                        <a:lnTo>
                          <a:pt x="3274" y="1656"/>
                        </a:lnTo>
                        <a:lnTo>
                          <a:pt x="3268" y="1656"/>
                        </a:lnTo>
                        <a:lnTo>
                          <a:pt x="3258" y="1654"/>
                        </a:lnTo>
                        <a:lnTo>
                          <a:pt x="3258" y="1654"/>
                        </a:lnTo>
                        <a:lnTo>
                          <a:pt x="3252" y="1654"/>
                        </a:lnTo>
                        <a:lnTo>
                          <a:pt x="3250" y="1652"/>
                        </a:lnTo>
                        <a:lnTo>
                          <a:pt x="3244" y="1646"/>
                        </a:lnTo>
                        <a:lnTo>
                          <a:pt x="3238" y="1636"/>
                        </a:lnTo>
                        <a:lnTo>
                          <a:pt x="3234" y="1632"/>
                        </a:lnTo>
                        <a:lnTo>
                          <a:pt x="3228" y="1630"/>
                        </a:lnTo>
                        <a:lnTo>
                          <a:pt x="3228" y="1630"/>
                        </a:lnTo>
                        <a:lnTo>
                          <a:pt x="3222" y="1628"/>
                        </a:lnTo>
                        <a:lnTo>
                          <a:pt x="3218" y="1628"/>
                        </a:lnTo>
                        <a:lnTo>
                          <a:pt x="3210" y="1632"/>
                        </a:lnTo>
                        <a:lnTo>
                          <a:pt x="3208" y="1634"/>
                        </a:lnTo>
                        <a:lnTo>
                          <a:pt x="3206" y="1634"/>
                        </a:lnTo>
                        <a:lnTo>
                          <a:pt x="3206" y="1632"/>
                        </a:lnTo>
                        <a:lnTo>
                          <a:pt x="3204" y="1628"/>
                        </a:lnTo>
                        <a:lnTo>
                          <a:pt x="3204" y="1628"/>
                        </a:lnTo>
                        <a:lnTo>
                          <a:pt x="3202" y="1618"/>
                        </a:lnTo>
                        <a:lnTo>
                          <a:pt x="3200" y="1616"/>
                        </a:lnTo>
                        <a:lnTo>
                          <a:pt x="3198" y="1614"/>
                        </a:lnTo>
                        <a:lnTo>
                          <a:pt x="3190" y="1618"/>
                        </a:lnTo>
                        <a:lnTo>
                          <a:pt x="3180" y="1628"/>
                        </a:lnTo>
                        <a:lnTo>
                          <a:pt x="3180" y="1628"/>
                        </a:lnTo>
                        <a:lnTo>
                          <a:pt x="3176" y="1632"/>
                        </a:lnTo>
                        <a:lnTo>
                          <a:pt x="3170" y="1634"/>
                        </a:lnTo>
                        <a:lnTo>
                          <a:pt x="3164" y="1636"/>
                        </a:lnTo>
                        <a:lnTo>
                          <a:pt x="3156" y="1636"/>
                        </a:lnTo>
                        <a:lnTo>
                          <a:pt x="3150" y="1638"/>
                        </a:lnTo>
                        <a:lnTo>
                          <a:pt x="3144" y="1642"/>
                        </a:lnTo>
                        <a:lnTo>
                          <a:pt x="3144" y="1642"/>
                        </a:lnTo>
                        <a:lnTo>
                          <a:pt x="3134" y="1648"/>
                        </a:lnTo>
                        <a:lnTo>
                          <a:pt x="3126" y="1650"/>
                        </a:lnTo>
                        <a:lnTo>
                          <a:pt x="3118" y="1648"/>
                        </a:lnTo>
                        <a:lnTo>
                          <a:pt x="3110" y="1648"/>
                        </a:lnTo>
                        <a:lnTo>
                          <a:pt x="3110" y="1648"/>
                        </a:lnTo>
                        <a:lnTo>
                          <a:pt x="3106" y="1650"/>
                        </a:lnTo>
                        <a:lnTo>
                          <a:pt x="3104" y="1648"/>
                        </a:lnTo>
                        <a:lnTo>
                          <a:pt x="3108" y="1640"/>
                        </a:lnTo>
                        <a:lnTo>
                          <a:pt x="3112" y="1632"/>
                        </a:lnTo>
                        <a:lnTo>
                          <a:pt x="3110" y="1630"/>
                        </a:lnTo>
                        <a:lnTo>
                          <a:pt x="3108" y="1628"/>
                        </a:lnTo>
                        <a:lnTo>
                          <a:pt x="3108" y="1628"/>
                        </a:lnTo>
                        <a:lnTo>
                          <a:pt x="3104" y="1628"/>
                        </a:lnTo>
                        <a:lnTo>
                          <a:pt x="3098" y="1630"/>
                        </a:lnTo>
                        <a:lnTo>
                          <a:pt x="3086" y="1636"/>
                        </a:lnTo>
                        <a:lnTo>
                          <a:pt x="3074" y="1642"/>
                        </a:lnTo>
                        <a:lnTo>
                          <a:pt x="3068" y="1642"/>
                        </a:lnTo>
                        <a:lnTo>
                          <a:pt x="3062" y="1642"/>
                        </a:lnTo>
                        <a:lnTo>
                          <a:pt x="3062" y="1642"/>
                        </a:lnTo>
                        <a:lnTo>
                          <a:pt x="3058" y="1640"/>
                        </a:lnTo>
                        <a:lnTo>
                          <a:pt x="3058" y="1638"/>
                        </a:lnTo>
                        <a:lnTo>
                          <a:pt x="3060" y="1636"/>
                        </a:lnTo>
                        <a:lnTo>
                          <a:pt x="3064" y="1632"/>
                        </a:lnTo>
                        <a:lnTo>
                          <a:pt x="3076" y="1620"/>
                        </a:lnTo>
                        <a:lnTo>
                          <a:pt x="3092" y="1606"/>
                        </a:lnTo>
                        <a:lnTo>
                          <a:pt x="3092" y="160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5" name="Freeform 6087"/>
                  <p:cNvSpPr>
                    <a:spLocks/>
                  </p:cNvSpPr>
                  <p:nvPr/>
                </p:nvSpPr>
                <p:spPr bwMode="auto">
                  <a:xfrm>
                    <a:off x="1927860" y="823913"/>
                    <a:ext cx="304800" cy="171450"/>
                  </a:xfrm>
                  <a:custGeom>
                    <a:avLst/>
                    <a:gdLst/>
                    <a:ahLst/>
                    <a:cxnLst>
                      <a:cxn ang="0">
                        <a:pos x="78" y="174"/>
                      </a:cxn>
                      <a:cxn ang="0">
                        <a:pos x="110" y="166"/>
                      </a:cxn>
                      <a:cxn ang="0">
                        <a:pos x="110" y="174"/>
                      </a:cxn>
                      <a:cxn ang="0">
                        <a:pos x="176" y="164"/>
                      </a:cxn>
                      <a:cxn ang="0">
                        <a:pos x="174" y="172"/>
                      </a:cxn>
                      <a:cxn ang="0">
                        <a:pos x="118" y="192"/>
                      </a:cxn>
                      <a:cxn ang="0">
                        <a:pos x="108" y="204"/>
                      </a:cxn>
                      <a:cxn ang="0">
                        <a:pos x="148" y="238"/>
                      </a:cxn>
                      <a:cxn ang="0">
                        <a:pos x="224" y="268"/>
                      </a:cxn>
                      <a:cxn ang="0">
                        <a:pos x="260" y="262"/>
                      </a:cxn>
                      <a:cxn ang="0">
                        <a:pos x="268" y="252"/>
                      </a:cxn>
                      <a:cxn ang="0">
                        <a:pos x="288" y="260"/>
                      </a:cxn>
                      <a:cxn ang="0">
                        <a:pos x="282" y="242"/>
                      </a:cxn>
                      <a:cxn ang="0">
                        <a:pos x="296" y="246"/>
                      </a:cxn>
                      <a:cxn ang="0">
                        <a:pos x="322" y="266"/>
                      </a:cxn>
                      <a:cxn ang="0">
                        <a:pos x="328" y="246"/>
                      </a:cxn>
                      <a:cxn ang="0">
                        <a:pos x="340" y="234"/>
                      </a:cxn>
                      <a:cxn ang="0">
                        <a:pos x="364" y="230"/>
                      </a:cxn>
                      <a:cxn ang="0">
                        <a:pos x="426" y="192"/>
                      </a:cxn>
                      <a:cxn ang="0">
                        <a:pos x="480" y="174"/>
                      </a:cxn>
                      <a:cxn ang="0">
                        <a:pos x="472" y="166"/>
                      </a:cxn>
                      <a:cxn ang="0">
                        <a:pos x="438" y="146"/>
                      </a:cxn>
                      <a:cxn ang="0">
                        <a:pos x="400" y="146"/>
                      </a:cxn>
                      <a:cxn ang="0">
                        <a:pos x="390" y="142"/>
                      </a:cxn>
                      <a:cxn ang="0">
                        <a:pos x="400" y="122"/>
                      </a:cxn>
                      <a:cxn ang="0">
                        <a:pos x="382" y="108"/>
                      </a:cxn>
                      <a:cxn ang="0">
                        <a:pos x="376" y="86"/>
                      </a:cxn>
                      <a:cxn ang="0">
                        <a:pos x="352" y="78"/>
                      </a:cxn>
                      <a:cxn ang="0">
                        <a:pos x="328" y="90"/>
                      </a:cxn>
                      <a:cxn ang="0">
                        <a:pos x="326" y="102"/>
                      </a:cxn>
                      <a:cxn ang="0">
                        <a:pos x="306" y="92"/>
                      </a:cxn>
                      <a:cxn ang="0">
                        <a:pos x="306" y="74"/>
                      </a:cxn>
                      <a:cxn ang="0">
                        <a:pos x="274" y="68"/>
                      </a:cxn>
                      <a:cxn ang="0">
                        <a:pos x="192" y="20"/>
                      </a:cxn>
                      <a:cxn ang="0">
                        <a:pos x="134" y="0"/>
                      </a:cxn>
                      <a:cxn ang="0">
                        <a:pos x="100" y="4"/>
                      </a:cxn>
                      <a:cxn ang="0">
                        <a:pos x="112" y="20"/>
                      </a:cxn>
                      <a:cxn ang="0">
                        <a:pos x="98" y="28"/>
                      </a:cxn>
                      <a:cxn ang="0">
                        <a:pos x="66" y="32"/>
                      </a:cxn>
                      <a:cxn ang="0">
                        <a:pos x="54" y="54"/>
                      </a:cxn>
                      <a:cxn ang="0">
                        <a:pos x="26" y="76"/>
                      </a:cxn>
                      <a:cxn ang="0">
                        <a:pos x="18" y="92"/>
                      </a:cxn>
                      <a:cxn ang="0">
                        <a:pos x="50" y="100"/>
                      </a:cxn>
                      <a:cxn ang="0">
                        <a:pos x="90" y="104"/>
                      </a:cxn>
                      <a:cxn ang="0">
                        <a:pos x="72" y="112"/>
                      </a:cxn>
                      <a:cxn ang="0">
                        <a:pos x="4" y="106"/>
                      </a:cxn>
                      <a:cxn ang="0">
                        <a:pos x="2" y="116"/>
                      </a:cxn>
                      <a:cxn ang="0">
                        <a:pos x="32" y="148"/>
                      </a:cxn>
                    </a:cxnLst>
                    <a:rect l="0" t="0" r="r" b="b"/>
                    <a:pathLst>
                      <a:path w="480" h="270">
                        <a:moveTo>
                          <a:pt x="54" y="164"/>
                        </a:moveTo>
                        <a:lnTo>
                          <a:pt x="54" y="164"/>
                        </a:lnTo>
                        <a:lnTo>
                          <a:pt x="66" y="172"/>
                        </a:lnTo>
                        <a:lnTo>
                          <a:pt x="78" y="174"/>
                        </a:lnTo>
                        <a:lnTo>
                          <a:pt x="88" y="172"/>
                        </a:lnTo>
                        <a:lnTo>
                          <a:pt x="98" y="170"/>
                        </a:lnTo>
                        <a:lnTo>
                          <a:pt x="108" y="164"/>
                        </a:lnTo>
                        <a:lnTo>
                          <a:pt x="110" y="166"/>
                        </a:lnTo>
                        <a:lnTo>
                          <a:pt x="108" y="170"/>
                        </a:lnTo>
                        <a:lnTo>
                          <a:pt x="108" y="170"/>
                        </a:lnTo>
                        <a:lnTo>
                          <a:pt x="108" y="172"/>
                        </a:lnTo>
                        <a:lnTo>
                          <a:pt x="110" y="174"/>
                        </a:lnTo>
                        <a:lnTo>
                          <a:pt x="116" y="176"/>
                        </a:lnTo>
                        <a:lnTo>
                          <a:pt x="142" y="168"/>
                        </a:lnTo>
                        <a:lnTo>
                          <a:pt x="168" y="162"/>
                        </a:lnTo>
                        <a:lnTo>
                          <a:pt x="176" y="164"/>
                        </a:lnTo>
                        <a:lnTo>
                          <a:pt x="176" y="164"/>
                        </a:lnTo>
                        <a:lnTo>
                          <a:pt x="176" y="168"/>
                        </a:lnTo>
                        <a:lnTo>
                          <a:pt x="176" y="168"/>
                        </a:lnTo>
                        <a:lnTo>
                          <a:pt x="174" y="172"/>
                        </a:lnTo>
                        <a:lnTo>
                          <a:pt x="170" y="174"/>
                        </a:lnTo>
                        <a:lnTo>
                          <a:pt x="158" y="180"/>
                        </a:lnTo>
                        <a:lnTo>
                          <a:pt x="130" y="188"/>
                        </a:lnTo>
                        <a:lnTo>
                          <a:pt x="118" y="192"/>
                        </a:lnTo>
                        <a:lnTo>
                          <a:pt x="108" y="196"/>
                        </a:lnTo>
                        <a:lnTo>
                          <a:pt x="104" y="200"/>
                        </a:lnTo>
                        <a:lnTo>
                          <a:pt x="106" y="202"/>
                        </a:lnTo>
                        <a:lnTo>
                          <a:pt x="108" y="204"/>
                        </a:lnTo>
                        <a:lnTo>
                          <a:pt x="108" y="204"/>
                        </a:lnTo>
                        <a:lnTo>
                          <a:pt x="122" y="214"/>
                        </a:lnTo>
                        <a:lnTo>
                          <a:pt x="134" y="226"/>
                        </a:lnTo>
                        <a:lnTo>
                          <a:pt x="148" y="238"/>
                        </a:lnTo>
                        <a:lnTo>
                          <a:pt x="166" y="250"/>
                        </a:lnTo>
                        <a:lnTo>
                          <a:pt x="166" y="250"/>
                        </a:lnTo>
                        <a:lnTo>
                          <a:pt x="194" y="260"/>
                        </a:lnTo>
                        <a:lnTo>
                          <a:pt x="224" y="268"/>
                        </a:lnTo>
                        <a:lnTo>
                          <a:pt x="238" y="270"/>
                        </a:lnTo>
                        <a:lnTo>
                          <a:pt x="250" y="270"/>
                        </a:lnTo>
                        <a:lnTo>
                          <a:pt x="258" y="266"/>
                        </a:lnTo>
                        <a:lnTo>
                          <a:pt x="260" y="262"/>
                        </a:lnTo>
                        <a:lnTo>
                          <a:pt x="262" y="260"/>
                        </a:lnTo>
                        <a:lnTo>
                          <a:pt x="262" y="260"/>
                        </a:lnTo>
                        <a:lnTo>
                          <a:pt x="262" y="254"/>
                        </a:lnTo>
                        <a:lnTo>
                          <a:pt x="268" y="252"/>
                        </a:lnTo>
                        <a:lnTo>
                          <a:pt x="274" y="254"/>
                        </a:lnTo>
                        <a:lnTo>
                          <a:pt x="280" y="256"/>
                        </a:lnTo>
                        <a:lnTo>
                          <a:pt x="284" y="258"/>
                        </a:lnTo>
                        <a:lnTo>
                          <a:pt x="288" y="260"/>
                        </a:lnTo>
                        <a:lnTo>
                          <a:pt x="290" y="258"/>
                        </a:lnTo>
                        <a:lnTo>
                          <a:pt x="286" y="250"/>
                        </a:lnTo>
                        <a:lnTo>
                          <a:pt x="286" y="250"/>
                        </a:lnTo>
                        <a:lnTo>
                          <a:pt x="282" y="242"/>
                        </a:lnTo>
                        <a:lnTo>
                          <a:pt x="280" y="236"/>
                        </a:lnTo>
                        <a:lnTo>
                          <a:pt x="282" y="236"/>
                        </a:lnTo>
                        <a:lnTo>
                          <a:pt x="284" y="236"/>
                        </a:lnTo>
                        <a:lnTo>
                          <a:pt x="296" y="246"/>
                        </a:lnTo>
                        <a:lnTo>
                          <a:pt x="314" y="260"/>
                        </a:lnTo>
                        <a:lnTo>
                          <a:pt x="314" y="260"/>
                        </a:lnTo>
                        <a:lnTo>
                          <a:pt x="320" y="266"/>
                        </a:lnTo>
                        <a:lnTo>
                          <a:pt x="322" y="266"/>
                        </a:lnTo>
                        <a:lnTo>
                          <a:pt x="324" y="266"/>
                        </a:lnTo>
                        <a:lnTo>
                          <a:pt x="326" y="262"/>
                        </a:lnTo>
                        <a:lnTo>
                          <a:pt x="328" y="254"/>
                        </a:lnTo>
                        <a:lnTo>
                          <a:pt x="328" y="246"/>
                        </a:lnTo>
                        <a:lnTo>
                          <a:pt x="330" y="240"/>
                        </a:lnTo>
                        <a:lnTo>
                          <a:pt x="334" y="236"/>
                        </a:lnTo>
                        <a:lnTo>
                          <a:pt x="336" y="234"/>
                        </a:lnTo>
                        <a:lnTo>
                          <a:pt x="340" y="234"/>
                        </a:lnTo>
                        <a:lnTo>
                          <a:pt x="340" y="234"/>
                        </a:lnTo>
                        <a:lnTo>
                          <a:pt x="348" y="236"/>
                        </a:lnTo>
                        <a:lnTo>
                          <a:pt x="356" y="234"/>
                        </a:lnTo>
                        <a:lnTo>
                          <a:pt x="364" y="230"/>
                        </a:lnTo>
                        <a:lnTo>
                          <a:pt x="374" y="226"/>
                        </a:lnTo>
                        <a:lnTo>
                          <a:pt x="414" y="198"/>
                        </a:lnTo>
                        <a:lnTo>
                          <a:pt x="414" y="198"/>
                        </a:lnTo>
                        <a:lnTo>
                          <a:pt x="426" y="192"/>
                        </a:lnTo>
                        <a:lnTo>
                          <a:pt x="440" y="186"/>
                        </a:lnTo>
                        <a:lnTo>
                          <a:pt x="466" y="180"/>
                        </a:lnTo>
                        <a:lnTo>
                          <a:pt x="474" y="176"/>
                        </a:lnTo>
                        <a:lnTo>
                          <a:pt x="480" y="174"/>
                        </a:lnTo>
                        <a:lnTo>
                          <a:pt x="480" y="172"/>
                        </a:lnTo>
                        <a:lnTo>
                          <a:pt x="480" y="170"/>
                        </a:lnTo>
                        <a:lnTo>
                          <a:pt x="472" y="166"/>
                        </a:lnTo>
                        <a:lnTo>
                          <a:pt x="472" y="166"/>
                        </a:lnTo>
                        <a:lnTo>
                          <a:pt x="464" y="162"/>
                        </a:lnTo>
                        <a:lnTo>
                          <a:pt x="456" y="156"/>
                        </a:lnTo>
                        <a:lnTo>
                          <a:pt x="444" y="148"/>
                        </a:lnTo>
                        <a:lnTo>
                          <a:pt x="438" y="146"/>
                        </a:lnTo>
                        <a:lnTo>
                          <a:pt x="430" y="144"/>
                        </a:lnTo>
                        <a:lnTo>
                          <a:pt x="418" y="144"/>
                        </a:lnTo>
                        <a:lnTo>
                          <a:pt x="400" y="146"/>
                        </a:lnTo>
                        <a:lnTo>
                          <a:pt x="400" y="146"/>
                        </a:lnTo>
                        <a:lnTo>
                          <a:pt x="388" y="148"/>
                        </a:lnTo>
                        <a:lnTo>
                          <a:pt x="384" y="148"/>
                        </a:lnTo>
                        <a:lnTo>
                          <a:pt x="386" y="146"/>
                        </a:lnTo>
                        <a:lnTo>
                          <a:pt x="390" y="142"/>
                        </a:lnTo>
                        <a:lnTo>
                          <a:pt x="396" y="136"/>
                        </a:lnTo>
                        <a:lnTo>
                          <a:pt x="400" y="130"/>
                        </a:lnTo>
                        <a:lnTo>
                          <a:pt x="400" y="126"/>
                        </a:lnTo>
                        <a:lnTo>
                          <a:pt x="400" y="122"/>
                        </a:lnTo>
                        <a:lnTo>
                          <a:pt x="396" y="118"/>
                        </a:lnTo>
                        <a:lnTo>
                          <a:pt x="392" y="114"/>
                        </a:lnTo>
                        <a:lnTo>
                          <a:pt x="392" y="114"/>
                        </a:lnTo>
                        <a:lnTo>
                          <a:pt x="382" y="108"/>
                        </a:lnTo>
                        <a:lnTo>
                          <a:pt x="376" y="100"/>
                        </a:lnTo>
                        <a:lnTo>
                          <a:pt x="376" y="96"/>
                        </a:lnTo>
                        <a:lnTo>
                          <a:pt x="376" y="90"/>
                        </a:lnTo>
                        <a:lnTo>
                          <a:pt x="376" y="86"/>
                        </a:lnTo>
                        <a:lnTo>
                          <a:pt x="372" y="82"/>
                        </a:lnTo>
                        <a:lnTo>
                          <a:pt x="366" y="80"/>
                        </a:lnTo>
                        <a:lnTo>
                          <a:pt x="352" y="78"/>
                        </a:lnTo>
                        <a:lnTo>
                          <a:pt x="352" y="78"/>
                        </a:lnTo>
                        <a:lnTo>
                          <a:pt x="338" y="76"/>
                        </a:lnTo>
                        <a:lnTo>
                          <a:pt x="330" y="80"/>
                        </a:lnTo>
                        <a:lnTo>
                          <a:pt x="328" y="84"/>
                        </a:lnTo>
                        <a:lnTo>
                          <a:pt x="328" y="90"/>
                        </a:lnTo>
                        <a:lnTo>
                          <a:pt x="330" y="96"/>
                        </a:lnTo>
                        <a:lnTo>
                          <a:pt x="328" y="100"/>
                        </a:lnTo>
                        <a:lnTo>
                          <a:pt x="328" y="102"/>
                        </a:lnTo>
                        <a:lnTo>
                          <a:pt x="326" y="102"/>
                        </a:lnTo>
                        <a:lnTo>
                          <a:pt x="318" y="100"/>
                        </a:lnTo>
                        <a:lnTo>
                          <a:pt x="318" y="100"/>
                        </a:lnTo>
                        <a:lnTo>
                          <a:pt x="310" y="96"/>
                        </a:lnTo>
                        <a:lnTo>
                          <a:pt x="306" y="92"/>
                        </a:lnTo>
                        <a:lnTo>
                          <a:pt x="306" y="86"/>
                        </a:lnTo>
                        <a:lnTo>
                          <a:pt x="308" y="82"/>
                        </a:lnTo>
                        <a:lnTo>
                          <a:pt x="308" y="78"/>
                        </a:lnTo>
                        <a:lnTo>
                          <a:pt x="306" y="74"/>
                        </a:lnTo>
                        <a:lnTo>
                          <a:pt x="298" y="70"/>
                        </a:lnTo>
                        <a:lnTo>
                          <a:pt x="284" y="70"/>
                        </a:lnTo>
                        <a:lnTo>
                          <a:pt x="284" y="70"/>
                        </a:lnTo>
                        <a:lnTo>
                          <a:pt x="274" y="68"/>
                        </a:lnTo>
                        <a:lnTo>
                          <a:pt x="266" y="66"/>
                        </a:lnTo>
                        <a:lnTo>
                          <a:pt x="248" y="56"/>
                        </a:lnTo>
                        <a:lnTo>
                          <a:pt x="212" y="32"/>
                        </a:lnTo>
                        <a:lnTo>
                          <a:pt x="192" y="20"/>
                        </a:lnTo>
                        <a:lnTo>
                          <a:pt x="170" y="10"/>
                        </a:lnTo>
                        <a:lnTo>
                          <a:pt x="158" y="6"/>
                        </a:lnTo>
                        <a:lnTo>
                          <a:pt x="146" y="2"/>
                        </a:lnTo>
                        <a:lnTo>
                          <a:pt x="134" y="0"/>
                        </a:lnTo>
                        <a:lnTo>
                          <a:pt x="118" y="0"/>
                        </a:lnTo>
                        <a:lnTo>
                          <a:pt x="118" y="0"/>
                        </a:lnTo>
                        <a:lnTo>
                          <a:pt x="104" y="2"/>
                        </a:lnTo>
                        <a:lnTo>
                          <a:pt x="100" y="4"/>
                        </a:lnTo>
                        <a:lnTo>
                          <a:pt x="100" y="6"/>
                        </a:lnTo>
                        <a:lnTo>
                          <a:pt x="102" y="10"/>
                        </a:lnTo>
                        <a:lnTo>
                          <a:pt x="108" y="14"/>
                        </a:lnTo>
                        <a:lnTo>
                          <a:pt x="112" y="20"/>
                        </a:lnTo>
                        <a:lnTo>
                          <a:pt x="114" y="24"/>
                        </a:lnTo>
                        <a:lnTo>
                          <a:pt x="114" y="24"/>
                        </a:lnTo>
                        <a:lnTo>
                          <a:pt x="110" y="26"/>
                        </a:lnTo>
                        <a:lnTo>
                          <a:pt x="98" y="28"/>
                        </a:lnTo>
                        <a:lnTo>
                          <a:pt x="98" y="28"/>
                        </a:lnTo>
                        <a:lnTo>
                          <a:pt x="82" y="28"/>
                        </a:lnTo>
                        <a:lnTo>
                          <a:pt x="70" y="30"/>
                        </a:lnTo>
                        <a:lnTo>
                          <a:pt x="66" y="32"/>
                        </a:lnTo>
                        <a:lnTo>
                          <a:pt x="64" y="36"/>
                        </a:lnTo>
                        <a:lnTo>
                          <a:pt x="58" y="48"/>
                        </a:lnTo>
                        <a:lnTo>
                          <a:pt x="58" y="48"/>
                        </a:lnTo>
                        <a:lnTo>
                          <a:pt x="54" y="54"/>
                        </a:lnTo>
                        <a:lnTo>
                          <a:pt x="52" y="58"/>
                        </a:lnTo>
                        <a:lnTo>
                          <a:pt x="42" y="64"/>
                        </a:lnTo>
                        <a:lnTo>
                          <a:pt x="32" y="72"/>
                        </a:lnTo>
                        <a:lnTo>
                          <a:pt x="26" y="76"/>
                        </a:lnTo>
                        <a:lnTo>
                          <a:pt x="20" y="84"/>
                        </a:lnTo>
                        <a:lnTo>
                          <a:pt x="20" y="84"/>
                        </a:lnTo>
                        <a:lnTo>
                          <a:pt x="18" y="88"/>
                        </a:lnTo>
                        <a:lnTo>
                          <a:pt x="18" y="92"/>
                        </a:lnTo>
                        <a:lnTo>
                          <a:pt x="20" y="94"/>
                        </a:lnTo>
                        <a:lnTo>
                          <a:pt x="24" y="96"/>
                        </a:lnTo>
                        <a:lnTo>
                          <a:pt x="34" y="98"/>
                        </a:lnTo>
                        <a:lnTo>
                          <a:pt x="50" y="100"/>
                        </a:lnTo>
                        <a:lnTo>
                          <a:pt x="78" y="102"/>
                        </a:lnTo>
                        <a:lnTo>
                          <a:pt x="86" y="102"/>
                        </a:lnTo>
                        <a:lnTo>
                          <a:pt x="88" y="102"/>
                        </a:lnTo>
                        <a:lnTo>
                          <a:pt x="90" y="104"/>
                        </a:lnTo>
                        <a:lnTo>
                          <a:pt x="90" y="104"/>
                        </a:lnTo>
                        <a:lnTo>
                          <a:pt x="86" y="108"/>
                        </a:lnTo>
                        <a:lnTo>
                          <a:pt x="82" y="110"/>
                        </a:lnTo>
                        <a:lnTo>
                          <a:pt x="72" y="112"/>
                        </a:lnTo>
                        <a:lnTo>
                          <a:pt x="58" y="112"/>
                        </a:lnTo>
                        <a:lnTo>
                          <a:pt x="42" y="110"/>
                        </a:lnTo>
                        <a:lnTo>
                          <a:pt x="14" y="106"/>
                        </a:lnTo>
                        <a:lnTo>
                          <a:pt x="4" y="106"/>
                        </a:lnTo>
                        <a:lnTo>
                          <a:pt x="2" y="108"/>
                        </a:lnTo>
                        <a:lnTo>
                          <a:pt x="0" y="110"/>
                        </a:lnTo>
                        <a:lnTo>
                          <a:pt x="0" y="110"/>
                        </a:lnTo>
                        <a:lnTo>
                          <a:pt x="2" y="116"/>
                        </a:lnTo>
                        <a:lnTo>
                          <a:pt x="4" y="122"/>
                        </a:lnTo>
                        <a:lnTo>
                          <a:pt x="8" y="128"/>
                        </a:lnTo>
                        <a:lnTo>
                          <a:pt x="14" y="134"/>
                        </a:lnTo>
                        <a:lnTo>
                          <a:pt x="32" y="148"/>
                        </a:lnTo>
                        <a:lnTo>
                          <a:pt x="54" y="164"/>
                        </a:lnTo>
                        <a:lnTo>
                          <a:pt x="54" y="16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6" name="Freeform 6088"/>
                  <p:cNvSpPr>
                    <a:spLocks/>
                  </p:cNvSpPr>
                  <p:nvPr/>
                </p:nvSpPr>
                <p:spPr bwMode="auto">
                  <a:xfrm>
                    <a:off x="2100580" y="1206183"/>
                    <a:ext cx="734060" cy="539750"/>
                  </a:xfrm>
                  <a:custGeom>
                    <a:avLst/>
                    <a:gdLst/>
                    <a:ahLst/>
                    <a:cxnLst>
                      <a:cxn ang="0">
                        <a:pos x="1088" y="504"/>
                      </a:cxn>
                      <a:cxn ang="0">
                        <a:pos x="1060" y="480"/>
                      </a:cxn>
                      <a:cxn ang="0">
                        <a:pos x="960" y="426"/>
                      </a:cxn>
                      <a:cxn ang="0">
                        <a:pos x="890" y="396"/>
                      </a:cxn>
                      <a:cxn ang="0">
                        <a:pos x="890" y="348"/>
                      </a:cxn>
                      <a:cxn ang="0">
                        <a:pos x="926" y="328"/>
                      </a:cxn>
                      <a:cxn ang="0">
                        <a:pos x="926" y="298"/>
                      </a:cxn>
                      <a:cxn ang="0">
                        <a:pos x="846" y="276"/>
                      </a:cxn>
                      <a:cxn ang="0">
                        <a:pos x="844" y="232"/>
                      </a:cxn>
                      <a:cxn ang="0">
                        <a:pos x="782" y="204"/>
                      </a:cxn>
                      <a:cxn ang="0">
                        <a:pos x="706" y="174"/>
                      </a:cxn>
                      <a:cxn ang="0">
                        <a:pos x="642" y="134"/>
                      </a:cxn>
                      <a:cxn ang="0">
                        <a:pos x="560" y="98"/>
                      </a:cxn>
                      <a:cxn ang="0">
                        <a:pos x="462" y="112"/>
                      </a:cxn>
                      <a:cxn ang="0">
                        <a:pos x="404" y="110"/>
                      </a:cxn>
                      <a:cxn ang="0">
                        <a:pos x="388" y="90"/>
                      </a:cxn>
                      <a:cxn ang="0">
                        <a:pos x="352" y="18"/>
                      </a:cxn>
                      <a:cxn ang="0">
                        <a:pos x="200" y="50"/>
                      </a:cxn>
                      <a:cxn ang="0">
                        <a:pos x="174" y="84"/>
                      </a:cxn>
                      <a:cxn ang="0">
                        <a:pos x="168" y="138"/>
                      </a:cxn>
                      <a:cxn ang="0">
                        <a:pos x="222" y="180"/>
                      </a:cxn>
                      <a:cxn ang="0">
                        <a:pos x="150" y="122"/>
                      </a:cxn>
                      <a:cxn ang="0">
                        <a:pos x="188" y="26"/>
                      </a:cxn>
                      <a:cxn ang="0">
                        <a:pos x="116" y="8"/>
                      </a:cxn>
                      <a:cxn ang="0">
                        <a:pos x="18" y="90"/>
                      </a:cxn>
                      <a:cxn ang="0">
                        <a:pos x="58" y="196"/>
                      </a:cxn>
                      <a:cxn ang="0">
                        <a:pos x="40" y="216"/>
                      </a:cxn>
                      <a:cxn ang="0">
                        <a:pos x="118" y="270"/>
                      </a:cxn>
                      <a:cxn ang="0">
                        <a:pos x="234" y="288"/>
                      </a:cxn>
                      <a:cxn ang="0">
                        <a:pos x="336" y="290"/>
                      </a:cxn>
                      <a:cxn ang="0">
                        <a:pos x="358" y="284"/>
                      </a:cxn>
                      <a:cxn ang="0">
                        <a:pos x="462" y="284"/>
                      </a:cxn>
                      <a:cxn ang="0">
                        <a:pos x="498" y="274"/>
                      </a:cxn>
                      <a:cxn ang="0">
                        <a:pos x="580" y="338"/>
                      </a:cxn>
                      <a:cxn ang="0">
                        <a:pos x="538" y="376"/>
                      </a:cxn>
                      <a:cxn ang="0">
                        <a:pos x="654" y="402"/>
                      </a:cxn>
                      <a:cxn ang="0">
                        <a:pos x="712" y="474"/>
                      </a:cxn>
                      <a:cxn ang="0">
                        <a:pos x="640" y="558"/>
                      </a:cxn>
                      <a:cxn ang="0">
                        <a:pos x="628" y="608"/>
                      </a:cxn>
                      <a:cxn ang="0">
                        <a:pos x="510" y="624"/>
                      </a:cxn>
                      <a:cxn ang="0">
                        <a:pos x="514" y="688"/>
                      </a:cxn>
                      <a:cxn ang="0">
                        <a:pos x="616" y="688"/>
                      </a:cxn>
                      <a:cxn ang="0">
                        <a:pos x="656" y="674"/>
                      </a:cxn>
                      <a:cxn ang="0">
                        <a:pos x="736" y="724"/>
                      </a:cxn>
                      <a:cxn ang="0">
                        <a:pos x="732" y="752"/>
                      </a:cxn>
                      <a:cxn ang="0">
                        <a:pos x="854" y="818"/>
                      </a:cxn>
                      <a:cxn ang="0">
                        <a:pos x="966" y="822"/>
                      </a:cxn>
                      <a:cxn ang="0">
                        <a:pos x="854" y="724"/>
                      </a:cxn>
                      <a:cxn ang="0">
                        <a:pos x="908" y="744"/>
                      </a:cxn>
                      <a:cxn ang="0">
                        <a:pos x="1012" y="814"/>
                      </a:cxn>
                      <a:cxn ang="0">
                        <a:pos x="1018" y="766"/>
                      </a:cxn>
                      <a:cxn ang="0">
                        <a:pos x="1022" y="724"/>
                      </a:cxn>
                      <a:cxn ang="0">
                        <a:pos x="1000" y="694"/>
                      </a:cxn>
                      <a:cxn ang="0">
                        <a:pos x="942" y="632"/>
                      </a:cxn>
                      <a:cxn ang="0">
                        <a:pos x="890" y="586"/>
                      </a:cxn>
                      <a:cxn ang="0">
                        <a:pos x="902" y="544"/>
                      </a:cxn>
                      <a:cxn ang="0">
                        <a:pos x="942" y="544"/>
                      </a:cxn>
                      <a:cxn ang="0">
                        <a:pos x="990" y="580"/>
                      </a:cxn>
                      <a:cxn ang="0">
                        <a:pos x="1070" y="648"/>
                      </a:cxn>
                      <a:cxn ang="0">
                        <a:pos x="1102" y="596"/>
                      </a:cxn>
                      <a:cxn ang="0">
                        <a:pos x="1128" y="568"/>
                      </a:cxn>
                      <a:cxn ang="0">
                        <a:pos x="1148" y="514"/>
                      </a:cxn>
                    </a:cxnLst>
                    <a:rect l="0" t="0" r="r" b="b"/>
                    <a:pathLst>
                      <a:path w="1156" h="850">
                        <a:moveTo>
                          <a:pt x="1148" y="514"/>
                        </a:moveTo>
                        <a:lnTo>
                          <a:pt x="1148" y="514"/>
                        </a:lnTo>
                        <a:lnTo>
                          <a:pt x="1144" y="506"/>
                        </a:lnTo>
                        <a:lnTo>
                          <a:pt x="1138" y="502"/>
                        </a:lnTo>
                        <a:lnTo>
                          <a:pt x="1134" y="500"/>
                        </a:lnTo>
                        <a:lnTo>
                          <a:pt x="1128" y="498"/>
                        </a:lnTo>
                        <a:lnTo>
                          <a:pt x="1116" y="498"/>
                        </a:lnTo>
                        <a:lnTo>
                          <a:pt x="1106" y="502"/>
                        </a:lnTo>
                        <a:lnTo>
                          <a:pt x="1096" y="506"/>
                        </a:lnTo>
                        <a:lnTo>
                          <a:pt x="1090" y="508"/>
                        </a:lnTo>
                        <a:lnTo>
                          <a:pt x="1088" y="506"/>
                        </a:lnTo>
                        <a:lnTo>
                          <a:pt x="1088" y="504"/>
                        </a:lnTo>
                        <a:lnTo>
                          <a:pt x="1090" y="496"/>
                        </a:lnTo>
                        <a:lnTo>
                          <a:pt x="1090" y="496"/>
                        </a:lnTo>
                        <a:lnTo>
                          <a:pt x="1092" y="486"/>
                        </a:lnTo>
                        <a:lnTo>
                          <a:pt x="1090" y="482"/>
                        </a:lnTo>
                        <a:lnTo>
                          <a:pt x="1088" y="480"/>
                        </a:lnTo>
                        <a:lnTo>
                          <a:pt x="1084" y="480"/>
                        </a:lnTo>
                        <a:lnTo>
                          <a:pt x="1076" y="482"/>
                        </a:lnTo>
                        <a:lnTo>
                          <a:pt x="1062" y="486"/>
                        </a:lnTo>
                        <a:lnTo>
                          <a:pt x="1060" y="486"/>
                        </a:lnTo>
                        <a:lnTo>
                          <a:pt x="1058" y="486"/>
                        </a:lnTo>
                        <a:lnTo>
                          <a:pt x="1060" y="480"/>
                        </a:lnTo>
                        <a:lnTo>
                          <a:pt x="1060" y="480"/>
                        </a:lnTo>
                        <a:lnTo>
                          <a:pt x="1062" y="472"/>
                        </a:lnTo>
                        <a:lnTo>
                          <a:pt x="1062" y="466"/>
                        </a:lnTo>
                        <a:lnTo>
                          <a:pt x="1060" y="462"/>
                        </a:lnTo>
                        <a:lnTo>
                          <a:pt x="1056" y="458"/>
                        </a:lnTo>
                        <a:lnTo>
                          <a:pt x="1042" y="450"/>
                        </a:lnTo>
                        <a:lnTo>
                          <a:pt x="1022" y="436"/>
                        </a:lnTo>
                        <a:lnTo>
                          <a:pt x="1022" y="436"/>
                        </a:lnTo>
                        <a:lnTo>
                          <a:pt x="1010" y="430"/>
                        </a:lnTo>
                        <a:lnTo>
                          <a:pt x="996" y="428"/>
                        </a:lnTo>
                        <a:lnTo>
                          <a:pt x="984" y="426"/>
                        </a:lnTo>
                        <a:lnTo>
                          <a:pt x="970" y="426"/>
                        </a:lnTo>
                        <a:lnTo>
                          <a:pt x="960" y="426"/>
                        </a:lnTo>
                        <a:lnTo>
                          <a:pt x="950" y="424"/>
                        </a:lnTo>
                        <a:lnTo>
                          <a:pt x="944" y="420"/>
                        </a:lnTo>
                        <a:lnTo>
                          <a:pt x="942" y="416"/>
                        </a:lnTo>
                        <a:lnTo>
                          <a:pt x="940" y="410"/>
                        </a:lnTo>
                        <a:lnTo>
                          <a:pt x="940" y="410"/>
                        </a:lnTo>
                        <a:lnTo>
                          <a:pt x="938" y="406"/>
                        </a:lnTo>
                        <a:lnTo>
                          <a:pt x="936" y="402"/>
                        </a:lnTo>
                        <a:lnTo>
                          <a:pt x="930" y="400"/>
                        </a:lnTo>
                        <a:lnTo>
                          <a:pt x="926" y="398"/>
                        </a:lnTo>
                        <a:lnTo>
                          <a:pt x="914" y="396"/>
                        </a:lnTo>
                        <a:lnTo>
                          <a:pt x="900" y="396"/>
                        </a:lnTo>
                        <a:lnTo>
                          <a:pt x="890" y="396"/>
                        </a:lnTo>
                        <a:lnTo>
                          <a:pt x="882" y="394"/>
                        </a:lnTo>
                        <a:lnTo>
                          <a:pt x="882" y="394"/>
                        </a:lnTo>
                        <a:lnTo>
                          <a:pt x="882" y="392"/>
                        </a:lnTo>
                        <a:lnTo>
                          <a:pt x="890" y="384"/>
                        </a:lnTo>
                        <a:lnTo>
                          <a:pt x="890" y="384"/>
                        </a:lnTo>
                        <a:lnTo>
                          <a:pt x="896" y="380"/>
                        </a:lnTo>
                        <a:lnTo>
                          <a:pt x="900" y="376"/>
                        </a:lnTo>
                        <a:lnTo>
                          <a:pt x="902" y="372"/>
                        </a:lnTo>
                        <a:lnTo>
                          <a:pt x="902" y="366"/>
                        </a:lnTo>
                        <a:lnTo>
                          <a:pt x="900" y="360"/>
                        </a:lnTo>
                        <a:lnTo>
                          <a:pt x="894" y="352"/>
                        </a:lnTo>
                        <a:lnTo>
                          <a:pt x="890" y="348"/>
                        </a:lnTo>
                        <a:lnTo>
                          <a:pt x="888" y="344"/>
                        </a:lnTo>
                        <a:lnTo>
                          <a:pt x="890" y="344"/>
                        </a:lnTo>
                        <a:lnTo>
                          <a:pt x="902" y="346"/>
                        </a:lnTo>
                        <a:lnTo>
                          <a:pt x="902" y="346"/>
                        </a:lnTo>
                        <a:lnTo>
                          <a:pt x="916" y="348"/>
                        </a:lnTo>
                        <a:lnTo>
                          <a:pt x="928" y="348"/>
                        </a:lnTo>
                        <a:lnTo>
                          <a:pt x="938" y="346"/>
                        </a:lnTo>
                        <a:lnTo>
                          <a:pt x="942" y="342"/>
                        </a:lnTo>
                        <a:lnTo>
                          <a:pt x="944" y="340"/>
                        </a:lnTo>
                        <a:lnTo>
                          <a:pt x="944" y="338"/>
                        </a:lnTo>
                        <a:lnTo>
                          <a:pt x="938" y="334"/>
                        </a:lnTo>
                        <a:lnTo>
                          <a:pt x="926" y="328"/>
                        </a:lnTo>
                        <a:lnTo>
                          <a:pt x="906" y="324"/>
                        </a:lnTo>
                        <a:lnTo>
                          <a:pt x="906" y="324"/>
                        </a:lnTo>
                        <a:lnTo>
                          <a:pt x="876" y="318"/>
                        </a:lnTo>
                        <a:lnTo>
                          <a:pt x="876" y="318"/>
                        </a:lnTo>
                        <a:lnTo>
                          <a:pt x="876" y="318"/>
                        </a:lnTo>
                        <a:lnTo>
                          <a:pt x="880" y="316"/>
                        </a:lnTo>
                        <a:lnTo>
                          <a:pt x="900" y="312"/>
                        </a:lnTo>
                        <a:lnTo>
                          <a:pt x="910" y="308"/>
                        </a:lnTo>
                        <a:lnTo>
                          <a:pt x="920" y="304"/>
                        </a:lnTo>
                        <a:lnTo>
                          <a:pt x="920" y="304"/>
                        </a:lnTo>
                        <a:lnTo>
                          <a:pt x="924" y="300"/>
                        </a:lnTo>
                        <a:lnTo>
                          <a:pt x="926" y="298"/>
                        </a:lnTo>
                        <a:lnTo>
                          <a:pt x="926" y="294"/>
                        </a:lnTo>
                        <a:lnTo>
                          <a:pt x="926" y="290"/>
                        </a:lnTo>
                        <a:lnTo>
                          <a:pt x="922" y="284"/>
                        </a:lnTo>
                        <a:lnTo>
                          <a:pt x="914" y="278"/>
                        </a:lnTo>
                        <a:lnTo>
                          <a:pt x="904" y="272"/>
                        </a:lnTo>
                        <a:lnTo>
                          <a:pt x="894" y="268"/>
                        </a:lnTo>
                        <a:lnTo>
                          <a:pt x="886" y="268"/>
                        </a:lnTo>
                        <a:lnTo>
                          <a:pt x="880" y="270"/>
                        </a:lnTo>
                        <a:lnTo>
                          <a:pt x="880" y="270"/>
                        </a:lnTo>
                        <a:lnTo>
                          <a:pt x="872" y="274"/>
                        </a:lnTo>
                        <a:lnTo>
                          <a:pt x="864" y="276"/>
                        </a:lnTo>
                        <a:lnTo>
                          <a:pt x="846" y="276"/>
                        </a:lnTo>
                        <a:lnTo>
                          <a:pt x="842" y="276"/>
                        </a:lnTo>
                        <a:lnTo>
                          <a:pt x="840" y="274"/>
                        </a:lnTo>
                        <a:lnTo>
                          <a:pt x="842" y="270"/>
                        </a:lnTo>
                        <a:lnTo>
                          <a:pt x="852" y="266"/>
                        </a:lnTo>
                        <a:lnTo>
                          <a:pt x="852" y="266"/>
                        </a:lnTo>
                        <a:lnTo>
                          <a:pt x="874" y="258"/>
                        </a:lnTo>
                        <a:lnTo>
                          <a:pt x="880" y="254"/>
                        </a:lnTo>
                        <a:lnTo>
                          <a:pt x="882" y="252"/>
                        </a:lnTo>
                        <a:lnTo>
                          <a:pt x="878" y="248"/>
                        </a:lnTo>
                        <a:lnTo>
                          <a:pt x="872" y="244"/>
                        </a:lnTo>
                        <a:lnTo>
                          <a:pt x="844" y="232"/>
                        </a:lnTo>
                        <a:lnTo>
                          <a:pt x="844" y="232"/>
                        </a:lnTo>
                        <a:lnTo>
                          <a:pt x="826" y="226"/>
                        </a:lnTo>
                        <a:lnTo>
                          <a:pt x="812" y="226"/>
                        </a:lnTo>
                        <a:lnTo>
                          <a:pt x="802" y="228"/>
                        </a:lnTo>
                        <a:lnTo>
                          <a:pt x="794" y="230"/>
                        </a:lnTo>
                        <a:lnTo>
                          <a:pt x="790" y="232"/>
                        </a:lnTo>
                        <a:lnTo>
                          <a:pt x="786" y="232"/>
                        </a:lnTo>
                        <a:lnTo>
                          <a:pt x="786" y="230"/>
                        </a:lnTo>
                        <a:lnTo>
                          <a:pt x="786" y="220"/>
                        </a:lnTo>
                        <a:lnTo>
                          <a:pt x="786" y="220"/>
                        </a:lnTo>
                        <a:lnTo>
                          <a:pt x="788" y="210"/>
                        </a:lnTo>
                        <a:lnTo>
                          <a:pt x="784" y="206"/>
                        </a:lnTo>
                        <a:lnTo>
                          <a:pt x="782" y="204"/>
                        </a:lnTo>
                        <a:lnTo>
                          <a:pt x="776" y="204"/>
                        </a:lnTo>
                        <a:lnTo>
                          <a:pt x="768" y="206"/>
                        </a:lnTo>
                        <a:lnTo>
                          <a:pt x="764" y="204"/>
                        </a:lnTo>
                        <a:lnTo>
                          <a:pt x="762" y="198"/>
                        </a:lnTo>
                        <a:lnTo>
                          <a:pt x="762" y="198"/>
                        </a:lnTo>
                        <a:lnTo>
                          <a:pt x="762" y="190"/>
                        </a:lnTo>
                        <a:lnTo>
                          <a:pt x="756" y="184"/>
                        </a:lnTo>
                        <a:lnTo>
                          <a:pt x="748" y="178"/>
                        </a:lnTo>
                        <a:lnTo>
                          <a:pt x="738" y="174"/>
                        </a:lnTo>
                        <a:lnTo>
                          <a:pt x="728" y="170"/>
                        </a:lnTo>
                        <a:lnTo>
                          <a:pt x="716" y="170"/>
                        </a:lnTo>
                        <a:lnTo>
                          <a:pt x="706" y="174"/>
                        </a:lnTo>
                        <a:lnTo>
                          <a:pt x="696" y="182"/>
                        </a:lnTo>
                        <a:lnTo>
                          <a:pt x="696" y="182"/>
                        </a:lnTo>
                        <a:lnTo>
                          <a:pt x="686" y="190"/>
                        </a:lnTo>
                        <a:lnTo>
                          <a:pt x="680" y="192"/>
                        </a:lnTo>
                        <a:lnTo>
                          <a:pt x="674" y="190"/>
                        </a:lnTo>
                        <a:lnTo>
                          <a:pt x="670" y="186"/>
                        </a:lnTo>
                        <a:lnTo>
                          <a:pt x="666" y="178"/>
                        </a:lnTo>
                        <a:lnTo>
                          <a:pt x="662" y="168"/>
                        </a:lnTo>
                        <a:lnTo>
                          <a:pt x="652" y="148"/>
                        </a:lnTo>
                        <a:lnTo>
                          <a:pt x="652" y="148"/>
                        </a:lnTo>
                        <a:lnTo>
                          <a:pt x="648" y="138"/>
                        </a:lnTo>
                        <a:lnTo>
                          <a:pt x="642" y="134"/>
                        </a:lnTo>
                        <a:lnTo>
                          <a:pt x="638" y="134"/>
                        </a:lnTo>
                        <a:lnTo>
                          <a:pt x="632" y="134"/>
                        </a:lnTo>
                        <a:lnTo>
                          <a:pt x="628" y="134"/>
                        </a:lnTo>
                        <a:lnTo>
                          <a:pt x="622" y="134"/>
                        </a:lnTo>
                        <a:lnTo>
                          <a:pt x="616" y="128"/>
                        </a:lnTo>
                        <a:lnTo>
                          <a:pt x="610" y="120"/>
                        </a:lnTo>
                        <a:lnTo>
                          <a:pt x="610" y="120"/>
                        </a:lnTo>
                        <a:lnTo>
                          <a:pt x="602" y="110"/>
                        </a:lnTo>
                        <a:lnTo>
                          <a:pt x="594" y="104"/>
                        </a:lnTo>
                        <a:lnTo>
                          <a:pt x="586" y="100"/>
                        </a:lnTo>
                        <a:lnTo>
                          <a:pt x="578" y="100"/>
                        </a:lnTo>
                        <a:lnTo>
                          <a:pt x="560" y="98"/>
                        </a:lnTo>
                        <a:lnTo>
                          <a:pt x="552" y="98"/>
                        </a:lnTo>
                        <a:lnTo>
                          <a:pt x="546" y="94"/>
                        </a:lnTo>
                        <a:lnTo>
                          <a:pt x="546" y="94"/>
                        </a:lnTo>
                        <a:lnTo>
                          <a:pt x="528" y="88"/>
                        </a:lnTo>
                        <a:lnTo>
                          <a:pt x="518" y="84"/>
                        </a:lnTo>
                        <a:lnTo>
                          <a:pt x="506" y="82"/>
                        </a:lnTo>
                        <a:lnTo>
                          <a:pt x="494" y="84"/>
                        </a:lnTo>
                        <a:lnTo>
                          <a:pt x="484" y="88"/>
                        </a:lnTo>
                        <a:lnTo>
                          <a:pt x="474" y="94"/>
                        </a:lnTo>
                        <a:lnTo>
                          <a:pt x="466" y="106"/>
                        </a:lnTo>
                        <a:lnTo>
                          <a:pt x="466" y="106"/>
                        </a:lnTo>
                        <a:lnTo>
                          <a:pt x="462" y="112"/>
                        </a:lnTo>
                        <a:lnTo>
                          <a:pt x="460" y="116"/>
                        </a:lnTo>
                        <a:lnTo>
                          <a:pt x="456" y="118"/>
                        </a:lnTo>
                        <a:lnTo>
                          <a:pt x="452" y="118"/>
                        </a:lnTo>
                        <a:lnTo>
                          <a:pt x="444" y="116"/>
                        </a:lnTo>
                        <a:lnTo>
                          <a:pt x="436" y="112"/>
                        </a:lnTo>
                        <a:lnTo>
                          <a:pt x="428" y="106"/>
                        </a:lnTo>
                        <a:lnTo>
                          <a:pt x="420" y="104"/>
                        </a:lnTo>
                        <a:lnTo>
                          <a:pt x="416" y="102"/>
                        </a:lnTo>
                        <a:lnTo>
                          <a:pt x="412" y="104"/>
                        </a:lnTo>
                        <a:lnTo>
                          <a:pt x="408" y="106"/>
                        </a:lnTo>
                        <a:lnTo>
                          <a:pt x="404" y="110"/>
                        </a:lnTo>
                        <a:lnTo>
                          <a:pt x="404" y="110"/>
                        </a:lnTo>
                        <a:lnTo>
                          <a:pt x="396" y="118"/>
                        </a:lnTo>
                        <a:lnTo>
                          <a:pt x="388" y="124"/>
                        </a:lnTo>
                        <a:lnTo>
                          <a:pt x="380" y="130"/>
                        </a:lnTo>
                        <a:lnTo>
                          <a:pt x="376" y="132"/>
                        </a:lnTo>
                        <a:lnTo>
                          <a:pt x="372" y="132"/>
                        </a:lnTo>
                        <a:lnTo>
                          <a:pt x="370" y="130"/>
                        </a:lnTo>
                        <a:lnTo>
                          <a:pt x="372" y="126"/>
                        </a:lnTo>
                        <a:lnTo>
                          <a:pt x="376" y="118"/>
                        </a:lnTo>
                        <a:lnTo>
                          <a:pt x="376" y="118"/>
                        </a:lnTo>
                        <a:lnTo>
                          <a:pt x="382" y="110"/>
                        </a:lnTo>
                        <a:lnTo>
                          <a:pt x="386" y="100"/>
                        </a:lnTo>
                        <a:lnTo>
                          <a:pt x="388" y="90"/>
                        </a:lnTo>
                        <a:lnTo>
                          <a:pt x="388" y="82"/>
                        </a:lnTo>
                        <a:lnTo>
                          <a:pt x="386" y="72"/>
                        </a:lnTo>
                        <a:lnTo>
                          <a:pt x="382" y="64"/>
                        </a:lnTo>
                        <a:lnTo>
                          <a:pt x="376" y="58"/>
                        </a:lnTo>
                        <a:lnTo>
                          <a:pt x="368" y="54"/>
                        </a:lnTo>
                        <a:lnTo>
                          <a:pt x="368" y="54"/>
                        </a:lnTo>
                        <a:lnTo>
                          <a:pt x="360" y="50"/>
                        </a:lnTo>
                        <a:lnTo>
                          <a:pt x="356" y="44"/>
                        </a:lnTo>
                        <a:lnTo>
                          <a:pt x="356" y="38"/>
                        </a:lnTo>
                        <a:lnTo>
                          <a:pt x="354" y="32"/>
                        </a:lnTo>
                        <a:lnTo>
                          <a:pt x="354" y="24"/>
                        </a:lnTo>
                        <a:lnTo>
                          <a:pt x="352" y="18"/>
                        </a:lnTo>
                        <a:lnTo>
                          <a:pt x="346" y="14"/>
                        </a:lnTo>
                        <a:lnTo>
                          <a:pt x="338" y="12"/>
                        </a:lnTo>
                        <a:lnTo>
                          <a:pt x="338" y="12"/>
                        </a:lnTo>
                        <a:lnTo>
                          <a:pt x="326" y="10"/>
                        </a:lnTo>
                        <a:lnTo>
                          <a:pt x="306" y="12"/>
                        </a:lnTo>
                        <a:lnTo>
                          <a:pt x="282" y="14"/>
                        </a:lnTo>
                        <a:lnTo>
                          <a:pt x="260" y="18"/>
                        </a:lnTo>
                        <a:lnTo>
                          <a:pt x="236" y="24"/>
                        </a:lnTo>
                        <a:lnTo>
                          <a:pt x="218" y="32"/>
                        </a:lnTo>
                        <a:lnTo>
                          <a:pt x="210" y="38"/>
                        </a:lnTo>
                        <a:lnTo>
                          <a:pt x="204" y="44"/>
                        </a:lnTo>
                        <a:lnTo>
                          <a:pt x="200" y="50"/>
                        </a:lnTo>
                        <a:lnTo>
                          <a:pt x="198" y="56"/>
                        </a:lnTo>
                        <a:lnTo>
                          <a:pt x="198" y="56"/>
                        </a:lnTo>
                        <a:lnTo>
                          <a:pt x="198" y="62"/>
                        </a:lnTo>
                        <a:lnTo>
                          <a:pt x="196" y="66"/>
                        </a:lnTo>
                        <a:lnTo>
                          <a:pt x="194" y="68"/>
                        </a:lnTo>
                        <a:lnTo>
                          <a:pt x="192" y="70"/>
                        </a:lnTo>
                        <a:lnTo>
                          <a:pt x="186" y="72"/>
                        </a:lnTo>
                        <a:lnTo>
                          <a:pt x="178" y="70"/>
                        </a:lnTo>
                        <a:lnTo>
                          <a:pt x="174" y="72"/>
                        </a:lnTo>
                        <a:lnTo>
                          <a:pt x="172" y="72"/>
                        </a:lnTo>
                        <a:lnTo>
                          <a:pt x="172" y="74"/>
                        </a:lnTo>
                        <a:lnTo>
                          <a:pt x="174" y="84"/>
                        </a:lnTo>
                        <a:lnTo>
                          <a:pt x="182" y="100"/>
                        </a:lnTo>
                        <a:lnTo>
                          <a:pt x="182" y="100"/>
                        </a:lnTo>
                        <a:lnTo>
                          <a:pt x="188" y="116"/>
                        </a:lnTo>
                        <a:lnTo>
                          <a:pt x="188" y="122"/>
                        </a:lnTo>
                        <a:lnTo>
                          <a:pt x="188" y="126"/>
                        </a:lnTo>
                        <a:lnTo>
                          <a:pt x="188" y="130"/>
                        </a:lnTo>
                        <a:lnTo>
                          <a:pt x="184" y="130"/>
                        </a:lnTo>
                        <a:lnTo>
                          <a:pt x="180" y="132"/>
                        </a:lnTo>
                        <a:lnTo>
                          <a:pt x="174" y="132"/>
                        </a:lnTo>
                        <a:lnTo>
                          <a:pt x="168" y="134"/>
                        </a:lnTo>
                        <a:lnTo>
                          <a:pt x="168" y="136"/>
                        </a:lnTo>
                        <a:lnTo>
                          <a:pt x="168" y="138"/>
                        </a:lnTo>
                        <a:lnTo>
                          <a:pt x="174" y="148"/>
                        </a:lnTo>
                        <a:lnTo>
                          <a:pt x="174" y="148"/>
                        </a:lnTo>
                        <a:lnTo>
                          <a:pt x="184" y="158"/>
                        </a:lnTo>
                        <a:lnTo>
                          <a:pt x="192" y="164"/>
                        </a:lnTo>
                        <a:lnTo>
                          <a:pt x="200" y="166"/>
                        </a:lnTo>
                        <a:lnTo>
                          <a:pt x="208" y="166"/>
                        </a:lnTo>
                        <a:lnTo>
                          <a:pt x="212" y="164"/>
                        </a:lnTo>
                        <a:lnTo>
                          <a:pt x="218" y="166"/>
                        </a:lnTo>
                        <a:lnTo>
                          <a:pt x="220" y="168"/>
                        </a:lnTo>
                        <a:lnTo>
                          <a:pt x="222" y="176"/>
                        </a:lnTo>
                        <a:lnTo>
                          <a:pt x="222" y="176"/>
                        </a:lnTo>
                        <a:lnTo>
                          <a:pt x="222" y="180"/>
                        </a:lnTo>
                        <a:lnTo>
                          <a:pt x="220" y="182"/>
                        </a:lnTo>
                        <a:lnTo>
                          <a:pt x="216" y="184"/>
                        </a:lnTo>
                        <a:lnTo>
                          <a:pt x="210" y="184"/>
                        </a:lnTo>
                        <a:lnTo>
                          <a:pt x="196" y="180"/>
                        </a:lnTo>
                        <a:lnTo>
                          <a:pt x="180" y="174"/>
                        </a:lnTo>
                        <a:lnTo>
                          <a:pt x="164" y="164"/>
                        </a:lnTo>
                        <a:lnTo>
                          <a:pt x="152" y="150"/>
                        </a:lnTo>
                        <a:lnTo>
                          <a:pt x="148" y="144"/>
                        </a:lnTo>
                        <a:lnTo>
                          <a:pt x="146" y="136"/>
                        </a:lnTo>
                        <a:lnTo>
                          <a:pt x="146" y="130"/>
                        </a:lnTo>
                        <a:lnTo>
                          <a:pt x="150" y="122"/>
                        </a:lnTo>
                        <a:lnTo>
                          <a:pt x="150" y="122"/>
                        </a:lnTo>
                        <a:lnTo>
                          <a:pt x="154" y="110"/>
                        </a:lnTo>
                        <a:lnTo>
                          <a:pt x="152" y="102"/>
                        </a:lnTo>
                        <a:lnTo>
                          <a:pt x="150" y="98"/>
                        </a:lnTo>
                        <a:lnTo>
                          <a:pt x="144" y="94"/>
                        </a:lnTo>
                        <a:lnTo>
                          <a:pt x="142" y="90"/>
                        </a:lnTo>
                        <a:lnTo>
                          <a:pt x="140" y="84"/>
                        </a:lnTo>
                        <a:lnTo>
                          <a:pt x="144" y="74"/>
                        </a:lnTo>
                        <a:lnTo>
                          <a:pt x="154" y="60"/>
                        </a:lnTo>
                        <a:lnTo>
                          <a:pt x="154" y="60"/>
                        </a:lnTo>
                        <a:lnTo>
                          <a:pt x="168" y="44"/>
                        </a:lnTo>
                        <a:lnTo>
                          <a:pt x="180" y="34"/>
                        </a:lnTo>
                        <a:lnTo>
                          <a:pt x="188" y="26"/>
                        </a:lnTo>
                        <a:lnTo>
                          <a:pt x="198" y="22"/>
                        </a:lnTo>
                        <a:lnTo>
                          <a:pt x="208" y="16"/>
                        </a:lnTo>
                        <a:lnTo>
                          <a:pt x="212" y="14"/>
                        </a:lnTo>
                        <a:lnTo>
                          <a:pt x="212" y="10"/>
                        </a:lnTo>
                        <a:lnTo>
                          <a:pt x="212" y="10"/>
                        </a:lnTo>
                        <a:lnTo>
                          <a:pt x="212" y="8"/>
                        </a:lnTo>
                        <a:lnTo>
                          <a:pt x="210" y="6"/>
                        </a:lnTo>
                        <a:lnTo>
                          <a:pt x="200" y="2"/>
                        </a:lnTo>
                        <a:lnTo>
                          <a:pt x="184" y="0"/>
                        </a:lnTo>
                        <a:lnTo>
                          <a:pt x="164" y="0"/>
                        </a:lnTo>
                        <a:lnTo>
                          <a:pt x="140" y="2"/>
                        </a:lnTo>
                        <a:lnTo>
                          <a:pt x="116" y="8"/>
                        </a:lnTo>
                        <a:lnTo>
                          <a:pt x="92" y="16"/>
                        </a:lnTo>
                        <a:lnTo>
                          <a:pt x="70" y="26"/>
                        </a:lnTo>
                        <a:lnTo>
                          <a:pt x="70" y="26"/>
                        </a:lnTo>
                        <a:lnTo>
                          <a:pt x="52" y="38"/>
                        </a:lnTo>
                        <a:lnTo>
                          <a:pt x="40" y="48"/>
                        </a:lnTo>
                        <a:lnTo>
                          <a:pt x="34" y="56"/>
                        </a:lnTo>
                        <a:lnTo>
                          <a:pt x="32" y="62"/>
                        </a:lnTo>
                        <a:lnTo>
                          <a:pt x="30" y="72"/>
                        </a:lnTo>
                        <a:lnTo>
                          <a:pt x="28" y="76"/>
                        </a:lnTo>
                        <a:lnTo>
                          <a:pt x="24" y="82"/>
                        </a:lnTo>
                        <a:lnTo>
                          <a:pt x="24" y="82"/>
                        </a:lnTo>
                        <a:lnTo>
                          <a:pt x="18" y="90"/>
                        </a:lnTo>
                        <a:lnTo>
                          <a:pt x="14" y="96"/>
                        </a:lnTo>
                        <a:lnTo>
                          <a:pt x="8" y="112"/>
                        </a:lnTo>
                        <a:lnTo>
                          <a:pt x="4" y="132"/>
                        </a:lnTo>
                        <a:lnTo>
                          <a:pt x="2" y="156"/>
                        </a:lnTo>
                        <a:lnTo>
                          <a:pt x="2" y="156"/>
                        </a:lnTo>
                        <a:lnTo>
                          <a:pt x="0" y="168"/>
                        </a:lnTo>
                        <a:lnTo>
                          <a:pt x="0" y="178"/>
                        </a:lnTo>
                        <a:lnTo>
                          <a:pt x="2" y="184"/>
                        </a:lnTo>
                        <a:lnTo>
                          <a:pt x="8" y="188"/>
                        </a:lnTo>
                        <a:lnTo>
                          <a:pt x="14" y="192"/>
                        </a:lnTo>
                        <a:lnTo>
                          <a:pt x="26" y="194"/>
                        </a:lnTo>
                        <a:lnTo>
                          <a:pt x="58" y="196"/>
                        </a:lnTo>
                        <a:lnTo>
                          <a:pt x="58" y="196"/>
                        </a:lnTo>
                        <a:lnTo>
                          <a:pt x="76" y="200"/>
                        </a:lnTo>
                        <a:lnTo>
                          <a:pt x="90" y="202"/>
                        </a:lnTo>
                        <a:lnTo>
                          <a:pt x="100" y="208"/>
                        </a:lnTo>
                        <a:lnTo>
                          <a:pt x="106" y="212"/>
                        </a:lnTo>
                        <a:lnTo>
                          <a:pt x="106" y="216"/>
                        </a:lnTo>
                        <a:lnTo>
                          <a:pt x="102" y="218"/>
                        </a:lnTo>
                        <a:lnTo>
                          <a:pt x="94" y="220"/>
                        </a:lnTo>
                        <a:lnTo>
                          <a:pt x="78" y="218"/>
                        </a:lnTo>
                        <a:lnTo>
                          <a:pt x="78" y="218"/>
                        </a:lnTo>
                        <a:lnTo>
                          <a:pt x="50" y="216"/>
                        </a:lnTo>
                        <a:lnTo>
                          <a:pt x="40" y="216"/>
                        </a:lnTo>
                        <a:lnTo>
                          <a:pt x="32" y="218"/>
                        </a:lnTo>
                        <a:lnTo>
                          <a:pt x="32" y="220"/>
                        </a:lnTo>
                        <a:lnTo>
                          <a:pt x="30" y="222"/>
                        </a:lnTo>
                        <a:lnTo>
                          <a:pt x="32" y="228"/>
                        </a:lnTo>
                        <a:lnTo>
                          <a:pt x="40" y="238"/>
                        </a:lnTo>
                        <a:lnTo>
                          <a:pt x="52" y="250"/>
                        </a:lnTo>
                        <a:lnTo>
                          <a:pt x="52" y="250"/>
                        </a:lnTo>
                        <a:lnTo>
                          <a:pt x="68" y="262"/>
                        </a:lnTo>
                        <a:lnTo>
                          <a:pt x="82" y="268"/>
                        </a:lnTo>
                        <a:lnTo>
                          <a:pt x="94" y="270"/>
                        </a:lnTo>
                        <a:lnTo>
                          <a:pt x="106" y="270"/>
                        </a:lnTo>
                        <a:lnTo>
                          <a:pt x="118" y="270"/>
                        </a:lnTo>
                        <a:lnTo>
                          <a:pt x="130" y="270"/>
                        </a:lnTo>
                        <a:lnTo>
                          <a:pt x="142" y="272"/>
                        </a:lnTo>
                        <a:lnTo>
                          <a:pt x="152" y="278"/>
                        </a:lnTo>
                        <a:lnTo>
                          <a:pt x="152" y="278"/>
                        </a:lnTo>
                        <a:lnTo>
                          <a:pt x="162" y="284"/>
                        </a:lnTo>
                        <a:lnTo>
                          <a:pt x="174" y="288"/>
                        </a:lnTo>
                        <a:lnTo>
                          <a:pt x="184" y="290"/>
                        </a:lnTo>
                        <a:lnTo>
                          <a:pt x="194" y="288"/>
                        </a:lnTo>
                        <a:lnTo>
                          <a:pt x="208" y="286"/>
                        </a:lnTo>
                        <a:lnTo>
                          <a:pt x="218" y="286"/>
                        </a:lnTo>
                        <a:lnTo>
                          <a:pt x="218" y="286"/>
                        </a:lnTo>
                        <a:lnTo>
                          <a:pt x="234" y="288"/>
                        </a:lnTo>
                        <a:lnTo>
                          <a:pt x="244" y="290"/>
                        </a:lnTo>
                        <a:lnTo>
                          <a:pt x="260" y="290"/>
                        </a:lnTo>
                        <a:lnTo>
                          <a:pt x="268" y="290"/>
                        </a:lnTo>
                        <a:lnTo>
                          <a:pt x="276" y="290"/>
                        </a:lnTo>
                        <a:lnTo>
                          <a:pt x="288" y="292"/>
                        </a:lnTo>
                        <a:lnTo>
                          <a:pt x="304" y="296"/>
                        </a:lnTo>
                        <a:lnTo>
                          <a:pt x="304" y="296"/>
                        </a:lnTo>
                        <a:lnTo>
                          <a:pt x="316" y="300"/>
                        </a:lnTo>
                        <a:lnTo>
                          <a:pt x="324" y="298"/>
                        </a:lnTo>
                        <a:lnTo>
                          <a:pt x="328" y="296"/>
                        </a:lnTo>
                        <a:lnTo>
                          <a:pt x="332" y="292"/>
                        </a:lnTo>
                        <a:lnTo>
                          <a:pt x="336" y="290"/>
                        </a:lnTo>
                        <a:lnTo>
                          <a:pt x="340" y="290"/>
                        </a:lnTo>
                        <a:lnTo>
                          <a:pt x="346" y="292"/>
                        </a:lnTo>
                        <a:lnTo>
                          <a:pt x="356" y="298"/>
                        </a:lnTo>
                        <a:lnTo>
                          <a:pt x="356" y="298"/>
                        </a:lnTo>
                        <a:lnTo>
                          <a:pt x="374" y="312"/>
                        </a:lnTo>
                        <a:lnTo>
                          <a:pt x="378" y="314"/>
                        </a:lnTo>
                        <a:lnTo>
                          <a:pt x="380" y="312"/>
                        </a:lnTo>
                        <a:lnTo>
                          <a:pt x="378" y="310"/>
                        </a:lnTo>
                        <a:lnTo>
                          <a:pt x="376" y="306"/>
                        </a:lnTo>
                        <a:lnTo>
                          <a:pt x="362" y="292"/>
                        </a:lnTo>
                        <a:lnTo>
                          <a:pt x="362" y="292"/>
                        </a:lnTo>
                        <a:lnTo>
                          <a:pt x="358" y="284"/>
                        </a:lnTo>
                        <a:lnTo>
                          <a:pt x="358" y="282"/>
                        </a:lnTo>
                        <a:lnTo>
                          <a:pt x="360" y="282"/>
                        </a:lnTo>
                        <a:lnTo>
                          <a:pt x="368" y="282"/>
                        </a:lnTo>
                        <a:lnTo>
                          <a:pt x="380" y="284"/>
                        </a:lnTo>
                        <a:lnTo>
                          <a:pt x="410" y="290"/>
                        </a:lnTo>
                        <a:lnTo>
                          <a:pt x="444" y="296"/>
                        </a:lnTo>
                        <a:lnTo>
                          <a:pt x="444" y="296"/>
                        </a:lnTo>
                        <a:lnTo>
                          <a:pt x="450" y="296"/>
                        </a:lnTo>
                        <a:lnTo>
                          <a:pt x="454" y="296"/>
                        </a:lnTo>
                        <a:lnTo>
                          <a:pt x="458" y="294"/>
                        </a:lnTo>
                        <a:lnTo>
                          <a:pt x="460" y="290"/>
                        </a:lnTo>
                        <a:lnTo>
                          <a:pt x="462" y="284"/>
                        </a:lnTo>
                        <a:lnTo>
                          <a:pt x="460" y="274"/>
                        </a:lnTo>
                        <a:lnTo>
                          <a:pt x="456" y="260"/>
                        </a:lnTo>
                        <a:lnTo>
                          <a:pt x="456" y="260"/>
                        </a:lnTo>
                        <a:lnTo>
                          <a:pt x="458" y="260"/>
                        </a:lnTo>
                        <a:lnTo>
                          <a:pt x="464" y="264"/>
                        </a:lnTo>
                        <a:lnTo>
                          <a:pt x="464" y="264"/>
                        </a:lnTo>
                        <a:lnTo>
                          <a:pt x="472" y="270"/>
                        </a:lnTo>
                        <a:lnTo>
                          <a:pt x="478" y="272"/>
                        </a:lnTo>
                        <a:lnTo>
                          <a:pt x="484" y="272"/>
                        </a:lnTo>
                        <a:lnTo>
                          <a:pt x="490" y="272"/>
                        </a:lnTo>
                        <a:lnTo>
                          <a:pt x="494" y="272"/>
                        </a:lnTo>
                        <a:lnTo>
                          <a:pt x="498" y="274"/>
                        </a:lnTo>
                        <a:lnTo>
                          <a:pt x="500" y="278"/>
                        </a:lnTo>
                        <a:lnTo>
                          <a:pt x="502" y="286"/>
                        </a:lnTo>
                        <a:lnTo>
                          <a:pt x="502" y="286"/>
                        </a:lnTo>
                        <a:lnTo>
                          <a:pt x="502" y="294"/>
                        </a:lnTo>
                        <a:lnTo>
                          <a:pt x="504" y="302"/>
                        </a:lnTo>
                        <a:lnTo>
                          <a:pt x="508" y="306"/>
                        </a:lnTo>
                        <a:lnTo>
                          <a:pt x="512" y="310"/>
                        </a:lnTo>
                        <a:lnTo>
                          <a:pt x="528" y="318"/>
                        </a:lnTo>
                        <a:lnTo>
                          <a:pt x="556" y="326"/>
                        </a:lnTo>
                        <a:lnTo>
                          <a:pt x="556" y="326"/>
                        </a:lnTo>
                        <a:lnTo>
                          <a:pt x="570" y="332"/>
                        </a:lnTo>
                        <a:lnTo>
                          <a:pt x="580" y="338"/>
                        </a:lnTo>
                        <a:lnTo>
                          <a:pt x="584" y="344"/>
                        </a:lnTo>
                        <a:lnTo>
                          <a:pt x="584" y="348"/>
                        </a:lnTo>
                        <a:lnTo>
                          <a:pt x="580" y="352"/>
                        </a:lnTo>
                        <a:lnTo>
                          <a:pt x="574" y="356"/>
                        </a:lnTo>
                        <a:lnTo>
                          <a:pt x="568" y="356"/>
                        </a:lnTo>
                        <a:lnTo>
                          <a:pt x="558" y="356"/>
                        </a:lnTo>
                        <a:lnTo>
                          <a:pt x="558" y="356"/>
                        </a:lnTo>
                        <a:lnTo>
                          <a:pt x="550" y="358"/>
                        </a:lnTo>
                        <a:lnTo>
                          <a:pt x="542" y="360"/>
                        </a:lnTo>
                        <a:lnTo>
                          <a:pt x="538" y="366"/>
                        </a:lnTo>
                        <a:lnTo>
                          <a:pt x="538" y="370"/>
                        </a:lnTo>
                        <a:lnTo>
                          <a:pt x="538" y="376"/>
                        </a:lnTo>
                        <a:lnTo>
                          <a:pt x="544" y="378"/>
                        </a:lnTo>
                        <a:lnTo>
                          <a:pt x="550" y="380"/>
                        </a:lnTo>
                        <a:lnTo>
                          <a:pt x="562" y="378"/>
                        </a:lnTo>
                        <a:lnTo>
                          <a:pt x="562" y="378"/>
                        </a:lnTo>
                        <a:lnTo>
                          <a:pt x="576" y="374"/>
                        </a:lnTo>
                        <a:lnTo>
                          <a:pt x="590" y="374"/>
                        </a:lnTo>
                        <a:lnTo>
                          <a:pt x="606" y="376"/>
                        </a:lnTo>
                        <a:lnTo>
                          <a:pt x="618" y="380"/>
                        </a:lnTo>
                        <a:lnTo>
                          <a:pt x="630" y="384"/>
                        </a:lnTo>
                        <a:lnTo>
                          <a:pt x="640" y="390"/>
                        </a:lnTo>
                        <a:lnTo>
                          <a:pt x="648" y="396"/>
                        </a:lnTo>
                        <a:lnTo>
                          <a:pt x="654" y="402"/>
                        </a:lnTo>
                        <a:lnTo>
                          <a:pt x="654" y="402"/>
                        </a:lnTo>
                        <a:lnTo>
                          <a:pt x="656" y="406"/>
                        </a:lnTo>
                        <a:lnTo>
                          <a:pt x="662" y="408"/>
                        </a:lnTo>
                        <a:lnTo>
                          <a:pt x="674" y="414"/>
                        </a:lnTo>
                        <a:lnTo>
                          <a:pt x="682" y="416"/>
                        </a:lnTo>
                        <a:lnTo>
                          <a:pt x="688" y="420"/>
                        </a:lnTo>
                        <a:lnTo>
                          <a:pt x="692" y="428"/>
                        </a:lnTo>
                        <a:lnTo>
                          <a:pt x="696" y="438"/>
                        </a:lnTo>
                        <a:lnTo>
                          <a:pt x="696" y="438"/>
                        </a:lnTo>
                        <a:lnTo>
                          <a:pt x="698" y="450"/>
                        </a:lnTo>
                        <a:lnTo>
                          <a:pt x="704" y="460"/>
                        </a:lnTo>
                        <a:lnTo>
                          <a:pt x="712" y="474"/>
                        </a:lnTo>
                        <a:lnTo>
                          <a:pt x="716" y="480"/>
                        </a:lnTo>
                        <a:lnTo>
                          <a:pt x="718" y="486"/>
                        </a:lnTo>
                        <a:lnTo>
                          <a:pt x="716" y="490"/>
                        </a:lnTo>
                        <a:lnTo>
                          <a:pt x="710" y="494"/>
                        </a:lnTo>
                        <a:lnTo>
                          <a:pt x="710" y="494"/>
                        </a:lnTo>
                        <a:lnTo>
                          <a:pt x="696" y="504"/>
                        </a:lnTo>
                        <a:lnTo>
                          <a:pt x="682" y="518"/>
                        </a:lnTo>
                        <a:lnTo>
                          <a:pt x="668" y="532"/>
                        </a:lnTo>
                        <a:lnTo>
                          <a:pt x="648" y="548"/>
                        </a:lnTo>
                        <a:lnTo>
                          <a:pt x="648" y="548"/>
                        </a:lnTo>
                        <a:lnTo>
                          <a:pt x="644" y="554"/>
                        </a:lnTo>
                        <a:lnTo>
                          <a:pt x="640" y="558"/>
                        </a:lnTo>
                        <a:lnTo>
                          <a:pt x="640" y="564"/>
                        </a:lnTo>
                        <a:lnTo>
                          <a:pt x="642" y="570"/>
                        </a:lnTo>
                        <a:lnTo>
                          <a:pt x="646" y="580"/>
                        </a:lnTo>
                        <a:lnTo>
                          <a:pt x="654" y="590"/>
                        </a:lnTo>
                        <a:lnTo>
                          <a:pt x="666" y="604"/>
                        </a:lnTo>
                        <a:lnTo>
                          <a:pt x="666" y="606"/>
                        </a:lnTo>
                        <a:lnTo>
                          <a:pt x="666" y="608"/>
                        </a:lnTo>
                        <a:lnTo>
                          <a:pt x="656" y="606"/>
                        </a:lnTo>
                        <a:lnTo>
                          <a:pt x="656" y="606"/>
                        </a:lnTo>
                        <a:lnTo>
                          <a:pt x="646" y="602"/>
                        </a:lnTo>
                        <a:lnTo>
                          <a:pt x="636" y="604"/>
                        </a:lnTo>
                        <a:lnTo>
                          <a:pt x="628" y="608"/>
                        </a:lnTo>
                        <a:lnTo>
                          <a:pt x="620" y="612"/>
                        </a:lnTo>
                        <a:lnTo>
                          <a:pt x="608" y="616"/>
                        </a:lnTo>
                        <a:lnTo>
                          <a:pt x="594" y="620"/>
                        </a:lnTo>
                        <a:lnTo>
                          <a:pt x="576" y="620"/>
                        </a:lnTo>
                        <a:lnTo>
                          <a:pt x="552" y="614"/>
                        </a:lnTo>
                        <a:lnTo>
                          <a:pt x="552" y="614"/>
                        </a:lnTo>
                        <a:lnTo>
                          <a:pt x="528" y="610"/>
                        </a:lnTo>
                        <a:lnTo>
                          <a:pt x="516" y="608"/>
                        </a:lnTo>
                        <a:lnTo>
                          <a:pt x="510" y="608"/>
                        </a:lnTo>
                        <a:lnTo>
                          <a:pt x="510" y="612"/>
                        </a:lnTo>
                        <a:lnTo>
                          <a:pt x="510" y="616"/>
                        </a:lnTo>
                        <a:lnTo>
                          <a:pt x="510" y="624"/>
                        </a:lnTo>
                        <a:lnTo>
                          <a:pt x="504" y="630"/>
                        </a:lnTo>
                        <a:lnTo>
                          <a:pt x="494" y="638"/>
                        </a:lnTo>
                        <a:lnTo>
                          <a:pt x="494" y="638"/>
                        </a:lnTo>
                        <a:lnTo>
                          <a:pt x="488" y="642"/>
                        </a:lnTo>
                        <a:lnTo>
                          <a:pt x="484" y="648"/>
                        </a:lnTo>
                        <a:lnTo>
                          <a:pt x="482" y="652"/>
                        </a:lnTo>
                        <a:lnTo>
                          <a:pt x="480" y="658"/>
                        </a:lnTo>
                        <a:lnTo>
                          <a:pt x="482" y="664"/>
                        </a:lnTo>
                        <a:lnTo>
                          <a:pt x="484" y="668"/>
                        </a:lnTo>
                        <a:lnTo>
                          <a:pt x="494" y="678"/>
                        </a:lnTo>
                        <a:lnTo>
                          <a:pt x="506" y="686"/>
                        </a:lnTo>
                        <a:lnTo>
                          <a:pt x="514" y="688"/>
                        </a:lnTo>
                        <a:lnTo>
                          <a:pt x="522" y="690"/>
                        </a:lnTo>
                        <a:lnTo>
                          <a:pt x="532" y="690"/>
                        </a:lnTo>
                        <a:lnTo>
                          <a:pt x="542" y="690"/>
                        </a:lnTo>
                        <a:lnTo>
                          <a:pt x="552" y="686"/>
                        </a:lnTo>
                        <a:lnTo>
                          <a:pt x="562" y="682"/>
                        </a:lnTo>
                        <a:lnTo>
                          <a:pt x="562" y="682"/>
                        </a:lnTo>
                        <a:lnTo>
                          <a:pt x="580" y="676"/>
                        </a:lnTo>
                        <a:lnTo>
                          <a:pt x="592" y="674"/>
                        </a:lnTo>
                        <a:lnTo>
                          <a:pt x="602" y="676"/>
                        </a:lnTo>
                        <a:lnTo>
                          <a:pt x="608" y="680"/>
                        </a:lnTo>
                        <a:lnTo>
                          <a:pt x="612" y="684"/>
                        </a:lnTo>
                        <a:lnTo>
                          <a:pt x="616" y="688"/>
                        </a:lnTo>
                        <a:lnTo>
                          <a:pt x="622" y="686"/>
                        </a:lnTo>
                        <a:lnTo>
                          <a:pt x="628" y="680"/>
                        </a:lnTo>
                        <a:lnTo>
                          <a:pt x="628" y="680"/>
                        </a:lnTo>
                        <a:lnTo>
                          <a:pt x="634" y="674"/>
                        </a:lnTo>
                        <a:lnTo>
                          <a:pt x="640" y="674"/>
                        </a:lnTo>
                        <a:lnTo>
                          <a:pt x="642" y="676"/>
                        </a:lnTo>
                        <a:lnTo>
                          <a:pt x="644" y="680"/>
                        </a:lnTo>
                        <a:lnTo>
                          <a:pt x="646" y="688"/>
                        </a:lnTo>
                        <a:lnTo>
                          <a:pt x="648" y="690"/>
                        </a:lnTo>
                        <a:lnTo>
                          <a:pt x="650" y="686"/>
                        </a:lnTo>
                        <a:lnTo>
                          <a:pt x="650" y="686"/>
                        </a:lnTo>
                        <a:lnTo>
                          <a:pt x="656" y="674"/>
                        </a:lnTo>
                        <a:lnTo>
                          <a:pt x="658" y="672"/>
                        </a:lnTo>
                        <a:lnTo>
                          <a:pt x="662" y="672"/>
                        </a:lnTo>
                        <a:lnTo>
                          <a:pt x="666" y="674"/>
                        </a:lnTo>
                        <a:lnTo>
                          <a:pt x="672" y="680"/>
                        </a:lnTo>
                        <a:lnTo>
                          <a:pt x="696" y="706"/>
                        </a:lnTo>
                        <a:lnTo>
                          <a:pt x="696" y="706"/>
                        </a:lnTo>
                        <a:lnTo>
                          <a:pt x="708" y="720"/>
                        </a:lnTo>
                        <a:lnTo>
                          <a:pt x="718" y="726"/>
                        </a:lnTo>
                        <a:lnTo>
                          <a:pt x="724" y="728"/>
                        </a:lnTo>
                        <a:lnTo>
                          <a:pt x="728" y="728"/>
                        </a:lnTo>
                        <a:lnTo>
                          <a:pt x="732" y="726"/>
                        </a:lnTo>
                        <a:lnTo>
                          <a:pt x="736" y="724"/>
                        </a:lnTo>
                        <a:lnTo>
                          <a:pt x="742" y="726"/>
                        </a:lnTo>
                        <a:lnTo>
                          <a:pt x="750" y="732"/>
                        </a:lnTo>
                        <a:lnTo>
                          <a:pt x="750" y="732"/>
                        </a:lnTo>
                        <a:lnTo>
                          <a:pt x="756" y="738"/>
                        </a:lnTo>
                        <a:lnTo>
                          <a:pt x="756" y="740"/>
                        </a:lnTo>
                        <a:lnTo>
                          <a:pt x="754" y="742"/>
                        </a:lnTo>
                        <a:lnTo>
                          <a:pt x="750" y="744"/>
                        </a:lnTo>
                        <a:lnTo>
                          <a:pt x="742" y="744"/>
                        </a:lnTo>
                        <a:lnTo>
                          <a:pt x="734" y="746"/>
                        </a:lnTo>
                        <a:lnTo>
                          <a:pt x="732" y="748"/>
                        </a:lnTo>
                        <a:lnTo>
                          <a:pt x="732" y="750"/>
                        </a:lnTo>
                        <a:lnTo>
                          <a:pt x="732" y="752"/>
                        </a:lnTo>
                        <a:lnTo>
                          <a:pt x="734" y="756"/>
                        </a:lnTo>
                        <a:lnTo>
                          <a:pt x="744" y="768"/>
                        </a:lnTo>
                        <a:lnTo>
                          <a:pt x="744" y="768"/>
                        </a:lnTo>
                        <a:lnTo>
                          <a:pt x="754" y="776"/>
                        </a:lnTo>
                        <a:lnTo>
                          <a:pt x="766" y="780"/>
                        </a:lnTo>
                        <a:lnTo>
                          <a:pt x="792" y="788"/>
                        </a:lnTo>
                        <a:lnTo>
                          <a:pt x="816" y="794"/>
                        </a:lnTo>
                        <a:lnTo>
                          <a:pt x="826" y="798"/>
                        </a:lnTo>
                        <a:lnTo>
                          <a:pt x="834" y="804"/>
                        </a:lnTo>
                        <a:lnTo>
                          <a:pt x="834" y="804"/>
                        </a:lnTo>
                        <a:lnTo>
                          <a:pt x="842" y="812"/>
                        </a:lnTo>
                        <a:lnTo>
                          <a:pt x="854" y="818"/>
                        </a:lnTo>
                        <a:lnTo>
                          <a:pt x="868" y="824"/>
                        </a:lnTo>
                        <a:lnTo>
                          <a:pt x="882" y="828"/>
                        </a:lnTo>
                        <a:lnTo>
                          <a:pt x="916" y="836"/>
                        </a:lnTo>
                        <a:lnTo>
                          <a:pt x="948" y="846"/>
                        </a:lnTo>
                        <a:lnTo>
                          <a:pt x="948" y="846"/>
                        </a:lnTo>
                        <a:lnTo>
                          <a:pt x="962" y="850"/>
                        </a:lnTo>
                        <a:lnTo>
                          <a:pt x="970" y="850"/>
                        </a:lnTo>
                        <a:lnTo>
                          <a:pt x="972" y="848"/>
                        </a:lnTo>
                        <a:lnTo>
                          <a:pt x="974" y="846"/>
                        </a:lnTo>
                        <a:lnTo>
                          <a:pt x="974" y="840"/>
                        </a:lnTo>
                        <a:lnTo>
                          <a:pt x="972" y="832"/>
                        </a:lnTo>
                        <a:lnTo>
                          <a:pt x="966" y="822"/>
                        </a:lnTo>
                        <a:lnTo>
                          <a:pt x="958" y="812"/>
                        </a:lnTo>
                        <a:lnTo>
                          <a:pt x="948" y="802"/>
                        </a:lnTo>
                        <a:lnTo>
                          <a:pt x="948" y="802"/>
                        </a:lnTo>
                        <a:lnTo>
                          <a:pt x="936" y="792"/>
                        </a:lnTo>
                        <a:lnTo>
                          <a:pt x="920" y="780"/>
                        </a:lnTo>
                        <a:lnTo>
                          <a:pt x="888" y="758"/>
                        </a:lnTo>
                        <a:lnTo>
                          <a:pt x="872" y="748"/>
                        </a:lnTo>
                        <a:lnTo>
                          <a:pt x="862" y="738"/>
                        </a:lnTo>
                        <a:lnTo>
                          <a:pt x="854" y="732"/>
                        </a:lnTo>
                        <a:lnTo>
                          <a:pt x="854" y="728"/>
                        </a:lnTo>
                        <a:lnTo>
                          <a:pt x="854" y="724"/>
                        </a:lnTo>
                        <a:lnTo>
                          <a:pt x="854" y="724"/>
                        </a:lnTo>
                        <a:lnTo>
                          <a:pt x="854" y="724"/>
                        </a:lnTo>
                        <a:lnTo>
                          <a:pt x="858" y="722"/>
                        </a:lnTo>
                        <a:lnTo>
                          <a:pt x="864" y="724"/>
                        </a:lnTo>
                        <a:lnTo>
                          <a:pt x="880" y="736"/>
                        </a:lnTo>
                        <a:lnTo>
                          <a:pt x="894" y="748"/>
                        </a:lnTo>
                        <a:lnTo>
                          <a:pt x="900" y="748"/>
                        </a:lnTo>
                        <a:lnTo>
                          <a:pt x="902" y="748"/>
                        </a:lnTo>
                        <a:lnTo>
                          <a:pt x="902" y="746"/>
                        </a:lnTo>
                        <a:lnTo>
                          <a:pt x="902" y="746"/>
                        </a:lnTo>
                        <a:lnTo>
                          <a:pt x="902" y="742"/>
                        </a:lnTo>
                        <a:lnTo>
                          <a:pt x="904" y="742"/>
                        </a:lnTo>
                        <a:lnTo>
                          <a:pt x="908" y="744"/>
                        </a:lnTo>
                        <a:lnTo>
                          <a:pt x="924" y="754"/>
                        </a:lnTo>
                        <a:lnTo>
                          <a:pt x="932" y="762"/>
                        </a:lnTo>
                        <a:lnTo>
                          <a:pt x="944" y="770"/>
                        </a:lnTo>
                        <a:lnTo>
                          <a:pt x="956" y="776"/>
                        </a:lnTo>
                        <a:lnTo>
                          <a:pt x="968" y="778"/>
                        </a:lnTo>
                        <a:lnTo>
                          <a:pt x="968" y="778"/>
                        </a:lnTo>
                        <a:lnTo>
                          <a:pt x="980" y="782"/>
                        </a:lnTo>
                        <a:lnTo>
                          <a:pt x="990" y="788"/>
                        </a:lnTo>
                        <a:lnTo>
                          <a:pt x="998" y="798"/>
                        </a:lnTo>
                        <a:lnTo>
                          <a:pt x="1004" y="806"/>
                        </a:lnTo>
                        <a:lnTo>
                          <a:pt x="1010" y="812"/>
                        </a:lnTo>
                        <a:lnTo>
                          <a:pt x="1012" y="814"/>
                        </a:lnTo>
                        <a:lnTo>
                          <a:pt x="1014" y="812"/>
                        </a:lnTo>
                        <a:lnTo>
                          <a:pt x="1012" y="802"/>
                        </a:lnTo>
                        <a:lnTo>
                          <a:pt x="1012" y="802"/>
                        </a:lnTo>
                        <a:lnTo>
                          <a:pt x="1012" y="792"/>
                        </a:lnTo>
                        <a:lnTo>
                          <a:pt x="1012" y="788"/>
                        </a:lnTo>
                        <a:lnTo>
                          <a:pt x="1014" y="788"/>
                        </a:lnTo>
                        <a:lnTo>
                          <a:pt x="1016" y="788"/>
                        </a:lnTo>
                        <a:lnTo>
                          <a:pt x="1018" y="788"/>
                        </a:lnTo>
                        <a:lnTo>
                          <a:pt x="1020" y="786"/>
                        </a:lnTo>
                        <a:lnTo>
                          <a:pt x="1020" y="780"/>
                        </a:lnTo>
                        <a:lnTo>
                          <a:pt x="1018" y="766"/>
                        </a:lnTo>
                        <a:lnTo>
                          <a:pt x="1018" y="766"/>
                        </a:lnTo>
                        <a:lnTo>
                          <a:pt x="1016" y="750"/>
                        </a:lnTo>
                        <a:lnTo>
                          <a:pt x="1018" y="752"/>
                        </a:lnTo>
                        <a:lnTo>
                          <a:pt x="1020" y="754"/>
                        </a:lnTo>
                        <a:lnTo>
                          <a:pt x="1022" y="758"/>
                        </a:lnTo>
                        <a:lnTo>
                          <a:pt x="1026" y="760"/>
                        </a:lnTo>
                        <a:lnTo>
                          <a:pt x="1028" y="756"/>
                        </a:lnTo>
                        <a:lnTo>
                          <a:pt x="1032" y="746"/>
                        </a:lnTo>
                        <a:lnTo>
                          <a:pt x="1032" y="746"/>
                        </a:lnTo>
                        <a:lnTo>
                          <a:pt x="1032" y="734"/>
                        </a:lnTo>
                        <a:lnTo>
                          <a:pt x="1030" y="728"/>
                        </a:lnTo>
                        <a:lnTo>
                          <a:pt x="1026" y="724"/>
                        </a:lnTo>
                        <a:lnTo>
                          <a:pt x="1022" y="724"/>
                        </a:lnTo>
                        <a:lnTo>
                          <a:pt x="1018" y="722"/>
                        </a:lnTo>
                        <a:lnTo>
                          <a:pt x="1014" y="722"/>
                        </a:lnTo>
                        <a:lnTo>
                          <a:pt x="1014" y="720"/>
                        </a:lnTo>
                        <a:lnTo>
                          <a:pt x="1018" y="714"/>
                        </a:lnTo>
                        <a:lnTo>
                          <a:pt x="1018" y="714"/>
                        </a:lnTo>
                        <a:lnTo>
                          <a:pt x="1022" y="708"/>
                        </a:lnTo>
                        <a:lnTo>
                          <a:pt x="1020" y="704"/>
                        </a:lnTo>
                        <a:lnTo>
                          <a:pt x="1016" y="702"/>
                        </a:lnTo>
                        <a:lnTo>
                          <a:pt x="1012" y="700"/>
                        </a:lnTo>
                        <a:lnTo>
                          <a:pt x="1006" y="700"/>
                        </a:lnTo>
                        <a:lnTo>
                          <a:pt x="1000" y="698"/>
                        </a:lnTo>
                        <a:lnTo>
                          <a:pt x="1000" y="694"/>
                        </a:lnTo>
                        <a:lnTo>
                          <a:pt x="1002" y="688"/>
                        </a:lnTo>
                        <a:lnTo>
                          <a:pt x="1002" y="688"/>
                        </a:lnTo>
                        <a:lnTo>
                          <a:pt x="1006" y="682"/>
                        </a:lnTo>
                        <a:lnTo>
                          <a:pt x="1010" y="676"/>
                        </a:lnTo>
                        <a:lnTo>
                          <a:pt x="1008" y="672"/>
                        </a:lnTo>
                        <a:lnTo>
                          <a:pt x="1006" y="668"/>
                        </a:lnTo>
                        <a:lnTo>
                          <a:pt x="1000" y="664"/>
                        </a:lnTo>
                        <a:lnTo>
                          <a:pt x="992" y="660"/>
                        </a:lnTo>
                        <a:lnTo>
                          <a:pt x="966" y="648"/>
                        </a:lnTo>
                        <a:lnTo>
                          <a:pt x="966" y="648"/>
                        </a:lnTo>
                        <a:lnTo>
                          <a:pt x="952" y="642"/>
                        </a:lnTo>
                        <a:lnTo>
                          <a:pt x="942" y="632"/>
                        </a:lnTo>
                        <a:lnTo>
                          <a:pt x="936" y="622"/>
                        </a:lnTo>
                        <a:lnTo>
                          <a:pt x="930" y="612"/>
                        </a:lnTo>
                        <a:lnTo>
                          <a:pt x="928" y="602"/>
                        </a:lnTo>
                        <a:lnTo>
                          <a:pt x="924" y="596"/>
                        </a:lnTo>
                        <a:lnTo>
                          <a:pt x="918" y="592"/>
                        </a:lnTo>
                        <a:lnTo>
                          <a:pt x="912" y="592"/>
                        </a:lnTo>
                        <a:lnTo>
                          <a:pt x="912" y="592"/>
                        </a:lnTo>
                        <a:lnTo>
                          <a:pt x="904" y="594"/>
                        </a:lnTo>
                        <a:lnTo>
                          <a:pt x="896" y="594"/>
                        </a:lnTo>
                        <a:lnTo>
                          <a:pt x="892" y="592"/>
                        </a:lnTo>
                        <a:lnTo>
                          <a:pt x="890" y="590"/>
                        </a:lnTo>
                        <a:lnTo>
                          <a:pt x="890" y="586"/>
                        </a:lnTo>
                        <a:lnTo>
                          <a:pt x="894" y="584"/>
                        </a:lnTo>
                        <a:lnTo>
                          <a:pt x="900" y="580"/>
                        </a:lnTo>
                        <a:lnTo>
                          <a:pt x="908" y="578"/>
                        </a:lnTo>
                        <a:lnTo>
                          <a:pt x="908" y="578"/>
                        </a:lnTo>
                        <a:lnTo>
                          <a:pt x="912" y="576"/>
                        </a:lnTo>
                        <a:lnTo>
                          <a:pt x="916" y="576"/>
                        </a:lnTo>
                        <a:lnTo>
                          <a:pt x="916" y="572"/>
                        </a:lnTo>
                        <a:lnTo>
                          <a:pt x="916" y="570"/>
                        </a:lnTo>
                        <a:lnTo>
                          <a:pt x="914" y="564"/>
                        </a:lnTo>
                        <a:lnTo>
                          <a:pt x="910" y="556"/>
                        </a:lnTo>
                        <a:lnTo>
                          <a:pt x="902" y="546"/>
                        </a:lnTo>
                        <a:lnTo>
                          <a:pt x="902" y="544"/>
                        </a:lnTo>
                        <a:lnTo>
                          <a:pt x="904" y="544"/>
                        </a:lnTo>
                        <a:lnTo>
                          <a:pt x="910" y="546"/>
                        </a:lnTo>
                        <a:lnTo>
                          <a:pt x="910" y="546"/>
                        </a:lnTo>
                        <a:lnTo>
                          <a:pt x="918" y="548"/>
                        </a:lnTo>
                        <a:lnTo>
                          <a:pt x="924" y="546"/>
                        </a:lnTo>
                        <a:lnTo>
                          <a:pt x="928" y="542"/>
                        </a:lnTo>
                        <a:lnTo>
                          <a:pt x="930" y="538"/>
                        </a:lnTo>
                        <a:lnTo>
                          <a:pt x="932" y="536"/>
                        </a:lnTo>
                        <a:lnTo>
                          <a:pt x="934" y="534"/>
                        </a:lnTo>
                        <a:lnTo>
                          <a:pt x="938" y="536"/>
                        </a:lnTo>
                        <a:lnTo>
                          <a:pt x="942" y="544"/>
                        </a:lnTo>
                        <a:lnTo>
                          <a:pt x="942" y="544"/>
                        </a:lnTo>
                        <a:lnTo>
                          <a:pt x="950" y="552"/>
                        </a:lnTo>
                        <a:lnTo>
                          <a:pt x="954" y="556"/>
                        </a:lnTo>
                        <a:lnTo>
                          <a:pt x="958" y="558"/>
                        </a:lnTo>
                        <a:lnTo>
                          <a:pt x="962" y="558"/>
                        </a:lnTo>
                        <a:lnTo>
                          <a:pt x="968" y="560"/>
                        </a:lnTo>
                        <a:lnTo>
                          <a:pt x="972" y="562"/>
                        </a:lnTo>
                        <a:lnTo>
                          <a:pt x="974" y="568"/>
                        </a:lnTo>
                        <a:lnTo>
                          <a:pt x="974" y="568"/>
                        </a:lnTo>
                        <a:lnTo>
                          <a:pt x="976" y="574"/>
                        </a:lnTo>
                        <a:lnTo>
                          <a:pt x="980" y="576"/>
                        </a:lnTo>
                        <a:lnTo>
                          <a:pt x="986" y="580"/>
                        </a:lnTo>
                        <a:lnTo>
                          <a:pt x="990" y="580"/>
                        </a:lnTo>
                        <a:lnTo>
                          <a:pt x="992" y="582"/>
                        </a:lnTo>
                        <a:lnTo>
                          <a:pt x="994" y="586"/>
                        </a:lnTo>
                        <a:lnTo>
                          <a:pt x="994" y="592"/>
                        </a:lnTo>
                        <a:lnTo>
                          <a:pt x="994" y="592"/>
                        </a:lnTo>
                        <a:lnTo>
                          <a:pt x="994" y="596"/>
                        </a:lnTo>
                        <a:lnTo>
                          <a:pt x="996" y="600"/>
                        </a:lnTo>
                        <a:lnTo>
                          <a:pt x="1008" y="614"/>
                        </a:lnTo>
                        <a:lnTo>
                          <a:pt x="1022" y="626"/>
                        </a:lnTo>
                        <a:lnTo>
                          <a:pt x="1040" y="638"/>
                        </a:lnTo>
                        <a:lnTo>
                          <a:pt x="1056" y="646"/>
                        </a:lnTo>
                        <a:lnTo>
                          <a:pt x="1064" y="648"/>
                        </a:lnTo>
                        <a:lnTo>
                          <a:pt x="1070" y="648"/>
                        </a:lnTo>
                        <a:lnTo>
                          <a:pt x="1074" y="646"/>
                        </a:lnTo>
                        <a:lnTo>
                          <a:pt x="1078" y="642"/>
                        </a:lnTo>
                        <a:lnTo>
                          <a:pt x="1080" y="636"/>
                        </a:lnTo>
                        <a:lnTo>
                          <a:pt x="1078" y="628"/>
                        </a:lnTo>
                        <a:lnTo>
                          <a:pt x="1078" y="628"/>
                        </a:lnTo>
                        <a:lnTo>
                          <a:pt x="1078" y="618"/>
                        </a:lnTo>
                        <a:lnTo>
                          <a:pt x="1078" y="612"/>
                        </a:lnTo>
                        <a:lnTo>
                          <a:pt x="1080" y="606"/>
                        </a:lnTo>
                        <a:lnTo>
                          <a:pt x="1082" y="602"/>
                        </a:lnTo>
                        <a:lnTo>
                          <a:pt x="1086" y="600"/>
                        </a:lnTo>
                        <a:lnTo>
                          <a:pt x="1092" y="598"/>
                        </a:lnTo>
                        <a:lnTo>
                          <a:pt x="1102" y="596"/>
                        </a:lnTo>
                        <a:lnTo>
                          <a:pt x="1118" y="598"/>
                        </a:lnTo>
                        <a:lnTo>
                          <a:pt x="1122" y="596"/>
                        </a:lnTo>
                        <a:lnTo>
                          <a:pt x="1122" y="596"/>
                        </a:lnTo>
                        <a:lnTo>
                          <a:pt x="1122" y="592"/>
                        </a:lnTo>
                        <a:lnTo>
                          <a:pt x="1122" y="588"/>
                        </a:lnTo>
                        <a:lnTo>
                          <a:pt x="1122" y="588"/>
                        </a:lnTo>
                        <a:lnTo>
                          <a:pt x="1118" y="582"/>
                        </a:lnTo>
                        <a:lnTo>
                          <a:pt x="1118" y="576"/>
                        </a:lnTo>
                        <a:lnTo>
                          <a:pt x="1120" y="574"/>
                        </a:lnTo>
                        <a:lnTo>
                          <a:pt x="1122" y="574"/>
                        </a:lnTo>
                        <a:lnTo>
                          <a:pt x="1128" y="570"/>
                        </a:lnTo>
                        <a:lnTo>
                          <a:pt x="1128" y="568"/>
                        </a:lnTo>
                        <a:lnTo>
                          <a:pt x="1126" y="564"/>
                        </a:lnTo>
                        <a:lnTo>
                          <a:pt x="1126" y="564"/>
                        </a:lnTo>
                        <a:lnTo>
                          <a:pt x="1126" y="560"/>
                        </a:lnTo>
                        <a:lnTo>
                          <a:pt x="1126" y="558"/>
                        </a:lnTo>
                        <a:lnTo>
                          <a:pt x="1130" y="554"/>
                        </a:lnTo>
                        <a:lnTo>
                          <a:pt x="1144" y="548"/>
                        </a:lnTo>
                        <a:lnTo>
                          <a:pt x="1150" y="544"/>
                        </a:lnTo>
                        <a:lnTo>
                          <a:pt x="1154" y="536"/>
                        </a:lnTo>
                        <a:lnTo>
                          <a:pt x="1156" y="532"/>
                        </a:lnTo>
                        <a:lnTo>
                          <a:pt x="1154" y="528"/>
                        </a:lnTo>
                        <a:lnTo>
                          <a:pt x="1148" y="514"/>
                        </a:lnTo>
                        <a:lnTo>
                          <a:pt x="1148" y="51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7" name="Freeform 6089"/>
                  <p:cNvSpPr>
                    <a:spLocks/>
                  </p:cNvSpPr>
                  <p:nvPr/>
                </p:nvSpPr>
                <p:spPr bwMode="auto">
                  <a:xfrm>
                    <a:off x="2731770" y="1751013"/>
                    <a:ext cx="20320" cy="15240"/>
                  </a:xfrm>
                  <a:custGeom>
                    <a:avLst/>
                    <a:gdLst/>
                    <a:ahLst/>
                    <a:cxnLst>
                      <a:cxn ang="0">
                        <a:pos x="6" y="0"/>
                      </a:cxn>
                      <a:cxn ang="0">
                        <a:pos x="6" y="0"/>
                      </a:cxn>
                      <a:cxn ang="0">
                        <a:pos x="2" y="4"/>
                      </a:cxn>
                      <a:cxn ang="0">
                        <a:pos x="0" y="8"/>
                      </a:cxn>
                      <a:cxn ang="0">
                        <a:pos x="2" y="12"/>
                      </a:cxn>
                      <a:cxn ang="0">
                        <a:pos x="8" y="18"/>
                      </a:cxn>
                      <a:cxn ang="0">
                        <a:pos x="14" y="22"/>
                      </a:cxn>
                      <a:cxn ang="0">
                        <a:pos x="20" y="24"/>
                      </a:cxn>
                      <a:cxn ang="0">
                        <a:pos x="26" y="24"/>
                      </a:cxn>
                      <a:cxn ang="0">
                        <a:pos x="30" y="22"/>
                      </a:cxn>
                      <a:cxn ang="0">
                        <a:pos x="30" y="22"/>
                      </a:cxn>
                      <a:cxn ang="0">
                        <a:pos x="32" y="16"/>
                      </a:cxn>
                      <a:cxn ang="0">
                        <a:pos x="32" y="12"/>
                      </a:cxn>
                      <a:cxn ang="0">
                        <a:pos x="32" y="8"/>
                      </a:cxn>
                      <a:cxn ang="0">
                        <a:pos x="28" y="4"/>
                      </a:cxn>
                      <a:cxn ang="0">
                        <a:pos x="24" y="2"/>
                      </a:cxn>
                      <a:cxn ang="0">
                        <a:pos x="20" y="0"/>
                      </a:cxn>
                      <a:cxn ang="0">
                        <a:pos x="14" y="0"/>
                      </a:cxn>
                      <a:cxn ang="0">
                        <a:pos x="6" y="0"/>
                      </a:cxn>
                      <a:cxn ang="0">
                        <a:pos x="6" y="0"/>
                      </a:cxn>
                    </a:cxnLst>
                    <a:rect l="0" t="0" r="r" b="b"/>
                    <a:pathLst>
                      <a:path w="32" h="24">
                        <a:moveTo>
                          <a:pt x="6" y="0"/>
                        </a:moveTo>
                        <a:lnTo>
                          <a:pt x="6" y="0"/>
                        </a:lnTo>
                        <a:lnTo>
                          <a:pt x="2" y="4"/>
                        </a:lnTo>
                        <a:lnTo>
                          <a:pt x="0" y="8"/>
                        </a:lnTo>
                        <a:lnTo>
                          <a:pt x="2" y="12"/>
                        </a:lnTo>
                        <a:lnTo>
                          <a:pt x="8" y="18"/>
                        </a:lnTo>
                        <a:lnTo>
                          <a:pt x="14" y="22"/>
                        </a:lnTo>
                        <a:lnTo>
                          <a:pt x="20" y="24"/>
                        </a:lnTo>
                        <a:lnTo>
                          <a:pt x="26" y="24"/>
                        </a:lnTo>
                        <a:lnTo>
                          <a:pt x="30" y="22"/>
                        </a:lnTo>
                        <a:lnTo>
                          <a:pt x="30" y="22"/>
                        </a:lnTo>
                        <a:lnTo>
                          <a:pt x="32" y="16"/>
                        </a:lnTo>
                        <a:lnTo>
                          <a:pt x="32" y="12"/>
                        </a:lnTo>
                        <a:lnTo>
                          <a:pt x="32" y="8"/>
                        </a:lnTo>
                        <a:lnTo>
                          <a:pt x="28" y="4"/>
                        </a:lnTo>
                        <a:lnTo>
                          <a:pt x="24" y="2"/>
                        </a:lnTo>
                        <a:lnTo>
                          <a:pt x="20" y="0"/>
                        </a:lnTo>
                        <a:lnTo>
                          <a:pt x="14" y="0"/>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8" name="Freeform 6091"/>
                  <p:cNvSpPr>
                    <a:spLocks/>
                  </p:cNvSpPr>
                  <p:nvPr/>
                </p:nvSpPr>
                <p:spPr bwMode="auto">
                  <a:xfrm>
                    <a:off x="2656840" y="1799273"/>
                    <a:ext cx="13970" cy="15240"/>
                  </a:xfrm>
                  <a:custGeom>
                    <a:avLst/>
                    <a:gdLst/>
                    <a:ahLst/>
                    <a:cxnLst>
                      <a:cxn ang="0">
                        <a:pos x="4" y="24"/>
                      </a:cxn>
                      <a:cxn ang="0">
                        <a:pos x="4" y="24"/>
                      </a:cxn>
                      <a:cxn ang="0">
                        <a:pos x="12" y="22"/>
                      </a:cxn>
                      <a:cxn ang="0">
                        <a:pos x="20" y="16"/>
                      </a:cxn>
                      <a:cxn ang="0">
                        <a:pos x="22" y="12"/>
                      </a:cxn>
                      <a:cxn ang="0">
                        <a:pos x="22" y="10"/>
                      </a:cxn>
                      <a:cxn ang="0">
                        <a:pos x="22" y="6"/>
                      </a:cxn>
                      <a:cxn ang="0">
                        <a:pos x="18" y="2"/>
                      </a:cxn>
                      <a:cxn ang="0">
                        <a:pos x="18" y="2"/>
                      </a:cxn>
                      <a:cxn ang="0">
                        <a:pos x="14" y="0"/>
                      </a:cxn>
                      <a:cxn ang="0">
                        <a:pos x="10" y="2"/>
                      </a:cxn>
                      <a:cxn ang="0">
                        <a:pos x="6" y="4"/>
                      </a:cxn>
                      <a:cxn ang="0">
                        <a:pos x="2" y="10"/>
                      </a:cxn>
                      <a:cxn ang="0">
                        <a:pos x="0" y="14"/>
                      </a:cxn>
                      <a:cxn ang="0">
                        <a:pos x="0" y="18"/>
                      </a:cxn>
                      <a:cxn ang="0">
                        <a:pos x="2" y="22"/>
                      </a:cxn>
                      <a:cxn ang="0">
                        <a:pos x="4" y="24"/>
                      </a:cxn>
                      <a:cxn ang="0">
                        <a:pos x="4" y="24"/>
                      </a:cxn>
                    </a:cxnLst>
                    <a:rect l="0" t="0" r="r" b="b"/>
                    <a:pathLst>
                      <a:path w="22" h="24">
                        <a:moveTo>
                          <a:pt x="4" y="24"/>
                        </a:moveTo>
                        <a:lnTo>
                          <a:pt x="4" y="24"/>
                        </a:lnTo>
                        <a:lnTo>
                          <a:pt x="12" y="22"/>
                        </a:lnTo>
                        <a:lnTo>
                          <a:pt x="20" y="16"/>
                        </a:lnTo>
                        <a:lnTo>
                          <a:pt x="22" y="12"/>
                        </a:lnTo>
                        <a:lnTo>
                          <a:pt x="22" y="10"/>
                        </a:lnTo>
                        <a:lnTo>
                          <a:pt x="22" y="6"/>
                        </a:lnTo>
                        <a:lnTo>
                          <a:pt x="18" y="2"/>
                        </a:lnTo>
                        <a:lnTo>
                          <a:pt x="18" y="2"/>
                        </a:lnTo>
                        <a:lnTo>
                          <a:pt x="14" y="0"/>
                        </a:lnTo>
                        <a:lnTo>
                          <a:pt x="10" y="2"/>
                        </a:lnTo>
                        <a:lnTo>
                          <a:pt x="6" y="4"/>
                        </a:lnTo>
                        <a:lnTo>
                          <a:pt x="2" y="10"/>
                        </a:lnTo>
                        <a:lnTo>
                          <a:pt x="0" y="14"/>
                        </a:lnTo>
                        <a:lnTo>
                          <a:pt x="0" y="18"/>
                        </a:lnTo>
                        <a:lnTo>
                          <a:pt x="2" y="22"/>
                        </a:lnTo>
                        <a:lnTo>
                          <a:pt x="4" y="24"/>
                        </a:lnTo>
                        <a:lnTo>
                          <a:pt x="4" y="2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9" name="Freeform 6092"/>
                  <p:cNvSpPr>
                    <a:spLocks/>
                  </p:cNvSpPr>
                  <p:nvPr/>
                </p:nvSpPr>
                <p:spPr bwMode="auto">
                  <a:xfrm>
                    <a:off x="2352040" y="1724343"/>
                    <a:ext cx="22860" cy="34290"/>
                  </a:xfrm>
                  <a:custGeom>
                    <a:avLst/>
                    <a:gdLst/>
                    <a:ahLst/>
                    <a:cxnLst>
                      <a:cxn ang="0">
                        <a:pos x="20" y="54"/>
                      </a:cxn>
                      <a:cxn ang="0">
                        <a:pos x="20" y="54"/>
                      </a:cxn>
                      <a:cxn ang="0">
                        <a:pos x="26" y="50"/>
                      </a:cxn>
                      <a:cxn ang="0">
                        <a:pos x="30" y="42"/>
                      </a:cxn>
                      <a:cxn ang="0">
                        <a:pos x="34" y="32"/>
                      </a:cxn>
                      <a:cxn ang="0">
                        <a:pos x="36" y="22"/>
                      </a:cxn>
                      <a:cxn ang="0">
                        <a:pos x="36" y="12"/>
                      </a:cxn>
                      <a:cxn ang="0">
                        <a:pos x="34" y="4"/>
                      </a:cxn>
                      <a:cxn ang="0">
                        <a:pos x="32" y="2"/>
                      </a:cxn>
                      <a:cxn ang="0">
                        <a:pos x="28" y="0"/>
                      </a:cxn>
                      <a:cxn ang="0">
                        <a:pos x="24" y="0"/>
                      </a:cxn>
                      <a:cxn ang="0">
                        <a:pos x="18" y="0"/>
                      </a:cxn>
                      <a:cxn ang="0">
                        <a:pos x="18" y="0"/>
                      </a:cxn>
                      <a:cxn ang="0">
                        <a:pos x="14" y="2"/>
                      </a:cxn>
                      <a:cxn ang="0">
                        <a:pos x="8" y="6"/>
                      </a:cxn>
                      <a:cxn ang="0">
                        <a:pos x="4" y="12"/>
                      </a:cxn>
                      <a:cxn ang="0">
                        <a:pos x="0" y="22"/>
                      </a:cxn>
                      <a:cxn ang="0">
                        <a:pos x="2" y="32"/>
                      </a:cxn>
                      <a:cxn ang="0">
                        <a:pos x="4" y="40"/>
                      </a:cxn>
                      <a:cxn ang="0">
                        <a:pos x="8" y="48"/>
                      </a:cxn>
                      <a:cxn ang="0">
                        <a:pos x="14" y="52"/>
                      </a:cxn>
                      <a:cxn ang="0">
                        <a:pos x="20" y="54"/>
                      </a:cxn>
                      <a:cxn ang="0">
                        <a:pos x="20" y="54"/>
                      </a:cxn>
                    </a:cxnLst>
                    <a:rect l="0" t="0" r="r" b="b"/>
                    <a:pathLst>
                      <a:path w="36" h="54">
                        <a:moveTo>
                          <a:pt x="20" y="54"/>
                        </a:moveTo>
                        <a:lnTo>
                          <a:pt x="20" y="54"/>
                        </a:lnTo>
                        <a:lnTo>
                          <a:pt x="26" y="50"/>
                        </a:lnTo>
                        <a:lnTo>
                          <a:pt x="30" y="42"/>
                        </a:lnTo>
                        <a:lnTo>
                          <a:pt x="34" y="32"/>
                        </a:lnTo>
                        <a:lnTo>
                          <a:pt x="36" y="22"/>
                        </a:lnTo>
                        <a:lnTo>
                          <a:pt x="36" y="12"/>
                        </a:lnTo>
                        <a:lnTo>
                          <a:pt x="34" y="4"/>
                        </a:lnTo>
                        <a:lnTo>
                          <a:pt x="32" y="2"/>
                        </a:lnTo>
                        <a:lnTo>
                          <a:pt x="28" y="0"/>
                        </a:lnTo>
                        <a:lnTo>
                          <a:pt x="24" y="0"/>
                        </a:lnTo>
                        <a:lnTo>
                          <a:pt x="18" y="0"/>
                        </a:lnTo>
                        <a:lnTo>
                          <a:pt x="18" y="0"/>
                        </a:lnTo>
                        <a:lnTo>
                          <a:pt x="14" y="2"/>
                        </a:lnTo>
                        <a:lnTo>
                          <a:pt x="8" y="6"/>
                        </a:lnTo>
                        <a:lnTo>
                          <a:pt x="4" y="12"/>
                        </a:lnTo>
                        <a:lnTo>
                          <a:pt x="0" y="22"/>
                        </a:lnTo>
                        <a:lnTo>
                          <a:pt x="2" y="32"/>
                        </a:lnTo>
                        <a:lnTo>
                          <a:pt x="4" y="40"/>
                        </a:lnTo>
                        <a:lnTo>
                          <a:pt x="8" y="48"/>
                        </a:lnTo>
                        <a:lnTo>
                          <a:pt x="14" y="52"/>
                        </a:lnTo>
                        <a:lnTo>
                          <a:pt x="20" y="54"/>
                        </a:lnTo>
                        <a:lnTo>
                          <a:pt x="20" y="5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0" name="Freeform 6094"/>
                  <p:cNvSpPr>
                    <a:spLocks/>
                  </p:cNvSpPr>
                  <p:nvPr/>
                </p:nvSpPr>
                <p:spPr bwMode="auto">
                  <a:xfrm>
                    <a:off x="2428240" y="1463993"/>
                    <a:ext cx="59690" cy="48260"/>
                  </a:xfrm>
                  <a:custGeom>
                    <a:avLst/>
                    <a:gdLst/>
                    <a:ahLst/>
                    <a:cxnLst>
                      <a:cxn ang="0">
                        <a:pos x="8" y="26"/>
                      </a:cxn>
                      <a:cxn ang="0">
                        <a:pos x="8" y="26"/>
                      </a:cxn>
                      <a:cxn ang="0">
                        <a:pos x="4" y="36"/>
                      </a:cxn>
                      <a:cxn ang="0">
                        <a:pos x="0" y="46"/>
                      </a:cxn>
                      <a:cxn ang="0">
                        <a:pos x="0" y="56"/>
                      </a:cxn>
                      <a:cxn ang="0">
                        <a:pos x="2" y="64"/>
                      </a:cxn>
                      <a:cxn ang="0">
                        <a:pos x="8" y="70"/>
                      </a:cxn>
                      <a:cxn ang="0">
                        <a:pos x="18" y="74"/>
                      </a:cxn>
                      <a:cxn ang="0">
                        <a:pos x="34" y="76"/>
                      </a:cxn>
                      <a:cxn ang="0">
                        <a:pos x="54" y="76"/>
                      </a:cxn>
                      <a:cxn ang="0">
                        <a:pos x="54" y="76"/>
                      </a:cxn>
                      <a:cxn ang="0">
                        <a:pos x="72" y="74"/>
                      </a:cxn>
                      <a:cxn ang="0">
                        <a:pos x="84" y="70"/>
                      </a:cxn>
                      <a:cxn ang="0">
                        <a:pos x="90" y="64"/>
                      </a:cxn>
                      <a:cxn ang="0">
                        <a:pos x="94" y="58"/>
                      </a:cxn>
                      <a:cxn ang="0">
                        <a:pos x="92" y="50"/>
                      </a:cxn>
                      <a:cxn ang="0">
                        <a:pos x="92" y="40"/>
                      </a:cxn>
                      <a:cxn ang="0">
                        <a:pos x="90" y="32"/>
                      </a:cxn>
                      <a:cxn ang="0">
                        <a:pos x="92" y="22"/>
                      </a:cxn>
                      <a:cxn ang="0">
                        <a:pos x="92" y="22"/>
                      </a:cxn>
                      <a:cxn ang="0">
                        <a:pos x="92" y="18"/>
                      </a:cxn>
                      <a:cxn ang="0">
                        <a:pos x="90" y="14"/>
                      </a:cxn>
                      <a:cxn ang="0">
                        <a:pos x="88" y="10"/>
                      </a:cxn>
                      <a:cxn ang="0">
                        <a:pos x="84" y="6"/>
                      </a:cxn>
                      <a:cxn ang="0">
                        <a:pos x="74" y="2"/>
                      </a:cxn>
                      <a:cxn ang="0">
                        <a:pos x="60" y="0"/>
                      </a:cxn>
                      <a:cxn ang="0">
                        <a:pos x="46" y="2"/>
                      </a:cxn>
                      <a:cxn ang="0">
                        <a:pos x="32" y="6"/>
                      </a:cxn>
                      <a:cxn ang="0">
                        <a:pos x="18" y="14"/>
                      </a:cxn>
                      <a:cxn ang="0">
                        <a:pos x="14" y="20"/>
                      </a:cxn>
                      <a:cxn ang="0">
                        <a:pos x="8" y="26"/>
                      </a:cxn>
                      <a:cxn ang="0">
                        <a:pos x="8" y="26"/>
                      </a:cxn>
                    </a:cxnLst>
                    <a:rect l="0" t="0" r="r" b="b"/>
                    <a:pathLst>
                      <a:path w="94" h="76">
                        <a:moveTo>
                          <a:pt x="8" y="26"/>
                        </a:moveTo>
                        <a:lnTo>
                          <a:pt x="8" y="26"/>
                        </a:lnTo>
                        <a:lnTo>
                          <a:pt x="4" y="36"/>
                        </a:lnTo>
                        <a:lnTo>
                          <a:pt x="0" y="46"/>
                        </a:lnTo>
                        <a:lnTo>
                          <a:pt x="0" y="56"/>
                        </a:lnTo>
                        <a:lnTo>
                          <a:pt x="2" y="64"/>
                        </a:lnTo>
                        <a:lnTo>
                          <a:pt x="8" y="70"/>
                        </a:lnTo>
                        <a:lnTo>
                          <a:pt x="18" y="74"/>
                        </a:lnTo>
                        <a:lnTo>
                          <a:pt x="34" y="76"/>
                        </a:lnTo>
                        <a:lnTo>
                          <a:pt x="54" y="76"/>
                        </a:lnTo>
                        <a:lnTo>
                          <a:pt x="54" y="76"/>
                        </a:lnTo>
                        <a:lnTo>
                          <a:pt x="72" y="74"/>
                        </a:lnTo>
                        <a:lnTo>
                          <a:pt x="84" y="70"/>
                        </a:lnTo>
                        <a:lnTo>
                          <a:pt x="90" y="64"/>
                        </a:lnTo>
                        <a:lnTo>
                          <a:pt x="94" y="58"/>
                        </a:lnTo>
                        <a:lnTo>
                          <a:pt x="92" y="50"/>
                        </a:lnTo>
                        <a:lnTo>
                          <a:pt x="92" y="40"/>
                        </a:lnTo>
                        <a:lnTo>
                          <a:pt x="90" y="32"/>
                        </a:lnTo>
                        <a:lnTo>
                          <a:pt x="92" y="22"/>
                        </a:lnTo>
                        <a:lnTo>
                          <a:pt x="92" y="22"/>
                        </a:lnTo>
                        <a:lnTo>
                          <a:pt x="92" y="18"/>
                        </a:lnTo>
                        <a:lnTo>
                          <a:pt x="90" y="14"/>
                        </a:lnTo>
                        <a:lnTo>
                          <a:pt x="88" y="10"/>
                        </a:lnTo>
                        <a:lnTo>
                          <a:pt x="84" y="6"/>
                        </a:lnTo>
                        <a:lnTo>
                          <a:pt x="74" y="2"/>
                        </a:lnTo>
                        <a:lnTo>
                          <a:pt x="60" y="0"/>
                        </a:lnTo>
                        <a:lnTo>
                          <a:pt x="46" y="2"/>
                        </a:lnTo>
                        <a:lnTo>
                          <a:pt x="32" y="6"/>
                        </a:lnTo>
                        <a:lnTo>
                          <a:pt x="18" y="14"/>
                        </a:lnTo>
                        <a:lnTo>
                          <a:pt x="14" y="20"/>
                        </a:lnTo>
                        <a:lnTo>
                          <a:pt x="8" y="26"/>
                        </a:lnTo>
                        <a:lnTo>
                          <a:pt x="8" y="2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1" name="Freeform 6098"/>
                  <p:cNvSpPr>
                    <a:spLocks/>
                  </p:cNvSpPr>
                  <p:nvPr/>
                </p:nvSpPr>
                <p:spPr bwMode="auto">
                  <a:xfrm>
                    <a:off x="1668780" y="1211263"/>
                    <a:ext cx="63500" cy="43180"/>
                  </a:xfrm>
                  <a:custGeom>
                    <a:avLst/>
                    <a:gdLst/>
                    <a:ahLst/>
                    <a:cxnLst>
                      <a:cxn ang="0">
                        <a:pos x="46" y="2"/>
                      </a:cxn>
                      <a:cxn ang="0">
                        <a:pos x="46" y="2"/>
                      </a:cxn>
                      <a:cxn ang="0">
                        <a:pos x="32" y="4"/>
                      </a:cxn>
                      <a:cxn ang="0">
                        <a:pos x="20" y="6"/>
                      </a:cxn>
                      <a:cxn ang="0">
                        <a:pos x="10" y="10"/>
                      </a:cxn>
                      <a:cxn ang="0">
                        <a:pos x="4" y="12"/>
                      </a:cxn>
                      <a:cxn ang="0">
                        <a:pos x="0" y="16"/>
                      </a:cxn>
                      <a:cxn ang="0">
                        <a:pos x="0" y="20"/>
                      </a:cxn>
                      <a:cxn ang="0">
                        <a:pos x="2" y="22"/>
                      </a:cxn>
                      <a:cxn ang="0">
                        <a:pos x="8" y="24"/>
                      </a:cxn>
                      <a:cxn ang="0">
                        <a:pos x="8" y="24"/>
                      </a:cxn>
                      <a:cxn ang="0">
                        <a:pos x="20" y="28"/>
                      </a:cxn>
                      <a:cxn ang="0">
                        <a:pos x="28" y="32"/>
                      </a:cxn>
                      <a:cxn ang="0">
                        <a:pos x="32" y="36"/>
                      </a:cxn>
                      <a:cxn ang="0">
                        <a:pos x="34" y="40"/>
                      </a:cxn>
                      <a:cxn ang="0">
                        <a:pos x="34" y="40"/>
                      </a:cxn>
                      <a:cxn ang="0">
                        <a:pos x="38" y="46"/>
                      </a:cxn>
                      <a:cxn ang="0">
                        <a:pos x="44" y="50"/>
                      </a:cxn>
                      <a:cxn ang="0">
                        <a:pos x="54" y="56"/>
                      </a:cxn>
                      <a:cxn ang="0">
                        <a:pos x="64" y="66"/>
                      </a:cxn>
                      <a:cxn ang="0">
                        <a:pos x="64" y="66"/>
                      </a:cxn>
                      <a:cxn ang="0">
                        <a:pos x="68" y="68"/>
                      </a:cxn>
                      <a:cxn ang="0">
                        <a:pos x="70" y="68"/>
                      </a:cxn>
                      <a:cxn ang="0">
                        <a:pos x="70" y="66"/>
                      </a:cxn>
                      <a:cxn ang="0">
                        <a:pos x="70" y="66"/>
                      </a:cxn>
                      <a:cxn ang="0">
                        <a:pos x="70" y="62"/>
                      </a:cxn>
                      <a:cxn ang="0">
                        <a:pos x="74" y="60"/>
                      </a:cxn>
                      <a:cxn ang="0">
                        <a:pos x="80" y="56"/>
                      </a:cxn>
                      <a:cxn ang="0">
                        <a:pos x="86" y="48"/>
                      </a:cxn>
                      <a:cxn ang="0">
                        <a:pos x="86" y="48"/>
                      </a:cxn>
                      <a:cxn ang="0">
                        <a:pos x="100" y="26"/>
                      </a:cxn>
                      <a:cxn ang="0">
                        <a:pos x="100" y="20"/>
                      </a:cxn>
                      <a:cxn ang="0">
                        <a:pos x="100" y="16"/>
                      </a:cxn>
                      <a:cxn ang="0">
                        <a:pos x="98" y="14"/>
                      </a:cxn>
                      <a:cxn ang="0">
                        <a:pos x="94" y="10"/>
                      </a:cxn>
                      <a:cxn ang="0">
                        <a:pos x="94" y="10"/>
                      </a:cxn>
                      <a:cxn ang="0">
                        <a:pos x="86" y="6"/>
                      </a:cxn>
                      <a:cxn ang="0">
                        <a:pos x="80" y="2"/>
                      </a:cxn>
                      <a:cxn ang="0">
                        <a:pos x="70" y="0"/>
                      </a:cxn>
                      <a:cxn ang="0">
                        <a:pos x="46" y="2"/>
                      </a:cxn>
                      <a:cxn ang="0">
                        <a:pos x="46" y="2"/>
                      </a:cxn>
                    </a:cxnLst>
                    <a:rect l="0" t="0" r="r" b="b"/>
                    <a:pathLst>
                      <a:path w="100" h="68">
                        <a:moveTo>
                          <a:pt x="46" y="2"/>
                        </a:moveTo>
                        <a:lnTo>
                          <a:pt x="46" y="2"/>
                        </a:lnTo>
                        <a:lnTo>
                          <a:pt x="32" y="4"/>
                        </a:lnTo>
                        <a:lnTo>
                          <a:pt x="20" y="6"/>
                        </a:lnTo>
                        <a:lnTo>
                          <a:pt x="10" y="10"/>
                        </a:lnTo>
                        <a:lnTo>
                          <a:pt x="4" y="12"/>
                        </a:lnTo>
                        <a:lnTo>
                          <a:pt x="0" y="16"/>
                        </a:lnTo>
                        <a:lnTo>
                          <a:pt x="0" y="20"/>
                        </a:lnTo>
                        <a:lnTo>
                          <a:pt x="2" y="22"/>
                        </a:lnTo>
                        <a:lnTo>
                          <a:pt x="8" y="24"/>
                        </a:lnTo>
                        <a:lnTo>
                          <a:pt x="8" y="24"/>
                        </a:lnTo>
                        <a:lnTo>
                          <a:pt x="20" y="28"/>
                        </a:lnTo>
                        <a:lnTo>
                          <a:pt x="28" y="32"/>
                        </a:lnTo>
                        <a:lnTo>
                          <a:pt x="32" y="36"/>
                        </a:lnTo>
                        <a:lnTo>
                          <a:pt x="34" y="40"/>
                        </a:lnTo>
                        <a:lnTo>
                          <a:pt x="34" y="40"/>
                        </a:lnTo>
                        <a:lnTo>
                          <a:pt x="38" y="46"/>
                        </a:lnTo>
                        <a:lnTo>
                          <a:pt x="44" y="50"/>
                        </a:lnTo>
                        <a:lnTo>
                          <a:pt x="54" y="56"/>
                        </a:lnTo>
                        <a:lnTo>
                          <a:pt x="64" y="66"/>
                        </a:lnTo>
                        <a:lnTo>
                          <a:pt x="64" y="66"/>
                        </a:lnTo>
                        <a:lnTo>
                          <a:pt x="68" y="68"/>
                        </a:lnTo>
                        <a:lnTo>
                          <a:pt x="70" y="68"/>
                        </a:lnTo>
                        <a:lnTo>
                          <a:pt x="70" y="66"/>
                        </a:lnTo>
                        <a:lnTo>
                          <a:pt x="70" y="66"/>
                        </a:lnTo>
                        <a:lnTo>
                          <a:pt x="70" y="62"/>
                        </a:lnTo>
                        <a:lnTo>
                          <a:pt x="74" y="60"/>
                        </a:lnTo>
                        <a:lnTo>
                          <a:pt x="80" y="56"/>
                        </a:lnTo>
                        <a:lnTo>
                          <a:pt x="86" y="48"/>
                        </a:lnTo>
                        <a:lnTo>
                          <a:pt x="86" y="48"/>
                        </a:lnTo>
                        <a:lnTo>
                          <a:pt x="100" y="26"/>
                        </a:lnTo>
                        <a:lnTo>
                          <a:pt x="100" y="20"/>
                        </a:lnTo>
                        <a:lnTo>
                          <a:pt x="100" y="16"/>
                        </a:lnTo>
                        <a:lnTo>
                          <a:pt x="98" y="14"/>
                        </a:lnTo>
                        <a:lnTo>
                          <a:pt x="94" y="10"/>
                        </a:lnTo>
                        <a:lnTo>
                          <a:pt x="94" y="10"/>
                        </a:lnTo>
                        <a:lnTo>
                          <a:pt x="86" y="6"/>
                        </a:lnTo>
                        <a:lnTo>
                          <a:pt x="80" y="2"/>
                        </a:lnTo>
                        <a:lnTo>
                          <a:pt x="70" y="0"/>
                        </a:lnTo>
                        <a:lnTo>
                          <a:pt x="46" y="2"/>
                        </a:lnTo>
                        <a:lnTo>
                          <a:pt x="4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2" name="Freeform 6099"/>
                  <p:cNvSpPr>
                    <a:spLocks/>
                  </p:cNvSpPr>
                  <p:nvPr/>
                </p:nvSpPr>
                <p:spPr bwMode="auto">
                  <a:xfrm>
                    <a:off x="1733550" y="1088073"/>
                    <a:ext cx="48260" cy="10160"/>
                  </a:xfrm>
                  <a:custGeom>
                    <a:avLst/>
                    <a:gdLst/>
                    <a:ahLst/>
                    <a:cxnLst>
                      <a:cxn ang="0">
                        <a:pos x="76" y="2"/>
                      </a:cxn>
                      <a:cxn ang="0">
                        <a:pos x="76" y="2"/>
                      </a:cxn>
                      <a:cxn ang="0">
                        <a:pos x="68" y="0"/>
                      </a:cxn>
                      <a:cxn ang="0">
                        <a:pos x="56" y="0"/>
                      </a:cxn>
                      <a:cxn ang="0">
                        <a:pos x="30" y="2"/>
                      </a:cxn>
                      <a:cxn ang="0">
                        <a:pos x="16" y="6"/>
                      </a:cxn>
                      <a:cxn ang="0">
                        <a:pos x="6" y="8"/>
                      </a:cxn>
                      <a:cxn ang="0">
                        <a:pos x="0" y="12"/>
                      </a:cxn>
                      <a:cxn ang="0">
                        <a:pos x="0" y="14"/>
                      </a:cxn>
                      <a:cxn ang="0">
                        <a:pos x="2" y="16"/>
                      </a:cxn>
                      <a:cxn ang="0">
                        <a:pos x="2" y="16"/>
                      </a:cxn>
                      <a:cxn ang="0">
                        <a:pos x="8" y="16"/>
                      </a:cxn>
                      <a:cxn ang="0">
                        <a:pos x="20" y="16"/>
                      </a:cxn>
                      <a:cxn ang="0">
                        <a:pos x="48" y="14"/>
                      </a:cxn>
                      <a:cxn ang="0">
                        <a:pos x="70" y="8"/>
                      </a:cxn>
                      <a:cxn ang="0">
                        <a:pos x="76" y="4"/>
                      </a:cxn>
                      <a:cxn ang="0">
                        <a:pos x="76" y="2"/>
                      </a:cxn>
                      <a:cxn ang="0">
                        <a:pos x="76" y="2"/>
                      </a:cxn>
                      <a:cxn ang="0">
                        <a:pos x="76" y="2"/>
                      </a:cxn>
                    </a:cxnLst>
                    <a:rect l="0" t="0" r="r" b="b"/>
                    <a:pathLst>
                      <a:path w="76" h="16">
                        <a:moveTo>
                          <a:pt x="76" y="2"/>
                        </a:moveTo>
                        <a:lnTo>
                          <a:pt x="76" y="2"/>
                        </a:lnTo>
                        <a:lnTo>
                          <a:pt x="68" y="0"/>
                        </a:lnTo>
                        <a:lnTo>
                          <a:pt x="56" y="0"/>
                        </a:lnTo>
                        <a:lnTo>
                          <a:pt x="30" y="2"/>
                        </a:lnTo>
                        <a:lnTo>
                          <a:pt x="16" y="6"/>
                        </a:lnTo>
                        <a:lnTo>
                          <a:pt x="6" y="8"/>
                        </a:lnTo>
                        <a:lnTo>
                          <a:pt x="0" y="12"/>
                        </a:lnTo>
                        <a:lnTo>
                          <a:pt x="0" y="14"/>
                        </a:lnTo>
                        <a:lnTo>
                          <a:pt x="2" y="16"/>
                        </a:lnTo>
                        <a:lnTo>
                          <a:pt x="2" y="16"/>
                        </a:lnTo>
                        <a:lnTo>
                          <a:pt x="8" y="16"/>
                        </a:lnTo>
                        <a:lnTo>
                          <a:pt x="20" y="16"/>
                        </a:lnTo>
                        <a:lnTo>
                          <a:pt x="48" y="14"/>
                        </a:lnTo>
                        <a:lnTo>
                          <a:pt x="70" y="8"/>
                        </a:lnTo>
                        <a:lnTo>
                          <a:pt x="76" y="4"/>
                        </a:lnTo>
                        <a:lnTo>
                          <a:pt x="76" y="2"/>
                        </a:lnTo>
                        <a:lnTo>
                          <a:pt x="76" y="2"/>
                        </a:lnTo>
                        <a:lnTo>
                          <a:pt x="7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3" name="Freeform 6100"/>
                  <p:cNvSpPr>
                    <a:spLocks/>
                  </p:cNvSpPr>
                  <p:nvPr/>
                </p:nvSpPr>
                <p:spPr bwMode="auto">
                  <a:xfrm>
                    <a:off x="1723390" y="1129983"/>
                    <a:ext cx="30480" cy="20320"/>
                  </a:xfrm>
                  <a:custGeom>
                    <a:avLst/>
                    <a:gdLst/>
                    <a:ahLst/>
                    <a:cxnLst>
                      <a:cxn ang="0">
                        <a:pos x="0" y="20"/>
                      </a:cxn>
                      <a:cxn ang="0">
                        <a:pos x="0" y="20"/>
                      </a:cxn>
                      <a:cxn ang="0">
                        <a:pos x="0" y="22"/>
                      </a:cxn>
                      <a:cxn ang="0">
                        <a:pos x="2" y="26"/>
                      </a:cxn>
                      <a:cxn ang="0">
                        <a:pos x="8" y="30"/>
                      </a:cxn>
                      <a:cxn ang="0">
                        <a:pos x="16" y="32"/>
                      </a:cxn>
                      <a:cxn ang="0">
                        <a:pos x="26" y="32"/>
                      </a:cxn>
                      <a:cxn ang="0">
                        <a:pos x="34" y="30"/>
                      </a:cxn>
                      <a:cxn ang="0">
                        <a:pos x="42" y="28"/>
                      </a:cxn>
                      <a:cxn ang="0">
                        <a:pos x="46" y="22"/>
                      </a:cxn>
                      <a:cxn ang="0">
                        <a:pos x="48" y="20"/>
                      </a:cxn>
                      <a:cxn ang="0">
                        <a:pos x="48" y="18"/>
                      </a:cxn>
                      <a:cxn ang="0">
                        <a:pos x="48" y="18"/>
                      </a:cxn>
                      <a:cxn ang="0">
                        <a:pos x="44" y="12"/>
                      </a:cxn>
                      <a:cxn ang="0">
                        <a:pos x="38" y="6"/>
                      </a:cxn>
                      <a:cxn ang="0">
                        <a:pos x="30" y="2"/>
                      </a:cxn>
                      <a:cxn ang="0">
                        <a:pos x="22" y="0"/>
                      </a:cxn>
                      <a:cxn ang="0">
                        <a:pos x="14" y="0"/>
                      </a:cxn>
                      <a:cxn ang="0">
                        <a:pos x="6" y="2"/>
                      </a:cxn>
                      <a:cxn ang="0">
                        <a:pos x="2" y="8"/>
                      </a:cxn>
                      <a:cxn ang="0">
                        <a:pos x="0" y="20"/>
                      </a:cxn>
                      <a:cxn ang="0">
                        <a:pos x="0" y="20"/>
                      </a:cxn>
                    </a:cxnLst>
                    <a:rect l="0" t="0" r="r" b="b"/>
                    <a:pathLst>
                      <a:path w="48" h="32">
                        <a:moveTo>
                          <a:pt x="0" y="20"/>
                        </a:moveTo>
                        <a:lnTo>
                          <a:pt x="0" y="20"/>
                        </a:lnTo>
                        <a:lnTo>
                          <a:pt x="0" y="22"/>
                        </a:lnTo>
                        <a:lnTo>
                          <a:pt x="2" y="26"/>
                        </a:lnTo>
                        <a:lnTo>
                          <a:pt x="8" y="30"/>
                        </a:lnTo>
                        <a:lnTo>
                          <a:pt x="16" y="32"/>
                        </a:lnTo>
                        <a:lnTo>
                          <a:pt x="26" y="32"/>
                        </a:lnTo>
                        <a:lnTo>
                          <a:pt x="34" y="30"/>
                        </a:lnTo>
                        <a:lnTo>
                          <a:pt x="42" y="28"/>
                        </a:lnTo>
                        <a:lnTo>
                          <a:pt x="46" y="22"/>
                        </a:lnTo>
                        <a:lnTo>
                          <a:pt x="48" y="20"/>
                        </a:lnTo>
                        <a:lnTo>
                          <a:pt x="48" y="18"/>
                        </a:lnTo>
                        <a:lnTo>
                          <a:pt x="48" y="18"/>
                        </a:lnTo>
                        <a:lnTo>
                          <a:pt x="44" y="12"/>
                        </a:lnTo>
                        <a:lnTo>
                          <a:pt x="38" y="6"/>
                        </a:lnTo>
                        <a:lnTo>
                          <a:pt x="30" y="2"/>
                        </a:lnTo>
                        <a:lnTo>
                          <a:pt x="22" y="0"/>
                        </a:lnTo>
                        <a:lnTo>
                          <a:pt x="14" y="0"/>
                        </a:lnTo>
                        <a:lnTo>
                          <a:pt x="6" y="2"/>
                        </a:lnTo>
                        <a:lnTo>
                          <a:pt x="2" y="8"/>
                        </a:lnTo>
                        <a:lnTo>
                          <a:pt x="0" y="20"/>
                        </a:lnTo>
                        <a:lnTo>
                          <a:pt x="0" y="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4" name="Freeform 6101"/>
                  <p:cNvSpPr>
                    <a:spLocks/>
                  </p:cNvSpPr>
                  <p:nvPr/>
                </p:nvSpPr>
                <p:spPr bwMode="auto">
                  <a:xfrm>
                    <a:off x="1728470" y="1065213"/>
                    <a:ext cx="44450" cy="21590"/>
                  </a:xfrm>
                  <a:custGeom>
                    <a:avLst/>
                    <a:gdLst/>
                    <a:ahLst/>
                    <a:cxnLst>
                      <a:cxn ang="0">
                        <a:pos x="62" y="18"/>
                      </a:cxn>
                      <a:cxn ang="0">
                        <a:pos x="62" y="18"/>
                      </a:cxn>
                      <a:cxn ang="0">
                        <a:pos x="52" y="16"/>
                      </a:cxn>
                      <a:cxn ang="0">
                        <a:pos x="44" y="14"/>
                      </a:cxn>
                      <a:cxn ang="0">
                        <a:pos x="34" y="6"/>
                      </a:cxn>
                      <a:cxn ang="0">
                        <a:pos x="30" y="2"/>
                      </a:cxn>
                      <a:cxn ang="0">
                        <a:pos x="24" y="0"/>
                      </a:cxn>
                      <a:cxn ang="0">
                        <a:pos x="18" y="2"/>
                      </a:cxn>
                      <a:cxn ang="0">
                        <a:pos x="8" y="6"/>
                      </a:cxn>
                      <a:cxn ang="0">
                        <a:pos x="8" y="6"/>
                      </a:cxn>
                      <a:cxn ang="0">
                        <a:pos x="2" y="8"/>
                      </a:cxn>
                      <a:cxn ang="0">
                        <a:pos x="0" y="12"/>
                      </a:cxn>
                      <a:cxn ang="0">
                        <a:pos x="2" y="18"/>
                      </a:cxn>
                      <a:cxn ang="0">
                        <a:pos x="8" y="28"/>
                      </a:cxn>
                      <a:cxn ang="0">
                        <a:pos x="8" y="28"/>
                      </a:cxn>
                      <a:cxn ang="0">
                        <a:pos x="12" y="30"/>
                      </a:cxn>
                      <a:cxn ang="0">
                        <a:pos x="16" y="32"/>
                      </a:cxn>
                      <a:cxn ang="0">
                        <a:pos x="26" y="34"/>
                      </a:cxn>
                      <a:cxn ang="0">
                        <a:pos x="40" y="32"/>
                      </a:cxn>
                      <a:cxn ang="0">
                        <a:pos x="52" y="30"/>
                      </a:cxn>
                      <a:cxn ang="0">
                        <a:pos x="62" y="28"/>
                      </a:cxn>
                      <a:cxn ang="0">
                        <a:pos x="68" y="24"/>
                      </a:cxn>
                      <a:cxn ang="0">
                        <a:pos x="70" y="22"/>
                      </a:cxn>
                      <a:cxn ang="0">
                        <a:pos x="70" y="20"/>
                      </a:cxn>
                      <a:cxn ang="0">
                        <a:pos x="62" y="18"/>
                      </a:cxn>
                      <a:cxn ang="0">
                        <a:pos x="62" y="18"/>
                      </a:cxn>
                    </a:cxnLst>
                    <a:rect l="0" t="0" r="r" b="b"/>
                    <a:pathLst>
                      <a:path w="70" h="34">
                        <a:moveTo>
                          <a:pt x="62" y="18"/>
                        </a:moveTo>
                        <a:lnTo>
                          <a:pt x="62" y="18"/>
                        </a:lnTo>
                        <a:lnTo>
                          <a:pt x="52" y="16"/>
                        </a:lnTo>
                        <a:lnTo>
                          <a:pt x="44" y="14"/>
                        </a:lnTo>
                        <a:lnTo>
                          <a:pt x="34" y="6"/>
                        </a:lnTo>
                        <a:lnTo>
                          <a:pt x="30" y="2"/>
                        </a:lnTo>
                        <a:lnTo>
                          <a:pt x="24" y="0"/>
                        </a:lnTo>
                        <a:lnTo>
                          <a:pt x="18" y="2"/>
                        </a:lnTo>
                        <a:lnTo>
                          <a:pt x="8" y="6"/>
                        </a:lnTo>
                        <a:lnTo>
                          <a:pt x="8" y="6"/>
                        </a:lnTo>
                        <a:lnTo>
                          <a:pt x="2" y="8"/>
                        </a:lnTo>
                        <a:lnTo>
                          <a:pt x="0" y="12"/>
                        </a:lnTo>
                        <a:lnTo>
                          <a:pt x="2" y="18"/>
                        </a:lnTo>
                        <a:lnTo>
                          <a:pt x="8" y="28"/>
                        </a:lnTo>
                        <a:lnTo>
                          <a:pt x="8" y="28"/>
                        </a:lnTo>
                        <a:lnTo>
                          <a:pt x="12" y="30"/>
                        </a:lnTo>
                        <a:lnTo>
                          <a:pt x="16" y="32"/>
                        </a:lnTo>
                        <a:lnTo>
                          <a:pt x="26" y="34"/>
                        </a:lnTo>
                        <a:lnTo>
                          <a:pt x="40" y="32"/>
                        </a:lnTo>
                        <a:lnTo>
                          <a:pt x="52" y="30"/>
                        </a:lnTo>
                        <a:lnTo>
                          <a:pt x="62" y="28"/>
                        </a:lnTo>
                        <a:lnTo>
                          <a:pt x="68" y="24"/>
                        </a:lnTo>
                        <a:lnTo>
                          <a:pt x="70" y="22"/>
                        </a:lnTo>
                        <a:lnTo>
                          <a:pt x="70" y="20"/>
                        </a:lnTo>
                        <a:lnTo>
                          <a:pt x="62" y="18"/>
                        </a:lnTo>
                        <a:lnTo>
                          <a:pt x="62" y="1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5" name="Freeform 6102"/>
                  <p:cNvSpPr>
                    <a:spLocks/>
                  </p:cNvSpPr>
                  <p:nvPr/>
                </p:nvSpPr>
                <p:spPr bwMode="auto">
                  <a:xfrm>
                    <a:off x="1922780" y="1048703"/>
                    <a:ext cx="449580" cy="129540"/>
                  </a:xfrm>
                  <a:custGeom>
                    <a:avLst/>
                    <a:gdLst/>
                    <a:ahLst/>
                    <a:cxnLst>
                      <a:cxn ang="0">
                        <a:pos x="342" y="198"/>
                      </a:cxn>
                      <a:cxn ang="0">
                        <a:pos x="406" y="202"/>
                      </a:cxn>
                      <a:cxn ang="0">
                        <a:pos x="530" y="198"/>
                      </a:cxn>
                      <a:cxn ang="0">
                        <a:pos x="560" y="176"/>
                      </a:cxn>
                      <a:cxn ang="0">
                        <a:pos x="566" y="188"/>
                      </a:cxn>
                      <a:cxn ang="0">
                        <a:pos x="624" y="200"/>
                      </a:cxn>
                      <a:cxn ang="0">
                        <a:pos x="680" y="190"/>
                      </a:cxn>
                      <a:cxn ang="0">
                        <a:pos x="688" y="174"/>
                      </a:cxn>
                      <a:cxn ang="0">
                        <a:pos x="708" y="168"/>
                      </a:cxn>
                      <a:cxn ang="0">
                        <a:pos x="694" y="158"/>
                      </a:cxn>
                      <a:cxn ang="0">
                        <a:pos x="700" y="144"/>
                      </a:cxn>
                      <a:cxn ang="0">
                        <a:pos x="700" y="126"/>
                      </a:cxn>
                      <a:cxn ang="0">
                        <a:pos x="672" y="110"/>
                      </a:cxn>
                      <a:cxn ang="0">
                        <a:pos x="642" y="104"/>
                      </a:cxn>
                      <a:cxn ang="0">
                        <a:pos x="600" y="96"/>
                      </a:cxn>
                      <a:cxn ang="0">
                        <a:pos x="480" y="110"/>
                      </a:cxn>
                      <a:cxn ang="0">
                        <a:pos x="442" y="126"/>
                      </a:cxn>
                      <a:cxn ang="0">
                        <a:pos x="416" y="122"/>
                      </a:cxn>
                      <a:cxn ang="0">
                        <a:pos x="374" y="120"/>
                      </a:cxn>
                      <a:cxn ang="0">
                        <a:pos x="346" y="114"/>
                      </a:cxn>
                      <a:cxn ang="0">
                        <a:pos x="330" y="110"/>
                      </a:cxn>
                      <a:cxn ang="0">
                        <a:pos x="324" y="124"/>
                      </a:cxn>
                      <a:cxn ang="0">
                        <a:pos x="310" y="116"/>
                      </a:cxn>
                      <a:cxn ang="0">
                        <a:pos x="310" y="102"/>
                      </a:cxn>
                      <a:cxn ang="0">
                        <a:pos x="294" y="84"/>
                      </a:cxn>
                      <a:cxn ang="0">
                        <a:pos x="268" y="84"/>
                      </a:cxn>
                      <a:cxn ang="0">
                        <a:pos x="262" y="76"/>
                      </a:cxn>
                      <a:cxn ang="0">
                        <a:pos x="308" y="74"/>
                      </a:cxn>
                      <a:cxn ang="0">
                        <a:pos x="316" y="66"/>
                      </a:cxn>
                      <a:cxn ang="0">
                        <a:pos x="278" y="52"/>
                      </a:cxn>
                      <a:cxn ang="0">
                        <a:pos x="240" y="34"/>
                      </a:cxn>
                      <a:cxn ang="0">
                        <a:pos x="182" y="36"/>
                      </a:cxn>
                      <a:cxn ang="0">
                        <a:pos x="154" y="30"/>
                      </a:cxn>
                      <a:cxn ang="0">
                        <a:pos x="124" y="10"/>
                      </a:cxn>
                      <a:cxn ang="0">
                        <a:pos x="78" y="6"/>
                      </a:cxn>
                      <a:cxn ang="0">
                        <a:pos x="10" y="0"/>
                      </a:cxn>
                      <a:cxn ang="0">
                        <a:pos x="2" y="12"/>
                      </a:cxn>
                      <a:cxn ang="0">
                        <a:pos x="18" y="32"/>
                      </a:cxn>
                      <a:cxn ang="0">
                        <a:pos x="58" y="52"/>
                      </a:cxn>
                      <a:cxn ang="0">
                        <a:pos x="66" y="66"/>
                      </a:cxn>
                      <a:cxn ang="0">
                        <a:pos x="112" y="66"/>
                      </a:cxn>
                      <a:cxn ang="0">
                        <a:pos x="160" y="60"/>
                      </a:cxn>
                      <a:cxn ang="0">
                        <a:pos x="186" y="84"/>
                      </a:cxn>
                      <a:cxn ang="0">
                        <a:pos x="202" y="98"/>
                      </a:cxn>
                      <a:cxn ang="0">
                        <a:pos x="194" y="120"/>
                      </a:cxn>
                      <a:cxn ang="0">
                        <a:pos x="186" y="142"/>
                      </a:cxn>
                      <a:cxn ang="0">
                        <a:pos x="198" y="154"/>
                      </a:cxn>
                      <a:cxn ang="0">
                        <a:pos x="206" y="182"/>
                      </a:cxn>
                      <a:cxn ang="0">
                        <a:pos x="232" y="190"/>
                      </a:cxn>
                      <a:cxn ang="0">
                        <a:pos x="250" y="186"/>
                      </a:cxn>
                      <a:cxn ang="0">
                        <a:pos x="282" y="198"/>
                      </a:cxn>
                      <a:cxn ang="0">
                        <a:pos x="326" y="188"/>
                      </a:cxn>
                      <a:cxn ang="0">
                        <a:pos x="342" y="188"/>
                      </a:cxn>
                    </a:cxnLst>
                    <a:rect l="0" t="0" r="r" b="b"/>
                    <a:pathLst>
                      <a:path w="708" h="204">
                        <a:moveTo>
                          <a:pt x="342" y="188"/>
                        </a:moveTo>
                        <a:lnTo>
                          <a:pt x="342" y="188"/>
                        </a:lnTo>
                        <a:lnTo>
                          <a:pt x="342" y="196"/>
                        </a:lnTo>
                        <a:lnTo>
                          <a:pt x="342" y="198"/>
                        </a:lnTo>
                        <a:lnTo>
                          <a:pt x="344" y="200"/>
                        </a:lnTo>
                        <a:lnTo>
                          <a:pt x="352" y="202"/>
                        </a:lnTo>
                        <a:lnTo>
                          <a:pt x="364" y="204"/>
                        </a:lnTo>
                        <a:lnTo>
                          <a:pt x="406" y="202"/>
                        </a:lnTo>
                        <a:lnTo>
                          <a:pt x="472" y="202"/>
                        </a:lnTo>
                        <a:lnTo>
                          <a:pt x="472" y="202"/>
                        </a:lnTo>
                        <a:lnTo>
                          <a:pt x="506" y="202"/>
                        </a:lnTo>
                        <a:lnTo>
                          <a:pt x="530" y="198"/>
                        </a:lnTo>
                        <a:lnTo>
                          <a:pt x="546" y="192"/>
                        </a:lnTo>
                        <a:lnTo>
                          <a:pt x="554" y="186"/>
                        </a:lnTo>
                        <a:lnTo>
                          <a:pt x="558" y="180"/>
                        </a:lnTo>
                        <a:lnTo>
                          <a:pt x="560" y="176"/>
                        </a:lnTo>
                        <a:lnTo>
                          <a:pt x="562" y="178"/>
                        </a:lnTo>
                        <a:lnTo>
                          <a:pt x="562" y="184"/>
                        </a:lnTo>
                        <a:lnTo>
                          <a:pt x="562" y="184"/>
                        </a:lnTo>
                        <a:lnTo>
                          <a:pt x="566" y="188"/>
                        </a:lnTo>
                        <a:lnTo>
                          <a:pt x="570" y="190"/>
                        </a:lnTo>
                        <a:lnTo>
                          <a:pt x="584" y="196"/>
                        </a:lnTo>
                        <a:lnTo>
                          <a:pt x="604" y="200"/>
                        </a:lnTo>
                        <a:lnTo>
                          <a:pt x="624" y="200"/>
                        </a:lnTo>
                        <a:lnTo>
                          <a:pt x="646" y="200"/>
                        </a:lnTo>
                        <a:lnTo>
                          <a:pt x="664" y="198"/>
                        </a:lnTo>
                        <a:lnTo>
                          <a:pt x="676" y="192"/>
                        </a:lnTo>
                        <a:lnTo>
                          <a:pt x="680" y="190"/>
                        </a:lnTo>
                        <a:lnTo>
                          <a:pt x="682" y="186"/>
                        </a:lnTo>
                        <a:lnTo>
                          <a:pt x="682" y="186"/>
                        </a:lnTo>
                        <a:lnTo>
                          <a:pt x="684" y="178"/>
                        </a:lnTo>
                        <a:lnTo>
                          <a:pt x="688" y="174"/>
                        </a:lnTo>
                        <a:lnTo>
                          <a:pt x="694" y="172"/>
                        </a:lnTo>
                        <a:lnTo>
                          <a:pt x="700" y="170"/>
                        </a:lnTo>
                        <a:lnTo>
                          <a:pt x="706" y="168"/>
                        </a:lnTo>
                        <a:lnTo>
                          <a:pt x="708" y="168"/>
                        </a:lnTo>
                        <a:lnTo>
                          <a:pt x="708" y="166"/>
                        </a:lnTo>
                        <a:lnTo>
                          <a:pt x="700" y="162"/>
                        </a:lnTo>
                        <a:lnTo>
                          <a:pt x="700" y="162"/>
                        </a:lnTo>
                        <a:lnTo>
                          <a:pt x="694" y="158"/>
                        </a:lnTo>
                        <a:lnTo>
                          <a:pt x="690" y="154"/>
                        </a:lnTo>
                        <a:lnTo>
                          <a:pt x="692" y="152"/>
                        </a:lnTo>
                        <a:lnTo>
                          <a:pt x="696" y="148"/>
                        </a:lnTo>
                        <a:lnTo>
                          <a:pt x="700" y="144"/>
                        </a:lnTo>
                        <a:lnTo>
                          <a:pt x="702" y="140"/>
                        </a:lnTo>
                        <a:lnTo>
                          <a:pt x="704" y="134"/>
                        </a:lnTo>
                        <a:lnTo>
                          <a:pt x="700" y="126"/>
                        </a:lnTo>
                        <a:lnTo>
                          <a:pt x="700" y="126"/>
                        </a:lnTo>
                        <a:lnTo>
                          <a:pt x="694" y="118"/>
                        </a:lnTo>
                        <a:lnTo>
                          <a:pt x="688" y="114"/>
                        </a:lnTo>
                        <a:lnTo>
                          <a:pt x="680" y="112"/>
                        </a:lnTo>
                        <a:lnTo>
                          <a:pt x="672" y="110"/>
                        </a:lnTo>
                        <a:lnTo>
                          <a:pt x="654" y="110"/>
                        </a:lnTo>
                        <a:lnTo>
                          <a:pt x="648" y="108"/>
                        </a:lnTo>
                        <a:lnTo>
                          <a:pt x="642" y="104"/>
                        </a:lnTo>
                        <a:lnTo>
                          <a:pt x="642" y="104"/>
                        </a:lnTo>
                        <a:lnTo>
                          <a:pt x="636" y="98"/>
                        </a:lnTo>
                        <a:lnTo>
                          <a:pt x="626" y="96"/>
                        </a:lnTo>
                        <a:lnTo>
                          <a:pt x="614" y="94"/>
                        </a:lnTo>
                        <a:lnTo>
                          <a:pt x="600" y="96"/>
                        </a:lnTo>
                        <a:lnTo>
                          <a:pt x="560" y="98"/>
                        </a:lnTo>
                        <a:lnTo>
                          <a:pt x="506" y="106"/>
                        </a:lnTo>
                        <a:lnTo>
                          <a:pt x="506" y="106"/>
                        </a:lnTo>
                        <a:lnTo>
                          <a:pt x="480" y="110"/>
                        </a:lnTo>
                        <a:lnTo>
                          <a:pt x="464" y="114"/>
                        </a:lnTo>
                        <a:lnTo>
                          <a:pt x="454" y="120"/>
                        </a:lnTo>
                        <a:lnTo>
                          <a:pt x="446" y="124"/>
                        </a:lnTo>
                        <a:lnTo>
                          <a:pt x="442" y="126"/>
                        </a:lnTo>
                        <a:lnTo>
                          <a:pt x="438" y="128"/>
                        </a:lnTo>
                        <a:lnTo>
                          <a:pt x="430" y="126"/>
                        </a:lnTo>
                        <a:lnTo>
                          <a:pt x="416" y="122"/>
                        </a:lnTo>
                        <a:lnTo>
                          <a:pt x="416" y="122"/>
                        </a:lnTo>
                        <a:lnTo>
                          <a:pt x="402" y="118"/>
                        </a:lnTo>
                        <a:lnTo>
                          <a:pt x="390" y="118"/>
                        </a:lnTo>
                        <a:lnTo>
                          <a:pt x="382" y="118"/>
                        </a:lnTo>
                        <a:lnTo>
                          <a:pt x="374" y="120"/>
                        </a:lnTo>
                        <a:lnTo>
                          <a:pt x="368" y="122"/>
                        </a:lnTo>
                        <a:lnTo>
                          <a:pt x="362" y="122"/>
                        </a:lnTo>
                        <a:lnTo>
                          <a:pt x="354" y="120"/>
                        </a:lnTo>
                        <a:lnTo>
                          <a:pt x="346" y="114"/>
                        </a:lnTo>
                        <a:lnTo>
                          <a:pt x="346" y="114"/>
                        </a:lnTo>
                        <a:lnTo>
                          <a:pt x="338" y="110"/>
                        </a:lnTo>
                        <a:lnTo>
                          <a:pt x="332" y="108"/>
                        </a:lnTo>
                        <a:lnTo>
                          <a:pt x="330" y="110"/>
                        </a:lnTo>
                        <a:lnTo>
                          <a:pt x="328" y="114"/>
                        </a:lnTo>
                        <a:lnTo>
                          <a:pt x="328" y="118"/>
                        </a:lnTo>
                        <a:lnTo>
                          <a:pt x="326" y="122"/>
                        </a:lnTo>
                        <a:lnTo>
                          <a:pt x="324" y="124"/>
                        </a:lnTo>
                        <a:lnTo>
                          <a:pt x="318" y="122"/>
                        </a:lnTo>
                        <a:lnTo>
                          <a:pt x="318" y="122"/>
                        </a:lnTo>
                        <a:lnTo>
                          <a:pt x="312" y="118"/>
                        </a:lnTo>
                        <a:lnTo>
                          <a:pt x="310" y="116"/>
                        </a:lnTo>
                        <a:lnTo>
                          <a:pt x="310" y="112"/>
                        </a:lnTo>
                        <a:lnTo>
                          <a:pt x="310" y="110"/>
                        </a:lnTo>
                        <a:lnTo>
                          <a:pt x="312" y="106"/>
                        </a:lnTo>
                        <a:lnTo>
                          <a:pt x="310" y="102"/>
                        </a:lnTo>
                        <a:lnTo>
                          <a:pt x="308" y="96"/>
                        </a:lnTo>
                        <a:lnTo>
                          <a:pt x="300" y="90"/>
                        </a:lnTo>
                        <a:lnTo>
                          <a:pt x="300" y="90"/>
                        </a:lnTo>
                        <a:lnTo>
                          <a:pt x="294" y="84"/>
                        </a:lnTo>
                        <a:lnTo>
                          <a:pt x="286" y="82"/>
                        </a:lnTo>
                        <a:lnTo>
                          <a:pt x="280" y="82"/>
                        </a:lnTo>
                        <a:lnTo>
                          <a:pt x="276" y="82"/>
                        </a:lnTo>
                        <a:lnTo>
                          <a:pt x="268" y="84"/>
                        </a:lnTo>
                        <a:lnTo>
                          <a:pt x="266" y="82"/>
                        </a:lnTo>
                        <a:lnTo>
                          <a:pt x="264" y="78"/>
                        </a:lnTo>
                        <a:lnTo>
                          <a:pt x="264" y="78"/>
                        </a:lnTo>
                        <a:lnTo>
                          <a:pt x="262" y="76"/>
                        </a:lnTo>
                        <a:lnTo>
                          <a:pt x="264" y="74"/>
                        </a:lnTo>
                        <a:lnTo>
                          <a:pt x="270" y="72"/>
                        </a:lnTo>
                        <a:lnTo>
                          <a:pt x="290" y="72"/>
                        </a:lnTo>
                        <a:lnTo>
                          <a:pt x="308" y="74"/>
                        </a:lnTo>
                        <a:lnTo>
                          <a:pt x="314" y="72"/>
                        </a:lnTo>
                        <a:lnTo>
                          <a:pt x="316" y="70"/>
                        </a:lnTo>
                        <a:lnTo>
                          <a:pt x="316" y="66"/>
                        </a:lnTo>
                        <a:lnTo>
                          <a:pt x="316" y="66"/>
                        </a:lnTo>
                        <a:lnTo>
                          <a:pt x="314" y="62"/>
                        </a:lnTo>
                        <a:lnTo>
                          <a:pt x="308" y="58"/>
                        </a:lnTo>
                        <a:lnTo>
                          <a:pt x="296" y="56"/>
                        </a:lnTo>
                        <a:lnTo>
                          <a:pt x="278" y="52"/>
                        </a:lnTo>
                        <a:lnTo>
                          <a:pt x="268" y="48"/>
                        </a:lnTo>
                        <a:lnTo>
                          <a:pt x="258" y="44"/>
                        </a:lnTo>
                        <a:lnTo>
                          <a:pt x="258" y="44"/>
                        </a:lnTo>
                        <a:lnTo>
                          <a:pt x="240" y="34"/>
                        </a:lnTo>
                        <a:lnTo>
                          <a:pt x="232" y="32"/>
                        </a:lnTo>
                        <a:lnTo>
                          <a:pt x="224" y="30"/>
                        </a:lnTo>
                        <a:lnTo>
                          <a:pt x="204" y="32"/>
                        </a:lnTo>
                        <a:lnTo>
                          <a:pt x="182" y="36"/>
                        </a:lnTo>
                        <a:lnTo>
                          <a:pt x="182" y="36"/>
                        </a:lnTo>
                        <a:lnTo>
                          <a:pt x="170" y="36"/>
                        </a:lnTo>
                        <a:lnTo>
                          <a:pt x="162" y="34"/>
                        </a:lnTo>
                        <a:lnTo>
                          <a:pt x="154" y="30"/>
                        </a:lnTo>
                        <a:lnTo>
                          <a:pt x="148" y="24"/>
                        </a:lnTo>
                        <a:lnTo>
                          <a:pt x="136" y="14"/>
                        </a:lnTo>
                        <a:lnTo>
                          <a:pt x="130" y="10"/>
                        </a:lnTo>
                        <a:lnTo>
                          <a:pt x="124" y="10"/>
                        </a:lnTo>
                        <a:lnTo>
                          <a:pt x="124" y="10"/>
                        </a:lnTo>
                        <a:lnTo>
                          <a:pt x="114" y="10"/>
                        </a:lnTo>
                        <a:lnTo>
                          <a:pt x="104" y="10"/>
                        </a:lnTo>
                        <a:lnTo>
                          <a:pt x="78" y="6"/>
                        </a:lnTo>
                        <a:lnTo>
                          <a:pt x="48" y="2"/>
                        </a:lnTo>
                        <a:lnTo>
                          <a:pt x="14" y="0"/>
                        </a:lnTo>
                        <a:lnTo>
                          <a:pt x="14" y="0"/>
                        </a:lnTo>
                        <a:lnTo>
                          <a:pt x="10" y="0"/>
                        </a:lnTo>
                        <a:lnTo>
                          <a:pt x="4" y="2"/>
                        </a:lnTo>
                        <a:lnTo>
                          <a:pt x="2" y="4"/>
                        </a:lnTo>
                        <a:lnTo>
                          <a:pt x="0" y="8"/>
                        </a:lnTo>
                        <a:lnTo>
                          <a:pt x="2" y="12"/>
                        </a:lnTo>
                        <a:lnTo>
                          <a:pt x="4" y="18"/>
                        </a:lnTo>
                        <a:lnTo>
                          <a:pt x="10" y="24"/>
                        </a:lnTo>
                        <a:lnTo>
                          <a:pt x="18" y="32"/>
                        </a:lnTo>
                        <a:lnTo>
                          <a:pt x="18" y="32"/>
                        </a:lnTo>
                        <a:lnTo>
                          <a:pt x="26" y="38"/>
                        </a:lnTo>
                        <a:lnTo>
                          <a:pt x="36" y="42"/>
                        </a:lnTo>
                        <a:lnTo>
                          <a:pt x="50" y="48"/>
                        </a:lnTo>
                        <a:lnTo>
                          <a:pt x="58" y="52"/>
                        </a:lnTo>
                        <a:lnTo>
                          <a:pt x="62" y="56"/>
                        </a:lnTo>
                        <a:lnTo>
                          <a:pt x="62" y="60"/>
                        </a:lnTo>
                        <a:lnTo>
                          <a:pt x="62" y="60"/>
                        </a:lnTo>
                        <a:lnTo>
                          <a:pt x="66" y="66"/>
                        </a:lnTo>
                        <a:lnTo>
                          <a:pt x="70" y="68"/>
                        </a:lnTo>
                        <a:lnTo>
                          <a:pt x="78" y="70"/>
                        </a:lnTo>
                        <a:lnTo>
                          <a:pt x="88" y="70"/>
                        </a:lnTo>
                        <a:lnTo>
                          <a:pt x="112" y="66"/>
                        </a:lnTo>
                        <a:lnTo>
                          <a:pt x="138" y="60"/>
                        </a:lnTo>
                        <a:lnTo>
                          <a:pt x="138" y="60"/>
                        </a:lnTo>
                        <a:lnTo>
                          <a:pt x="150" y="60"/>
                        </a:lnTo>
                        <a:lnTo>
                          <a:pt x="160" y="60"/>
                        </a:lnTo>
                        <a:lnTo>
                          <a:pt x="166" y="62"/>
                        </a:lnTo>
                        <a:lnTo>
                          <a:pt x="170" y="66"/>
                        </a:lnTo>
                        <a:lnTo>
                          <a:pt x="180" y="78"/>
                        </a:lnTo>
                        <a:lnTo>
                          <a:pt x="186" y="84"/>
                        </a:lnTo>
                        <a:lnTo>
                          <a:pt x="194" y="90"/>
                        </a:lnTo>
                        <a:lnTo>
                          <a:pt x="194" y="90"/>
                        </a:lnTo>
                        <a:lnTo>
                          <a:pt x="198" y="94"/>
                        </a:lnTo>
                        <a:lnTo>
                          <a:pt x="202" y="98"/>
                        </a:lnTo>
                        <a:lnTo>
                          <a:pt x="202" y="102"/>
                        </a:lnTo>
                        <a:lnTo>
                          <a:pt x="202" y="106"/>
                        </a:lnTo>
                        <a:lnTo>
                          <a:pt x="200" y="114"/>
                        </a:lnTo>
                        <a:lnTo>
                          <a:pt x="194" y="120"/>
                        </a:lnTo>
                        <a:lnTo>
                          <a:pt x="190" y="128"/>
                        </a:lnTo>
                        <a:lnTo>
                          <a:pt x="186" y="134"/>
                        </a:lnTo>
                        <a:lnTo>
                          <a:pt x="184" y="140"/>
                        </a:lnTo>
                        <a:lnTo>
                          <a:pt x="186" y="142"/>
                        </a:lnTo>
                        <a:lnTo>
                          <a:pt x="190" y="144"/>
                        </a:lnTo>
                        <a:lnTo>
                          <a:pt x="190" y="144"/>
                        </a:lnTo>
                        <a:lnTo>
                          <a:pt x="196" y="150"/>
                        </a:lnTo>
                        <a:lnTo>
                          <a:pt x="198" y="154"/>
                        </a:lnTo>
                        <a:lnTo>
                          <a:pt x="200" y="164"/>
                        </a:lnTo>
                        <a:lnTo>
                          <a:pt x="200" y="170"/>
                        </a:lnTo>
                        <a:lnTo>
                          <a:pt x="202" y="176"/>
                        </a:lnTo>
                        <a:lnTo>
                          <a:pt x="206" y="182"/>
                        </a:lnTo>
                        <a:lnTo>
                          <a:pt x="216" y="186"/>
                        </a:lnTo>
                        <a:lnTo>
                          <a:pt x="216" y="186"/>
                        </a:lnTo>
                        <a:lnTo>
                          <a:pt x="224" y="190"/>
                        </a:lnTo>
                        <a:lnTo>
                          <a:pt x="232" y="190"/>
                        </a:lnTo>
                        <a:lnTo>
                          <a:pt x="236" y="190"/>
                        </a:lnTo>
                        <a:lnTo>
                          <a:pt x="240" y="188"/>
                        </a:lnTo>
                        <a:lnTo>
                          <a:pt x="244" y="186"/>
                        </a:lnTo>
                        <a:lnTo>
                          <a:pt x="250" y="186"/>
                        </a:lnTo>
                        <a:lnTo>
                          <a:pt x="260" y="188"/>
                        </a:lnTo>
                        <a:lnTo>
                          <a:pt x="274" y="194"/>
                        </a:lnTo>
                        <a:lnTo>
                          <a:pt x="274" y="194"/>
                        </a:lnTo>
                        <a:lnTo>
                          <a:pt x="282" y="198"/>
                        </a:lnTo>
                        <a:lnTo>
                          <a:pt x="290" y="198"/>
                        </a:lnTo>
                        <a:lnTo>
                          <a:pt x="304" y="198"/>
                        </a:lnTo>
                        <a:lnTo>
                          <a:pt x="316" y="194"/>
                        </a:lnTo>
                        <a:lnTo>
                          <a:pt x="326" y="188"/>
                        </a:lnTo>
                        <a:lnTo>
                          <a:pt x="340" y="180"/>
                        </a:lnTo>
                        <a:lnTo>
                          <a:pt x="342" y="180"/>
                        </a:lnTo>
                        <a:lnTo>
                          <a:pt x="342" y="180"/>
                        </a:lnTo>
                        <a:lnTo>
                          <a:pt x="342" y="188"/>
                        </a:lnTo>
                        <a:lnTo>
                          <a:pt x="342" y="18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6" name="Freeform 6103"/>
                  <p:cNvSpPr>
                    <a:spLocks/>
                  </p:cNvSpPr>
                  <p:nvPr/>
                </p:nvSpPr>
                <p:spPr bwMode="auto">
                  <a:xfrm>
                    <a:off x="1936750" y="1119823"/>
                    <a:ext cx="81280" cy="49530"/>
                  </a:xfrm>
                  <a:custGeom>
                    <a:avLst/>
                    <a:gdLst/>
                    <a:ahLst/>
                    <a:cxnLst>
                      <a:cxn ang="0">
                        <a:pos x="94" y="78"/>
                      </a:cxn>
                      <a:cxn ang="0">
                        <a:pos x="94" y="78"/>
                      </a:cxn>
                      <a:cxn ang="0">
                        <a:pos x="110" y="76"/>
                      </a:cxn>
                      <a:cxn ang="0">
                        <a:pos x="120" y="72"/>
                      </a:cxn>
                      <a:cxn ang="0">
                        <a:pos x="126" y="66"/>
                      </a:cxn>
                      <a:cxn ang="0">
                        <a:pos x="128" y="58"/>
                      </a:cxn>
                      <a:cxn ang="0">
                        <a:pos x="126" y="48"/>
                      </a:cxn>
                      <a:cxn ang="0">
                        <a:pos x="120" y="38"/>
                      </a:cxn>
                      <a:cxn ang="0">
                        <a:pos x="114" y="28"/>
                      </a:cxn>
                      <a:cxn ang="0">
                        <a:pos x="104" y="16"/>
                      </a:cxn>
                      <a:cxn ang="0">
                        <a:pos x="104" y="16"/>
                      </a:cxn>
                      <a:cxn ang="0">
                        <a:pos x="92" y="8"/>
                      </a:cxn>
                      <a:cxn ang="0">
                        <a:pos x="80" y="2"/>
                      </a:cxn>
                      <a:cxn ang="0">
                        <a:pos x="68" y="0"/>
                      </a:cxn>
                      <a:cxn ang="0">
                        <a:pos x="58" y="0"/>
                      </a:cxn>
                      <a:cxn ang="0">
                        <a:pos x="46" y="2"/>
                      </a:cxn>
                      <a:cxn ang="0">
                        <a:pos x="34" y="8"/>
                      </a:cxn>
                      <a:cxn ang="0">
                        <a:pos x="24" y="14"/>
                      </a:cxn>
                      <a:cxn ang="0">
                        <a:pos x="16" y="24"/>
                      </a:cxn>
                      <a:cxn ang="0">
                        <a:pos x="16" y="24"/>
                      </a:cxn>
                      <a:cxn ang="0">
                        <a:pos x="6" y="36"/>
                      </a:cxn>
                      <a:cxn ang="0">
                        <a:pos x="2" y="42"/>
                      </a:cxn>
                      <a:cxn ang="0">
                        <a:pos x="0" y="48"/>
                      </a:cxn>
                      <a:cxn ang="0">
                        <a:pos x="0" y="52"/>
                      </a:cxn>
                      <a:cxn ang="0">
                        <a:pos x="4" y="56"/>
                      </a:cxn>
                      <a:cxn ang="0">
                        <a:pos x="10" y="58"/>
                      </a:cxn>
                      <a:cxn ang="0">
                        <a:pos x="22" y="60"/>
                      </a:cxn>
                      <a:cxn ang="0">
                        <a:pos x="22" y="60"/>
                      </a:cxn>
                      <a:cxn ang="0">
                        <a:pos x="32" y="62"/>
                      </a:cxn>
                      <a:cxn ang="0">
                        <a:pos x="40" y="64"/>
                      </a:cxn>
                      <a:cxn ang="0">
                        <a:pos x="54" y="70"/>
                      </a:cxn>
                      <a:cxn ang="0">
                        <a:pos x="68" y="76"/>
                      </a:cxn>
                      <a:cxn ang="0">
                        <a:pos x="80" y="76"/>
                      </a:cxn>
                      <a:cxn ang="0">
                        <a:pos x="94" y="78"/>
                      </a:cxn>
                      <a:cxn ang="0">
                        <a:pos x="94" y="78"/>
                      </a:cxn>
                    </a:cxnLst>
                    <a:rect l="0" t="0" r="r" b="b"/>
                    <a:pathLst>
                      <a:path w="128" h="78">
                        <a:moveTo>
                          <a:pt x="94" y="78"/>
                        </a:moveTo>
                        <a:lnTo>
                          <a:pt x="94" y="78"/>
                        </a:lnTo>
                        <a:lnTo>
                          <a:pt x="110" y="76"/>
                        </a:lnTo>
                        <a:lnTo>
                          <a:pt x="120" y="72"/>
                        </a:lnTo>
                        <a:lnTo>
                          <a:pt x="126" y="66"/>
                        </a:lnTo>
                        <a:lnTo>
                          <a:pt x="128" y="58"/>
                        </a:lnTo>
                        <a:lnTo>
                          <a:pt x="126" y="48"/>
                        </a:lnTo>
                        <a:lnTo>
                          <a:pt x="120" y="38"/>
                        </a:lnTo>
                        <a:lnTo>
                          <a:pt x="114" y="28"/>
                        </a:lnTo>
                        <a:lnTo>
                          <a:pt x="104" y="16"/>
                        </a:lnTo>
                        <a:lnTo>
                          <a:pt x="104" y="16"/>
                        </a:lnTo>
                        <a:lnTo>
                          <a:pt x="92" y="8"/>
                        </a:lnTo>
                        <a:lnTo>
                          <a:pt x="80" y="2"/>
                        </a:lnTo>
                        <a:lnTo>
                          <a:pt x="68" y="0"/>
                        </a:lnTo>
                        <a:lnTo>
                          <a:pt x="58" y="0"/>
                        </a:lnTo>
                        <a:lnTo>
                          <a:pt x="46" y="2"/>
                        </a:lnTo>
                        <a:lnTo>
                          <a:pt x="34" y="8"/>
                        </a:lnTo>
                        <a:lnTo>
                          <a:pt x="24" y="14"/>
                        </a:lnTo>
                        <a:lnTo>
                          <a:pt x="16" y="24"/>
                        </a:lnTo>
                        <a:lnTo>
                          <a:pt x="16" y="24"/>
                        </a:lnTo>
                        <a:lnTo>
                          <a:pt x="6" y="36"/>
                        </a:lnTo>
                        <a:lnTo>
                          <a:pt x="2" y="42"/>
                        </a:lnTo>
                        <a:lnTo>
                          <a:pt x="0" y="48"/>
                        </a:lnTo>
                        <a:lnTo>
                          <a:pt x="0" y="52"/>
                        </a:lnTo>
                        <a:lnTo>
                          <a:pt x="4" y="56"/>
                        </a:lnTo>
                        <a:lnTo>
                          <a:pt x="10" y="58"/>
                        </a:lnTo>
                        <a:lnTo>
                          <a:pt x="22" y="60"/>
                        </a:lnTo>
                        <a:lnTo>
                          <a:pt x="22" y="60"/>
                        </a:lnTo>
                        <a:lnTo>
                          <a:pt x="32" y="62"/>
                        </a:lnTo>
                        <a:lnTo>
                          <a:pt x="40" y="64"/>
                        </a:lnTo>
                        <a:lnTo>
                          <a:pt x="54" y="70"/>
                        </a:lnTo>
                        <a:lnTo>
                          <a:pt x="68" y="76"/>
                        </a:lnTo>
                        <a:lnTo>
                          <a:pt x="80" y="76"/>
                        </a:lnTo>
                        <a:lnTo>
                          <a:pt x="94" y="78"/>
                        </a:lnTo>
                        <a:lnTo>
                          <a:pt x="94" y="7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7" name="Freeform 6104"/>
                  <p:cNvSpPr>
                    <a:spLocks/>
                  </p:cNvSpPr>
                  <p:nvPr/>
                </p:nvSpPr>
                <p:spPr bwMode="auto">
                  <a:xfrm>
                    <a:off x="1940560" y="1010603"/>
                    <a:ext cx="80010" cy="19050"/>
                  </a:xfrm>
                  <a:custGeom>
                    <a:avLst/>
                    <a:gdLst/>
                    <a:ahLst/>
                    <a:cxnLst>
                      <a:cxn ang="0">
                        <a:pos x="92" y="28"/>
                      </a:cxn>
                      <a:cxn ang="0">
                        <a:pos x="92" y="28"/>
                      </a:cxn>
                      <a:cxn ang="0">
                        <a:pos x="108" y="28"/>
                      </a:cxn>
                      <a:cxn ang="0">
                        <a:pos x="120" y="26"/>
                      </a:cxn>
                      <a:cxn ang="0">
                        <a:pos x="124" y="22"/>
                      </a:cxn>
                      <a:cxn ang="0">
                        <a:pos x="126" y="20"/>
                      </a:cxn>
                      <a:cxn ang="0">
                        <a:pos x="126" y="16"/>
                      </a:cxn>
                      <a:cxn ang="0">
                        <a:pos x="122" y="12"/>
                      </a:cxn>
                      <a:cxn ang="0">
                        <a:pos x="112" y="8"/>
                      </a:cxn>
                      <a:cxn ang="0">
                        <a:pos x="100" y="4"/>
                      </a:cxn>
                      <a:cxn ang="0">
                        <a:pos x="82" y="2"/>
                      </a:cxn>
                      <a:cxn ang="0">
                        <a:pos x="82" y="2"/>
                      </a:cxn>
                      <a:cxn ang="0">
                        <a:pos x="48" y="0"/>
                      </a:cxn>
                      <a:cxn ang="0">
                        <a:pos x="22" y="4"/>
                      </a:cxn>
                      <a:cxn ang="0">
                        <a:pos x="14" y="6"/>
                      </a:cxn>
                      <a:cxn ang="0">
                        <a:pos x="6" y="8"/>
                      </a:cxn>
                      <a:cxn ang="0">
                        <a:pos x="2" y="12"/>
                      </a:cxn>
                      <a:cxn ang="0">
                        <a:pos x="0" y="18"/>
                      </a:cxn>
                      <a:cxn ang="0">
                        <a:pos x="0" y="18"/>
                      </a:cxn>
                      <a:cxn ang="0">
                        <a:pos x="2" y="24"/>
                      </a:cxn>
                      <a:cxn ang="0">
                        <a:pos x="6" y="26"/>
                      </a:cxn>
                      <a:cxn ang="0">
                        <a:pos x="16" y="28"/>
                      </a:cxn>
                      <a:cxn ang="0">
                        <a:pos x="26" y="30"/>
                      </a:cxn>
                      <a:cxn ang="0">
                        <a:pos x="56" y="28"/>
                      </a:cxn>
                      <a:cxn ang="0">
                        <a:pos x="92" y="28"/>
                      </a:cxn>
                      <a:cxn ang="0">
                        <a:pos x="92" y="28"/>
                      </a:cxn>
                    </a:cxnLst>
                    <a:rect l="0" t="0" r="r" b="b"/>
                    <a:pathLst>
                      <a:path w="126" h="30">
                        <a:moveTo>
                          <a:pt x="92" y="28"/>
                        </a:moveTo>
                        <a:lnTo>
                          <a:pt x="92" y="28"/>
                        </a:lnTo>
                        <a:lnTo>
                          <a:pt x="108" y="28"/>
                        </a:lnTo>
                        <a:lnTo>
                          <a:pt x="120" y="26"/>
                        </a:lnTo>
                        <a:lnTo>
                          <a:pt x="124" y="22"/>
                        </a:lnTo>
                        <a:lnTo>
                          <a:pt x="126" y="20"/>
                        </a:lnTo>
                        <a:lnTo>
                          <a:pt x="126" y="16"/>
                        </a:lnTo>
                        <a:lnTo>
                          <a:pt x="122" y="12"/>
                        </a:lnTo>
                        <a:lnTo>
                          <a:pt x="112" y="8"/>
                        </a:lnTo>
                        <a:lnTo>
                          <a:pt x="100" y="4"/>
                        </a:lnTo>
                        <a:lnTo>
                          <a:pt x="82" y="2"/>
                        </a:lnTo>
                        <a:lnTo>
                          <a:pt x="82" y="2"/>
                        </a:lnTo>
                        <a:lnTo>
                          <a:pt x="48" y="0"/>
                        </a:lnTo>
                        <a:lnTo>
                          <a:pt x="22" y="4"/>
                        </a:lnTo>
                        <a:lnTo>
                          <a:pt x="14" y="6"/>
                        </a:lnTo>
                        <a:lnTo>
                          <a:pt x="6" y="8"/>
                        </a:lnTo>
                        <a:lnTo>
                          <a:pt x="2" y="12"/>
                        </a:lnTo>
                        <a:lnTo>
                          <a:pt x="0" y="18"/>
                        </a:lnTo>
                        <a:lnTo>
                          <a:pt x="0" y="18"/>
                        </a:lnTo>
                        <a:lnTo>
                          <a:pt x="2" y="24"/>
                        </a:lnTo>
                        <a:lnTo>
                          <a:pt x="6" y="26"/>
                        </a:lnTo>
                        <a:lnTo>
                          <a:pt x="16" y="28"/>
                        </a:lnTo>
                        <a:lnTo>
                          <a:pt x="26" y="30"/>
                        </a:lnTo>
                        <a:lnTo>
                          <a:pt x="56" y="28"/>
                        </a:lnTo>
                        <a:lnTo>
                          <a:pt x="92" y="28"/>
                        </a:lnTo>
                        <a:lnTo>
                          <a:pt x="92" y="2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8" name="Freeform 6105"/>
                  <p:cNvSpPr>
                    <a:spLocks/>
                  </p:cNvSpPr>
                  <p:nvPr/>
                </p:nvSpPr>
                <p:spPr bwMode="auto">
                  <a:xfrm>
                    <a:off x="2194560" y="944563"/>
                    <a:ext cx="34290" cy="12700"/>
                  </a:xfrm>
                  <a:custGeom>
                    <a:avLst/>
                    <a:gdLst/>
                    <a:ahLst/>
                    <a:cxnLst>
                      <a:cxn ang="0">
                        <a:pos x="54" y="4"/>
                      </a:cxn>
                      <a:cxn ang="0">
                        <a:pos x="54" y="4"/>
                      </a:cxn>
                      <a:cxn ang="0">
                        <a:pos x="54" y="2"/>
                      </a:cxn>
                      <a:cxn ang="0">
                        <a:pos x="50" y="0"/>
                      </a:cxn>
                      <a:cxn ang="0">
                        <a:pos x="36" y="0"/>
                      </a:cxn>
                      <a:cxn ang="0">
                        <a:pos x="18" y="6"/>
                      </a:cxn>
                      <a:cxn ang="0">
                        <a:pos x="8" y="10"/>
                      </a:cxn>
                      <a:cxn ang="0">
                        <a:pos x="2" y="14"/>
                      </a:cxn>
                      <a:cxn ang="0">
                        <a:pos x="2" y="14"/>
                      </a:cxn>
                      <a:cxn ang="0">
                        <a:pos x="0" y="18"/>
                      </a:cxn>
                      <a:cxn ang="0">
                        <a:pos x="4" y="20"/>
                      </a:cxn>
                      <a:cxn ang="0">
                        <a:pos x="20" y="18"/>
                      </a:cxn>
                      <a:cxn ang="0">
                        <a:pos x="42" y="12"/>
                      </a:cxn>
                      <a:cxn ang="0">
                        <a:pos x="50" y="8"/>
                      </a:cxn>
                      <a:cxn ang="0">
                        <a:pos x="54" y="4"/>
                      </a:cxn>
                      <a:cxn ang="0">
                        <a:pos x="54" y="4"/>
                      </a:cxn>
                    </a:cxnLst>
                    <a:rect l="0" t="0" r="r" b="b"/>
                    <a:pathLst>
                      <a:path w="54" h="20">
                        <a:moveTo>
                          <a:pt x="54" y="4"/>
                        </a:moveTo>
                        <a:lnTo>
                          <a:pt x="54" y="4"/>
                        </a:lnTo>
                        <a:lnTo>
                          <a:pt x="54" y="2"/>
                        </a:lnTo>
                        <a:lnTo>
                          <a:pt x="50" y="0"/>
                        </a:lnTo>
                        <a:lnTo>
                          <a:pt x="36" y="0"/>
                        </a:lnTo>
                        <a:lnTo>
                          <a:pt x="18" y="6"/>
                        </a:lnTo>
                        <a:lnTo>
                          <a:pt x="8" y="10"/>
                        </a:lnTo>
                        <a:lnTo>
                          <a:pt x="2" y="14"/>
                        </a:lnTo>
                        <a:lnTo>
                          <a:pt x="2" y="14"/>
                        </a:lnTo>
                        <a:lnTo>
                          <a:pt x="0" y="18"/>
                        </a:lnTo>
                        <a:lnTo>
                          <a:pt x="4" y="20"/>
                        </a:lnTo>
                        <a:lnTo>
                          <a:pt x="20" y="18"/>
                        </a:lnTo>
                        <a:lnTo>
                          <a:pt x="42" y="12"/>
                        </a:lnTo>
                        <a:lnTo>
                          <a:pt x="50" y="8"/>
                        </a:lnTo>
                        <a:lnTo>
                          <a:pt x="54" y="4"/>
                        </a:lnTo>
                        <a:lnTo>
                          <a:pt x="54"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9" name="Freeform 6106"/>
                  <p:cNvSpPr>
                    <a:spLocks/>
                  </p:cNvSpPr>
                  <p:nvPr/>
                </p:nvSpPr>
                <p:spPr bwMode="auto">
                  <a:xfrm>
                    <a:off x="2057400" y="727393"/>
                    <a:ext cx="784860" cy="367030"/>
                  </a:xfrm>
                  <a:custGeom>
                    <a:avLst/>
                    <a:gdLst/>
                    <a:ahLst/>
                    <a:cxnLst>
                      <a:cxn ang="0">
                        <a:pos x="68" y="162"/>
                      </a:cxn>
                      <a:cxn ang="0">
                        <a:pos x="122" y="204"/>
                      </a:cxn>
                      <a:cxn ang="0">
                        <a:pos x="246" y="182"/>
                      </a:cxn>
                      <a:cxn ang="0">
                        <a:pos x="202" y="210"/>
                      </a:cxn>
                      <a:cxn ang="0">
                        <a:pos x="334" y="210"/>
                      </a:cxn>
                      <a:cxn ang="0">
                        <a:pos x="494" y="186"/>
                      </a:cxn>
                      <a:cxn ang="0">
                        <a:pos x="540" y="190"/>
                      </a:cxn>
                      <a:cxn ang="0">
                        <a:pos x="450" y="222"/>
                      </a:cxn>
                      <a:cxn ang="0">
                        <a:pos x="402" y="274"/>
                      </a:cxn>
                      <a:cxn ang="0">
                        <a:pos x="402" y="298"/>
                      </a:cxn>
                      <a:cxn ang="0">
                        <a:pos x="246" y="240"/>
                      </a:cxn>
                      <a:cxn ang="0">
                        <a:pos x="226" y="284"/>
                      </a:cxn>
                      <a:cxn ang="0">
                        <a:pos x="296" y="336"/>
                      </a:cxn>
                      <a:cxn ang="0">
                        <a:pos x="336" y="356"/>
                      </a:cxn>
                      <a:cxn ang="0">
                        <a:pos x="298" y="364"/>
                      </a:cxn>
                      <a:cxn ang="0">
                        <a:pos x="168" y="410"/>
                      </a:cxn>
                      <a:cxn ang="0">
                        <a:pos x="226" y="422"/>
                      </a:cxn>
                      <a:cxn ang="0">
                        <a:pos x="256" y="440"/>
                      </a:cxn>
                      <a:cxn ang="0">
                        <a:pos x="330" y="460"/>
                      </a:cxn>
                      <a:cxn ang="0">
                        <a:pos x="342" y="464"/>
                      </a:cxn>
                      <a:cxn ang="0">
                        <a:pos x="238" y="460"/>
                      </a:cxn>
                      <a:cxn ang="0">
                        <a:pos x="140" y="450"/>
                      </a:cxn>
                      <a:cxn ang="0">
                        <a:pos x="160" y="502"/>
                      </a:cxn>
                      <a:cxn ang="0">
                        <a:pos x="92" y="546"/>
                      </a:cxn>
                      <a:cxn ang="0">
                        <a:pos x="146" y="562"/>
                      </a:cxn>
                      <a:cxn ang="0">
                        <a:pos x="244" y="562"/>
                      </a:cxn>
                      <a:cxn ang="0">
                        <a:pos x="322" y="552"/>
                      </a:cxn>
                      <a:cxn ang="0">
                        <a:pos x="438" y="548"/>
                      </a:cxn>
                      <a:cxn ang="0">
                        <a:pos x="462" y="578"/>
                      </a:cxn>
                      <a:cxn ang="0">
                        <a:pos x="560" y="538"/>
                      </a:cxn>
                      <a:cxn ang="0">
                        <a:pos x="518" y="514"/>
                      </a:cxn>
                      <a:cxn ang="0">
                        <a:pos x="550" y="472"/>
                      </a:cxn>
                      <a:cxn ang="0">
                        <a:pos x="550" y="432"/>
                      </a:cxn>
                      <a:cxn ang="0">
                        <a:pos x="668" y="402"/>
                      </a:cxn>
                      <a:cxn ang="0">
                        <a:pos x="684" y="372"/>
                      </a:cxn>
                      <a:cxn ang="0">
                        <a:pos x="686" y="348"/>
                      </a:cxn>
                      <a:cxn ang="0">
                        <a:pos x="658" y="326"/>
                      </a:cxn>
                      <a:cxn ang="0">
                        <a:pos x="588" y="318"/>
                      </a:cxn>
                      <a:cxn ang="0">
                        <a:pos x="752" y="284"/>
                      </a:cxn>
                      <a:cxn ang="0">
                        <a:pos x="832" y="278"/>
                      </a:cxn>
                      <a:cxn ang="0">
                        <a:pos x="1076" y="154"/>
                      </a:cxn>
                      <a:cxn ang="0">
                        <a:pos x="1000" y="142"/>
                      </a:cxn>
                      <a:cxn ang="0">
                        <a:pos x="1232" y="76"/>
                      </a:cxn>
                      <a:cxn ang="0">
                        <a:pos x="1168" y="54"/>
                      </a:cxn>
                      <a:cxn ang="0">
                        <a:pos x="1094" y="20"/>
                      </a:cxn>
                      <a:cxn ang="0">
                        <a:pos x="962" y="40"/>
                      </a:cxn>
                      <a:cxn ang="0">
                        <a:pos x="1006" y="20"/>
                      </a:cxn>
                      <a:cxn ang="0">
                        <a:pos x="858" y="2"/>
                      </a:cxn>
                      <a:cxn ang="0">
                        <a:pos x="690" y="10"/>
                      </a:cxn>
                      <a:cxn ang="0">
                        <a:pos x="500" y="14"/>
                      </a:cxn>
                      <a:cxn ang="0">
                        <a:pos x="412" y="24"/>
                      </a:cxn>
                      <a:cxn ang="0">
                        <a:pos x="392" y="42"/>
                      </a:cxn>
                      <a:cxn ang="0">
                        <a:pos x="340" y="70"/>
                      </a:cxn>
                      <a:cxn ang="0">
                        <a:pos x="264" y="52"/>
                      </a:cxn>
                      <a:cxn ang="0">
                        <a:pos x="224" y="76"/>
                      </a:cxn>
                      <a:cxn ang="0">
                        <a:pos x="248" y="98"/>
                      </a:cxn>
                      <a:cxn ang="0">
                        <a:pos x="130" y="92"/>
                      </a:cxn>
                      <a:cxn ang="0">
                        <a:pos x="50" y="104"/>
                      </a:cxn>
                      <a:cxn ang="0">
                        <a:pos x="12" y="144"/>
                      </a:cxn>
                    </a:cxnLst>
                    <a:rect l="0" t="0" r="r" b="b"/>
                    <a:pathLst>
                      <a:path w="1236" h="578">
                        <a:moveTo>
                          <a:pt x="44" y="148"/>
                        </a:moveTo>
                        <a:lnTo>
                          <a:pt x="44" y="148"/>
                        </a:lnTo>
                        <a:lnTo>
                          <a:pt x="50" y="150"/>
                        </a:lnTo>
                        <a:lnTo>
                          <a:pt x="58" y="152"/>
                        </a:lnTo>
                        <a:lnTo>
                          <a:pt x="74" y="150"/>
                        </a:lnTo>
                        <a:lnTo>
                          <a:pt x="80" y="150"/>
                        </a:lnTo>
                        <a:lnTo>
                          <a:pt x="80" y="152"/>
                        </a:lnTo>
                        <a:lnTo>
                          <a:pt x="74" y="156"/>
                        </a:lnTo>
                        <a:lnTo>
                          <a:pt x="74" y="156"/>
                        </a:lnTo>
                        <a:lnTo>
                          <a:pt x="68" y="162"/>
                        </a:lnTo>
                        <a:lnTo>
                          <a:pt x="62" y="168"/>
                        </a:lnTo>
                        <a:lnTo>
                          <a:pt x="62" y="172"/>
                        </a:lnTo>
                        <a:lnTo>
                          <a:pt x="62" y="178"/>
                        </a:lnTo>
                        <a:lnTo>
                          <a:pt x="66" y="182"/>
                        </a:lnTo>
                        <a:lnTo>
                          <a:pt x="72" y="186"/>
                        </a:lnTo>
                        <a:lnTo>
                          <a:pt x="82" y="190"/>
                        </a:lnTo>
                        <a:lnTo>
                          <a:pt x="94" y="194"/>
                        </a:lnTo>
                        <a:lnTo>
                          <a:pt x="94" y="194"/>
                        </a:lnTo>
                        <a:lnTo>
                          <a:pt x="108" y="200"/>
                        </a:lnTo>
                        <a:lnTo>
                          <a:pt x="122" y="204"/>
                        </a:lnTo>
                        <a:lnTo>
                          <a:pt x="144" y="212"/>
                        </a:lnTo>
                        <a:lnTo>
                          <a:pt x="156" y="216"/>
                        </a:lnTo>
                        <a:lnTo>
                          <a:pt x="166" y="214"/>
                        </a:lnTo>
                        <a:lnTo>
                          <a:pt x="178" y="212"/>
                        </a:lnTo>
                        <a:lnTo>
                          <a:pt x="192" y="204"/>
                        </a:lnTo>
                        <a:lnTo>
                          <a:pt x="192" y="204"/>
                        </a:lnTo>
                        <a:lnTo>
                          <a:pt x="206" y="194"/>
                        </a:lnTo>
                        <a:lnTo>
                          <a:pt x="222" y="188"/>
                        </a:lnTo>
                        <a:lnTo>
                          <a:pt x="234" y="184"/>
                        </a:lnTo>
                        <a:lnTo>
                          <a:pt x="246" y="182"/>
                        </a:lnTo>
                        <a:lnTo>
                          <a:pt x="254" y="182"/>
                        </a:lnTo>
                        <a:lnTo>
                          <a:pt x="258" y="182"/>
                        </a:lnTo>
                        <a:lnTo>
                          <a:pt x="256" y="184"/>
                        </a:lnTo>
                        <a:lnTo>
                          <a:pt x="250" y="186"/>
                        </a:lnTo>
                        <a:lnTo>
                          <a:pt x="250" y="186"/>
                        </a:lnTo>
                        <a:lnTo>
                          <a:pt x="224" y="194"/>
                        </a:lnTo>
                        <a:lnTo>
                          <a:pt x="212" y="200"/>
                        </a:lnTo>
                        <a:lnTo>
                          <a:pt x="204" y="206"/>
                        </a:lnTo>
                        <a:lnTo>
                          <a:pt x="202" y="208"/>
                        </a:lnTo>
                        <a:lnTo>
                          <a:pt x="202" y="210"/>
                        </a:lnTo>
                        <a:lnTo>
                          <a:pt x="204" y="214"/>
                        </a:lnTo>
                        <a:lnTo>
                          <a:pt x="208" y="216"/>
                        </a:lnTo>
                        <a:lnTo>
                          <a:pt x="224" y="220"/>
                        </a:lnTo>
                        <a:lnTo>
                          <a:pt x="254" y="224"/>
                        </a:lnTo>
                        <a:lnTo>
                          <a:pt x="254" y="224"/>
                        </a:lnTo>
                        <a:lnTo>
                          <a:pt x="284" y="224"/>
                        </a:lnTo>
                        <a:lnTo>
                          <a:pt x="304" y="224"/>
                        </a:lnTo>
                        <a:lnTo>
                          <a:pt x="318" y="220"/>
                        </a:lnTo>
                        <a:lnTo>
                          <a:pt x="326" y="216"/>
                        </a:lnTo>
                        <a:lnTo>
                          <a:pt x="334" y="210"/>
                        </a:lnTo>
                        <a:lnTo>
                          <a:pt x="338" y="210"/>
                        </a:lnTo>
                        <a:lnTo>
                          <a:pt x="346" y="214"/>
                        </a:lnTo>
                        <a:lnTo>
                          <a:pt x="346" y="214"/>
                        </a:lnTo>
                        <a:lnTo>
                          <a:pt x="358" y="218"/>
                        </a:lnTo>
                        <a:lnTo>
                          <a:pt x="374" y="218"/>
                        </a:lnTo>
                        <a:lnTo>
                          <a:pt x="394" y="216"/>
                        </a:lnTo>
                        <a:lnTo>
                          <a:pt x="418" y="212"/>
                        </a:lnTo>
                        <a:lnTo>
                          <a:pt x="442" y="206"/>
                        </a:lnTo>
                        <a:lnTo>
                          <a:pt x="468" y="196"/>
                        </a:lnTo>
                        <a:lnTo>
                          <a:pt x="494" y="186"/>
                        </a:lnTo>
                        <a:lnTo>
                          <a:pt x="520" y="174"/>
                        </a:lnTo>
                        <a:lnTo>
                          <a:pt x="520" y="174"/>
                        </a:lnTo>
                        <a:lnTo>
                          <a:pt x="546" y="160"/>
                        </a:lnTo>
                        <a:lnTo>
                          <a:pt x="544" y="162"/>
                        </a:lnTo>
                        <a:lnTo>
                          <a:pt x="540" y="168"/>
                        </a:lnTo>
                        <a:lnTo>
                          <a:pt x="536" y="176"/>
                        </a:lnTo>
                        <a:lnTo>
                          <a:pt x="534" y="180"/>
                        </a:lnTo>
                        <a:lnTo>
                          <a:pt x="534" y="184"/>
                        </a:lnTo>
                        <a:lnTo>
                          <a:pt x="536" y="186"/>
                        </a:lnTo>
                        <a:lnTo>
                          <a:pt x="540" y="190"/>
                        </a:lnTo>
                        <a:lnTo>
                          <a:pt x="548" y="192"/>
                        </a:lnTo>
                        <a:lnTo>
                          <a:pt x="558" y="192"/>
                        </a:lnTo>
                        <a:lnTo>
                          <a:pt x="558" y="192"/>
                        </a:lnTo>
                        <a:lnTo>
                          <a:pt x="576" y="194"/>
                        </a:lnTo>
                        <a:lnTo>
                          <a:pt x="584" y="196"/>
                        </a:lnTo>
                        <a:lnTo>
                          <a:pt x="584" y="196"/>
                        </a:lnTo>
                        <a:lnTo>
                          <a:pt x="580" y="198"/>
                        </a:lnTo>
                        <a:lnTo>
                          <a:pt x="570" y="200"/>
                        </a:lnTo>
                        <a:lnTo>
                          <a:pt x="524" y="208"/>
                        </a:lnTo>
                        <a:lnTo>
                          <a:pt x="450" y="222"/>
                        </a:lnTo>
                        <a:lnTo>
                          <a:pt x="450" y="222"/>
                        </a:lnTo>
                        <a:lnTo>
                          <a:pt x="388" y="236"/>
                        </a:lnTo>
                        <a:lnTo>
                          <a:pt x="370" y="238"/>
                        </a:lnTo>
                        <a:lnTo>
                          <a:pt x="360" y="242"/>
                        </a:lnTo>
                        <a:lnTo>
                          <a:pt x="358" y="242"/>
                        </a:lnTo>
                        <a:lnTo>
                          <a:pt x="358" y="244"/>
                        </a:lnTo>
                        <a:lnTo>
                          <a:pt x="362" y="248"/>
                        </a:lnTo>
                        <a:lnTo>
                          <a:pt x="386" y="264"/>
                        </a:lnTo>
                        <a:lnTo>
                          <a:pt x="386" y="264"/>
                        </a:lnTo>
                        <a:lnTo>
                          <a:pt x="402" y="274"/>
                        </a:lnTo>
                        <a:lnTo>
                          <a:pt x="418" y="282"/>
                        </a:lnTo>
                        <a:lnTo>
                          <a:pt x="442" y="292"/>
                        </a:lnTo>
                        <a:lnTo>
                          <a:pt x="450" y="296"/>
                        </a:lnTo>
                        <a:lnTo>
                          <a:pt x="452" y="298"/>
                        </a:lnTo>
                        <a:lnTo>
                          <a:pt x="448" y="302"/>
                        </a:lnTo>
                        <a:lnTo>
                          <a:pt x="436" y="304"/>
                        </a:lnTo>
                        <a:lnTo>
                          <a:pt x="436" y="304"/>
                        </a:lnTo>
                        <a:lnTo>
                          <a:pt x="422" y="304"/>
                        </a:lnTo>
                        <a:lnTo>
                          <a:pt x="410" y="302"/>
                        </a:lnTo>
                        <a:lnTo>
                          <a:pt x="402" y="298"/>
                        </a:lnTo>
                        <a:lnTo>
                          <a:pt x="394" y="292"/>
                        </a:lnTo>
                        <a:lnTo>
                          <a:pt x="378" y="276"/>
                        </a:lnTo>
                        <a:lnTo>
                          <a:pt x="368" y="268"/>
                        </a:lnTo>
                        <a:lnTo>
                          <a:pt x="356" y="260"/>
                        </a:lnTo>
                        <a:lnTo>
                          <a:pt x="356" y="260"/>
                        </a:lnTo>
                        <a:lnTo>
                          <a:pt x="338" y="254"/>
                        </a:lnTo>
                        <a:lnTo>
                          <a:pt x="316" y="248"/>
                        </a:lnTo>
                        <a:lnTo>
                          <a:pt x="292" y="244"/>
                        </a:lnTo>
                        <a:lnTo>
                          <a:pt x="268" y="242"/>
                        </a:lnTo>
                        <a:lnTo>
                          <a:pt x="246" y="240"/>
                        </a:lnTo>
                        <a:lnTo>
                          <a:pt x="228" y="242"/>
                        </a:lnTo>
                        <a:lnTo>
                          <a:pt x="220" y="244"/>
                        </a:lnTo>
                        <a:lnTo>
                          <a:pt x="216" y="246"/>
                        </a:lnTo>
                        <a:lnTo>
                          <a:pt x="212" y="250"/>
                        </a:lnTo>
                        <a:lnTo>
                          <a:pt x="210" y="254"/>
                        </a:lnTo>
                        <a:lnTo>
                          <a:pt x="210" y="254"/>
                        </a:lnTo>
                        <a:lnTo>
                          <a:pt x="210" y="270"/>
                        </a:lnTo>
                        <a:lnTo>
                          <a:pt x="212" y="274"/>
                        </a:lnTo>
                        <a:lnTo>
                          <a:pt x="214" y="278"/>
                        </a:lnTo>
                        <a:lnTo>
                          <a:pt x="226" y="284"/>
                        </a:lnTo>
                        <a:lnTo>
                          <a:pt x="250" y="292"/>
                        </a:lnTo>
                        <a:lnTo>
                          <a:pt x="250" y="292"/>
                        </a:lnTo>
                        <a:lnTo>
                          <a:pt x="262" y="298"/>
                        </a:lnTo>
                        <a:lnTo>
                          <a:pt x="276" y="304"/>
                        </a:lnTo>
                        <a:lnTo>
                          <a:pt x="294" y="318"/>
                        </a:lnTo>
                        <a:lnTo>
                          <a:pt x="300" y="326"/>
                        </a:lnTo>
                        <a:lnTo>
                          <a:pt x="302" y="330"/>
                        </a:lnTo>
                        <a:lnTo>
                          <a:pt x="302" y="334"/>
                        </a:lnTo>
                        <a:lnTo>
                          <a:pt x="296" y="336"/>
                        </a:lnTo>
                        <a:lnTo>
                          <a:pt x="296" y="336"/>
                        </a:lnTo>
                        <a:lnTo>
                          <a:pt x="290" y="338"/>
                        </a:lnTo>
                        <a:lnTo>
                          <a:pt x="286" y="340"/>
                        </a:lnTo>
                        <a:lnTo>
                          <a:pt x="284" y="344"/>
                        </a:lnTo>
                        <a:lnTo>
                          <a:pt x="286" y="346"/>
                        </a:lnTo>
                        <a:lnTo>
                          <a:pt x="290" y="348"/>
                        </a:lnTo>
                        <a:lnTo>
                          <a:pt x="296" y="352"/>
                        </a:lnTo>
                        <a:lnTo>
                          <a:pt x="308" y="354"/>
                        </a:lnTo>
                        <a:lnTo>
                          <a:pt x="320" y="356"/>
                        </a:lnTo>
                        <a:lnTo>
                          <a:pt x="320" y="356"/>
                        </a:lnTo>
                        <a:lnTo>
                          <a:pt x="336" y="356"/>
                        </a:lnTo>
                        <a:lnTo>
                          <a:pt x="348" y="360"/>
                        </a:lnTo>
                        <a:lnTo>
                          <a:pt x="356" y="362"/>
                        </a:lnTo>
                        <a:lnTo>
                          <a:pt x="362" y="366"/>
                        </a:lnTo>
                        <a:lnTo>
                          <a:pt x="364" y="368"/>
                        </a:lnTo>
                        <a:lnTo>
                          <a:pt x="360" y="368"/>
                        </a:lnTo>
                        <a:lnTo>
                          <a:pt x="352" y="368"/>
                        </a:lnTo>
                        <a:lnTo>
                          <a:pt x="340" y="368"/>
                        </a:lnTo>
                        <a:lnTo>
                          <a:pt x="340" y="368"/>
                        </a:lnTo>
                        <a:lnTo>
                          <a:pt x="320" y="366"/>
                        </a:lnTo>
                        <a:lnTo>
                          <a:pt x="298" y="364"/>
                        </a:lnTo>
                        <a:lnTo>
                          <a:pt x="250" y="366"/>
                        </a:lnTo>
                        <a:lnTo>
                          <a:pt x="228" y="368"/>
                        </a:lnTo>
                        <a:lnTo>
                          <a:pt x="208" y="372"/>
                        </a:lnTo>
                        <a:lnTo>
                          <a:pt x="192" y="376"/>
                        </a:lnTo>
                        <a:lnTo>
                          <a:pt x="182" y="382"/>
                        </a:lnTo>
                        <a:lnTo>
                          <a:pt x="182" y="382"/>
                        </a:lnTo>
                        <a:lnTo>
                          <a:pt x="176" y="388"/>
                        </a:lnTo>
                        <a:lnTo>
                          <a:pt x="172" y="394"/>
                        </a:lnTo>
                        <a:lnTo>
                          <a:pt x="170" y="402"/>
                        </a:lnTo>
                        <a:lnTo>
                          <a:pt x="168" y="410"/>
                        </a:lnTo>
                        <a:lnTo>
                          <a:pt x="170" y="416"/>
                        </a:lnTo>
                        <a:lnTo>
                          <a:pt x="176" y="420"/>
                        </a:lnTo>
                        <a:lnTo>
                          <a:pt x="184" y="422"/>
                        </a:lnTo>
                        <a:lnTo>
                          <a:pt x="196" y="420"/>
                        </a:lnTo>
                        <a:lnTo>
                          <a:pt x="196" y="420"/>
                        </a:lnTo>
                        <a:lnTo>
                          <a:pt x="208" y="418"/>
                        </a:lnTo>
                        <a:lnTo>
                          <a:pt x="216" y="418"/>
                        </a:lnTo>
                        <a:lnTo>
                          <a:pt x="220" y="418"/>
                        </a:lnTo>
                        <a:lnTo>
                          <a:pt x="224" y="420"/>
                        </a:lnTo>
                        <a:lnTo>
                          <a:pt x="226" y="422"/>
                        </a:lnTo>
                        <a:lnTo>
                          <a:pt x="230" y="424"/>
                        </a:lnTo>
                        <a:lnTo>
                          <a:pt x="236" y="424"/>
                        </a:lnTo>
                        <a:lnTo>
                          <a:pt x="246" y="424"/>
                        </a:lnTo>
                        <a:lnTo>
                          <a:pt x="246" y="424"/>
                        </a:lnTo>
                        <a:lnTo>
                          <a:pt x="256" y="422"/>
                        </a:lnTo>
                        <a:lnTo>
                          <a:pt x="260" y="422"/>
                        </a:lnTo>
                        <a:lnTo>
                          <a:pt x="260" y="424"/>
                        </a:lnTo>
                        <a:lnTo>
                          <a:pt x="260" y="428"/>
                        </a:lnTo>
                        <a:lnTo>
                          <a:pt x="258" y="434"/>
                        </a:lnTo>
                        <a:lnTo>
                          <a:pt x="256" y="440"/>
                        </a:lnTo>
                        <a:lnTo>
                          <a:pt x="258" y="450"/>
                        </a:lnTo>
                        <a:lnTo>
                          <a:pt x="266" y="460"/>
                        </a:lnTo>
                        <a:lnTo>
                          <a:pt x="266" y="460"/>
                        </a:lnTo>
                        <a:lnTo>
                          <a:pt x="270" y="464"/>
                        </a:lnTo>
                        <a:lnTo>
                          <a:pt x="276" y="468"/>
                        </a:lnTo>
                        <a:lnTo>
                          <a:pt x="282" y="470"/>
                        </a:lnTo>
                        <a:lnTo>
                          <a:pt x="288" y="472"/>
                        </a:lnTo>
                        <a:lnTo>
                          <a:pt x="302" y="470"/>
                        </a:lnTo>
                        <a:lnTo>
                          <a:pt x="316" y="466"/>
                        </a:lnTo>
                        <a:lnTo>
                          <a:pt x="330" y="460"/>
                        </a:lnTo>
                        <a:lnTo>
                          <a:pt x="342" y="450"/>
                        </a:lnTo>
                        <a:lnTo>
                          <a:pt x="354" y="442"/>
                        </a:lnTo>
                        <a:lnTo>
                          <a:pt x="366" y="432"/>
                        </a:lnTo>
                        <a:lnTo>
                          <a:pt x="366" y="432"/>
                        </a:lnTo>
                        <a:lnTo>
                          <a:pt x="372" y="426"/>
                        </a:lnTo>
                        <a:lnTo>
                          <a:pt x="372" y="428"/>
                        </a:lnTo>
                        <a:lnTo>
                          <a:pt x="372" y="430"/>
                        </a:lnTo>
                        <a:lnTo>
                          <a:pt x="366" y="440"/>
                        </a:lnTo>
                        <a:lnTo>
                          <a:pt x="356" y="452"/>
                        </a:lnTo>
                        <a:lnTo>
                          <a:pt x="342" y="464"/>
                        </a:lnTo>
                        <a:lnTo>
                          <a:pt x="326" y="476"/>
                        </a:lnTo>
                        <a:lnTo>
                          <a:pt x="316" y="482"/>
                        </a:lnTo>
                        <a:lnTo>
                          <a:pt x="306" y="484"/>
                        </a:lnTo>
                        <a:lnTo>
                          <a:pt x="296" y="486"/>
                        </a:lnTo>
                        <a:lnTo>
                          <a:pt x="286" y="486"/>
                        </a:lnTo>
                        <a:lnTo>
                          <a:pt x="286" y="486"/>
                        </a:lnTo>
                        <a:lnTo>
                          <a:pt x="270" y="482"/>
                        </a:lnTo>
                        <a:lnTo>
                          <a:pt x="256" y="476"/>
                        </a:lnTo>
                        <a:lnTo>
                          <a:pt x="246" y="468"/>
                        </a:lnTo>
                        <a:lnTo>
                          <a:pt x="238" y="460"/>
                        </a:lnTo>
                        <a:lnTo>
                          <a:pt x="228" y="452"/>
                        </a:lnTo>
                        <a:lnTo>
                          <a:pt x="218" y="446"/>
                        </a:lnTo>
                        <a:lnTo>
                          <a:pt x="206" y="440"/>
                        </a:lnTo>
                        <a:lnTo>
                          <a:pt x="190" y="438"/>
                        </a:lnTo>
                        <a:lnTo>
                          <a:pt x="190" y="438"/>
                        </a:lnTo>
                        <a:lnTo>
                          <a:pt x="160" y="440"/>
                        </a:lnTo>
                        <a:lnTo>
                          <a:pt x="150" y="440"/>
                        </a:lnTo>
                        <a:lnTo>
                          <a:pt x="144" y="444"/>
                        </a:lnTo>
                        <a:lnTo>
                          <a:pt x="140" y="446"/>
                        </a:lnTo>
                        <a:lnTo>
                          <a:pt x="140" y="450"/>
                        </a:lnTo>
                        <a:lnTo>
                          <a:pt x="144" y="456"/>
                        </a:lnTo>
                        <a:lnTo>
                          <a:pt x="150" y="462"/>
                        </a:lnTo>
                        <a:lnTo>
                          <a:pt x="150" y="462"/>
                        </a:lnTo>
                        <a:lnTo>
                          <a:pt x="166" y="476"/>
                        </a:lnTo>
                        <a:lnTo>
                          <a:pt x="182" y="490"/>
                        </a:lnTo>
                        <a:lnTo>
                          <a:pt x="184" y="494"/>
                        </a:lnTo>
                        <a:lnTo>
                          <a:pt x="184" y="496"/>
                        </a:lnTo>
                        <a:lnTo>
                          <a:pt x="182" y="498"/>
                        </a:lnTo>
                        <a:lnTo>
                          <a:pt x="174" y="500"/>
                        </a:lnTo>
                        <a:lnTo>
                          <a:pt x="160" y="502"/>
                        </a:lnTo>
                        <a:lnTo>
                          <a:pt x="160" y="502"/>
                        </a:lnTo>
                        <a:lnTo>
                          <a:pt x="142" y="502"/>
                        </a:lnTo>
                        <a:lnTo>
                          <a:pt x="124" y="506"/>
                        </a:lnTo>
                        <a:lnTo>
                          <a:pt x="110" y="512"/>
                        </a:lnTo>
                        <a:lnTo>
                          <a:pt x="98" y="518"/>
                        </a:lnTo>
                        <a:lnTo>
                          <a:pt x="90" y="526"/>
                        </a:lnTo>
                        <a:lnTo>
                          <a:pt x="88" y="534"/>
                        </a:lnTo>
                        <a:lnTo>
                          <a:pt x="88" y="538"/>
                        </a:lnTo>
                        <a:lnTo>
                          <a:pt x="88" y="542"/>
                        </a:lnTo>
                        <a:lnTo>
                          <a:pt x="92" y="546"/>
                        </a:lnTo>
                        <a:lnTo>
                          <a:pt x="96" y="550"/>
                        </a:lnTo>
                        <a:lnTo>
                          <a:pt x="96" y="550"/>
                        </a:lnTo>
                        <a:lnTo>
                          <a:pt x="100" y="552"/>
                        </a:lnTo>
                        <a:lnTo>
                          <a:pt x="104" y="552"/>
                        </a:lnTo>
                        <a:lnTo>
                          <a:pt x="114" y="552"/>
                        </a:lnTo>
                        <a:lnTo>
                          <a:pt x="124" y="552"/>
                        </a:lnTo>
                        <a:lnTo>
                          <a:pt x="130" y="554"/>
                        </a:lnTo>
                        <a:lnTo>
                          <a:pt x="138" y="558"/>
                        </a:lnTo>
                        <a:lnTo>
                          <a:pt x="138" y="558"/>
                        </a:lnTo>
                        <a:lnTo>
                          <a:pt x="146" y="562"/>
                        </a:lnTo>
                        <a:lnTo>
                          <a:pt x="154" y="566"/>
                        </a:lnTo>
                        <a:lnTo>
                          <a:pt x="162" y="566"/>
                        </a:lnTo>
                        <a:lnTo>
                          <a:pt x="170" y="564"/>
                        </a:lnTo>
                        <a:lnTo>
                          <a:pt x="186" y="560"/>
                        </a:lnTo>
                        <a:lnTo>
                          <a:pt x="200" y="552"/>
                        </a:lnTo>
                        <a:lnTo>
                          <a:pt x="200" y="552"/>
                        </a:lnTo>
                        <a:lnTo>
                          <a:pt x="206" y="552"/>
                        </a:lnTo>
                        <a:lnTo>
                          <a:pt x="212" y="552"/>
                        </a:lnTo>
                        <a:lnTo>
                          <a:pt x="226" y="556"/>
                        </a:lnTo>
                        <a:lnTo>
                          <a:pt x="244" y="562"/>
                        </a:lnTo>
                        <a:lnTo>
                          <a:pt x="256" y="566"/>
                        </a:lnTo>
                        <a:lnTo>
                          <a:pt x="272" y="566"/>
                        </a:lnTo>
                        <a:lnTo>
                          <a:pt x="272" y="566"/>
                        </a:lnTo>
                        <a:lnTo>
                          <a:pt x="286" y="566"/>
                        </a:lnTo>
                        <a:lnTo>
                          <a:pt x="294" y="564"/>
                        </a:lnTo>
                        <a:lnTo>
                          <a:pt x="298" y="560"/>
                        </a:lnTo>
                        <a:lnTo>
                          <a:pt x="302" y="556"/>
                        </a:lnTo>
                        <a:lnTo>
                          <a:pt x="306" y="554"/>
                        </a:lnTo>
                        <a:lnTo>
                          <a:pt x="312" y="552"/>
                        </a:lnTo>
                        <a:lnTo>
                          <a:pt x="322" y="552"/>
                        </a:lnTo>
                        <a:lnTo>
                          <a:pt x="336" y="558"/>
                        </a:lnTo>
                        <a:lnTo>
                          <a:pt x="336" y="558"/>
                        </a:lnTo>
                        <a:lnTo>
                          <a:pt x="346" y="560"/>
                        </a:lnTo>
                        <a:lnTo>
                          <a:pt x="356" y="560"/>
                        </a:lnTo>
                        <a:lnTo>
                          <a:pt x="376" y="560"/>
                        </a:lnTo>
                        <a:lnTo>
                          <a:pt x="394" y="556"/>
                        </a:lnTo>
                        <a:lnTo>
                          <a:pt x="412" y="552"/>
                        </a:lnTo>
                        <a:lnTo>
                          <a:pt x="426" y="548"/>
                        </a:lnTo>
                        <a:lnTo>
                          <a:pt x="436" y="548"/>
                        </a:lnTo>
                        <a:lnTo>
                          <a:pt x="438" y="548"/>
                        </a:lnTo>
                        <a:lnTo>
                          <a:pt x="440" y="550"/>
                        </a:lnTo>
                        <a:lnTo>
                          <a:pt x="442" y="554"/>
                        </a:lnTo>
                        <a:lnTo>
                          <a:pt x="440" y="560"/>
                        </a:lnTo>
                        <a:lnTo>
                          <a:pt x="440" y="560"/>
                        </a:lnTo>
                        <a:lnTo>
                          <a:pt x="438" y="564"/>
                        </a:lnTo>
                        <a:lnTo>
                          <a:pt x="438" y="570"/>
                        </a:lnTo>
                        <a:lnTo>
                          <a:pt x="440" y="572"/>
                        </a:lnTo>
                        <a:lnTo>
                          <a:pt x="442" y="576"/>
                        </a:lnTo>
                        <a:lnTo>
                          <a:pt x="450" y="578"/>
                        </a:lnTo>
                        <a:lnTo>
                          <a:pt x="462" y="578"/>
                        </a:lnTo>
                        <a:lnTo>
                          <a:pt x="474" y="574"/>
                        </a:lnTo>
                        <a:lnTo>
                          <a:pt x="486" y="570"/>
                        </a:lnTo>
                        <a:lnTo>
                          <a:pt x="510" y="558"/>
                        </a:lnTo>
                        <a:lnTo>
                          <a:pt x="510" y="558"/>
                        </a:lnTo>
                        <a:lnTo>
                          <a:pt x="518" y="552"/>
                        </a:lnTo>
                        <a:lnTo>
                          <a:pt x="528" y="552"/>
                        </a:lnTo>
                        <a:lnTo>
                          <a:pt x="544" y="550"/>
                        </a:lnTo>
                        <a:lnTo>
                          <a:pt x="550" y="550"/>
                        </a:lnTo>
                        <a:lnTo>
                          <a:pt x="556" y="546"/>
                        </a:lnTo>
                        <a:lnTo>
                          <a:pt x="560" y="538"/>
                        </a:lnTo>
                        <a:lnTo>
                          <a:pt x="562" y="526"/>
                        </a:lnTo>
                        <a:lnTo>
                          <a:pt x="562" y="526"/>
                        </a:lnTo>
                        <a:lnTo>
                          <a:pt x="562" y="520"/>
                        </a:lnTo>
                        <a:lnTo>
                          <a:pt x="560" y="518"/>
                        </a:lnTo>
                        <a:lnTo>
                          <a:pt x="558" y="514"/>
                        </a:lnTo>
                        <a:lnTo>
                          <a:pt x="556" y="514"/>
                        </a:lnTo>
                        <a:lnTo>
                          <a:pt x="546" y="512"/>
                        </a:lnTo>
                        <a:lnTo>
                          <a:pt x="536" y="512"/>
                        </a:lnTo>
                        <a:lnTo>
                          <a:pt x="526" y="514"/>
                        </a:lnTo>
                        <a:lnTo>
                          <a:pt x="518" y="514"/>
                        </a:lnTo>
                        <a:lnTo>
                          <a:pt x="512" y="512"/>
                        </a:lnTo>
                        <a:lnTo>
                          <a:pt x="510" y="510"/>
                        </a:lnTo>
                        <a:lnTo>
                          <a:pt x="508" y="506"/>
                        </a:lnTo>
                        <a:lnTo>
                          <a:pt x="508" y="506"/>
                        </a:lnTo>
                        <a:lnTo>
                          <a:pt x="510" y="500"/>
                        </a:lnTo>
                        <a:lnTo>
                          <a:pt x="512" y="494"/>
                        </a:lnTo>
                        <a:lnTo>
                          <a:pt x="514" y="490"/>
                        </a:lnTo>
                        <a:lnTo>
                          <a:pt x="520" y="488"/>
                        </a:lnTo>
                        <a:lnTo>
                          <a:pt x="532" y="482"/>
                        </a:lnTo>
                        <a:lnTo>
                          <a:pt x="550" y="472"/>
                        </a:lnTo>
                        <a:lnTo>
                          <a:pt x="550" y="472"/>
                        </a:lnTo>
                        <a:lnTo>
                          <a:pt x="554" y="468"/>
                        </a:lnTo>
                        <a:lnTo>
                          <a:pt x="556" y="464"/>
                        </a:lnTo>
                        <a:lnTo>
                          <a:pt x="556" y="460"/>
                        </a:lnTo>
                        <a:lnTo>
                          <a:pt x="556" y="456"/>
                        </a:lnTo>
                        <a:lnTo>
                          <a:pt x="552" y="448"/>
                        </a:lnTo>
                        <a:lnTo>
                          <a:pt x="548" y="442"/>
                        </a:lnTo>
                        <a:lnTo>
                          <a:pt x="546" y="436"/>
                        </a:lnTo>
                        <a:lnTo>
                          <a:pt x="548" y="434"/>
                        </a:lnTo>
                        <a:lnTo>
                          <a:pt x="550" y="432"/>
                        </a:lnTo>
                        <a:lnTo>
                          <a:pt x="560" y="430"/>
                        </a:lnTo>
                        <a:lnTo>
                          <a:pt x="582" y="434"/>
                        </a:lnTo>
                        <a:lnTo>
                          <a:pt x="582" y="434"/>
                        </a:lnTo>
                        <a:lnTo>
                          <a:pt x="602" y="436"/>
                        </a:lnTo>
                        <a:lnTo>
                          <a:pt x="620" y="434"/>
                        </a:lnTo>
                        <a:lnTo>
                          <a:pt x="636" y="430"/>
                        </a:lnTo>
                        <a:lnTo>
                          <a:pt x="650" y="424"/>
                        </a:lnTo>
                        <a:lnTo>
                          <a:pt x="660" y="418"/>
                        </a:lnTo>
                        <a:lnTo>
                          <a:pt x="666" y="410"/>
                        </a:lnTo>
                        <a:lnTo>
                          <a:pt x="668" y="402"/>
                        </a:lnTo>
                        <a:lnTo>
                          <a:pt x="668" y="400"/>
                        </a:lnTo>
                        <a:lnTo>
                          <a:pt x="666" y="396"/>
                        </a:lnTo>
                        <a:lnTo>
                          <a:pt x="666" y="396"/>
                        </a:lnTo>
                        <a:lnTo>
                          <a:pt x="664" y="394"/>
                        </a:lnTo>
                        <a:lnTo>
                          <a:pt x="664" y="392"/>
                        </a:lnTo>
                        <a:lnTo>
                          <a:pt x="666" y="388"/>
                        </a:lnTo>
                        <a:lnTo>
                          <a:pt x="680" y="382"/>
                        </a:lnTo>
                        <a:lnTo>
                          <a:pt x="684" y="378"/>
                        </a:lnTo>
                        <a:lnTo>
                          <a:pt x="684" y="376"/>
                        </a:lnTo>
                        <a:lnTo>
                          <a:pt x="684" y="372"/>
                        </a:lnTo>
                        <a:lnTo>
                          <a:pt x="678" y="366"/>
                        </a:lnTo>
                        <a:lnTo>
                          <a:pt x="662" y="356"/>
                        </a:lnTo>
                        <a:lnTo>
                          <a:pt x="662" y="356"/>
                        </a:lnTo>
                        <a:lnTo>
                          <a:pt x="648" y="350"/>
                        </a:lnTo>
                        <a:lnTo>
                          <a:pt x="644" y="348"/>
                        </a:lnTo>
                        <a:lnTo>
                          <a:pt x="644" y="346"/>
                        </a:lnTo>
                        <a:lnTo>
                          <a:pt x="650" y="346"/>
                        </a:lnTo>
                        <a:lnTo>
                          <a:pt x="662" y="348"/>
                        </a:lnTo>
                        <a:lnTo>
                          <a:pt x="674" y="348"/>
                        </a:lnTo>
                        <a:lnTo>
                          <a:pt x="686" y="348"/>
                        </a:lnTo>
                        <a:lnTo>
                          <a:pt x="690" y="348"/>
                        </a:lnTo>
                        <a:lnTo>
                          <a:pt x="694" y="346"/>
                        </a:lnTo>
                        <a:lnTo>
                          <a:pt x="696" y="344"/>
                        </a:lnTo>
                        <a:lnTo>
                          <a:pt x="694" y="340"/>
                        </a:lnTo>
                        <a:lnTo>
                          <a:pt x="694" y="340"/>
                        </a:lnTo>
                        <a:lnTo>
                          <a:pt x="690" y="332"/>
                        </a:lnTo>
                        <a:lnTo>
                          <a:pt x="684" y="328"/>
                        </a:lnTo>
                        <a:lnTo>
                          <a:pt x="680" y="324"/>
                        </a:lnTo>
                        <a:lnTo>
                          <a:pt x="674" y="324"/>
                        </a:lnTo>
                        <a:lnTo>
                          <a:pt x="658" y="326"/>
                        </a:lnTo>
                        <a:lnTo>
                          <a:pt x="638" y="328"/>
                        </a:lnTo>
                        <a:lnTo>
                          <a:pt x="638" y="328"/>
                        </a:lnTo>
                        <a:lnTo>
                          <a:pt x="614" y="328"/>
                        </a:lnTo>
                        <a:lnTo>
                          <a:pt x="592" y="328"/>
                        </a:lnTo>
                        <a:lnTo>
                          <a:pt x="584" y="328"/>
                        </a:lnTo>
                        <a:lnTo>
                          <a:pt x="578" y="326"/>
                        </a:lnTo>
                        <a:lnTo>
                          <a:pt x="576" y="324"/>
                        </a:lnTo>
                        <a:lnTo>
                          <a:pt x="580" y="320"/>
                        </a:lnTo>
                        <a:lnTo>
                          <a:pt x="580" y="320"/>
                        </a:lnTo>
                        <a:lnTo>
                          <a:pt x="588" y="318"/>
                        </a:lnTo>
                        <a:lnTo>
                          <a:pt x="602" y="314"/>
                        </a:lnTo>
                        <a:lnTo>
                          <a:pt x="644" y="312"/>
                        </a:lnTo>
                        <a:lnTo>
                          <a:pt x="692" y="310"/>
                        </a:lnTo>
                        <a:lnTo>
                          <a:pt x="730" y="306"/>
                        </a:lnTo>
                        <a:lnTo>
                          <a:pt x="730" y="306"/>
                        </a:lnTo>
                        <a:lnTo>
                          <a:pt x="742" y="304"/>
                        </a:lnTo>
                        <a:lnTo>
                          <a:pt x="750" y="300"/>
                        </a:lnTo>
                        <a:lnTo>
                          <a:pt x="752" y="296"/>
                        </a:lnTo>
                        <a:lnTo>
                          <a:pt x="752" y="290"/>
                        </a:lnTo>
                        <a:lnTo>
                          <a:pt x="752" y="284"/>
                        </a:lnTo>
                        <a:lnTo>
                          <a:pt x="754" y="284"/>
                        </a:lnTo>
                        <a:lnTo>
                          <a:pt x="762" y="286"/>
                        </a:lnTo>
                        <a:lnTo>
                          <a:pt x="762" y="286"/>
                        </a:lnTo>
                        <a:lnTo>
                          <a:pt x="770" y="290"/>
                        </a:lnTo>
                        <a:lnTo>
                          <a:pt x="780" y="292"/>
                        </a:lnTo>
                        <a:lnTo>
                          <a:pt x="790" y="294"/>
                        </a:lnTo>
                        <a:lnTo>
                          <a:pt x="800" y="292"/>
                        </a:lnTo>
                        <a:lnTo>
                          <a:pt x="812" y="290"/>
                        </a:lnTo>
                        <a:lnTo>
                          <a:pt x="822" y="286"/>
                        </a:lnTo>
                        <a:lnTo>
                          <a:pt x="832" y="278"/>
                        </a:lnTo>
                        <a:lnTo>
                          <a:pt x="842" y="270"/>
                        </a:lnTo>
                        <a:lnTo>
                          <a:pt x="842" y="270"/>
                        </a:lnTo>
                        <a:lnTo>
                          <a:pt x="852" y="260"/>
                        </a:lnTo>
                        <a:lnTo>
                          <a:pt x="866" y="248"/>
                        </a:lnTo>
                        <a:lnTo>
                          <a:pt x="882" y="238"/>
                        </a:lnTo>
                        <a:lnTo>
                          <a:pt x="902" y="228"/>
                        </a:lnTo>
                        <a:lnTo>
                          <a:pt x="954" y="204"/>
                        </a:lnTo>
                        <a:lnTo>
                          <a:pt x="1020" y="178"/>
                        </a:lnTo>
                        <a:lnTo>
                          <a:pt x="1020" y="178"/>
                        </a:lnTo>
                        <a:lnTo>
                          <a:pt x="1076" y="154"/>
                        </a:lnTo>
                        <a:lnTo>
                          <a:pt x="1092" y="146"/>
                        </a:lnTo>
                        <a:lnTo>
                          <a:pt x="1098" y="142"/>
                        </a:lnTo>
                        <a:lnTo>
                          <a:pt x="1098" y="140"/>
                        </a:lnTo>
                        <a:lnTo>
                          <a:pt x="1094" y="140"/>
                        </a:lnTo>
                        <a:lnTo>
                          <a:pt x="1084" y="140"/>
                        </a:lnTo>
                        <a:lnTo>
                          <a:pt x="1038" y="142"/>
                        </a:lnTo>
                        <a:lnTo>
                          <a:pt x="1038" y="142"/>
                        </a:lnTo>
                        <a:lnTo>
                          <a:pt x="1014" y="144"/>
                        </a:lnTo>
                        <a:lnTo>
                          <a:pt x="1002" y="144"/>
                        </a:lnTo>
                        <a:lnTo>
                          <a:pt x="1000" y="142"/>
                        </a:lnTo>
                        <a:lnTo>
                          <a:pt x="1000" y="142"/>
                        </a:lnTo>
                        <a:lnTo>
                          <a:pt x="1006" y="138"/>
                        </a:lnTo>
                        <a:lnTo>
                          <a:pt x="1034" y="130"/>
                        </a:lnTo>
                        <a:lnTo>
                          <a:pt x="1072" y="122"/>
                        </a:lnTo>
                        <a:lnTo>
                          <a:pt x="1072" y="122"/>
                        </a:lnTo>
                        <a:lnTo>
                          <a:pt x="1118" y="112"/>
                        </a:lnTo>
                        <a:lnTo>
                          <a:pt x="1172" y="100"/>
                        </a:lnTo>
                        <a:lnTo>
                          <a:pt x="1198" y="92"/>
                        </a:lnTo>
                        <a:lnTo>
                          <a:pt x="1218" y="84"/>
                        </a:lnTo>
                        <a:lnTo>
                          <a:pt x="1232" y="76"/>
                        </a:lnTo>
                        <a:lnTo>
                          <a:pt x="1236" y="72"/>
                        </a:lnTo>
                        <a:lnTo>
                          <a:pt x="1236" y="68"/>
                        </a:lnTo>
                        <a:lnTo>
                          <a:pt x="1236" y="68"/>
                        </a:lnTo>
                        <a:lnTo>
                          <a:pt x="1236" y="64"/>
                        </a:lnTo>
                        <a:lnTo>
                          <a:pt x="1234" y="62"/>
                        </a:lnTo>
                        <a:lnTo>
                          <a:pt x="1224" y="58"/>
                        </a:lnTo>
                        <a:lnTo>
                          <a:pt x="1210" y="58"/>
                        </a:lnTo>
                        <a:lnTo>
                          <a:pt x="1196" y="56"/>
                        </a:lnTo>
                        <a:lnTo>
                          <a:pt x="1182" y="56"/>
                        </a:lnTo>
                        <a:lnTo>
                          <a:pt x="1168" y="54"/>
                        </a:lnTo>
                        <a:lnTo>
                          <a:pt x="1160" y="50"/>
                        </a:lnTo>
                        <a:lnTo>
                          <a:pt x="1158" y="48"/>
                        </a:lnTo>
                        <a:lnTo>
                          <a:pt x="1156" y="44"/>
                        </a:lnTo>
                        <a:lnTo>
                          <a:pt x="1156" y="44"/>
                        </a:lnTo>
                        <a:lnTo>
                          <a:pt x="1156" y="40"/>
                        </a:lnTo>
                        <a:lnTo>
                          <a:pt x="1154" y="36"/>
                        </a:lnTo>
                        <a:lnTo>
                          <a:pt x="1146" y="30"/>
                        </a:lnTo>
                        <a:lnTo>
                          <a:pt x="1136" y="26"/>
                        </a:lnTo>
                        <a:lnTo>
                          <a:pt x="1122" y="24"/>
                        </a:lnTo>
                        <a:lnTo>
                          <a:pt x="1094" y="20"/>
                        </a:lnTo>
                        <a:lnTo>
                          <a:pt x="1078" y="20"/>
                        </a:lnTo>
                        <a:lnTo>
                          <a:pt x="1078" y="20"/>
                        </a:lnTo>
                        <a:lnTo>
                          <a:pt x="1062" y="22"/>
                        </a:lnTo>
                        <a:lnTo>
                          <a:pt x="1050" y="22"/>
                        </a:lnTo>
                        <a:lnTo>
                          <a:pt x="1038" y="22"/>
                        </a:lnTo>
                        <a:lnTo>
                          <a:pt x="1018" y="30"/>
                        </a:lnTo>
                        <a:lnTo>
                          <a:pt x="1018" y="30"/>
                        </a:lnTo>
                        <a:lnTo>
                          <a:pt x="1004" y="34"/>
                        </a:lnTo>
                        <a:lnTo>
                          <a:pt x="990" y="38"/>
                        </a:lnTo>
                        <a:lnTo>
                          <a:pt x="962" y="40"/>
                        </a:lnTo>
                        <a:lnTo>
                          <a:pt x="948" y="40"/>
                        </a:lnTo>
                        <a:lnTo>
                          <a:pt x="948" y="40"/>
                        </a:lnTo>
                        <a:lnTo>
                          <a:pt x="948" y="38"/>
                        </a:lnTo>
                        <a:lnTo>
                          <a:pt x="958" y="36"/>
                        </a:lnTo>
                        <a:lnTo>
                          <a:pt x="958" y="36"/>
                        </a:lnTo>
                        <a:lnTo>
                          <a:pt x="986" y="30"/>
                        </a:lnTo>
                        <a:lnTo>
                          <a:pt x="1004" y="24"/>
                        </a:lnTo>
                        <a:lnTo>
                          <a:pt x="1008" y="22"/>
                        </a:lnTo>
                        <a:lnTo>
                          <a:pt x="1008" y="20"/>
                        </a:lnTo>
                        <a:lnTo>
                          <a:pt x="1006" y="20"/>
                        </a:lnTo>
                        <a:lnTo>
                          <a:pt x="998" y="18"/>
                        </a:lnTo>
                        <a:lnTo>
                          <a:pt x="980" y="16"/>
                        </a:lnTo>
                        <a:lnTo>
                          <a:pt x="980" y="16"/>
                        </a:lnTo>
                        <a:lnTo>
                          <a:pt x="958" y="16"/>
                        </a:lnTo>
                        <a:lnTo>
                          <a:pt x="942" y="14"/>
                        </a:lnTo>
                        <a:lnTo>
                          <a:pt x="912" y="6"/>
                        </a:lnTo>
                        <a:lnTo>
                          <a:pt x="900" y="2"/>
                        </a:lnTo>
                        <a:lnTo>
                          <a:pt x="888" y="0"/>
                        </a:lnTo>
                        <a:lnTo>
                          <a:pt x="874" y="0"/>
                        </a:lnTo>
                        <a:lnTo>
                          <a:pt x="858" y="2"/>
                        </a:lnTo>
                        <a:lnTo>
                          <a:pt x="858" y="2"/>
                        </a:lnTo>
                        <a:lnTo>
                          <a:pt x="830" y="4"/>
                        </a:lnTo>
                        <a:lnTo>
                          <a:pt x="808" y="4"/>
                        </a:lnTo>
                        <a:lnTo>
                          <a:pt x="788" y="4"/>
                        </a:lnTo>
                        <a:lnTo>
                          <a:pt x="776" y="6"/>
                        </a:lnTo>
                        <a:lnTo>
                          <a:pt x="762" y="10"/>
                        </a:lnTo>
                        <a:lnTo>
                          <a:pt x="762" y="10"/>
                        </a:lnTo>
                        <a:lnTo>
                          <a:pt x="746" y="14"/>
                        </a:lnTo>
                        <a:lnTo>
                          <a:pt x="728" y="14"/>
                        </a:lnTo>
                        <a:lnTo>
                          <a:pt x="690" y="10"/>
                        </a:lnTo>
                        <a:lnTo>
                          <a:pt x="666" y="10"/>
                        </a:lnTo>
                        <a:lnTo>
                          <a:pt x="640" y="10"/>
                        </a:lnTo>
                        <a:lnTo>
                          <a:pt x="608" y="12"/>
                        </a:lnTo>
                        <a:lnTo>
                          <a:pt x="574" y="20"/>
                        </a:lnTo>
                        <a:lnTo>
                          <a:pt x="574" y="20"/>
                        </a:lnTo>
                        <a:lnTo>
                          <a:pt x="556" y="22"/>
                        </a:lnTo>
                        <a:lnTo>
                          <a:pt x="540" y="22"/>
                        </a:lnTo>
                        <a:lnTo>
                          <a:pt x="526" y="20"/>
                        </a:lnTo>
                        <a:lnTo>
                          <a:pt x="514" y="16"/>
                        </a:lnTo>
                        <a:lnTo>
                          <a:pt x="500" y="14"/>
                        </a:lnTo>
                        <a:lnTo>
                          <a:pt x="490" y="12"/>
                        </a:lnTo>
                        <a:lnTo>
                          <a:pt x="478" y="14"/>
                        </a:lnTo>
                        <a:lnTo>
                          <a:pt x="466" y="18"/>
                        </a:lnTo>
                        <a:lnTo>
                          <a:pt x="466" y="18"/>
                        </a:lnTo>
                        <a:lnTo>
                          <a:pt x="454" y="22"/>
                        </a:lnTo>
                        <a:lnTo>
                          <a:pt x="442" y="24"/>
                        </a:lnTo>
                        <a:lnTo>
                          <a:pt x="432" y="24"/>
                        </a:lnTo>
                        <a:lnTo>
                          <a:pt x="422" y="24"/>
                        </a:lnTo>
                        <a:lnTo>
                          <a:pt x="416" y="22"/>
                        </a:lnTo>
                        <a:lnTo>
                          <a:pt x="412" y="24"/>
                        </a:lnTo>
                        <a:lnTo>
                          <a:pt x="416" y="28"/>
                        </a:lnTo>
                        <a:lnTo>
                          <a:pt x="424" y="36"/>
                        </a:lnTo>
                        <a:lnTo>
                          <a:pt x="424" y="36"/>
                        </a:lnTo>
                        <a:lnTo>
                          <a:pt x="430" y="44"/>
                        </a:lnTo>
                        <a:lnTo>
                          <a:pt x="430" y="46"/>
                        </a:lnTo>
                        <a:lnTo>
                          <a:pt x="430" y="48"/>
                        </a:lnTo>
                        <a:lnTo>
                          <a:pt x="424" y="48"/>
                        </a:lnTo>
                        <a:lnTo>
                          <a:pt x="414" y="46"/>
                        </a:lnTo>
                        <a:lnTo>
                          <a:pt x="404" y="44"/>
                        </a:lnTo>
                        <a:lnTo>
                          <a:pt x="392" y="42"/>
                        </a:lnTo>
                        <a:lnTo>
                          <a:pt x="384" y="44"/>
                        </a:lnTo>
                        <a:lnTo>
                          <a:pt x="380" y="46"/>
                        </a:lnTo>
                        <a:lnTo>
                          <a:pt x="378" y="50"/>
                        </a:lnTo>
                        <a:lnTo>
                          <a:pt x="378" y="50"/>
                        </a:lnTo>
                        <a:lnTo>
                          <a:pt x="376" y="58"/>
                        </a:lnTo>
                        <a:lnTo>
                          <a:pt x="372" y="62"/>
                        </a:lnTo>
                        <a:lnTo>
                          <a:pt x="366" y="66"/>
                        </a:lnTo>
                        <a:lnTo>
                          <a:pt x="360" y="68"/>
                        </a:lnTo>
                        <a:lnTo>
                          <a:pt x="352" y="70"/>
                        </a:lnTo>
                        <a:lnTo>
                          <a:pt x="340" y="70"/>
                        </a:lnTo>
                        <a:lnTo>
                          <a:pt x="312" y="68"/>
                        </a:lnTo>
                        <a:lnTo>
                          <a:pt x="312" y="68"/>
                        </a:lnTo>
                        <a:lnTo>
                          <a:pt x="300" y="66"/>
                        </a:lnTo>
                        <a:lnTo>
                          <a:pt x="292" y="64"/>
                        </a:lnTo>
                        <a:lnTo>
                          <a:pt x="290" y="60"/>
                        </a:lnTo>
                        <a:lnTo>
                          <a:pt x="290" y="58"/>
                        </a:lnTo>
                        <a:lnTo>
                          <a:pt x="290" y="56"/>
                        </a:lnTo>
                        <a:lnTo>
                          <a:pt x="288" y="54"/>
                        </a:lnTo>
                        <a:lnTo>
                          <a:pt x="280" y="52"/>
                        </a:lnTo>
                        <a:lnTo>
                          <a:pt x="264" y="52"/>
                        </a:lnTo>
                        <a:lnTo>
                          <a:pt x="264" y="52"/>
                        </a:lnTo>
                        <a:lnTo>
                          <a:pt x="250" y="52"/>
                        </a:lnTo>
                        <a:lnTo>
                          <a:pt x="244" y="52"/>
                        </a:lnTo>
                        <a:lnTo>
                          <a:pt x="244" y="56"/>
                        </a:lnTo>
                        <a:lnTo>
                          <a:pt x="246" y="60"/>
                        </a:lnTo>
                        <a:lnTo>
                          <a:pt x="248" y="64"/>
                        </a:lnTo>
                        <a:lnTo>
                          <a:pt x="248" y="66"/>
                        </a:lnTo>
                        <a:lnTo>
                          <a:pt x="248" y="68"/>
                        </a:lnTo>
                        <a:lnTo>
                          <a:pt x="240" y="72"/>
                        </a:lnTo>
                        <a:lnTo>
                          <a:pt x="224" y="76"/>
                        </a:lnTo>
                        <a:lnTo>
                          <a:pt x="224" y="76"/>
                        </a:lnTo>
                        <a:lnTo>
                          <a:pt x="208" y="78"/>
                        </a:lnTo>
                        <a:lnTo>
                          <a:pt x="206" y="78"/>
                        </a:lnTo>
                        <a:lnTo>
                          <a:pt x="206" y="80"/>
                        </a:lnTo>
                        <a:lnTo>
                          <a:pt x="212" y="82"/>
                        </a:lnTo>
                        <a:lnTo>
                          <a:pt x="224" y="86"/>
                        </a:lnTo>
                        <a:lnTo>
                          <a:pt x="248" y="92"/>
                        </a:lnTo>
                        <a:lnTo>
                          <a:pt x="254" y="94"/>
                        </a:lnTo>
                        <a:lnTo>
                          <a:pt x="252" y="96"/>
                        </a:lnTo>
                        <a:lnTo>
                          <a:pt x="248" y="98"/>
                        </a:lnTo>
                        <a:lnTo>
                          <a:pt x="248" y="98"/>
                        </a:lnTo>
                        <a:lnTo>
                          <a:pt x="238" y="98"/>
                        </a:lnTo>
                        <a:lnTo>
                          <a:pt x="228" y="98"/>
                        </a:lnTo>
                        <a:lnTo>
                          <a:pt x="206" y="92"/>
                        </a:lnTo>
                        <a:lnTo>
                          <a:pt x="194" y="90"/>
                        </a:lnTo>
                        <a:lnTo>
                          <a:pt x="180" y="88"/>
                        </a:lnTo>
                        <a:lnTo>
                          <a:pt x="166" y="86"/>
                        </a:lnTo>
                        <a:lnTo>
                          <a:pt x="146" y="88"/>
                        </a:lnTo>
                        <a:lnTo>
                          <a:pt x="146" y="88"/>
                        </a:lnTo>
                        <a:lnTo>
                          <a:pt x="130" y="92"/>
                        </a:lnTo>
                        <a:lnTo>
                          <a:pt x="120" y="94"/>
                        </a:lnTo>
                        <a:lnTo>
                          <a:pt x="112" y="98"/>
                        </a:lnTo>
                        <a:lnTo>
                          <a:pt x="108" y="102"/>
                        </a:lnTo>
                        <a:lnTo>
                          <a:pt x="104" y="106"/>
                        </a:lnTo>
                        <a:lnTo>
                          <a:pt x="100" y="106"/>
                        </a:lnTo>
                        <a:lnTo>
                          <a:pt x="92" y="108"/>
                        </a:lnTo>
                        <a:lnTo>
                          <a:pt x="80" y="106"/>
                        </a:lnTo>
                        <a:lnTo>
                          <a:pt x="80" y="106"/>
                        </a:lnTo>
                        <a:lnTo>
                          <a:pt x="66" y="104"/>
                        </a:lnTo>
                        <a:lnTo>
                          <a:pt x="50" y="104"/>
                        </a:lnTo>
                        <a:lnTo>
                          <a:pt x="36" y="108"/>
                        </a:lnTo>
                        <a:lnTo>
                          <a:pt x="22" y="112"/>
                        </a:lnTo>
                        <a:lnTo>
                          <a:pt x="12" y="118"/>
                        </a:lnTo>
                        <a:lnTo>
                          <a:pt x="4" y="124"/>
                        </a:lnTo>
                        <a:lnTo>
                          <a:pt x="0" y="130"/>
                        </a:lnTo>
                        <a:lnTo>
                          <a:pt x="2" y="134"/>
                        </a:lnTo>
                        <a:lnTo>
                          <a:pt x="4" y="138"/>
                        </a:lnTo>
                        <a:lnTo>
                          <a:pt x="4" y="138"/>
                        </a:lnTo>
                        <a:lnTo>
                          <a:pt x="8" y="142"/>
                        </a:lnTo>
                        <a:lnTo>
                          <a:pt x="12" y="144"/>
                        </a:lnTo>
                        <a:lnTo>
                          <a:pt x="16" y="144"/>
                        </a:lnTo>
                        <a:lnTo>
                          <a:pt x="22" y="144"/>
                        </a:lnTo>
                        <a:lnTo>
                          <a:pt x="32" y="144"/>
                        </a:lnTo>
                        <a:lnTo>
                          <a:pt x="36" y="144"/>
                        </a:lnTo>
                        <a:lnTo>
                          <a:pt x="44" y="148"/>
                        </a:lnTo>
                        <a:lnTo>
                          <a:pt x="44" y="14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0" name="Freeform 6107"/>
                  <p:cNvSpPr>
                    <a:spLocks/>
                  </p:cNvSpPr>
                  <p:nvPr/>
                </p:nvSpPr>
                <p:spPr bwMode="auto">
                  <a:xfrm>
                    <a:off x="2335530" y="1211263"/>
                    <a:ext cx="121920" cy="48260"/>
                  </a:xfrm>
                  <a:custGeom>
                    <a:avLst/>
                    <a:gdLst/>
                    <a:ahLst/>
                    <a:cxnLst>
                      <a:cxn ang="0">
                        <a:pos x="2" y="16"/>
                      </a:cxn>
                      <a:cxn ang="0">
                        <a:pos x="2" y="16"/>
                      </a:cxn>
                      <a:cxn ang="0">
                        <a:pos x="0" y="24"/>
                      </a:cxn>
                      <a:cxn ang="0">
                        <a:pos x="2" y="30"/>
                      </a:cxn>
                      <a:cxn ang="0">
                        <a:pos x="6" y="34"/>
                      </a:cxn>
                      <a:cxn ang="0">
                        <a:pos x="18" y="38"/>
                      </a:cxn>
                      <a:cxn ang="0">
                        <a:pos x="18" y="38"/>
                      </a:cxn>
                      <a:cxn ang="0">
                        <a:pos x="22" y="42"/>
                      </a:cxn>
                      <a:cxn ang="0">
                        <a:pos x="26" y="46"/>
                      </a:cxn>
                      <a:cxn ang="0">
                        <a:pos x="26" y="52"/>
                      </a:cxn>
                      <a:cxn ang="0">
                        <a:pos x="28" y="56"/>
                      </a:cxn>
                      <a:cxn ang="0">
                        <a:pos x="30" y="62"/>
                      </a:cxn>
                      <a:cxn ang="0">
                        <a:pos x="36" y="66"/>
                      </a:cxn>
                      <a:cxn ang="0">
                        <a:pos x="46" y="72"/>
                      </a:cxn>
                      <a:cxn ang="0">
                        <a:pos x="46" y="72"/>
                      </a:cxn>
                      <a:cxn ang="0">
                        <a:pos x="56" y="76"/>
                      </a:cxn>
                      <a:cxn ang="0">
                        <a:pos x="66" y="76"/>
                      </a:cxn>
                      <a:cxn ang="0">
                        <a:pos x="72" y="76"/>
                      </a:cxn>
                      <a:cxn ang="0">
                        <a:pos x="80" y="74"/>
                      </a:cxn>
                      <a:cxn ang="0">
                        <a:pos x="94" y="68"/>
                      </a:cxn>
                      <a:cxn ang="0">
                        <a:pos x="104" y="66"/>
                      </a:cxn>
                      <a:cxn ang="0">
                        <a:pos x="118" y="68"/>
                      </a:cxn>
                      <a:cxn ang="0">
                        <a:pos x="118" y="68"/>
                      </a:cxn>
                      <a:cxn ang="0">
                        <a:pos x="148" y="70"/>
                      </a:cxn>
                      <a:cxn ang="0">
                        <a:pos x="176" y="72"/>
                      </a:cxn>
                      <a:cxn ang="0">
                        <a:pos x="184" y="70"/>
                      </a:cxn>
                      <a:cxn ang="0">
                        <a:pos x="192" y="68"/>
                      </a:cxn>
                      <a:cxn ang="0">
                        <a:pos x="192" y="66"/>
                      </a:cxn>
                      <a:cxn ang="0">
                        <a:pos x="192" y="62"/>
                      </a:cxn>
                      <a:cxn ang="0">
                        <a:pos x="188" y="58"/>
                      </a:cxn>
                      <a:cxn ang="0">
                        <a:pos x="188" y="58"/>
                      </a:cxn>
                      <a:cxn ang="0">
                        <a:pos x="174" y="42"/>
                      </a:cxn>
                      <a:cxn ang="0">
                        <a:pos x="166" y="34"/>
                      </a:cxn>
                      <a:cxn ang="0">
                        <a:pos x="156" y="26"/>
                      </a:cxn>
                      <a:cxn ang="0">
                        <a:pos x="144" y="18"/>
                      </a:cxn>
                      <a:cxn ang="0">
                        <a:pos x="130" y="12"/>
                      </a:cxn>
                      <a:cxn ang="0">
                        <a:pos x="114" y="10"/>
                      </a:cxn>
                      <a:cxn ang="0">
                        <a:pos x="96" y="10"/>
                      </a:cxn>
                      <a:cxn ang="0">
                        <a:pos x="96" y="10"/>
                      </a:cxn>
                      <a:cxn ang="0">
                        <a:pos x="76" y="8"/>
                      </a:cxn>
                      <a:cxn ang="0">
                        <a:pos x="58" y="6"/>
                      </a:cxn>
                      <a:cxn ang="0">
                        <a:pos x="30" y="2"/>
                      </a:cxn>
                      <a:cxn ang="0">
                        <a:pos x="18" y="0"/>
                      </a:cxn>
                      <a:cxn ang="0">
                        <a:pos x="10" y="2"/>
                      </a:cxn>
                      <a:cxn ang="0">
                        <a:pos x="8" y="4"/>
                      </a:cxn>
                      <a:cxn ang="0">
                        <a:pos x="4" y="6"/>
                      </a:cxn>
                      <a:cxn ang="0">
                        <a:pos x="2" y="16"/>
                      </a:cxn>
                      <a:cxn ang="0">
                        <a:pos x="2" y="16"/>
                      </a:cxn>
                    </a:cxnLst>
                    <a:rect l="0" t="0" r="r" b="b"/>
                    <a:pathLst>
                      <a:path w="192" h="76">
                        <a:moveTo>
                          <a:pt x="2" y="16"/>
                        </a:moveTo>
                        <a:lnTo>
                          <a:pt x="2" y="16"/>
                        </a:lnTo>
                        <a:lnTo>
                          <a:pt x="0" y="24"/>
                        </a:lnTo>
                        <a:lnTo>
                          <a:pt x="2" y="30"/>
                        </a:lnTo>
                        <a:lnTo>
                          <a:pt x="6" y="34"/>
                        </a:lnTo>
                        <a:lnTo>
                          <a:pt x="18" y="38"/>
                        </a:lnTo>
                        <a:lnTo>
                          <a:pt x="18" y="38"/>
                        </a:lnTo>
                        <a:lnTo>
                          <a:pt x="22" y="42"/>
                        </a:lnTo>
                        <a:lnTo>
                          <a:pt x="26" y="46"/>
                        </a:lnTo>
                        <a:lnTo>
                          <a:pt x="26" y="52"/>
                        </a:lnTo>
                        <a:lnTo>
                          <a:pt x="28" y="56"/>
                        </a:lnTo>
                        <a:lnTo>
                          <a:pt x="30" y="62"/>
                        </a:lnTo>
                        <a:lnTo>
                          <a:pt x="36" y="66"/>
                        </a:lnTo>
                        <a:lnTo>
                          <a:pt x="46" y="72"/>
                        </a:lnTo>
                        <a:lnTo>
                          <a:pt x="46" y="72"/>
                        </a:lnTo>
                        <a:lnTo>
                          <a:pt x="56" y="76"/>
                        </a:lnTo>
                        <a:lnTo>
                          <a:pt x="66" y="76"/>
                        </a:lnTo>
                        <a:lnTo>
                          <a:pt x="72" y="76"/>
                        </a:lnTo>
                        <a:lnTo>
                          <a:pt x="80" y="74"/>
                        </a:lnTo>
                        <a:lnTo>
                          <a:pt x="94" y="68"/>
                        </a:lnTo>
                        <a:lnTo>
                          <a:pt x="104" y="66"/>
                        </a:lnTo>
                        <a:lnTo>
                          <a:pt x="118" y="68"/>
                        </a:lnTo>
                        <a:lnTo>
                          <a:pt x="118" y="68"/>
                        </a:lnTo>
                        <a:lnTo>
                          <a:pt x="148" y="70"/>
                        </a:lnTo>
                        <a:lnTo>
                          <a:pt x="176" y="72"/>
                        </a:lnTo>
                        <a:lnTo>
                          <a:pt x="184" y="70"/>
                        </a:lnTo>
                        <a:lnTo>
                          <a:pt x="192" y="68"/>
                        </a:lnTo>
                        <a:lnTo>
                          <a:pt x="192" y="66"/>
                        </a:lnTo>
                        <a:lnTo>
                          <a:pt x="192" y="62"/>
                        </a:lnTo>
                        <a:lnTo>
                          <a:pt x="188" y="58"/>
                        </a:lnTo>
                        <a:lnTo>
                          <a:pt x="188" y="58"/>
                        </a:lnTo>
                        <a:lnTo>
                          <a:pt x="174" y="42"/>
                        </a:lnTo>
                        <a:lnTo>
                          <a:pt x="166" y="34"/>
                        </a:lnTo>
                        <a:lnTo>
                          <a:pt x="156" y="26"/>
                        </a:lnTo>
                        <a:lnTo>
                          <a:pt x="144" y="18"/>
                        </a:lnTo>
                        <a:lnTo>
                          <a:pt x="130" y="12"/>
                        </a:lnTo>
                        <a:lnTo>
                          <a:pt x="114" y="10"/>
                        </a:lnTo>
                        <a:lnTo>
                          <a:pt x="96" y="10"/>
                        </a:lnTo>
                        <a:lnTo>
                          <a:pt x="96" y="10"/>
                        </a:lnTo>
                        <a:lnTo>
                          <a:pt x="76" y="8"/>
                        </a:lnTo>
                        <a:lnTo>
                          <a:pt x="58" y="6"/>
                        </a:lnTo>
                        <a:lnTo>
                          <a:pt x="30" y="2"/>
                        </a:lnTo>
                        <a:lnTo>
                          <a:pt x="18" y="0"/>
                        </a:lnTo>
                        <a:lnTo>
                          <a:pt x="10" y="2"/>
                        </a:lnTo>
                        <a:lnTo>
                          <a:pt x="8" y="4"/>
                        </a:lnTo>
                        <a:lnTo>
                          <a:pt x="4" y="6"/>
                        </a:lnTo>
                        <a:lnTo>
                          <a:pt x="2" y="16"/>
                        </a:lnTo>
                        <a:lnTo>
                          <a:pt x="2" y="1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1" name="Freeform 6108"/>
                  <p:cNvSpPr>
                    <a:spLocks/>
                  </p:cNvSpPr>
                  <p:nvPr/>
                </p:nvSpPr>
                <p:spPr bwMode="auto">
                  <a:xfrm>
                    <a:off x="1762760" y="1103313"/>
                    <a:ext cx="29210" cy="11430"/>
                  </a:xfrm>
                  <a:custGeom>
                    <a:avLst/>
                    <a:gdLst/>
                    <a:ahLst/>
                    <a:cxnLst>
                      <a:cxn ang="0">
                        <a:pos x="2" y="18"/>
                      </a:cxn>
                      <a:cxn ang="0">
                        <a:pos x="2" y="18"/>
                      </a:cxn>
                      <a:cxn ang="0">
                        <a:pos x="8" y="18"/>
                      </a:cxn>
                      <a:cxn ang="0">
                        <a:pos x="14" y="18"/>
                      </a:cxn>
                      <a:cxn ang="0">
                        <a:pos x="30" y="12"/>
                      </a:cxn>
                      <a:cxn ang="0">
                        <a:pos x="42" y="4"/>
                      </a:cxn>
                      <a:cxn ang="0">
                        <a:pos x="46" y="2"/>
                      </a:cxn>
                      <a:cxn ang="0">
                        <a:pos x="44" y="0"/>
                      </a:cxn>
                      <a:cxn ang="0">
                        <a:pos x="44" y="0"/>
                      </a:cxn>
                      <a:cxn ang="0">
                        <a:pos x="32" y="2"/>
                      </a:cxn>
                      <a:cxn ang="0">
                        <a:pos x="16" y="6"/>
                      </a:cxn>
                      <a:cxn ang="0">
                        <a:pos x="2" y="14"/>
                      </a:cxn>
                      <a:cxn ang="0">
                        <a:pos x="0" y="16"/>
                      </a:cxn>
                      <a:cxn ang="0">
                        <a:pos x="2" y="18"/>
                      </a:cxn>
                      <a:cxn ang="0">
                        <a:pos x="2" y="18"/>
                      </a:cxn>
                    </a:cxnLst>
                    <a:rect l="0" t="0" r="r" b="b"/>
                    <a:pathLst>
                      <a:path w="46" h="18">
                        <a:moveTo>
                          <a:pt x="2" y="18"/>
                        </a:moveTo>
                        <a:lnTo>
                          <a:pt x="2" y="18"/>
                        </a:lnTo>
                        <a:lnTo>
                          <a:pt x="8" y="18"/>
                        </a:lnTo>
                        <a:lnTo>
                          <a:pt x="14" y="18"/>
                        </a:lnTo>
                        <a:lnTo>
                          <a:pt x="30" y="12"/>
                        </a:lnTo>
                        <a:lnTo>
                          <a:pt x="42" y="4"/>
                        </a:lnTo>
                        <a:lnTo>
                          <a:pt x="46" y="2"/>
                        </a:lnTo>
                        <a:lnTo>
                          <a:pt x="44" y="0"/>
                        </a:lnTo>
                        <a:lnTo>
                          <a:pt x="44" y="0"/>
                        </a:lnTo>
                        <a:lnTo>
                          <a:pt x="32" y="2"/>
                        </a:lnTo>
                        <a:lnTo>
                          <a:pt x="16" y="6"/>
                        </a:lnTo>
                        <a:lnTo>
                          <a:pt x="2" y="14"/>
                        </a:lnTo>
                        <a:lnTo>
                          <a:pt x="0" y="16"/>
                        </a:lnTo>
                        <a:lnTo>
                          <a:pt x="2" y="18"/>
                        </a:lnTo>
                        <a:lnTo>
                          <a:pt x="2" y="1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2" name="Freeform 6109"/>
                  <p:cNvSpPr>
                    <a:spLocks/>
                  </p:cNvSpPr>
                  <p:nvPr/>
                </p:nvSpPr>
                <p:spPr bwMode="auto">
                  <a:xfrm>
                    <a:off x="1954530" y="1190943"/>
                    <a:ext cx="138430" cy="102870"/>
                  </a:xfrm>
                  <a:custGeom>
                    <a:avLst/>
                    <a:gdLst/>
                    <a:ahLst/>
                    <a:cxnLst>
                      <a:cxn ang="0">
                        <a:pos x="166" y="92"/>
                      </a:cxn>
                      <a:cxn ang="0">
                        <a:pos x="186" y="66"/>
                      </a:cxn>
                      <a:cxn ang="0">
                        <a:pos x="216" y="36"/>
                      </a:cxn>
                      <a:cxn ang="0">
                        <a:pos x="218" y="28"/>
                      </a:cxn>
                      <a:cxn ang="0">
                        <a:pos x="216" y="22"/>
                      </a:cxn>
                      <a:cxn ang="0">
                        <a:pos x="204" y="16"/>
                      </a:cxn>
                      <a:cxn ang="0">
                        <a:pos x="190" y="12"/>
                      </a:cxn>
                      <a:cxn ang="0">
                        <a:pos x="172" y="12"/>
                      </a:cxn>
                      <a:cxn ang="0">
                        <a:pos x="156" y="16"/>
                      </a:cxn>
                      <a:cxn ang="0">
                        <a:pos x="140" y="12"/>
                      </a:cxn>
                      <a:cxn ang="0">
                        <a:pos x="122" y="4"/>
                      </a:cxn>
                      <a:cxn ang="0">
                        <a:pos x="106" y="0"/>
                      </a:cxn>
                      <a:cxn ang="0">
                        <a:pos x="84" y="0"/>
                      </a:cxn>
                      <a:cxn ang="0">
                        <a:pos x="48" y="6"/>
                      </a:cxn>
                      <a:cxn ang="0">
                        <a:pos x="20" y="16"/>
                      </a:cxn>
                      <a:cxn ang="0">
                        <a:pos x="16" y="24"/>
                      </a:cxn>
                      <a:cxn ang="0">
                        <a:pos x="22" y="30"/>
                      </a:cxn>
                      <a:cxn ang="0">
                        <a:pos x="18" y="32"/>
                      </a:cxn>
                      <a:cxn ang="0">
                        <a:pos x="6" y="32"/>
                      </a:cxn>
                      <a:cxn ang="0">
                        <a:pos x="0" y="48"/>
                      </a:cxn>
                      <a:cxn ang="0">
                        <a:pos x="0" y="74"/>
                      </a:cxn>
                      <a:cxn ang="0">
                        <a:pos x="2" y="98"/>
                      </a:cxn>
                      <a:cxn ang="0">
                        <a:pos x="10" y="114"/>
                      </a:cxn>
                      <a:cxn ang="0">
                        <a:pos x="20" y="134"/>
                      </a:cxn>
                      <a:cxn ang="0">
                        <a:pos x="20" y="142"/>
                      </a:cxn>
                      <a:cxn ang="0">
                        <a:pos x="22" y="154"/>
                      </a:cxn>
                      <a:cxn ang="0">
                        <a:pos x="30" y="156"/>
                      </a:cxn>
                      <a:cxn ang="0">
                        <a:pos x="54" y="156"/>
                      </a:cxn>
                      <a:cxn ang="0">
                        <a:pos x="62" y="160"/>
                      </a:cxn>
                      <a:cxn ang="0">
                        <a:pos x="70" y="160"/>
                      </a:cxn>
                      <a:cxn ang="0">
                        <a:pos x="76" y="146"/>
                      </a:cxn>
                      <a:cxn ang="0">
                        <a:pos x="82" y="138"/>
                      </a:cxn>
                      <a:cxn ang="0">
                        <a:pos x="90" y="132"/>
                      </a:cxn>
                      <a:cxn ang="0">
                        <a:pos x="90" y="122"/>
                      </a:cxn>
                      <a:cxn ang="0">
                        <a:pos x="86" y="114"/>
                      </a:cxn>
                      <a:cxn ang="0">
                        <a:pos x="84" y="106"/>
                      </a:cxn>
                      <a:cxn ang="0">
                        <a:pos x="88" y="104"/>
                      </a:cxn>
                      <a:cxn ang="0">
                        <a:pos x="112" y="106"/>
                      </a:cxn>
                      <a:cxn ang="0">
                        <a:pos x="142" y="106"/>
                      </a:cxn>
                      <a:cxn ang="0">
                        <a:pos x="156" y="102"/>
                      </a:cxn>
                      <a:cxn ang="0">
                        <a:pos x="166" y="92"/>
                      </a:cxn>
                    </a:cxnLst>
                    <a:rect l="0" t="0" r="r" b="b"/>
                    <a:pathLst>
                      <a:path w="218" h="162">
                        <a:moveTo>
                          <a:pt x="166" y="92"/>
                        </a:moveTo>
                        <a:lnTo>
                          <a:pt x="166" y="92"/>
                        </a:lnTo>
                        <a:lnTo>
                          <a:pt x="176" y="80"/>
                        </a:lnTo>
                        <a:lnTo>
                          <a:pt x="186" y="66"/>
                        </a:lnTo>
                        <a:lnTo>
                          <a:pt x="208" y="46"/>
                        </a:lnTo>
                        <a:lnTo>
                          <a:pt x="216" y="36"/>
                        </a:lnTo>
                        <a:lnTo>
                          <a:pt x="218" y="32"/>
                        </a:lnTo>
                        <a:lnTo>
                          <a:pt x="218" y="28"/>
                        </a:lnTo>
                        <a:lnTo>
                          <a:pt x="218" y="24"/>
                        </a:lnTo>
                        <a:lnTo>
                          <a:pt x="216" y="22"/>
                        </a:lnTo>
                        <a:lnTo>
                          <a:pt x="210" y="18"/>
                        </a:lnTo>
                        <a:lnTo>
                          <a:pt x="204" y="16"/>
                        </a:lnTo>
                        <a:lnTo>
                          <a:pt x="204" y="16"/>
                        </a:lnTo>
                        <a:lnTo>
                          <a:pt x="190" y="12"/>
                        </a:lnTo>
                        <a:lnTo>
                          <a:pt x="180" y="12"/>
                        </a:lnTo>
                        <a:lnTo>
                          <a:pt x="172" y="12"/>
                        </a:lnTo>
                        <a:lnTo>
                          <a:pt x="166" y="14"/>
                        </a:lnTo>
                        <a:lnTo>
                          <a:pt x="156" y="16"/>
                        </a:lnTo>
                        <a:lnTo>
                          <a:pt x="148" y="16"/>
                        </a:lnTo>
                        <a:lnTo>
                          <a:pt x="140" y="12"/>
                        </a:lnTo>
                        <a:lnTo>
                          <a:pt x="140" y="12"/>
                        </a:lnTo>
                        <a:lnTo>
                          <a:pt x="122" y="4"/>
                        </a:lnTo>
                        <a:lnTo>
                          <a:pt x="114" y="2"/>
                        </a:lnTo>
                        <a:lnTo>
                          <a:pt x="106" y="0"/>
                        </a:lnTo>
                        <a:lnTo>
                          <a:pt x="96" y="0"/>
                        </a:lnTo>
                        <a:lnTo>
                          <a:pt x="84" y="0"/>
                        </a:lnTo>
                        <a:lnTo>
                          <a:pt x="48" y="6"/>
                        </a:lnTo>
                        <a:lnTo>
                          <a:pt x="48" y="6"/>
                        </a:lnTo>
                        <a:lnTo>
                          <a:pt x="30" y="10"/>
                        </a:lnTo>
                        <a:lnTo>
                          <a:pt x="20" y="16"/>
                        </a:lnTo>
                        <a:lnTo>
                          <a:pt x="16" y="20"/>
                        </a:lnTo>
                        <a:lnTo>
                          <a:pt x="16" y="24"/>
                        </a:lnTo>
                        <a:lnTo>
                          <a:pt x="22" y="30"/>
                        </a:lnTo>
                        <a:lnTo>
                          <a:pt x="22" y="30"/>
                        </a:lnTo>
                        <a:lnTo>
                          <a:pt x="18" y="32"/>
                        </a:lnTo>
                        <a:lnTo>
                          <a:pt x="18" y="32"/>
                        </a:lnTo>
                        <a:lnTo>
                          <a:pt x="8" y="30"/>
                        </a:lnTo>
                        <a:lnTo>
                          <a:pt x="6" y="32"/>
                        </a:lnTo>
                        <a:lnTo>
                          <a:pt x="4" y="36"/>
                        </a:lnTo>
                        <a:lnTo>
                          <a:pt x="0" y="48"/>
                        </a:lnTo>
                        <a:lnTo>
                          <a:pt x="0" y="74"/>
                        </a:lnTo>
                        <a:lnTo>
                          <a:pt x="0" y="74"/>
                        </a:lnTo>
                        <a:lnTo>
                          <a:pt x="0" y="88"/>
                        </a:lnTo>
                        <a:lnTo>
                          <a:pt x="2" y="98"/>
                        </a:lnTo>
                        <a:lnTo>
                          <a:pt x="6" y="108"/>
                        </a:lnTo>
                        <a:lnTo>
                          <a:pt x="10" y="114"/>
                        </a:lnTo>
                        <a:lnTo>
                          <a:pt x="18" y="126"/>
                        </a:lnTo>
                        <a:lnTo>
                          <a:pt x="20" y="134"/>
                        </a:lnTo>
                        <a:lnTo>
                          <a:pt x="20" y="142"/>
                        </a:lnTo>
                        <a:lnTo>
                          <a:pt x="20" y="142"/>
                        </a:lnTo>
                        <a:lnTo>
                          <a:pt x="20" y="150"/>
                        </a:lnTo>
                        <a:lnTo>
                          <a:pt x="22" y="154"/>
                        </a:lnTo>
                        <a:lnTo>
                          <a:pt x="26" y="156"/>
                        </a:lnTo>
                        <a:lnTo>
                          <a:pt x="30" y="156"/>
                        </a:lnTo>
                        <a:lnTo>
                          <a:pt x="46" y="156"/>
                        </a:lnTo>
                        <a:lnTo>
                          <a:pt x="54" y="156"/>
                        </a:lnTo>
                        <a:lnTo>
                          <a:pt x="62" y="160"/>
                        </a:lnTo>
                        <a:lnTo>
                          <a:pt x="62" y="160"/>
                        </a:lnTo>
                        <a:lnTo>
                          <a:pt x="68" y="162"/>
                        </a:lnTo>
                        <a:lnTo>
                          <a:pt x="70" y="160"/>
                        </a:lnTo>
                        <a:lnTo>
                          <a:pt x="76" y="146"/>
                        </a:lnTo>
                        <a:lnTo>
                          <a:pt x="76" y="146"/>
                        </a:lnTo>
                        <a:lnTo>
                          <a:pt x="78" y="140"/>
                        </a:lnTo>
                        <a:lnTo>
                          <a:pt x="82" y="138"/>
                        </a:lnTo>
                        <a:lnTo>
                          <a:pt x="88" y="134"/>
                        </a:lnTo>
                        <a:lnTo>
                          <a:pt x="90" y="132"/>
                        </a:lnTo>
                        <a:lnTo>
                          <a:pt x="90" y="128"/>
                        </a:lnTo>
                        <a:lnTo>
                          <a:pt x="90" y="122"/>
                        </a:lnTo>
                        <a:lnTo>
                          <a:pt x="86" y="114"/>
                        </a:lnTo>
                        <a:lnTo>
                          <a:pt x="86" y="114"/>
                        </a:lnTo>
                        <a:lnTo>
                          <a:pt x="84" y="110"/>
                        </a:lnTo>
                        <a:lnTo>
                          <a:pt x="84" y="106"/>
                        </a:lnTo>
                        <a:lnTo>
                          <a:pt x="86" y="104"/>
                        </a:lnTo>
                        <a:lnTo>
                          <a:pt x="88" y="104"/>
                        </a:lnTo>
                        <a:lnTo>
                          <a:pt x="98" y="104"/>
                        </a:lnTo>
                        <a:lnTo>
                          <a:pt x="112" y="106"/>
                        </a:lnTo>
                        <a:lnTo>
                          <a:pt x="128" y="108"/>
                        </a:lnTo>
                        <a:lnTo>
                          <a:pt x="142" y="106"/>
                        </a:lnTo>
                        <a:lnTo>
                          <a:pt x="150" y="106"/>
                        </a:lnTo>
                        <a:lnTo>
                          <a:pt x="156" y="102"/>
                        </a:lnTo>
                        <a:lnTo>
                          <a:pt x="162" y="98"/>
                        </a:lnTo>
                        <a:lnTo>
                          <a:pt x="166" y="92"/>
                        </a:lnTo>
                        <a:lnTo>
                          <a:pt x="166" y="9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3" name="Freeform 6110"/>
                  <p:cNvSpPr>
                    <a:spLocks/>
                  </p:cNvSpPr>
                  <p:nvPr/>
                </p:nvSpPr>
                <p:spPr bwMode="auto">
                  <a:xfrm>
                    <a:off x="2172970" y="1573213"/>
                    <a:ext cx="176530" cy="121920"/>
                  </a:xfrm>
                  <a:custGeom>
                    <a:avLst/>
                    <a:gdLst/>
                    <a:ahLst/>
                    <a:cxnLst>
                      <a:cxn ang="0">
                        <a:pos x="272" y="132"/>
                      </a:cxn>
                      <a:cxn ang="0">
                        <a:pos x="258" y="122"/>
                      </a:cxn>
                      <a:cxn ang="0">
                        <a:pos x="250" y="126"/>
                      </a:cxn>
                      <a:cxn ang="0">
                        <a:pos x="236" y="124"/>
                      </a:cxn>
                      <a:cxn ang="0">
                        <a:pos x="228" y="120"/>
                      </a:cxn>
                      <a:cxn ang="0">
                        <a:pos x="220" y="102"/>
                      </a:cxn>
                      <a:cxn ang="0">
                        <a:pos x="212" y="88"/>
                      </a:cxn>
                      <a:cxn ang="0">
                        <a:pos x="192" y="78"/>
                      </a:cxn>
                      <a:cxn ang="0">
                        <a:pos x="178" y="72"/>
                      </a:cxn>
                      <a:cxn ang="0">
                        <a:pos x="140" y="46"/>
                      </a:cxn>
                      <a:cxn ang="0">
                        <a:pos x="122" y="34"/>
                      </a:cxn>
                      <a:cxn ang="0">
                        <a:pos x="110" y="34"/>
                      </a:cxn>
                      <a:cxn ang="0">
                        <a:pos x="106" y="36"/>
                      </a:cxn>
                      <a:cxn ang="0">
                        <a:pos x="100" y="40"/>
                      </a:cxn>
                      <a:cxn ang="0">
                        <a:pos x="96" y="38"/>
                      </a:cxn>
                      <a:cxn ang="0">
                        <a:pos x="86" y="24"/>
                      </a:cxn>
                      <a:cxn ang="0">
                        <a:pos x="76" y="8"/>
                      </a:cxn>
                      <a:cxn ang="0">
                        <a:pos x="66" y="0"/>
                      </a:cxn>
                      <a:cxn ang="0">
                        <a:pos x="62" y="2"/>
                      </a:cxn>
                      <a:cxn ang="0">
                        <a:pos x="54" y="6"/>
                      </a:cxn>
                      <a:cxn ang="0">
                        <a:pos x="42" y="26"/>
                      </a:cxn>
                      <a:cxn ang="0">
                        <a:pos x="36" y="58"/>
                      </a:cxn>
                      <a:cxn ang="0">
                        <a:pos x="34" y="90"/>
                      </a:cxn>
                      <a:cxn ang="0">
                        <a:pos x="38" y="106"/>
                      </a:cxn>
                      <a:cxn ang="0">
                        <a:pos x="38" y="116"/>
                      </a:cxn>
                      <a:cxn ang="0">
                        <a:pos x="34" y="124"/>
                      </a:cxn>
                      <a:cxn ang="0">
                        <a:pos x="18" y="134"/>
                      </a:cxn>
                      <a:cxn ang="0">
                        <a:pos x="4" y="142"/>
                      </a:cxn>
                      <a:cxn ang="0">
                        <a:pos x="0" y="150"/>
                      </a:cxn>
                      <a:cxn ang="0">
                        <a:pos x="4" y="158"/>
                      </a:cxn>
                      <a:cxn ang="0">
                        <a:pos x="4" y="160"/>
                      </a:cxn>
                      <a:cxn ang="0">
                        <a:pos x="16" y="162"/>
                      </a:cxn>
                      <a:cxn ang="0">
                        <a:pos x="50" y="156"/>
                      </a:cxn>
                      <a:cxn ang="0">
                        <a:pos x="64" y="156"/>
                      </a:cxn>
                      <a:cxn ang="0">
                        <a:pos x="66" y="162"/>
                      </a:cxn>
                      <a:cxn ang="0">
                        <a:pos x="66" y="166"/>
                      </a:cxn>
                      <a:cxn ang="0">
                        <a:pos x="70" y="182"/>
                      </a:cxn>
                      <a:cxn ang="0">
                        <a:pos x="82" y="190"/>
                      </a:cxn>
                      <a:cxn ang="0">
                        <a:pos x="96" y="190"/>
                      </a:cxn>
                      <a:cxn ang="0">
                        <a:pos x="110" y="176"/>
                      </a:cxn>
                      <a:cxn ang="0">
                        <a:pos x="114" y="166"/>
                      </a:cxn>
                      <a:cxn ang="0">
                        <a:pos x="124" y="160"/>
                      </a:cxn>
                      <a:cxn ang="0">
                        <a:pos x="134" y="158"/>
                      </a:cxn>
                      <a:cxn ang="0">
                        <a:pos x="142" y="150"/>
                      </a:cxn>
                      <a:cxn ang="0">
                        <a:pos x="144" y="142"/>
                      </a:cxn>
                      <a:cxn ang="0">
                        <a:pos x="154" y="128"/>
                      </a:cxn>
                      <a:cxn ang="0">
                        <a:pos x="170" y="124"/>
                      </a:cxn>
                      <a:cxn ang="0">
                        <a:pos x="184" y="130"/>
                      </a:cxn>
                      <a:cxn ang="0">
                        <a:pos x="192" y="142"/>
                      </a:cxn>
                      <a:cxn ang="0">
                        <a:pos x="194" y="148"/>
                      </a:cxn>
                      <a:cxn ang="0">
                        <a:pos x="198" y="154"/>
                      </a:cxn>
                      <a:cxn ang="0">
                        <a:pos x="214" y="156"/>
                      </a:cxn>
                      <a:cxn ang="0">
                        <a:pos x="232" y="160"/>
                      </a:cxn>
                      <a:cxn ang="0">
                        <a:pos x="254" y="162"/>
                      </a:cxn>
                      <a:cxn ang="0">
                        <a:pos x="272" y="158"/>
                      </a:cxn>
                      <a:cxn ang="0">
                        <a:pos x="278" y="148"/>
                      </a:cxn>
                      <a:cxn ang="0">
                        <a:pos x="272" y="132"/>
                      </a:cxn>
                    </a:cxnLst>
                    <a:rect l="0" t="0" r="r" b="b"/>
                    <a:pathLst>
                      <a:path w="278" h="192">
                        <a:moveTo>
                          <a:pt x="272" y="132"/>
                        </a:moveTo>
                        <a:lnTo>
                          <a:pt x="272" y="132"/>
                        </a:lnTo>
                        <a:lnTo>
                          <a:pt x="262" y="122"/>
                        </a:lnTo>
                        <a:lnTo>
                          <a:pt x="258" y="122"/>
                        </a:lnTo>
                        <a:lnTo>
                          <a:pt x="256" y="122"/>
                        </a:lnTo>
                        <a:lnTo>
                          <a:pt x="250" y="126"/>
                        </a:lnTo>
                        <a:lnTo>
                          <a:pt x="244" y="126"/>
                        </a:lnTo>
                        <a:lnTo>
                          <a:pt x="236" y="124"/>
                        </a:lnTo>
                        <a:lnTo>
                          <a:pt x="236" y="124"/>
                        </a:lnTo>
                        <a:lnTo>
                          <a:pt x="228" y="120"/>
                        </a:lnTo>
                        <a:lnTo>
                          <a:pt x="224" y="114"/>
                        </a:lnTo>
                        <a:lnTo>
                          <a:pt x="220" y="102"/>
                        </a:lnTo>
                        <a:lnTo>
                          <a:pt x="218" y="96"/>
                        </a:lnTo>
                        <a:lnTo>
                          <a:pt x="212" y="88"/>
                        </a:lnTo>
                        <a:lnTo>
                          <a:pt x="204" y="82"/>
                        </a:lnTo>
                        <a:lnTo>
                          <a:pt x="192" y="78"/>
                        </a:lnTo>
                        <a:lnTo>
                          <a:pt x="192" y="78"/>
                        </a:lnTo>
                        <a:lnTo>
                          <a:pt x="178" y="72"/>
                        </a:lnTo>
                        <a:lnTo>
                          <a:pt x="164" y="64"/>
                        </a:lnTo>
                        <a:lnTo>
                          <a:pt x="140" y="46"/>
                        </a:lnTo>
                        <a:lnTo>
                          <a:pt x="130" y="38"/>
                        </a:lnTo>
                        <a:lnTo>
                          <a:pt x="122" y="34"/>
                        </a:lnTo>
                        <a:lnTo>
                          <a:pt x="114" y="32"/>
                        </a:lnTo>
                        <a:lnTo>
                          <a:pt x="110" y="34"/>
                        </a:lnTo>
                        <a:lnTo>
                          <a:pt x="106" y="36"/>
                        </a:lnTo>
                        <a:lnTo>
                          <a:pt x="106" y="36"/>
                        </a:lnTo>
                        <a:lnTo>
                          <a:pt x="104" y="38"/>
                        </a:lnTo>
                        <a:lnTo>
                          <a:pt x="100" y="40"/>
                        </a:lnTo>
                        <a:lnTo>
                          <a:pt x="98" y="40"/>
                        </a:lnTo>
                        <a:lnTo>
                          <a:pt x="96" y="38"/>
                        </a:lnTo>
                        <a:lnTo>
                          <a:pt x="90" y="32"/>
                        </a:lnTo>
                        <a:lnTo>
                          <a:pt x="86" y="24"/>
                        </a:lnTo>
                        <a:lnTo>
                          <a:pt x="82" y="14"/>
                        </a:lnTo>
                        <a:lnTo>
                          <a:pt x="76" y="8"/>
                        </a:lnTo>
                        <a:lnTo>
                          <a:pt x="70" y="2"/>
                        </a:lnTo>
                        <a:lnTo>
                          <a:pt x="66" y="0"/>
                        </a:lnTo>
                        <a:lnTo>
                          <a:pt x="62" y="2"/>
                        </a:lnTo>
                        <a:lnTo>
                          <a:pt x="62" y="2"/>
                        </a:lnTo>
                        <a:lnTo>
                          <a:pt x="58" y="2"/>
                        </a:lnTo>
                        <a:lnTo>
                          <a:pt x="54" y="6"/>
                        </a:lnTo>
                        <a:lnTo>
                          <a:pt x="48" y="14"/>
                        </a:lnTo>
                        <a:lnTo>
                          <a:pt x="42" y="26"/>
                        </a:lnTo>
                        <a:lnTo>
                          <a:pt x="38" y="42"/>
                        </a:lnTo>
                        <a:lnTo>
                          <a:pt x="36" y="58"/>
                        </a:lnTo>
                        <a:lnTo>
                          <a:pt x="34" y="74"/>
                        </a:lnTo>
                        <a:lnTo>
                          <a:pt x="34" y="90"/>
                        </a:lnTo>
                        <a:lnTo>
                          <a:pt x="38" y="106"/>
                        </a:lnTo>
                        <a:lnTo>
                          <a:pt x="38" y="106"/>
                        </a:lnTo>
                        <a:lnTo>
                          <a:pt x="38" y="112"/>
                        </a:lnTo>
                        <a:lnTo>
                          <a:pt x="38" y="116"/>
                        </a:lnTo>
                        <a:lnTo>
                          <a:pt x="36" y="122"/>
                        </a:lnTo>
                        <a:lnTo>
                          <a:pt x="34" y="124"/>
                        </a:lnTo>
                        <a:lnTo>
                          <a:pt x="26" y="130"/>
                        </a:lnTo>
                        <a:lnTo>
                          <a:pt x="18" y="134"/>
                        </a:lnTo>
                        <a:lnTo>
                          <a:pt x="10" y="138"/>
                        </a:lnTo>
                        <a:lnTo>
                          <a:pt x="4" y="142"/>
                        </a:lnTo>
                        <a:lnTo>
                          <a:pt x="2" y="146"/>
                        </a:lnTo>
                        <a:lnTo>
                          <a:pt x="0" y="150"/>
                        </a:lnTo>
                        <a:lnTo>
                          <a:pt x="2" y="154"/>
                        </a:lnTo>
                        <a:lnTo>
                          <a:pt x="4" y="158"/>
                        </a:lnTo>
                        <a:lnTo>
                          <a:pt x="4" y="158"/>
                        </a:lnTo>
                        <a:lnTo>
                          <a:pt x="4" y="160"/>
                        </a:lnTo>
                        <a:lnTo>
                          <a:pt x="8" y="162"/>
                        </a:lnTo>
                        <a:lnTo>
                          <a:pt x="16" y="162"/>
                        </a:lnTo>
                        <a:lnTo>
                          <a:pt x="38" y="158"/>
                        </a:lnTo>
                        <a:lnTo>
                          <a:pt x="50" y="156"/>
                        </a:lnTo>
                        <a:lnTo>
                          <a:pt x="60" y="156"/>
                        </a:lnTo>
                        <a:lnTo>
                          <a:pt x="64" y="156"/>
                        </a:lnTo>
                        <a:lnTo>
                          <a:pt x="66" y="158"/>
                        </a:lnTo>
                        <a:lnTo>
                          <a:pt x="66" y="162"/>
                        </a:lnTo>
                        <a:lnTo>
                          <a:pt x="66" y="166"/>
                        </a:lnTo>
                        <a:lnTo>
                          <a:pt x="66" y="166"/>
                        </a:lnTo>
                        <a:lnTo>
                          <a:pt x="66" y="174"/>
                        </a:lnTo>
                        <a:lnTo>
                          <a:pt x="70" y="182"/>
                        </a:lnTo>
                        <a:lnTo>
                          <a:pt x="74" y="188"/>
                        </a:lnTo>
                        <a:lnTo>
                          <a:pt x="82" y="190"/>
                        </a:lnTo>
                        <a:lnTo>
                          <a:pt x="88" y="192"/>
                        </a:lnTo>
                        <a:lnTo>
                          <a:pt x="96" y="190"/>
                        </a:lnTo>
                        <a:lnTo>
                          <a:pt x="104" y="184"/>
                        </a:lnTo>
                        <a:lnTo>
                          <a:pt x="110" y="176"/>
                        </a:lnTo>
                        <a:lnTo>
                          <a:pt x="110" y="176"/>
                        </a:lnTo>
                        <a:lnTo>
                          <a:pt x="114" y="166"/>
                        </a:lnTo>
                        <a:lnTo>
                          <a:pt x="120" y="162"/>
                        </a:lnTo>
                        <a:lnTo>
                          <a:pt x="124" y="160"/>
                        </a:lnTo>
                        <a:lnTo>
                          <a:pt x="130" y="158"/>
                        </a:lnTo>
                        <a:lnTo>
                          <a:pt x="134" y="158"/>
                        </a:lnTo>
                        <a:lnTo>
                          <a:pt x="138" y="156"/>
                        </a:lnTo>
                        <a:lnTo>
                          <a:pt x="142" y="150"/>
                        </a:lnTo>
                        <a:lnTo>
                          <a:pt x="144" y="142"/>
                        </a:lnTo>
                        <a:lnTo>
                          <a:pt x="144" y="142"/>
                        </a:lnTo>
                        <a:lnTo>
                          <a:pt x="148" y="134"/>
                        </a:lnTo>
                        <a:lnTo>
                          <a:pt x="154" y="128"/>
                        </a:lnTo>
                        <a:lnTo>
                          <a:pt x="162" y="124"/>
                        </a:lnTo>
                        <a:lnTo>
                          <a:pt x="170" y="124"/>
                        </a:lnTo>
                        <a:lnTo>
                          <a:pt x="178" y="126"/>
                        </a:lnTo>
                        <a:lnTo>
                          <a:pt x="184" y="130"/>
                        </a:lnTo>
                        <a:lnTo>
                          <a:pt x="190" y="136"/>
                        </a:lnTo>
                        <a:lnTo>
                          <a:pt x="192" y="142"/>
                        </a:lnTo>
                        <a:lnTo>
                          <a:pt x="192" y="142"/>
                        </a:lnTo>
                        <a:lnTo>
                          <a:pt x="194" y="148"/>
                        </a:lnTo>
                        <a:lnTo>
                          <a:pt x="196" y="152"/>
                        </a:lnTo>
                        <a:lnTo>
                          <a:pt x="198" y="154"/>
                        </a:lnTo>
                        <a:lnTo>
                          <a:pt x="202" y="156"/>
                        </a:lnTo>
                        <a:lnTo>
                          <a:pt x="214" y="156"/>
                        </a:lnTo>
                        <a:lnTo>
                          <a:pt x="232" y="160"/>
                        </a:lnTo>
                        <a:lnTo>
                          <a:pt x="232" y="160"/>
                        </a:lnTo>
                        <a:lnTo>
                          <a:pt x="244" y="162"/>
                        </a:lnTo>
                        <a:lnTo>
                          <a:pt x="254" y="162"/>
                        </a:lnTo>
                        <a:lnTo>
                          <a:pt x="264" y="160"/>
                        </a:lnTo>
                        <a:lnTo>
                          <a:pt x="272" y="158"/>
                        </a:lnTo>
                        <a:lnTo>
                          <a:pt x="276" y="154"/>
                        </a:lnTo>
                        <a:lnTo>
                          <a:pt x="278" y="148"/>
                        </a:lnTo>
                        <a:lnTo>
                          <a:pt x="278" y="140"/>
                        </a:lnTo>
                        <a:lnTo>
                          <a:pt x="272" y="132"/>
                        </a:lnTo>
                        <a:lnTo>
                          <a:pt x="272" y="13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4" name="Freeform 6111"/>
                  <p:cNvSpPr>
                    <a:spLocks/>
                  </p:cNvSpPr>
                  <p:nvPr/>
                </p:nvSpPr>
                <p:spPr bwMode="auto">
                  <a:xfrm>
                    <a:off x="2178050" y="1465263"/>
                    <a:ext cx="15240" cy="24130"/>
                  </a:xfrm>
                  <a:custGeom>
                    <a:avLst/>
                    <a:gdLst/>
                    <a:ahLst/>
                    <a:cxnLst>
                      <a:cxn ang="0">
                        <a:pos x="4" y="28"/>
                      </a:cxn>
                      <a:cxn ang="0">
                        <a:pos x="4" y="28"/>
                      </a:cxn>
                      <a:cxn ang="0">
                        <a:pos x="12" y="36"/>
                      </a:cxn>
                      <a:cxn ang="0">
                        <a:pos x="16" y="38"/>
                      </a:cxn>
                      <a:cxn ang="0">
                        <a:pos x="18" y="38"/>
                      </a:cxn>
                      <a:cxn ang="0">
                        <a:pos x="22" y="36"/>
                      </a:cxn>
                      <a:cxn ang="0">
                        <a:pos x="24" y="30"/>
                      </a:cxn>
                      <a:cxn ang="0">
                        <a:pos x="24" y="12"/>
                      </a:cxn>
                      <a:cxn ang="0">
                        <a:pos x="20" y="0"/>
                      </a:cxn>
                      <a:cxn ang="0">
                        <a:pos x="20" y="0"/>
                      </a:cxn>
                      <a:cxn ang="0">
                        <a:pos x="18" y="0"/>
                      </a:cxn>
                      <a:cxn ang="0">
                        <a:pos x="14" y="0"/>
                      </a:cxn>
                      <a:cxn ang="0">
                        <a:pos x="10" y="2"/>
                      </a:cxn>
                      <a:cxn ang="0">
                        <a:pos x="6" y="6"/>
                      </a:cxn>
                      <a:cxn ang="0">
                        <a:pos x="2" y="10"/>
                      </a:cxn>
                      <a:cxn ang="0">
                        <a:pos x="0" y="16"/>
                      </a:cxn>
                      <a:cxn ang="0">
                        <a:pos x="0" y="22"/>
                      </a:cxn>
                      <a:cxn ang="0">
                        <a:pos x="4" y="28"/>
                      </a:cxn>
                      <a:cxn ang="0">
                        <a:pos x="4" y="28"/>
                      </a:cxn>
                    </a:cxnLst>
                    <a:rect l="0" t="0" r="r" b="b"/>
                    <a:pathLst>
                      <a:path w="24" h="38">
                        <a:moveTo>
                          <a:pt x="4" y="28"/>
                        </a:moveTo>
                        <a:lnTo>
                          <a:pt x="4" y="28"/>
                        </a:lnTo>
                        <a:lnTo>
                          <a:pt x="12" y="36"/>
                        </a:lnTo>
                        <a:lnTo>
                          <a:pt x="16" y="38"/>
                        </a:lnTo>
                        <a:lnTo>
                          <a:pt x="18" y="38"/>
                        </a:lnTo>
                        <a:lnTo>
                          <a:pt x="22" y="36"/>
                        </a:lnTo>
                        <a:lnTo>
                          <a:pt x="24" y="30"/>
                        </a:lnTo>
                        <a:lnTo>
                          <a:pt x="24" y="12"/>
                        </a:lnTo>
                        <a:lnTo>
                          <a:pt x="20" y="0"/>
                        </a:lnTo>
                        <a:lnTo>
                          <a:pt x="20" y="0"/>
                        </a:lnTo>
                        <a:lnTo>
                          <a:pt x="18" y="0"/>
                        </a:lnTo>
                        <a:lnTo>
                          <a:pt x="14" y="0"/>
                        </a:lnTo>
                        <a:lnTo>
                          <a:pt x="10" y="2"/>
                        </a:lnTo>
                        <a:lnTo>
                          <a:pt x="6" y="6"/>
                        </a:lnTo>
                        <a:lnTo>
                          <a:pt x="2" y="10"/>
                        </a:lnTo>
                        <a:lnTo>
                          <a:pt x="0" y="16"/>
                        </a:lnTo>
                        <a:lnTo>
                          <a:pt x="0" y="22"/>
                        </a:lnTo>
                        <a:lnTo>
                          <a:pt x="4" y="28"/>
                        </a:lnTo>
                        <a:lnTo>
                          <a:pt x="4" y="2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5" name="Freeform 6112"/>
                  <p:cNvSpPr>
                    <a:spLocks/>
                  </p:cNvSpPr>
                  <p:nvPr/>
                </p:nvSpPr>
                <p:spPr bwMode="auto">
                  <a:xfrm>
                    <a:off x="2258060" y="1697673"/>
                    <a:ext cx="52070" cy="36830"/>
                  </a:xfrm>
                  <a:custGeom>
                    <a:avLst/>
                    <a:gdLst/>
                    <a:ahLst/>
                    <a:cxnLst>
                      <a:cxn ang="0">
                        <a:pos x="78" y="4"/>
                      </a:cxn>
                      <a:cxn ang="0">
                        <a:pos x="78" y="4"/>
                      </a:cxn>
                      <a:cxn ang="0">
                        <a:pos x="72" y="2"/>
                      </a:cxn>
                      <a:cxn ang="0">
                        <a:pos x="68" y="0"/>
                      </a:cxn>
                      <a:cxn ang="0">
                        <a:pos x="54" y="2"/>
                      </a:cxn>
                      <a:cxn ang="0">
                        <a:pos x="38" y="6"/>
                      </a:cxn>
                      <a:cxn ang="0">
                        <a:pos x="24" y="14"/>
                      </a:cxn>
                      <a:cxn ang="0">
                        <a:pos x="12" y="22"/>
                      </a:cxn>
                      <a:cxn ang="0">
                        <a:pos x="4" y="32"/>
                      </a:cxn>
                      <a:cxn ang="0">
                        <a:pos x="0" y="38"/>
                      </a:cxn>
                      <a:cxn ang="0">
                        <a:pos x="0" y="42"/>
                      </a:cxn>
                      <a:cxn ang="0">
                        <a:pos x="2" y="48"/>
                      </a:cxn>
                      <a:cxn ang="0">
                        <a:pos x="6" y="52"/>
                      </a:cxn>
                      <a:cxn ang="0">
                        <a:pos x="6" y="52"/>
                      </a:cxn>
                      <a:cxn ang="0">
                        <a:pos x="10" y="56"/>
                      </a:cxn>
                      <a:cxn ang="0">
                        <a:pos x="16" y="58"/>
                      </a:cxn>
                      <a:cxn ang="0">
                        <a:pos x="22" y="58"/>
                      </a:cxn>
                      <a:cxn ang="0">
                        <a:pos x="28" y="56"/>
                      </a:cxn>
                      <a:cxn ang="0">
                        <a:pos x="42" y="50"/>
                      </a:cxn>
                      <a:cxn ang="0">
                        <a:pos x="58" y="42"/>
                      </a:cxn>
                      <a:cxn ang="0">
                        <a:pos x="70" y="32"/>
                      </a:cxn>
                      <a:cxn ang="0">
                        <a:pos x="78" y="20"/>
                      </a:cxn>
                      <a:cxn ang="0">
                        <a:pos x="80" y="16"/>
                      </a:cxn>
                      <a:cxn ang="0">
                        <a:pos x="82" y="10"/>
                      </a:cxn>
                      <a:cxn ang="0">
                        <a:pos x="80" y="6"/>
                      </a:cxn>
                      <a:cxn ang="0">
                        <a:pos x="78" y="4"/>
                      </a:cxn>
                      <a:cxn ang="0">
                        <a:pos x="78" y="4"/>
                      </a:cxn>
                    </a:cxnLst>
                    <a:rect l="0" t="0" r="r" b="b"/>
                    <a:pathLst>
                      <a:path w="82" h="58">
                        <a:moveTo>
                          <a:pt x="78" y="4"/>
                        </a:moveTo>
                        <a:lnTo>
                          <a:pt x="78" y="4"/>
                        </a:lnTo>
                        <a:lnTo>
                          <a:pt x="72" y="2"/>
                        </a:lnTo>
                        <a:lnTo>
                          <a:pt x="68" y="0"/>
                        </a:lnTo>
                        <a:lnTo>
                          <a:pt x="54" y="2"/>
                        </a:lnTo>
                        <a:lnTo>
                          <a:pt x="38" y="6"/>
                        </a:lnTo>
                        <a:lnTo>
                          <a:pt x="24" y="14"/>
                        </a:lnTo>
                        <a:lnTo>
                          <a:pt x="12" y="22"/>
                        </a:lnTo>
                        <a:lnTo>
                          <a:pt x="4" y="32"/>
                        </a:lnTo>
                        <a:lnTo>
                          <a:pt x="0" y="38"/>
                        </a:lnTo>
                        <a:lnTo>
                          <a:pt x="0" y="42"/>
                        </a:lnTo>
                        <a:lnTo>
                          <a:pt x="2" y="48"/>
                        </a:lnTo>
                        <a:lnTo>
                          <a:pt x="6" y="52"/>
                        </a:lnTo>
                        <a:lnTo>
                          <a:pt x="6" y="52"/>
                        </a:lnTo>
                        <a:lnTo>
                          <a:pt x="10" y="56"/>
                        </a:lnTo>
                        <a:lnTo>
                          <a:pt x="16" y="58"/>
                        </a:lnTo>
                        <a:lnTo>
                          <a:pt x="22" y="58"/>
                        </a:lnTo>
                        <a:lnTo>
                          <a:pt x="28" y="56"/>
                        </a:lnTo>
                        <a:lnTo>
                          <a:pt x="42" y="50"/>
                        </a:lnTo>
                        <a:lnTo>
                          <a:pt x="58" y="42"/>
                        </a:lnTo>
                        <a:lnTo>
                          <a:pt x="70" y="32"/>
                        </a:lnTo>
                        <a:lnTo>
                          <a:pt x="78" y="20"/>
                        </a:lnTo>
                        <a:lnTo>
                          <a:pt x="80" y="16"/>
                        </a:lnTo>
                        <a:lnTo>
                          <a:pt x="82" y="10"/>
                        </a:lnTo>
                        <a:lnTo>
                          <a:pt x="80" y="6"/>
                        </a:lnTo>
                        <a:lnTo>
                          <a:pt x="78" y="4"/>
                        </a:lnTo>
                        <a:lnTo>
                          <a:pt x="78"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6" name="Freeform 6113"/>
                  <p:cNvSpPr>
                    <a:spLocks/>
                  </p:cNvSpPr>
                  <p:nvPr/>
                </p:nvSpPr>
                <p:spPr bwMode="auto">
                  <a:xfrm>
                    <a:off x="1357630" y="1230313"/>
                    <a:ext cx="467360" cy="227330"/>
                  </a:xfrm>
                  <a:custGeom>
                    <a:avLst/>
                    <a:gdLst/>
                    <a:ahLst/>
                    <a:cxnLst>
                      <a:cxn ang="0">
                        <a:pos x="700" y="272"/>
                      </a:cxn>
                      <a:cxn ang="0">
                        <a:pos x="720" y="274"/>
                      </a:cxn>
                      <a:cxn ang="0">
                        <a:pos x="736" y="254"/>
                      </a:cxn>
                      <a:cxn ang="0">
                        <a:pos x="708" y="238"/>
                      </a:cxn>
                      <a:cxn ang="0">
                        <a:pos x="684" y="224"/>
                      </a:cxn>
                      <a:cxn ang="0">
                        <a:pos x="646" y="206"/>
                      </a:cxn>
                      <a:cxn ang="0">
                        <a:pos x="608" y="190"/>
                      </a:cxn>
                      <a:cxn ang="0">
                        <a:pos x="586" y="166"/>
                      </a:cxn>
                      <a:cxn ang="0">
                        <a:pos x="592" y="128"/>
                      </a:cxn>
                      <a:cxn ang="0">
                        <a:pos x="560" y="58"/>
                      </a:cxn>
                      <a:cxn ang="0">
                        <a:pos x="506" y="10"/>
                      </a:cxn>
                      <a:cxn ang="0">
                        <a:pos x="482" y="10"/>
                      </a:cxn>
                      <a:cxn ang="0">
                        <a:pos x="438" y="8"/>
                      </a:cxn>
                      <a:cxn ang="0">
                        <a:pos x="450" y="68"/>
                      </a:cxn>
                      <a:cxn ang="0">
                        <a:pos x="478" y="114"/>
                      </a:cxn>
                      <a:cxn ang="0">
                        <a:pos x="456" y="132"/>
                      </a:cxn>
                      <a:cxn ang="0">
                        <a:pos x="420" y="68"/>
                      </a:cxn>
                      <a:cxn ang="0">
                        <a:pos x="382" y="40"/>
                      </a:cxn>
                      <a:cxn ang="0">
                        <a:pos x="354" y="26"/>
                      </a:cxn>
                      <a:cxn ang="0">
                        <a:pos x="352" y="40"/>
                      </a:cxn>
                      <a:cxn ang="0">
                        <a:pos x="372" y="58"/>
                      </a:cxn>
                      <a:cxn ang="0">
                        <a:pos x="336" y="62"/>
                      </a:cxn>
                      <a:cxn ang="0">
                        <a:pos x="318" y="74"/>
                      </a:cxn>
                      <a:cxn ang="0">
                        <a:pos x="296" y="40"/>
                      </a:cxn>
                      <a:cxn ang="0">
                        <a:pos x="224" y="38"/>
                      </a:cxn>
                      <a:cxn ang="0">
                        <a:pos x="190" y="60"/>
                      </a:cxn>
                      <a:cxn ang="0">
                        <a:pos x="206" y="32"/>
                      </a:cxn>
                      <a:cxn ang="0">
                        <a:pos x="196" y="2"/>
                      </a:cxn>
                      <a:cxn ang="0">
                        <a:pos x="100" y="26"/>
                      </a:cxn>
                      <a:cxn ang="0">
                        <a:pos x="22" y="72"/>
                      </a:cxn>
                      <a:cxn ang="0">
                        <a:pos x="40" y="86"/>
                      </a:cxn>
                      <a:cxn ang="0">
                        <a:pos x="2" y="116"/>
                      </a:cxn>
                      <a:cxn ang="0">
                        <a:pos x="14" y="130"/>
                      </a:cxn>
                      <a:cxn ang="0">
                        <a:pos x="34" y="146"/>
                      </a:cxn>
                      <a:cxn ang="0">
                        <a:pos x="116" y="140"/>
                      </a:cxn>
                      <a:cxn ang="0">
                        <a:pos x="76" y="160"/>
                      </a:cxn>
                      <a:cxn ang="0">
                        <a:pos x="44" y="192"/>
                      </a:cxn>
                      <a:cxn ang="0">
                        <a:pos x="110" y="204"/>
                      </a:cxn>
                      <a:cxn ang="0">
                        <a:pos x="210" y="202"/>
                      </a:cxn>
                      <a:cxn ang="0">
                        <a:pos x="276" y="214"/>
                      </a:cxn>
                      <a:cxn ang="0">
                        <a:pos x="294" y="230"/>
                      </a:cxn>
                      <a:cxn ang="0">
                        <a:pos x="168" y="230"/>
                      </a:cxn>
                      <a:cxn ang="0">
                        <a:pos x="70" y="254"/>
                      </a:cxn>
                      <a:cxn ang="0">
                        <a:pos x="122" y="300"/>
                      </a:cxn>
                      <a:cxn ang="0">
                        <a:pos x="222" y="308"/>
                      </a:cxn>
                      <a:cxn ang="0">
                        <a:pos x="232" y="350"/>
                      </a:cxn>
                      <a:cxn ang="0">
                        <a:pos x="314" y="358"/>
                      </a:cxn>
                      <a:cxn ang="0">
                        <a:pos x="420" y="332"/>
                      </a:cxn>
                      <a:cxn ang="0">
                        <a:pos x="478" y="318"/>
                      </a:cxn>
                      <a:cxn ang="0">
                        <a:pos x="490" y="296"/>
                      </a:cxn>
                      <a:cxn ang="0">
                        <a:pos x="516" y="294"/>
                      </a:cxn>
                      <a:cxn ang="0">
                        <a:pos x="540" y="312"/>
                      </a:cxn>
                      <a:cxn ang="0">
                        <a:pos x="560" y="324"/>
                      </a:cxn>
                      <a:cxn ang="0">
                        <a:pos x="592" y="328"/>
                      </a:cxn>
                      <a:cxn ang="0">
                        <a:pos x="640" y="334"/>
                      </a:cxn>
                      <a:cxn ang="0">
                        <a:pos x="680" y="324"/>
                      </a:cxn>
                      <a:cxn ang="0">
                        <a:pos x="700" y="306"/>
                      </a:cxn>
                      <a:cxn ang="0">
                        <a:pos x="692" y="288"/>
                      </a:cxn>
                      <a:cxn ang="0">
                        <a:pos x="648" y="300"/>
                      </a:cxn>
                      <a:cxn ang="0">
                        <a:pos x="632" y="278"/>
                      </a:cxn>
                      <a:cxn ang="0">
                        <a:pos x="660" y="282"/>
                      </a:cxn>
                      <a:cxn ang="0">
                        <a:pos x="668" y="272"/>
                      </a:cxn>
                    </a:cxnLst>
                    <a:rect l="0" t="0" r="r" b="b"/>
                    <a:pathLst>
                      <a:path w="736" h="358">
                        <a:moveTo>
                          <a:pt x="674" y="264"/>
                        </a:moveTo>
                        <a:lnTo>
                          <a:pt x="674" y="264"/>
                        </a:lnTo>
                        <a:lnTo>
                          <a:pt x="682" y="262"/>
                        </a:lnTo>
                        <a:lnTo>
                          <a:pt x="686" y="262"/>
                        </a:lnTo>
                        <a:lnTo>
                          <a:pt x="690" y="264"/>
                        </a:lnTo>
                        <a:lnTo>
                          <a:pt x="694" y="268"/>
                        </a:lnTo>
                        <a:lnTo>
                          <a:pt x="700" y="272"/>
                        </a:lnTo>
                        <a:lnTo>
                          <a:pt x="702" y="274"/>
                        </a:lnTo>
                        <a:lnTo>
                          <a:pt x="704" y="272"/>
                        </a:lnTo>
                        <a:lnTo>
                          <a:pt x="704" y="272"/>
                        </a:lnTo>
                        <a:lnTo>
                          <a:pt x="710" y="268"/>
                        </a:lnTo>
                        <a:lnTo>
                          <a:pt x="714" y="268"/>
                        </a:lnTo>
                        <a:lnTo>
                          <a:pt x="718" y="272"/>
                        </a:lnTo>
                        <a:lnTo>
                          <a:pt x="720" y="274"/>
                        </a:lnTo>
                        <a:lnTo>
                          <a:pt x="726" y="274"/>
                        </a:lnTo>
                        <a:lnTo>
                          <a:pt x="726" y="274"/>
                        </a:lnTo>
                        <a:lnTo>
                          <a:pt x="730" y="274"/>
                        </a:lnTo>
                        <a:lnTo>
                          <a:pt x="734" y="272"/>
                        </a:lnTo>
                        <a:lnTo>
                          <a:pt x="736" y="268"/>
                        </a:lnTo>
                        <a:lnTo>
                          <a:pt x="736" y="264"/>
                        </a:lnTo>
                        <a:lnTo>
                          <a:pt x="736" y="254"/>
                        </a:lnTo>
                        <a:lnTo>
                          <a:pt x="734" y="244"/>
                        </a:lnTo>
                        <a:lnTo>
                          <a:pt x="734" y="244"/>
                        </a:lnTo>
                        <a:lnTo>
                          <a:pt x="732" y="240"/>
                        </a:lnTo>
                        <a:lnTo>
                          <a:pt x="728" y="238"/>
                        </a:lnTo>
                        <a:lnTo>
                          <a:pt x="720" y="238"/>
                        </a:lnTo>
                        <a:lnTo>
                          <a:pt x="712" y="238"/>
                        </a:lnTo>
                        <a:lnTo>
                          <a:pt x="708" y="238"/>
                        </a:lnTo>
                        <a:lnTo>
                          <a:pt x="708" y="234"/>
                        </a:lnTo>
                        <a:lnTo>
                          <a:pt x="708" y="234"/>
                        </a:lnTo>
                        <a:lnTo>
                          <a:pt x="706" y="230"/>
                        </a:lnTo>
                        <a:lnTo>
                          <a:pt x="704" y="230"/>
                        </a:lnTo>
                        <a:lnTo>
                          <a:pt x="698" y="228"/>
                        </a:lnTo>
                        <a:lnTo>
                          <a:pt x="692" y="228"/>
                        </a:lnTo>
                        <a:lnTo>
                          <a:pt x="684" y="224"/>
                        </a:lnTo>
                        <a:lnTo>
                          <a:pt x="674" y="218"/>
                        </a:lnTo>
                        <a:lnTo>
                          <a:pt x="660" y="210"/>
                        </a:lnTo>
                        <a:lnTo>
                          <a:pt x="660" y="210"/>
                        </a:lnTo>
                        <a:lnTo>
                          <a:pt x="652" y="204"/>
                        </a:lnTo>
                        <a:lnTo>
                          <a:pt x="648" y="200"/>
                        </a:lnTo>
                        <a:lnTo>
                          <a:pt x="644" y="202"/>
                        </a:lnTo>
                        <a:lnTo>
                          <a:pt x="646" y="206"/>
                        </a:lnTo>
                        <a:lnTo>
                          <a:pt x="646" y="206"/>
                        </a:lnTo>
                        <a:lnTo>
                          <a:pt x="646" y="208"/>
                        </a:lnTo>
                        <a:lnTo>
                          <a:pt x="642" y="210"/>
                        </a:lnTo>
                        <a:lnTo>
                          <a:pt x="632" y="208"/>
                        </a:lnTo>
                        <a:lnTo>
                          <a:pt x="618" y="200"/>
                        </a:lnTo>
                        <a:lnTo>
                          <a:pt x="612" y="196"/>
                        </a:lnTo>
                        <a:lnTo>
                          <a:pt x="608" y="190"/>
                        </a:lnTo>
                        <a:lnTo>
                          <a:pt x="608" y="190"/>
                        </a:lnTo>
                        <a:lnTo>
                          <a:pt x="602" y="184"/>
                        </a:lnTo>
                        <a:lnTo>
                          <a:pt x="598" y="180"/>
                        </a:lnTo>
                        <a:lnTo>
                          <a:pt x="590" y="174"/>
                        </a:lnTo>
                        <a:lnTo>
                          <a:pt x="586" y="172"/>
                        </a:lnTo>
                        <a:lnTo>
                          <a:pt x="584" y="168"/>
                        </a:lnTo>
                        <a:lnTo>
                          <a:pt x="586" y="166"/>
                        </a:lnTo>
                        <a:lnTo>
                          <a:pt x="588" y="162"/>
                        </a:lnTo>
                        <a:lnTo>
                          <a:pt x="588" y="162"/>
                        </a:lnTo>
                        <a:lnTo>
                          <a:pt x="594" y="152"/>
                        </a:lnTo>
                        <a:lnTo>
                          <a:pt x="596" y="146"/>
                        </a:lnTo>
                        <a:lnTo>
                          <a:pt x="596" y="140"/>
                        </a:lnTo>
                        <a:lnTo>
                          <a:pt x="594" y="134"/>
                        </a:lnTo>
                        <a:lnTo>
                          <a:pt x="592" y="128"/>
                        </a:lnTo>
                        <a:lnTo>
                          <a:pt x="588" y="124"/>
                        </a:lnTo>
                        <a:lnTo>
                          <a:pt x="582" y="118"/>
                        </a:lnTo>
                        <a:lnTo>
                          <a:pt x="582" y="118"/>
                        </a:lnTo>
                        <a:lnTo>
                          <a:pt x="576" y="112"/>
                        </a:lnTo>
                        <a:lnTo>
                          <a:pt x="572" y="102"/>
                        </a:lnTo>
                        <a:lnTo>
                          <a:pt x="566" y="82"/>
                        </a:lnTo>
                        <a:lnTo>
                          <a:pt x="560" y="58"/>
                        </a:lnTo>
                        <a:lnTo>
                          <a:pt x="554" y="48"/>
                        </a:lnTo>
                        <a:lnTo>
                          <a:pt x="548" y="38"/>
                        </a:lnTo>
                        <a:lnTo>
                          <a:pt x="548" y="38"/>
                        </a:lnTo>
                        <a:lnTo>
                          <a:pt x="540" y="28"/>
                        </a:lnTo>
                        <a:lnTo>
                          <a:pt x="532" y="24"/>
                        </a:lnTo>
                        <a:lnTo>
                          <a:pt x="522" y="20"/>
                        </a:lnTo>
                        <a:lnTo>
                          <a:pt x="506" y="10"/>
                        </a:lnTo>
                        <a:lnTo>
                          <a:pt x="506" y="10"/>
                        </a:lnTo>
                        <a:lnTo>
                          <a:pt x="498" y="6"/>
                        </a:lnTo>
                        <a:lnTo>
                          <a:pt x="492" y="4"/>
                        </a:lnTo>
                        <a:lnTo>
                          <a:pt x="490" y="4"/>
                        </a:lnTo>
                        <a:lnTo>
                          <a:pt x="488" y="6"/>
                        </a:lnTo>
                        <a:lnTo>
                          <a:pt x="486" y="8"/>
                        </a:lnTo>
                        <a:lnTo>
                          <a:pt x="482" y="10"/>
                        </a:lnTo>
                        <a:lnTo>
                          <a:pt x="476" y="10"/>
                        </a:lnTo>
                        <a:lnTo>
                          <a:pt x="464" y="6"/>
                        </a:lnTo>
                        <a:lnTo>
                          <a:pt x="464" y="6"/>
                        </a:lnTo>
                        <a:lnTo>
                          <a:pt x="450" y="2"/>
                        </a:lnTo>
                        <a:lnTo>
                          <a:pt x="446" y="2"/>
                        </a:lnTo>
                        <a:lnTo>
                          <a:pt x="440" y="4"/>
                        </a:lnTo>
                        <a:lnTo>
                          <a:pt x="438" y="8"/>
                        </a:lnTo>
                        <a:lnTo>
                          <a:pt x="436" y="12"/>
                        </a:lnTo>
                        <a:lnTo>
                          <a:pt x="436" y="20"/>
                        </a:lnTo>
                        <a:lnTo>
                          <a:pt x="440" y="28"/>
                        </a:lnTo>
                        <a:lnTo>
                          <a:pt x="440" y="28"/>
                        </a:lnTo>
                        <a:lnTo>
                          <a:pt x="444" y="38"/>
                        </a:lnTo>
                        <a:lnTo>
                          <a:pt x="446" y="48"/>
                        </a:lnTo>
                        <a:lnTo>
                          <a:pt x="450" y="68"/>
                        </a:lnTo>
                        <a:lnTo>
                          <a:pt x="454" y="78"/>
                        </a:lnTo>
                        <a:lnTo>
                          <a:pt x="458" y="88"/>
                        </a:lnTo>
                        <a:lnTo>
                          <a:pt x="464" y="98"/>
                        </a:lnTo>
                        <a:lnTo>
                          <a:pt x="472" y="106"/>
                        </a:lnTo>
                        <a:lnTo>
                          <a:pt x="472" y="106"/>
                        </a:lnTo>
                        <a:lnTo>
                          <a:pt x="476" y="110"/>
                        </a:lnTo>
                        <a:lnTo>
                          <a:pt x="478" y="114"/>
                        </a:lnTo>
                        <a:lnTo>
                          <a:pt x="478" y="116"/>
                        </a:lnTo>
                        <a:lnTo>
                          <a:pt x="474" y="118"/>
                        </a:lnTo>
                        <a:lnTo>
                          <a:pt x="468" y="122"/>
                        </a:lnTo>
                        <a:lnTo>
                          <a:pt x="462" y="128"/>
                        </a:lnTo>
                        <a:lnTo>
                          <a:pt x="462" y="128"/>
                        </a:lnTo>
                        <a:lnTo>
                          <a:pt x="458" y="130"/>
                        </a:lnTo>
                        <a:lnTo>
                          <a:pt x="456" y="132"/>
                        </a:lnTo>
                        <a:lnTo>
                          <a:pt x="452" y="130"/>
                        </a:lnTo>
                        <a:lnTo>
                          <a:pt x="446" y="122"/>
                        </a:lnTo>
                        <a:lnTo>
                          <a:pt x="434" y="104"/>
                        </a:lnTo>
                        <a:lnTo>
                          <a:pt x="434" y="104"/>
                        </a:lnTo>
                        <a:lnTo>
                          <a:pt x="430" y="94"/>
                        </a:lnTo>
                        <a:lnTo>
                          <a:pt x="426" y="84"/>
                        </a:lnTo>
                        <a:lnTo>
                          <a:pt x="420" y="68"/>
                        </a:lnTo>
                        <a:lnTo>
                          <a:pt x="418" y="62"/>
                        </a:lnTo>
                        <a:lnTo>
                          <a:pt x="412" y="56"/>
                        </a:lnTo>
                        <a:lnTo>
                          <a:pt x="406" y="50"/>
                        </a:lnTo>
                        <a:lnTo>
                          <a:pt x="396" y="46"/>
                        </a:lnTo>
                        <a:lnTo>
                          <a:pt x="396" y="46"/>
                        </a:lnTo>
                        <a:lnTo>
                          <a:pt x="384" y="42"/>
                        </a:lnTo>
                        <a:lnTo>
                          <a:pt x="382" y="40"/>
                        </a:lnTo>
                        <a:lnTo>
                          <a:pt x="384" y="38"/>
                        </a:lnTo>
                        <a:lnTo>
                          <a:pt x="384" y="36"/>
                        </a:lnTo>
                        <a:lnTo>
                          <a:pt x="384" y="34"/>
                        </a:lnTo>
                        <a:lnTo>
                          <a:pt x="380" y="32"/>
                        </a:lnTo>
                        <a:lnTo>
                          <a:pt x="372" y="30"/>
                        </a:lnTo>
                        <a:lnTo>
                          <a:pt x="372" y="30"/>
                        </a:lnTo>
                        <a:lnTo>
                          <a:pt x="354" y="26"/>
                        </a:lnTo>
                        <a:lnTo>
                          <a:pt x="340" y="26"/>
                        </a:lnTo>
                        <a:lnTo>
                          <a:pt x="338" y="28"/>
                        </a:lnTo>
                        <a:lnTo>
                          <a:pt x="338" y="30"/>
                        </a:lnTo>
                        <a:lnTo>
                          <a:pt x="340" y="32"/>
                        </a:lnTo>
                        <a:lnTo>
                          <a:pt x="346" y="36"/>
                        </a:lnTo>
                        <a:lnTo>
                          <a:pt x="346" y="36"/>
                        </a:lnTo>
                        <a:lnTo>
                          <a:pt x="352" y="40"/>
                        </a:lnTo>
                        <a:lnTo>
                          <a:pt x="356" y="44"/>
                        </a:lnTo>
                        <a:lnTo>
                          <a:pt x="358" y="46"/>
                        </a:lnTo>
                        <a:lnTo>
                          <a:pt x="356" y="48"/>
                        </a:lnTo>
                        <a:lnTo>
                          <a:pt x="356" y="52"/>
                        </a:lnTo>
                        <a:lnTo>
                          <a:pt x="362" y="54"/>
                        </a:lnTo>
                        <a:lnTo>
                          <a:pt x="362" y="54"/>
                        </a:lnTo>
                        <a:lnTo>
                          <a:pt x="372" y="58"/>
                        </a:lnTo>
                        <a:lnTo>
                          <a:pt x="376" y="62"/>
                        </a:lnTo>
                        <a:lnTo>
                          <a:pt x="376" y="64"/>
                        </a:lnTo>
                        <a:lnTo>
                          <a:pt x="372" y="64"/>
                        </a:lnTo>
                        <a:lnTo>
                          <a:pt x="354" y="60"/>
                        </a:lnTo>
                        <a:lnTo>
                          <a:pt x="354" y="60"/>
                        </a:lnTo>
                        <a:lnTo>
                          <a:pt x="344" y="60"/>
                        </a:lnTo>
                        <a:lnTo>
                          <a:pt x="336" y="62"/>
                        </a:lnTo>
                        <a:lnTo>
                          <a:pt x="332" y="66"/>
                        </a:lnTo>
                        <a:lnTo>
                          <a:pt x="330" y="70"/>
                        </a:lnTo>
                        <a:lnTo>
                          <a:pt x="328" y="76"/>
                        </a:lnTo>
                        <a:lnTo>
                          <a:pt x="326" y="78"/>
                        </a:lnTo>
                        <a:lnTo>
                          <a:pt x="322" y="78"/>
                        </a:lnTo>
                        <a:lnTo>
                          <a:pt x="318" y="74"/>
                        </a:lnTo>
                        <a:lnTo>
                          <a:pt x="318" y="74"/>
                        </a:lnTo>
                        <a:lnTo>
                          <a:pt x="314" y="68"/>
                        </a:lnTo>
                        <a:lnTo>
                          <a:pt x="314" y="64"/>
                        </a:lnTo>
                        <a:lnTo>
                          <a:pt x="318" y="56"/>
                        </a:lnTo>
                        <a:lnTo>
                          <a:pt x="318" y="52"/>
                        </a:lnTo>
                        <a:lnTo>
                          <a:pt x="316" y="48"/>
                        </a:lnTo>
                        <a:lnTo>
                          <a:pt x="310" y="44"/>
                        </a:lnTo>
                        <a:lnTo>
                          <a:pt x="296" y="40"/>
                        </a:lnTo>
                        <a:lnTo>
                          <a:pt x="296" y="40"/>
                        </a:lnTo>
                        <a:lnTo>
                          <a:pt x="268" y="34"/>
                        </a:lnTo>
                        <a:lnTo>
                          <a:pt x="250" y="30"/>
                        </a:lnTo>
                        <a:lnTo>
                          <a:pt x="238" y="32"/>
                        </a:lnTo>
                        <a:lnTo>
                          <a:pt x="230" y="36"/>
                        </a:lnTo>
                        <a:lnTo>
                          <a:pt x="230" y="36"/>
                        </a:lnTo>
                        <a:lnTo>
                          <a:pt x="224" y="38"/>
                        </a:lnTo>
                        <a:lnTo>
                          <a:pt x="224" y="42"/>
                        </a:lnTo>
                        <a:lnTo>
                          <a:pt x="226" y="46"/>
                        </a:lnTo>
                        <a:lnTo>
                          <a:pt x="224" y="48"/>
                        </a:lnTo>
                        <a:lnTo>
                          <a:pt x="220" y="50"/>
                        </a:lnTo>
                        <a:lnTo>
                          <a:pt x="198" y="58"/>
                        </a:lnTo>
                        <a:lnTo>
                          <a:pt x="198" y="58"/>
                        </a:lnTo>
                        <a:lnTo>
                          <a:pt x="190" y="60"/>
                        </a:lnTo>
                        <a:lnTo>
                          <a:pt x="186" y="60"/>
                        </a:lnTo>
                        <a:lnTo>
                          <a:pt x="192" y="54"/>
                        </a:lnTo>
                        <a:lnTo>
                          <a:pt x="204" y="44"/>
                        </a:lnTo>
                        <a:lnTo>
                          <a:pt x="206" y="40"/>
                        </a:lnTo>
                        <a:lnTo>
                          <a:pt x="206" y="36"/>
                        </a:lnTo>
                        <a:lnTo>
                          <a:pt x="206" y="36"/>
                        </a:lnTo>
                        <a:lnTo>
                          <a:pt x="206" y="32"/>
                        </a:lnTo>
                        <a:lnTo>
                          <a:pt x="206" y="28"/>
                        </a:lnTo>
                        <a:lnTo>
                          <a:pt x="208" y="20"/>
                        </a:lnTo>
                        <a:lnTo>
                          <a:pt x="208" y="16"/>
                        </a:lnTo>
                        <a:lnTo>
                          <a:pt x="208" y="12"/>
                        </a:lnTo>
                        <a:lnTo>
                          <a:pt x="204" y="8"/>
                        </a:lnTo>
                        <a:lnTo>
                          <a:pt x="196" y="2"/>
                        </a:lnTo>
                        <a:lnTo>
                          <a:pt x="196" y="2"/>
                        </a:lnTo>
                        <a:lnTo>
                          <a:pt x="186" y="0"/>
                        </a:lnTo>
                        <a:lnTo>
                          <a:pt x="176" y="0"/>
                        </a:lnTo>
                        <a:lnTo>
                          <a:pt x="162" y="4"/>
                        </a:lnTo>
                        <a:lnTo>
                          <a:pt x="150" y="8"/>
                        </a:lnTo>
                        <a:lnTo>
                          <a:pt x="122" y="18"/>
                        </a:lnTo>
                        <a:lnTo>
                          <a:pt x="100" y="26"/>
                        </a:lnTo>
                        <a:lnTo>
                          <a:pt x="100" y="26"/>
                        </a:lnTo>
                        <a:lnTo>
                          <a:pt x="82" y="32"/>
                        </a:lnTo>
                        <a:lnTo>
                          <a:pt x="66" y="40"/>
                        </a:lnTo>
                        <a:lnTo>
                          <a:pt x="32" y="60"/>
                        </a:lnTo>
                        <a:lnTo>
                          <a:pt x="32" y="60"/>
                        </a:lnTo>
                        <a:lnTo>
                          <a:pt x="24" y="66"/>
                        </a:lnTo>
                        <a:lnTo>
                          <a:pt x="22" y="70"/>
                        </a:lnTo>
                        <a:lnTo>
                          <a:pt x="22" y="72"/>
                        </a:lnTo>
                        <a:lnTo>
                          <a:pt x="26" y="74"/>
                        </a:lnTo>
                        <a:lnTo>
                          <a:pt x="36" y="78"/>
                        </a:lnTo>
                        <a:lnTo>
                          <a:pt x="40" y="80"/>
                        </a:lnTo>
                        <a:lnTo>
                          <a:pt x="42" y="82"/>
                        </a:lnTo>
                        <a:lnTo>
                          <a:pt x="42" y="82"/>
                        </a:lnTo>
                        <a:lnTo>
                          <a:pt x="42" y="86"/>
                        </a:lnTo>
                        <a:lnTo>
                          <a:pt x="40" y="86"/>
                        </a:lnTo>
                        <a:lnTo>
                          <a:pt x="32" y="90"/>
                        </a:lnTo>
                        <a:lnTo>
                          <a:pt x="20" y="94"/>
                        </a:lnTo>
                        <a:lnTo>
                          <a:pt x="16" y="98"/>
                        </a:lnTo>
                        <a:lnTo>
                          <a:pt x="10" y="104"/>
                        </a:lnTo>
                        <a:lnTo>
                          <a:pt x="10" y="104"/>
                        </a:lnTo>
                        <a:lnTo>
                          <a:pt x="4" y="110"/>
                        </a:lnTo>
                        <a:lnTo>
                          <a:pt x="2" y="116"/>
                        </a:lnTo>
                        <a:lnTo>
                          <a:pt x="0" y="122"/>
                        </a:lnTo>
                        <a:lnTo>
                          <a:pt x="0" y="126"/>
                        </a:lnTo>
                        <a:lnTo>
                          <a:pt x="2" y="130"/>
                        </a:lnTo>
                        <a:lnTo>
                          <a:pt x="6" y="132"/>
                        </a:lnTo>
                        <a:lnTo>
                          <a:pt x="10" y="132"/>
                        </a:lnTo>
                        <a:lnTo>
                          <a:pt x="14" y="130"/>
                        </a:lnTo>
                        <a:lnTo>
                          <a:pt x="14" y="130"/>
                        </a:lnTo>
                        <a:lnTo>
                          <a:pt x="20" y="128"/>
                        </a:lnTo>
                        <a:lnTo>
                          <a:pt x="24" y="126"/>
                        </a:lnTo>
                        <a:lnTo>
                          <a:pt x="26" y="128"/>
                        </a:lnTo>
                        <a:lnTo>
                          <a:pt x="28" y="130"/>
                        </a:lnTo>
                        <a:lnTo>
                          <a:pt x="30" y="138"/>
                        </a:lnTo>
                        <a:lnTo>
                          <a:pt x="34" y="146"/>
                        </a:lnTo>
                        <a:lnTo>
                          <a:pt x="34" y="146"/>
                        </a:lnTo>
                        <a:lnTo>
                          <a:pt x="38" y="150"/>
                        </a:lnTo>
                        <a:lnTo>
                          <a:pt x="44" y="150"/>
                        </a:lnTo>
                        <a:lnTo>
                          <a:pt x="64" y="150"/>
                        </a:lnTo>
                        <a:lnTo>
                          <a:pt x="88" y="144"/>
                        </a:lnTo>
                        <a:lnTo>
                          <a:pt x="104" y="140"/>
                        </a:lnTo>
                        <a:lnTo>
                          <a:pt x="104" y="140"/>
                        </a:lnTo>
                        <a:lnTo>
                          <a:pt x="116" y="140"/>
                        </a:lnTo>
                        <a:lnTo>
                          <a:pt x="120" y="142"/>
                        </a:lnTo>
                        <a:lnTo>
                          <a:pt x="122" y="144"/>
                        </a:lnTo>
                        <a:lnTo>
                          <a:pt x="120" y="146"/>
                        </a:lnTo>
                        <a:lnTo>
                          <a:pt x="114" y="150"/>
                        </a:lnTo>
                        <a:lnTo>
                          <a:pt x="98" y="156"/>
                        </a:lnTo>
                        <a:lnTo>
                          <a:pt x="76" y="160"/>
                        </a:lnTo>
                        <a:lnTo>
                          <a:pt x="76" y="160"/>
                        </a:lnTo>
                        <a:lnTo>
                          <a:pt x="46" y="168"/>
                        </a:lnTo>
                        <a:lnTo>
                          <a:pt x="38" y="170"/>
                        </a:lnTo>
                        <a:lnTo>
                          <a:pt x="34" y="174"/>
                        </a:lnTo>
                        <a:lnTo>
                          <a:pt x="32" y="178"/>
                        </a:lnTo>
                        <a:lnTo>
                          <a:pt x="34" y="182"/>
                        </a:lnTo>
                        <a:lnTo>
                          <a:pt x="38" y="188"/>
                        </a:lnTo>
                        <a:lnTo>
                          <a:pt x="44" y="192"/>
                        </a:lnTo>
                        <a:lnTo>
                          <a:pt x="44" y="192"/>
                        </a:lnTo>
                        <a:lnTo>
                          <a:pt x="56" y="202"/>
                        </a:lnTo>
                        <a:lnTo>
                          <a:pt x="66" y="206"/>
                        </a:lnTo>
                        <a:lnTo>
                          <a:pt x="76" y="206"/>
                        </a:lnTo>
                        <a:lnTo>
                          <a:pt x="94" y="204"/>
                        </a:lnTo>
                        <a:lnTo>
                          <a:pt x="94" y="204"/>
                        </a:lnTo>
                        <a:lnTo>
                          <a:pt x="110" y="204"/>
                        </a:lnTo>
                        <a:lnTo>
                          <a:pt x="120" y="206"/>
                        </a:lnTo>
                        <a:lnTo>
                          <a:pt x="132" y="208"/>
                        </a:lnTo>
                        <a:lnTo>
                          <a:pt x="152" y="208"/>
                        </a:lnTo>
                        <a:lnTo>
                          <a:pt x="152" y="208"/>
                        </a:lnTo>
                        <a:lnTo>
                          <a:pt x="176" y="206"/>
                        </a:lnTo>
                        <a:lnTo>
                          <a:pt x="194" y="202"/>
                        </a:lnTo>
                        <a:lnTo>
                          <a:pt x="210" y="202"/>
                        </a:lnTo>
                        <a:lnTo>
                          <a:pt x="220" y="202"/>
                        </a:lnTo>
                        <a:lnTo>
                          <a:pt x="232" y="204"/>
                        </a:lnTo>
                        <a:lnTo>
                          <a:pt x="232" y="204"/>
                        </a:lnTo>
                        <a:lnTo>
                          <a:pt x="250" y="208"/>
                        </a:lnTo>
                        <a:lnTo>
                          <a:pt x="262" y="210"/>
                        </a:lnTo>
                        <a:lnTo>
                          <a:pt x="268" y="210"/>
                        </a:lnTo>
                        <a:lnTo>
                          <a:pt x="276" y="214"/>
                        </a:lnTo>
                        <a:lnTo>
                          <a:pt x="276" y="214"/>
                        </a:lnTo>
                        <a:lnTo>
                          <a:pt x="290" y="220"/>
                        </a:lnTo>
                        <a:lnTo>
                          <a:pt x="302" y="226"/>
                        </a:lnTo>
                        <a:lnTo>
                          <a:pt x="306" y="228"/>
                        </a:lnTo>
                        <a:lnTo>
                          <a:pt x="306" y="230"/>
                        </a:lnTo>
                        <a:lnTo>
                          <a:pt x="294" y="230"/>
                        </a:lnTo>
                        <a:lnTo>
                          <a:pt x="294" y="230"/>
                        </a:lnTo>
                        <a:lnTo>
                          <a:pt x="280" y="230"/>
                        </a:lnTo>
                        <a:lnTo>
                          <a:pt x="276" y="232"/>
                        </a:lnTo>
                        <a:lnTo>
                          <a:pt x="268" y="232"/>
                        </a:lnTo>
                        <a:lnTo>
                          <a:pt x="246" y="230"/>
                        </a:lnTo>
                        <a:lnTo>
                          <a:pt x="246" y="230"/>
                        </a:lnTo>
                        <a:lnTo>
                          <a:pt x="210" y="228"/>
                        </a:lnTo>
                        <a:lnTo>
                          <a:pt x="168" y="230"/>
                        </a:lnTo>
                        <a:lnTo>
                          <a:pt x="126" y="234"/>
                        </a:lnTo>
                        <a:lnTo>
                          <a:pt x="90" y="240"/>
                        </a:lnTo>
                        <a:lnTo>
                          <a:pt x="90" y="240"/>
                        </a:lnTo>
                        <a:lnTo>
                          <a:pt x="76" y="244"/>
                        </a:lnTo>
                        <a:lnTo>
                          <a:pt x="70" y="250"/>
                        </a:lnTo>
                        <a:lnTo>
                          <a:pt x="70" y="252"/>
                        </a:lnTo>
                        <a:lnTo>
                          <a:pt x="70" y="254"/>
                        </a:lnTo>
                        <a:lnTo>
                          <a:pt x="72" y="262"/>
                        </a:lnTo>
                        <a:lnTo>
                          <a:pt x="78" y="268"/>
                        </a:lnTo>
                        <a:lnTo>
                          <a:pt x="86" y="274"/>
                        </a:lnTo>
                        <a:lnTo>
                          <a:pt x="100" y="290"/>
                        </a:lnTo>
                        <a:lnTo>
                          <a:pt x="100" y="290"/>
                        </a:lnTo>
                        <a:lnTo>
                          <a:pt x="110" y="296"/>
                        </a:lnTo>
                        <a:lnTo>
                          <a:pt x="122" y="300"/>
                        </a:lnTo>
                        <a:lnTo>
                          <a:pt x="138" y="302"/>
                        </a:lnTo>
                        <a:lnTo>
                          <a:pt x="156" y="304"/>
                        </a:lnTo>
                        <a:lnTo>
                          <a:pt x="190" y="304"/>
                        </a:lnTo>
                        <a:lnTo>
                          <a:pt x="214" y="304"/>
                        </a:lnTo>
                        <a:lnTo>
                          <a:pt x="214" y="304"/>
                        </a:lnTo>
                        <a:lnTo>
                          <a:pt x="220" y="306"/>
                        </a:lnTo>
                        <a:lnTo>
                          <a:pt x="222" y="308"/>
                        </a:lnTo>
                        <a:lnTo>
                          <a:pt x="224" y="314"/>
                        </a:lnTo>
                        <a:lnTo>
                          <a:pt x="224" y="320"/>
                        </a:lnTo>
                        <a:lnTo>
                          <a:pt x="222" y="332"/>
                        </a:lnTo>
                        <a:lnTo>
                          <a:pt x="222" y="338"/>
                        </a:lnTo>
                        <a:lnTo>
                          <a:pt x="224" y="342"/>
                        </a:lnTo>
                        <a:lnTo>
                          <a:pt x="224" y="342"/>
                        </a:lnTo>
                        <a:lnTo>
                          <a:pt x="232" y="350"/>
                        </a:lnTo>
                        <a:lnTo>
                          <a:pt x="238" y="356"/>
                        </a:lnTo>
                        <a:lnTo>
                          <a:pt x="246" y="358"/>
                        </a:lnTo>
                        <a:lnTo>
                          <a:pt x="260" y="358"/>
                        </a:lnTo>
                        <a:lnTo>
                          <a:pt x="260" y="358"/>
                        </a:lnTo>
                        <a:lnTo>
                          <a:pt x="282" y="358"/>
                        </a:lnTo>
                        <a:lnTo>
                          <a:pt x="300" y="358"/>
                        </a:lnTo>
                        <a:lnTo>
                          <a:pt x="314" y="358"/>
                        </a:lnTo>
                        <a:lnTo>
                          <a:pt x="324" y="356"/>
                        </a:lnTo>
                        <a:lnTo>
                          <a:pt x="324" y="356"/>
                        </a:lnTo>
                        <a:lnTo>
                          <a:pt x="342" y="352"/>
                        </a:lnTo>
                        <a:lnTo>
                          <a:pt x="370" y="348"/>
                        </a:lnTo>
                        <a:lnTo>
                          <a:pt x="398" y="342"/>
                        </a:lnTo>
                        <a:lnTo>
                          <a:pt x="412" y="338"/>
                        </a:lnTo>
                        <a:lnTo>
                          <a:pt x="420" y="332"/>
                        </a:lnTo>
                        <a:lnTo>
                          <a:pt x="420" y="332"/>
                        </a:lnTo>
                        <a:lnTo>
                          <a:pt x="428" y="328"/>
                        </a:lnTo>
                        <a:lnTo>
                          <a:pt x="436" y="326"/>
                        </a:lnTo>
                        <a:lnTo>
                          <a:pt x="450" y="326"/>
                        </a:lnTo>
                        <a:lnTo>
                          <a:pt x="462" y="324"/>
                        </a:lnTo>
                        <a:lnTo>
                          <a:pt x="470" y="322"/>
                        </a:lnTo>
                        <a:lnTo>
                          <a:pt x="478" y="318"/>
                        </a:lnTo>
                        <a:lnTo>
                          <a:pt x="478" y="318"/>
                        </a:lnTo>
                        <a:lnTo>
                          <a:pt x="486" y="312"/>
                        </a:lnTo>
                        <a:lnTo>
                          <a:pt x="488" y="308"/>
                        </a:lnTo>
                        <a:lnTo>
                          <a:pt x="490" y="304"/>
                        </a:lnTo>
                        <a:lnTo>
                          <a:pt x="490" y="302"/>
                        </a:lnTo>
                        <a:lnTo>
                          <a:pt x="490" y="300"/>
                        </a:lnTo>
                        <a:lnTo>
                          <a:pt x="490" y="296"/>
                        </a:lnTo>
                        <a:lnTo>
                          <a:pt x="494" y="294"/>
                        </a:lnTo>
                        <a:lnTo>
                          <a:pt x="500" y="290"/>
                        </a:lnTo>
                        <a:lnTo>
                          <a:pt x="500" y="290"/>
                        </a:lnTo>
                        <a:lnTo>
                          <a:pt x="506" y="288"/>
                        </a:lnTo>
                        <a:lnTo>
                          <a:pt x="512" y="290"/>
                        </a:lnTo>
                        <a:lnTo>
                          <a:pt x="514" y="292"/>
                        </a:lnTo>
                        <a:lnTo>
                          <a:pt x="516" y="294"/>
                        </a:lnTo>
                        <a:lnTo>
                          <a:pt x="514" y="304"/>
                        </a:lnTo>
                        <a:lnTo>
                          <a:pt x="514" y="304"/>
                        </a:lnTo>
                        <a:lnTo>
                          <a:pt x="514" y="312"/>
                        </a:lnTo>
                        <a:lnTo>
                          <a:pt x="514" y="312"/>
                        </a:lnTo>
                        <a:lnTo>
                          <a:pt x="518" y="312"/>
                        </a:lnTo>
                        <a:lnTo>
                          <a:pt x="530" y="310"/>
                        </a:lnTo>
                        <a:lnTo>
                          <a:pt x="540" y="312"/>
                        </a:lnTo>
                        <a:lnTo>
                          <a:pt x="554" y="314"/>
                        </a:lnTo>
                        <a:lnTo>
                          <a:pt x="554" y="314"/>
                        </a:lnTo>
                        <a:lnTo>
                          <a:pt x="564" y="318"/>
                        </a:lnTo>
                        <a:lnTo>
                          <a:pt x="568" y="320"/>
                        </a:lnTo>
                        <a:lnTo>
                          <a:pt x="568" y="322"/>
                        </a:lnTo>
                        <a:lnTo>
                          <a:pt x="566" y="322"/>
                        </a:lnTo>
                        <a:lnTo>
                          <a:pt x="560" y="324"/>
                        </a:lnTo>
                        <a:lnTo>
                          <a:pt x="562" y="326"/>
                        </a:lnTo>
                        <a:lnTo>
                          <a:pt x="568" y="330"/>
                        </a:lnTo>
                        <a:lnTo>
                          <a:pt x="568" y="330"/>
                        </a:lnTo>
                        <a:lnTo>
                          <a:pt x="576" y="332"/>
                        </a:lnTo>
                        <a:lnTo>
                          <a:pt x="582" y="332"/>
                        </a:lnTo>
                        <a:lnTo>
                          <a:pt x="588" y="330"/>
                        </a:lnTo>
                        <a:lnTo>
                          <a:pt x="592" y="328"/>
                        </a:lnTo>
                        <a:lnTo>
                          <a:pt x="596" y="328"/>
                        </a:lnTo>
                        <a:lnTo>
                          <a:pt x="602" y="328"/>
                        </a:lnTo>
                        <a:lnTo>
                          <a:pt x="612" y="332"/>
                        </a:lnTo>
                        <a:lnTo>
                          <a:pt x="612" y="332"/>
                        </a:lnTo>
                        <a:lnTo>
                          <a:pt x="628" y="336"/>
                        </a:lnTo>
                        <a:lnTo>
                          <a:pt x="636" y="336"/>
                        </a:lnTo>
                        <a:lnTo>
                          <a:pt x="640" y="334"/>
                        </a:lnTo>
                        <a:lnTo>
                          <a:pt x="648" y="336"/>
                        </a:lnTo>
                        <a:lnTo>
                          <a:pt x="648" y="336"/>
                        </a:lnTo>
                        <a:lnTo>
                          <a:pt x="654" y="336"/>
                        </a:lnTo>
                        <a:lnTo>
                          <a:pt x="658" y="336"/>
                        </a:lnTo>
                        <a:lnTo>
                          <a:pt x="668" y="332"/>
                        </a:lnTo>
                        <a:lnTo>
                          <a:pt x="676" y="326"/>
                        </a:lnTo>
                        <a:lnTo>
                          <a:pt x="680" y="324"/>
                        </a:lnTo>
                        <a:lnTo>
                          <a:pt x="686" y="324"/>
                        </a:lnTo>
                        <a:lnTo>
                          <a:pt x="686" y="324"/>
                        </a:lnTo>
                        <a:lnTo>
                          <a:pt x="694" y="322"/>
                        </a:lnTo>
                        <a:lnTo>
                          <a:pt x="700" y="316"/>
                        </a:lnTo>
                        <a:lnTo>
                          <a:pt x="702" y="314"/>
                        </a:lnTo>
                        <a:lnTo>
                          <a:pt x="702" y="310"/>
                        </a:lnTo>
                        <a:lnTo>
                          <a:pt x="700" y="306"/>
                        </a:lnTo>
                        <a:lnTo>
                          <a:pt x="696" y="304"/>
                        </a:lnTo>
                        <a:lnTo>
                          <a:pt x="696" y="304"/>
                        </a:lnTo>
                        <a:lnTo>
                          <a:pt x="692" y="300"/>
                        </a:lnTo>
                        <a:lnTo>
                          <a:pt x="690" y="298"/>
                        </a:lnTo>
                        <a:lnTo>
                          <a:pt x="692" y="294"/>
                        </a:lnTo>
                        <a:lnTo>
                          <a:pt x="694" y="290"/>
                        </a:lnTo>
                        <a:lnTo>
                          <a:pt x="692" y="288"/>
                        </a:lnTo>
                        <a:lnTo>
                          <a:pt x="688" y="286"/>
                        </a:lnTo>
                        <a:lnTo>
                          <a:pt x="688" y="286"/>
                        </a:lnTo>
                        <a:lnTo>
                          <a:pt x="682" y="286"/>
                        </a:lnTo>
                        <a:lnTo>
                          <a:pt x="674" y="288"/>
                        </a:lnTo>
                        <a:lnTo>
                          <a:pt x="660" y="296"/>
                        </a:lnTo>
                        <a:lnTo>
                          <a:pt x="648" y="300"/>
                        </a:lnTo>
                        <a:lnTo>
                          <a:pt x="648" y="300"/>
                        </a:lnTo>
                        <a:lnTo>
                          <a:pt x="650" y="296"/>
                        </a:lnTo>
                        <a:lnTo>
                          <a:pt x="650" y="296"/>
                        </a:lnTo>
                        <a:lnTo>
                          <a:pt x="652" y="290"/>
                        </a:lnTo>
                        <a:lnTo>
                          <a:pt x="650" y="286"/>
                        </a:lnTo>
                        <a:lnTo>
                          <a:pt x="646" y="284"/>
                        </a:lnTo>
                        <a:lnTo>
                          <a:pt x="642" y="280"/>
                        </a:lnTo>
                        <a:lnTo>
                          <a:pt x="632" y="278"/>
                        </a:lnTo>
                        <a:lnTo>
                          <a:pt x="630" y="276"/>
                        </a:lnTo>
                        <a:lnTo>
                          <a:pt x="632" y="274"/>
                        </a:lnTo>
                        <a:lnTo>
                          <a:pt x="632" y="274"/>
                        </a:lnTo>
                        <a:lnTo>
                          <a:pt x="634" y="272"/>
                        </a:lnTo>
                        <a:lnTo>
                          <a:pt x="638" y="272"/>
                        </a:lnTo>
                        <a:lnTo>
                          <a:pt x="650" y="278"/>
                        </a:lnTo>
                        <a:lnTo>
                          <a:pt x="660" y="282"/>
                        </a:lnTo>
                        <a:lnTo>
                          <a:pt x="666" y="282"/>
                        </a:lnTo>
                        <a:lnTo>
                          <a:pt x="670" y="280"/>
                        </a:lnTo>
                        <a:lnTo>
                          <a:pt x="670" y="280"/>
                        </a:lnTo>
                        <a:lnTo>
                          <a:pt x="672" y="278"/>
                        </a:lnTo>
                        <a:lnTo>
                          <a:pt x="672" y="276"/>
                        </a:lnTo>
                        <a:lnTo>
                          <a:pt x="670" y="272"/>
                        </a:lnTo>
                        <a:lnTo>
                          <a:pt x="668" y="272"/>
                        </a:lnTo>
                        <a:lnTo>
                          <a:pt x="668" y="270"/>
                        </a:lnTo>
                        <a:lnTo>
                          <a:pt x="670" y="266"/>
                        </a:lnTo>
                        <a:lnTo>
                          <a:pt x="674" y="264"/>
                        </a:lnTo>
                        <a:lnTo>
                          <a:pt x="674" y="26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7" name="Freeform 6115"/>
                  <p:cNvSpPr>
                    <a:spLocks/>
                  </p:cNvSpPr>
                  <p:nvPr/>
                </p:nvSpPr>
                <p:spPr bwMode="auto">
                  <a:xfrm>
                    <a:off x="1776730" y="1203643"/>
                    <a:ext cx="165100" cy="125730"/>
                  </a:xfrm>
                  <a:custGeom>
                    <a:avLst/>
                    <a:gdLst/>
                    <a:ahLst/>
                    <a:cxnLst>
                      <a:cxn ang="0">
                        <a:pos x="256" y="98"/>
                      </a:cxn>
                      <a:cxn ang="0">
                        <a:pos x="250" y="90"/>
                      </a:cxn>
                      <a:cxn ang="0">
                        <a:pos x="242" y="92"/>
                      </a:cxn>
                      <a:cxn ang="0">
                        <a:pos x="234" y="94"/>
                      </a:cxn>
                      <a:cxn ang="0">
                        <a:pos x="222" y="84"/>
                      </a:cxn>
                      <a:cxn ang="0">
                        <a:pos x="216" y="74"/>
                      </a:cxn>
                      <a:cxn ang="0">
                        <a:pos x="192" y="60"/>
                      </a:cxn>
                      <a:cxn ang="0">
                        <a:pos x="188" y="56"/>
                      </a:cxn>
                      <a:cxn ang="0">
                        <a:pos x="196" y="52"/>
                      </a:cxn>
                      <a:cxn ang="0">
                        <a:pos x="208" y="48"/>
                      </a:cxn>
                      <a:cxn ang="0">
                        <a:pos x="226" y="42"/>
                      </a:cxn>
                      <a:cxn ang="0">
                        <a:pos x="222" y="38"/>
                      </a:cxn>
                      <a:cxn ang="0">
                        <a:pos x="216" y="32"/>
                      </a:cxn>
                      <a:cxn ang="0">
                        <a:pos x="222" y="24"/>
                      </a:cxn>
                      <a:cxn ang="0">
                        <a:pos x="230" y="20"/>
                      </a:cxn>
                      <a:cxn ang="0">
                        <a:pos x="230" y="10"/>
                      </a:cxn>
                      <a:cxn ang="0">
                        <a:pos x="218" y="4"/>
                      </a:cxn>
                      <a:cxn ang="0">
                        <a:pos x="194" y="4"/>
                      </a:cxn>
                      <a:cxn ang="0">
                        <a:pos x="180" y="8"/>
                      </a:cxn>
                      <a:cxn ang="0">
                        <a:pos x="152" y="12"/>
                      </a:cxn>
                      <a:cxn ang="0">
                        <a:pos x="130" y="6"/>
                      </a:cxn>
                      <a:cxn ang="0">
                        <a:pos x="110" y="0"/>
                      </a:cxn>
                      <a:cxn ang="0">
                        <a:pos x="86" y="4"/>
                      </a:cxn>
                      <a:cxn ang="0">
                        <a:pos x="64" y="14"/>
                      </a:cxn>
                      <a:cxn ang="0">
                        <a:pos x="50" y="24"/>
                      </a:cxn>
                      <a:cxn ang="0">
                        <a:pos x="48" y="34"/>
                      </a:cxn>
                      <a:cxn ang="0">
                        <a:pos x="62" y="44"/>
                      </a:cxn>
                      <a:cxn ang="0">
                        <a:pos x="70" y="48"/>
                      </a:cxn>
                      <a:cxn ang="0">
                        <a:pos x="88" y="58"/>
                      </a:cxn>
                      <a:cxn ang="0">
                        <a:pos x="96" y="68"/>
                      </a:cxn>
                      <a:cxn ang="0">
                        <a:pos x="92" y="78"/>
                      </a:cxn>
                      <a:cxn ang="0">
                        <a:pos x="78" y="88"/>
                      </a:cxn>
                      <a:cxn ang="0">
                        <a:pos x="74" y="88"/>
                      </a:cxn>
                      <a:cxn ang="0">
                        <a:pos x="58" y="86"/>
                      </a:cxn>
                      <a:cxn ang="0">
                        <a:pos x="38" y="74"/>
                      </a:cxn>
                      <a:cxn ang="0">
                        <a:pos x="20" y="64"/>
                      </a:cxn>
                      <a:cxn ang="0">
                        <a:pos x="10" y="64"/>
                      </a:cxn>
                      <a:cxn ang="0">
                        <a:pos x="2" y="72"/>
                      </a:cxn>
                      <a:cxn ang="0">
                        <a:pos x="0" y="78"/>
                      </a:cxn>
                      <a:cxn ang="0">
                        <a:pos x="6" y="94"/>
                      </a:cxn>
                      <a:cxn ang="0">
                        <a:pos x="26" y="110"/>
                      </a:cxn>
                      <a:cxn ang="0">
                        <a:pos x="56" y="124"/>
                      </a:cxn>
                      <a:cxn ang="0">
                        <a:pos x="74" y="132"/>
                      </a:cxn>
                      <a:cxn ang="0">
                        <a:pos x="104" y="148"/>
                      </a:cxn>
                      <a:cxn ang="0">
                        <a:pos x="124" y="168"/>
                      </a:cxn>
                      <a:cxn ang="0">
                        <a:pos x="150" y="194"/>
                      </a:cxn>
                      <a:cxn ang="0">
                        <a:pos x="162" y="198"/>
                      </a:cxn>
                      <a:cxn ang="0">
                        <a:pos x="176" y="194"/>
                      </a:cxn>
                      <a:cxn ang="0">
                        <a:pos x="180" y="184"/>
                      </a:cxn>
                      <a:cxn ang="0">
                        <a:pos x="182" y="174"/>
                      </a:cxn>
                      <a:cxn ang="0">
                        <a:pos x="192" y="170"/>
                      </a:cxn>
                      <a:cxn ang="0">
                        <a:pos x="200" y="172"/>
                      </a:cxn>
                      <a:cxn ang="0">
                        <a:pos x="220" y="170"/>
                      </a:cxn>
                      <a:cxn ang="0">
                        <a:pos x="238" y="162"/>
                      </a:cxn>
                      <a:cxn ang="0">
                        <a:pos x="250" y="148"/>
                      </a:cxn>
                      <a:cxn ang="0">
                        <a:pos x="252" y="138"/>
                      </a:cxn>
                      <a:cxn ang="0">
                        <a:pos x="252" y="124"/>
                      </a:cxn>
                      <a:cxn ang="0">
                        <a:pos x="258" y="114"/>
                      </a:cxn>
                      <a:cxn ang="0">
                        <a:pos x="258" y="106"/>
                      </a:cxn>
                      <a:cxn ang="0">
                        <a:pos x="256" y="98"/>
                      </a:cxn>
                    </a:cxnLst>
                    <a:rect l="0" t="0" r="r" b="b"/>
                    <a:pathLst>
                      <a:path w="260" h="198">
                        <a:moveTo>
                          <a:pt x="256" y="98"/>
                        </a:moveTo>
                        <a:lnTo>
                          <a:pt x="256" y="98"/>
                        </a:lnTo>
                        <a:lnTo>
                          <a:pt x="254" y="92"/>
                        </a:lnTo>
                        <a:lnTo>
                          <a:pt x="250" y="90"/>
                        </a:lnTo>
                        <a:lnTo>
                          <a:pt x="246" y="90"/>
                        </a:lnTo>
                        <a:lnTo>
                          <a:pt x="242" y="92"/>
                        </a:lnTo>
                        <a:lnTo>
                          <a:pt x="238" y="94"/>
                        </a:lnTo>
                        <a:lnTo>
                          <a:pt x="234" y="94"/>
                        </a:lnTo>
                        <a:lnTo>
                          <a:pt x="228" y="90"/>
                        </a:lnTo>
                        <a:lnTo>
                          <a:pt x="222" y="84"/>
                        </a:lnTo>
                        <a:lnTo>
                          <a:pt x="222" y="84"/>
                        </a:lnTo>
                        <a:lnTo>
                          <a:pt x="216" y="74"/>
                        </a:lnTo>
                        <a:lnTo>
                          <a:pt x="208" y="68"/>
                        </a:lnTo>
                        <a:lnTo>
                          <a:pt x="192" y="60"/>
                        </a:lnTo>
                        <a:lnTo>
                          <a:pt x="190" y="58"/>
                        </a:lnTo>
                        <a:lnTo>
                          <a:pt x="188" y="56"/>
                        </a:lnTo>
                        <a:lnTo>
                          <a:pt x="190" y="54"/>
                        </a:lnTo>
                        <a:lnTo>
                          <a:pt x="196" y="52"/>
                        </a:lnTo>
                        <a:lnTo>
                          <a:pt x="208" y="48"/>
                        </a:lnTo>
                        <a:lnTo>
                          <a:pt x="208" y="48"/>
                        </a:lnTo>
                        <a:lnTo>
                          <a:pt x="220" y="46"/>
                        </a:lnTo>
                        <a:lnTo>
                          <a:pt x="226" y="42"/>
                        </a:lnTo>
                        <a:lnTo>
                          <a:pt x="226" y="40"/>
                        </a:lnTo>
                        <a:lnTo>
                          <a:pt x="222" y="38"/>
                        </a:lnTo>
                        <a:lnTo>
                          <a:pt x="218" y="34"/>
                        </a:lnTo>
                        <a:lnTo>
                          <a:pt x="216" y="32"/>
                        </a:lnTo>
                        <a:lnTo>
                          <a:pt x="216" y="28"/>
                        </a:lnTo>
                        <a:lnTo>
                          <a:pt x="222" y="24"/>
                        </a:lnTo>
                        <a:lnTo>
                          <a:pt x="222" y="24"/>
                        </a:lnTo>
                        <a:lnTo>
                          <a:pt x="230" y="20"/>
                        </a:lnTo>
                        <a:lnTo>
                          <a:pt x="232" y="16"/>
                        </a:lnTo>
                        <a:lnTo>
                          <a:pt x="230" y="10"/>
                        </a:lnTo>
                        <a:lnTo>
                          <a:pt x="226" y="6"/>
                        </a:lnTo>
                        <a:lnTo>
                          <a:pt x="218" y="4"/>
                        </a:lnTo>
                        <a:lnTo>
                          <a:pt x="208" y="4"/>
                        </a:lnTo>
                        <a:lnTo>
                          <a:pt x="194" y="4"/>
                        </a:lnTo>
                        <a:lnTo>
                          <a:pt x="180" y="8"/>
                        </a:lnTo>
                        <a:lnTo>
                          <a:pt x="180" y="8"/>
                        </a:lnTo>
                        <a:lnTo>
                          <a:pt x="164" y="12"/>
                        </a:lnTo>
                        <a:lnTo>
                          <a:pt x="152" y="12"/>
                        </a:lnTo>
                        <a:lnTo>
                          <a:pt x="140" y="10"/>
                        </a:lnTo>
                        <a:lnTo>
                          <a:pt x="130" y="6"/>
                        </a:lnTo>
                        <a:lnTo>
                          <a:pt x="120" y="4"/>
                        </a:lnTo>
                        <a:lnTo>
                          <a:pt x="110" y="0"/>
                        </a:lnTo>
                        <a:lnTo>
                          <a:pt x="98" y="0"/>
                        </a:lnTo>
                        <a:lnTo>
                          <a:pt x="86" y="4"/>
                        </a:lnTo>
                        <a:lnTo>
                          <a:pt x="86" y="4"/>
                        </a:lnTo>
                        <a:lnTo>
                          <a:pt x="64" y="14"/>
                        </a:lnTo>
                        <a:lnTo>
                          <a:pt x="56" y="20"/>
                        </a:lnTo>
                        <a:lnTo>
                          <a:pt x="50" y="24"/>
                        </a:lnTo>
                        <a:lnTo>
                          <a:pt x="46" y="28"/>
                        </a:lnTo>
                        <a:lnTo>
                          <a:pt x="48" y="34"/>
                        </a:lnTo>
                        <a:lnTo>
                          <a:pt x="52" y="38"/>
                        </a:lnTo>
                        <a:lnTo>
                          <a:pt x="62" y="44"/>
                        </a:lnTo>
                        <a:lnTo>
                          <a:pt x="70" y="48"/>
                        </a:lnTo>
                        <a:lnTo>
                          <a:pt x="70" y="48"/>
                        </a:lnTo>
                        <a:lnTo>
                          <a:pt x="82" y="52"/>
                        </a:lnTo>
                        <a:lnTo>
                          <a:pt x="88" y="58"/>
                        </a:lnTo>
                        <a:lnTo>
                          <a:pt x="94" y="62"/>
                        </a:lnTo>
                        <a:lnTo>
                          <a:pt x="96" y="68"/>
                        </a:lnTo>
                        <a:lnTo>
                          <a:pt x="94" y="74"/>
                        </a:lnTo>
                        <a:lnTo>
                          <a:pt x="92" y="78"/>
                        </a:lnTo>
                        <a:lnTo>
                          <a:pt x="86" y="84"/>
                        </a:lnTo>
                        <a:lnTo>
                          <a:pt x="78" y="88"/>
                        </a:lnTo>
                        <a:lnTo>
                          <a:pt x="78" y="88"/>
                        </a:lnTo>
                        <a:lnTo>
                          <a:pt x="74" y="88"/>
                        </a:lnTo>
                        <a:lnTo>
                          <a:pt x="68" y="90"/>
                        </a:lnTo>
                        <a:lnTo>
                          <a:pt x="58" y="86"/>
                        </a:lnTo>
                        <a:lnTo>
                          <a:pt x="48" y="80"/>
                        </a:lnTo>
                        <a:lnTo>
                          <a:pt x="38" y="74"/>
                        </a:lnTo>
                        <a:lnTo>
                          <a:pt x="28" y="68"/>
                        </a:lnTo>
                        <a:lnTo>
                          <a:pt x="20" y="64"/>
                        </a:lnTo>
                        <a:lnTo>
                          <a:pt x="16" y="64"/>
                        </a:lnTo>
                        <a:lnTo>
                          <a:pt x="10" y="64"/>
                        </a:lnTo>
                        <a:lnTo>
                          <a:pt x="6" y="66"/>
                        </a:lnTo>
                        <a:lnTo>
                          <a:pt x="2" y="72"/>
                        </a:lnTo>
                        <a:lnTo>
                          <a:pt x="2" y="72"/>
                        </a:lnTo>
                        <a:lnTo>
                          <a:pt x="0" y="78"/>
                        </a:lnTo>
                        <a:lnTo>
                          <a:pt x="0" y="86"/>
                        </a:lnTo>
                        <a:lnTo>
                          <a:pt x="6" y="94"/>
                        </a:lnTo>
                        <a:lnTo>
                          <a:pt x="14" y="102"/>
                        </a:lnTo>
                        <a:lnTo>
                          <a:pt x="26" y="110"/>
                        </a:lnTo>
                        <a:lnTo>
                          <a:pt x="40" y="118"/>
                        </a:lnTo>
                        <a:lnTo>
                          <a:pt x="56" y="124"/>
                        </a:lnTo>
                        <a:lnTo>
                          <a:pt x="74" y="132"/>
                        </a:lnTo>
                        <a:lnTo>
                          <a:pt x="74" y="132"/>
                        </a:lnTo>
                        <a:lnTo>
                          <a:pt x="90" y="138"/>
                        </a:lnTo>
                        <a:lnTo>
                          <a:pt x="104" y="148"/>
                        </a:lnTo>
                        <a:lnTo>
                          <a:pt x="116" y="158"/>
                        </a:lnTo>
                        <a:lnTo>
                          <a:pt x="124" y="168"/>
                        </a:lnTo>
                        <a:lnTo>
                          <a:pt x="142" y="188"/>
                        </a:lnTo>
                        <a:lnTo>
                          <a:pt x="150" y="194"/>
                        </a:lnTo>
                        <a:lnTo>
                          <a:pt x="162" y="198"/>
                        </a:lnTo>
                        <a:lnTo>
                          <a:pt x="162" y="198"/>
                        </a:lnTo>
                        <a:lnTo>
                          <a:pt x="170" y="198"/>
                        </a:lnTo>
                        <a:lnTo>
                          <a:pt x="176" y="194"/>
                        </a:lnTo>
                        <a:lnTo>
                          <a:pt x="178" y="190"/>
                        </a:lnTo>
                        <a:lnTo>
                          <a:pt x="180" y="184"/>
                        </a:lnTo>
                        <a:lnTo>
                          <a:pt x="182" y="178"/>
                        </a:lnTo>
                        <a:lnTo>
                          <a:pt x="182" y="174"/>
                        </a:lnTo>
                        <a:lnTo>
                          <a:pt x="186" y="170"/>
                        </a:lnTo>
                        <a:lnTo>
                          <a:pt x="192" y="170"/>
                        </a:lnTo>
                        <a:lnTo>
                          <a:pt x="192" y="170"/>
                        </a:lnTo>
                        <a:lnTo>
                          <a:pt x="200" y="172"/>
                        </a:lnTo>
                        <a:lnTo>
                          <a:pt x="210" y="172"/>
                        </a:lnTo>
                        <a:lnTo>
                          <a:pt x="220" y="170"/>
                        </a:lnTo>
                        <a:lnTo>
                          <a:pt x="230" y="166"/>
                        </a:lnTo>
                        <a:lnTo>
                          <a:pt x="238" y="162"/>
                        </a:lnTo>
                        <a:lnTo>
                          <a:pt x="246" y="156"/>
                        </a:lnTo>
                        <a:lnTo>
                          <a:pt x="250" y="148"/>
                        </a:lnTo>
                        <a:lnTo>
                          <a:pt x="252" y="138"/>
                        </a:lnTo>
                        <a:lnTo>
                          <a:pt x="252" y="138"/>
                        </a:lnTo>
                        <a:lnTo>
                          <a:pt x="252" y="130"/>
                        </a:lnTo>
                        <a:lnTo>
                          <a:pt x="252" y="124"/>
                        </a:lnTo>
                        <a:lnTo>
                          <a:pt x="256" y="118"/>
                        </a:lnTo>
                        <a:lnTo>
                          <a:pt x="258" y="114"/>
                        </a:lnTo>
                        <a:lnTo>
                          <a:pt x="260" y="112"/>
                        </a:lnTo>
                        <a:lnTo>
                          <a:pt x="258" y="106"/>
                        </a:lnTo>
                        <a:lnTo>
                          <a:pt x="256" y="98"/>
                        </a:lnTo>
                        <a:lnTo>
                          <a:pt x="256" y="9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8" name="Freeform 6116"/>
                  <p:cNvSpPr>
                    <a:spLocks/>
                  </p:cNvSpPr>
                  <p:nvPr/>
                </p:nvSpPr>
                <p:spPr bwMode="auto">
                  <a:xfrm>
                    <a:off x="1750060" y="1098233"/>
                    <a:ext cx="34290" cy="8890"/>
                  </a:xfrm>
                  <a:custGeom>
                    <a:avLst/>
                    <a:gdLst/>
                    <a:ahLst/>
                    <a:cxnLst>
                      <a:cxn ang="0">
                        <a:pos x="2" y="14"/>
                      </a:cxn>
                      <a:cxn ang="0">
                        <a:pos x="2" y="14"/>
                      </a:cxn>
                      <a:cxn ang="0">
                        <a:pos x="8" y="14"/>
                      </a:cxn>
                      <a:cxn ang="0">
                        <a:pos x="16" y="14"/>
                      </a:cxn>
                      <a:cxn ang="0">
                        <a:pos x="36" y="10"/>
                      </a:cxn>
                      <a:cxn ang="0">
                        <a:pos x="50" y="4"/>
                      </a:cxn>
                      <a:cxn ang="0">
                        <a:pos x="54" y="2"/>
                      </a:cxn>
                      <a:cxn ang="0">
                        <a:pos x="54" y="2"/>
                      </a:cxn>
                      <a:cxn ang="0">
                        <a:pos x="54" y="0"/>
                      </a:cxn>
                      <a:cxn ang="0">
                        <a:pos x="54" y="0"/>
                      </a:cxn>
                      <a:cxn ang="0">
                        <a:pos x="48" y="0"/>
                      </a:cxn>
                      <a:cxn ang="0">
                        <a:pos x="38" y="0"/>
                      </a:cxn>
                      <a:cxn ang="0">
                        <a:pos x="18" y="4"/>
                      </a:cxn>
                      <a:cxn ang="0">
                        <a:pos x="2" y="10"/>
                      </a:cxn>
                      <a:cxn ang="0">
                        <a:pos x="0" y="12"/>
                      </a:cxn>
                      <a:cxn ang="0">
                        <a:pos x="2" y="14"/>
                      </a:cxn>
                      <a:cxn ang="0">
                        <a:pos x="2" y="14"/>
                      </a:cxn>
                    </a:cxnLst>
                    <a:rect l="0" t="0" r="r" b="b"/>
                    <a:pathLst>
                      <a:path w="54" h="14">
                        <a:moveTo>
                          <a:pt x="2" y="14"/>
                        </a:moveTo>
                        <a:lnTo>
                          <a:pt x="2" y="14"/>
                        </a:lnTo>
                        <a:lnTo>
                          <a:pt x="8" y="14"/>
                        </a:lnTo>
                        <a:lnTo>
                          <a:pt x="16" y="14"/>
                        </a:lnTo>
                        <a:lnTo>
                          <a:pt x="36" y="10"/>
                        </a:lnTo>
                        <a:lnTo>
                          <a:pt x="50" y="4"/>
                        </a:lnTo>
                        <a:lnTo>
                          <a:pt x="54" y="2"/>
                        </a:lnTo>
                        <a:lnTo>
                          <a:pt x="54" y="2"/>
                        </a:lnTo>
                        <a:lnTo>
                          <a:pt x="54" y="0"/>
                        </a:lnTo>
                        <a:lnTo>
                          <a:pt x="54" y="0"/>
                        </a:lnTo>
                        <a:lnTo>
                          <a:pt x="48" y="0"/>
                        </a:lnTo>
                        <a:lnTo>
                          <a:pt x="38" y="0"/>
                        </a:lnTo>
                        <a:lnTo>
                          <a:pt x="18" y="4"/>
                        </a:lnTo>
                        <a:lnTo>
                          <a:pt x="2" y="10"/>
                        </a:lnTo>
                        <a:lnTo>
                          <a:pt x="0" y="12"/>
                        </a:lnTo>
                        <a:lnTo>
                          <a:pt x="2" y="14"/>
                        </a:lnTo>
                        <a:lnTo>
                          <a:pt x="2" y="1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9" name="Freeform 6117"/>
                  <p:cNvSpPr>
                    <a:spLocks/>
                  </p:cNvSpPr>
                  <p:nvPr/>
                </p:nvSpPr>
                <p:spPr bwMode="auto">
                  <a:xfrm>
                    <a:off x="1854200" y="1394143"/>
                    <a:ext cx="114300" cy="66040"/>
                  </a:xfrm>
                  <a:custGeom>
                    <a:avLst/>
                    <a:gdLst/>
                    <a:ahLst/>
                    <a:cxnLst>
                      <a:cxn ang="0">
                        <a:pos x="42" y="32"/>
                      </a:cxn>
                      <a:cxn ang="0">
                        <a:pos x="42" y="32"/>
                      </a:cxn>
                      <a:cxn ang="0">
                        <a:pos x="32" y="42"/>
                      </a:cxn>
                      <a:cxn ang="0">
                        <a:pos x="24" y="50"/>
                      </a:cxn>
                      <a:cxn ang="0">
                        <a:pos x="14" y="52"/>
                      </a:cxn>
                      <a:cxn ang="0">
                        <a:pos x="8" y="54"/>
                      </a:cxn>
                      <a:cxn ang="0">
                        <a:pos x="2" y="56"/>
                      </a:cxn>
                      <a:cxn ang="0">
                        <a:pos x="0" y="58"/>
                      </a:cxn>
                      <a:cxn ang="0">
                        <a:pos x="2" y="62"/>
                      </a:cxn>
                      <a:cxn ang="0">
                        <a:pos x="10" y="68"/>
                      </a:cxn>
                      <a:cxn ang="0">
                        <a:pos x="10" y="68"/>
                      </a:cxn>
                      <a:cxn ang="0">
                        <a:pos x="20" y="74"/>
                      </a:cxn>
                      <a:cxn ang="0">
                        <a:pos x="34" y="78"/>
                      </a:cxn>
                      <a:cxn ang="0">
                        <a:pos x="72" y="86"/>
                      </a:cxn>
                      <a:cxn ang="0">
                        <a:pos x="72" y="86"/>
                      </a:cxn>
                      <a:cxn ang="0">
                        <a:pos x="84" y="88"/>
                      </a:cxn>
                      <a:cxn ang="0">
                        <a:pos x="94" y="92"/>
                      </a:cxn>
                      <a:cxn ang="0">
                        <a:pos x="112" y="100"/>
                      </a:cxn>
                      <a:cxn ang="0">
                        <a:pos x="120" y="102"/>
                      </a:cxn>
                      <a:cxn ang="0">
                        <a:pos x="128" y="104"/>
                      </a:cxn>
                      <a:cxn ang="0">
                        <a:pos x="136" y="102"/>
                      </a:cxn>
                      <a:cxn ang="0">
                        <a:pos x="142" y="96"/>
                      </a:cxn>
                      <a:cxn ang="0">
                        <a:pos x="142" y="96"/>
                      </a:cxn>
                      <a:cxn ang="0">
                        <a:pos x="150" y="90"/>
                      </a:cxn>
                      <a:cxn ang="0">
                        <a:pos x="156" y="88"/>
                      </a:cxn>
                      <a:cxn ang="0">
                        <a:pos x="164" y="86"/>
                      </a:cxn>
                      <a:cxn ang="0">
                        <a:pos x="170" y="86"/>
                      </a:cxn>
                      <a:cxn ang="0">
                        <a:pos x="174" y="84"/>
                      </a:cxn>
                      <a:cxn ang="0">
                        <a:pos x="178" y="78"/>
                      </a:cxn>
                      <a:cxn ang="0">
                        <a:pos x="178" y="78"/>
                      </a:cxn>
                      <a:cxn ang="0">
                        <a:pos x="180" y="74"/>
                      </a:cxn>
                      <a:cxn ang="0">
                        <a:pos x="180" y="72"/>
                      </a:cxn>
                      <a:cxn ang="0">
                        <a:pos x="174" y="72"/>
                      </a:cxn>
                      <a:cxn ang="0">
                        <a:pos x="170" y="72"/>
                      </a:cxn>
                      <a:cxn ang="0">
                        <a:pos x="164" y="70"/>
                      </a:cxn>
                      <a:cxn ang="0">
                        <a:pos x="158" y="66"/>
                      </a:cxn>
                      <a:cxn ang="0">
                        <a:pos x="152" y="58"/>
                      </a:cxn>
                      <a:cxn ang="0">
                        <a:pos x="152" y="58"/>
                      </a:cxn>
                      <a:cxn ang="0">
                        <a:pos x="148" y="50"/>
                      </a:cxn>
                      <a:cxn ang="0">
                        <a:pos x="144" y="44"/>
                      </a:cxn>
                      <a:cxn ang="0">
                        <a:pos x="140" y="42"/>
                      </a:cxn>
                      <a:cxn ang="0">
                        <a:pos x="136" y="42"/>
                      </a:cxn>
                      <a:cxn ang="0">
                        <a:pos x="124" y="36"/>
                      </a:cxn>
                      <a:cxn ang="0">
                        <a:pos x="116" y="30"/>
                      </a:cxn>
                      <a:cxn ang="0">
                        <a:pos x="106" y="20"/>
                      </a:cxn>
                      <a:cxn ang="0">
                        <a:pos x="106" y="20"/>
                      </a:cxn>
                      <a:cxn ang="0">
                        <a:pos x="94" y="10"/>
                      </a:cxn>
                      <a:cxn ang="0">
                        <a:pos x="86" y="2"/>
                      </a:cxn>
                      <a:cxn ang="0">
                        <a:pos x="78" y="0"/>
                      </a:cxn>
                      <a:cxn ang="0">
                        <a:pos x="70" y="0"/>
                      </a:cxn>
                      <a:cxn ang="0">
                        <a:pos x="64" y="4"/>
                      </a:cxn>
                      <a:cxn ang="0">
                        <a:pos x="56" y="10"/>
                      </a:cxn>
                      <a:cxn ang="0">
                        <a:pos x="42" y="32"/>
                      </a:cxn>
                      <a:cxn ang="0">
                        <a:pos x="42" y="32"/>
                      </a:cxn>
                    </a:cxnLst>
                    <a:rect l="0" t="0" r="r" b="b"/>
                    <a:pathLst>
                      <a:path w="180" h="104">
                        <a:moveTo>
                          <a:pt x="42" y="32"/>
                        </a:moveTo>
                        <a:lnTo>
                          <a:pt x="42" y="32"/>
                        </a:lnTo>
                        <a:lnTo>
                          <a:pt x="32" y="42"/>
                        </a:lnTo>
                        <a:lnTo>
                          <a:pt x="24" y="50"/>
                        </a:lnTo>
                        <a:lnTo>
                          <a:pt x="14" y="52"/>
                        </a:lnTo>
                        <a:lnTo>
                          <a:pt x="8" y="54"/>
                        </a:lnTo>
                        <a:lnTo>
                          <a:pt x="2" y="56"/>
                        </a:lnTo>
                        <a:lnTo>
                          <a:pt x="0" y="58"/>
                        </a:lnTo>
                        <a:lnTo>
                          <a:pt x="2" y="62"/>
                        </a:lnTo>
                        <a:lnTo>
                          <a:pt x="10" y="68"/>
                        </a:lnTo>
                        <a:lnTo>
                          <a:pt x="10" y="68"/>
                        </a:lnTo>
                        <a:lnTo>
                          <a:pt x="20" y="74"/>
                        </a:lnTo>
                        <a:lnTo>
                          <a:pt x="34" y="78"/>
                        </a:lnTo>
                        <a:lnTo>
                          <a:pt x="72" y="86"/>
                        </a:lnTo>
                        <a:lnTo>
                          <a:pt x="72" y="86"/>
                        </a:lnTo>
                        <a:lnTo>
                          <a:pt x="84" y="88"/>
                        </a:lnTo>
                        <a:lnTo>
                          <a:pt x="94" y="92"/>
                        </a:lnTo>
                        <a:lnTo>
                          <a:pt x="112" y="100"/>
                        </a:lnTo>
                        <a:lnTo>
                          <a:pt x="120" y="102"/>
                        </a:lnTo>
                        <a:lnTo>
                          <a:pt x="128" y="104"/>
                        </a:lnTo>
                        <a:lnTo>
                          <a:pt x="136" y="102"/>
                        </a:lnTo>
                        <a:lnTo>
                          <a:pt x="142" y="96"/>
                        </a:lnTo>
                        <a:lnTo>
                          <a:pt x="142" y="96"/>
                        </a:lnTo>
                        <a:lnTo>
                          <a:pt x="150" y="90"/>
                        </a:lnTo>
                        <a:lnTo>
                          <a:pt x="156" y="88"/>
                        </a:lnTo>
                        <a:lnTo>
                          <a:pt x="164" y="86"/>
                        </a:lnTo>
                        <a:lnTo>
                          <a:pt x="170" y="86"/>
                        </a:lnTo>
                        <a:lnTo>
                          <a:pt x="174" y="84"/>
                        </a:lnTo>
                        <a:lnTo>
                          <a:pt x="178" y="78"/>
                        </a:lnTo>
                        <a:lnTo>
                          <a:pt x="178" y="78"/>
                        </a:lnTo>
                        <a:lnTo>
                          <a:pt x="180" y="74"/>
                        </a:lnTo>
                        <a:lnTo>
                          <a:pt x="180" y="72"/>
                        </a:lnTo>
                        <a:lnTo>
                          <a:pt x="174" y="72"/>
                        </a:lnTo>
                        <a:lnTo>
                          <a:pt x="170" y="72"/>
                        </a:lnTo>
                        <a:lnTo>
                          <a:pt x="164" y="70"/>
                        </a:lnTo>
                        <a:lnTo>
                          <a:pt x="158" y="66"/>
                        </a:lnTo>
                        <a:lnTo>
                          <a:pt x="152" y="58"/>
                        </a:lnTo>
                        <a:lnTo>
                          <a:pt x="152" y="58"/>
                        </a:lnTo>
                        <a:lnTo>
                          <a:pt x="148" y="50"/>
                        </a:lnTo>
                        <a:lnTo>
                          <a:pt x="144" y="44"/>
                        </a:lnTo>
                        <a:lnTo>
                          <a:pt x="140" y="42"/>
                        </a:lnTo>
                        <a:lnTo>
                          <a:pt x="136" y="42"/>
                        </a:lnTo>
                        <a:lnTo>
                          <a:pt x="124" y="36"/>
                        </a:lnTo>
                        <a:lnTo>
                          <a:pt x="116" y="30"/>
                        </a:lnTo>
                        <a:lnTo>
                          <a:pt x="106" y="20"/>
                        </a:lnTo>
                        <a:lnTo>
                          <a:pt x="106" y="20"/>
                        </a:lnTo>
                        <a:lnTo>
                          <a:pt x="94" y="10"/>
                        </a:lnTo>
                        <a:lnTo>
                          <a:pt x="86" y="2"/>
                        </a:lnTo>
                        <a:lnTo>
                          <a:pt x="78" y="0"/>
                        </a:lnTo>
                        <a:lnTo>
                          <a:pt x="70" y="0"/>
                        </a:lnTo>
                        <a:lnTo>
                          <a:pt x="64" y="4"/>
                        </a:lnTo>
                        <a:lnTo>
                          <a:pt x="56" y="10"/>
                        </a:lnTo>
                        <a:lnTo>
                          <a:pt x="42" y="32"/>
                        </a:lnTo>
                        <a:lnTo>
                          <a:pt x="42" y="3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50" name="Freeform 6118"/>
                  <p:cNvSpPr>
                    <a:spLocks/>
                  </p:cNvSpPr>
                  <p:nvPr/>
                </p:nvSpPr>
                <p:spPr bwMode="auto">
                  <a:xfrm>
                    <a:off x="2542540" y="699453"/>
                    <a:ext cx="1550670" cy="1127760"/>
                  </a:xfrm>
                  <a:custGeom>
                    <a:avLst/>
                    <a:gdLst/>
                    <a:ahLst/>
                    <a:cxnLst>
                      <a:cxn ang="0">
                        <a:pos x="220" y="296"/>
                      </a:cxn>
                      <a:cxn ang="0">
                        <a:pos x="150" y="400"/>
                      </a:cxn>
                      <a:cxn ang="0">
                        <a:pos x="96" y="502"/>
                      </a:cxn>
                      <a:cxn ang="0">
                        <a:pos x="62" y="558"/>
                      </a:cxn>
                      <a:cxn ang="0">
                        <a:pos x="228" y="618"/>
                      </a:cxn>
                      <a:cxn ang="0">
                        <a:pos x="350" y="620"/>
                      </a:cxn>
                      <a:cxn ang="0">
                        <a:pos x="584" y="666"/>
                      </a:cxn>
                      <a:cxn ang="0">
                        <a:pos x="674" y="786"/>
                      </a:cxn>
                      <a:cxn ang="0">
                        <a:pos x="706" y="902"/>
                      </a:cxn>
                      <a:cxn ang="0">
                        <a:pos x="744" y="990"/>
                      </a:cxn>
                      <a:cxn ang="0">
                        <a:pos x="836" y="1010"/>
                      </a:cxn>
                      <a:cxn ang="0">
                        <a:pos x="750" y="1050"/>
                      </a:cxn>
                      <a:cxn ang="0">
                        <a:pos x="890" y="1110"/>
                      </a:cxn>
                      <a:cxn ang="0">
                        <a:pos x="788" y="1212"/>
                      </a:cxn>
                      <a:cxn ang="0">
                        <a:pos x="782" y="1328"/>
                      </a:cxn>
                      <a:cxn ang="0">
                        <a:pos x="834" y="1452"/>
                      </a:cxn>
                      <a:cxn ang="0">
                        <a:pos x="922" y="1474"/>
                      </a:cxn>
                      <a:cxn ang="0">
                        <a:pos x="860" y="1502"/>
                      </a:cxn>
                      <a:cxn ang="0">
                        <a:pos x="908" y="1598"/>
                      </a:cxn>
                      <a:cxn ang="0">
                        <a:pos x="966" y="1678"/>
                      </a:cxn>
                      <a:cxn ang="0">
                        <a:pos x="1032" y="1712"/>
                      </a:cxn>
                      <a:cxn ang="0">
                        <a:pos x="1090" y="1738"/>
                      </a:cxn>
                      <a:cxn ang="0">
                        <a:pos x="1196" y="1768"/>
                      </a:cxn>
                      <a:cxn ang="0">
                        <a:pos x="1232" y="1622"/>
                      </a:cxn>
                      <a:cxn ang="0">
                        <a:pos x="1262" y="1566"/>
                      </a:cxn>
                      <a:cxn ang="0">
                        <a:pos x="1262" y="1486"/>
                      </a:cxn>
                      <a:cxn ang="0">
                        <a:pos x="1332" y="1420"/>
                      </a:cxn>
                      <a:cxn ang="0">
                        <a:pos x="1402" y="1376"/>
                      </a:cxn>
                      <a:cxn ang="0">
                        <a:pos x="1412" y="1372"/>
                      </a:cxn>
                      <a:cxn ang="0">
                        <a:pos x="1468" y="1372"/>
                      </a:cxn>
                      <a:cxn ang="0">
                        <a:pos x="1628" y="1238"/>
                      </a:cxn>
                      <a:cxn ang="0">
                        <a:pos x="1748" y="1208"/>
                      </a:cxn>
                      <a:cxn ang="0">
                        <a:pos x="2012" y="1102"/>
                      </a:cxn>
                      <a:cxn ang="0">
                        <a:pos x="1846" y="1076"/>
                      </a:cxn>
                      <a:cxn ang="0">
                        <a:pos x="1800" y="1058"/>
                      </a:cxn>
                      <a:cxn ang="0">
                        <a:pos x="1842" y="970"/>
                      </a:cxn>
                      <a:cxn ang="0">
                        <a:pos x="2060" y="1056"/>
                      </a:cxn>
                      <a:cxn ang="0">
                        <a:pos x="2054" y="956"/>
                      </a:cxn>
                      <a:cxn ang="0">
                        <a:pos x="1916" y="858"/>
                      </a:cxn>
                      <a:cxn ang="0">
                        <a:pos x="2100" y="830"/>
                      </a:cxn>
                      <a:cxn ang="0">
                        <a:pos x="2142" y="768"/>
                      </a:cxn>
                      <a:cxn ang="0">
                        <a:pos x="2154" y="698"/>
                      </a:cxn>
                      <a:cxn ang="0">
                        <a:pos x="2066" y="608"/>
                      </a:cxn>
                      <a:cxn ang="0">
                        <a:pos x="2144" y="562"/>
                      </a:cxn>
                      <a:cxn ang="0">
                        <a:pos x="2144" y="504"/>
                      </a:cxn>
                      <a:cxn ang="0">
                        <a:pos x="2096" y="408"/>
                      </a:cxn>
                      <a:cxn ang="0">
                        <a:pos x="2228" y="310"/>
                      </a:cxn>
                      <a:cxn ang="0">
                        <a:pos x="2278" y="276"/>
                      </a:cxn>
                      <a:cxn ang="0">
                        <a:pos x="2298" y="244"/>
                      </a:cxn>
                      <a:cxn ang="0">
                        <a:pos x="2322" y="150"/>
                      </a:cxn>
                      <a:cxn ang="0">
                        <a:pos x="2050" y="210"/>
                      </a:cxn>
                      <a:cxn ang="0">
                        <a:pos x="1962" y="152"/>
                      </a:cxn>
                      <a:cxn ang="0">
                        <a:pos x="1616" y="174"/>
                      </a:cxn>
                      <a:cxn ang="0">
                        <a:pos x="2034" y="78"/>
                      </a:cxn>
                      <a:cxn ang="0">
                        <a:pos x="1724" y="52"/>
                      </a:cxn>
                      <a:cxn ang="0">
                        <a:pos x="1618" y="2"/>
                      </a:cxn>
                      <a:cxn ang="0">
                        <a:pos x="1402" y="44"/>
                      </a:cxn>
                      <a:cxn ang="0">
                        <a:pos x="1048" y="56"/>
                      </a:cxn>
                      <a:cxn ang="0">
                        <a:pos x="1110" y="74"/>
                      </a:cxn>
                      <a:cxn ang="0">
                        <a:pos x="1108" y="158"/>
                      </a:cxn>
                      <a:cxn ang="0">
                        <a:pos x="900" y="148"/>
                      </a:cxn>
                      <a:cxn ang="0">
                        <a:pos x="756" y="114"/>
                      </a:cxn>
                    </a:cxnLst>
                    <a:rect l="0" t="0" r="r" b="b"/>
                    <a:pathLst>
                      <a:path w="2442" h="1776">
                        <a:moveTo>
                          <a:pt x="470" y="176"/>
                        </a:moveTo>
                        <a:lnTo>
                          <a:pt x="470" y="176"/>
                        </a:lnTo>
                        <a:lnTo>
                          <a:pt x="476" y="186"/>
                        </a:lnTo>
                        <a:lnTo>
                          <a:pt x="478" y="194"/>
                        </a:lnTo>
                        <a:lnTo>
                          <a:pt x="480" y="202"/>
                        </a:lnTo>
                        <a:lnTo>
                          <a:pt x="478" y="210"/>
                        </a:lnTo>
                        <a:lnTo>
                          <a:pt x="474" y="216"/>
                        </a:lnTo>
                        <a:lnTo>
                          <a:pt x="466" y="218"/>
                        </a:lnTo>
                        <a:lnTo>
                          <a:pt x="458" y="220"/>
                        </a:lnTo>
                        <a:lnTo>
                          <a:pt x="446" y="218"/>
                        </a:lnTo>
                        <a:lnTo>
                          <a:pt x="446" y="218"/>
                        </a:lnTo>
                        <a:lnTo>
                          <a:pt x="426" y="212"/>
                        </a:lnTo>
                        <a:lnTo>
                          <a:pt x="406" y="210"/>
                        </a:lnTo>
                        <a:lnTo>
                          <a:pt x="386" y="210"/>
                        </a:lnTo>
                        <a:lnTo>
                          <a:pt x="368" y="212"/>
                        </a:lnTo>
                        <a:lnTo>
                          <a:pt x="350" y="216"/>
                        </a:lnTo>
                        <a:lnTo>
                          <a:pt x="334" y="222"/>
                        </a:lnTo>
                        <a:lnTo>
                          <a:pt x="318" y="230"/>
                        </a:lnTo>
                        <a:lnTo>
                          <a:pt x="304" y="238"/>
                        </a:lnTo>
                        <a:lnTo>
                          <a:pt x="304" y="238"/>
                        </a:lnTo>
                        <a:lnTo>
                          <a:pt x="272" y="256"/>
                        </a:lnTo>
                        <a:lnTo>
                          <a:pt x="244" y="270"/>
                        </a:lnTo>
                        <a:lnTo>
                          <a:pt x="232" y="276"/>
                        </a:lnTo>
                        <a:lnTo>
                          <a:pt x="222" y="284"/>
                        </a:lnTo>
                        <a:lnTo>
                          <a:pt x="218" y="290"/>
                        </a:lnTo>
                        <a:lnTo>
                          <a:pt x="218" y="292"/>
                        </a:lnTo>
                        <a:lnTo>
                          <a:pt x="220" y="296"/>
                        </a:lnTo>
                        <a:lnTo>
                          <a:pt x="220" y="296"/>
                        </a:lnTo>
                        <a:lnTo>
                          <a:pt x="226" y="300"/>
                        </a:lnTo>
                        <a:lnTo>
                          <a:pt x="234" y="304"/>
                        </a:lnTo>
                        <a:lnTo>
                          <a:pt x="244" y="308"/>
                        </a:lnTo>
                        <a:lnTo>
                          <a:pt x="256" y="308"/>
                        </a:lnTo>
                        <a:lnTo>
                          <a:pt x="280" y="308"/>
                        </a:lnTo>
                        <a:lnTo>
                          <a:pt x="302" y="306"/>
                        </a:lnTo>
                        <a:lnTo>
                          <a:pt x="302" y="306"/>
                        </a:lnTo>
                        <a:lnTo>
                          <a:pt x="310" y="306"/>
                        </a:lnTo>
                        <a:lnTo>
                          <a:pt x="316" y="310"/>
                        </a:lnTo>
                        <a:lnTo>
                          <a:pt x="318" y="318"/>
                        </a:lnTo>
                        <a:lnTo>
                          <a:pt x="320" y="326"/>
                        </a:lnTo>
                        <a:lnTo>
                          <a:pt x="318" y="338"/>
                        </a:lnTo>
                        <a:lnTo>
                          <a:pt x="314" y="348"/>
                        </a:lnTo>
                        <a:lnTo>
                          <a:pt x="308" y="360"/>
                        </a:lnTo>
                        <a:lnTo>
                          <a:pt x="300" y="370"/>
                        </a:lnTo>
                        <a:lnTo>
                          <a:pt x="300" y="370"/>
                        </a:lnTo>
                        <a:lnTo>
                          <a:pt x="290" y="380"/>
                        </a:lnTo>
                        <a:lnTo>
                          <a:pt x="280" y="384"/>
                        </a:lnTo>
                        <a:lnTo>
                          <a:pt x="268" y="386"/>
                        </a:lnTo>
                        <a:lnTo>
                          <a:pt x="254" y="386"/>
                        </a:lnTo>
                        <a:lnTo>
                          <a:pt x="224" y="382"/>
                        </a:lnTo>
                        <a:lnTo>
                          <a:pt x="206" y="382"/>
                        </a:lnTo>
                        <a:lnTo>
                          <a:pt x="188" y="384"/>
                        </a:lnTo>
                        <a:lnTo>
                          <a:pt x="188" y="384"/>
                        </a:lnTo>
                        <a:lnTo>
                          <a:pt x="172" y="388"/>
                        </a:lnTo>
                        <a:lnTo>
                          <a:pt x="162" y="392"/>
                        </a:lnTo>
                        <a:lnTo>
                          <a:pt x="154" y="396"/>
                        </a:lnTo>
                        <a:lnTo>
                          <a:pt x="150" y="400"/>
                        </a:lnTo>
                        <a:lnTo>
                          <a:pt x="142" y="404"/>
                        </a:lnTo>
                        <a:lnTo>
                          <a:pt x="130" y="408"/>
                        </a:lnTo>
                        <a:lnTo>
                          <a:pt x="112" y="412"/>
                        </a:lnTo>
                        <a:lnTo>
                          <a:pt x="84" y="418"/>
                        </a:lnTo>
                        <a:lnTo>
                          <a:pt x="84" y="418"/>
                        </a:lnTo>
                        <a:lnTo>
                          <a:pt x="54" y="422"/>
                        </a:lnTo>
                        <a:lnTo>
                          <a:pt x="32" y="428"/>
                        </a:lnTo>
                        <a:lnTo>
                          <a:pt x="16" y="434"/>
                        </a:lnTo>
                        <a:lnTo>
                          <a:pt x="4" y="440"/>
                        </a:lnTo>
                        <a:lnTo>
                          <a:pt x="0" y="448"/>
                        </a:lnTo>
                        <a:lnTo>
                          <a:pt x="0" y="456"/>
                        </a:lnTo>
                        <a:lnTo>
                          <a:pt x="4" y="464"/>
                        </a:lnTo>
                        <a:lnTo>
                          <a:pt x="12" y="472"/>
                        </a:lnTo>
                        <a:lnTo>
                          <a:pt x="12" y="472"/>
                        </a:lnTo>
                        <a:lnTo>
                          <a:pt x="20" y="478"/>
                        </a:lnTo>
                        <a:lnTo>
                          <a:pt x="28" y="482"/>
                        </a:lnTo>
                        <a:lnTo>
                          <a:pt x="38" y="484"/>
                        </a:lnTo>
                        <a:lnTo>
                          <a:pt x="48" y="484"/>
                        </a:lnTo>
                        <a:lnTo>
                          <a:pt x="52" y="486"/>
                        </a:lnTo>
                        <a:lnTo>
                          <a:pt x="56" y="490"/>
                        </a:lnTo>
                        <a:lnTo>
                          <a:pt x="56" y="490"/>
                        </a:lnTo>
                        <a:lnTo>
                          <a:pt x="62" y="494"/>
                        </a:lnTo>
                        <a:lnTo>
                          <a:pt x="68" y="496"/>
                        </a:lnTo>
                        <a:lnTo>
                          <a:pt x="78" y="496"/>
                        </a:lnTo>
                        <a:lnTo>
                          <a:pt x="88" y="496"/>
                        </a:lnTo>
                        <a:lnTo>
                          <a:pt x="92" y="498"/>
                        </a:lnTo>
                        <a:lnTo>
                          <a:pt x="96" y="502"/>
                        </a:lnTo>
                        <a:lnTo>
                          <a:pt x="96" y="502"/>
                        </a:lnTo>
                        <a:lnTo>
                          <a:pt x="102" y="506"/>
                        </a:lnTo>
                        <a:lnTo>
                          <a:pt x="108" y="510"/>
                        </a:lnTo>
                        <a:lnTo>
                          <a:pt x="116" y="514"/>
                        </a:lnTo>
                        <a:lnTo>
                          <a:pt x="124" y="514"/>
                        </a:lnTo>
                        <a:lnTo>
                          <a:pt x="144" y="516"/>
                        </a:lnTo>
                        <a:lnTo>
                          <a:pt x="174" y="516"/>
                        </a:lnTo>
                        <a:lnTo>
                          <a:pt x="174" y="516"/>
                        </a:lnTo>
                        <a:lnTo>
                          <a:pt x="192" y="516"/>
                        </a:lnTo>
                        <a:lnTo>
                          <a:pt x="208" y="514"/>
                        </a:lnTo>
                        <a:lnTo>
                          <a:pt x="238" y="508"/>
                        </a:lnTo>
                        <a:lnTo>
                          <a:pt x="250" y="506"/>
                        </a:lnTo>
                        <a:lnTo>
                          <a:pt x="260" y="506"/>
                        </a:lnTo>
                        <a:lnTo>
                          <a:pt x="268" y="506"/>
                        </a:lnTo>
                        <a:lnTo>
                          <a:pt x="272" y="512"/>
                        </a:lnTo>
                        <a:lnTo>
                          <a:pt x="272" y="512"/>
                        </a:lnTo>
                        <a:lnTo>
                          <a:pt x="272" y="516"/>
                        </a:lnTo>
                        <a:lnTo>
                          <a:pt x="268" y="520"/>
                        </a:lnTo>
                        <a:lnTo>
                          <a:pt x="260" y="524"/>
                        </a:lnTo>
                        <a:lnTo>
                          <a:pt x="248" y="524"/>
                        </a:lnTo>
                        <a:lnTo>
                          <a:pt x="174" y="528"/>
                        </a:lnTo>
                        <a:lnTo>
                          <a:pt x="174" y="528"/>
                        </a:lnTo>
                        <a:lnTo>
                          <a:pt x="128" y="534"/>
                        </a:lnTo>
                        <a:lnTo>
                          <a:pt x="106" y="538"/>
                        </a:lnTo>
                        <a:lnTo>
                          <a:pt x="86" y="542"/>
                        </a:lnTo>
                        <a:lnTo>
                          <a:pt x="72" y="546"/>
                        </a:lnTo>
                        <a:lnTo>
                          <a:pt x="62" y="552"/>
                        </a:lnTo>
                        <a:lnTo>
                          <a:pt x="60" y="554"/>
                        </a:lnTo>
                        <a:lnTo>
                          <a:pt x="62" y="558"/>
                        </a:lnTo>
                        <a:lnTo>
                          <a:pt x="64" y="562"/>
                        </a:lnTo>
                        <a:lnTo>
                          <a:pt x="68" y="564"/>
                        </a:lnTo>
                        <a:lnTo>
                          <a:pt x="68" y="564"/>
                        </a:lnTo>
                        <a:lnTo>
                          <a:pt x="84" y="570"/>
                        </a:lnTo>
                        <a:lnTo>
                          <a:pt x="102" y="574"/>
                        </a:lnTo>
                        <a:lnTo>
                          <a:pt x="140" y="580"/>
                        </a:lnTo>
                        <a:lnTo>
                          <a:pt x="154" y="584"/>
                        </a:lnTo>
                        <a:lnTo>
                          <a:pt x="162" y="586"/>
                        </a:lnTo>
                        <a:lnTo>
                          <a:pt x="162" y="588"/>
                        </a:lnTo>
                        <a:lnTo>
                          <a:pt x="160" y="590"/>
                        </a:lnTo>
                        <a:lnTo>
                          <a:pt x="148" y="594"/>
                        </a:lnTo>
                        <a:lnTo>
                          <a:pt x="148" y="594"/>
                        </a:lnTo>
                        <a:lnTo>
                          <a:pt x="136" y="598"/>
                        </a:lnTo>
                        <a:lnTo>
                          <a:pt x="132" y="602"/>
                        </a:lnTo>
                        <a:lnTo>
                          <a:pt x="132" y="604"/>
                        </a:lnTo>
                        <a:lnTo>
                          <a:pt x="132" y="606"/>
                        </a:lnTo>
                        <a:lnTo>
                          <a:pt x="136" y="608"/>
                        </a:lnTo>
                        <a:lnTo>
                          <a:pt x="146" y="614"/>
                        </a:lnTo>
                        <a:lnTo>
                          <a:pt x="182" y="624"/>
                        </a:lnTo>
                        <a:lnTo>
                          <a:pt x="224" y="636"/>
                        </a:lnTo>
                        <a:lnTo>
                          <a:pt x="224" y="636"/>
                        </a:lnTo>
                        <a:lnTo>
                          <a:pt x="242" y="642"/>
                        </a:lnTo>
                        <a:lnTo>
                          <a:pt x="248" y="642"/>
                        </a:lnTo>
                        <a:lnTo>
                          <a:pt x="248" y="642"/>
                        </a:lnTo>
                        <a:lnTo>
                          <a:pt x="248" y="640"/>
                        </a:lnTo>
                        <a:lnTo>
                          <a:pt x="242" y="634"/>
                        </a:lnTo>
                        <a:lnTo>
                          <a:pt x="230" y="622"/>
                        </a:lnTo>
                        <a:lnTo>
                          <a:pt x="228" y="618"/>
                        </a:lnTo>
                        <a:lnTo>
                          <a:pt x="228" y="616"/>
                        </a:lnTo>
                        <a:lnTo>
                          <a:pt x="232" y="614"/>
                        </a:lnTo>
                        <a:lnTo>
                          <a:pt x="232" y="614"/>
                        </a:lnTo>
                        <a:lnTo>
                          <a:pt x="238" y="612"/>
                        </a:lnTo>
                        <a:lnTo>
                          <a:pt x="242" y="614"/>
                        </a:lnTo>
                        <a:lnTo>
                          <a:pt x="246" y="620"/>
                        </a:lnTo>
                        <a:lnTo>
                          <a:pt x="250" y="622"/>
                        </a:lnTo>
                        <a:lnTo>
                          <a:pt x="254" y="622"/>
                        </a:lnTo>
                        <a:lnTo>
                          <a:pt x="262" y="622"/>
                        </a:lnTo>
                        <a:lnTo>
                          <a:pt x="272" y="618"/>
                        </a:lnTo>
                        <a:lnTo>
                          <a:pt x="272" y="618"/>
                        </a:lnTo>
                        <a:lnTo>
                          <a:pt x="282" y="614"/>
                        </a:lnTo>
                        <a:lnTo>
                          <a:pt x="286" y="614"/>
                        </a:lnTo>
                        <a:lnTo>
                          <a:pt x="286" y="616"/>
                        </a:lnTo>
                        <a:lnTo>
                          <a:pt x="286" y="618"/>
                        </a:lnTo>
                        <a:lnTo>
                          <a:pt x="284" y="622"/>
                        </a:lnTo>
                        <a:lnTo>
                          <a:pt x="286" y="626"/>
                        </a:lnTo>
                        <a:lnTo>
                          <a:pt x="290" y="630"/>
                        </a:lnTo>
                        <a:lnTo>
                          <a:pt x="300" y="630"/>
                        </a:lnTo>
                        <a:lnTo>
                          <a:pt x="300" y="630"/>
                        </a:lnTo>
                        <a:lnTo>
                          <a:pt x="312" y="630"/>
                        </a:lnTo>
                        <a:lnTo>
                          <a:pt x="320" y="626"/>
                        </a:lnTo>
                        <a:lnTo>
                          <a:pt x="326" y="622"/>
                        </a:lnTo>
                        <a:lnTo>
                          <a:pt x="330" y="618"/>
                        </a:lnTo>
                        <a:lnTo>
                          <a:pt x="334" y="616"/>
                        </a:lnTo>
                        <a:lnTo>
                          <a:pt x="338" y="614"/>
                        </a:lnTo>
                        <a:lnTo>
                          <a:pt x="344" y="614"/>
                        </a:lnTo>
                        <a:lnTo>
                          <a:pt x="350" y="620"/>
                        </a:lnTo>
                        <a:lnTo>
                          <a:pt x="350" y="620"/>
                        </a:lnTo>
                        <a:lnTo>
                          <a:pt x="358" y="624"/>
                        </a:lnTo>
                        <a:lnTo>
                          <a:pt x="364" y="624"/>
                        </a:lnTo>
                        <a:lnTo>
                          <a:pt x="368" y="622"/>
                        </a:lnTo>
                        <a:lnTo>
                          <a:pt x="370" y="618"/>
                        </a:lnTo>
                        <a:lnTo>
                          <a:pt x="374" y="614"/>
                        </a:lnTo>
                        <a:lnTo>
                          <a:pt x="380" y="610"/>
                        </a:lnTo>
                        <a:lnTo>
                          <a:pt x="386" y="610"/>
                        </a:lnTo>
                        <a:lnTo>
                          <a:pt x="396" y="612"/>
                        </a:lnTo>
                        <a:lnTo>
                          <a:pt x="396" y="612"/>
                        </a:lnTo>
                        <a:lnTo>
                          <a:pt x="408" y="616"/>
                        </a:lnTo>
                        <a:lnTo>
                          <a:pt x="420" y="618"/>
                        </a:lnTo>
                        <a:lnTo>
                          <a:pt x="446" y="618"/>
                        </a:lnTo>
                        <a:lnTo>
                          <a:pt x="468" y="620"/>
                        </a:lnTo>
                        <a:lnTo>
                          <a:pt x="476" y="622"/>
                        </a:lnTo>
                        <a:lnTo>
                          <a:pt x="484" y="628"/>
                        </a:lnTo>
                        <a:lnTo>
                          <a:pt x="484" y="628"/>
                        </a:lnTo>
                        <a:lnTo>
                          <a:pt x="488" y="632"/>
                        </a:lnTo>
                        <a:lnTo>
                          <a:pt x="492" y="634"/>
                        </a:lnTo>
                        <a:lnTo>
                          <a:pt x="500" y="634"/>
                        </a:lnTo>
                        <a:lnTo>
                          <a:pt x="506" y="634"/>
                        </a:lnTo>
                        <a:lnTo>
                          <a:pt x="512" y="634"/>
                        </a:lnTo>
                        <a:lnTo>
                          <a:pt x="522" y="638"/>
                        </a:lnTo>
                        <a:lnTo>
                          <a:pt x="534" y="642"/>
                        </a:lnTo>
                        <a:lnTo>
                          <a:pt x="534" y="642"/>
                        </a:lnTo>
                        <a:lnTo>
                          <a:pt x="560" y="654"/>
                        </a:lnTo>
                        <a:lnTo>
                          <a:pt x="578" y="664"/>
                        </a:lnTo>
                        <a:lnTo>
                          <a:pt x="584" y="666"/>
                        </a:lnTo>
                        <a:lnTo>
                          <a:pt x="584" y="670"/>
                        </a:lnTo>
                        <a:lnTo>
                          <a:pt x="584" y="674"/>
                        </a:lnTo>
                        <a:lnTo>
                          <a:pt x="578" y="680"/>
                        </a:lnTo>
                        <a:lnTo>
                          <a:pt x="578" y="680"/>
                        </a:lnTo>
                        <a:lnTo>
                          <a:pt x="576" y="684"/>
                        </a:lnTo>
                        <a:lnTo>
                          <a:pt x="576" y="688"/>
                        </a:lnTo>
                        <a:lnTo>
                          <a:pt x="578" y="692"/>
                        </a:lnTo>
                        <a:lnTo>
                          <a:pt x="582" y="696"/>
                        </a:lnTo>
                        <a:lnTo>
                          <a:pt x="596" y="704"/>
                        </a:lnTo>
                        <a:lnTo>
                          <a:pt x="612" y="714"/>
                        </a:lnTo>
                        <a:lnTo>
                          <a:pt x="642" y="734"/>
                        </a:lnTo>
                        <a:lnTo>
                          <a:pt x="652" y="742"/>
                        </a:lnTo>
                        <a:lnTo>
                          <a:pt x="654" y="746"/>
                        </a:lnTo>
                        <a:lnTo>
                          <a:pt x="654" y="750"/>
                        </a:lnTo>
                        <a:lnTo>
                          <a:pt x="654" y="750"/>
                        </a:lnTo>
                        <a:lnTo>
                          <a:pt x="650" y="756"/>
                        </a:lnTo>
                        <a:lnTo>
                          <a:pt x="644" y="764"/>
                        </a:lnTo>
                        <a:lnTo>
                          <a:pt x="632" y="776"/>
                        </a:lnTo>
                        <a:lnTo>
                          <a:pt x="628" y="780"/>
                        </a:lnTo>
                        <a:lnTo>
                          <a:pt x="628" y="782"/>
                        </a:lnTo>
                        <a:lnTo>
                          <a:pt x="632" y="784"/>
                        </a:lnTo>
                        <a:lnTo>
                          <a:pt x="642" y="780"/>
                        </a:lnTo>
                        <a:lnTo>
                          <a:pt x="642" y="780"/>
                        </a:lnTo>
                        <a:lnTo>
                          <a:pt x="660" y="776"/>
                        </a:lnTo>
                        <a:lnTo>
                          <a:pt x="666" y="776"/>
                        </a:lnTo>
                        <a:lnTo>
                          <a:pt x="668" y="776"/>
                        </a:lnTo>
                        <a:lnTo>
                          <a:pt x="670" y="782"/>
                        </a:lnTo>
                        <a:lnTo>
                          <a:pt x="674" y="786"/>
                        </a:lnTo>
                        <a:lnTo>
                          <a:pt x="678" y="790"/>
                        </a:lnTo>
                        <a:lnTo>
                          <a:pt x="678" y="790"/>
                        </a:lnTo>
                        <a:lnTo>
                          <a:pt x="684" y="794"/>
                        </a:lnTo>
                        <a:lnTo>
                          <a:pt x="686" y="798"/>
                        </a:lnTo>
                        <a:lnTo>
                          <a:pt x="684" y="802"/>
                        </a:lnTo>
                        <a:lnTo>
                          <a:pt x="682" y="806"/>
                        </a:lnTo>
                        <a:lnTo>
                          <a:pt x="680" y="810"/>
                        </a:lnTo>
                        <a:lnTo>
                          <a:pt x="680" y="814"/>
                        </a:lnTo>
                        <a:lnTo>
                          <a:pt x="686" y="818"/>
                        </a:lnTo>
                        <a:lnTo>
                          <a:pt x="696" y="824"/>
                        </a:lnTo>
                        <a:lnTo>
                          <a:pt x="696" y="824"/>
                        </a:lnTo>
                        <a:lnTo>
                          <a:pt x="704" y="828"/>
                        </a:lnTo>
                        <a:lnTo>
                          <a:pt x="708" y="834"/>
                        </a:lnTo>
                        <a:lnTo>
                          <a:pt x="706" y="838"/>
                        </a:lnTo>
                        <a:lnTo>
                          <a:pt x="702" y="844"/>
                        </a:lnTo>
                        <a:lnTo>
                          <a:pt x="700" y="850"/>
                        </a:lnTo>
                        <a:lnTo>
                          <a:pt x="698" y="854"/>
                        </a:lnTo>
                        <a:lnTo>
                          <a:pt x="702" y="858"/>
                        </a:lnTo>
                        <a:lnTo>
                          <a:pt x="710" y="862"/>
                        </a:lnTo>
                        <a:lnTo>
                          <a:pt x="710" y="862"/>
                        </a:lnTo>
                        <a:lnTo>
                          <a:pt x="720" y="864"/>
                        </a:lnTo>
                        <a:lnTo>
                          <a:pt x="726" y="870"/>
                        </a:lnTo>
                        <a:lnTo>
                          <a:pt x="730" y="876"/>
                        </a:lnTo>
                        <a:lnTo>
                          <a:pt x="730" y="882"/>
                        </a:lnTo>
                        <a:lnTo>
                          <a:pt x="728" y="888"/>
                        </a:lnTo>
                        <a:lnTo>
                          <a:pt x="722" y="894"/>
                        </a:lnTo>
                        <a:lnTo>
                          <a:pt x="716" y="898"/>
                        </a:lnTo>
                        <a:lnTo>
                          <a:pt x="706" y="902"/>
                        </a:lnTo>
                        <a:lnTo>
                          <a:pt x="706" y="902"/>
                        </a:lnTo>
                        <a:lnTo>
                          <a:pt x="698" y="904"/>
                        </a:lnTo>
                        <a:lnTo>
                          <a:pt x="694" y="906"/>
                        </a:lnTo>
                        <a:lnTo>
                          <a:pt x="690" y="910"/>
                        </a:lnTo>
                        <a:lnTo>
                          <a:pt x="690" y="916"/>
                        </a:lnTo>
                        <a:lnTo>
                          <a:pt x="690" y="922"/>
                        </a:lnTo>
                        <a:lnTo>
                          <a:pt x="694" y="928"/>
                        </a:lnTo>
                        <a:lnTo>
                          <a:pt x="704" y="942"/>
                        </a:lnTo>
                        <a:lnTo>
                          <a:pt x="704" y="942"/>
                        </a:lnTo>
                        <a:lnTo>
                          <a:pt x="708" y="948"/>
                        </a:lnTo>
                        <a:lnTo>
                          <a:pt x="708" y="952"/>
                        </a:lnTo>
                        <a:lnTo>
                          <a:pt x="704" y="956"/>
                        </a:lnTo>
                        <a:lnTo>
                          <a:pt x="698" y="956"/>
                        </a:lnTo>
                        <a:lnTo>
                          <a:pt x="686" y="960"/>
                        </a:lnTo>
                        <a:lnTo>
                          <a:pt x="682" y="960"/>
                        </a:lnTo>
                        <a:lnTo>
                          <a:pt x="684" y="964"/>
                        </a:lnTo>
                        <a:lnTo>
                          <a:pt x="684" y="964"/>
                        </a:lnTo>
                        <a:lnTo>
                          <a:pt x="690" y="972"/>
                        </a:lnTo>
                        <a:lnTo>
                          <a:pt x="696" y="980"/>
                        </a:lnTo>
                        <a:lnTo>
                          <a:pt x="698" y="984"/>
                        </a:lnTo>
                        <a:lnTo>
                          <a:pt x="702" y="986"/>
                        </a:lnTo>
                        <a:lnTo>
                          <a:pt x="706" y="986"/>
                        </a:lnTo>
                        <a:lnTo>
                          <a:pt x="710" y="984"/>
                        </a:lnTo>
                        <a:lnTo>
                          <a:pt x="710" y="984"/>
                        </a:lnTo>
                        <a:lnTo>
                          <a:pt x="716" y="984"/>
                        </a:lnTo>
                        <a:lnTo>
                          <a:pt x="722" y="984"/>
                        </a:lnTo>
                        <a:lnTo>
                          <a:pt x="738" y="988"/>
                        </a:lnTo>
                        <a:lnTo>
                          <a:pt x="744" y="990"/>
                        </a:lnTo>
                        <a:lnTo>
                          <a:pt x="752" y="988"/>
                        </a:lnTo>
                        <a:lnTo>
                          <a:pt x="758" y="984"/>
                        </a:lnTo>
                        <a:lnTo>
                          <a:pt x="764" y="974"/>
                        </a:lnTo>
                        <a:lnTo>
                          <a:pt x="764" y="974"/>
                        </a:lnTo>
                        <a:lnTo>
                          <a:pt x="768" y="970"/>
                        </a:lnTo>
                        <a:lnTo>
                          <a:pt x="770" y="966"/>
                        </a:lnTo>
                        <a:lnTo>
                          <a:pt x="780" y="960"/>
                        </a:lnTo>
                        <a:lnTo>
                          <a:pt x="790" y="960"/>
                        </a:lnTo>
                        <a:lnTo>
                          <a:pt x="800" y="960"/>
                        </a:lnTo>
                        <a:lnTo>
                          <a:pt x="808" y="962"/>
                        </a:lnTo>
                        <a:lnTo>
                          <a:pt x="816" y="966"/>
                        </a:lnTo>
                        <a:lnTo>
                          <a:pt x="818" y="970"/>
                        </a:lnTo>
                        <a:lnTo>
                          <a:pt x="818" y="972"/>
                        </a:lnTo>
                        <a:lnTo>
                          <a:pt x="818" y="972"/>
                        </a:lnTo>
                        <a:lnTo>
                          <a:pt x="818" y="972"/>
                        </a:lnTo>
                        <a:lnTo>
                          <a:pt x="812" y="978"/>
                        </a:lnTo>
                        <a:lnTo>
                          <a:pt x="810" y="980"/>
                        </a:lnTo>
                        <a:lnTo>
                          <a:pt x="812" y="982"/>
                        </a:lnTo>
                        <a:lnTo>
                          <a:pt x="818" y="982"/>
                        </a:lnTo>
                        <a:lnTo>
                          <a:pt x="822" y="984"/>
                        </a:lnTo>
                        <a:lnTo>
                          <a:pt x="828" y="986"/>
                        </a:lnTo>
                        <a:lnTo>
                          <a:pt x="828" y="990"/>
                        </a:lnTo>
                        <a:lnTo>
                          <a:pt x="826" y="994"/>
                        </a:lnTo>
                        <a:lnTo>
                          <a:pt x="826" y="994"/>
                        </a:lnTo>
                        <a:lnTo>
                          <a:pt x="824" y="998"/>
                        </a:lnTo>
                        <a:lnTo>
                          <a:pt x="824" y="1000"/>
                        </a:lnTo>
                        <a:lnTo>
                          <a:pt x="828" y="1006"/>
                        </a:lnTo>
                        <a:lnTo>
                          <a:pt x="836" y="1010"/>
                        </a:lnTo>
                        <a:lnTo>
                          <a:pt x="846" y="1014"/>
                        </a:lnTo>
                        <a:lnTo>
                          <a:pt x="866" y="1020"/>
                        </a:lnTo>
                        <a:lnTo>
                          <a:pt x="872" y="1022"/>
                        </a:lnTo>
                        <a:lnTo>
                          <a:pt x="874" y="1024"/>
                        </a:lnTo>
                        <a:lnTo>
                          <a:pt x="874" y="1024"/>
                        </a:lnTo>
                        <a:lnTo>
                          <a:pt x="874" y="1024"/>
                        </a:lnTo>
                        <a:lnTo>
                          <a:pt x="868" y="1034"/>
                        </a:lnTo>
                        <a:lnTo>
                          <a:pt x="866" y="1040"/>
                        </a:lnTo>
                        <a:lnTo>
                          <a:pt x="868" y="1044"/>
                        </a:lnTo>
                        <a:lnTo>
                          <a:pt x="874" y="1050"/>
                        </a:lnTo>
                        <a:lnTo>
                          <a:pt x="874" y="1050"/>
                        </a:lnTo>
                        <a:lnTo>
                          <a:pt x="874" y="1052"/>
                        </a:lnTo>
                        <a:lnTo>
                          <a:pt x="872" y="1054"/>
                        </a:lnTo>
                        <a:lnTo>
                          <a:pt x="862" y="1052"/>
                        </a:lnTo>
                        <a:lnTo>
                          <a:pt x="848" y="1048"/>
                        </a:lnTo>
                        <a:lnTo>
                          <a:pt x="832" y="1040"/>
                        </a:lnTo>
                        <a:lnTo>
                          <a:pt x="832" y="1040"/>
                        </a:lnTo>
                        <a:lnTo>
                          <a:pt x="822" y="1036"/>
                        </a:lnTo>
                        <a:lnTo>
                          <a:pt x="810" y="1032"/>
                        </a:lnTo>
                        <a:lnTo>
                          <a:pt x="784" y="1028"/>
                        </a:lnTo>
                        <a:lnTo>
                          <a:pt x="758" y="1028"/>
                        </a:lnTo>
                        <a:lnTo>
                          <a:pt x="748" y="1030"/>
                        </a:lnTo>
                        <a:lnTo>
                          <a:pt x="742" y="1032"/>
                        </a:lnTo>
                        <a:lnTo>
                          <a:pt x="742" y="1032"/>
                        </a:lnTo>
                        <a:lnTo>
                          <a:pt x="738" y="1036"/>
                        </a:lnTo>
                        <a:lnTo>
                          <a:pt x="740" y="1042"/>
                        </a:lnTo>
                        <a:lnTo>
                          <a:pt x="744" y="1046"/>
                        </a:lnTo>
                        <a:lnTo>
                          <a:pt x="750" y="1050"/>
                        </a:lnTo>
                        <a:lnTo>
                          <a:pt x="764" y="1056"/>
                        </a:lnTo>
                        <a:lnTo>
                          <a:pt x="782" y="1060"/>
                        </a:lnTo>
                        <a:lnTo>
                          <a:pt x="782" y="1060"/>
                        </a:lnTo>
                        <a:lnTo>
                          <a:pt x="796" y="1060"/>
                        </a:lnTo>
                        <a:lnTo>
                          <a:pt x="804" y="1064"/>
                        </a:lnTo>
                        <a:lnTo>
                          <a:pt x="810" y="1068"/>
                        </a:lnTo>
                        <a:lnTo>
                          <a:pt x="816" y="1072"/>
                        </a:lnTo>
                        <a:lnTo>
                          <a:pt x="820" y="1078"/>
                        </a:lnTo>
                        <a:lnTo>
                          <a:pt x="824" y="1082"/>
                        </a:lnTo>
                        <a:lnTo>
                          <a:pt x="832" y="1086"/>
                        </a:lnTo>
                        <a:lnTo>
                          <a:pt x="844" y="1088"/>
                        </a:lnTo>
                        <a:lnTo>
                          <a:pt x="844" y="1088"/>
                        </a:lnTo>
                        <a:lnTo>
                          <a:pt x="856" y="1090"/>
                        </a:lnTo>
                        <a:lnTo>
                          <a:pt x="864" y="1092"/>
                        </a:lnTo>
                        <a:lnTo>
                          <a:pt x="868" y="1096"/>
                        </a:lnTo>
                        <a:lnTo>
                          <a:pt x="870" y="1098"/>
                        </a:lnTo>
                        <a:lnTo>
                          <a:pt x="866" y="1108"/>
                        </a:lnTo>
                        <a:lnTo>
                          <a:pt x="866" y="1112"/>
                        </a:lnTo>
                        <a:lnTo>
                          <a:pt x="868" y="1118"/>
                        </a:lnTo>
                        <a:lnTo>
                          <a:pt x="868" y="1118"/>
                        </a:lnTo>
                        <a:lnTo>
                          <a:pt x="872" y="1122"/>
                        </a:lnTo>
                        <a:lnTo>
                          <a:pt x="876" y="1120"/>
                        </a:lnTo>
                        <a:lnTo>
                          <a:pt x="880" y="1118"/>
                        </a:lnTo>
                        <a:lnTo>
                          <a:pt x="882" y="1114"/>
                        </a:lnTo>
                        <a:lnTo>
                          <a:pt x="888" y="1106"/>
                        </a:lnTo>
                        <a:lnTo>
                          <a:pt x="888" y="1106"/>
                        </a:lnTo>
                        <a:lnTo>
                          <a:pt x="890" y="1110"/>
                        </a:lnTo>
                        <a:lnTo>
                          <a:pt x="890" y="1110"/>
                        </a:lnTo>
                        <a:lnTo>
                          <a:pt x="888" y="1116"/>
                        </a:lnTo>
                        <a:lnTo>
                          <a:pt x="888" y="1122"/>
                        </a:lnTo>
                        <a:lnTo>
                          <a:pt x="882" y="1134"/>
                        </a:lnTo>
                        <a:lnTo>
                          <a:pt x="876" y="1148"/>
                        </a:lnTo>
                        <a:lnTo>
                          <a:pt x="872" y="1164"/>
                        </a:lnTo>
                        <a:lnTo>
                          <a:pt x="872" y="1164"/>
                        </a:lnTo>
                        <a:lnTo>
                          <a:pt x="870" y="1170"/>
                        </a:lnTo>
                        <a:lnTo>
                          <a:pt x="872" y="1176"/>
                        </a:lnTo>
                        <a:lnTo>
                          <a:pt x="876" y="1182"/>
                        </a:lnTo>
                        <a:lnTo>
                          <a:pt x="876" y="1184"/>
                        </a:lnTo>
                        <a:lnTo>
                          <a:pt x="876" y="1186"/>
                        </a:lnTo>
                        <a:lnTo>
                          <a:pt x="866" y="1192"/>
                        </a:lnTo>
                        <a:lnTo>
                          <a:pt x="866" y="1192"/>
                        </a:lnTo>
                        <a:lnTo>
                          <a:pt x="858" y="1194"/>
                        </a:lnTo>
                        <a:lnTo>
                          <a:pt x="850" y="1196"/>
                        </a:lnTo>
                        <a:lnTo>
                          <a:pt x="838" y="1192"/>
                        </a:lnTo>
                        <a:lnTo>
                          <a:pt x="828" y="1190"/>
                        </a:lnTo>
                        <a:lnTo>
                          <a:pt x="822" y="1190"/>
                        </a:lnTo>
                        <a:lnTo>
                          <a:pt x="818" y="1194"/>
                        </a:lnTo>
                        <a:lnTo>
                          <a:pt x="818" y="1194"/>
                        </a:lnTo>
                        <a:lnTo>
                          <a:pt x="812" y="1196"/>
                        </a:lnTo>
                        <a:lnTo>
                          <a:pt x="806" y="1198"/>
                        </a:lnTo>
                        <a:lnTo>
                          <a:pt x="796" y="1202"/>
                        </a:lnTo>
                        <a:lnTo>
                          <a:pt x="788" y="1204"/>
                        </a:lnTo>
                        <a:lnTo>
                          <a:pt x="786" y="1206"/>
                        </a:lnTo>
                        <a:lnTo>
                          <a:pt x="788" y="1210"/>
                        </a:lnTo>
                        <a:lnTo>
                          <a:pt x="788" y="1210"/>
                        </a:lnTo>
                        <a:lnTo>
                          <a:pt x="788" y="1212"/>
                        </a:lnTo>
                        <a:lnTo>
                          <a:pt x="788" y="1214"/>
                        </a:lnTo>
                        <a:lnTo>
                          <a:pt x="784" y="1214"/>
                        </a:lnTo>
                        <a:lnTo>
                          <a:pt x="784" y="1216"/>
                        </a:lnTo>
                        <a:lnTo>
                          <a:pt x="784" y="1216"/>
                        </a:lnTo>
                        <a:lnTo>
                          <a:pt x="790" y="1222"/>
                        </a:lnTo>
                        <a:lnTo>
                          <a:pt x="790" y="1222"/>
                        </a:lnTo>
                        <a:lnTo>
                          <a:pt x="794" y="1226"/>
                        </a:lnTo>
                        <a:lnTo>
                          <a:pt x="794" y="1228"/>
                        </a:lnTo>
                        <a:lnTo>
                          <a:pt x="792" y="1232"/>
                        </a:lnTo>
                        <a:lnTo>
                          <a:pt x="788" y="1234"/>
                        </a:lnTo>
                        <a:lnTo>
                          <a:pt x="778" y="1240"/>
                        </a:lnTo>
                        <a:lnTo>
                          <a:pt x="774" y="1242"/>
                        </a:lnTo>
                        <a:lnTo>
                          <a:pt x="774" y="1246"/>
                        </a:lnTo>
                        <a:lnTo>
                          <a:pt x="774" y="1246"/>
                        </a:lnTo>
                        <a:lnTo>
                          <a:pt x="774" y="1252"/>
                        </a:lnTo>
                        <a:lnTo>
                          <a:pt x="772" y="1260"/>
                        </a:lnTo>
                        <a:lnTo>
                          <a:pt x="762" y="1284"/>
                        </a:lnTo>
                        <a:lnTo>
                          <a:pt x="762" y="1284"/>
                        </a:lnTo>
                        <a:lnTo>
                          <a:pt x="762" y="1292"/>
                        </a:lnTo>
                        <a:lnTo>
                          <a:pt x="762" y="1296"/>
                        </a:lnTo>
                        <a:lnTo>
                          <a:pt x="766" y="1300"/>
                        </a:lnTo>
                        <a:lnTo>
                          <a:pt x="772" y="1302"/>
                        </a:lnTo>
                        <a:lnTo>
                          <a:pt x="788" y="1306"/>
                        </a:lnTo>
                        <a:lnTo>
                          <a:pt x="810" y="1306"/>
                        </a:lnTo>
                        <a:lnTo>
                          <a:pt x="810" y="1306"/>
                        </a:lnTo>
                        <a:lnTo>
                          <a:pt x="800" y="1312"/>
                        </a:lnTo>
                        <a:lnTo>
                          <a:pt x="790" y="1320"/>
                        </a:lnTo>
                        <a:lnTo>
                          <a:pt x="782" y="1328"/>
                        </a:lnTo>
                        <a:lnTo>
                          <a:pt x="776" y="1338"/>
                        </a:lnTo>
                        <a:lnTo>
                          <a:pt x="772" y="1346"/>
                        </a:lnTo>
                        <a:lnTo>
                          <a:pt x="772" y="1354"/>
                        </a:lnTo>
                        <a:lnTo>
                          <a:pt x="774" y="1362"/>
                        </a:lnTo>
                        <a:lnTo>
                          <a:pt x="780" y="1368"/>
                        </a:lnTo>
                        <a:lnTo>
                          <a:pt x="780" y="1368"/>
                        </a:lnTo>
                        <a:lnTo>
                          <a:pt x="786" y="1374"/>
                        </a:lnTo>
                        <a:lnTo>
                          <a:pt x="790" y="1378"/>
                        </a:lnTo>
                        <a:lnTo>
                          <a:pt x="792" y="1384"/>
                        </a:lnTo>
                        <a:lnTo>
                          <a:pt x="792" y="1390"/>
                        </a:lnTo>
                        <a:lnTo>
                          <a:pt x="792" y="1392"/>
                        </a:lnTo>
                        <a:lnTo>
                          <a:pt x="796" y="1392"/>
                        </a:lnTo>
                        <a:lnTo>
                          <a:pt x="796" y="1392"/>
                        </a:lnTo>
                        <a:lnTo>
                          <a:pt x="806" y="1394"/>
                        </a:lnTo>
                        <a:lnTo>
                          <a:pt x="812" y="1400"/>
                        </a:lnTo>
                        <a:lnTo>
                          <a:pt x="818" y="1406"/>
                        </a:lnTo>
                        <a:lnTo>
                          <a:pt x="818" y="1410"/>
                        </a:lnTo>
                        <a:lnTo>
                          <a:pt x="818" y="1414"/>
                        </a:lnTo>
                        <a:lnTo>
                          <a:pt x="818" y="1414"/>
                        </a:lnTo>
                        <a:lnTo>
                          <a:pt x="818" y="1420"/>
                        </a:lnTo>
                        <a:lnTo>
                          <a:pt x="818" y="1422"/>
                        </a:lnTo>
                        <a:lnTo>
                          <a:pt x="824" y="1426"/>
                        </a:lnTo>
                        <a:lnTo>
                          <a:pt x="828" y="1430"/>
                        </a:lnTo>
                        <a:lnTo>
                          <a:pt x="830" y="1434"/>
                        </a:lnTo>
                        <a:lnTo>
                          <a:pt x="830" y="1440"/>
                        </a:lnTo>
                        <a:lnTo>
                          <a:pt x="830" y="1440"/>
                        </a:lnTo>
                        <a:lnTo>
                          <a:pt x="830" y="1450"/>
                        </a:lnTo>
                        <a:lnTo>
                          <a:pt x="834" y="1452"/>
                        </a:lnTo>
                        <a:lnTo>
                          <a:pt x="836" y="1454"/>
                        </a:lnTo>
                        <a:lnTo>
                          <a:pt x="836" y="1462"/>
                        </a:lnTo>
                        <a:lnTo>
                          <a:pt x="836" y="1462"/>
                        </a:lnTo>
                        <a:lnTo>
                          <a:pt x="836" y="1476"/>
                        </a:lnTo>
                        <a:lnTo>
                          <a:pt x="836" y="1482"/>
                        </a:lnTo>
                        <a:lnTo>
                          <a:pt x="840" y="1488"/>
                        </a:lnTo>
                        <a:lnTo>
                          <a:pt x="842" y="1490"/>
                        </a:lnTo>
                        <a:lnTo>
                          <a:pt x="848" y="1488"/>
                        </a:lnTo>
                        <a:lnTo>
                          <a:pt x="852" y="1482"/>
                        </a:lnTo>
                        <a:lnTo>
                          <a:pt x="860" y="1470"/>
                        </a:lnTo>
                        <a:lnTo>
                          <a:pt x="860" y="1470"/>
                        </a:lnTo>
                        <a:lnTo>
                          <a:pt x="870" y="1454"/>
                        </a:lnTo>
                        <a:lnTo>
                          <a:pt x="872" y="1454"/>
                        </a:lnTo>
                        <a:lnTo>
                          <a:pt x="874" y="1456"/>
                        </a:lnTo>
                        <a:lnTo>
                          <a:pt x="876" y="1462"/>
                        </a:lnTo>
                        <a:lnTo>
                          <a:pt x="878" y="1462"/>
                        </a:lnTo>
                        <a:lnTo>
                          <a:pt x="882" y="1460"/>
                        </a:lnTo>
                        <a:lnTo>
                          <a:pt x="882" y="1460"/>
                        </a:lnTo>
                        <a:lnTo>
                          <a:pt x="888" y="1456"/>
                        </a:lnTo>
                        <a:lnTo>
                          <a:pt x="894" y="1454"/>
                        </a:lnTo>
                        <a:lnTo>
                          <a:pt x="900" y="1452"/>
                        </a:lnTo>
                        <a:lnTo>
                          <a:pt x="906" y="1454"/>
                        </a:lnTo>
                        <a:lnTo>
                          <a:pt x="912" y="1456"/>
                        </a:lnTo>
                        <a:lnTo>
                          <a:pt x="916" y="1458"/>
                        </a:lnTo>
                        <a:lnTo>
                          <a:pt x="918" y="1464"/>
                        </a:lnTo>
                        <a:lnTo>
                          <a:pt x="920" y="1470"/>
                        </a:lnTo>
                        <a:lnTo>
                          <a:pt x="920" y="1470"/>
                        </a:lnTo>
                        <a:lnTo>
                          <a:pt x="922" y="1474"/>
                        </a:lnTo>
                        <a:lnTo>
                          <a:pt x="920" y="1474"/>
                        </a:lnTo>
                        <a:lnTo>
                          <a:pt x="912" y="1470"/>
                        </a:lnTo>
                        <a:lnTo>
                          <a:pt x="902" y="1464"/>
                        </a:lnTo>
                        <a:lnTo>
                          <a:pt x="896" y="1462"/>
                        </a:lnTo>
                        <a:lnTo>
                          <a:pt x="890" y="1464"/>
                        </a:lnTo>
                        <a:lnTo>
                          <a:pt x="890" y="1464"/>
                        </a:lnTo>
                        <a:lnTo>
                          <a:pt x="888" y="1466"/>
                        </a:lnTo>
                        <a:lnTo>
                          <a:pt x="888" y="1468"/>
                        </a:lnTo>
                        <a:lnTo>
                          <a:pt x="894" y="1474"/>
                        </a:lnTo>
                        <a:lnTo>
                          <a:pt x="898" y="1474"/>
                        </a:lnTo>
                        <a:lnTo>
                          <a:pt x="898" y="1476"/>
                        </a:lnTo>
                        <a:lnTo>
                          <a:pt x="896" y="1478"/>
                        </a:lnTo>
                        <a:lnTo>
                          <a:pt x="890" y="1478"/>
                        </a:lnTo>
                        <a:lnTo>
                          <a:pt x="890" y="1478"/>
                        </a:lnTo>
                        <a:lnTo>
                          <a:pt x="884" y="1480"/>
                        </a:lnTo>
                        <a:lnTo>
                          <a:pt x="880" y="1480"/>
                        </a:lnTo>
                        <a:lnTo>
                          <a:pt x="880" y="1484"/>
                        </a:lnTo>
                        <a:lnTo>
                          <a:pt x="880" y="1486"/>
                        </a:lnTo>
                        <a:lnTo>
                          <a:pt x="880" y="1488"/>
                        </a:lnTo>
                        <a:lnTo>
                          <a:pt x="880" y="1490"/>
                        </a:lnTo>
                        <a:lnTo>
                          <a:pt x="876" y="1492"/>
                        </a:lnTo>
                        <a:lnTo>
                          <a:pt x="868" y="1492"/>
                        </a:lnTo>
                        <a:lnTo>
                          <a:pt x="868" y="1492"/>
                        </a:lnTo>
                        <a:lnTo>
                          <a:pt x="856" y="1494"/>
                        </a:lnTo>
                        <a:lnTo>
                          <a:pt x="856" y="1496"/>
                        </a:lnTo>
                        <a:lnTo>
                          <a:pt x="856" y="1496"/>
                        </a:lnTo>
                        <a:lnTo>
                          <a:pt x="860" y="1500"/>
                        </a:lnTo>
                        <a:lnTo>
                          <a:pt x="860" y="1502"/>
                        </a:lnTo>
                        <a:lnTo>
                          <a:pt x="858" y="1504"/>
                        </a:lnTo>
                        <a:lnTo>
                          <a:pt x="858" y="1504"/>
                        </a:lnTo>
                        <a:lnTo>
                          <a:pt x="854" y="1506"/>
                        </a:lnTo>
                        <a:lnTo>
                          <a:pt x="854" y="1506"/>
                        </a:lnTo>
                        <a:lnTo>
                          <a:pt x="856" y="1510"/>
                        </a:lnTo>
                        <a:lnTo>
                          <a:pt x="860" y="1514"/>
                        </a:lnTo>
                        <a:lnTo>
                          <a:pt x="862" y="1516"/>
                        </a:lnTo>
                        <a:lnTo>
                          <a:pt x="860" y="1518"/>
                        </a:lnTo>
                        <a:lnTo>
                          <a:pt x="860" y="1518"/>
                        </a:lnTo>
                        <a:lnTo>
                          <a:pt x="860" y="1522"/>
                        </a:lnTo>
                        <a:lnTo>
                          <a:pt x="860" y="1526"/>
                        </a:lnTo>
                        <a:lnTo>
                          <a:pt x="862" y="1534"/>
                        </a:lnTo>
                        <a:lnTo>
                          <a:pt x="874" y="1554"/>
                        </a:lnTo>
                        <a:lnTo>
                          <a:pt x="874" y="1554"/>
                        </a:lnTo>
                        <a:lnTo>
                          <a:pt x="878" y="1558"/>
                        </a:lnTo>
                        <a:lnTo>
                          <a:pt x="882" y="1560"/>
                        </a:lnTo>
                        <a:lnTo>
                          <a:pt x="890" y="1562"/>
                        </a:lnTo>
                        <a:lnTo>
                          <a:pt x="898" y="1562"/>
                        </a:lnTo>
                        <a:lnTo>
                          <a:pt x="898" y="1564"/>
                        </a:lnTo>
                        <a:lnTo>
                          <a:pt x="898" y="1568"/>
                        </a:lnTo>
                        <a:lnTo>
                          <a:pt x="898" y="1568"/>
                        </a:lnTo>
                        <a:lnTo>
                          <a:pt x="896" y="1572"/>
                        </a:lnTo>
                        <a:lnTo>
                          <a:pt x="898" y="1576"/>
                        </a:lnTo>
                        <a:lnTo>
                          <a:pt x="902" y="1582"/>
                        </a:lnTo>
                        <a:lnTo>
                          <a:pt x="906" y="1590"/>
                        </a:lnTo>
                        <a:lnTo>
                          <a:pt x="908" y="1594"/>
                        </a:lnTo>
                        <a:lnTo>
                          <a:pt x="908" y="1598"/>
                        </a:lnTo>
                        <a:lnTo>
                          <a:pt x="908" y="1598"/>
                        </a:lnTo>
                        <a:lnTo>
                          <a:pt x="908" y="1606"/>
                        </a:lnTo>
                        <a:lnTo>
                          <a:pt x="910" y="1610"/>
                        </a:lnTo>
                        <a:lnTo>
                          <a:pt x="914" y="1614"/>
                        </a:lnTo>
                        <a:lnTo>
                          <a:pt x="926" y="1618"/>
                        </a:lnTo>
                        <a:lnTo>
                          <a:pt x="926" y="1618"/>
                        </a:lnTo>
                        <a:lnTo>
                          <a:pt x="932" y="1622"/>
                        </a:lnTo>
                        <a:lnTo>
                          <a:pt x="934" y="1626"/>
                        </a:lnTo>
                        <a:lnTo>
                          <a:pt x="936" y="1630"/>
                        </a:lnTo>
                        <a:lnTo>
                          <a:pt x="934" y="1634"/>
                        </a:lnTo>
                        <a:lnTo>
                          <a:pt x="934" y="1640"/>
                        </a:lnTo>
                        <a:lnTo>
                          <a:pt x="934" y="1640"/>
                        </a:lnTo>
                        <a:lnTo>
                          <a:pt x="938" y="1640"/>
                        </a:lnTo>
                        <a:lnTo>
                          <a:pt x="938" y="1640"/>
                        </a:lnTo>
                        <a:lnTo>
                          <a:pt x="942" y="1640"/>
                        </a:lnTo>
                        <a:lnTo>
                          <a:pt x="944" y="1640"/>
                        </a:lnTo>
                        <a:lnTo>
                          <a:pt x="946" y="1648"/>
                        </a:lnTo>
                        <a:lnTo>
                          <a:pt x="946" y="1654"/>
                        </a:lnTo>
                        <a:lnTo>
                          <a:pt x="948" y="1656"/>
                        </a:lnTo>
                        <a:lnTo>
                          <a:pt x="950" y="1656"/>
                        </a:lnTo>
                        <a:lnTo>
                          <a:pt x="950" y="1656"/>
                        </a:lnTo>
                        <a:lnTo>
                          <a:pt x="956" y="1656"/>
                        </a:lnTo>
                        <a:lnTo>
                          <a:pt x="958" y="1656"/>
                        </a:lnTo>
                        <a:lnTo>
                          <a:pt x="958" y="1662"/>
                        </a:lnTo>
                        <a:lnTo>
                          <a:pt x="954" y="1672"/>
                        </a:lnTo>
                        <a:lnTo>
                          <a:pt x="954" y="1672"/>
                        </a:lnTo>
                        <a:lnTo>
                          <a:pt x="952" y="1676"/>
                        </a:lnTo>
                        <a:lnTo>
                          <a:pt x="956" y="1678"/>
                        </a:lnTo>
                        <a:lnTo>
                          <a:pt x="966" y="1678"/>
                        </a:lnTo>
                        <a:lnTo>
                          <a:pt x="978" y="1678"/>
                        </a:lnTo>
                        <a:lnTo>
                          <a:pt x="980" y="1680"/>
                        </a:lnTo>
                        <a:lnTo>
                          <a:pt x="980" y="1684"/>
                        </a:lnTo>
                        <a:lnTo>
                          <a:pt x="980" y="1684"/>
                        </a:lnTo>
                        <a:lnTo>
                          <a:pt x="978" y="1690"/>
                        </a:lnTo>
                        <a:lnTo>
                          <a:pt x="978" y="1692"/>
                        </a:lnTo>
                        <a:lnTo>
                          <a:pt x="980" y="1694"/>
                        </a:lnTo>
                        <a:lnTo>
                          <a:pt x="982" y="1694"/>
                        </a:lnTo>
                        <a:lnTo>
                          <a:pt x="990" y="1694"/>
                        </a:lnTo>
                        <a:lnTo>
                          <a:pt x="994" y="1696"/>
                        </a:lnTo>
                        <a:lnTo>
                          <a:pt x="996" y="1698"/>
                        </a:lnTo>
                        <a:lnTo>
                          <a:pt x="996" y="1698"/>
                        </a:lnTo>
                        <a:lnTo>
                          <a:pt x="998" y="1700"/>
                        </a:lnTo>
                        <a:lnTo>
                          <a:pt x="996" y="1702"/>
                        </a:lnTo>
                        <a:lnTo>
                          <a:pt x="994" y="1704"/>
                        </a:lnTo>
                        <a:lnTo>
                          <a:pt x="990" y="1706"/>
                        </a:lnTo>
                        <a:lnTo>
                          <a:pt x="990" y="1708"/>
                        </a:lnTo>
                        <a:lnTo>
                          <a:pt x="990" y="1712"/>
                        </a:lnTo>
                        <a:lnTo>
                          <a:pt x="990" y="1712"/>
                        </a:lnTo>
                        <a:lnTo>
                          <a:pt x="992" y="1722"/>
                        </a:lnTo>
                        <a:lnTo>
                          <a:pt x="996" y="1724"/>
                        </a:lnTo>
                        <a:lnTo>
                          <a:pt x="1000" y="1726"/>
                        </a:lnTo>
                        <a:lnTo>
                          <a:pt x="1004" y="1726"/>
                        </a:lnTo>
                        <a:lnTo>
                          <a:pt x="1010" y="1726"/>
                        </a:lnTo>
                        <a:lnTo>
                          <a:pt x="1016" y="1722"/>
                        </a:lnTo>
                        <a:lnTo>
                          <a:pt x="1024" y="1718"/>
                        </a:lnTo>
                        <a:lnTo>
                          <a:pt x="1024" y="1718"/>
                        </a:lnTo>
                        <a:lnTo>
                          <a:pt x="1032" y="1712"/>
                        </a:lnTo>
                        <a:lnTo>
                          <a:pt x="1038" y="1712"/>
                        </a:lnTo>
                        <a:lnTo>
                          <a:pt x="1040" y="1712"/>
                        </a:lnTo>
                        <a:lnTo>
                          <a:pt x="1044" y="1714"/>
                        </a:lnTo>
                        <a:lnTo>
                          <a:pt x="1048" y="1716"/>
                        </a:lnTo>
                        <a:lnTo>
                          <a:pt x="1050" y="1716"/>
                        </a:lnTo>
                        <a:lnTo>
                          <a:pt x="1054" y="1714"/>
                        </a:lnTo>
                        <a:lnTo>
                          <a:pt x="1054" y="1714"/>
                        </a:lnTo>
                        <a:lnTo>
                          <a:pt x="1064" y="1708"/>
                        </a:lnTo>
                        <a:lnTo>
                          <a:pt x="1072" y="1704"/>
                        </a:lnTo>
                        <a:lnTo>
                          <a:pt x="1080" y="1700"/>
                        </a:lnTo>
                        <a:lnTo>
                          <a:pt x="1080" y="1696"/>
                        </a:lnTo>
                        <a:lnTo>
                          <a:pt x="1080" y="1692"/>
                        </a:lnTo>
                        <a:lnTo>
                          <a:pt x="1080" y="1692"/>
                        </a:lnTo>
                        <a:lnTo>
                          <a:pt x="1080" y="1688"/>
                        </a:lnTo>
                        <a:lnTo>
                          <a:pt x="1082" y="1686"/>
                        </a:lnTo>
                        <a:lnTo>
                          <a:pt x="1084" y="1688"/>
                        </a:lnTo>
                        <a:lnTo>
                          <a:pt x="1086" y="1690"/>
                        </a:lnTo>
                        <a:lnTo>
                          <a:pt x="1088" y="1694"/>
                        </a:lnTo>
                        <a:lnTo>
                          <a:pt x="1090" y="1698"/>
                        </a:lnTo>
                        <a:lnTo>
                          <a:pt x="1090" y="1704"/>
                        </a:lnTo>
                        <a:lnTo>
                          <a:pt x="1086" y="1710"/>
                        </a:lnTo>
                        <a:lnTo>
                          <a:pt x="1086" y="1710"/>
                        </a:lnTo>
                        <a:lnTo>
                          <a:pt x="1078" y="1718"/>
                        </a:lnTo>
                        <a:lnTo>
                          <a:pt x="1076" y="1726"/>
                        </a:lnTo>
                        <a:lnTo>
                          <a:pt x="1076" y="1728"/>
                        </a:lnTo>
                        <a:lnTo>
                          <a:pt x="1078" y="1732"/>
                        </a:lnTo>
                        <a:lnTo>
                          <a:pt x="1090" y="1738"/>
                        </a:lnTo>
                        <a:lnTo>
                          <a:pt x="1090" y="1738"/>
                        </a:lnTo>
                        <a:lnTo>
                          <a:pt x="1098" y="1740"/>
                        </a:lnTo>
                        <a:lnTo>
                          <a:pt x="1106" y="1740"/>
                        </a:lnTo>
                        <a:lnTo>
                          <a:pt x="1120" y="1738"/>
                        </a:lnTo>
                        <a:lnTo>
                          <a:pt x="1124" y="1738"/>
                        </a:lnTo>
                        <a:lnTo>
                          <a:pt x="1126" y="1740"/>
                        </a:lnTo>
                        <a:lnTo>
                          <a:pt x="1126" y="1744"/>
                        </a:lnTo>
                        <a:lnTo>
                          <a:pt x="1120" y="1752"/>
                        </a:lnTo>
                        <a:lnTo>
                          <a:pt x="1120" y="1752"/>
                        </a:lnTo>
                        <a:lnTo>
                          <a:pt x="1116" y="1758"/>
                        </a:lnTo>
                        <a:lnTo>
                          <a:pt x="1116" y="1762"/>
                        </a:lnTo>
                        <a:lnTo>
                          <a:pt x="1118" y="1766"/>
                        </a:lnTo>
                        <a:lnTo>
                          <a:pt x="1122" y="1768"/>
                        </a:lnTo>
                        <a:lnTo>
                          <a:pt x="1126" y="1770"/>
                        </a:lnTo>
                        <a:lnTo>
                          <a:pt x="1132" y="1770"/>
                        </a:lnTo>
                        <a:lnTo>
                          <a:pt x="1136" y="1768"/>
                        </a:lnTo>
                        <a:lnTo>
                          <a:pt x="1140" y="1766"/>
                        </a:lnTo>
                        <a:lnTo>
                          <a:pt x="1140" y="1766"/>
                        </a:lnTo>
                        <a:lnTo>
                          <a:pt x="1150" y="1760"/>
                        </a:lnTo>
                        <a:lnTo>
                          <a:pt x="1154" y="1758"/>
                        </a:lnTo>
                        <a:lnTo>
                          <a:pt x="1156" y="1758"/>
                        </a:lnTo>
                        <a:lnTo>
                          <a:pt x="1162" y="1762"/>
                        </a:lnTo>
                        <a:lnTo>
                          <a:pt x="1170" y="1770"/>
                        </a:lnTo>
                        <a:lnTo>
                          <a:pt x="1170" y="1770"/>
                        </a:lnTo>
                        <a:lnTo>
                          <a:pt x="1182" y="1776"/>
                        </a:lnTo>
                        <a:lnTo>
                          <a:pt x="1186" y="1776"/>
                        </a:lnTo>
                        <a:lnTo>
                          <a:pt x="1190" y="1776"/>
                        </a:lnTo>
                        <a:lnTo>
                          <a:pt x="1194" y="1774"/>
                        </a:lnTo>
                        <a:lnTo>
                          <a:pt x="1196" y="1768"/>
                        </a:lnTo>
                        <a:lnTo>
                          <a:pt x="1198" y="1764"/>
                        </a:lnTo>
                        <a:lnTo>
                          <a:pt x="1200" y="1756"/>
                        </a:lnTo>
                        <a:lnTo>
                          <a:pt x="1200" y="1756"/>
                        </a:lnTo>
                        <a:lnTo>
                          <a:pt x="1200" y="1750"/>
                        </a:lnTo>
                        <a:lnTo>
                          <a:pt x="1198" y="1746"/>
                        </a:lnTo>
                        <a:lnTo>
                          <a:pt x="1194" y="1746"/>
                        </a:lnTo>
                        <a:lnTo>
                          <a:pt x="1192" y="1746"/>
                        </a:lnTo>
                        <a:lnTo>
                          <a:pt x="1186" y="1746"/>
                        </a:lnTo>
                        <a:lnTo>
                          <a:pt x="1186" y="1746"/>
                        </a:lnTo>
                        <a:lnTo>
                          <a:pt x="1186" y="1744"/>
                        </a:lnTo>
                        <a:lnTo>
                          <a:pt x="1186" y="1744"/>
                        </a:lnTo>
                        <a:lnTo>
                          <a:pt x="1190" y="1740"/>
                        </a:lnTo>
                        <a:lnTo>
                          <a:pt x="1194" y="1738"/>
                        </a:lnTo>
                        <a:lnTo>
                          <a:pt x="1204" y="1734"/>
                        </a:lnTo>
                        <a:lnTo>
                          <a:pt x="1208" y="1732"/>
                        </a:lnTo>
                        <a:lnTo>
                          <a:pt x="1210" y="1728"/>
                        </a:lnTo>
                        <a:lnTo>
                          <a:pt x="1212" y="1724"/>
                        </a:lnTo>
                        <a:lnTo>
                          <a:pt x="1212" y="1718"/>
                        </a:lnTo>
                        <a:lnTo>
                          <a:pt x="1212" y="1718"/>
                        </a:lnTo>
                        <a:lnTo>
                          <a:pt x="1210" y="1712"/>
                        </a:lnTo>
                        <a:lnTo>
                          <a:pt x="1214" y="1702"/>
                        </a:lnTo>
                        <a:lnTo>
                          <a:pt x="1224" y="1676"/>
                        </a:lnTo>
                        <a:lnTo>
                          <a:pt x="1234" y="1652"/>
                        </a:lnTo>
                        <a:lnTo>
                          <a:pt x="1236" y="1640"/>
                        </a:lnTo>
                        <a:lnTo>
                          <a:pt x="1236" y="1630"/>
                        </a:lnTo>
                        <a:lnTo>
                          <a:pt x="1236" y="1630"/>
                        </a:lnTo>
                        <a:lnTo>
                          <a:pt x="1234" y="1624"/>
                        </a:lnTo>
                        <a:lnTo>
                          <a:pt x="1232" y="1622"/>
                        </a:lnTo>
                        <a:lnTo>
                          <a:pt x="1230" y="1622"/>
                        </a:lnTo>
                        <a:lnTo>
                          <a:pt x="1228" y="1622"/>
                        </a:lnTo>
                        <a:lnTo>
                          <a:pt x="1226" y="1622"/>
                        </a:lnTo>
                        <a:lnTo>
                          <a:pt x="1222" y="1622"/>
                        </a:lnTo>
                        <a:lnTo>
                          <a:pt x="1220" y="1620"/>
                        </a:lnTo>
                        <a:lnTo>
                          <a:pt x="1214" y="1616"/>
                        </a:lnTo>
                        <a:lnTo>
                          <a:pt x="1214" y="1616"/>
                        </a:lnTo>
                        <a:lnTo>
                          <a:pt x="1212" y="1610"/>
                        </a:lnTo>
                        <a:lnTo>
                          <a:pt x="1212" y="1610"/>
                        </a:lnTo>
                        <a:lnTo>
                          <a:pt x="1222" y="1612"/>
                        </a:lnTo>
                        <a:lnTo>
                          <a:pt x="1232" y="1614"/>
                        </a:lnTo>
                        <a:lnTo>
                          <a:pt x="1236" y="1614"/>
                        </a:lnTo>
                        <a:lnTo>
                          <a:pt x="1236" y="1610"/>
                        </a:lnTo>
                        <a:lnTo>
                          <a:pt x="1236" y="1610"/>
                        </a:lnTo>
                        <a:lnTo>
                          <a:pt x="1234" y="1604"/>
                        </a:lnTo>
                        <a:lnTo>
                          <a:pt x="1232" y="1602"/>
                        </a:lnTo>
                        <a:lnTo>
                          <a:pt x="1226" y="1600"/>
                        </a:lnTo>
                        <a:lnTo>
                          <a:pt x="1220" y="1598"/>
                        </a:lnTo>
                        <a:lnTo>
                          <a:pt x="1220" y="1596"/>
                        </a:lnTo>
                        <a:lnTo>
                          <a:pt x="1222" y="1592"/>
                        </a:lnTo>
                        <a:lnTo>
                          <a:pt x="1222" y="1592"/>
                        </a:lnTo>
                        <a:lnTo>
                          <a:pt x="1226" y="1590"/>
                        </a:lnTo>
                        <a:lnTo>
                          <a:pt x="1230" y="1588"/>
                        </a:lnTo>
                        <a:lnTo>
                          <a:pt x="1244" y="1584"/>
                        </a:lnTo>
                        <a:lnTo>
                          <a:pt x="1250" y="1582"/>
                        </a:lnTo>
                        <a:lnTo>
                          <a:pt x="1256" y="1580"/>
                        </a:lnTo>
                        <a:lnTo>
                          <a:pt x="1260" y="1574"/>
                        </a:lnTo>
                        <a:lnTo>
                          <a:pt x="1262" y="1566"/>
                        </a:lnTo>
                        <a:lnTo>
                          <a:pt x="1262" y="1566"/>
                        </a:lnTo>
                        <a:lnTo>
                          <a:pt x="1264" y="1560"/>
                        </a:lnTo>
                        <a:lnTo>
                          <a:pt x="1266" y="1558"/>
                        </a:lnTo>
                        <a:lnTo>
                          <a:pt x="1268" y="1558"/>
                        </a:lnTo>
                        <a:lnTo>
                          <a:pt x="1272" y="1560"/>
                        </a:lnTo>
                        <a:lnTo>
                          <a:pt x="1278" y="1562"/>
                        </a:lnTo>
                        <a:lnTo>
                          <a:pt x="1280" y="1560"/>
                        </a:lnTo>
                        <a:lnTo>
                          <a:pt x="1280" y="1556"/>
                        </a:lnTo>
                        <a:lnTo>
                          <a:pt x="1280" y="1556"/>
                        </a:lnTo>
                        <a:lnTo>
                          <a:pt x="1282" y="1550"/>
                        </a:lnTo>
                        <a:lnTo>
                          <a:pt x="1284" y="1546"/>
                        </a:lnTo>
                        <a:lnTo>
                          <a:pt x="1294" y="1538"/>
                        </a:lnTo>
                        <a:lnTo>
                          <a:pt x="1300" y="1530"/>
                        </a:lnTo>
                        <a:lnTo>
                          <a:pt x="1302" y="1526"/>
                        </a:lnTo>
                        <a:lnTo>
                          <a:pt x="1302" y="1520"/>
                        </a:lnTo>
                        <a:lnTo>
                          <a:pt x="1302" y="1520"/>
                        </a:lnTo>
                        <a:lnTo>
                          <a:pt x="1300" y="1510"/>
                        </a:lnTo>
                        <a:lnTo>
                          <a:pt x="1300" y="1502"/>
                        </a:lnTo>
                        <a:lnTo>
                          <a:pt x="1300" y="1500"/>
                        </a:lnTo>
                        <a:lnTo>
                          <a:pt x="1298" y="1500"/>
                        </a:lnTo>
                        <a:lnTo>
                          <a:pt x="1286" y="1498"/>
                        </a:lnTo>
                        <a:lnTo>
                          <a:pt x="1286" y="1498"/>
                        </a:lnTo>
                        <a:lnTo>
                          <a:pt x="1278" y="1498"/>
                        </a:lnTo>
                        <a:lnTo>
                          <a:pt x="1270" y="1496"/>
                        </a:lnTo>
                        <a:lnTo>
                          <a:pt x="1266" y="1492"/>
                        </a:lnTo>
                        <a:lnTo>
                          <a:pt x="1262" y="1490"/>
                        </a:lnTo>
                        <a:lnTo>
                          <a:pt x="1260" y="1486"/>
                        </a:lnTo>
                        <a:lnTo>
                          <a:pt x="1262" y="1486"/>
                        </a:lnTo>
                        <a:lnTo>
                          <a:pt x="1264" y="1484"/>
                        </a:lnTo>
                        <a:lnTo>
                          <a:pt x="1270" y="1486"/>
                        </a:lnTo>
                        <a:lnTo>
                          <a:pt x="1270" y="1486"/>
                        </a:lnTo>
                        <a:lnTo>
                          <a:pt x="1276" y="1486"/>
                        </a:lnTo>
                        <a:lnTo>
                          <a:pt x="1280" y="1486"/>
                        </a:lnTo>
                        <a:lnTo>
                          <a:pt x="1288" y="1484"/>
                        </a:lnTo>
                        <a:lnTo>
                          <a:pt x="1294" y="1482"/>
                        </a:lnTo>
                        <a:lnTo>
                          <a:pt x="1300" y="1482"/>
                        </a:lnTo>
                        <a:lnTo>
                          <a:pt x="1300" y="1482"/>
                        </a:lnTo>
                        <a:lnTo>
                          <a:pt x="1308" y="1482"/>
                        </a:lnTo>
                        <a:lnTo>
                          <a:pt x="1308" y="1482"/>
                        </a:lnTo>
                        <a:lnTo>
                          <a:pt x="1308" y="1478"/>
                        </a:lnTo>
                        <a:lnTo>
                          <a:pt x="1302" y="1470"/>
                        </a:lnTo>
                        <a:lnTo>
                          <a:pt x="1290" y="1454"/>
                        </a:lnTo>
                        <a:lnTo>
                          <a:pt x="1290" y="1454"/>
                        </a:lnTo>
                        <a:lnTo>
                          <a:pt x="1282" y="1448"/>
                        </a:lnTo>
                        <a:lnTo>
                          <a:pt x="1280" y="1442"/>
                        </a:lnTo>
                        <a:lnTo>
                          <a:pt x="1280" y="1438"/>
                        </a:lnTo>
                        <a:lnTo>
                          <a:pt x="1284" y="1434"/>
                        </a:lnTo>
                        <a:lnTo>
                          <a:pt x="1288" y="1434"/>
                        </a:lnTo>
                        <a:lnTo>
                          <a:pt x="1296" y="1434"/>
                        </a:lnTo>
                        <a:lnTo>
                          <a:pt x="1310" y="1438"/>
                        </a:lnTo>
                        <a:lnTo>
                          <a:pt x="1310" y="1438"/>
                        </a:lnTo>
                        <a:lnTo>
                          <a:pt x="1316" y="1438"/>
                        </a:lnTo>
                        <a:lnTo>
                          <a:pt x="1320" y="1436"/>
                        </a:lnTo>
                        <a:lnTo>
                          <a:pt x="1324" y="1434"/>
                        </a:lnTo>
                        <a:lnTo>
                          <a:pt x="1326" y="1430"/>
                        </a:lnTo>
                        <a:lnTo>
                          <a:pt x="1332" y="1420"/>
                        </a:lnTo>
                        <a:lnTo>
                          <a:pt x="1334" y="1418"/>
                        </a:lnTo>
                        <a:lnTo>
                          <a:pt x="1338" y="1418"/>
                        </a:lnTo>
                        <a:lnTo>
                          <a:pt x="1338" y="1418"/>
                        </a:lnTo>
                        <a:lnTo>
                          <a:pt x="1344" y="1420"/>
                        </a:lnTo>
                        <a:lnTo>
                          <a:pt x="1346" y="1418"/>
                        </a:lnTo>
                        <a:lnTo>
                          <a:pt x="1344" y="1414"/>
                        </a:lnTo>
                        <a:lnTo>
                          <a:pt x="1334" y="1408"/>
                        </a:lnTo>
                        <a:lnTo>
                          <a:pt x="1334" y="1408"/>
                        </a:lnTo>
                        <a:lnTo>
                          <a:pt x="1326" y="1404"/>
                        </a:lnTo>
                        <a:lnTo>
                          <a:pt x="1324" y="1404"/>
                        </a:lnTo>
                        <a:lnTo>
                          <a:pt x="1326" y="1402"/>
                        </a:lnTo>
                        <a:lnTo>
                          <a:pt x="1330" y="1402"/>
                        </a:lnTo>
                        <a:lnTo>
                          <a:pt x="1338" y="1400"/>
                        </a:lnTo>
                        <a:lnTo>
                          <a:pt x="1338" y="1400"/>
                        </a:lnTo>
                        <a:lnTo>
                          <a:pt x="1344" y="1398"/>
                        </a:lnTo>
                        <a:lnTo>
                          <a:pt x="1352" y="1398"/>
                        </a:lnTo>
                        <a:lnTo>
                          <a:pt x="1360" y="1400"/>
                        </a:lnTo>
                        <a:lnTo>
                          <a:pt x="1370" y="1398"/>
                        </a:lnTo>
                        <a:lnTo>
                          <a:pt x="1370" y="1398"/>
                        </a:lnTo>
                        <a:lnTo>
                          <a:pt x="1380" y="1396"/>
                        </a:lnTo>
                        <a:lnTo>
                          <a:pt x="1388" y="1396"/>
                        </a:lnTo>
                        <a:lnTo>
                          <a:pt x="1394" y="1396"/>
                        </a:lnTo>
                        <a:lnTo>
                          <a:pt x="1398" y="1390"/>
                        </a:lnTo>
                        <a:lnTo>
                          <a:pt x="1398" y="1390"/>
                        </a:lnTo>
                        <a:lnTo>
                          <a:pt x="1400" y="1386"/>
                        </a:lnTo>
                        <a:lnTo>
                          <a:pt x="1398" y="1384"/>
                        </a:lnTo>
                        <a:lnTo>
                          <a:pt x="1396" y="1380"/>
                        </a:lnTo>
                        <a:lnTo>
                          <a:pt x="1402" y="1376"/>
                        </a:lnTo>
                        <a:lnTo>
                          <a:pt x="1402" y="1376"/>
                        </a:lnTo>
                        <a:lnTo>
                          <a:pt x="1404" y="1372"/>
                        </a:lnTo>
                        <a:lnTo>
                          <a:pt x="1404" y="1368"/>
                        </a:lnTo>
                        <a:lnTo>
                          <a:pt x="1404" y="1364"/>
                        </a:lnTo>
                        <a:lnTo>
                          <a:pt x="1410" y="1360"/>
                        </a:lnTo>
                        <a:lnTo>
                          <a:pt x="1410" y="1360"/>
                        </a:lnTo>
                        <a:lnTo>
                          <a:pt x="1414" y="1356"/>
                        </a:lnTo>
                        <a:lnTo>
                          <a:pt x="1416" y="1354"/>
                        </a:lnTo>
                        <a:lnTo>
                          <a:pt x="1414" y="1352"/>
                        </a:lnTo>
                        <a:lnTo>
                          <a:pt x="1412" y="1350"/>
                        </a:lnTo>
                        <a:lnTo>
                          <a:pt x="1406" y="1346"/>
                        </a:lnTo>
                        <a:lnTo>
                          <a:pt x="1406" y="1344"/>
                        </a:lnTo>
                        <a:lnTo>
                          <a:pt x="1406" y="1344"/>
                        </a:lnTo>
                        <a:lnTo>
                          <a:pt x="1406" y="1344"/>
                        </a:lnTo>
                        <a:lnTo>
                          <a:pt x="1410" y="1342"/>
                        </a:lnTo>
                        <a:lnTo>
                          <a:pt x="1414" y="1344"/>
                        </a:lnTo>
                        <a:lnTo>
                          <a:pt x="1420" y="1344"/>
                        </a:lnTo>
                        <a:lnTo>
                          <a:pt x="1430" y="1344"/>
                        </a:lnTo>
                        <a:lnTo>
                          <a:pt x="1430" y="1344"/>
                        </a:lnTo>
                        <a:lnTo>
                          <a:pt x="1436" y="1344"/>
                        </a:lnTo>
                        <a:lnTo>
                          <a:pt x="1434" y="1348"/>
                        </a:lnTo>
                        <a:lnTo>
                          <a:pt x="1428" y="1352"/>
                        </a:lnTo>
                        <a:lnTo>
                          <a:pt x="1424" y="1358"/>
                        </a:lnTo>
                        <a:lnTo>
                          <a:pt x="1424" y="1358"/>
                        </a:lnTo>
                        <a:lnTo>
                          <a:pt x="1422" y="1362"/>
                        </a:lnTo>
                        <a:lnTo>
                          <a:pt x="1418" y="1364"/>
                        </a:lnTo>
                        <a:lnTo>
                          <a:pt x="1414" y="1368"/>
                        </a:lnTo>
                        <a:lnTo>
                          <a:pt x="1412" y="1372"/>
                        </a:lnTo>
                        <a:lnTo>
                          <a:pt x="1412" y="1372"/>
                        </a:lnTo>
                        <a:lnTo>
                          <a:pt x="1410" y="1378"/>
                        </a:lnTo>
                        <a:lnTo>
                          <a:pt x="1408" y="1386"/>
                        </a:lnTo>
                        <a:lnTo>
                          <a:pt x="1406" y="1392"/>
                        </a:lnTo>
                        <a:lnTo>
                          <a:pt x="1406" y="1394"/>
                        </a:lnTo>
                        <a:lnTo>
                          <a:pt x="1408" y="1396"/>
                        </a:lnTo>
                        <a:lnTo>
                          <a:pt x="1408" y="1396"/>
                        </a:lnTo>
                        <a:lnTo>
                          <a:pt x="1414" y="1398"/>
                        </a:lnTo>
                        <a:lnTo>
                          <a:pt x="1420" y="1398"/>
                        </a:lnTo>
                        <a:lnTo>
                          <a:pt x="1426" y="1396"/>
                        </a:lnTo>
                        <a:lnTo>
                          <a:pt x="1432" y="1390"/>
                        </a:lnTo>
                        <a:lnTo>
                          <a:pt x="1432" y="1390"/>
                        </a:lnTo>
                        <a:lnTo>
                          <a:pt x="1440" y="1380"/>
                        </a:lnTo>
                        <a:lnTo>
                          <a:pt x="1444" y="1380"/>
                        </a:lnTo>
                        <a:lnTo>
                          <a:pt x="1448" y="1384"/>
                        </a:lnTo>
                        <a:lnTo>
                          <a:pt x="1448" y="1384"/>
                        </a:lnTo>
                        <a:lnTo>
                          <a:pt x="1452" y="1386"/>
                        </a:lnTo>
                        <a:lnTo>
                          <a:pt x="1454" y="1384"/>
                        </a:lnTo>
                        <a:lnTo>
                          <a:pt x="1454" y="1382"/>
                        </a:lnTo>
                        <a:lnTo>
                          <a:pt x="1452" y="1378"/>
                        </a:lnTo>
                        <a:lnTo>
                          <a:pt x="1452" y="1378"/>
                        </a:lnTo>
                        <a:lnTo>
                          <a:pt x="1452" y="1376"/>
                        </a:lnTo>
                        <a:lnTo>
                          <a:pt x="1452" y="1374"/>
                        </a:lnTo>
                        <a:lnTo>
                          <a:pt x="1456" y="1372"/>
                        </a:lnTo>
                        <a:lnTo>
                          <a:pt x="1462" y="1370"/>
                        </a:lnTo>
                        <a:lnTo>
                          <a:pt x="1466" y="1370"/>
                        </a:lnTo>
                        <a:lnTo>
                          <a:pt x="1468" y="1372"/>
                        </a:lnTo>
                        <a:lnTo>
                          <a:pt x="1468" y="1372"/>
                        </a:lnTo>
                        <a:lnTo>
                          <a:pt x="1472" y="1372"/>
                        </a:lnTo>
                        <a:lnTo>
                          <a:pt x="1476" y="1372"/>
                        </a:lnTo>
                        <a:lnTo>
                          <a:pt x="1484" y="1370"/>
                        </a:lnTo>
                        <a:lnTo>
                          <a:pt x="1498" y="1362"/>
                        </a:lnTo>
                        <a:lnTo>
                          <a:pt x="1498" y="1362"/>
                        </a:lnTo>
                        <a:lnTo>
                          <a:pt x="1502" y="1360"/>
                        </a:lnTo>
                        <a:lnTo>
                          <a:pt x="1502" y="1354"/>
                        </a:lnTo>
                        <a:lnTo>
                          <a:pt x="1502" y="1350"/>
                        </a:lnTo>
                        <a:lnTo>
                          <a:pt x="1502" y="1350"/>
                        </a:lnTo>
                        <a:lnTo>
                          <a:pt x="1504" y="1350"/>
                        </a:lnTo>
                        <a:lnTo>
                          <a:pt x="1504" y="1350"/>
                        </a:lnTo>
                        <a:lnTo>
                          <a:pt x="1508" y="1350"/>
                        </a:lnTo>
                        <a:lnTo>
                          <a:pt x="1510" y="1352"/>
                        </a:lnTo>
                        <a:lnTo>
                          <a:pt x="1510" y="1354"/>
                        </a:lnTo>
                        <a:lnTo>
                          <a:pt x="1512" y="1354"/>
                        </a:lnTo>
                        <a:lnTo>
                          <a:pt x="1512" y="1354"/>
                        </a:lnTo>
                        <a:lnTo>
                          <a:pt x="1520" y="1350"/>
                        </a:lnTo>
                        <a:lnTo>
                          <a:pt x="1532" y="1344"/>
                        </a:lnTo>
                        <a:lnTo>
                          <a:pt x="1558" y="1324"/>
                        </a:lnTo>
                        <a:lnTo>
                          <a:pt x="1570" y="1314"/>
                        </a:lnTo>
                        <a:lnTo>
                          <a:pt x="1580" y="1302"/>
                        </a:lnTo>
                        <a:lnTo>
                          <a:pt x="1588" y="1290"/>
                        </a:lnTo>
                        <a:lnTo>
                          <a:pt x="1592" y="1280"/>
                        </a:lnTo>
                        <a:lnTo>
                          <a:pt x="1592" y="1280"/>
                        </a:lnTo>
                        <a:lnTo>
                          <a:pt x="1600" y="1264"/>
                        </a:lnTo>
                        <a:lnTo>
                          <a:pt x="1610" y="1250"/>
                        </a:lnTo>
                        <a:lnTo>
                          <a:pt x="1622" y="1242"/>
                        </a:lnTo>
                        <a:lnTo>
                          <a:pt x="1628" y="1238"/>
                        </a:lnTo>
                        <a:lnTo>
                          <a:pt x="1634" y="1238"/>
                        </a:lnTo>
                        <a:lnTo>
                          <a:pt x="1634" y="1238"/>
                        </a:lnTo>
                        <a:lnTo>
                          <a:pt x="1642" y="1236"/>
                        </a:lnTo>
                        <a:lnTo>
                          <a:pt x="1646" y="1234"/>
                        </a:lnTo>
                        <a:lnTo>
                          <a:pt x="1648" y="1232"/>
                        </a:lnTo>
                        <a:lnTo>
                          <a:pt x="1648" y="1228"/>
                        </a:lnTo>
                        <a:lnTo>
                          <a:pt x="1646" y="1222"/>
                        </a:lnTo>
                        <a:lnTo>
                          <a:pt x="1640" y="1214"/>
                        </a:lnTo>
                        <a:lnTo>
                          <a:pt x="1632" y="1204"/>
                        </a:lnTo>
                        <a:lnTo>
                          <a:pt x="1632" y="1204"/>
                        </a:lnTo>
                        <a:lnTo>
                          <a:pt x="1626" y="1198"/>
                        </a:lnTo>
                        <a:lnTo>
                          <a:pt x="1624" y="1194"/>
                        </a:lnTo>
                        <a:lnTo>
                          <a:pt x="1636" y="1200"/>
                        </a:lnTo>
                        <a:lnTo>
                          <a:pt x="1670" y="1222"/>
                        </a:lnTo>
                        <a:lnTo>
                          <a:pt x="1670" y="1222"/>
                        </a:lnTo>
                        <a:lnTo>
                          <a:pt x="1684" y="1226"/>
                        </a:lnTo>
                        <a:lnTo>
                          <a:pt x="1694" y="1228"/>
                        </a:lnTo>
                        <a:lnTo>
                          <a:pt x="1702" y="1228"/>
                        </a:lnTo>
                        <a:lnTo>
                          <a:pt x="1710" y="1226"/>
                        </a:lnTo>
                        <a:lnTo>
                          <a:pt x="1718" y="1224"/>
                        </a:lnTo>
                        <a:lnTo>
                          <a:pt x="1724" y="1218"/>
                        </a:lnTo>
                        <a:lnTo>
                          <a:pt x="1730" y="1212"/>
                        </a:lnTo>
                        <a:lnTo>
                          <a:pt x="1730" y="1212"/>
                        </a:lnTo>
                        <a:lnTo>
                          <a:pt x="1732" y="1206"/>
                        </a:lnTo>
                        <a:lnTo>
                          <a:pt x="1734" y="1204"/>
                        </a:lnTo>
                        <a:lnTo>
                          <a:pt x="1738" y="1204"/>
                        </a:lnTo>
                        <a:lnTo>
                          <a:pt x="1742" y="1206"/>
                        </a:lnTo>
                        <a:lnTo>
                          <a:pt x="1748" y="1208"/>
                        </a:lnTo>
                        <a:lnTo>
                          <a:pt x="1756" y="1208"/>
                        </a:lnTo>
                        <a:lnTo>
                          <a:pt x="1766" y="1208"/>
                        </a:lnTo>
                        <a:lnTo>
                          <a:pt x="1782" y="1202"/>
                        </a:lnTo>
                        <a:lnTo>
                          <a:pt x="1782" y="1202"/>
                        </a:lnTo>
                        <a:lnTo>
                          <a:pt x="1800" y="1196"/>
                        </a:lnTo>
                        <a:lnTo>
                          <a:pt x="1818" y="1190"/>
                        </a:lnTo>
                        <a:lnTo>
                          <a:pt x="1856" y="1184"/>
                        </a:lnTo>
                        <a:lnTo>
                          <a:pt x="1886" y="1178"/>
                        </a:lnTo>
                        <a:lnTo>
                          <a:pt x="1898" y="1172"/>
                        </a:lnTo>
                        <a:lnTo>
                          <a:pt x="1906" y="1166"/>
                        </a:lnTo>
                        <a:lnTo>
                          <a:pt x="1906" y="1166"/>
                        </a:lnTo>
                        <a:lnTo>
                          <a:pt x="1920" y="1154"/>
                        </a:lnTo>
                        <a:lnTo>
                          <a:pt x="1934" y="1142"/>
                        </a:lnTo>
                        <a:lnTo>
                          <a:pt x="1950" y="1132"/>
                        </a:lnTo>
                        <a:lnTo>
                          <a:pt x="1960" y="1128"/>
                        </a:lnTo>
                        <a:lnTo>
                          <a:pt x="1970" y="1128"/>
                        </a:lnTo>
                        <a:lnTo>
                          <a:pt x="1970" y="1128"/>
                        </a:lnTo>
                        <a:lnTo>
                          <a:pt x="1978" y="1126"/>
                        </a:lnTo>
                        <a:lnTo>
                          <a:pt x="1982" y="1122"/>
                        </a:lnTo>
                        <a:lnTo>
                          <a:pt x="1982" y="1120"/>
                        </a:lnTo>
                        <a:lnTo>
                          <a:pt x="1982" y="1116"/>
                        </a:lnTo>
                        <a:lnTo>
                          <a:pt x="1982" y="1112"/>
                        </a:lnTo>
                        <a:lnTo>
                          <a:pt x="1982" y="1108"/>
                        </a:lnTo>
                        <a:lnTo>
                          <a:pt x="1986" y="1106"/>
                        </a:lnTo>
                        <a:lnTo>
                          <a:pt x="1994" y="1106"/>
                        </a:lnTo>
                        <a:lnTo>
                          <a:pt x="1994" y="1106"/>
                        </a:lnTo>
                        <a:lnTo>
                          <a:pt x="2008" y="1104"/>
                        </a:lnTo>
                        <a:lnTo>
                          <a:pt x="2012" y="1102"/>
                        </a:lnTo>
                        <a:lnTo>
                          <a:pt x="2012" y="1102"/>
                        </a:lnTo>
                        <a:lnTo>
                          <a:pt x="2016" y="1096"/>
                        </a:lnTo>
                        <a:lnTo>
                          <a:pt x="2022" y="1092"/>
                        </a:lnTo>
                        <a:lnTo>
                          <a:pt x="2030" y="1088"/>
                        </a:lnTo>
                        <a:lnTo>
                          <a:pt x="2030" y="1088"/>
                        </a:lnTo>
                        <a:lnTo>
                          <a:pt x="2046" y="1080"/>
                        </a:lnTo>
                        <a:lnTo>
                          <a:pt x="2046" y="1078"/>
                        </a:lnTo>
                        <a:lnTo>
                          <a:pt x="2044" y="1076"/>
                        </a:lnTo>
                        <a:lnTo>
                          <a:pt x="2028" y="1076"/>
                        </a:lnTo>
                        <a:lnTo>
                          <a:pt x="2000" y="1080"/>
                        </a:lnTo>
                        <a:lnTo>
                          <a:pt x="2000" y="1080"/>
                        </a:lnTo>
                        <a:lnTo>
                          <a:pt x="1984" y="1080"/>
                        </a:lnTo>
                        <a:lnTo>
                          <a:pt x="1970" y="1076"/>
                        </a:lnTo>
                        <a:lnTo>
                          <a:pt x="1956" y="1070"/>
                        </a:lnTo>
                        <a:lnTo>
                          <a:pt x="1944" y="1064"/>
                        </a:lnTo>
                        <a:lnTo>
                          <a:pt x="1932" y="1058"/>
                        </a:lnTo>
                        <a:lnTo>
                          <a:pt x="1920" y="1056"/>
                        </a:lnTo>
                        <a:lnTo>
                          <a:pt x="1914" y="1056"/>
                        </a:lnTo>
                        <a:lnTo>
                          <a:pt x="1906" y="1058"/>
                        </a:lnTo>
                        <a:lnTo>
                          <a:pt x="1900" y="1060"/>
                        </a:lnTo>
                        <a:lnTo>
                          <a:pt x="1892" y="1064"/>
                        </a:lnTo>
                        <a:lnTo>
                          <a:pt x="1892" y="1064"/>
                        </a:lnTo>
                        <a:lnTo>
                          <a:pt x="1884" y="1068"/>
                        </a:lnTo>
                        <a:lnTo>
                          <a:pt x="1878" y="1070"/>
                        </a:lnTo>
                        <a:lnTo>
                          <a:pt x="1866" y="1070"/>
                        </a:lnTo>
                        <a:lnTo>
                          <a:pt x="1860" y="1070"/>
                        </a:lnTo>
                        <a:lnTo>
                          <a:pt x="1854" y="1072"/>
                        </a:lnTo>
                        <a:lnTo>
                          <a:pt x="1846" y="1076"/>
                        </a:lnTo>
                        <a:lnTo>
                          <a:pt x="1838" y="1082"/>
                        </a:lnTo>
                        <a:lnTo>
                          <a:pt x="1838" y="1082"/>
                        </a:lnTo>
                        <a:lnTo>
                          <a:pt x="1834" y="1086"/>
                        </a:lnTo>
                        <a:lnTo>
                          <a:pt x="1828" y="1090"/>
                        </a:lnTo>
                        <a:lnTo>
                          <a:pt x="1824" y="1090"/>
                        </a:lnTo>
                        <a:lnTo>
                          <a:pt x="1820" y="1090"/>
                        </a:lnTo>
                        <a:lnTo>
                          <a:pt x="1818" y="1088"/>
                        </a:lnTo>
                        <a:lnTo>
                          <a:pt x="1820" y="1084"/>
                        </a:lnTo>
                        <a:lnTo>
                          <a:pt x="1824" y="1078"/>
                        </a:lnTo>
                        <a:lnTo>
                          <a:pt x="1832" y="1070"/>
                        </a:lnTo>
                        <a:lnTo>
                          <a:pt x="1832" y="1070"/>
                        </a:lnTo>
                        <a:lnTo>
                          <a:pt x="1840" y="1064"/>
                        </a:lnTo>
                        <a:lnTo>
                          <a:pt x="1848" y="1062"/>
                        </a:lnTo>
                        <a:lnTo>
                          <a:pt x="1852" y="1062"/>
                        </a:lnTo>
                        <a:lnTo>
                          <a:pt x="1856" y="1062"/>
                        </a:lnTo>
                        <a:lnTo>
                          <a:pt x="1864" y="1064"/>
                        </a:lnTo>
                        <a:lnTo>
                          <a:pt x="1866" y="1064"/>
                        </a:lnTo>
                        <a:lnTo>
                          <a:pt x="1870" y="1062"/>
                        </a:lnTo>
                        <a:lnTo>
                          <a:pt x="1870" y="1062"/>
                        </a:lnTo>
                        <a:lnTo>
                          <a:pt x="1876" y="1058"/>
                        </a:lnTo>
                        <a:lnTo>
                          <a:pt x="1878" y="1056"/>
                        </a:lnTo>
                        <a:lnTo>
                          <a:pt x="1878" y="1054"/>
                        </a:lnTo>
                        <a:lnTo>
                          <a:pt x="1874" y="1052"/>
                        </a:lnTo>
                        <a:lnTo>
                          <a:pt x="1868" y="1052"/>
                        </a:lnTo>
                        <a:lnTo>
                          <a:pt x="1844" y="1054"/>
                        </a:lnTo>
                        <a:lnTo>
                          <a:pt x="1844" y="1054"/>
                        </a:lnTo>
                        <a:lnTo>
                          <a:pt x="1816" y="1058"/>
                        </a:lnTo>
                        <a:lnTo>
                          <a:pt x="1800" y="1058"/>
                        </a:lnTo>
                        <a:lnTo>
                          <a:pt x="1798" y="1056"/>
                        </a:lnTo>
                        <a:lnTo>
                          <a:pt x="1796" y="1052"/>
                        </a:lnTo>
                        <a:lnTo>
                          <a:pt x="1798" y="1046"/>
                        </a:lnTo>
                        <a:lnTo>
                          <a:pt x="1804" y="1038"/>
                        </a:lnTo>
                        <a:lnTo>
                          <a:pt x="1804" y="1038"/>
                        </a:lnTo>
                        <a:lnTo>
                          <a:pt x="1814" y="1022"/>
                        </a:lnTo>
                        <a:lnTo>
                          <a:pt x="1818" y="1014"/>
                        </a:lnTo>
                        <a:lnTo>
                          <a:pt x="1820" y="1012"/>
                        </a:lnTo>
                        <a:lnTo>
                          <a:pt x="1822" y="1010"/>
                        </a:lnTo>
                        <a:lnTo>
                          <a:pt x="1828" y="1016"/>
                        </a:lnTo>
                        <a:lnTo>
                          <a:pt x="1828" y="1016"/>
                        </a:lnTo>
                        <a:lnTo>
                          <a:pt x="1836" y="1022"/>
                        </a:lnTo>
                        <a:lnTo>
                          <a:pt x="1840" y="1022"/>
                        </a:lnTo>
                        <a:lnTo>
                          <a:pt x="1844" y="1022"/>
                        </a:lnTo>
                        <a:lnTo>
                          <a:pt x="1882" y="1010"/>
                        </a:lnTo>
                        <a:lnTo>
                          <a:pt x="1882" y="1010"/>
                        </a:lnTo>
                        <a:lnTo>
                          <a:pt x="1896" y="1006"/>
                        </a:lnTo>
                        <a:lnTo>
                          <a:pt x="1904" y="1000"/>
                        </a:lnTo>
                        <a:lnTo>
                          <a:pt x="1908" y="996"/>
                        </a:lnTo>
                        <a:lnTo>
                          <a:pt x="1910" y="992"/>
                        </a:lnTo>
                        <a:lnTo>
                          <a:pt x="1906" y="986"/>
                        </a:lnTo>
                        <a:lnTo>
                          <a:pt x="1898" y="984"/>
                        </a:lnTo>
                        <a:lnTo>
                          <a:pt x="1888" y="980"/>
                        </a:lnTo>
                        <a:lnTo>
                          <a:pt x="1874" y="978"/>
                        </a:lnTo>
                        <a:lnTo>
                          <a:pt x="1874" y="978"/>
                        </a:lnTo>
                        <a:lnTo>
                          <a:pt x="1850" y="974"/>
                        </a:lnTo>
                        <a:lnTo>
                          <a:pt x="1844" y="972"/>
                        </a:lnTo>
                        <a:lnTo>
                          <a:pt x="1842" y="970"/>
                        </a:lnTo>
                        <a:lnTo>
                          <a:pt x="1844" y="968"/>
                        </a:lnTo>
                        <a:lnTo>
                          <a:pt x="1850" y="966"/>
                        </a:lnTo>
                        <a:lnTo>
                          <a:pt x="1870" y="966"/>
                        </a:lnTo>
                        <a:lnTo>
                          <a:pt x="1870" y="966"/>
                        </a:lnTo>
                        <a:lnTo>
                          <a:pt x="1892" y="970"/>
                        </a:lnTo>
                        <a:lnTo>
                          <a:pt x="1906" y="976"/>
                        </a:lnTo>
                        <a:lnTo>
                          <a:pt x="1918" y="980"/>
                        </a:lnTo>
                        <a:lnTo>
                          <a:pt x="1932" y="986"/>
                        </a:lnTo>
                        <a:lnTo>
                          <a:pt x="1932" y="986"/>
                        </a:lnTo>
                        <a:lnTo>
                          <a:pt x="1946" y="992"/>
                        </a:lnTo>
                        <a:lnTo>
                          <a:pt x="1954" y="998"/>
                        </a:lnTo>
                        <a:lnTo>
                          <a:pt x="1958" y="1008"/>
                        </a:lnTo>
                        <a:lnTo>
                          <a:pt x="1960" y="1022"/>
                        </a:lnTo>
                        <a:lnTo>
                          <a:pt x="1960" y="1022"/>
                        </a:lnTo>
                        <a:lnTo>
                          <a:pt x="1964" y="1030"/>
                        </a:lnTo>
                        <a:lnTo>
                          <a:pt x="1970" y="1038"/>
                        </a:lnTo>
                        <a:lnTo>
                          <a:pt x="1978" y="1044"/>
                        </a:lnTo>
                        <a:lnTo>
                          <a:pt x="1988" y="1050"/>
                        </a:lnTo>
                        <a:lnTo>
                          <a:pt x="1998" y="1052"/>
                        </a:lnTo>
                        <a:lnTo>
                          <a:pt x="2008" y="1054"/>
                        </a:lnTo>
                        <a:lnTo>
                          <a:pt x="2016" y="1054"/>
                        </a:lnTo>
                        <a:lnTo>
                          <a:pt x="2022" y="1052"/>
                        </a:lnTo>
                        <a:lnTo>
                          <a:pt x="2022" y="1052"/>
                        </a:lnTo>
                        <a:lnTo>
                          <a:pt x="2030" y="1048"/>
                        </a:lnTo>
                        <a:lnTo>
                          <a:pt x="2036" y="1050"/>
                        </a:lnTo>
                        <a:lnTo>
                          <a:pt x="2046" y="1052"/>
                        </a:lnTo>
                        <a:lnTo>
                          <a:pt x="2060" y="1056"/>
                        </a:lnTo>
                        <a:lnTo>
                          <a:pt x="2060" y="1056"/>
                        </a:lnTo>
                        <a:lnTo>
                          <a:pt x="2068" y="1054"/>
                        </a:lnTo>
                        <a:lnTo>
                          <a:pt x="2070" y="1050"/>
                        </a:lnTo>
                        <a:lnTo>
                          <a:pt x="2072" y="1042"/>
                        </a:lnTo>
                        <a:lnTo>
                          <a:pt x="2070" y="1032"/>
                        </a:lnTo>
                        <a:lnTo>
                          <a:pt x="2066" y="1008"/>
                        </a:lnTo>
                        <a:lnTo>
                          <a:pt x="2064" y="996"/>
                        </a:lnTo>
                        <a:lnTo>
                          <a:pt x="2064" y="984"/>
                        </a:lnTo>
                        <a:lnTo>
                          <a:pt x="2064" y="984"/>
                        </a:lnTo>
                        <a:lnTo>
                          <a:pt x="2062" y="976"/>
                        </a:lnTo>
                        <a:lnTo>
                          <a:pt x="2062" y="974"/>
                        </a:lnTo>
                        <a:lnTo>
                          <a:pt x="2060" y="974"/>
                        </a:lnTo>
                        <a:lnTo>
                          <a:pt x="2056" y="976"/>
                        </a:lnTo>
                        <a:lnTo>
                          <a:pt x="2050" y="980"/>
                        </a:lnTo>
                        <a:lnTo>
                          <a:pt x="2044" y="986"/>
                        </a:lnTo>
                        <a:lnTo>
                          <a:pt x="2038" y="990"/>
                        </a:lnTo>
                        <a:lnTo>
                          <a:pt x="2032" y="990"/>
                        </a:lnTo>
                        <a:lnTo>
                          <a:pt x="2030" y="988"/>
                        </a:lnTo>
                        <a:lnTo>
                          <a:pt x="2030" y="986"/>
                        </a:lnTo>
                        <a:lnTo>
                          <a:pt x="2030" y="986"/>
                        </a:lnTo>
                        <a:lnTo>
                          <a:pt x="2028" y="976"/>
                        </a:lnTo>
                        <a:lnTo>
                          <a:pt x="2028" y="974"/>
                        </a:lnTo>
                        <a:lnTo>
                          <a:pt x="2032" y="974"/>
                        </a:lnTo>
                        <a:lnTo>
                          <a:pt x="2038" y="972"/>
                        </a:lnTo>
                        <a:lnTo>
                          <a:pt x="2044" y="968"/>
                        </a:lnTo>
                        <a:lnTo>
                          <a:pt x="2050" y="962"/>
                        </a:lnTo>
                        <a:lnTo>
                          <a:pt x="2050" y="962"/>
                        </a:lnTo>
                        <a:lnTo>
                          <a:pt x="2054" y="956"/>
                        </a:lnTo>
                        <a:lnTo>
                          <a:pt x="2054" y="956"/>
                        </a:lnTo>
                        <a:lnTo>
                          <a:pt x="2054" y="954"/>
                        </a:lnTo>
                        <a:lnTo>
                          <a:pt x="2044" y="958"/>
                        </a:lnTo>
                        <a:lnTo>
                          <a:pt x="2032" y="962"/>
                        </a:lnTo>
                        <a:lnTo>
                          <a:pt x="2030" y="960"/>
                        </a:lnTo>
                        <a:lnTo>
                          <a:pt x="2030" y="956"/>
                        </a:lnTo>
                        <a:lnTo>
                          <a:pt x="2030" y="956"/>
                        </a:lnTo>
                        <a:lnTo>
                          <a:pt x="2032" y="950"/>
                        </a:lnTo>
                        <a:lnTo>
                          <a:pt x="2030" y="944"/>
                        </a:lnTo>
                        <a:lnTo>
                          <a:pt x="2026" y="940"/>
                        </a:lnTo>
                        <a:lnTo>
                          <a:pt x="2020" y="938"/>
                        </a:lnTo>
                        <a:lnTo>
                          <a:pt x="2002" y="932"/>
                        </a:lnTo>
                        <a:lnTo>
                          <a:pt x="1980" y="926"/>
                        </a:lnTo>
                        <a:lnTo>
                          <a:pt x="1980" y="926"/>
                        </a:lnTo>
                        <a:lnTo>
                          <a:pt x="1960" y="918"/>
                        </a:lnTo>
                        <a:lnTo>
                          <a:pt x="1948" y="912"/>
                        </a:lnTo>
                        <a:lnTo>
                          <a:pt x="1944" y="908"/>
                        </a:lnTo>
                        <a:lnTo>
                          <a:pt x="1944" y="904"/>
                        </a:lnTo>
                        <a:lnTo>
                          <a:pt x="1944" y="900"/>
                        </a:lnTo>
                        <a:lnTo>
                          <a:pt x="1944" y="896"/>
                        </a:lnTo>
                        <a:lnTo>
                          <a:pt x="1942" y="892"/>
                        </a:lnTo>
                        <a:lnTo>
                          <a:pt x="1934" y="886"/>
                        </a:lnTo>
                        <a:lnTo>
                          <a:pt x="1934" y="886"/>
                        </a:lnTo>
                        <a:lnTo>
                          <a:pt x="1924" y="880"/>
                        </a:lnTo>
                        <a:lnTo>
                          <a:pt x="1922" y="874"/>
                        </a:lnTo>
                        <a:lnTo>
                          <a:pt x="1922" y="870"/>
                        </a:lnTo>
                        <a:lnTo>
                          <a:pt x="1924" y="866"/>
                        </a:lnTo>
                        <a:lnTo>
                          <a:pt x="1922" y="862"/>
                        </a:lnTo>
                        <a:lnTo>
                          <a:pt x="1916" y="858"/>
                        </a:lnTo>
                        <a:lnTo>
                          <a:pt x="1902" y="852"/>
                        </a:lnTo>
                        <a:lnTo>
                          <a:pt x="1878" y="846"/>
                        </a:lnTo>
                        <a:lnTo>
                          <a:pt x="1878" y="846"/>
                        </a:lnTo>
                        <a:lnTo>
                          <a:pt x="1888" y="846"/>
                        </a:lnTo>
                        <a:lnTo>
                          <a:pt x="1896" y="844"/>
                        </a:lnTo>
                        <a:lnTo>
                          <a:pt x="1904" y="842"/>
                        </a:lnTo>
                        <a:lnTo>
                          <a:pt x="1910" y="838"/>
                        </a:lnTo>
                        <a:lnTo>
                          <a:pt x="1926" y="828"/>
                        </a:lnTo>
                        <a:lnTo>
                          <a:pt x="1948" y="818"/>
                        </a:lnTo>
                        <a:lnTo>
                          <a:pt x="1948" y="818"/>
                        </a:lnTo>
                        <a:lnTo>
                          <a:pt x="1954" y="816"/>
                        </a:lnTo>
                        <a:lnTo>
                          <a:pt x="1960" y="816"/>
                        </a:lnTo>
                        <a:lnTo>
                          <a:pt x="1974" y="818"/>
                        </a:lnTo>
                        <a:lnTo>
                          <a:pt x="1988" y="824"/>
                        </a:lnTo>
                        <a:lnTo>
                          <a:pt x="2002" y="832"/>
                        </a:lnTo>
                        <a:lnTo>
                          <a:pt x="2016" y="838"/>
                        </a:lnTo>
                        <a:lnTo>
                          <a:pt x="2030" y="842"/>
                        </a:lnTo>
                        <a:lnTo>
                          <a:pt x="2038" y="844"/>
                        </a:lnTo>
                        <a:lnTo>
                          <a:pt x="2044" y="842"/>
                        </a:lnTo>
                        <a:lnTo>
                          <a:pt x="2052" y="840"/>
                        </a:lnTo>
                        <a:lnTo>
                          <a:pt x="2058" y="836"/>
                        </a:lnTo>
                        <a:lnTo>
                          <a:pt x="2058" y="836"/>
                        </a:lnTo>
                        <a:lnTo>
                          <a:pt x="2070" y="830"/>
                        </a:lnTo>
                        <a:lnTo>
                          <a:pt x="2078" y="826"/>
                        </a:lnTo>
                        <a:lnTo>
                          <a:pt x="2086" y="826"/>
                        </a:lnTo>
                        <a:lnTo>
                          <a:pt x="2092" y="828"/>
                        </a:lnTo>
                        <a:lnTo>
                          <a:pt x="2096" y="830"/>
                        </a:lnTo>
                        <a:lnTo>
                          <a:pt x="2100" y="830"/>
                        </a:lnTo>
                        <a:lnTo>
                          <a:pt x="2106" y="826"/>
                        </a:lnTo>
                        <a:lnTo>
                          <a:pt x="2112" y="818"/>
                        </a:lnTo>
                        <a:lnTo>
                          <a:pt x="2112" y="818"/>
                        </a:lnTo>
                        <a:lnTo>
                          <a:pt x="2118" y="810"/>
                        </a:lnTo>
                        <a:lnTo>
                          <a:pt x="2118" y="806"/>
                        </a:lnTo>
                        <a:lnTo>
                          <a:pt x="2116" y="802"/>
                        </a:lnTo>
                        <a:lnTo>
                          <a:pt x="2112" y="796"/>
                        </a:lnTo>
                        <a:lnTo>
                          <a:pt x="2104" y="792"/>
                        </a:lnTo>
                        <a:lnTo>
                          <a:pt x="2092" y="790"/>
                        </a:lnTo>
                        <a:lnTo>
                          <a:pt x="2080" y="788"/>
                        </a:lnTo>
                        <a:lnTo>
                          <a:pt x="2054" y="786"/>
                        </a:lnTo>
                        <a:lnTo>
                          <a:pt x="2054" y="786"/>
                        </a:lnTo>
                        <a:lnTo>
                          <a:pt x="2044" y="786"/>
                        </a:lnTo>
                        <a:lnTo>
                          <a:pt x="2040" y="784"/>
                        </a:lnTo>
                        <a:lnTo>
                          <a:pt x="2040" y="780"/>
                        </a:lnTo>
                        <a:lnTo>
                          <a:pt x="2040" y="776"/>
                        </a:lnTo>
                        <a:lnTo>
                          <a:pt x="2046" y="768"/>
                        </a:lnTo>
                        <a:lnTo>
                          <a:pt x="2054" y="762"/>
                        </a:lnTo>
                        <a:lnTo>
                          <a:pt x="2066" y="758"/>
                        </a:lnTo>
                        <a:lnTo>
                          <a:pt x="2078" y="754"/>
                        </a:lnTo>
                        <a:lnTo>
                          <a:pt x="2092" y="752"/>
                        </a:lnTo>
                        <a:lnTo>
                          <a:pt x="2092" y="752"/>
                        </a:lnTo>
                        <a:lnTo>
                          <a:pt x="2104" y="754"/>
                        </a:lnTo>
                        <a:lnTo>
                          <a:pt x="2112" y="758"/>
                        </a:lnTo>
                        <a:lnTo>
                          <a:pt x="2122" y="766"/>
                        </a:lnTo>
                        <a:lnTo>
                          <a:pt x="2128" y="768"/>
                        </a:lnTo>
                        <a:lnTo>
                          <a:pt x="2132" y="770"/>
                        </a:lnTo>
                        <a:lnTo>
                          <a:pt x="2142" y="768"/>
                        </a:lnTo>
                        <a:lnTo>
                          <a:pt x="2152" y="766"/>
                        </a:lnTo>
                        <a:lnTo>
                          <a:pt x="2152" y="766"/>
                        </a:lnTo>
                        <a:lnTo>
                          <a:pt x="2162" y="762"/>
                        </a:lnTo>
                        <a:lnTo>
                          <a:pt x="2164" y="758"/>
                        </a:lnTo>
                        <a:lnTo>
                          <a:pt x="2166" y="754"/>
                        </a:lnTo>
                        <a:lnTo>
                          <a:pt x="2162" y="750"/>
                        </a:lnTo>
                        <a:lnTo>
                          <a:pt x="2154" y="746"/>
                        </a:lnTo>
                        <a:lnTo>
                          <a:pt x="2146" y="742"/>
                        </a:lnTo>
                        <a:lnTo>
                          <a:pt x="2134" y="740"/>
                        </a:lnTo>
                        <a:lnTo>
                          <a:pt x="2120" y="738"/>
                        </a:lnTo>
                        <a:lnTo>
                          <a:pt x="2120" y="738"/>
                        </a:lnTo>
                        <a:lnTo>
                          <a:pt x="2112" y="738"/>
                        </a:lnTo>
                        <a:lnTo>
                          <a:pt x="2108" y="736"/>
                        </a:lnTo>
                        <a:lnTo>
                          <a:pt x="2104" y="732"/>
                        </a:lnTo>
                        <a:lnTo>
                          <a:pt x="2102" y="728"/>
                        </a:lnTo>
                        <a:lnTo>
                          <a:pt x="2100" y="718"/>
                        </a:lnTo>
                        <a:lnTo>
                          <a:pt x="2102" y="708"/>
                        </a:lnTo>
                        <a:lnTo>
                          <a:pt x="2108" y="700"/>
                        </a:lnTo>
                        <a:lnTo>
                          <a:pt x="2114" y="694"/>
                        </a:lnTo>
                        <a:lnTo>
                          <a:pt x="2118" y="692"/>
                        </a:lnTo>
                        <a:lnTo>
                          <a:pt x="2122" y="692"/>
                        </a:lnTo>
                        <a:lnTo>
                          <a:pt x="2124" y="692"/>
                        </a:lnTo>
                        <a:lnTo>
                          <a:pt x="2126" y="696"/>
                        </a:lnTo>
                        <a:lnTo>
                          <a:pt x="2126" y="696"/>
                        </a:lnTo>
                        <a:lnTo>
                          <a:pt x="2132" y="700"/>
                        </a:lnTo>
                        <a:lnTo>
                          <a:pt x="2140" y="702"/>
                        </a:lnTo>
                        <a:lnTo>
                          <a:pt x="2148" y="702"/>
                        </a:lnTo>
                        <a:lnTo>
                          <a:pt x="2154" y="698"/>
                        </a:lnTo>
                        <a:lnTo>
                          <a:pt x="2158" y="692"/>
                        </a:lnTo>
                        <a:lnTo>
                          <a:pt x="2162" y="686"/>
                        </a:lnTo>
                        <a:lnTo>
                          <a:pt x="2160" y="678"/>
                        </a:lnTo>
                        <a:lnTo>
                          <a:pt x="2156" y="670"/>
                        </a:lnTo>
                        <a:lnTo>
                          <a:pt x="2156" y="670"/>
                        </a:lnTo>
                        <a:lnTo>
                          <a:pt x="2150" y="662"/>
                        </a:lnTo>
                        <a:lnTo>
                          <a:pt x="2150" y="658"/>
                        </a:lnTo>
                        <a:lnTo>
                          <a:pt x="2154" y="656"/>
                        </a:lnTo>
                        <a:lnTo>
                          <a:pt x="2156" y="656"/>
                        </a:lnTo>
                        <a:lnTo>
                          <a:pt x="2160" y="656"/>
                        </a:lnTo>
                        <a:lnTo>
                          <a:pt x="2160" y="654"/>
                        </a:lnTo>
                        <a:lnTo>
                          <a:pt x="2144" y="646"/>
                        </a:lnTo>
                        <a:lnTo>
                          <a:pt x="2144" y="646"/>
                        </a:lnTo>
                        <a:lnTo>
                          <a:pt x="2132" y="640"/>
                        </a:lnTo>
                        <a:lnTo>
                          <a:pt x="2128" y="636"/>
                        </a:lnTo>
                        <a:lnTo>
                          <a:pt x="2128" y="634"/>
                        </a:lnTo>
                        <a:lnTo>
                          <a:pt x="2130" y="632"/>
                        </a:lnTo>
                        <a:lnTo>
                          <a:pt x="2140" y="628"/>
                        </a:lnTo>
                        <a:lnTo>
                          <a:pt x="2142" y="624"/>
                        </a:lnTo>
                        <a:lnTo>
                          <a:pt x="2142" y="620"/>
                        </a:lnTo>
                        <a:lnTo>
                          <a:pt x="2142" y="620"/>
                        </a:lnTo>
                        <a:lnTo>
                          <a:pt x="2140" y="616"/>
                        </a:lnTo>
                        <a:lnTo>
                          <a:pt x="2136" y="614"/>
                        </a:lnTo>
                        <a:lnTo>
                          <a:pt x="2126" y="612"/>
                        </a:lnTo>
                        <a:lnTo>
                          <a:pt x="2098" y="612"/>
                        </a:lnTo>
                        <a:lnTo>
                          <a:pt x="2084" y="612"/>
                        </a:lnTo>
                        <a:lnTo>
                          <a:pt x="2074" y="612"/>
                        </a:lnTo>
                        <a:lnTo>
                          <a:pt x="2066" y="608"/>
                        </a:lnTo>
                        <a:lnTo>
                          <a:pt x="2064" y="606"/>
                        </a:lnTo>
                        <a:lnTo>
                          <a:pt x="2062" y="602"/>
                        </a:lnTo>
                        <a:lnTo>
                          <a:pt x="2062" y="602"/>
                        </a:lnTo>
                        <a:lnTo>
                          <a:pt x="2062" y="598"/>
                        </a:lnTo>
                        <a:lnTo>
                          <a:pt x="2060" y="594"/>
                        </a:lnTo>
                        <a:lnTo>
                          <a:pt x="2056" y="590"/>
                        </a:lnTo>
                        <a:lnTo>
                          <a:pt x="2048" y="586"/>
                        </a:lnTo>
                        <a:lnTo>
                          <a:pt x="2040" y="582"/>
                        </a:lnTo>
                        <a:lnTo>
                          <a:pt x="2032" y="580"/>
                        </a:lnTo>
                        <a:lnTo>
                          <a:pt x="2028" y="578"/>
                        </a:lnTo>
                        <a:lnTo>
                          <a:pt x="2026" y="576"/>
                        </a:lnTo>
                        <a:lnTo>
                          <a:pt x="2028" y="574"/>
                        </a:lnTo>
                        <a:lnTo>
                          <a:pt x="2032" y="568"/>
                        </a:lnTo>
                        <a:lnTo>
                          <a:pt x="2032" y="568"/>
                        </a:lnTo>
                        <a:lnTo>
                          <a:pt x="2040" y="566"/>
                        </a:lnTo>
                        <a:lnTo>
                          <a:pt x="2046" y="566"/>
                        </a:lnTo>
                        <a:lnTo>
                          <a:pt x="2050" y="570"/>
                        </a:lnTo>
                        <a:lnTo>
                          <a:pt x="2054" y="574"/>
                        </a:lnTo>
                        <a:lnTo>
                          <a:pt x="2058" y="578"/>
                        </a:lnTo>
                        <a:lnTo>
                          <a:pt x="2064" y="580"/>
                        </a:lnTo>
                        <a:lnTo>
                          <a:pt x="2072" y="580"/>
                        </a:lnTo>
                        <a:lnTo>
                          <a:pt x="2082" y="574"/>
                        </a:lnTo>
                        <a:lnTo>
                          <a:pt x="2082" y="574"/>
                        </a:lnTo>
                        <a:lnTo>
                          <a:pt x="2094" y="566"/>
                        </a:lnTo>
                        <a:lnTo>
                          <a:pt x="2106" y="562"/>
                        </a:lnTo>
                        <a:lnTo>
                          <a:pt x="2120" y="560"/>
                        </a:lnTo>
                        <a:lnTo>
                          <a:pt x="2132" y="560"/>
                        </a:lnTo>
                        <a:lnTo>
                          <a:pt x="2144" y="562"/>
                        </a:lnTo>
                        <a:lnTo>
                          <a:pt x="2156" y="564"/>
                        </a:lnTo>
                        <a:lnTo>
                          <a:pt x="2178" y="574"/>
                        </a:lnTo>
                        <a:lnTo>
                          <a:pt x="2178" y="574"/>
                        </a:lnTo>
                        <a:lnTo>
                          <a:pt x="2188" y="576"/>
                        </a:lnTo>
                        <a:lnTo>
                          <a:pt x="2196" y="574"/>
                        </a:lnTo>
                        <a:lnTo>
                          <a:pt x="2202" y="570"/>
                        </a:lnTo>
                        <a:lnTo>
                          <a:pt x="2206" y="564"/>
                        </a:lnTo>
                        <a:lnTo>
                          <a:pt x="2208" y="556"/>
                        </a:lnTo>
                        <a:lnTo>
                          <a:pt x="2206" y="546"/>
                        </a:lnTo>
                        <a:lnTo>
                          <a:pt x="2202" y="536"/>
                        </a:lnTo>
                        <a:lnTo>
                          <a:pt x="2194" y="528"/>
                        </a:lnTo>
                        <a:lnTo>
                          <a:pt x="2194" y="528"/>
                        </a:lnTo>
                        <a:lnTo>
                          <a:pt x="2186" y="522"/>
                        </a:lnTo>
                        <a:lnTo>
                          <a:pt x="2180" y="522"/>
                        </a:lnTo>
                        <a:lnTo>
                          <a:pt x="2176" y="524"/>
                        </a:lnTo>
                        <a:lnTo>
                          <a:pt x="2172" y="528"/>
                        </a:lnTo>
                        <a:lnTo>
                          <a:pt x="2166" y="532"/>
                        </a:lnTo>
                        <a:lnTo>
                          <a:pt x="2158" y="534"/>
                        </a:lnTo>
                        <a:lnTo>
                          <a:pt x="2148" y="532"/>
                        </a:lnTo>
                        <a:lnTo>
                          <a:pt x="2132" y="524"/>
                        </a:lnTo>
                        <a:lnTo>
                          <a:pt x="2132" y="524"/>
                        </a:lnTo>
                        <a:lnTo>
                          <a:pt x="2106" y="506"/>
                        </a:lnTo>
                        <a:lnTo>
                          <a:pt x="2102" y="502"/>
                        </a:lnTo>
                        <a:lnTo>
                          <a:pt x="2102" y="500"/>
                        </a:lnTo>
                        <a:lnTo>
                          <a:pt x="2102" y="498"/>
                        </a:lnTo>
                        <a:lnTo>
                          <a:pt x="2106" y="498"/>
                        </a:lnTo>
                        <a:lnTo>
                          <a:pt x="2116" y="498"/>
                        </a:lnTo>
                        <a:lnTo>
                          <a:pt x="2144" y="504"/>
                        </a:lnTo>
                        <a:lnTo>
                          <a:pt x="2144" y="504"/>
                        </a:lnTo>
                        <a:lnTo>
                          <a:pt x="2170" y="508"/>
                        </a:lnTo>
                        <a:lnTo>
                          <a:pt x="2174" y="508"/>
                        </a:lnTo>
                        <a:lnTo>
                          <a:pt x="2174" y="506"/>
                        </a:lnTo>
                        <a:lnTo>
                          <a:pt x="2168" y="502"/>
                        </a:lnTo>
                        <a:lnTo>
                          <a:pt x="2156" y="496"/>
                        </a:lnTo>
                        <a:lnTo>
                          <a:pt x="2120" y="480"/>
                        </a:lnTo>
                        <a:lnTo>
                          <a:pt x="2120" y="480"/>
                        </a:lnTo>
                        <a:lnTo>
                          <a:pt x="2100" y="474"/>
                        </a:lnTo>
                        <a:lnTo>
                          <a:pt x="2086" y="474"/>
                        </a:lnTo>
                        <a:lnTo>
                          <a:pt x="2078" y="476"/>
                        </a:lnTo>
                        <a:lnTo>
                          <a:pt x="2074" y="482"/>
                        </a:lnTo>
                        <a:lnTo>
                          <a:pt x="2070" y="494"/>
                        </a:lnTo>
                        <a:lnTo>
                          <a:pt x="2066" y="500"/>
                        </a:lnTo>
                        <a:lnTo>
                          <a:pt x="2060" y="504"/>
                        </a:lnTo>
                        <a:lnTo>
                          <a:pt x="2060" y="504"/>
                        </a:lnTo>
                        <a:lnTo>
                          <a:pt x="2056" y="504"/>
                        </a:lnTo>
                        <a:lnTo>
                          <a:pt x="2054" y="502"/>
                        </a:lnTo>
                        <a:lnTo>
                          <a:pt x="2052" y="500"/>
                        </a:lnTo>
                        <a:lnTo>
                          <a:pt x="2052" y="498"/>
                        </a:lnTo>
                        <a:lnTo>
                          <a:pt x="2054" y="490"/>
                        </a:lnTo>
                        <a:lnTo>
                          <a:pt x="2060" y="478"/>
                        </a:lnTo>
                        <a:lnTo>
                          <a:pt x="2072" y="454"/>
                        </a:lnTo>
                        <a:lnTo>
                          <a:pt x="2080" y="440"/>
                        </a:lnTo>
                        <a:lnTo>
                          <a:pt x="2086" y="426"/>
                        </a:lnTo>
                        <a:lnTo>
                          <a:pt x="2086" y="426"/>
                        </a:lnTo>
                        <a:lnTo>
                          <a:pt x="2090" y="414"/>
                        </a:lnTo>
                        <a:lnTo>
                          <a:pt x="2096" y="408"/>
                        </a:lnTo>
                        <a:lnTo>
                          <a:pt x="2104" y="404"/>
                        </a:lnTo>
                        <a:lnTo>
                          <a:pt x="2110" y="404"/>
                        </a:lnTo>
                        <a:lnTo>
                          <a:pt x="2124" y="404"/>
                        </a:lnTo>
                        <a:lnTo>
                          <a:pt x="2130" y="404"/>
                        </a:lnTo>
                        <a:lnTo>
                          <a:pt x="2134" y="402"/>
                        </a:lnTo>
                        <a:lnTo>
                          <a:pt x="2134" y="402"/>
                        </a:lnTo>
                        <a:lnTo>
                          <a:pt x="2146" y="392"/>
                        </a:lnTo>
                        <a:lnTo>
                          <a:pt x="2160" y="382"/>
                        </a:lnTo>
                        <a:lnTo>
                          <a:pt x="2166" y="376"/>
                        </a:lnTo>
                        <a:lnTo>
                          <a:pt x="2168" y="372"/>
                        </a:lnTo>
                        <a:lnTo>
                          <a:pt x="2168" y="370"/>
                        </a:lnTo>
                        <a:lnTo>
                          <a:pt x="2166" y="368"/>
                        </a:lnTo>
                        <a:lnTo>
                          <a:pt x="2160" y="366"/>
                        </a:lnTo>
                        <a:lnTo>
                          <a:pt x="2160" y="366"/>
                        </a:lnTo>
                        <a:lnTo>
                          <a:pt x="2152" y="362"/>
                        </a:lnTo>
                        <a:lnTo>
                          <a:pt x="2146" y="358"/>
                        </a:lnTo>
                        <a:lnTo>
                          <a:pt x="2144" y="354"/>
                        </a:lnTo>
                        <a:lnTo>
                          <a:pt x="2144" y="348"/>
                        </a:lnTo>
                        <a:lnTo>
                          <a:pt x="2146" y="344"/>
                        </a:lnTo>
                        <a:lnTo>
                          <a:pt x="2150" y="338"/>
                        </a:lnTo>
                        <a:lnTo>
                          <a:pt x="2158" y="336"/>
                        </a:lnTo>
                        <a:lnTo>
                          <a:pt x="2168" y="334"/>
                        </a:lnTo>
                        <a:lnTo>
                          <a:pt x="2168" y="334"/>
                        </a:lnTo>
                        <a:lnTo>
                          <a:pt x="2190" y="334"/>
                        </a:lnTo>
                        <a:lnTo>
                          <a:pt x="2204" y="330"/>
                        </a:lnTo>
                        <a:lnTo>
                          <a:pt x="2216" y="322"/>
                        </a:lnTo>
                        <a:lnTo>
                          <a:pt x="2228" y="310"/>
                        </a:lnTo>
                        <a:lnTo>
                          <a:pt x="2228" y="310"/>
                        </a:lnTo>
                        <a:lnTo>
                          <a:pt x="2230" y="306"/>
                        </a:lnTo>
                        <a:lnTo>
                          <a:pt x="2230" y="304"/>
                        </a:lnTo>
                        <a:lnTo>
                          <a:pt x="2228" y="302"/>
                        </a:lnTo>
                        <a:lnTo>
                          <a:pt x="2226" y="300"/>
                        </a:lnTo>
                        <a:lnTo>
                          <a:pt x="2214" y="300"/>
                        </a:lnTo>
                        <a:lnTo>
                          <a:pt x="2200" y="300"/>
                        </a:lnTo>
                        <a:lnTo>
                          <a:pt x="2162" y="308"/>
                        </a:lnTo>
                        <a:lnTo>
                          <a:pt x="2142" y="312"/>
                        </a:lnTo>
                        <a:lnTo>
                          <a:pt x="2124" y="318"/>
                        </a:lnTo>
                        <a:lnTo>
                          <a:pt x="2124" y="318"/>
                        </a:lnTo>
                        <a:lnTo>
                          <a:pt x="2112" y="322"/>
                        </a:lnTo>
                        <a:lnTo>
                          <a:pt x="2108" y="320"/>
                        </a:lnTo>
                        <a:lnTo>
                          <a:pt x="2106" y="320"/>
                        </a:lnTo>
                        <a:lnTo>
                          <a:pt x="2106" y="316"/>
                        </a:lnTo>
                        <a:lnTo>
                          <a:pt x="2108" y="314"/>
                        </a:lnTo>
                        <a:lnTo>
                          <a:pt x="2114" y="306"/>
                        </a:lnTo>
                        <a:lnTo>
                          <a:pt x="2124" y="298"/>
                        </a:lnTo>
                        <a:lnTo>
                          <a:pt x="2138" y="292"/>
                        </a:lnTo>
                        <a:lnTo>
                          <a:pt x="2152" y="288"/>
                        </a:lnTo>
                        <a:lnTo>
                          <a:pt x="2160" y="288"/>
                        </a:lnTo>
                        <a:lnTo>
                          <a:pt x="2168" y="288"/>
                        </a:lnTo>
                        <a:lnTo>
                          <a:pt x="2168" y="288"/>
                        </a:lnTo>
                        <a:lnTo>
                          <a:pt x="2182" y="292"/>
                        </a:lnTo>
                        <a:lnTo>
                          <a:pt x="2198" y="292"/>
                        </a:lnTo>
                        <a:lnTo>
                          <a:pt x="2214" y="292"/>
                        </a:lnTo>
                        <a:lnTo>
                          <a:pt x="2228" y="290"/>
                        </a:lnTo>
                        <a:lnTo>
                          <a:pt x="2256" y="284"/>
                        </a:lnTo>
                        <a:lnTo>
                          <a:pt x="2278" y="276"/>
                        </a:lnTo>
                        <a:lnTo>
                          <a:pt x="2278" y="276"/>
                        </a:lnTo>
                        <a:lnTo>
                          <a:pt x="2284" y="270"/>
                        </a:lnTo>
                        <a:lnTo>
                          <a:pt x="2286" y="268"/>
                        </a:lnTo>
                        <a:lnTo>
                          <a:pt x="2284" y="268"/>
                        </a:lnTo>
                        <a:lnTo>
                          <a:pt x="2280" y="264"/>
                        </a:lnTo>
                        <a:lnTo>
                          <a:pt x="2270" y="262"/>
                        </a:lnTo>
                        <a:lnTo>
                          <a:pt x="2244" y="260"/>
                        </a:lnTo>
                        <a:lnTo>
                          <a:pt x="2232" y="260"/>
                        </a:lnTo>
                        <a:lnTo>
                          <a:pt x="2220" y="262"/>
                        </a:lnTo>
                        <a:lnTo>
                          <a:pt x="2220" y="262"/>
                        </a:lnTo>
                        <a:lnTo>
                          <a:pt x="2206" y="264"/>
                        </a:lnTo>
                        <a:lnTo>
                          <a:pt x="2188" y="264"/>
                        </a:lnTo>
                        <a:lnTo>
                          <a:pt x="2154" y="262"/>
                        </a:lnTo>
                        <a:lnTo>
                          <a:pt x="2134" y="258"/>
                        </a:lnTo>
                        <a:lnTo>
                          <a:pt x="2150" y="258"/>
                        </a:lnTo>
                        <a:lnTo>
                          <a:pt x="2150" y="258"/>
                        </a:lnTo>
                        <a:lnTo>
                          <a:pt x="2168" y="260"/>
                        </a:lnTo>
                        <a:lnTo>
                          <a:pt x="2182" y="258"/>
                        </a:lnTo>
                        <a:lnTo>
                          <a:pt x="2192" y="256"/>
                        </a:lnTo>
                        <a:lnTo>
                          <a:pt x="2200" y="252"/>
                        </a:lnTo>
                        <a:lnTo>
                          <a:pt x="2214" y="248"/>
                        </a:lnTo>
                        <a:lnTo>
                          <a:pt x="2222" y="246"/>
                        </a:lnTo>
                        <a:lnTo>
                          <a:pt x="2232" y="248"/>
                        </a:lnTo>
                        <a:lnTo>
                          <a:pt x="2232" y="248"/>
                        </a:lnTo>
                        <a:lnTo>
                          <a:pt x="2244" y="250"/>
                        </a:lnTo>
                        <a:lnTo>
                          <a:pt x="2254" y="250"/>
                        </a:lnTo>
                        <a:lnTo>
                          <a:pt x="2274" y="248"/>
                        </a:lnTo>
                        <a:lnTo>
                          <a:pt x="2298" y="244"/>
                        </a:lnTo>
                        <a:lnTo>
                          <a:pt x="2330" y="242"/>
                        </a:lnTo>
                        <a:lnTo>
                          <a:pt x="2330" y="242"/>
                        </a:lnTo>
                        <a:lnTo>
                          <a:pt x="2342" y="240"/>
                        </a:lnTo>
                        <a:lnTo>
                          <a:pt x="2344" y="238"/>
                        </a:lnTo>
                        <a:lnTo>
                          <a:pt x="2344" y="238"/>
                        </a:lnTo>
                        <a:lnTo>
                          <a:pt x="2342" y="232"/>
                        </a:lnTo>
                        <a:lnTo>
                          <a:pt x="2336" y="228"/>
                        </a:lnTo>
                        <a:lnTo>
                          <a:pt x="2330" y="224"/>
                        </a:lnTo>
                        <a:lnTo>
                          <a:pt x="2328" y="220"/>
                        </a:lnTo>
                        <a:lnTo>
                          <a:pt x="2330" y="220"/>
                        </a:lnTo>
                        <a:lnTo>
                          <a:pt x="2334" y="218"/>
                        </a:lnTo>
                        <a:lnTo>
                          <a:pt x="2348" y="218"/>
                        </a:lnTo>
                        <a:lnTo>
                          <a:pt x="2348" y="218"/>
                        </a:lnTo>
                        <a:lnTo>
                          <a:pt x="2360" y="216"/>
                        </a:lnTo>
                        <a:lnTo>
                          <a:pt x="2372" y="214"/>
                        </a:lnTo>
                        <a:lnTo>
                          <a:pt x="2382" y="212"/>
                        </a:lnTo>
                        <a:lnTo>
                          <a:pt x="2392" y="206"/>
                        </a:lnTo>
                        <a:lnTo>
                          <a:pt x="2412" y="196"/>
                        </a:lnTo>
                        <a:lnTo>
                          <a:pt x="2436" y="182"/>
                        </a:lnTo>
                        <a:lnTo>
                          <a:pt x="2436" y="182"/>
                        </a:lnTo>
                        <a:lnTo>
                          <a:pt x="2440" y="180"/>
                        </a:lnTo>
                        <a:lnTo>
                          <a:pt x="2442" y="176"/>
                        </a:lnTo>
                        <a:lnTo>
                          <a:pt x="2438" y="174"/>
                        </a:lnTo>
                        <a:lnTo>
                          <a:pt x="2434" y="170"/>
                        </a:lnTo>
                        <a:lnTo>
                          <a:pt x="2414" y="164"/>
                        </a:lnTo>
                        <a:lnTo>
                          <a:pt x="2388" y="158"/>
                        </a:lnTo>
                        <a:lnTo>
                          <a:pt x="2356" y="154"/>
                        </a:lnTo>
                        <a:lnTo>
                          <a:pt x="2322" y="150"/>
                        </a:lnTo>
                        <a:lnTo>
                          <a:pt x="2292" y="148"/>
                        </a:lnTo>
                        <a:lnTo>
                          <a:pt x="2264" y="150"/>
                        </a:lnTo>
                        <a:lnTo>
                          <a:pt x="2264" y="150"/>
                        </a:lnTo>
                        <a:lnTo>
                          <a:pt x="2244" y="152"/>
                        </a:lnTo>
                        <a:lnTo>
                          <a:pt x="2230" y="158"/>
                        </a:lnTo>
                        <a:lnTo>
                          <a:pt x="2220" y="164"/>
                        </a:lnTo>
                        <a:lnTo>
                          <a:pt x="2214" y="172"/>
                        </a:lnTo>
                        <a:lnTo>
                          <a:pt x="2210" y="180"/>
                        </a:lnTo>
                        <a:lnTo>
                          <a:pt x="2204" y="184"/>
                        </a:lnTo>
                        <a:lnTo>
                          <a:pt x="2198" y="186"/>
                        </a:lnTo>
                        <a:lnTo>
                          <a:pt x="2188" y="186"/>
                        </a:lnTo>
                        <a:lnTo>
                          <a:pt x="2188" y="186"/>
                        </a:lnTo>
                        <a:lnTo>
                          <a:pt x="2176" y="184"/>
                        </a:lnTo>
                        <a:lnTo>
                          <a:pt x="2162" y="182"/>
                        </a:lnTo>
                        <a:lnTo>
                          <a:pt x="2140" y="184"/>
                        </a:lnTo>
                        <a:lnTo>
                          <a:pt x="2126" y="184"/>
                        </a:lnTo>
                        <a:lnTo>
                          <a:pt x="2126" y="182"/>
                        </a:lnTo>
                        <a:lnTo>
                          <a:pt x="2126" y="182"/>
                        </a:lnTo>
                        <a:lnTo>
                          <a:pt x="2130" y="178"/>
                        </a:lnTo>
                        <a:lnTo>
                          <a:pt x="2130" y="178"/>
                        </a:lnTo>
                        <a:lnTo>
                          <a:pt x="2134" y="172"/>
                        </a:lnTo>
                        <a:lnTo>
                          <a:pt x="2134" y="170"/>
                        </a:lnTo>
                        <a:lnTo>
                          <a:pt x="2128" y="170"/>
                        </a:lnTo>
                        <a:lnTo>
                          <a:pt x="2120" y="172"/>
                        </a:lnTo>
                        <a:lnTo>
                          <a:pt x="2108" y="176"/>
                        </a:lnTo>
                        <a:lnTo>
                          <a:pt x="2092" y="184"/>
                        </a:lnTo>
                        <a:lnTo>
                          <a:pt x="2074" y="196"/>
                        </a:lnTo>
                        <a:lnTo>
                          <a:pt x="2050" y="210"/>
                        </a:lnTo>
                        <a:lnTo>
                          <a:pt x="2050" y="210"/>
                        </a:lnTo>
                        <a:lnTo>
                          <a:pt x="2028" y="224"/>
                        </a:lnTo>
                        <a:lnTo>
                          <a:pt x="2010" y="234"/>
                        </a:lnTo>
                        <a:lnTo>
                          <a:pt x="1996" y="242"/>
                        </a:lnTo>
                        <a:lnTo>
                          <a:pt x="1986" y="244"/>
                        </a:lnTo>
                        <a:lnTo>
                          <a:pt x="1984" y="244"/>
                        </a:lnTo>
                        <a:lnTo>
                          <a:pt x="1982" y="244"/>
                        </a:lnTo>
                        <a:lnTo>
                          <a:pt x="1984" y="238"/>
                        </a:lnTo>
                        <a:lnTo>
                          <a:pt x="1992" y="228"/>
                        </a:lnTo>
                        <a:lnTo>
                          <a:pt x="2008" y="216"/>
                        </a:lnTo>
                        <a:lnTo>
                          <a:pt x="2008" y="216"/>
                        </a:lnTo>
                        <a:lnTo>
                          <a:pt x="2026" y="200"/>
                        </a:lnTo>
                        <a:lnTo>
                          <a:pt x="2040" y="186"/>
                        </a:lnTo>
                        <a:lnTo>
                          <a:pt x="2050" y="172"/>
                        </a:lnTo>
                        <a:lnTo>
                          <a:pt x="2052" y="166"/>
                        </a:lnTo>
                        <a:lnTo>
                          <a:pt x="2052" y="160"/>
                        </a:lnTo>
                        <a:lnTo>
                          <a:pt x="2052" y="156"/>
                        </a:lnTo>
                        <a:lnTo>
                          <a:pt x="2050" y="150"/>
                        </a:lnTo>
                        <a:lnTo>
                          <a:pt x="2048" y="146"/>
                        </a:lnTo>
                        <a:lnTo>
                          <a:pt x="2042" y="144"/>
                        </a:lnTo>
                        <a:lnTo>
                          <a:pt x="2036" y="140"/>
                        </a:lnTo>
                        <a:lnTo>
                          <a:pt x="2028" y="138"/>
                        </a:lnTo>
                        <a:lnTo>
                          <a:pt x="2004" y="138"/>
                        </a:lnTo>
                        <a:lnTo>
                          <a:pt x="2004" y="138"/>
                        </a:lnTo>
                        <a:lnTo>
                          <a:pt x="1984" y="138"/>
                        </a:lnTo>
                        <a:lnTo>
                          <a:pt x="1972" y="142"/>
                        </a:lnTo>
                        <a:lnTo>
                          <a:pt x="1964" y="146"/>
                        </a:lnTo>
                        <a:lnTo>
                          <a:pt x="1962" y="152"/>
                        </a:lnTo>
                        <a:lnTo>
                          <a:pt x="1960" y="156"/>
                        </a:lnTo>
                        <a:lnTo>
                          <a:pt x="1958" y="162"/>
                        </a:lnTo>
                        <a:lnTo>
                          <a:pt x="1952" y="168"/>
                        </a:lnTo>
                        <a:lnTo>
                          <a:pt x="1940" y="172"/>
                        </a:lnTo>
                        <a:lnTo>
                          <a:pt x="1940" y="172"/>
                        </a:lnTo>
                        <a:lnTo>
                          <a:pt x="1910" y="178"/>
                        </a:lnTo>
                        <a:lnTo>
                          <a:pt x="1886" y="182"/>
                        </a:lnTo>
                        <a:lnTo>
                          <a:pt x="1878" y="182"/>
                        </a:lnTo>
                        <a:lnTo>
                          <a:pt x="1876" y="180"/>
                        </a:lnTo>
                        <a:lnTo>
                          <a:pt x="1880" y="176"/>
                        </a:lnTo>
                        <a:lnTo>
                          <a:pt x="1890" y="172"/>
                        </a:lnTo>
                        <a:lnTo>
                          <a:pt x="1890" y="172"/>
                        </a:lnTo>
                        <a:lnTo>
                          <a:pt x="1916" y="160"/>
                        </a:lnTo>
                        <a:lnTo>
                          <a:pt x="1922" y="154"/>
                        </a:lnTo>
                        <a:lnTo>
                          <a:pt x="1924" y="152"/>
                        </a:lnTo>
                        <a:lnTo>
                          <a:pt x="1924" y="150"/>
                        </a:lnTo>
                        <a:lnTo>
                          <a:pt x="1924" y="148"/>
                        </a:lnTo>
                        <a:lnTo>
                          <a:pt x="1920" y="148"/>
                        </a:lnTo>
                        <a:lnTo>
                          <a:pt x="1906" y="144"/>
                        </a:lnTo>
                        <a:lnTo>
                          <a:pt x="1884" y="142"/>
                        </a:lnTo>
                        <a:lnTo>
                          <a:pt x="1852" y="140"/>
                        </a:lnTo>
                        <a:lnTo>
                          <a:pt x="1852" y="140"/>
                        </a:lnTo>
                        <a:lnTo>
                          <a:pt x="1812" y="142"/>
                        </a:lnTo>
                        <a:lnTo>
                          <a:pt x="1770" y="146"/>
                        </a:lnTo>
                        <a:lnTo>
                          <a:pt x="1730" y="152"/>
                        </a:lnTo>
                        <a:lnTo>
                          <a:pt x="1694" y="160"/>
                        </a:lnTo>
                        <a:lnTo>
                          <a:pt x="1636" y="172"/>
                        </a:lnTo>
                        <a:lnTo>
                          <a:pt x="1616" y="174"/>
                        </a:lnTo>
                        <a:lnTo>
                          <a:pt x="1610" y="174"/>
                        </a:lnTo>
                        <a:lnTo>
                          <a:pt x="1608" y="174"/>
                        </a:lnTo>
                        <a:lnTo>
                          <a:pt x="1608" y="174"/>
                        </a:lnTo>
                        <a:lnTo>
                          <a:pt x="1604" y="170"/>
                        </a:lnTo>
                        <a:lnTo>
                          <a:pt x="1602" y="168"/>
                        </a:lnTo>
                        <a:lnTo>
                          <a:pt x="1604" y="164"/>
                        </a:lnTo>
                        <a:lnTo>
                          <a:pt x="1606" y="162"/>
                        </a:lnTo>
                        <a:lnTo>
                          <a:pt x="1618" y="156"/>
                        </a:lnTo>
                        <a:lnTo>
                          <a:pt x="1636" y="152"/>
                        </a:lnTo>
                        <a:lnTo>
                          <a:pt x="1686" y="142"/>
                        </a:lnTo>
                        <a:lnTo>
                          <a:pt x="1744" y="134"/>
                        </a:lnTo>
                        <a:lnTo>
                          <a:pt x="1744" y="134"/>
                        </a:lnTo>
                        <a:lnTo>
                          <a:pt x="1772" y="130"/>
                        </a:lnTo>
                        <a:lnTo>
                          <a:pt x="1802" y="130"/>
                        </a:lnTo>
                        <a:lnTo>
                          <a:pt x="1864" y="130"/>
                        </a:lnTo>
                        <a:lnTo>
                          <a:pt x="1926" y="130"/>
                        </a:lnTo>
                        <a:lnTo>
                          <a:pt x="1956" y="128"/>
                        </a:lnTo>
                        <a:lnTo>
                          <a:pt x="1984" y="124"/>
                        </a:lnTo>
                        <a:lnTo>
                          <a:pt x="1984" y="124"/>
                        </a:lnTo>
                        <a:lnTo>
                          <a:pt x="2020" y="114"/>
                        </a:lnTo>
                        <a:lnTo>
                          <a:pt x="2054" y="104"/>
                        </a:lnTo>
                        <a:lnTo>
                          <a:pt x="2066" y="98"/>
                        </a:lnTo>
                        <a:lnTo>
                          <a:pt x="2072" y="92"/>
                        </a:lnTo>
                        <a:lnTo>
                          <a:pt x="2072" y="90"/>
                        </a:lnTo>
                        <a:lnTo>
                          <a:pt x="2070" y="88"/>
                        </a:lnTo>
                        <a:lnTo>
                          <a:pt x="2062" y="84"/>
                        </a:lnTo>
                        <a:lnTo>
                          <a:pt x="2062" y="84"/>
                        </a:lnTo>
                        <a:lnTo>
                          <a:pt x="2034" y="78"/>
                        </a:lnTo>
                        <a:lnTo>
                          <a:pt x="2004" y="72"/>
                        </a:lnTo>
                        <a:lnTo>
                          <a:pt x="1988" y="70"/>
                        </a:lnTo>
                        <a:lnTo>
                          <a:pt x="1970" y="68"/>
                        </a:lnTo>
                        <a:lnTo>
                          <a:pt x="1952" y="70"/>
                        </a:lnTo>
                        <a:lnTo>
                          <a:pt x="1932" y="72"/>
                        </a:lnTo>
                        <a:lnTo>
                          <a:pt x="1932" y="72"/>
                        </a:lnTo>
                        <a:lnTo>
                          <a:pt x="1914" y="76"/>
                        </a:lnTo>
                        <a:lnTo>
                          <a:pt x="1916" y="74"/>
                        </a:lnTo>
                        <a:lnTo>
                          <a:pt x="1922" y="70"/>
                        </a:lnTo>
                        <a:lnTo>
                          <a:pt x="1930" y="64"/>
                        </a:lnTo>
                        <a:lnTo>
                          <a:pt x="1936" y="58"/>
                        </a:lnTo>
                        <a:lnTo>
                          <a:pt x="1938" y="56"/>
                        </a:lnTo>
                        <a:lnTo>
                          <a:pt x="1938" y="52"/>
                        </a:lnTo>
                        <a:lnTo>
                          <a:pt x="1936" y="50"/>
                        </a:lnTo>
                        <a:lnTo>
                          <a:pt x="1932" y="46"/>
                        </a:lnTo>
                        <a:lnTo>
                          <a:pt x="1932" y="46"/>
                        </a:lnTo>
                        <a:lnTo>
                          <a:pt x="1922" y="42"/>
                        </a:lnTo>
                        <a:lnTo>
                          <a:pt x="1912" y="42"/>
                        </a:lnTo>
                        <a:lnTo>
                          <a:pt x="1898" y="42"/>
                        </a:lnTo>
                        <a:lnTo>
                          <a:pt x="1884" y="46"/>
                        </a:lnTo>
                        <a:lnTo>
                          <a:pt x="1866" y="48"/>
                        </a:lnTo>
                        <a:lnTo>
                          <a:pt x="1846" y="50"/>
                        </a:lnTo>
                        <a:lnTo>
                          <a:pt x="1822" y="52"/>
                        </a:lnTo>
                        <a:lnTo>
                          <a:pt x="1794" y="50"/>
                        </a:lnTo>
                        <a:lnTo>
                          <a:pt x="1794" y="50"/>
                        </a:lnTo>
                        <a:lnTo>
                          <a:pt x="1766" y="48"/>
                        </a:lnTo>
                        <a:lnTo>
                          <a:pt x="1744" y="48"/>
                        </a:lnTo>
                        <a:lnTo>
                          <a:pt x="1724" y="52"/>
                        </a:lnTo>
                        <a:lnTo>
                          <a:pt x="1708" y="54"/>
                        </a:lnTo>
                        <a:lnTo>
                          <a:pt x="1678" y="60"/>
                        </a:lnTo>
                        <a:lnTo>
                          <a:pt x="1660" y="60"/>
                        </a:lnTo>
                        <a:lnTo>
                          <a:pt x="1638" y="60"/>
                        </a:lnTo>
                        <a:lnTo>
                          <a:pt x="1638" y="60"/>
                        </a:lnTo>
                        <a:lnTo>
                          <a:pt x="1622" y="58"/>
                        </a:lnTo>
                        <a:lnTo>
                          <a:pt x="1616" y="56"/>
                        </a:lnTo>
                        <a:lnTo>
                          <a:pt x="1618" y="54"/>
                        </a:lnTo>
                        <a:lnTo>
                          <a:pt x="1628" y="52"/>
                        </a:lnTo>
                        <a:lnTo>
                          <a:pt x="1692" y="46"/>
                        </a:lnTo>
                        <a:lnTo>
                          <a:pt x="1692" y="46"/>
                        </a:lnTo>
                        <a:lnTo>
                          <a:pt x="1734" y="44"/>
                        </a:lnTo>
                        <a:lnTo>
                          <a:pt x="1794" y="42"/>
                        </a:lnTo>
                        <a:lnTo>
                          <a:pt x="1852" y="38"/>
                        </a:lnTo>
                        <a:lnTo>
                          <a:pt x="1894" y="34"/>
                        </a:lnTo>
                        <a:lnTo>
                          <a:pt x="1894" y="34"/>
                        </a:lnTo>
                        <a:lnTo>
                          <a:pt x="1900" y="32"/>
                        </a:lnTo>
                        <a:lnTo>
                          <a:pt x="1902" y="32"/>
                        </a:lnTo>
                        <a:lnTo>
                          <a:pt x="1902" y="30"/>
                        </a:lnTo>
                        <a:lnTo>
                          <a:pt x="1898" y="28"/>
                        </a:lnTo>
                        <a:lnTo>
                          <a:pt x="1882" y="24"/>
                        </a:lnTo>
                        <a:lnTo>
                          <a:pt x="1858" y="20"/>
                        </a:lnTo>
                        <a:lnTo>
                          <a:pt x="1798" y="12"/>
                        </a:lnTo>
                        <a:lnTo>
                          <a:pt x="1732" y="6"/>
                        </a:lnTo>
                        <a:lnTo>
                          <a:pt x="1732" y="6"/>
                        </a:lnTo>
                        <a:lnTo>
                          <a:pt x="1686" y="2"/>
                        </a:lnTo>
                        <a:lnTo>
                          <a:pt x="1648" y="0"/>
                        </a:lnTo>
                        <a:lnTo>
                          <a:pt x="1618" y="2"/>
                        </a:lnTo>
                        <a:lnTo>
                          <a:pt x="1594" y="2"/>
                        </a:lnTo>
                        <a:lnTo>
                          <a:pt x="1552" y="6"/>
                        </a:lnTo>
                        <a:lnTo>
                          <a:pt x="1528" y="8"/>
                        </a:lnTo>
                        <a:lnTo>
                          <a:pt x="1504" y="6"/>
                        </a:lnTo>
                        <a:lnTo>
                          <a:pt x="1504" y="6"/>
                        </a:lnTo>
                        <a:lnTo>
                          <a:pt x="1480" y="6"/>
                        </a:lnTo>
                        <a:lnTo>
                          <a:pt x="1466" y="8"/>
                        </a:lnTo>
                        <a:lnTo>
                          <a:pt x="1460" y="10"/>
                        </a:lnTo>
                        <a:lnTo>
                          <a:pt x="1458" y="14"/>
                        </a:lnTo>
                        <a:lnTo>
                          <a:pt x="1458" y="16"/>
                        </a:lnTo>
                        <a:lnTo>
                          <a:pt x="1458" y="18"/>
                        </a:lnTo>
                        <a:lnTo>
                          <a:pt x="1452" y="18"/>
                        </a:lnTo>
                        <a:lnTo>
                          <a:pt x="1442" y="16"/>
                        </a:lnTo>
                        <a:lnTo>
                          <a:pt x="1442" y="16"/>
                        </a:lnTo>
                        <a:lnTo>
                          <a:pt x="1420" y="12"/>
                        </a:lnTo>
                        <a:lnTo>
                          <a:pt x="1410" y="14"/>
                        </a:lnTo>
                        <a:lnTo>
                          <a:pt x="1400" y="16"/>
                        </a:lnTo>
                        <a:lnTo>
                          <a:pt x="1384" y="18"/>
                        </a:lnTo>
                        <a:lnTo>
                          <a:pt x="1384" y="18"/>
                        </a:lnTo>
                        <a:lnTo>
                          <a:pt x="1374" y="18"/>
                        </a:lnTo>
                        <a:lnTo>
                          <a:pt x="1368" y="20"/>
                        </a:lnTo>
                        <a:lnTo>
                          <a:pt x="1366" y="24"/>
                        </a:lnTo>
                        <a:lnTo>
                          <a:pt x="1366" y="28"/>
                        </a:lnTo>
                        <a:lnTo>
                          <a:pt x="1370" y="32"/>
                        </a:lnTo>
                        <a:lnTo>
                          <a:pt x="1378" y="36"/>
                        </a:lnTo>
                        <a:lnTo>
                          <a:pt x="1388" y="40"/>
                        </a:lnTo>
                        <a:lnTo>
                          <a:pt x="1402" y="44"/>
                        </a:lnTo>
                        <a:lnTo>
                          <a:pt x="1402" y="44"/>
                        </a:lnTo>
                        <a:lnTo>
                          <a:pt x="1412" y="46"/>
                        </a:lnTo>
                        <a:lnTo>
                          <a:pt x="1416" y="46"/>
                        </a:lnTo>
                        <a:lnTo>
                          <a:pt x="1412" y="48"/>
                        </a:lnTo>
                        <a:lnTo>
                          <a:pt x="1406" y="50"/>
                        </a:lnTo>
                        <a:lnTo>
                          <a:pt x="1386" y="52"/>
                        </a:lnTo>
                        <a:lnTo>
                          <a:pt x="1378" y="54"/>
                        </a:lnTo>
                        <a:lnTo>
                          <a:pt x="1372" y="56"/>
                        </a:lnTo>
                        <a:lnTo>
                          <a:pt x="1372" y="56"/>
                        </a:lnTo>
                        <a:lnTo>
                          <a:pt x="1356" y="62"/>
                        </a:lnTo>
                        <a:lnTo>
                          <a:pt x="1332" y="64"/>
                        </a:lnTo>
                        <a:lnTo>
                          <a:pt x="1318" y="66"/>
                        </a:lnTo>
                        <a:lnTo>
                          <a:pt x="1304" y="64"/>
                        </a:lnTo>
                        <a:lnTo>
                          <a:pt x="1290" y="62"/>
                        </a:lnTo>
                        <a:lnTo>
                          <a:pt x="1278" y="56"/>
                        </a:lnTo>
                        <a:lnTo>
                          <a:pt x="1278" y="56"/>
                        </a:lnTo>
                        <a:lnTo>
                          <a:pt x="1254" y="46"/>
                        </a:lnTo>
                        <a:lnTo>
                          <a:pt x="1242" y="42"/>
                        </a:lnTo>
                        <a:lnTo>
                          <a:pt x="1228" y="38"/>
                        </a:lnTo>
                        <a:lnTo>
                          <a:pt x="1212" y="36"/>
                        </a:lnTo>
                        <a:lnTo>
                          <a:pt x="1194" y="34"/>
                        </a:lnTo>
                        <a:lnTo>
                          <a:pt x="1176" y="36"/>
                        </a:lnTo>
                        <a:lnTo>
                          <a:pt x="1154" y="38"/>
                        </a:lnTo>
                        <a:lnTo>
                          <a:pt x="1154" y="38"/>
                        </a:lnTo>
                        <a:lnTo>
                          <a:pt x="1114" y="44"/>
                        </a:lnTo>
                        <a:lnTo>
                          <a:pt x="1078" y="48"/>
                        </a:lnTo>
                        <a:lnTo>
                          <a:pt x="1064" y="50"/>
                        </a:lnTo>
                        <a:lnTo>
                          <a:pt x="1054" y="54"/>
                        </a:lnTo>
                        <a:lnTo>
                          <a:pt x="1048" y="56"/>
                        </a:lnTo>
                        <a:lnTo>
                          <a:pt x="1048" y="58"/>
                        </a:lnTo>
                        <a:lnTo>
                          <a:pt x="1048" y="60"/>
                        </a:lnTo>
                        <a:lnTo>
                          <a:pt x="1048" y="60"/>
                        </a:lnTo>
                        <a:lnTo>
                          <a:pt x="1054" y="64"/>
                        </a:lnTo>
                        <a:lnTo>
                          <a:pt x="1062" y="66"/>
                        </a:lnTo>
                        <a:lnTo>
                          <a:pt x="1092" y="68"/>
                        </a:lnTo>
                        <a:lnTo>
                          <a:pt x="1128" y="66"/>
                        </a:lnTo>
                        <a:lnTo>
                          <a:pt x="1170" y="66"/>
                        </a:lnTo>
                        <a:lnTo>
                          <a:pt x="1170" y="66"/>
                        </a:lnTo>
                        <a:lnTo>
                          <a:pt x="1208" y="68"/>
                        </a:lnTo>
                        <a:lnTo>
                          <a:pt x="1246" y="72"/>
                        </a:lnTo>
                        <a:lnTo>
                          <a:pt x="1280" y="76"/>
                        </a:lnTo>
                        <a:lnTo>
                          <a:pt x="1314" y="82"/>
                        </a:lnTo>
                        <a:lnTo>
                          <a:pt x="1314" y="82"/>
                        </a:lnTo>
                        <a:lnTo>
                          <a:pt x="1326" y="86"/>
                        </a:lnTo>
                        <a:lnTo>
                          <a:pt x="1332" y="88"/>
                        </a:lnTo>
                        <a:lnTo>
                          <a:pt x="1332" y="90"/>
                        </a:lnTo>
                        <a:lnTo>
                          <a:pt x="1332" y="90"/>
                        </a:lnTo>
                        <a:lnTo>
                          <a:pt x="1326" y="92"/>
                        </a:lnTo>
                        <a:lnTo>
                          <a:pt x="1308" y="92"/>
                        </a:lnTo>
                        <a:lnTo>
                          <a:pt x="1294" y="90"/>
                        </a:lnTo>
                        <a:lnTo>
                          <a:pt x="1282" y="88"/>
                        </a:lnTo>
                        <a:lnTo>
                          <a:pt x="1282" y="88"/>
                        </a:lnTo>
                        <a:lnTo>
                          <a:pt x="1268" y="84"/>
                        </a:lnTo>
                        <a:lnTo>
                          <a:pt x="1252" y="82"/>
                        </a:lnTo>
                        <a:lnTo>
                          <a:pt x="1214" y="78"/>
                        </a:lnTo>
                        <a:lnTo>
                          <a:pt x="1110" y="74"/>
                        </a:lnTo>
                        <a:lnTo>
                          <a:pt x="1110" y="74"/>
                        </a:lnTo>
                        <a:lnTo>
                          <a:pt x="1092" y="76"/>
                        </a:lnTo>
                        <a:lnTo>
                          <a:pt x="1090" y="76"/>
                        </a:lnTo>
                        <a:lnTo>
                          <a:pt x="1092" y="78"/>
                        </a:lnTo>
                        <a:lnTo>
                          <a:pt x="1106" y="84"/>
                        </a:lnTo>
                        <a:lnTo>
                          <a:pt x="1126" y="92"/>
                        </a:lnTo>
                        <a:lnTo>
                          <a:pt x="1148" y="100"/>
                        </a:lnTo>
                        <a:lnTo>
                          <a:pt x="1164" y="108"/>
                        </a:lnTo>
                        <a:lnTo>
                          <a:pt x="1168" y="110"/>
                        </a:lnTo>
                        <a:lnTo>
                          <a:pt x="1168" y="114"/>
                        </a:lnTo>
                        <a:lnTo>
                          <a:pt x="1164" y="116"/>
                        </a:lnTo>
                        <a:lnTo>
                          <a:pt x="1154" y="116"/>
                        </a:lnTo>
                        <a:lnTo>
                          <a:pt x="1154" y="116"/>
                        </a:lnTo>
                        <a:lnTo>
                          <a:pt x="1146" y="118"/>
                        </a:lnTo>
                        <a:lnTo>
                          <a:pt x="1142" y="120"/>
                        </a:lnTo>
                        <a:lnTo>
                          <a:pt x="1138" y="122"/>
                        </a:lnTo>
                        <a:lnTo>
                          <a:pt x="1138" y="126"/>
                        </a:lnTo>
                        <a:lnTo>
                          <a:pt x="1136" y="132"/>
                        </a:lnTo>
                        <a:lnTo>
                          <a:pt x="1138" y="140"/>
                        </a:lnTo>
                        <a:lnTo>
                          <a:pt x="1142" y="148"/>
                        </a:lnTo>
                        <a:lnTo>
                          <a:pt x="1142" y="156"/>
                        </a:lnTo>
                        <a:lnTo>
                          <a:pt x="1142" y="158"/>
                        </a:lnTo>
                        <a:lnTo>
                          <a:pt x="1140" y="160"/>
                        </a:lnTo>
                        <a:lnTo>
                          <a:pt x="1136" y="162"/>
                        </a:lnTo>
                        <a:lnTo>
                          <a:pt x="1132" y="164"/>
                        </a:lnTo>
                        <a:lnTo>
                          <a:pt x="1132" y="164"/>
                        </a:lnTo>
                        <a:lnTo>
                          <a:pt x="1122" y="164"/>
                        </a:lnTo>
                        <a:lnTo>
                          <a:pt x="1114" y="162"/>
                        </a:lnTo>
                        <a:lnTo>
                          <a:pt x="1108" y="158"/>
                        </a:lnTo>
                        <a:lnTo>
                          <a:pt x="1102" y="152"/>
                        </a:lnTo>
                        <a:lnTo>
                          <a:pt x="1094" y="146"/>
                        </a:lnTo>
                        <a:lnTo>
                          <a:pt x="1084" y="142"/>
                        </a:lnTo>
                        <a:lnTo>
                          <a:pt x="1070" y="136"/>
                        </a:lnTo>
                        <a:lnTo>
                          <a:pt x="1052" y="132"/>
                        </a:lnTo>
                        <a:lnTo>
                          <a:pt x="1052" y="132"/>
                        </a:lnTo>
                        <a:lnTo>
                          <a:pt x="1034" y="128"/>
                        </a:lnTo>
                        <a:lnTo>
                          <a:pt x="1016" y="124"/>
                        </a:lnTo>
                        <a:lnTo>
                          <a:pt x="986" y="114"/>
                        </a:lnTo>
                        <a:lnTo>
                          <a:pt x="954" y="104"/>
                        </a:lnTo>
                        <a:lnTo>
                          <a:pt x="936" y="100"/>
                        </a:lnTo>
                        <a:lnTo>
                          <a:pt x="916" y="98"/>
                        </a:lnTo>
                        <a:lnTo>
                          <a:pt x="916" y="98"/>
                        </a:lnTo>
                        <a:lnTo>
                          <a:pt x="896" y="98"/>
                        </a:lnTo>
                        <a:lnTo>
                          <a:pt x="884" y="100"/>
                        </a:lnTo>
                        <a:lnTo>
                          <a:pt x="876" y="102"/>
                        </a:lnTo>
                        <a:lnTo>
                          <a:pt x="874" y="104"/>
                        </a:lnTo>
                        <a:lnTo>
                          <a:pt x="874" y="106"/>
                        </a:lnTo>
                        <a:lnTo>
                          <a:pt x="876" y="112"/>
                        </a:lnTo>
                        <a:lnTo>
                          <a:pt x="884" y="118"/>
                        </a:lnTo>
                        <a:lnTo>
                          <a:pt x="914" y="138"/>
                        </a:lnTo>
                        <a:lnTo>
                          <a:pt x="914" y="138"/>
                        </a:lnTo>
                        <a:lnTo>
                          <a:pt x="926" y="146"/>
                        </a:lnTo>
                        <a:lnTo>
                          <a:pt x="928" y="148"/>
                        </a:lnTo>
                        <a:lnTo>
                          <a:pt x="928" y="150"/>
                        </a:lnTo>
                        <a:lnTo>
                          <a:pt x="922" y="150"/>
                        </a:lnTo>
                        <a:lnTo>
                          <a:pt x="912" y="148"/>
                        </a:lnTo>
                        <a:lnTo>
                          <a:pt x="900" y="148"/>
                        </a:lnTo>
                        <a:lnTo>
                          <a:pt x="888" y="148"/>
                        </a:lnTo>
                        <a:lnTo>
                          <a:pt x="884" y="148"/>
                        </a:lnTo>
                        <a:lnTo>
                          <a:pt x="882" y="150"/>
                        </a:lnTo>
                        <a:lnTo>
                          <a:pt x="882" y="154"/>
                        </a:lnTo>
                        <a:lnTo>
                          <a:pt x="884" y="158"/>
                        </a:lnTo>
                        <a:lnTo>
                          <a:pt x="884" y="158"/>
                        </a:lnTo>
                        <a:lnTo>
                          <a:pt x="886" y="160"/>
                        </a:lnTo>
                        <a:lnTo>
                          <a:pt x="886" y="162"/>
                        </a:lnTo>
                        <a:lnTo>
                          <a:pt x="878" y="160"/>
                        </a:lnTo>
                        <a:lnTo>
                          <a:pt x="866" y="156"/>
                        </a:lnTo>
                        <a:lnTo>
                          <a:pt x="850" y="150"/>
                        </a:lnTo>
                        <a:lnTo>
                          <a:pt x="834" y="148"/>
                        </a:lnTo>
                        <a:lnTo>
                          <a:pt x="824" y="148"/>
                        </a:lnTo>
                        <a:lnTo>
                          <a:pt x="814" y="148"/>
                        </a:lnTo>
                        <a:lnTo>
                          <a:pt x="806" y="152"/>
                        </a:lnTo>
                        <a:lnTo>
                          <a:pt x="796" y="156"/>
                        </a:lnTo>
                        <a:lnTo>
                          <a:pt x="788" y="164"/>
                        </a:lnTo>
                        <a:lnTo>
                          <a:pt x="782" y="172"/>
                        </a:lnTo>
                        <a:lnTo>
                          <a:pt x="782" y="172"/>
                        </a:lnTo>
                        <a:lnTo>
                          <a:pt x="770" y="190"/>
                        </a:lnTo>
                        <a:lnTo>
                          <a:pt x="772" y="180"/>
                        </a:lnTo>
                        <a:lnTo>
                          <a:pt x="776" y="168"/>
                        </a:lnTo>
                        <a:lnTo>
                          <a:pt x="776" y="154"/>
                        </a:lnTo>
                        <a:lnTo>
                          <a:pt x="774" y="138"/>
                        </a:lnTo>
                        <a:lnTo>
                          <a:pt x="772" y="132"/>
                        </a:lnTo>
                        <a:lnTo>
                          <a:pt x="766" y="124"/>
                        </a:lnTo>
                        <a:lnTo>
                          <a:pt x="766" y="124"/>
                        </a:lnTo>
                        <a:lnTo>
                          <a:pt x="756" y="114"/>
                        </a:lnTo>
                        <a:lnTo>
                          <a:pt x="746" y="108"/>
                        </a:lnTo>
                        <a:lnTo>
                          <a:pt x="732" y="108"/>
                        </a:lnTo>
                        <a:lnTo>
                          <a:pt x="716" y="110"/>
                        </a:lnTo>
                        <a:lnTo>
                          <a:pt x="672" y="120"/>
                        </a:lnTo>
                        <a:lnTo>
                          <a:pt x="640" y="126"/>
                        </a:lnTo>
                        <a:lnTo>
                          <a:pt x="598" y="130"/>
                        </a:lnTo>
                        <a:lnTo>
                          <a:pt x="598" y="130"/>
                        </a:lnTo>
                        <a:lnTo>
                          <a:pt x="558" y="136"/>
                        </a:lnTo>
                        <a:lnTo>
                          <a:pt x="526" y="140"/>
                        </a:lnTo>
                        <a:lnTo>
                          <a:pt x="502" y="146"/>
                        </a:lnTo>
                        <a:lnTo>
                          <a:pt x="484" y="152"/>
                        </a:lnTo>
                        <a:lnTo>
                          <a:pt x="472" y="156"/>
                        </a:lnTo>
                        <a:lnTo>
                          <a:pt x="466" y="164"/>
                        </a:lnTo>
                        <a:lnTo>
                          <a:pt x="466" y="166"/>
                        </a:lnTo>
                        <a:lnTo>
                          <a:pt x="466" y="170"/>
                        </a:lnTo>
                        <a:lnTo>
                          <a:pt x="470" y="176"/>
                        </a:lnTo>
                        <a:lnTo>
                          <a:pt x="470" y="17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grpSp>
            <p:sp>
              <p:nvSpPr>
                <p:cNvPr id="185" name="Freeform 6119"/>
                <p:cNvSpPr>
                  <a:spLocks/>
                </p:cNvSpPr>
                <p:nvPr/>
              </p:nvSpPr>
              <p:spPr bwMode="auto">
                <a:xfrm>
                  <a:off x="2402840" y="3076893"/>
                  <a:ext cx="17780" cy="27940"/>
                </a:xfrm>
                <a:custGeom>
                  <a:avLst/>
                  <a:gdLst/>
                  <a:ahLst/>
                  <a:cxnLst>
                    <a:cxn ang="0">
                      <a:pos x="22" y="36"/>
                    </a:cxn>
                    <a:cxn ang="0">
                      <a:pos x="22" y="36"/>
                    </a:cxn>
                    <a:cxn ang="0">
                      <a:pos x="26" y="32"/>
                    </a:cxn>
                    <a:cxn ang="0">
                      <a:pos x="28" y="28"/>
                    </a:cxn>
                    <a:cxn ang="0">
                      <a:pos x="26" y="22"/>
                    </a:cxn>
                    <a:cxn ang="0">
                      <a:pos x="20" y="16"/>
                    </a:cxn>
                    <a:cxn ang="0">
                      <a:pos x="20" y="16"/>
                    </a:cxn>
                    <a:cxn ang="0">
                      <a:pos x="16" y="10"/>
                    </a:cxn>
                    <a:cxn ang="0">
                      <a:pos x="14" y="4"/>
                    </a:cxn>
                    <a:cxn ang="0">
                      <a:pos x="14" y="0"/>
                    </a:cxn>
                    <a:cxn ang="0">
                      <a:pos x="10" y="0"/>
                    </a:cxn>
                    <a:cxn ang="0">
                      <a:pos x="10" y="0"/>
                    </a:cxn>
                    <a:cxn ang="0">
                      <a:pos x="6" y="0"/>
                    </a:cxn>
                    <a:cxn ang="0">
                      <a:pos x="6" y="4"/>
                    </a:cxn>
                    <a:cxn ang="0">
                      <a:pos x="6" y="12"/>
                    </a:cxn>
                    <a:cxn ang="0">
                      <a:pos x="2" y="20"/>
                    </a:cxn>
                    <a:cxn ang="0">
                      <a:pos x="2" y="20"/>
                    </a:cxn>
                    <a:cxn ang="0">
                      <a:pos x="0" y="28"/>
                    </a:cxn>
                    <a:cxn ang="0">
                      <a:pos x="2" y="32"/>
                    </a:cxn>
                    <a:cxn ang="0">
                      <a:pos x="6" y="36"/>
                    </a:cxn>
                    <a:cxn ang="0">
                      <a:pos x="12" y="42"/>
                    </a:cxn>
                    <a:cxn ang="0">
                      <a:pos x="12" y="42"/>
                    </a:cxn>
                    <a:cxn ang="0">
                      <a:pos x="16" y="44"/>
                    </a:cxn>
                    <a:cxn ang="0">
                      <a:pos x="18" y="42"/>
                    </a:cxn>
                    <a:cxn ang="0">
                      <a:pos x="22" y="36"/>
                    </a:cxn>
                    <a:cxn ang="0">
                      <a:pos x="22" y="36"/>
                    </a:cxn>
                  </a:cxnLst>
                  <a:rect l="0" t="0" r="r" b="b"/>
                  <a:pathLst>
                    <a:path w="28" h="44">
                      <a:moveTo>
                        <a:pt x="22" y="36"/>
                      </a:moveTo>
                      <a:lnTo>
                        <a:pt x="22" y="36"/>
                      </a:lnTo>
                      <a:lnTo>
                        <a:pt x="26" y="32"/>
                      </a:lnTo>
                      <a:lnTo>
                        <a:pt x="28" y="28"/>
                      </a:lnTo>
                      <a:lnTo>
                        <a:pt x="26" y="22"/>
                      </a:lnTo>
                      <a:lnTo>
                        <a:pt x="20" y="16"/>
                      </a:lnTo>
                      <a:lnTo>
                        <a:pt x="20" y="16"/>
                      </a:lnTo>
                      <a:lnTo>
                        <a:pt x="16" y="10"/>
                      </a:lnTo>
                      <a:lnTo>
                        <a:pt x="14" y="4"/>
                      </a:lnTo>
                      <a:lnTo>
                        <a:pt x="14" y="0"/>
                      </a:lnTo>
                      <a:lnTo>
                        <a:pt x="10" y="0"/>
                      </a:lnTo>
                      <a:lnTo>
                        <a:pt x="10" y="0"/>
                      </a:lnTo>
                      <a:lnTo>
                        <a:pt x="6" y="0"/>
                      </a:lnTo>
                      <a:lnTo>
                        <a:pt x="6" y="4"/>
                      </a:lnTo>
                      <a:lnTo>
                        <a:pt x="6" y="12"/>
                      </a:lnTo>
                      <a:lnTo>
                        <a:pt x="2" y="20"/>
                      </a:lnTo>
                      <a:lnTo>
                        <a:pt x="2" y="20"/>
                      </a:lnTo>
                      <a:lnTo>
                        <a:pt x="0" y="28"/>
                      </a:lnTo>
                      <a:lnTo>
                        <a:pt x="2" y="32"/>
                      </a:lnTo>
                      <a:lnTo>
                        <a:pt x="6" y="36"/>
                      </a:lnTo>
                      <a:lnTo>
                        <a:pt x="12" y="42"/>
                      </a:lnTo>
                      <a:lnTo>
                        <a:pt x="12" y="42"/>
                      </a:lnTo>
                      <a:lnTo>
                        <a:pt x="16" y="44"/>
                      </a:lnTo>
                      <a:lnTo>
                        <a:pt x="18" y="42"/>
                      </a:lnTo>
                      <a:lnTo>
                        <a:pt x="22" y="36"/>
                      </a:lnTo>
                      <a:lnTo>
                        <a:pt x="22" y="3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6" name="Freeform 6120"/>
                <p:cNvSpPr>
                  <a:spLocks/>
                </p:cNvSpPr>
                <p:nvPr/>
              </p:nvSpPr>
              <p:spPr bwMode="auto">
                <a:xfrm>
                  <a:off x="2655570" y="3485833"/>
                  <a:ext cx="5080" cy="10160"/>
                </a:xfrm>
                <a:custGeom>
                  <a:avLst/>
                  <a:gdLst/>
                  <a:ahLst/>
                  <a:cxnLst>
                    <a:cxn ang="0">
                      <a:pos x="2" y="6"/>
                    </a:cxn>
                    <a:cxn ang="0">
                      <a:pos x="2" y="6"/>
                    </a:cxn>
                    <a:cxn ang="0">
                      <a:pos x="4" y="10"/>
                    </a:cxn>
                    <a:cxn ang="0">
                      <a:pos x="6" y="16"/>
                    </a:cxn>
                    <a:cxn ang="0">
                      <a:pos x="6" y="16"/>
                    </a:cxn>
                    <a:cxn ang="0">
                      <a:pos x="6" y="16"/>
                    </a:cxn>
                    <a:cxn ang="0">
                      <a:pos x="8" y="16"/>
                    </a:cxn>
                    <a:cxn ang="0">
                      <a:pos x="8" y="12"/>
                    </a:cxn>
                    <a:cxn ang="0">
                      <a:pos x="8" y="6"/>
                    </a:cxn>
                    <a:cxn ang="0">
                      <a:pos x="8" y="4"/>
                    </a:cxn>
                    <a:cxn ang="0">
                      <a:pos x="6" y="2"/>
                    </a:cxn>
                    <a:cxn ang="0">
                      <a:pos x="6" y="2"/>
                    </a:cxn>
                    <a:cxn ang="0">
                      <a:pos x="2" y="0"/>
                    </a:cxn>
                    <a:cxn ang="0">
                      <a:pos x="0" y="2"/>
                    </a:cxn>
                    <a:cxn ang="0">
                      <a:pos x="0" y="4"/>
                    </a:cxn>
                    <a:cxn ang="0">
                      <a:pos x="2" y="6"/>
                    </a:cxn>
                    <a:cxn ang="0">
                      <a:pos x="2" y="6"/>
                    </a:cxn>
                  </a:cxnLst>
                  <a:rect l="0" t="0" r="r" b="b"/>
                  <a:pathLst>
                    <a:path w="8" h="16">
                      <a:moveTo>
                        <a:pt x="2" y="6"/>
                      </a:moveTo>
                      <a:lnTo>
                        <a:pt x="2" y="6"/>
                      </a:lnTo>
                      <a:lnTo>
                        <a:pt x="4" y="10"/>
                      </a:lnTo>
                      <a:lnTo>
                        <a:pt x="6" y="16"/>
                      </a:lnTo>
                      <a:lnTo>
                        <a:pt x="6" y="16"/>
                      </a:lnTo>
                      <a:lnTo>
                        <a:pt x="6" y="16"/>
                      </a:lnTo>
                      <a:lnTo>
                        <a:pt x="8" y="16"/>
                      </a:lnTo>
                      <a:lnTo>
                        <a:pt x="8" y="12"/>
                      </a:lnTo>
                      <a:lnTo>
                        <a:pt x="8" y="6"/>
                      </a:lnTo>
                      <a:lnTo>
                        <a:pt x="8" y="4"/>
                      </a:lnTo>
                      <a:lnTo>
                        <a:pt x="6" y="2"/>
                      </a:lnTo>
                      <a:lnTo>
                        <a:pt x="6" y="2"/>
                      </a:lnTo>
                      <a:lnTo>
                        <a:pt x="2" y="0"/>
                      </a:lnTo>
                      <a:lnTo>
                        <a:pt x="0" y="2"/>
                      </a:lnTo>
                      <a:lnTo>
                        <a:pt x="0" y="4"/>
                      </a:lnTo>
                      <a:lnTo>
                        <a:pt x="2" y="6"/>
                      </a:lnTo>
                      <a:lnTo>
                        <a:pt x="2"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7" name="Freeform 6121"/>
                <p:cNvSpPr>
                  <a:spLocks/>
                </p:cNvSpPr>
                <p:nvPr/>
              </p:nvSpPr>
              <p:spPr bwMode="auto">
                <a:xfrm>
                  <a:off x="2503170" y="3153093"/>
                  <a:ext cx="13970" cy="20320"/>
                </a:xfrm>
                <a:custGeom>
                  <a:avLst/>
                  <a:gdLst/>
                  <a:ahLst/>
                  <a:cxnLst>
                    <a:cxn ang="0">
                      <a:pos x="6" y="0"/>
                    </a:cxn>
                    <a:cxn ang="0">
                      <a:pos x="6" y="0"/>
                    </a:cxn>
                    <a:cxn ang="0">
                      <a:pos x="2" y="0"/>
                    </a:cxn>
                    <a:cxn ang="0">
                      <a:pos x="0" y="0"/>
                    </a:cxn>
                    <a:cxn ang="0">
                      <a:pos x="2" y="4"/>
                    </a:cxn>
                    <a:cxn ang="0">
                      <a:pos x="6" y="8"/>
                    </a:cxn>
                    <a:cxn ang="0">
                      <a:pos x="8" y="10"/>
                    </a:cxn>
                    <a:cxn ang="0">
                      <a:pos x="10" y="10"/>
                    </a:cxn>
                    <a:cxn ang="0">
                      <a:pos x="10" y="10"/>
                    </a:cxn>
                    <a:cxn ang="0">
                      <a:pos x="14" y="10"/>
                    </a:cxn>
                    <a:cxn ang="0">
                      <a:pos x="16" y="12"/>
                    </a:cxn>
                    <a:cxn ang="0">
                      <a:pos x="16" y="16"/>
                    </a:cxn>
                    <a:cxn ang="0">
                      <a:pos x="12" y="22"/>
                    </a:cxn>
                    <a:cxn ang="0">
                      <a:pos x="12" y="22"/>
                    </a:cxn>
                    <a:cxn ang="0">
                      <a:pos x="8" y="28"/>
                    </a:cxn>
                    <a:cxn ang="0">
                      <a:pos x="6" y="32"/>
                    </a:cxn>
                    <a:cxn ang="0">
                      <a:pos x="6" y="32"/>
                    </a:cxn>
                    <a:cxn ang="0">
                      <a:pos x="6" y="32"/>
                    </a:cxn>
                    <a:cxn ang="0">
                      <a:pos x="12" y="28"/>
                    </a:cxn>
                    <a:cxn ang="0">
                      <a:pos x="12" y="28"/>
                    </a:cxn>
                    <a:cxn ang="0">
                      <a:pos x="18" y="22"/>
                    </a:cxn>
                    <a:cxn ang="0">
                      <a:pos x="20" y="18"/>
                    </a:cxn>
                    <a:cxn ang="0">
                      <a:pos x="22" y="12"/>
                    </a:cxn>
                    <a:cxn ang="0">
                      <a:pos x="20" y="6"/>
                    </a:cxn>
                    <a:cxn ang="0">
                      <a:pos x="20" y="6"/>
                    </a:cxn>
                    <a:cxn ang="0">
                      <a:pos x="20" y="2"/>
                    </a:cxn>
                    <a:cxn ang="0">
                      <a:pos x="18" y="2"/>
                    </a:cxn>
                    <a:cxn ang="0">
                      <a:pos x="12" y="2"/>
                    </a:cxn>
                    <a:cxn ang="0">
                      <a:pos x="6" y="0"/>
                    </a:cxn>
                    <a:cxn ang="0">
                      <a:pos x="6" y="0"/>
                    </a:cxn>
                  </a:cxnLst>
                  <a:rect l="0" t="0" r="r" b="b"/>
                  <a:pathLst>
                    <a:path w="22" h="32">
                      <a:moveTo>
                        <a:pt x="6" y="0"/>
                      </a:moveTo>
                      <a:lnTo>
                        <a:pt x="6" y="0"/>
                      </a:lnTo>
                      <a:lnTo>
                        <a:pt x="2" y="0"/>
                      </a:lnTo>
                      <a:lnTo>
                        <a:pt x="0" y="0"/>
                      </a:lnTo>
                      <a:lnTo>
                        <a:pt x="2" y="4"/>
                      </a:lnTo>
                      <a:lnTo>
                        <a:pt x="6" y="8"/>
                      </a:lnTo>
                      <a:lnTo>
                        <a:pt x="8" y="10"/>
                      </a:lnTo>
                      <a:lnTo>
                        <a:pt x="10" y="10"/>
                      </a:lnTo>
                      <a:lnTo>
                        <a:pt x="10" y="10"/>
                      </a:lnTo>
                      <a:lnTo>
                        <a:pt x="14" y="10"/>
                      </a:lnTo>
                      <a:lnTo>
                        <a:pt x="16" y="12"/>
                      </a:lnTo>
                      <a:lnTo>
                        <a:pt x="16" y="16"/>
                      </a:lnTo>
                      <a:lnTo>
                        <a:pt x="12" y="22"/>
                      </a:lnTo>
                      <a:lnTo>
                        <a:pt x="12" y="22"/>
                      </a:lnTo>
                      <a:lnTo>
                        <a:pt x="8" y="28"/>
                      </a:lnTo>
                      <a:lnTo>
                        <a:pt x="6" y="32"/>
                      </a:lnTo>
                      <a:lnTo>
                        <a:pt x="6" y="32"/>
                      </a:lnTo>
                      <a:lnTo>
                        <a:pt x="6" y="32"/>
                      </a:lnTo>
                      <a:lnTo>
                        <a:pt x="12" y="28"/>
                      </a:lnTo>
                      <a:lnTo>
                        <a:pt x="12" y="28"/>
                      </a:lnTo>
                      <a:lnTo>
                        <a:pt x="18" y="22"/>
                      </a:lnTo>
                      <a:lnTo>
                        <a:pt x="20" y="18"/>
                      </a:lnTo>
                      <a:lnTo>
                        <a:pt x="22" y="12"/>
                      </a:lnTo>
                      <a:lnTo>
                        <a:pt x="20" y="6"/>
                      </a:lnTo>
                      <a:lnTo>
                        <a:pt x="20" y="6"/>
                      </a:lnTo>
                      <a:lnTo>
                        <a:pt x="20" y="2"/>
                      </a:lnTo>
                      <a:lnTo>
                        <a:pt x="18" y="2"/>
                      </a:lnTo>
                      <a:lnTo>
                        <a:pt x="12" y="2"/>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8" name="Freeform 6122"/>
                <p:cNvSpPr>
                  <a:spLocks/>
                </p:cNvSpPr>
                <p:nvPr/>
              </p:nvSpPr>
              <p:spPr bwMode="auto">
                <a:xfrm>
                  <a:off x="2520950" y="3201353"/>
                  <a:ext cx="17780" cy="12700"/>
                </a:xfrm>
                <a:custGeom>
                  <a:avLst/>
                  <a:gdLst/>
                  <a:ahLst/>
                  <a:cxnLst>
                    <a:cxn ang="0">
                      <a:pos x="24" y="4"/>
                    </a:cxn>
                    <a:cxn ang="0">
                      <a:pos x="24" y="4"/>
                    </a:cxn>
                    <a:cxn ang="0">
                      <a:pos x="22" y="6"/>
                    </a:cxn>
                    <a:cxn ang="0">
                      <a:pos x="20" y="8"/>
                    </a:cxn>
                    <a:cxn ang="0">
                      <a:pos x="16" y="6"/>
                    </a:cxn>
                    <a:cxn ang="0">
                      <a:pos x="10" y="6"/>
                    </a:cxn>
                    <a:cxn ang="0">
                      <a:pos x="6" y="8"/>
                    </a:cxn>
                    <a:cxn ang="0">
                      <a:pos x="2" y="14"/>
                    </a:cxn>
                    <a:cxn ang="0">
                      <a:pos x="2" y="14"/>
                    </a:cxn>
                    <a:cxn ang="0">
                      <a:pos x="0" y="16"/>
                    </a:cxn>
                    <a:cxn ang="0">
                      <a:pos x="0" y="20"/>
                    </a:cxn>
                    <a:cxn ang="0">
                      <a:pos x="4" y="20"/>
                    </a:cxn>
                    <a:cxn ang="0">
                      <a:pos x="14" y="20"/>
                    </a:cxn>
                    <a:cxn ang="0">
                      <a:pos x="14" y="20"/>
                    </a:cxn>
                    <a:cxn ang="0">
                      <a:pos x="20" y="16"/>
                    </a:cxn>
                    <a:cxn ang="0">
                      <a:pos x="24" y="14"/>
                    </a:cxn>
                    <a:cxn ang="0">
                      <a:pos x="26" y="10"/>
                    </a:cxn>
                    <a:cxn ang="0">
                      <a:pos x="28" y="6"/>
                    </a:cxn>
                    <a:cxn ang="0">
                      <a:pos x="26" y="0"/>
                    </a:cxn>
                    <a:cxn ang="0">
                      <a:pos x="26" y="0"/>
                    </a:cxn>
                    <a:cxn ang="0">
                      <a:pos x="24" y="4"/>
                    </a:cxn>
                    <a:cxn ang="0">
                      <a:pos x="24" y="4"/>
                    </a:cxn>
                  </a:cxnLst>
                  <a:rect l="0" t="0" r="r" b="b"/>
                  <a:pathLst>
                    <a:path w="28" h="20">
                      <a:moveTo>
                        <a:pt x="24" y="4"/>
                      </a:moveTo>
                      <a:lnTo>
                        <a:pt x="24" y="4"/>
                      </a:lnTo>
                      <a:lnTo>
                        <a:pt x="22" y="6"/>
                      </a:lnTo>
                      <a:lnTo>
                        <a:pt x="20" y="8"/>
                      </a:lnTo>
                      <a:lnTo>
                        <a:pt x="16" y="6"/>
                      </a:lnTo>
                      <a:lnTo>
                        <a:pt x="10" y="6"/>
                      </a:lnTo>
                      <a:lnTo>
                        <a:pt x="6" y="8"/>
                      </a:lnTo>
                      <a:lnTo>
                        <a:pt x="2" y="14"/>
                      </a:lnTo>
                      <a:lnTo>
                        <a:pt x="2" y="14"/>
                      </a:lnTo>
                      <a:lnTo>
                        <a:pt x="0" y="16"/>
                      </a:lnTo>
                      <a:lnTo>
                        <a:pt x="0" y="20"/>
                      </a:lnTo>
                      <a:lnTo>
                        <a:pt x="4" y="20"/>
                      </a:lnTo>
                      <a:lnTo>
                        <a:pt x="14" y="20"/>
                      </a:lnTo>
                      <a:lnTo>
                        <a:pt x="14" y="20"/>
                      </a:lnTo>
                      <a:lnTo>
                        <a:pt x="20" y="16"/>
                      </a:lnTo>
                      <a:lnTo>
                        <a:pt x="24" y="14"/>
                      </a:lnTo>
                      <a:lnTo>
                        <a:pt x="26" y="10"/>
                      </a:lnTo>
                      <a:lnTo>
                        <a:pt x="28" y="6"/>
                      </a:lnTo>
                      <a:lnTo>
                        <a:pt x="26" y="0"/>
                      </a:lnTo>
                      <a:lnTo>
                        <a:pt x="26" y="0"/>
                      </a:lnTo>
                      <a:lnTo>
                        <a:pt x="24" y="4"/>
                      </a:lnTo>
                      <a:lnTo>
                        <a:pt x="24"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9" name="Freeform 6123"/>
                <p:cNvSpPr>
                  <a:spLocks/>
                </p:cNvSpPr>
                <p:nvPr/>
              </p:nvSpPr>
              <p:spPr bwMode="auto">
                <a:xfrm>
                  <a:off x="2531110" y="3276283"/>
                  <a:ext cx="12700" cy="7620"/>
                </a:xfrm>
                <a:custGeom>
                  <a:avLst/>
                  <a:gdLst/>
                  <a:ahLst/>
                  <a:cxnLst>
                    <a:cxn ang="0">
                      <a:pos x="20" y="10"/>
                    </a:cxn>
                    <a:cxn ang="0">
                      <a:pos x="20" y="10"/>
                    </a:cxn>
                    <a:cxn ang="0">
                      <a:pos x="18" y="8"/>
                    </a:cxn>
                    <a:cxn ang="0">
                      <a:pos x="16" y="4"/>
                    </a:cxn>
                    <a:cxn ang="0">
                      <a:pos x="10" y="0"/>
                    </a:cxn>
                    <a:cxn ang="0">
                      <a:pos x="2" y="0"/>
                    </a:cxn>
                    <a:cxn ang="0">
                      <a:pos x="0" y="0"/>
                    </a:cxn>
                    <a:cxn ang="0">
                      <a:pos x="0" y="2"/>
                    </a:cxn>
                    <a:cxn ang="0">
                      <a:pos x="0" y="2"/>
                    </a:cxn>
                    <a:cxn ang="0">
                      <a:pos x="2" y="6"/>
                    </a:cxn>
                    <a:cxn ang="0">
                      <a:pos x="8" y="10"/>
                    </a:cxn>
                    <a:cxn ang="0">
                      <a:pos x="16" y="12"/>
                    </a:cxn>
                    <a:cxn ang="0">
                      <a:pos x="18" y="12"/>
                    </a:cxn>
                    <a:cxn ang="0">
                      <a:pos x="20" y="10"/>
                    </a:cxn>
                    <a:cxn ang="0">
                      <a:pos x="20" y="10"/>
                    </a:cxn>
                  </a:cxnLst>
                  <a:rect l="0" t="0" r="r" b="b"/>
                  <a:pathLst>
                    <a:path w="20" h="12">
                      <a:moveTo>
                        <a:pt x="20" y="10"/>
                      </a:moveTo>
                      <a:lnTo>
                        <a:pt x="20" y="10"/>
                      </a:lnTo>
                      <a:lnTo>
                        <a:pt x="18" y="8"/>
                      </a:lnTo>
                      <a:lnTo>
                        <a:pt x="16" y="4"/>
                      </a:lnTo>
                      <a:lnTo>
                        <a:pt x="10" y="0"/>
                      </a:lnTo>
                      <a:lnTo>
                        <a:pt x="2" y="0"/>
                      </a:lnTo>
                      <a:lnTo>
                        <a:pt x="0" y="0"/>
                      </a:lnTo>
                      <a:lnTo>
                        <a:pt x="0" y="2"/>
                      </a:lnTo>
                      <a:lnTo>
                        <a:pt x="0" y="2"/>
                      </a:lnTo>
                      <a:lnTo>
                        <a:pt x="2" y="6"/>
                      </a:lnTo>
                      <a:lnTo>
                        <a:pt x="8" y="10"/>
                      </a:lnTo>
                      <a:lnTo>
                        <a:pt x="16" y="12"/>
                      </a:lnTo>
                      <a:lnTo>
                        <a:pt x="18" y="12"/>
                      </a:lnTo>
                      <a:lnTo>
                        <a:pt x="20" y="10"/>
                      </a:lnTo>
                      <a:lnTo>
                        <a:pt x="20" y="1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0" name="Freeform 6124"/>
                <p:cNvSpPr>
                  <a:spLocks/>
                </p:cNvSpPr>
                <p:nvPr/>
              </p:nvSpPr>
              <p:spPr bwMode="auto">
                <a:xfrm>
                  <a:off x="2413000" y="3019743"/>
                  <a:ext cx="22860" cy="34290"/>
                </a:xfrm>
                <a:custGeom>
                  <a:avLst/>
                  <a:gdLst/>
                  <a:ahLst/>
                  <a:cxnLst>
                    <a:cxn ang="0">
                      <a:pos x="34" y="36"/>
                    </a:cxn>
                    <a:cxn ang="0">
                      <a:pos x="34" y="36"/>
                    </a:cxn>
                    <a:cxn ang="0">
                      <a:pos x="36" y="32"/>
                    </a:cxn>
                    <a:cxn ang="0">
                      <a:pos x="36" y="26"/>
                    </a:cxn>
                    <a:cxn ang="0">
                      <a:pos x="34" y="22"/>
                    </a:cxn>
                    <a:cxn ang="0">
                      <a:pos x="30" y="18"/>
                    </a:cxn>
                    <a:cxn ang="0">
                      <a:pos x="30" y="18"/>
                    </a:cxn>
                    <a:cxn ang="0">
                      <a:pos x="26" y="14"/>
                    </a:cxn>
                    <a:cxn ang="0">
                      <a:pos x="22" y="8"/>
                    </a:cxn>
                    <a:cxn ang="0">
                      <a:pos x="16" y="2"/>
                    </a:cxn>
                    <a:cxn ang="0">
                      <a:pos x="8" y="0"/>
                    </a:cxn>
                    <a:cxn ang="0">
                      <a:pos x="8" y="0"/>
                    </a:cxn>
                    <a:cxn ang="0">
                      <a:pos x="2" y="0"/>
                    </a:cxn>
                    <a:cxn ang="0">
                      <a:pos x="0" y="0"/>
                    </a:cxn>
                    <a:cxn ang="0">
                      <a:pos x="2" y="2"/>
                    </a:cxn>
                    <a:cxn ang="0">
                      <a:pos x="12" y="4"/>
                    </a:cxn>
                    <a:cxn ang="0">
                      <a:pos x="12" y="4"/>
                    </a:cxn>
                    <a:cxn ang="0">
                      <a:pos x="16" y="6"/>
                    </a:cxn>
                    <a:cxn ang="0">
                      <a:pos x="18" y="10"/>
                    </a:cxn>
                    <a:cxn ang="0">
                      <a:pos x="20" y="14"/>
                    </a:cxn>
                    <a:cxn ang="0">
                      <a:pos x="26" y="18"/>
                    </a:cxn>
                    <a:cxn ang="0">
                      <a:pos x="26" y="18"/>
                    </a:cxn>
                    <a:cxn ang="0">
                      <a:pos x="30" y="22"/>
                    </a:cxn>
                    <a:cxn ang="0">
                      <a:pos x="30" y="24"/>
                    </a:cxn>
                    <a:cxn ang="0">
                      <a:pos x="28" y="30"/>
                    </a:cxn>
                    <a:cxn ang="0">
                      <a:pos x="26" y="36"/>
                    </a:cxn>
                    <a:cxn ang="0">
                      <a:pos x="26" y="36"/>
                    </a:cxn>
                    <a:cxn ang="0">
                      <a:pos x="26" y="40"/>
                    </a:cxn>
                    <a:cxn ang="0">
                      <a:pos x="24" y="44"/>
                    </a:cxn>
                    <a:cxn ang="0">
                      <a:pos x="20" y="46"/>
                    </a:cxn>
                    <a:cxn ang="0">
                      <a:pos x="20" y="46"/>
                    </a:cxn>
                    <a:cxn ang="0">
                      <a:pos x="20" y="48"/>
                    </a:cxn>
                    <a:cxn ang="0">
                      <a:pos x="26" y="54"/>
                    </a:cxn>
                    <a:cxn ang="0">
                      <a:pos x="26" y="54"/>
                    </a:cxn>
                    <a:cxn ang="0">
                      <a:pos x="28" y="54"/>
                    </a:cxn>
                    <a:cxn ang="0">
                      <a:pos x="28" y="54"/>
                    </a:cxn>
                    <a:cxn ang="0">
                      <a:pos x="30" y="48"/>
                    </a:cxn>
                    <a:cxn ang="0">
                      <a:pos x="30" y="40"/>
                    </a:cxn>
                    <a:cxn ang="0">
                      <a:pos x="34" y="36"/>
                    </a:cxn>
                    <a:cxn ang="0">
                      <a:pos x="34" y="36"/>
                    </a:cxn>
                  </a:cxnLst>
                  <a:rect l="0" t="0" r="r" b="b"/>
                  <a:pathLst>
                    <a:path w="36" h="54">
                      <a:moveTo>
                        <a:pt x="34" y="36"/>
                      </a:moveTo>
                      <a:lnTo>
                        <a:pt x="34" y="36"/>
                      </a:lnTo>
                      <a:lnTo>
                        <a:pt x="36" y="32"/>
                      </a:lnTo>
                      <a:lnTo>
                        <a:pt x="36" y="26"/>
                      </a:lnTo>
                      <a:lnTo>
                        <a:pt x="34" y="22"/>
                      </a:lnTo>
                      <a:lnTo>
                        <a:pt x="30" y="18"/>
                      </a:lnTo>
                      <a:lnTo>
                        <a:pt x="30" y="18"/>
                      </a:lnTo>
                      <a:lnTo>
                        <a:pt x="26" y="14"/>
                      </a:lnTo>
                      <a:lnTo>
                        <a:pt x="22" y="8"/>
                      </a:lnTo>
                      <a:lnTo>
                        <a:pt x="16" y="2"/>
                      </a:lnTo>
                      <a:lnTo>
                        <a:pt x="8" y="0"/>
                      </a:lnTo>
                      <a:lnTo>
                        <a:pt x="8" y="0"/>
                      </a:lnTo>
                      <a:lnTo>
                        <a:pt x="2" y="0"/>
                      </a:lnTo>
                      <a:lnTo>
                        <a:pt x="0" y="0"/>
                      </a:lnTo>
                      <a:lnTo>
                        <a:pt x="2" y="2"/>
                      </a:lnTo>
                      <a:lnTo>
                        <a:pt x="12" y="4"/>
                      </a:lnTo>
                      <a:lnTo>
                        <a:pt x="12" y="4"/>
                      </a:lnTo>
                      <a:lnTo>
                        <a:pt x="16" y="6"/>
                      </a:lnTo>
                      <a:lnTo>
                        <a:pt x="18" y="10"/>
                      </a:lnTo>
                      <a:lnTo>
                        <a:pt x="20" y="14"/>
                      </a:lnTo>
                      <a:lnTo>
                        <a:pt x="26" y="18"/>
                      </a:lnTo>
                      <a:lnTo>
                        <a:pt x="26" y="18"/>
                      </a:lnTo>
                      <a:lnTo>
                        <a:pt x="30" y="22"/>
                      </a:lnTo>
                      <a:lnTo>
                        <a:pt x="30" y="24"/>
                      </a:lnTo>
                      <a:lnTo>
                        <a:pt x="28" y="30"/>
                      </a:lnTo>
                      <a:lnTo>
                        <a:pt x="26" y="36"/>
                      </a:lnTo>
                      <a:lnTo>
                        <a:pt x="26" y="36"/>
                      </a:lnTo>
                      <a:lnTo>
                        <a:pt x="26" y="40"/>
                      </a:lnTo>
                      <a:lnTo>
                        <a:pt x="24" y="44"/>
                      </a:lnTo>
                      <a:lnTo>
                        <a:pt x="20" y="46"/>
                      </a:lnTo>
                      <a:lnTo>
                        <a:pt x="20" y="46"/>
                      </a:lnTo>
                      <a:lnTo>
                        <a:pt x="20" y="48"/>
                      </a:lnTo>
                      <a:lnTo>
                        <a:pt x="26" y="54"/>
                      </a:lnTo>
                      <a:lnTo>
                        <a:pt x="26" y="54"/>
                      </a:lnTo>
                      <a:lnTo>
                        <a:pt x="28" y="54"/>
                      </a:lnTo>
                      <a:lnTo>
                        <a:pt x="28" y="54"/>
                      </a:lnTo>
                      <a:lnTo>
                        <a:pt x="30" y="48"/>
                      </a:lnTo>
                      <a:lnTo>
                        <a:pt x="30" y="40"/>
                      </a:lnTo>
                      <a:lnTo>
                        <a:pt x="34" y="36"/>
                      </a:lnTo>
                      <a:lnTo>
                        <a:pt x="34" y="3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1" name="Freeform 6125"/>
                <p:cNvSpPr>
                  <a:spLocks/>
                </p:cNvSpPr>
                <p:nvPr/>
              </p:nvSpPr>
              <p:spPr bwMode="auto">
                <a:xfrm>
                  <a:off x="2393950" y="3161983"/>
                  <a:ext cx="7620" cy="2540"/>
                </a:xfrm>
                <a:custGeom>
                  <a:avLst/>
                  <a:gdLst/>
                  <a:ahLst/>
                  <a:cxnLst>
                    <a:cxn ang="0">
                      <a:pos x="4" y="4"/>
                    </a:cxn>
                    <a:cxn ang="0">
                      <a:pos x="4" y="4"/>
                    </a:cxn>
                    <a:cxn ang="0">
                      <a:pos x="8" y="4"/>
                    </a:cxn>
                    <a:cxn ang="0">
                      <a:pos x="12" y="4"/>
                    </a:cxn>
                    <a:cxn ang="0">
                      <a:pos x="12" y="2"/>
                    </a:cxn>
                    <a:cxn ang="0">
                      <a:pos x="12" y="0"/>
                    </a:cxn>
                    <a:cxn ang="0">
                      <a:pos x="12" y="0"/>
                    </a:cxn>
                    <a:cxn ang="0">
                      <a:pos x="2" y="0"/>
                    </a:cxn>
                    <a:cxn ang="0">
                      <a:pos x="0" y="0"/>
                    </a:cxn>
                    <a:cxn ang="0">
                      <a:pos x="4" y="4"/>
                    </a:cxn>
                    <a:cxn ang="0">
                      <a:pos x="4" y="4"/>
                    </a:cxn>
                  </a:cxnLst>
                  <a:rect l="0" t="0" r="r" b="b"/>
                  <a:pathLst>
                    <a:path w="12" h="4">
                      <a:moveTo>
                        <a:pt x="4" y="4"/>
                      </a:moveTo>
                      <a:lnTo>
                        <a:pt x="4" y="4"/>
                      </a:lnTo>
                      <a:lnTo>
                        <a:pt x="8" y="4"/>
                      </a:lnTo>
                      <a:lnTo>
                        <a:pt x="12" y="4"/>
                      </a:lnTo>
                      <a:lnTo>
                        <a:pt x="12" y="2"/>
                      </a:lnTo>
                      <a:lnTo>
                        <a:pt x="12" y="0"/>
                      </a:lnTo>
                      <a:lnTo>
                        <a:pt x="12" y="0"/>
                      </a:lnTo>
                      <a:lnTo>
                        <a:pt x="2" y="0"/>
                      </a:lnTo>
                      <a:lnTo>
                        <a:pt x="0" y="0"/>
                      </a:lnTo>
                      <a:lnTo>
                        <a:pt x="4" y="4"/>
                      </a:lnTo>
                      <a:lnTo>
                        <a:pt x="4"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2" name="Freeform 6126"/>
                <p:cNvSpPr>
                  <a:spLocks/>
                </p:cNvSpPr>
                <p:nvPr/>
              </p:nvSpPr>
              <p:spPr bwMode="auto">
                <a:xfrm>
                  <a:off x="2414270" y="3106103"/>
                  <a:ext cx="11430" cy="16510"/>
                </a:xfrm>
                <a:custGeom>
                  <a:avLst/>
                  <a:gdLst/>
                  <a:ahLst/>
                  <a:cxnLst>
                    <a:cxn ang="0">
                      <a:pos x="12" y="26"/>
                    </a:cxn>
                    <a:cxn ang="0">
                      <a:pos x="12" y="26"/>
                    </a:cxn>
                    <a:cxn ang="0">
                      <a:pos x="16" y="24"/>
                    </a:cxn>
                    <a:cxn ang="0">
                      <a:pos x="18" y="22"/>
                    </a:cxn>
                    <a:cxn ang="0">
                      <a:pos x="18" y="16"/>
                    </a:cxn>
                    <a:cxn ang="0">
                      <a:pos x="14" y="6"/>
                    </a:cxn>
                    <a:cxn ang="0">
                      <a:pos x="14" y="6"/>
                    </a:cxn>
                    <a:cxn ang="0">
                      <a:pos x="12" y="0"/>
                    </a:cxn>
                    <a:cxn ang="0">
                      <a:pos x="12" y="0"/>
                    </a:cxn>
                    <a:cxn ang="0">
                      <a:pos x="12" y="0"/>
                    </a:cxn>
                    <a:cxn ang="0">
                      <a:pos x="10" y="4"/>
                    </a:cxn>
                    <a:cxn ang="0">
                      <a:pos x="8" y="4"/>
                    </a:cxn>
                    <a:cxn ang="0">
                      <a:pos x="6" y="2"/>
                    </a:cxn>
                    <a:cxn ang="0">
                      <a:pos x="6" y="2"/>
                    </a:cxn>
                    <a:cxn ang="0">
                      <a:pos x="4" y="0"/>
                    </a:cxn>
                    <a:cxn ang="0">
                      <a:pos x="2" y="0"/>
                    </a:cxn>
                    <a:cxn ang="0">
                      <a:pos x="0" y="6"/>
                    </a:cxn>
                    <a:cxn ang="0">
                      <a:pos x="0" y="12"/>
                    </a:cxn>
                    <a:cxn ang="0">
                      <a:pos x="4" y="20"/>
                    </a:cxn>
                    <a:cxn ang="0">
                      <a:pos x="4" y="20"/>
                    </a:cxn>
                    <a:cxn ang="0">
                      <a:pos x="8" y="24"/>
                    </a:cxn>
                    <a:cxn ang="0">
                      <a:pos x="8" y="26"/>
                    </a:cxn>
                    <a:cxn ang="0">
                      <a:pos x="12" y="26"/>
                    </a:cxn>
                    <a:cxn ang="0">
                      <a:pos x="12" y="26"/>
                    </a:cxn>
                  </a:cxnLst>
                  <a:rect l="0" t="0" r="r" b="b"/>
                  <a:pathLst>
                    <a:path w="18" h="26">
                      <a:moveTo>
                        <a:pt x="12" y="26"/>
                      </a:moveTo>
                      <a:lnTo>
                        <a:pt x="12" y="26"/>
                      </a:lnTo>
                      <a:lnTo>
                        <a:pt x="16" y="24"/>
                      </a:lnTo>
                      <a:lnTo>
                        <a:pt x="18" y="22"/>
                      </a:lnTo>
                      <a:lnTo>
                        <a:pt x="18" y="16"/>
                      </a:lnTo>
                      <a:lnTo>
                        <a:pt x="14" y="6"/>
                      </a:lnTo>
                      <a:lnTo>
                        <a:pt x="14" y="6"/>
                      </a:lnTo>
                      <a:lnTo>
                        <a:pt x="12" y="0"/>
                      </a:lnTo>
                      <a:lnTo>
                        <a:pt x="12" y="0"/>
                      </a:lnTo>
                      <a:lnTo>
                        <a:pt x="12" y="0"/>
                      </a:lnTo>
                      <a:lnTo>
                        <a:pt x="10" y="4"/>
                      </a:lnTo>
                      <a:lnTo>
                        <a:pt x="8" y="4"/>
                      </a:lnTo>
                      <a:lnTo>
                        <a:pt x="6" y="2"/>
                      </a:lnTo>
                      <a:lnTo>
                        <a:pt x="6" y="2"/>
                      </a:lnTo>
                      <a:lnTo>
                        <a:pt x="4" y="0"/>
                      </a:lnTo>
                      <a:lnTo>
                        <a:pt x="2" y="0"/>
                      </a:lnTo>
                      <a:lnTo>
                        <a:pt x="0" y="6"/>
                      </a:lnTo>
                      <a:lnTo>
                        <a:pt x="0" y="12"/>
                      </a:lnTo>
                      <a:lnTo>
                        <a:pt x="4" y="20"/>
                      </a:lnTo>
                      <a:lnTo>
                        <a:pt x="4" y="20"/>
                      </a:lnTo>
                      <a:lnTo>
                        <a:pt x="8" y="24"/>
                      </a:lnTo>
                      <a:lnTo>
                        <a:pt x="8" y="26"/>
                      </a:lnTo>
                      <a:lnTo>
                        <a:pt x="12" y="26"/>
                      </a:lnTo>
                      <a:lnTo>
                        <a:pt x="12" y="2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3" name="Freeform 6127"/>
                <p:cNvSpPr>
                  <a:spLocks/>
                </p:cNvSpPr>
                <p:nvPr/>
              </p:nvSpPr>
              <p:spPr bwMode="auto">
                <a:xfrm>
                  <a:off x="2404110" y="3165793"/>
                  <a:ext cx="8890" cy="6350"/>
                </a:xfrm>
                <a:custGeom>
                  <a:avLst/>
                  <a:gdLst/>
                  <a:ahLst/>
                  <a:cxnLst>
                    <a:cxn ang="0">
                      <a:pos x="0" y="0"/>
                    </a:cxn>
                    <a:cxn ang="0">
                      <a:pos x="0" y="0"/>
                    </a:cxn>
                    <a:cxn ang="0">
                      <a:pos x="0" y="4"/>
                    </a:cxn>
                    <a:cxn ang="0">
                      <a:pos x="0" y="6"/>
                    </a:cxn>
                    <a:cxn ang="0">
                      <a:pos x="10" y="8"/>
                    </a:cxn>
                    <a:cxn ang="0">
                      <a:pos x="10" y="8"/>
                    </a:cxn>
                    <a:cxn ang="0">
                      <a:pos x="14" y="10"/>
                    </a:cxn>
                    <a:cxn ang="0">
                      <a:pos x="14" y="8"/>
                    </a:cxn>
                    <a:cxn ang="0">
                      <a:pos x="10" y="4"/>
                    </a:cxn>
                    <a:cxn ang="0">
                      <a:pos x="6" y="0"/>
                    </a:cxn>
                    <a:cxn ang="0">
                      <a:pos x="2" y="0"/>
                    </a:cxn>
                    <a:cxn ang="0">
                      <a:pos x="0" y="0"/>
                    </a:cxn>
                    <a:cxn ang="0">
                      <a:pos x="0" y="0"/>
                    </a:cxn>
                  </a:cxnLst>
                  <a:rect l="0" t="0" r="r" b="b"/>
                  <a:pathLst>
                    <a:path w="14" h="10">
                      <a:moveTo>
                        <a:pt x="0" y="0"/>
                      </a:moveTo>
                      <a:lnTo>
                        <a:pt x="0" y="0"/>
                      </a:lnTo>
                      <a:lnTo>
                        <a:pt x="0" y="4"/>
                      </a:lnTo>
                      <a:lnTo>
                        <a:pt x="0" y="6"/>
                      </a:lnTo>
                      <a:lnTo>
                        <a:pt x="10" y="8"/>
                      </a:lnTo>
                      <a:lnTo>
                        <a:pt x="10" y="8"/>
                      </a:lnTo>
                      <a:lnTo>
                        <a:pt x="14" y="10"/>
                      </a:lnTo>
                      <a:lnTo>
                        <a:pt x="14" y="8"/>
                      </a:lnTo>
                      <a:lnTo>
                        <a:pt x="10" y="4"/>
                      </a:lnTo>
                      <a:lnTo>
                        <a:pt x="6" y="0"/>
                      </a:lnTo>
                      <a:lnTo>
                        <a:pt x="2" y="0"/>
                      </a:lnTo>
                      <a:lnTo>
                        <a:pt x="0" y="0"/>
                      </a:lnTo>
                      <a:lnTo>
                        <a:pt x="0"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4" name="Freeform 6128"/>
                <p:cNvSpPr>
                  <a:spLocks/>
                </p:cNvSpPr>
                <p:nvPr/>
              </p:nvSpPr>
              <p:spPr bwMode="auto">
                <a:xfrm>
                  <a:off x="2461260" y="3125153"/>
                  <a:ext cx="7620" cy="7620"/>
                </a:xfrm>
                <a:custGeom>
                  <a:avLst/>
                  <a:gdLst/>
                  <a:ahLst/>
                  <a:cxnLst>
                    <a:cxn ang="0">
                      <a:pos x="0" y="2"/>
                    </a:cxn>
                    <a:cxn ang="0">
                      <a:pos x="0" y="2"/>
                    </a:cxn>
                    <a:cxn ang="0">
                      <a:pos x="0" y="4"/>
                    </a:cxn>
                    <a:cxn ang="0">
                      <a:pos x="0" y="6"/>
                    </a:cxn>
                    <a:cxn ang="0">
                      <a:pos x="6" y="10"/>
                    </a:cxn>
                    <a:cxn ang="0">
                      <a:pos x="6" y="10"/>
                    </a:cxn>
                    <a:cxn ang="0">
                      <a:pos x="10" y="12"/>
                    </a:cxn>
                    <a:cxn ang="0">
                      <a:pos x="12" y="12"/>
                    </a:cxn>
                    <a:cxn ang="0">
                      <a:pos x="12" y="12"/>
                    </a:cxn>
                    <a:cxn ang="0">
                      <a:pos x="10" y="8"/>
                    </a:cxn>
                    <a:cxn ang="0">
                      <a:pos x="10" y="8"/>
                    </a:cxn>
                    <a:cxn ang="0">
                      <a:pos x="4" y="0"/>
                    </a:cxn>
                    <a:cxn ang="0">
                      <a:pos x="0" y="0"/>
                    </a:cxn>
                    <a:cxn ang="0">
                      <a:pos x="0" y="2"/>
                    </a:cxn>
                    <a:cxn ang="0">
                      <a:pos x="0" y="2"/>
                    </a:cxn>
                  </a:cxnLst>
                  <a:rect l="0" t="0" r="r" b="b"/>
                  <a:pathLst>
                    <a:path w="12" h="12">
                      <a:moveTo>
                        <a:pt x="0" y="2"/>
                      </a:moveTo>
                      <a:lnTo>
                        <a:pt x="0" y="2"/>
                      </a:lnTo>
                      <a:lnTo>
                        <a:pt x="0" y="4"/>
                      </a:lnTo>
                      <a:lnTo>
                        <a:pt x="0" y="6"/>
                      </a:lnTo>
                      <a:lnTo>
                        <a:pt x="6" y="10"/>
                      </a:lnTo>
                      <a:lnTo>
                        <a:pt x="6" y="10"/>
                      </a:lnTo>
                      <a:lnTo>
                        <a:pt x="10" y="12"/>
                      </a:lnTo>
                      <a:lnTo>
                        <a:pt x="12" y="12"/>
                      </a:lnTo>
                      <a:lnTo>
                        <a:pt x="12" y="12"/>
                      </a:lnTo>
                      <a:lnTo>
                        <a:pt x="10" y="8"/>
                      </a:lnTo>
                      <a:lnTo>
                        <a:pt x="10" y="8"/>
                      </a:lnTo>
                      <a:lnTo>
                        <a:pt x="4" y="0"/>
                      </a:lnTo>
                      <a:lnTo>
                        <a:pt x="0" y="0"/>
                      </a:lnTo>
                      <a:lnTo>
                        <a:pt x="0" y="2"/>
                      </a:lnTo>
                      <a:lnTo>
                        <a:pt x="0"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5" name="Freeform 6129"/>
                <p:cNvSpPr>
                  <a:spLocks/>
                </p:cNvSpPr>
                <p:nvPr/>
              </p:nvSpPr>
              <p:spPr bwMode="auto">
                <a:xfrm>
                  <a:off x="2512060" y="2538413"/>
                  <a:ext cx="54610" cy="21590"/>
                </a:xfrm>
                <a:custGeom>
                  <a:avLst/>
                  <a:gdLst/>
                  <a:ahLst/>
                  <a:cxnLst>
                    <a:cxn ang="0">
                      <a:pos x="70" y="4"/>
                    </a:cxn>
                    <a:cxn ang="0">
                      <a:pos x="70" y="4"/>
                    </a:cxn>
                    <a:cxn ang="0">
                      <a:pos x="74" y="0"/>
                    </a:cxn>
                    <a:cxn ang="0">
                      <a:pos x="74" y="0"/>
                    </a:cxn>
                    <a:cxn ang="0">
                      <a:pos x="72" y="0"/>
                    </a:cxn>
                    <a:cxn ang="0">
                      <a:pos x="68" y="0"/>
                    </a:cxn>
                    <a:cxn ang="0">
                      <a:pos x="62" y="6"/>
                    </a:cxn>
                    <a:cxn ang="0">
                      <a:pos x="62" y="6"/>
                    </a:cxn>
                    <a:cxn ang="0">
                      <a:pos x="54" y="10"/>
                    </a:cxn>
                    <a:cxn ang="0">
                      <a:pos x="46" y="10"/>
                    </a:cxn>
                    <a:cxn ang="0">
                      <a:pos x="40" y="10"/>
                    </a:cxn>
                    <a:cxn ang="0">
                      <a:pos x="34" y="12"/>
                    </a:cxn>
                    <a:cxn ang="0">
                      <a:pos x="34" y="12"/>
                    </a:cxn>
                    <a:cxn ang="0">
                      <a:pos x="32" y="14"/>
                    </a:cxn>
                    <a:cxn ang="0">
                      <a:pos x="30" y="12"/>
                    </a:cxn>
                    <a:cxn ang="0">
                      <a:pos x="26" y="12"/>
                    </a:cxn>
                    <a:cxn ang="0">
                      <a:pos x="20" y="14"/>
                    </a:cxn>
                    <a:cxn ang="0">
                      <a:pos x="20" y="14"/>
                    </a:cxn>
                    <a:cxn ang="0">
                      <a:pos x="16" y="14"/>
                    </a:cxn>
                    <a:cxn ang="0">
                      <a:pos x="14" y="16"/>
                    </a:cxn>
                    <a:cxn ang="0">
                      <a:pos x="12" y="18"/>
                    </a:cxn>
                    <a:cxn ang="0">
                      <a:pos x="8" y="20"/>
                    </a:cxn>
                    <a:cxn ang="0">
                      <a:pos x="8" y="20"/>
                    </a:cxn>
                    <a:cxn ang="0">
                      <a:pos x="2" y="26"/>
                    </a:cxn>
                    <a:cxn ang="0">
                      <a:pos x="0" y="28"/>
                    </a:cxn>
                    <a:cxn ang="0">
                      <a:pos x="2" y="30"/>
                    </a:cxn>
                    <a:cxn ang="0">
                      <a:pos x="6" y="30"/>
                    </a:cxn>
                    <a:cxn ang="0">
                      <a:pos x="6" y="30"/>
                    </a:cxn>
                    <a:cxn ang="0">
                      <a:pos x="8" y="30"/>
                    </a:cxn>
                    <a:cxn ang="0">
                      <a:pos x="6" y="34"/>
                    </a:cxn>
                    <a:cxn ang="0">
                      <a:pos x="6" y="34"/>
                    </a:cxn>
                    <a:cxn ang="0">
                      <a:pos x="6" y="34"/>
                    </a:cxn>
                    <a:cxn ang="0">
                      <a:pos x="6" y="34"/>
                    </a:cxn>
                    <a:cxn ang="0">
                      <a:pos x="12" y="34"/>
                    </a:cxn>
                    <a:cxn ang="0">
                      <a:pos x="16" y="32"/>
                    </a:cxn>
                    <a:cxn ang="0">
                      <a:pos x="18" y="32"/>
                    </a:cxn>
                    <a:cxn ang="0">
                      <a:pos x="18" y="32"/>
                    </a:cxn>
                    <a:cxn ang="0">
                      <a:pos x="18" y="30"/>
                    </a:cxn>
                    <a:cxn ang="0">
                      <a:pos x="22" y="28"/>
                    </a:cxn>
                    <a:cxn ang="0">
                      <a:pos x="28" y="26"/>
                    </a:cxn>
                    <a:cxn ang="0">
                      <a:pos x="34" y="26"/>
                    </a:cxn>
                    <a:cxn ang="0">
                      <a:pos x="34" y="26"/>
                    </a:cxn>
                    <a:cxn ang="0">
                      <a:pos x="42" y="24"/>
                    </a:cxn>
                    <a:cxn ang="0">
                      <a:pos x="52" y="22"/>
                    </a:cxn>
                    <a:cxn ang="0">
                      <a:pos x="52" y="22"/>
                    </a:cxn>
                    <a:cxn ang="0">
                      <a:pos x="68" y="16"/>
                    </a:cxn>
                    <a:cxn ang="0">
                      <a:pos x="82" y="10"/>
                    </a:cxn>
                    <a:cxn ang="0">
                      <a:pos x="82" y="10"/>
                    </a:cxn>
                    <a:cxn ang="0">
                      <a:pos x="86" y="6"/>
                    </a:cxn>
                    <a:cxn ang="0">
                      <a:pos x="86" y="6"/>
                    </a:cxn>
                    <a:cxn ang="0">
                      <a:pos x="84" y="4"/>
                    </a:cxn>
                    <a:cxn ang="0">
                      <a:pos x="82" y="6"/>
                    </a:cxn>
                    <a:cxn ang="0">
                      <a:pos x="82" y="6"/>
                    </a:cxn>
                    <a:cxn ang="0">
                      <a:pos x="78" y="8"/>
                    </a:cxn>
                    <a:cxn ang="0">
                      <a:pos x="74" y="8"/>
                    </a:cxn>
                    <a:cxn ang="0">
                      <a:pos x="70" y="8"/>
                    </a:cxn>
                    <a:cxn ang="0">
                      <a:pos x="66" y="10"/>
                    </a:cxn>
                    <a:cxn ang="0">
                      <a:pos x="66" y="10"/>
                    </a:cxn>
                    <a:cxn ang="0">
                      <a:pos x="62" y="14"/>
                    </a:cxn>
                    <a:cxn ang="0">
                      <a:pos x="60" y="12"/>
                    </a:cxn>
                    <a:cxn ang="0">
                      <a:pos x="64" y="10"/>
                    </a:cxn>
                    <a:cxn ang="0">
                      <a:pos x="70" y="4"/>
                    </a:cxn>
                    <a:cxn ang="0">
                      <a:pos x="70" y="4"/>
                    </a:cxn>
                  </a:cxnLst>
                  <a:rect l="0" t="0" r="r" b="b"/>
                  <a:pathLst>
                    <a:path w="86" h="34">
                      <a:moveTo>
                        <a:pt x="70" y="4"/>
                      </a:moveTo>
                      <a:lnTo>
                        <a:pt x="70" y="4"/>
                      </a:lnTo>
                      <a:lnTo>
                        <a:pt x="74" y="0"/>
                      </a:lnTo>
                      <a:lnTo>
                        <a:pt x="74" y="0"/>
                      </a:lnTo>
                      <a:lnTo>
                        <a:pt x="72" y="0"/>
                      </a:lnTo>
                      <a:lnTo>
                        <a:pt x="68" y="0"/>
                      </a:lnTo>
                      <a:lnTo>
                        <a:pt x="62" y="6"/>
                      </a:lnTo>
                      <a:lnTo>
                        <a:pt x="62" y="6"/>
                      </a:lnTo>
                      <a:lnTo>
                        <a:pt x="54" y="10"/>
                      </a:lnTo>
                      <a:lnTo>
                        <a:pt x="46" y="10"/>
                      </a:lnTo>
                      <a:lnTo>
                        <a:pt x="40" y="10"/>
                      </a:lnTo>
                      <a:lnTo>
                        <a:pt x="34" y="12"/>
                      </a:lnTo>
                      <a:lnTo>
                        <a:pt x="34" y="12"/>
                      </a:lnTo>
                      <a:lnTo>
                        <a:pt x="32" y="14"/>
                      </a:lnTo>
                      <a:lnTo>
                        <a:pt x="30" y="12"/>
                      </a:lnTo>
                      <a:lnTo>
                        <a:pt x="26" y="12"/>
                      </a:lnTo>
                      <a:lnTo>
                        <a:pt x="20" y="14"/>
                      </a:lnTo>
                      <a:lnTo>
                        <a:pt x="20" y="14"/>
                      </a:lnTo>
                      <a:lnTo>
                        <a:pt x="16" y="14"/>
                      </a:lnTo>
                      <a:lnTo>
                        <a:pt x="14" y="16"/>
                      </a:lnTo>
                      <a:lnTo>
                        <a:pt x="12" y="18"/>
                      </a:lnTo>
                      <a:lnTo>
                        <a:pt x="8" y="20"/>
                      </a:lnTo>
                      <a:lnTo>
                        <a:pt x="8" y="20"/>
                      </a:lnTo>
                      <a:lnTo>
                        <a:pt x="2" y="26"/>
                      </a:lnTo>
                      <a:lnTo>
                        <a:pt x="0" y="28"/>
                      </a:lnTo>
                      <a:lnTo>
                        <a:pt x="2" y="30"/>
                      </a:lnTo>
                      <a:lnTo>
                        <a:pt x="6" y="30"/>
                      </a:lnTo>
                      <a:lnTo>
                        <a:pt x="6" y="30"/>
                      </a:lnTo>
                      <a:lnTo>
                        <a:pt x="8" y="30"/>
                      </a:lnTo>
                      <a:lnTo>
                        <a:pt x="6" y="34"/>
                      </a:lnTo>
                      <a:lnTo>
                        <a:pt x="6" y="34"/>
                      </a:lnTo>
                      <a:lnTo>
                        <a:pt x="6" y="34"/>
                      </a:lnTo>
                      <a:lnTo>
                        <a:pt x="6" y="34"/>
                      </a:lnTo>
                      <a:lnTo>
                        <a:pt x="12" y="34"/>
                      </a:lnTo>
                      <a:lnTo>
                        <a:pt x="16" y="32"/>
                      </a:lnTo>
                      <a:lnTo>
                        <a:pt x="18" y="32"/>
                      </a:lnTo>
                      <a:lnTo>
                        <a:pt x="18" y="32"/>
                      </a:lnTo>
                      <a:lnTo>
                        <a:pt x="18" y="30"/>
                      </a:lnTo>
                      <a:lnTo>
                        <a:pt x="22" y="28"/>
                      </a:lnTo>
                      <a:lnTo>
                        <a:pt x="28" y="26"/>
                      </a:lnTo>
                      <a:lnTo>
                        <a:pt x="34" y="26"/>
                      </a:lnTo>
                      <a:lnTo>
                        <a:pt x="34" y="26"/>
                      </a:lnTo>
                      <a:lnTo>
                        <a:pt x="42" y="24"/>
                      </a:lnTo>
                      <a:lnTo>
                        <a:pt x="52" y="22"/>
                      </a:lnTo>
                      <a:lnTo>
                        <a:pt x="52" y="22"/>
                      </a:lnTo>
                      <a:lnTo>
                        <a:pt x="68" y="16"/>
                      </a:lnTo>
                      <a:lnTo>
                        <a:pt x="82" y="10"/>
                      </a:lnTo>
                      <a:lnTo>
                        <a:pt x="82" y="10"/>
                      </a:lnTo>
                      <a:lnTo>
                        <a:pt x="86" y="6"/>
                      </a:lnTo>
                      <a:lnTo>
                        <a:pt x="86" y="6"/>
                      </a:lnTo>
                      <a:lnTo>
                        <a:pt x="84" y="4"/>
                      </a:lnTo>
                      <a:lnTo>
                        <a:pt x="82" y="6"/>
                      </a:lnTo>
                      <a:lnTo>
                        <a:pt x="82" y="6"/>
                      </a:lnTo>
                      <a:lnTo>
                        <a:pt x="78" y="8"/>
                      </a:lnTo>
                      <a:lnTo>
                        <a:pt x="74" y="8"/>
                      </a:lnTo>
                      <a:lnTo>
                        <a:pt x="70" y="8"/>
                      </a:lnTo>
                      <a:lnTo>
                        <a:pt x="66" y="10"/>
                      </a:lnTo>
                      <a:lnTo>
                        <a:pt x="66" y="10"/>
                      </a:lnTo>
                      <a:lnTo>
                        <a:pt x="62" y="14"/>
                      </a:lnTo>
                      <a:lnTo>
                        <a:pt x="60" y="12"/>
                      </a:lnTo>
                      <a:lnTo>
                        <a:pt x="64" y="10"/>
                      </a:lnTo>
                      <a:lnTo>
                        <a:pt x="70" y="4"/>
                      </a:lnTo>
                      <a:lnTo>
                        <a:pt x="7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6" name="Freeform 6130"/>
                <p:cNvSpPr>
                  <a:spLocks/>
                </p:cNvSpPr>
                <p:nvPr/>
              </p:nvSpPr>
              <p:spPr bwMode="auto">
                <a:xfrm>
                  <a:off x="2477770" y="3126423"/>
                  <a:ext cx="13970" cy="25400"/>
                </a:xfrm>
                <a:custGeom>
                  <a:avLst/>
                  <a:gdLst/>
                  <a:ahLst/>
                  <a:cxnLst>
                    <a:cxn ang="0">
                      <a:pos x="14" y="30"/>
                    </a:cxn>
                    <a:cxn ang="0">
                      <a:pos x="14" y="30"/>
                    </a:cxn>
                    <a:cxn ang="0">
                      <a:pos x="20" y="38"/>
                    </a:cxn>
                    <a:cxn ang="0">
                      <a:pos x="20" y="38"/>
                    </a:cxn>
                    <a:cxn ang="0">
                      <a:pos x="22" y="40"/>
                    </a:cxn>
                    <a:cxn ang="0">
                      <a:pos x="20" y="34"/>
                    </a:cxn>
                    <a:cxn ang="0">
                      <a:pos x="20" y="34"/>
                    </a:cxn>
                    <a:cxn ang="0">
                      <a:pos x="16" y="26"/>
                    </a:cxn>
                    <a:cxn ang="0">
                      <a:pos x="14" y="24"/>
                    </a:cxn>
                    <a:cxn ang="0">
                      <a:pos x="14" y="20"/>
                    </a:cxn>
                    <a:cxn ang="0">
                      <a:pos x="14" y="20"/>
                    </a:cxn>
                    <a:cxn ang="0">
                      <a:pos x="10" y="10"/>
                    </a:cxn>
                    <a:cxn ang="0">
                      <a:pos x="6" y="4"/>
                    </a:cxn>
                    <a:cxn ang="0">
                      <a:pos x="2" y="0"/>
                    </a:cxn>
                    <a:cxn ang="0">
                      <a:pos x="2" y="0"/>
                    </a:cxn>
                    <a:cxn ang="0">
                      <a:pos x="0" y="0"/>
                    </a:cxn>
                    <a:cxn ang="0">
                      <a:pos x="2" y="4"/>
                    </a:cxn>
                    <a:cxn ang="0">
                      <a:pos x="8" y="18"/>
                    </a:cxn>
                    <a:cxn ang="0">
                      <a:pos x="8" y="18"/>
                    </a:cxn>
                    <a:cxn ang="0">
                      <a:pos x="10" y="22"/>
                    </a:cxn>
                    <a:cxn ang="0">
                      <a:pos x="8" y="24"/>
                    </a:cxn>
                    <a:cxn ang="0">
                      <a:pos x="8" y="24"/>
                    </a:cxn>
                    <a:cxn ang="0">
                      <a:pos x="14" y="30"/>
                    </a:cxn>
                    <a:cxn ang="0">
                      <a:pos x="14" y="30"/>
                    </a:cxn>
                  </a:cxnLst>
                  <a:rect l="0" t="0" r="r" b="b"/>
                  <a:pathLst>
                    <a:path w="22" h="40">
                      <a:moveTo>
                        <a:pt x="14" y="30"/>
                      </a:moveTo>
                      <a:lnTo>
                        <a:pt x="14" y="30"/>
                      </a:lnTo>
                      <a:lnTo>
                        <a:pt x="20" y="38"/>
                      </a:lnTo>
                      <a:lnTo>
                        <a:pt x="20" y="38"/>
                      </a:lnTo>
                      <a:lnTo>
                        <a:pt x="22" y="40"/>
                      </a:lnTo>
                      <a:lnTo>
                        <a:pt x="20" y="34"/>
                      </a:lnTo>
                      <a:lnTo>
                        <a:pt x="20" y="34"/>
                      </a:lnTo>
                      <a:lnTo>
                        <a:pt x="16" y="26"/>
                      </a:lnTo>
                      <a:lnTo>
                        <a:pt x="14" y="24"/>
                      </a:lnTo>
                      <a:lnTo>
                        <a:pt x="14" y="20"/>
                      </a:lnTo>
                      <a:lnTo>
                        <a:pt x="14" y="20"/>
                      </a:lnTo>
                      <a:lnTo>
                        <a:pt x="10" y="10"/>
                      </a:lnTo>
                      <a:lnTo>
                        <a:pt x="6" y="4"/>
                      </a:lnTo>
                      <a:lnTo>
                        <a:pt x="2" y="0"/>
                      </a:lnTo>
                      <a:lnTo>
                        <a:pt x="2" y="0"/>
                      </a:lnTo>
                      <a:lnTo>
                        <a:pt x="0" y="0"/>
                      </a:lnTo>
                      <a:lnTo>
                        <a:pt x="2" y="4"/>
                      </a:lnTo>
                      <a:lnTo>
                        <a:pt x="8" y="18"/>
                      </a:lnTo>
                      <a:lnTo>
                        <a:pt x="8" y="18"/>
                      </a:lnTo>
                      <a:lnTo>
                        <a:pt x="10" y="22"/>
                      </a:lnTo>
                      <a:lnTo>
                        <a:pt x="8" y="24"/>
                      </a:lnTo>
                      <a:lnTo>
                        <a:pt x="8" y="24"/>
                      </a:lnTo>
                      <a:lnTo>
                        <a:pt x="14" y="30"/>
                      </a:lnTo>
                      <a:lnTo>
                        <a:pt x="14" y="3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7" name="Freeform 6131"/>
                <p:cNvSpPr>
                  <a:spLocks/>
                </p:cNvSpPr>
                <p:nvPr/>
              </p:nvSpPr>
              <p:spPr bwMode="auto">
                <a:xfrm>
                  <a:off x="2534920" y="3165793"/>
                  <a:ext cx="10160" cy="5080"/>
                </a:xfrm>
                <a:custGeom>
                  <a:avLst/>
                  <a:gdLst/>
                  <a:ahLst/>
                  <a:cxnLst>
                    <a:cxn ang="0">
                      <a:pos x="16" y="6"/>
                    </a:cxn>
                    <a:cxn ang="0">
                      <a:pos x="16" y="6"/>
                    </a:cxn>
                    <a:cxn ang="0">
                      <a:pos x="14" y="2"/>
                    </a:cxn>
                    <a:cxn ang="0">
                      <a:pos x="8" y="0"/>
                    </a:cxn>
                    <a:cxn ang="0">
                      <a:pos x="4" y="0"/>
                    </a:cxn>
                    <a:cxn ang="0">
                      <a:pos x="0" y="0"/>
                    </a:cxn>
                    <a:cxn ang="0">
                      <a:pos x="0" y="0"/>
                    </a:cxn>
                    <a:cxn ang="0">
                      <a:pos x="0" y="4"/>
                    </a:cxn>
                    <a:cxn ang="0">
                      <a:pos x="2" y="4"/>
                    </a:cxn>
                    <a:cxn ang="0">
                      <a:pos x="4" y="6"/>
                    </a:cxn>
                    <a:cxn ang="0">
                      <a:pos x="4" y="6"/>
                    </a:cxn>
                    <a:cxn ang="0">
                      <a:pos x="10" y="6"/>
                    </a:cxn>
                    <a:cxn ang="0">
                      <a:pos x="14" y="8"/>
                    </a:cxn>
                    <a:cxn ang="0">
                      <a:pos x="14" y="8"/>
                    </a:cxn>
                    <a:cxn ang="0">
                      <a:pos x="16" y="6"/>
                    </a:cxn>
                    <a:cxn ang="0">
                      <a:pos x="16" y="6"/>
                    </a:cxn>
                  </a:cxnLst>
                  <a:rect l="0" t="0" r="r" b="b"/>
                  <a:pathLst>
                    <a:path w="16" h="8">
                      <a:moveTo>
                        <a:pt x="16" y="6"/>
                      </a:moveTo>
                      <a:lnTo>
                        <a:pt x="16" y="6"/>
                      </a:lnTo>
                      <a:lnTo>
                        <a:pt x="14" y="2"/>
                      </a:lnTo>
                      <a:lnTo>
                        <a:pt x="8" y="0"/>
                      </a:lnTo>
                      <a:lnTo>
                        <a:pt x="4" y="0"/>
                      </a:lnTo>
                      <a:lnTo>
                        <a:pt x="0" y="0"/>
                      </a:lnTo>
                      <a:lnTo>
                        <a:pt x="0" y="0"/>
                      </a:lnTo>
                      <a:lnTo>
                        <a:pt x="0" y="4"/>
                      </a:lnTo>
                      <a:lnTo>
                        <a:pt x="2" y="4"/>
                      </a:lnTo>
                      <a:lnTo>
                        <a:pt x="4" y="6"/>
                      </a:lnTo>
                      <a:lnTo>
                        <a:pt x="4" y="6"/>
                      </a:lnTo>
                      <a:lnTo>
                        <a:pt x="10" y="6"/>
                      </a:lnTo>
                      <a:lnTo>
                        <a:pt x="14" y="8"/>
                      </a:lnTo>
                      <a:lnTo>
                        <a:pt x="14" y="8"/>
                      </a:lnTo>
                      <a:lnTo>
                        <a:pt x="16" y="6"/>
                      </a:lnTo>
                      <a:lnTo>
                        <a:pt x="16"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8" name="Freeform 6132"/>
                <p:cNvSpPr>
                  <a:spLocks/>
                </p:cNvSpPr>
                <p:nvPr/>
              </p:nvSpPr>
              <p:spPr bwMode="auto">
                <a:xfrm>
                  <a:off x="2468880" y="3092133"/>
                  <a:ext cx="10160" cy="20320"/>
                </a:xfrm>
                <a:custGeom>
                  <a:avLst/>
                  <a:gdLst/>
                  <a:ahLst/>
                  <a:cxnLst>
                    <a:cxn ang="0">
                      <a:pos x="4" y="4"/>
                    </a:cxn>
                    <a:cxn ang="0">
                      <a:pos x="4" y="4"/>
                    </a:cxn>
                    <a:cxn ang="0">
                      <a:pos x="0" y="0"/>
                    </a:cxn>
                    <a:cxn ang="0">
                      <a:pos x="0" y="0"/>
                    </a:cxn>
                    <a:cxn ang="0">
                      <a:pos x="0" y="2"/>
                    </a:cxn>
                    <a:cxn ang="0">
                      <a:pos x="0" y="6"/>
                    </a:cxn>
                    <a:cxn ang="0">
                      <a:pos x="0" y="6"/>
                    </a:cxn>
                    <a:cxn ang="0">
                      <a:pos x="4" y="12"/>
                    </a:cxn>
                    <a:cxn ang="0">
                      <a:pos x="10" y="20"/>
                    </a:cxn>
                    <a:cxn ang="0">
                      <a:pos x="10" y="20"/>
                    </a:cxn>
                    <a:cxn ang="0">
                      <a:pos x="10" y="26"/>
                    </a:cxn>
                    <a:cxn ang="0">
                      <a:pos x="10" y="30"/>
                    </a:cxn>
                    <a:cxn ang="0">
                      <a:pos x="10" y="32"/>
                    </a:cxn>
                    <a:cxn ang="0">
                      <a:pos x="14" y="30"/>
                    </a:cxn>
                    <a:cxn ang="0">
                      <a:pos x="14" y="30"/>
                    </a:cxn>
                    <a:cxn ang="0">
                      <a:pos x="16" y="28"/>
                    </a:cxn>
                    <a:cxn ang="0">
                      <a:pos x="16" y="26"/>
                    </a:cxn>
                    <a:cxn ang="0">
                      <a:pos x="12" y="20"/>
                    </a:cxn>
                    <a:cxn ang="0">
                      <a:pos x="12" y="20"/>
                    </a:cxn>
                    <a:cxn ang="0">
                      <a:pos x="8" y="12"/>
                    </a:cxn>
                    <a:cxn ang="0">
                      <a:pos x="4" y="4"/>
                    </a:cxn>
                    <a:cxn ang="0">
                      <a:pos x="4" y="4"/>
                    </a:cxn>
                  </a:cxnLst>
                  <a:rect l="0" t="0" r="r" b="b"/>
                  <a:pathLst>
                    <a:path w="16" h="32">
                      <a:moveTo>
                        <a:pt x="4" y="4"/>
                      </a:moveTo>
                      <a:lnTo>
                        <a:pt x="4" y="4"/>
                      </a:lnTo>
                      <a:lnTo>
                        <a:pt x="0" y="0"/>
                      </a:lnTo>
                      <a:lnTo>
                        <a:pt x="0" y="0"/>
                      </a:lnTo>
                      <a:lnTo>
                        <a:pt x="0" y="2"/>
                      </a:lnTo>
                      <a:lnTo>
                        <a:pt x="0" y="6"/>
                      </a:lnTo>
                      <a:lnTo>
                        <a:pt x="0" y="6"/>
                      </a:lnTo>
                      <a:lnTo>
                        <a:pt x="4" y="12"/>
                      </a:lnTo>
                      <a:lnTo>
                        <a:pt x="10" y="20"/>
                      </a:lnTo>
                      <a:lnTo>
                        <a:pt x="10" y="20"/>
                      </a:lnTo>
                      <a:lnTo>
                        <a:pt x="10" y="26"/>
                      </a:lnTo>
                      <a:lnTo>
                        <a:pt x="10" y="30"/>
                      </a:lnTo>
                      <a:lnTo>
                        <a:pt x="10" y="32"/>
                      </a:lnTo>
                      <a:lnTo>
                        <a:pt x="14" y="30"/>
                      </a:lnTo>
                      <a:lnTo>
                        <a:pt x="14" y="30"/>
                      </a:lnTo>
                      <a:lnTo>
                        <a:pt x="16" y="28"/>
                      </a:lnTo>
                      <a:lnTo>
                        <a:pt x="16" y="26"/>
                      </a:lnTo>
                      <a:lnTo>
                        <a:pt x="12" y="20"/>
                      </a:lnTo>
                      <a:lnTo>
                        <a:pt x="12" y="20"/>
                      </a:lnTo>
                      <a:lnTo>
                        <a:pt x="8" y="12"/>
                      </a:lnTo>
                      <a:lnTo>
                        <a:pt x="4" y="4"/>
                      </a:lnTo>
                      <a:lnTo>
                        <a:pt x="4"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9" name="Freeform 6133"/>
                <p:cNvSpPr>
                  <a:spLocks/>
                </p:cNvSpPr>
                <p:nvPr/>
              </p:nvSpPr>
              <p:spPr bwMode="auto">
                <a:xfrm>
                  <a:off x="2442210" y="3064193"/>
                  <a:ext cx="16510" cy="34290"/>
                </a:xfrm>
                <a:custGeom>
                  <a:avLst/>
                  <a:gdLst/>
                  <a:ahLst/>
                  <a:cxnLst>
                    <a:cxn ang="0">
                      <a:pos x="22" y="16"/>
                    </a:cxn>
                    <a:cxn ang="0">
                      <a:pos x="22" y="16"/>
                    </a:cxn>
                    <a:cxn ang="0">
                      <a:pos x="8" y="4"/>
                    </a:cxn>
                    <a:cxn ang="0">
                      <a:pos x="2" y="0"/>
                    </a:cxn>
                    <a:cxn ang="0">
                      <a:pos x="0" y="0"/>
                    </a:cxn>
                    <a:cxn ang="0">
                      <a:pos x="0" y="2"/>
                    </a:cxn>
                    <a:cxn ang="0">
                      <a:pos x="0" y="2"/>
                    </a:cxn>
                    <a:cxn ang="0">
                      <a:pos x="2" y="6"/>
                    </a:cxn>
                    <a:cxn ang="0">
                      <a:pos x="8" y="10"/>
                    </a:cxn>
                    <a:cxn ang="0">
                      <a:pos x="14" y="16"/>
                    </a:cxn>
                    <a:cxn ang="0">
                      <a:pos x="22" y="22"/>
                    </a:cxn>
                    <a:cxn ang="0">
                      <a:pos x="22" y="22"/>
                    </a:cxn>
                    <a:cxn ang="0">
                      <a:pos x="22" y="26"/>
                    </a:cxn>
                    <a:cxn ang="0">
                      <a:pos x="22" y="28"/>
                    </a:cxn>
                    <a:cxn ang="0">
                      <a:pos x="20" y="34"/>
                    </a:cxn>
                    <a:cxn ang="0">
                      <a:pos x="16" y="38"/>
                    </a:cxn>
                    <a:cxn ang="0">
                      <a:pos x="16" y="40"/>
                    </a:cxn>
                    <a:cxn ang="0">
                      <a:pos x="18" y="42"/>
                    </a:cxn>
                    <a:cxn ang="0">
                      <a:pos x="18" y="42"/>
                    </a:cxn>
                    <a:cxn ang="0">
                      <a:pos x="22" y="50"/>
                    </a:cxn>
                    <a:cxn ang="0">
                      <a:pos x="24" y="54"/>
                    </a:cxn>
                    <a:cxn ang="0">
                      <a:pos x="24" y="52"/>
                    </a:cxn>
                    <a:cxn ang="0">
                      <a:pos x="24" y="52"/>
                    </a:cxn>
                    <a:cxn ang="0">
                      <a:pos x="24" y="42"/>
                    </a:cxn>
                    <a:cxn ang="0">
                      <a:pos x="24" y="42"/>
                    </a:cxn>
                    <a:cxn ang="0">
                      <a:pos x="26" y="34"/>
                    </a:cxn>
                    <a:cxn ang="0">
                      <a:pos x="26" y="28"/>
                    </a:cxn>
                    <a:cxn ang="0">
                      <a:pos x="26" y="22"/>
                    </a:cxn>
                    <a:cxn ang="0">
                      <a:pos x="22" y="16"/>
                    </a:cxn>
                    <a:cxn ang="0">
                      <a:pos x="22" y="16"/>
                    </a:cxn>
                  </a:cxnLst>
                  <a:rect l="0" t="0" r="r" b="b"/>
                  <a:pathLst>
                    <a:path w="26" h="54">
                      <a:moveTo>
                        <a:pt x="22" y="16"/>
                      </a:moveTo>
                      <a:lnTo>
                        <a:pt x="22" y="16"/>
                      </a:lnTo>
                      <a:lnTo>
                        <a:pt x="8" y="4"/>
                      </a:lnTo>
                      <a:lnTo>
                        <a:pt x="2" y="0"/>
                      </a:lnTo>
                      <a:lnTo>
                        <a:pt x="0" y="0"/>
                      </a:lnTo>
                      <a:lnTo>
                        <a:pt x="0" y="2"/>
                      </a:lnTo>
                      <a:lnTo>
                        <a:pt x="0" y="2"/>
                      </a:lnTo>
                      <a:lnTo>
                        <a:pt x="2" y="6"/>
                      </a:lnTo>
                      <a:lnTo>
                        <a:pt x="8" y="10"/>
                      </a:lnTo>
                      <a:lnTo>
                        <a:pt x="14" y="16"/>
                      </a:lnTo>
                      <a:lnTo>
                        <a:pt x="22" y="22"/>
                      </a:lnTo>
                      <a:lnTo>
                        <a:pt x="22" y="22"/>
                      </a:lnTo>
                      <a:lnTo>
                        <a:pt x="22" y="26"/>
                      </a:lnTo>
                      <a:lnTo>
                        <a:pt x="22" y="28"/>
                      </a:lnTo>
                      <a:lnTo>
                        <a:pt x="20" y="34"/>
                      </a:lnTo>
                      <a:lnTo>
                        <a:pt x="16" y="38"/>
                      </a:lnTo>
                      <a:lnTo>
                        <a:pt x="16" y="40"/>
                      </a:lnTo>
                      <a:lnTo>
                        <a:pt x="18" y="42"/>
                      </a:lnTo>
                      <a:lnTo>
                        <a:pt x="18" y="42"/>
                      </a:lnTo>
                      <a:lnTo>
                        <a:pt x="22" y="50"/>
                      </a:lnTo>
                      <a:lnTo>
                        <a:pt x="24" y="54"/>
                      </a:lnTo>
                      <a:lnTo>
                        <a:pt x="24" y="52"/>
                      </a:lnTo>
                      <a:lnTo>
                        <a:pt x="24" y="52"/>
                      </a:lnTo>
                      <a:lnTo>
                        <a:pt x="24" y="42"/>
                      </a:lnTo>
                      <a:lnTo>
                        <a:pt x="24" y="42"/>
                      </a:lnTo>
                      <a:lnTo>
                        <a:pt x="26" y="34"/>
                      </a:lnTo>
                      <a:lnTo>
                        <a:pt x="26" y="28"/>
                      </a:lnTo>
                      <a:lnTo>
                        <a:pt x="26" y="22"/>
                      </a:lnTo>
                      <a:lnTo>
                        <a:pt x="22" y="16"/>
                      </a:lnTo>
                      <a:lnTo>
                        <a:pt x="22" y="1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0" name="Freeform 6134"/>
                <p:cNvSpPr>
                  <a:spLocks/>
                </p:cNvSpPr>
                <p:nvPr/>
              </p:nvSpPr>
              <p:spPr bwMode="auto">
                <a:xfrm>
                  <a:off x="3581400" y="3548063"/>
                  <a:ext cx="3810" cy="5080"/>
                </a:xfrm>
                <a:custGeom>
                  <a:avLst/>
                  <a:gdLst/>
                  <a:ahLst/>
                  <a:cxnLst>
                    <a:cxn ang="0">
                      <a:pos x="2" y="8"/>
                    </a:cxn>
                    <a:cxn ang="0">
                      <a:pos x="2" y="8"/>
                    </a:cxn>
                    <a:cxn ang="0">
                      <a:pos x="4" y="8"/>
                    </a:cxn>
                    <a:cxn ang="0">
                      <a:pos x="6" y="4"/>
                    </a:cxn>
                    <a:cxn ang="0">
                      <a:pos x="6" y="2"/>
                    </a:cxn>
                    <a:cxn ang="0">
                      <a:pos x="6" y="0"/>
                    </a:cxn>
                    <a:cxn ang="0">
                      <a:pos x="6" y="0"/>
                    </a:cxn>
                    <a:cxn ang="0">
                      <a:pos x="4" y="2"/>
                    </a:cxn>
                    <a:cxn ang="0">
                      <a:pos x="2" y="4"/>
                    </a:cxn>
                    <a:cxn ang="0">
                      <a:pos x="0" y="6"/>
                    </a:cxn>
                    <a:cxn ang="0">
                      <a:pos x="2" y="8"/>
                    </a:cxn>
                    <a:cxn ang="0">
                      <a:pos x="2" y="8"/>
                    </a:cxn>
                  </a:cxnLst>
                  <a:rect l="0" t="0" r="r" b="b"/>
                  <a:pathLst>
                    <a:path w="6" h="8">
                      <a:moveTo>
                        <a:pt x="2" y="8"/>
                      </a:moveTo>
                      <a:lnTo>
                        <a:pt x="2" y="8"/>
                      </a:lnTo>
                      <a:lnTo>
                        <a:pt x="4" y="8"/>
                      </a:lnTo>
                      <a:lnTo>
                        <a:pt x="6" y="4"/>
                      </a:lnTo>
                      <a:lnTo>
                        <a:pt x="6" y="2"/>
                      </a:lnTo>
                      <a:lnTo>
                        <a:pt x="6" y="0"/>
                      </a:lnTo>
                      <a:lnTo>
                        <a:pt x="6" y="0"/>
                      </a:lnTo>
                      <a:lnTo>
                        <a:pt x="4" y="2"/>
                      </a:lnTo>
                      <a:lnTo>
                        <a:pt x="2" y="4"/>
                      </a:lnTo>
                      <a:lnTo>
                        <a:pt x="0" y="6"/>
                      </a:lnTo>
                      <a:lnTo>
                        <a:pt x="2" y="8"/>
                      </a:lnTo>
                      <a:lnTo>
                        <a:pt x="2"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1" name="Freeform 6135"/>
                <p:cNvSpPr>
                  <a:spLocks/>
                </p:cNvSpPr>
                <p:nvPr/>
              </p:nvSpPr>
              <p:spPr bwMode="auto">
                <a:xfrm>
                  <a:off x="3586480" y="3539173"/>
                  <a:ext cx="2540" cy="2540"/>
                </a:xfrm>
                <a:custGeom>
                  <a:avLst/>
                  <a:gdLst/>
                  <a:ahLst/>
                  <a:cxnLst>
                    <a:cxn ang="0">
                      <a:pos x="0" y="4"/>
                    </a:cxn>
                    <a:cxn ang="0">
                      <a:pos x="0" y="4"/>
                    </a:cxn>
                    <a:cxn ang="0">
                      <a:pos x="2" y="4"/>
                    </a:cxn>
                    <a:cxn ang="0">
                      <a:pos x="4" y="2"/>
                    </a:cxn>
                    <a:cxn ang="0">
                      <a:pos x="4" y="0"/>
                    </a:cxn>
                    <a:cxn ang="0">
                      <a:pos x="4" y="0"/>
                    </a:cxn>
                    <a:cxn ang="0">
                      <a:pos x="2" y="0"/>
                    </a:cxn>
                    <a:cxn ang="0">
                      <a:pos x="0" y="0"/>
                    </a:cxn>
                    <a:cxn ang="0">
                      <a:pos x="0" y="2"/>
                    </a:cxn>
                    <a:cxn ang="0">
                      <a:pos x="0" y="4"/>
                    </a:cxn>
                    <a:cxn ang="0">
                      <a:pos x="0" y="4"/>
                    </a:cxn>
                  </a:cxnLst>
                  <a:rect l="0" t="0" r="r" b="b"/>
                  <a:pathLst>
                    <a:path w="4" h="4">
                      <a:moveTo>
                        <a:pt x="0" y="4"/>
                      </a:moveTo>
                      <a:lnTo>
                        <a:pt x="0" y="4"/>
                      </a:lnTo>
                      <a:lnTo>
                        <a:pt x="2" y="4"/>
                      </a:lnTo>
                      <a:lnTo>
                        <a:pt x="4" y="2"/>
                      </a:lnTo>
                      <a:lnTo>
                        <a:pt x="4" y="0"/>
                      </a:lnTo>
                      <a:lnTo>
                        <a:pt x="4" y="0"/>
                      </a:lnTo>
                      <a:lnTo>
                        <a:pt x="2" y="0"/>
                      </a:lnTo>
                      <a:lnTo>
                        <a:pt x="0" y="0"/>
                      </a:lnTo>
                      <a:lnTo>
                        <a:pt x="0" y="2"/>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2" name="Freeform 6136"/>
                <p:cNvSpPr>
                  <a:spLocks/>
                </p:cNvSpPr>
                <p:nvPr/>
              </p:nvSpPr>
              <p:spPr bwMode="auto">
                <a:xfrm>
                  <a:off x="3575050" y="3539173"/>
                  <a:ext cx="3810" cy="5080"/>
                </a:xfrm>
                <a:custGeom>
                  <a:avLst/>
                  <a:gdLst/>
                  <a:ahLst/>
                  <a:cxnLst>
                    <a:cxn ang="0">
                      <a:pos x="6" y="2"/>
                    </a:cxn>
                    <a:cxn ang="0">
                      <a:pos x="6" y="2"/>
                    </a:cxn>
                    <a:cxn ang="0">
                      <a:pos x="4" y="0"/>
                    </a:cxn>
                    <a:cxn ang="0">
                      <a:pos x="0" y="2"/>
                    </a:cxn>
                    <a:cxn ang="0">
                      <a:pos x="0" y="6"/>
                    </a:cxn>
                    <a:cxn ang="0">
                      <a:pos x="0" y="8"/>
                    </a:cxn>
                    <a:cxn ang="0">
                      <a:pos x="0" y="8"/>
                    </a:cxn>
                    <a:cxn ang="0">
                      <a:pos x="4" y="6"/>
                    </a:cxn>
                    <a:cxn ang="0">
                      <a:pos x="6" y="4"/>
                    </a:cxn>
                    <a:cxn ang="0">
                      <a:pos x="6" y="2"/>
                    </a:cxn>
                    <a:cxn ang="0">
                      <a:pos x="6" y="2"/>
                    </a:cxn>
                  </a:cxnLst>
                  <a:rect l="0" t="0" r="r" b="b"/>
                  <a:pathLst>
                    <a:path w="6" h="8">
                      <a:moveTo>
                        <a:pt x="6" y="2"/>
                      </a:moveTo>
                      <a:lnTo>
                        <a:pt x="6" y="2"/>
                      </a:lnTo>
                      <a:lnTo>
                        <a:pt x="4" y="0"/>
                      </a:lnTo>
                      <a:lnTo>
                        <a:pt x="0" y="2"/>
                      </a:lnTo>
                      <a:lnTo>
                        <a:pt x="0" y="6"/>
                      </a:lnTo>
                      <a:lnTo>
                        <a:pt x="0" y="8"/>
                      </a:lnTo>
                      <a:lnTo>
                        <a:pt x="0" y="8"/>
                      </a:lnTo>
                      <a:lnTo>
                        <a:pt x="4" y="6"/>
                      </a:lnTo>
                      <a:lnTo>
                        <a:pt x="6" y="4"/>
                      </a:lnTo>
                      <a:lnTo>
                        <a:pt x="6" y="2"/>
                      </a:lnTo>
                      <a:lnTo>
                        <a:pt x="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3" name="Freeform 6138"/>
                <p:cNvSpPr>
                  <a:spLocks/>
                </p:cNvSpPr>
                <p:nvPr/>
              </p:nvSpPr>
              <p:spPr bwMode="auto">
                <a:xfrm>
                  <a:off x="3576320" y="3551873"/>
                  <a:ext cx="2540" cy="3810"/>
                </a:xfrm>
                <a:custGeom>
                  <a:avLst/>
                  <a:gdLst/>
                  <a:ahLst/>
                  <a:cxnLst>
                    <a:cxn ang="0">
                      <a:pos x="2" y="0"/>
                    </a:cxn>
                    <a:cxn ang="0">
                      <a:pos x="2" y="0"/>
                    </a:cxn>
                    <a:cxn ang="0">
                      <a:pos x="0" y="0"/>
                    </a:cxn>
                    <a:cxn ang="0">
                      <a:pos x="0" y="2"/>
                    </a:cxn>
                    <a:cxn ang="0">
                      <a:pos x="0" y="4"/>
                    </a:cxn>
                    <a:cxn ang="0">
                      <a:pos x="2" y="6"/>
                    </a:cxn>
                    <a:cxn ang="0">
                      <a:pos x="2" y="6"/>
                    </a:cxn>
                    <a:cxn ang="0">
                      <a:pos x="4" y="6"/>
                    </a:cxn>
                    <a:cxn ang="0">
                      <a:pos x="4" y="4"/>
                    </a:cxn>
                    <a:cxn ang="0">
                      <a:pos x="4" y="2"/>
                    </a:cxn>
                    <a:cxn ang="0">
                      <a:pos x="2" y="0"/>
                    </a:cxn>
                    <a:cxn ang="0">
                      <a:pos x="2" y="0"/>
                    </a:cxn>
                  </a:cxnLst>
                  <a:rect l="0" t="0" r="r" b="b"/>
                  <a:pathLst>
                    <a:path w="4" h="6">
                      <a:moveTo>
                        <a:pt x="2" y="0"/>
                      </a:moveTo>
                      <a:lnTo>
                        <a:pt x="2" y="0"/>
                      </a:lnTo>
                      <a:lnTo>
                        <a:pt x="0" y="0"/>
                      </a:lnTo>
                      <a:lnTo>
                        <a:pt x="0" y="2"/>
                      </a:lnTo>
                      <a:lnTo>
                        <a:pt x="0" y="4"/>
                      </a:lnTo>
                      <a:lnTo>
                        <a:pt x="2" y="6"/>
                      </a:lnTo>
                      <a:lnTo>
                        <a:pt x="2" y="6"/>
                      </a:lnTo>
                      <a:lnTo>
                        <a:pt x="4" y="6"/>
                      </a:lnTo>
                      <a:lnTo>
                        <a:pt x="4" y="4"/>
                      </a:lnTo>
                      <a:lnTo>
                        <a:pt x="4" y="2"/>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4" name="Freeform 6144"/>
                <p:cNvSpPr>
                  <a:spLocks/>
                </p:cNvSpPr>
                <p:nvPr/>
              </p:nvSpPr>
              <p:spPr bwMode="auto">
                <a:xfrm>
                  <a:off x="3572510" y="3530283"/>
                  <a:ext cx="5080" cy="3810"/>
                </a:xfrm>
                <a:custGeom>
                  <a:avLst/>
                  <a:gdLst/>
                  <a:ahLst/>
                  <a:cxnLst>
                    <a:cxn ang="0">
                      <a:pos x="8" y="2"/>
                    </a:cxn>
                    <a:cxn ang="0">
                      <a:pos x="8" y="2"/>
                    </a:cxn>
                    <a:cxn ang="0">
                      <a:pos x="8" y="0"/>
                    </a:cxn>
                    <a:cxn ang="0">
                      <a:pos x="6" y="0"/>
                    </a:cxn>
                    <a:cxn ang="0">
                      <a:pos x="4" y="0"/>
                    </a:cxn>
                    <a:cxn ang="0">
                      <a:pos x="0" y="2"/>
                    </a:cxn>
                    <a:cxn ang="0">
                      <a:pos x="0" y="4"/>
                    </a:cxn>
                    <a:cxn ang="0">
                      <a:pos x="0" y="6"/>
                    </a:cxn>
                    <a:cxn ang="0">
                      <a:pos x="0" y="6"/>
                    </a:cxn>
                    <a:cxn ang="0">
                      <a:pos x="4" y="6"/>
                    </a:cxn>
                    <a:cxn ang="0">
                      <a:pos x="8" y="2"/>
                    </a:cxn>
                    <a:cxn ang="0">
                      <a:pos x="8" y="2"/>
                    </a:cxn>
                  </a:cxnLst>
                  <a:rect l="0" t="0" r="r" b="b"/>
                  <a:pathLst>
                    <a:path w="8" h="6">
                      <a:moveTo>
                        <a:pt x="8" y="2"/>
                      </a:moveTo>
                      <a:lnTo>
                        <a:pt x="8" y="2"/>
                      </a:lnTo>
                      <a:lnTo>
                        <a:pt x="8" y="0"/>
                      </a:lnTo>
                      <a:lnTo>
                        <a:pt x="6" y="0"/>
                      </a:lnTo>
                      <a:lnTo>
                        <a:pt x="4" y="0"/>
                      </a:lnTo>
                      <a:lnTo>
                        <a:pt x="0" y="2"/>
                      </a:lnTo>
                      <a:lnTo>
                        <a:pt x="0" y="4"/>
                      </a:lnTo>
                      <a:lnTo>
                        <a:pt x="0" y="6"/>
                      </a:lnTo>
                      <a:lnTo>
                        <a:pt x="0" y="6"/>
                      </a:lnTo>
                      <a:lnTo>
                        <a:pt x="4" y="6"/>
                      </a:lnTo>
                      <a:lnTo>
                        <a:pt x="8" y="2"/>
                      </a:lnTo>
                      <a:lnTo>
                        <a:pt x="8"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5" name="Freeform 6149"/>
                <p:cNvSpPr>
                  <a:spLocks/>
                </p:cNvSpPr>
                <p:nvPr/>
              </p:nvSpPr>
              <p:spPr bwMode="auto">
                <a:xfrm>
                  <a:off x="3566160" y="3539173"/>
                  <a:ext cx="3810" cy="2540"/>
                </a:xfrm>
                <a:custGeom>
                  <a:avLst/>
                  <a:gdLst/>
                  <a:ahLst/>
                  <a:cxnLst>
                    <a:cxn ang="0">
                      <a:pos x="0" y="4"/>
                    </a:cxn>
                    <a:cxn ang="0">
                      <a:pos x="0" y="4"/>
                    </a:cxn>
                    <a:cxn ang="0">
                      <a:pos x="2" y="4"/>
                    </a:cxn>
                    <a:cxn ang="0">
                      <a:pos x="6" y="2"/>
                    </a:cxn>
                    <a:cxn ang="0">
                      <a:pos x="6" y="2"/>
                    </a:cxn>
                    <a:cxn ang="0">
                      <a:pos x="6" y="0"/>
                    </a:cxn>
                    <a:cxn ang="0">
                      <a:pos x="2" y="2"/>
                    </a:cxn>
                    <a:cxn ang="0">
                      <a:pos x="0" y="2"/>
                    </a:cxn>
                    <a:cxn ang="0">
                      <a:pos x="0" y="4"/>
                    </a:cxn>
                    <a:cxn ang="0">
                      <a:pos x="0" y="4"/>
                    </a:cxn>
                  </a:cxnLst>
                  <a:rect l="0" t="0" r="r" b="b"/>
                  <a:pathLst>
                    <a:path w="6" h="4">
                      <a:moveTo>
                        <a:pt x="0" y="4"/>
                      </a:moveTo>
                      <a:lnTo>
                        <a:pt x="0" y="4"/>
                      </a:lnTo>
                      <a:lnTo>
                        <a:pt x="2" y="4"/>
                      </a:lnTo>
                      <a:lnTo>
                        <a:pt x="6" y="2"/>
                      </a:lnTo>
                      <a:lnTo>
                        <a:pt x="6" y="2"/>
                      </a:lnTo>
                      <a:lnTo>
                        <a:pt x="6" y="0"/>
                      </a:lnTo>
                      <a:lnTo>
                        <a:pt x="2" y="2"/>
                      </a:lnTo>
                      <a:lnTo>
                        <a:pt x="0" y="2"/>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6" name="Freeform 6150"/>
                <p:cNvSpPr>
                  <a:spLocks/>
                </p:cNvSpPr>
                <p:nvPr/>
              </p:nvSpPr>
              <p:spPr bwMode="auto">
                <a:xfrm>
                  <a:off x="3568700" y="3548063"/>
                  <a:ext cx="3810" cy="2540"/>
                </a:xfrm>
                <a:custGeom>
                  <a:avLst/>
                  <a:gdLst/>
                  <a:ahLst/>
                  <a:cxnLst>
                    <a:cxn ang="0">
                      <a:pos x="4" y="0"/>
                    </a:cxn>
                    <a:cxn ang="0">
                      <a:pos x="4" y="0"/>
                    </a:cxn>
                    <a:cxn ang="0">
                      <a:pos x="2" y="2"/>
                    </a:cxn>
                    <a:cxn ang="0">
                      <a:pos x="0" y="2"/>
                    </a:cxn>
                    <a:cxn ang="0">
                      <a:pos x="2" y="4"/>
                    </a:cxn>
                    <a:cxn ang="0">
                      <a:pos x="4" y="4"/>
                    </a:cxn>
                    <a:cxn ang="0">
                      <a:pos x="4" y="4"/>
                    </a:cxn>
                    <a:cxn ang="0">
                      <a:pos x="6" y="2"/>
                    </a:cxn>
                    <a:cxn ang="0">
                      <a:pos x="6" y="2"/>
                    </a:cxn>
                    <a:cxn ang="0">
                      <a:pos x="4" y="0"/>
                    </a:cxn>
                    <a:cxn ang="0">
                      <a:pos x="4" y="0"/>
                    </a:cxn>
                  </a:cxnLst>
                  <a:rect l="0" t="0" r="r" b="b"/>
                  <a:pathLst>
                    <a:path w="6" h="4">
                      <a:moveTo>
                        <a:pt x="4" y="0"/>
                      </a:moveTo>
                      <a:lnTo>
                        <a:pt x="4" y="0"/>
                      </a:lnTo>
                      <a:lnTo>
                        <a:pt x="2" y="2"/>
                      </a:lnTo>
                      <a:lnTo>
                        <a:pt x="0" y="2"/>
                      </a:lnTo>
                      <a:lnTo>
                        <a:pt x="2" y="4"/>
                      </a:lnTo>
                      <a:lnTo>
                        <a:pt x="4" y="4"/>
                      </a:lnTo>
                      <a:lnTo>
                        <a:pt x="4" y="4"/>
                      </a:lnTo>
                      <a:lnTo>
                        <a:pt x="6" y="2"/>
                      </a:lnTo>
                      <a:lnTo>
                        <a:pt x="6" y="2"/>
                      </a:lnTo>
                      <a:lnTo>
                        <a:pt x="4" y="0"/>
                      </a:lnTo>
                      <a:lnTo>
                        <a:pt x="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grpSp>
          <p:sp>
            <p:nvSpPr>
              <p:cNvPr id="56" name="Freeform 5962"/>
              <p:cNvSpPr>
                <a:spLocks noEditPoints="1"/>
              </p:cNvSpPr>
              <p:nvPr/>
            </p:nvSpPr>
            <p:spPr bwMode="auto">
              <a:xfrm>
                <a:off x="2518104" y="3674489"/>
                <a:ext cx="1071895" cy="2040511"/>
              </a:xfrm>
              <a:custGeom>
                <a:avLst/>
                <a:gdLst/>
                <a:ahLst/>
                <a:cxnLst>
                  <a:cxn ang="0">
                    <a:pos x="266" y="3286"/>
                  </a:cxn>
                  <a:cxn ang="0">
                    <a:pos x="232" y="3100"/>
                  </a:cxn>
                  <a:cxn ang="0">
                    <a:pos x="290" y="3112"/>
                  </a:cxn>
                  <a:cxn ang="0">
                    <a:pos x="254" y="3122"/>
                  </a:cxn>
                  <a:cxn ang="0">
                    <a:pos x="244" y="3216"/>
                  </a:cxn>
                  <a:cxn ang="0">
                    <a:pos x="246" y="3146"/>
                  </a:cxn>
                  <a:cxn ang="0">
                    <a:pos x="232" y="3160"/>
                  </a:cxn>
                  <a:cxn ang="0">
                    <a:pos x="290" y="3286"/>
                  </a:cxn>
                  <a:cxn ang="0">
                    <a:pos x="242" y="3148"/>
                  </a:cxn>
                  <a:cxn ang="0">
                    <a:pos x="292" y="2914"/>
                  </a:cxn>
                  <a:cxn ang="0">
                    <a:pos x="304" y="2900"/>
                  </a:cxn>
                  <a:cxn ang="0">
                    <a:pos x="262" y="2968"/>
                  </a:cxn>
                  <a:cxn ang="0">
                    <a:pos x="550" y="3520"/>
                  </a:cxn>
                  <a:cxn ang="0">
                    <a:pos x="480" y="3536"/>
                  </a:cxn>
                  <a:cxn ang="0">
                    <a:pos x="448" y="3508"/>
                  </a:cxn>
                  <a:cxn ang="0">
                    <a:pos x="510" y="3502"/>
                  </a:cxn>
                  <a:cxn ang="0">
                    <a:pos x="438" y="3512"/>
                  </a:cxn>
                  <a:cxn ang="0">
                    <a:pos x="268" y="3370"/>
                  </a:cxn>
                  <a:cxn ang="0">
                    <a:pos x="284" y="3406"/>
                  </a:cxn>
                  <a:cxn ang="0">
                    <a:pos x="248" y="3292"/>
                  </a:cxn>
                  <a:cxn ang="0">
                    <a:pos x="390" y="3462"/>
                  </a:cxn>
                  <a:cxn ang="0">
                    <a:pos x="338" y="3418"/>
                  </a:cxn>
                  <a:cxn ang="0">
                    <a:pos x="354" y="3448"/>
                  </a:cxn>
                  <a:cxn ang="0">
                    <a:pos x="474" y="3462"/>
                  </a:cxn>
                  <a:cxn ang="0">
                    <a:pos x="374" y="3476"/>
                  </a:cxn>
                  <a:cxn ang="0">
                    <a:pos x="504" y="3502"/>
                  </a:cxn>
                  <a:cxn ang="0">
                    <a:pos x="290" y="2738"/>
                  </a:cxn>
                  <a:cxn ang="0">
                    <a:pos x="262" y="2838"/>
                  </a:cxn>
                  <a:cxn ang="0">
                    <a:pos x="296" y="2846"/>
                  </a:cxn>
                  <a:cxn ang="0">
                    <a:pos x="278" y="2958"/>
                  </a:cxn>
                  <a:cxn ang="0">
                    <a:pos x="1480" y="698"/>
                  </a:cxn>
                  <a:cxn ang="0">
                    <a:pos x="1210" y="636"/>
                  </a:cxn>
                  <a:cxn ang="0">
                    <a:pos x="1200" y="392"/>
                  </a:cxn>
                  <a:cxn ang="0">
                    <a:pos x="964" y="300"/>
                  </a:cxn>
                  <a:cxn ang="0">
                    <a:pos x="748" y="94"/>
                  </a:cxn>
                  <a:cxn ang="0">
                    <a:pos x="444" y="34"/>
                  </a:cxn>
                  <a:cxn ang="0">
                    <a:pos x="248" y="72"/>
                  </a:cxn>
                  <a:cxn ang="0">
                    <a:pos x="144" y="472"/>
                  </a:cxn>
                  <a:cxn ang="0">
                    <a:pos x="56" y="726"/>
                  </a:cxn>
                  <a:cxn ang="0">
                    <a:pos x="172" y="1210"/>
                  </a:cxn>
                  <a:cxn ang="0">
                    <a:pos x="434" y="1746"/>
                  </a:cxn>
                  <a:cxn ang="0">
                    <a:pos x="398" y="2236"/>
                  </a:cxn>
                  <a:cxn ang="0">
                    <a:pos x="310" y="2626"/>
                  </a:cxn>
                  <a:cxn ang="0">
                    <a:pos x="330" y="2830"/>
                  </a:cxn>
                  <a:cxn ang="0">
                    <a:pos x="270" y="2964"/>
                  </a:cxn>
                  <a:cxn ang="0">
                    <a:pos x="268" y="3066"/>
                  </a:cxn>
                  <a:cxn ang="0">
                    <a:pos x="278" y="3168"/>
                  </a:cxn>
                  <a:cxn ang="0">
                    <a:pos x="292" y="3234"/>
                  </a:cxn>
                  <a:cxn ang="0">
                    <a:pos x="310" y="3308"/>
                  </a:cxn>
                  <a:cxn ang="0">
                    <a:pos x="306" y="3328"/>
                  </a:cxn>
                  <a:cxn ang="0">
                    <a:pos x="368" y="3356"/>
                  </a:cxn>
                  <a:cxn ang="0">
                    <a:pos x="402" y="3372"/>
                  </a:cxn>
                  <a:cxn ang="0">
                    <a:pos x="496" y="3342"/>
                  </a:cxn>
                  <a:cxn ang="0">
                    <a:pos x="550" y="2976"/>
                  </a:cxn>
                  <a:cxn ang="0">
                    <a:pos x="714" y="2778"/>
                  </a:cxn>
                  <a:cxn ang="0">
                    <a:pos x="774" y="2576"/>
                  </a:cxn>
                  <a:cxn ang="0">
                    <a:pos x="992" y="2348"/>
                  </a:cxn>
                  <a:cxn ang="0">
                    <a:pos x="1364" y="1824"/>
                  </a:cxn>
                  <a:cxn ang="0">
                    <a:pos x="1702" y="1418"/>
                  </a:cxn>
                  <a:cxn ang="0">
                    <a:pos x="672" y="3500"/>
                  </a:cxn>
                  <a:cxn ang="0">
                    <a:pos x="290" y="3036"/>
                  </a:cxn>
                  <a:cxn ang="0">
                    <a:pos x="252" y="3140"/>
                  </a:cxn>
                  <a:cxn ang="0">
                    <a:pos x="276" y="3192"/>
                  </a:cxn>
                </a:cxnLst>
                <a:rect l="0" t="0" r="r" b="b"/>
                <a:pathLst>
                  <a:path w="1874" h="3562">
                    <a:moveTo>
                      <a:pt x="282" y="3320"/>
                    </a:moveTo>
                    <a:lnTo>
                      <a:pt x="282" y="3320"/>
                    </a:lnTo>
                    <a:lnTo>
                      <a:pt x="286" y="3322"/>
                    </a:lnTo>
                    <a:lnTo>
                      <a:pt x="286" y="3320"/>
                    </a:lnTo>
                    <a:lnTo>
                      <a:pt x="284" y="3316"/>
                    </a:lnTo>
                    <a:lnTo>
                      <a:pt x="282" y="3312"/>
                    </a:lnTo>
                    <a:lnTo>
                      <a:pt x="282" y="3312"/>
                    </a:lnTo>
                    <a:lnTo>
                      <a:pt x="278" y="3308"/>
                    </a:lnTo>
                    <a:lnTo>
                      <a:pt x="274" y="3308"/>
                    </a:lnTo>
                    <a:lnTo>
                      <a:pt x="274" y="3308"/>
                    </a:lnTo>
                    <a:lnTo>
                      <a:pt x="274" y="3310"/>
                    </a:lnTo>
                    <a:lnTo>
                      <a:pt x="274" y="3310"/>
                    </a:lnTo>
                    <a:lnTo>
                      <a:pt x="276" y="3314"/>
                    </a:lnTo>
                    <a:lnTo>
                      <a:pt x="276" y="3316"/>
                    </a:lnTo>
                    <a:lnTo>
                      <a:pt x="276" y="3316"/>
                    </a:lnTo>
                    <a:lnTo>
                      <a:pt x="282" y="3320"/>
                    </a:lnTo>
                    <a:lnTo>
                      <a:pt x="282" y="3320"/>
                    </a:lnTo>
                    <a:close/>
                    <a:moveTo>
                      <a:pt x="286" y="3348"/>
                    </a:moveTo>
                    <a:lnTo>
                      <a:pt x="286" y="3348"/>
                    </a:lnTo>
                    <a:lnTo>
                      <a:pt x="288" y="3348"/>
                    </a:lnTo>
                    <a:lnTo>
                      <a:pt x="290" y="3348"/>
                    </a:lnTo>
                    <a:lnTo>
                      <a:pt x="296" y="3344"/>
                    </a:lnTo>
                    <a:lnTo>
                      <a:pt x="296" y="3344"/>
                    </a:lnTo>
                    <a:lnTo>
                      <a:pt x="296" y="3344"/>
                    </a:lnTo>
                    <a:lnTo>
                      <a:pt x="294" y="3340"/>
                    </a:lnTo>
                    <a:lnTo>
                      <a:pt x="286" y="3334"/>
                    </a:lnTo>
                    <a:lnTo>
                      <a:pt x="286" y="3334"/>
                    </a:lnTo>
                    <a:lnTo>
                      <a:pt x="282" y="3330"/>
                    </a:lnTo>
                    <a:lnTo>
                      <a:pt x="278" y="3330"/>
                    </a:lnTo>
                    <a:lnTo>
                      <a:pt x="276" y="3332"/>
                    </a:lnTo>
                    <a:lnTo>
                      <a:pt x="278" y="3334"/>
                    </a:lnTo>
                    <a:lnTo>
                      <a:pt x="278" y="3334"/>
                    </a:lnTo>
                    <a:lnTo>
                      <a:pt x="278" y="3336"/>
                    </a:lnTo>
                    <a:lnTo>
                      <a:pt x="280" y="3336"/>
                    </a:lnTo>
                    <a:lnTo>
                      <a:pt x="282" y="3336"/>
                    </a:lnTo>
                    <a:lnTo>
                      <a:pt x="284" y="3336"/>
                    </a:lnTo>
                    <a:lnTo>
                      <a:pt x="284" y="3336"/>
                    </a:lnTo>
                    <a:lnTo>
                      <a:pt x="284" y="3338"/>
                    </a:lnTo>
                    <a:lnTo>
                      <a:pt x="284" y="3340"/>
                    </a:lnTo>
                    <a:lnTo>
                      <a:pt x="284" y="3342"/>
                    </a:lnTo>
                    <a:lnTo>
                      <a:pt x="286" y="3348"/>
                    </a:lnTo>
                    <a:lnTo>
                      <a:pt x="286" y="3348"/>
                    </a:lnTo>
                    <a:close/>
                    <a:moveTo>
                      <a:pt x="270" y="3286"/>
                    </a:moveTo>
                    <a:lnTo>
                      <a:pt x="270" y="3286"/>
                    </a:lnTo>
                    <a:lnTo>
                      <a:pt x="270" y="3280"/>
                    </a:lnTo>
                    <a:lnTo>
                      <a:pt x="268" y="3278"/>
                    </a:lnTo>
                    <a:lnTo>
                      <a:pt x="266" y="3278"/>
                    </a:lnTo>
                    <a:lnTo>
                      <a:pt x="266" y="3278"/>
                    </a:lnTo>
                    <a:lnTo>
                      <a:pt x="262" y="3278"/>
                    </a:lnTo>
                    <a:lnTo>
                      <a:pt x="260" y="3280"/>
                    </a:lnTo>
                    <a:lnTo>
                      <a:pt x="256" y="3286"/>
                    </a:lnTo>
                    <a:lnTo>
                      <a:pt x="256" y="3286"/>
                    </a:lnTo>
                    <a:lnTo>
                      <a:pt x="252" y="3292"/>
                    </a:lnTo>
                    <a:lnTo>
                      <a:pt x="254" y="3292"/>
                    </a:lnTo>
                    <a:lnTo>
                      <a:pt x="258" y="3292"/>
                    </a:lnTo>
                    <a:lnTo>
                      <a:pt x="258" y="3292"/>
                    </a:lnTo>
                    <a:lnTo>
                      <a:pt x="262" y="3290"/>
                    </a:lnTo>
                    <a:lnTo>
                      <a:pt x="262" y="3288"/>
                    </a:lnTo>
                    <a:lnTo>
                      <a:pt x="264" y="3286"/>
                    </a:lnTo>
                    <a:lnTo>
                      <a:pt x="266" y="3286"/>
                    </a:lnTo>
                    <a:lnTo>
                      <a:pt x="266" y="3286"/>
                    </a:lnTo>
                    <a:lnTo>
                      <a:pt x="266" y="3288"/>
                    </a:lnTo>
                    <a:lnTo>
                      <a:pt x="268" y="3290"/>
                    </a:lnTo>
                    <a:lnTo>
                      <a:pt x="270" y="3288"/>
                    </a:lnTo>
                    <a:lnTo>
                      <a:pt x="270" y="3286"/>
                    </a:lnTo>
                    <a:lnTo>
                      <a:pt x="270" y="3286"/>
                    </a:lnTo>
                    <a:close/>
                    <a:moveTo>
                      <a:pt x="262" y="3260"/>
                    </a:moveTo>
                    <a:lnTo>
                      <a:pt x="262" y="3260"/>
                    </a:lnTo>
                    <a:lnTo>
                      <a:pt x="256" y="3260"/>
                    </a:lnTo>
                    <a:lnTo>
                      <a:pt x="254" y="3260"/>
                    </a:lnTo>
                    <a:lnTo>
                      <a:pt x="254" y="3262"/>
                    </a:lnTo>
                    <a:lnTo>
                      <a:pt x="256" y="3264"/>
                    </a:lnTo>
                    <a:lnTo>
                      <a:pt x="256" y="3264"/>
                    </a:lnTo>
                    <a:lnTo>
                      <a:pt x="258" y="3266"/>
                    </a:lnTo>
                    <a:lnTo>
                      <a:pt x="258" y="3266"/>
                    </a:lnTo>
                    <a:lnTo>
                      <a:pt x="260" y="3270"/>
                    </a:lnTo>
                    <a:lnTo>
                      <a:pt x="264" y="3272"/>
                    </a:lnTo>
                    <a:lnTo>
                      <a:pt x="264" y="3272"/>
                    </a:lnTo>
                    <a:lnTo>
                      <a:pt x="266" y="3270"/>
                    </a:lnTo>
                    <a:lnTo>
                      <a:pt x="268" y="3268"/>
                    </a:lnTo>
                    <a:lnTo>
                      <a:pt x="270" y="3266"/>
                    </a:lnTo>
                    <a:lnTo>
                      <a:pt x="274" y="3266"/>
                    </a:lnTo>
                    <a:lnTo>
                      <a:pt x="274" y="3266"/>
                    </a:lnTo>
                    <a:lnTo>
                      <a:pt x="276" y="3266"/>
                    </a:lnTo>
                    <a:lnTo>
                      <a:pt x="276" y="3266"/>
                    </a:lnTo>
                    <a:lnTo>
                      <a:pt x="276" y="3258"/>
                    </a:lnTo>
                    <a:lnTo>
                      <a:pt x="276" y="3258"/>
                    </a:lnTo>
                    <a:lnTo>
                      <a:pt x="274" y="3254"/>
                    </a:lnTo>
                    <a:lnTo>
                      <a:pt x="270" y="3250"/>
                    </a:lnTo>
                    <a:lnTo>
                      <a:pt x="268" y="3250"/>
                    </a:lnTo>
                    <a:lnTo>
                      <a:pt x="266" y="3252"/>
                    </a:lnTo>
                    <a:lnTo>
                      <a:pt x="266" y="3252"/>
                    </a:lnTo>
                    <a:lnTo>
                      <a:pt x="268" y="3258"/>
                    </a:lnTo>
                    <a:lnTo>
                      <a:pt x="266" y="3260"/>
                    </a:lnTo>
                    <a:lnTo>
                      <a:pt x="262" y="3260"/>
                    </a:lnTo>
                    <a:lnTo>
                      <a:pt x="262" y="3260"/>
                    </a:lnTo>
                    <a:close/>
                    <a:moveTo>
                      <a:pt x="236" y="3110"/>
                    </a:moveTo>
                    <a:lnTo>
                      <a:pt x="236" y="3110"/>
                    </a:lnTo>
                    <a:lnTo>
                      <a:pt x="238" y="3110"/>
                    </a:lnTo>
                    <a:lnTo>
                      <a:pt x="240" y="3112"/>
                    </a:lnTo>
                    <a:lnTo>
                      <a:pt x="240" y="3118"/>
                    </a:lnTo>
                    <a:lnTo>
                      <a:pt x="240" y="3118"/>
                    </a:lnTo>
                    <a:lnTo>
                      <a:pt x="240" y="3126"/>
                    </a:lnTo>
                    <a:lnTo>
                      <a:pt x="242" y="3128"/>
                    </a:lnTo>
                    <a:lnTo>
                      <a:pt x="244" y="3128"/>
                    </a:lnTo>
                    <a:lnTo>
                      <a:pt x="244" y="3128"/>
                    </a:lnTo>
                    <a:lnTo>
                      <a:pt x="248" y="3124"/>
                    </a:lnTo>
                    <a:lnTo>
                      <a:pt x="250" y="3120"/>
                    </a:lnTo>
                    <a:lnTo>
                      <a:pt x="250" y="3120"/>
                    </a:lnTo>
                    <a:lnTo>
                      <a:pt x="244" y="3108"/>
                    </a:lnTo>
                    <a:lnTo>
                      <a:pt x="240" y="3102"/>
                    </a:lnTo>
                    <a:lnTo>
                      <a:pt x="240" y="3096"/>
                    </a:lnTo>
                    <a:lnTo>
                      <a:pt x="240" y="3096"/>
                    </a:lnTo>
                    <a:lnTo>
                      <a:pt x="238" y="3090"/>
                    </a:lnTo>
                    <a:lnTo>
                      <a:pt x="236" y="3088"/>
                    </a:lnTo>
                    <a:lnTo>
                      <a:pt x="232" y="3090"/>
                    </a:lnTo>
                    <a:lnTo>
                      <a:pt x="232" y="3090"/>
                    </a:lnTo>
                    <a:lnTo>
                      <a:pt x="230" y="3094"/>
                    </a:lnTo>
                    <a:lnTo>
                      <a:pt x="230" y="3098"/>
                    </a:lnTo>
                    <a:lnTo>
                      <a:pt x="232" y="3100"/>
                    </a:lnTo>
                    <a:lnTo>
                      <a:pt x="232" y="3104"/>
                    </a:lnTo>
                    <a:lnTo>
                      <a:pt x="232" y="3104"/>
                    </a:lnTo>
                    <a:lnTo>
                      <a:pt x="230" y="3108"/>
                    </a:lnTo>
                    <a:lnTo>
                      <a:pt x="230" y="3110"/>
                    </a:lnTo>
                    <a:lnTo>
                      <a:pt x="232" y="3110"/>
                    </a:lnTo>
                    <a:lnTo>
                      <a:pt x="236" y="3110"/>
                    </a:lnTo>
                    <a:lnTo>
                      <a:pt x="236" y="3110"/>
                    </a:lnTo>
                    <a:close/>
                    <a:moveTo>
                      <a:pt x="284" y="3278"/>
                    </a:moveTo>
                    <a:lnTo>
                      <a:pt x="284" y="3278"/>
                    </a:lnTo>
                    <a:lnTo>
                      <a:pt x="284" y="3276"/>
                    </a:lnTo>
                    <a:lnTo>
                      <a:pt x="284" y="3270"/>
                    </a:lnTo>
                    <a:lnTo>
                      <a:pt x="282" y="3264"/>
                    </a:lnTo>
                    <a:lnTo>
                      <a:pt x="280" y="3260"/>
                    </a:lnTo>
                    <a:lnTo>
                      <a:pt x="280" y="3260"/>
                    </a:lnTo>
                    <a:lnTo>
                      <a:pt x="278" y="3264"/>
                    </a:lnTo>
                    <a:lnTo>
                      <a:pt x="278" y="3270"/>
                    </a:lnTo>
                    <a:lnTo>
                      <a:pt x="280" y="3276"/>
                    </a:lnTo>
                    <a:lnTo>
                      <a:pt x="282" y="3278"/>
                    </a:lnTo>
                    <a:lnTo>
                      <a:pt x="284" y="3278"/>
                    </a:lnTo>
                    <a:lnTo>
                      <a:pt x="284" y="3278"/>
                    </a:lnTo>
                    <a:close/>
                    <a:moveTo>
                      <a:pt x="304" y="3362"/>
                    </a:moveTo>
                    <a:lnTo>
                      <a:pt x="304" y="3362"/>
                    </a:lnTo>
                    <a:lnTo>
                      <a:pt x="304" y="3358"/>
                    </a:lnTo>
                    <a:lnTo>
                      <a:pt x="304" y="3356"/>
                    </a:lnTo>
                    <a:lnTo>
                      <a:pt x="306" y="3354"/>
                    </a:lnTo>
                    <a:lnTo>
                      <a:pt x="304" y="3352"/>
                    </a:lnTo>
                    <a:lnTo>
                      <a:pt x="304" y="3352"/>
                    </a:lnTo>
                    <a:lnTo>
                      <a:pt x="302" y="3350"/>
                    </a:lnTo>
                    <a:lnTo>
                      <a:pt x="300" y="3350"/>
                    </a:lnTo>
                    <a:lnTo>
                      <a:pt x="294" y="3356"/>
                    </a:lnTo>
                    <a:lnTo>
                      <a:pt x="294" y="3356"/>
                    </a:lnTo>
                    <a:lnTo>
                      <a:pt x="292" y="3360"/>
                    </a:lnTo>
                    <a:lnTo>
                      <a:pt x="292" y="3362"/>
                    </a:lnTo>
                    <a:lnTo>
                      <a:pt x="296" y="3368"/>
                    </a:lnTo>
                    <a:lnTo>
                      <a:pt x="296" y="3368"/>
                    </a:lnTo>
                    <a:lnTo>
                      <a:pt x="298" y="3368"/>
                    </a:lnTo>
                    <a:lnTo>
                      <a:pt x="300" y="3368"/>
                    </a:lnTo>
                    <a:lnTo>
                      <a:pt x="302" y="3366"/>
                    </a:lnTo>
                    <a:lnTo>
                      <a:pt x="304" y="3362"/>
                    </a:lnTo>
                    <a:lnTo>
                      <a:pt x="304" y="3362"/>
                    </a:lnTo>
                    <a:close/>
                    <a:moveTo>
                      <a:pt x="262" y="3320"/>
                    </a:moveTo>
                    <a:lnTo>
                      <a:pt x="262" y="3320"/>
                    </a:lnTo>
                    <a:lnTo>
                      <a:pt x="260" y="3330"/>
                    </a:lnTo>
                    <a:lnTo>
                      <a:pt x="258" y="3332"/>
                    </a:lnTo>
                    <a:lnTo>
                      <a:pt x="260" y="3330"/>
                    </a:lnTo>
                    <a:lnTo>
                      <a:pt x="260" y="3330"/>
                    </a:lnTo>
                    <a:lnTo>
                      <a:pt x="264" y="3328"/>
                    </a:lnTo>
                    <a:lnTo>
                      <a:pt x="268" y="3320"/>
                    </a:lnTo>
                    <a:lnTo>
                      <a:pt x="268" y="3320"/>
                    </a:lnTo>
                    <a:lnTo>
                      <a:pt x="268" y="3316"/>
                    </a:lnTo>
                    <a:lnTo>
                      <a:pt x="266" y="3314"/>
                    </a:lnTo>
                    <a:lnTo>
                      <a:pt x="264" y="3314"/>
                    </a:lnTo>
                    <a:lnTo>
                      <a:pt x="262" y="3320"/>
                    </a:lnTo>
                    <a:lnTo>
                      <a:pt x="262" y="3320"/>
                    </a:lnTo>
                    <a:close/>
                    <a:moveTo>
                      <a:pt x="276" y="3112"/>
                    </a:moveTo>
                    <a:lnTo>
                      <a:pt x="276" y="3112"/>
                    </a:lnTo>
                    <a:lnTo>
                      <a:pt x="286" y="3114"/>
                    </a:lnTo>
                    <a:lnTo>
                      <a:pt x="288" y="3114"/>
                    </a:lnTo>
                    <a:lnTo>
                      <a:pt x="290" y="3112"/>
                    </a:lnTo>
                    <a:lnTo>
                      <a:pt x="290" y="3112"/>
                    </a:lnTo>
                    <a:lnTo>
                      <a:pt x="284" y="3110"/>
                    </a:lnTo>
                    <a:lnTo>
                      <a:pt x="276" y="3102"/>
                    </a:lnTo>
                    <a:lnTo>
                      <a:pt x="276" y="3102"/>
                    </a:lnTo>
                    <a:lnTo>
                      <a:pt x="270" y="3096"/>
                    </a:lnTo>
                    <a:lnTo>
                      <a:pt x="270" y="3098"/>
                    </a:lnTo>
                    <a:lnTo>
                      <a:pt x="270" y="3102"/>
                    </a:lnTo>
                    <a:lnTo>
                      <a:pt x="270" y="3102"/>
                    </a:lnTo>
                    <a:lnTo>
                      <a:pt x="272" y="3108"/>
                    </a:lnTo>
                    <a:lnTo>
                      <a:pt x="276" y="3112"/>
                    </a:lnTo>
                    <a:lnTo>
                      <a:pt x="276" y="3112"/>
                    </a:lnTo>
                    <a:close/>
                    <a:moveTo>
                      <a:pt x="274" y="3270"/>
                    </a:moveTo>
                    <a:lnTo>
                      <a:pt x="274" y="3270"/>
                    </a:lnTo>
                    <a:lnTo>
                      <a:pt x="272" y="3270"/>
                    </a:lnTo>
                    <a:lnTo>
                      <a:pt x="270" y="3272"/>
                    </a:lnTo>
                    <a:lnTo>
                      <a:pt x="270" y="3274"/>
                    </a:lnTo>
                    <a:lnTo>
                      <a:pt x="272" y="3276"/>
                    </a:lnTo>
                    <a:lnTo>
                      <a:pt x="272" y="3276"/>
                    </a:lnTo>
                    <a:lnTo>
                      <a:pt x="274" y="3278"/>
                    </a:lnTo>
                    <a:lnTo>
                      <a:pt x="276" y="3276"/>
                    </a:lnTo>
                    <a:lnTo>
                      <a:pt x="276" y="3272"/>
                    </a:lnTo>
                    <a:lnTo>
                      <a:pt x="274" y="3270"/>
                    </a:lnTo>
                    <a:lnTo>
                      <a:pt x="274" y="3270"/>
                    </a:lnTo>
                    <a:close/>
                    <a:moveTo>
                      <a:pt x="246" y="3090"/>
                    </a:moveTo>
                    <a:lnTo>
                      <a:pt x="246" y="3090"/>
                    </a:lnTo>
                    <a:lnTo>
                      <a:pt x="250" y="3090"/>
                    </a:lnTo>
                    <a:lnTo>
                      <a:pt x="252" y="3090"/>
                    </a:lnTo>
                    <a:lnTo>
                      <a:pt x="254" y="3092"/>
                    </a:lnTo>
                    <a:lnTo>
                      <a:pt x="258" y="3092"/>
                    </a:lnTo>
                    <a:lnTo>
                      <a:pt x="258" y="3092"/>
                    </a:lnTo>
                    <a:lnTo>
                      <a:pt x="260" y="3090"/>
                    </a:lnTo>
                    <a:lnTo>
                      <a:pt x="260" y="3084"/>
                    </a:lnTo>
                    <a:lnTo>
                      <a:pt x="260" y="3080"/>
                    </a:lnTo>
                    <a:lnTo>
                      <a:pt x="260" y="3076"/>
                    </a:lnTo>
                    <a:lnTo>
                      <a:pt x="260" y="3076"/>
                    </a:lnTo>
                    <a:lnTo>
                      <a:pt x="258" y="3078"/>
                    </a:lnTo>
                    <a:lnTo>
                      <a:pt x="256" y="3080"/>
                    </a:lnTo>
                    <a:lnTo>
                      <a:pt x="252" y="3084"/>
                    </a:lnTo>
                    <a:lnTo>
                      <a:pt x="248" y="3086"/>
                    </a:lnTo>
                    <a:lnTo>
                      <a:pt x="248" y="3086"/>
                    </a:lnTo>
                    <a:lnTo>
                      <a:pt x="244" y="3086"/>
                    </a:lnTo>
                    <a:lnTo>
                      <a:pt x="242" y="3088"/>
                    </a:lnTo>
                    <a:lnTo>
                      <a:pt x="242" y="3090"/>
                    </a:lnTo>
                    <a:lnTo>
                      <a:pt x="246" y="3090"/>
                    </a:lnTo>
                    <a:lnTo>
                      <a:pt x="246" y="3090"/>
                    </a:lnTo>
                    <a:close/>
                    <a:moveTo>
                      <a:pt x="248" y="3074"/>
                    </a:moveTo>
                    <a:lnTo>
                      <a:pt x="248" y="3074"/>
                    </a:lnTo>
                    <a:lnTo>
                      <a:pt x="246" y="3072"/>
                    </a:lnTo>
                    <a:lnTo>
                      <a:pt x="244" y="3072"/>
                    </a:lnTo>
                    <a:lnTo>
                      <a:pt x="242" y="3074"/>
                    </a:lnTo>
                    <a:lnTo>
                      <a:pt x="244" y="3078"/>
                    </a:lnTo>
                    <a:lnTo>
                      <a:pt x="244" y="3078"/>
                    </a:lnTo>
                    <a:lnTo>
                      <a:pt x="246" y="3080"/>
                    </a:lnTo>
                    <a:lnTo>
                      <a:pt x="248" y="3078"/>
                    </a:lnTo>
                    <a:lnTo>
                      <a:pt x="250" y="3076"/>
                    </a:lnTo>
                    <a:lnTo>
                      <a:pt x="248" y="3074"/>
                    </a:lnTo>
                    <a:lnTo>
                      <a:pt x="248" y="3074"/>
                    </a:lnTo>
                    <a:close/>
                    <a:moveTo>
                      <a:pt x="252" y="3118"/>
                    </a:moveTo>
                    <a:lnTo>
                      <a:pt x="252" y="3118"/>
                    </a:lnTo>
                    <a:lnTo>
                      <a:pt x="252" y="3120"/>
                    </a:lnTo>
                    <a:lnTo>
                      <a:pt x="254" y="3122"/>
                    </a:lnTo>
                    <a:lnTo>
                      <a:pt x="266" y="3128"/>
                    </a:lnTo>
                    <a:lnTo>
                      <a:pt x="266" y="3128"/>
                    </a:lnTo>
                    <a:lnTo>
                      <a:pt x="272" y="3128"/>
                    </a:lnTo>
                    <a:lnTo>
                      <a:pt x="274" y="3124"/>
                    </a:lnTo>
                    <a:lnTo>
                      <a:pt x="274" y="3124"/>
                    </a:lnTo>
                    <a:lnTo>
                      <a:pt x="274" y="3124"/>
                    </a:lnTo>
                    <a:lnTo>
                      <a:pt x="274" y="3124"/>
                    </a:lnTo>
                    <a:lnTo>
                      <a:pt x="272" y="3124"/>
                    </a:lnTo>
                    <a:lnTo>
                      <a:pt x="270" y="3122"/>
                    </a:lnTo>
                    <a:lnTo>
                      <a:pt x="270" y="3122"/>
                    </a:lnTo>
                    <a:lnTo>
                      <a:pt x="268" y="3118"/>
                    </a:lnTo>
                    <a:lnTo>
                      <a:pt x="270" y="3116"/>
                    </a:lnTo>
                    <a:lnTo>
                      <a:pt x="270" y="3114"/>
                    </a:lnTo>
                    <a:lnTo>
                      <a:pt x="270" y="3108"/>
                    </a:lnTo>
                    <a:lnTo>
                      <a:pt x="270" y="3108"/>
                    </a:lnTo>
                    <a:lnTo>
                      <a:pt x="266" y="3100"/>
                    </a:lnTo>
                    <a:lnTo>
                      <a:pt x="264" y="3098"/>
                    </a:lnTo>
                    <a:lnTo>
                      <a:pt x="262" y="3102"/>
                    </a:lnTo>
                    <a:lnTo>
                      <a:pt x="262" y="3102"/>
                    </a:lnTo>
                    <a:lnTo>
                      <a:pt x="262" y="3106"/>
                    </a:lnTo>
                    <a:lnTo>
                      <a:pt x="262" y="3108"/>
                    </a:lnTo>
                    <a:lnTo>
                      <a:pt x="262" y="3114"/>
                    </a:lnTo>
                    <a:lnTo>
                      <a:pt x="262" y="3114"/>
                    </a:lnTo>
                    <a:lnTo>
                      <a:pt x="262" y="3116"/>
                    </a:lnTo>
                    <a:lnTo>
                      <a:pt x="260" y="3114"/>
                    </a:lnTo>
                    <a:lnTo>
                      <a:pt x="258" y="3114"/>
                    </a:lnTo>
                    <a:lnTo>
                      <a:pt x="252" y="3118"/>
                    </a:lnTo>
                    <a:lnTo>
                      <a:pt x="252" y="3118"/>
                    </a:lnTo>
                    <a:close/>
                    <a:moveTo>
                      <a:pt x="246" y="3228"/>
                    </a:moveTo>
                    <a:lnTo>
                      <a:pt x="246" y="3228"/>
                    </a:lnTo>
                    <a:lnTo>
                      <a:pt x="248" y="3228"/>
                    </a:lnTo>
                    <a:lnTo>
                      <a:pt x="250" y="3228"/>
                    </a:lnTo>
                    <a:lnTo>
                      <a:pt x="252" y="3228"/>
                    </a:lnTo>
                    <a:lnTo>
                      <a:pt x="254" y="3228"/>
                    </a:lnTo>
                    <a:lnTo>
                      <a:pt x="254" y="3228"/>
                    </a:lnTo>
                    <a:lnTo>
                      <a:pt x="256" y="3224"/>
                    </a:lnTo>
                    <a:lnTo>
                      <a:pt x="256" y="3222"/>
                    </a:lnTo>
                    <a:lnTo>
                      <a:pt x="256" y="3222"/>
                    </a:lnTo>
                    <a:lnTo>
                      <a:pt x="258" y="3218"/>
                    </a:lnTo>
                    <a:lnTo>
                      <a:pt x="258" y="3218"/>
                    </a:lnTo>
                    <a:lnTo>
                      <a:pt x="262" y="3216"/>
                    </a:lnTo>
                    <a:lnTo>
                      <a:pt x="262" y="3214"/>
                    </a:lnTo>
                    <a:lnTo>
                      <a:pt x="260" y="3214"/>
                    </a:lnTo>
                    <a:lnTo>
                      <a:pt x="256" y="3216"/>
                    </a:lnTo>
                    <a:lnTo>
                      <a:pt x="256" y="3216"/>
                    </a:lnTo>
                    <a:lnTo>
                      <a:pt x="254" y="3216"/>
                    </a:lnTo>
                    <a:lnTo>
                      <a:pt x="254" y="3214"/>
                    </a:lnTo>
                    <a:lnTo>
                      <a:pt x="254" y="3212"/>
                    </a:lnTo>
                    <a:lnTo>
                      <a:pt x="252" y="3212"/>
                    </a:lnTo>
                    <a:lnTo>
                      <a:pt x="252" y="3212"/>
                    </a:lnTo>
                    <a:lnTo>
                      <a:pt x="248" y="3210"/>
                    </a:lnTo>
                    <a:lnTo>
                      <a:pt x="246" y="3210"/>
                    </a:lnTo>
                    <a:lnTo>
                      <a:pt x="242" y="3208"/>
                    </a:lnTo>
                    <a:lnTo>
                      <a:pt x="238" y="3208"/>
                    </a:lnTo>
                    <a:lnTo>
                      <a:pt x="238" y="3208"/>
                    </a:lnTo>
                    <a:lnTo>
                      <a:pt x="236" y="3208"/>
                    </a:lnTo>
                    <a:lnTo>
                      <a:pt x="236" y="3210"/>
                    </a:lnTo>
                    <a:lnTo>
                      <a:pt x="240" y="3212"/>
                    </a:lnTo>
                    <a:lnTo>
                      <a:pt x="244" y="3216"/>
                    </a:lnTo>
                    <a:lnTo>
                      <a:pt x="244" y="3216"/>
                    </a:lnTo>
                    <a:lnTo>
                      <a:pt x="244" y="3218"/>
                    </a:lnTo>
                    <a:lnTo>
                      <a:pt x="244" y="3218"/>
                    </a:lnTo>
                    <a:lnTo>
                      <a:pt x="242" y="3218"/>
                    </a:lnTo>
                    <a:lnTo>
                      <a:pt x="240" y="3218"/>
                    </a:lnTo>
                    <a:lnTo>
                      <a:pt x="236" y="3218"/>
                    </a:lnTo>
                    <a:lnTo>
                      <a:pt x="232" y="3222"/>
                    </a:lnTo>
                    <a:lnTo>
                      <a:pt x="232" y="3222"/>
                    </a:lnTo>
                    <a:lnTo>
                      <a:pt x="232" y="3224"/>
                    </a:lnTo>
                    <a:lnTo>
                      <a:pt x="234" y="3226"/>
                    </a:lnTo>
                    <a:lnTo>
                      <a:pt x="238" y="3226"/>
                    </a:lnTo>
                    <a:lnTo>
                      <a:pt x="242" y="3226"/>
                    </a:lnTo>
                    <a:lnTo>
                      <a:pt x="242" y="3226"/>
                    </a:lnTo>
                    <a:lnTo>
                      <a:pt x="242" y="3226"/>
                    </a:lnTo>
                    <a:lnTo>
                      <a:pt x="242" y="3226"/>
                    </a:lnTo>
                    <a:lnTo>
                      <a:pt x="240" y="3230"/>
                    </a:lnTo>
                    <a:lnTo>
                      <a:pt x="240" y="3232"/>
                    </a:lnTo>
                    <a:lnTo>
                      <a:pt x="242" y="3232"/>
                    </a:lnTo>
                    <a:lnTo>
                      <a:pt x="246" y="3228"/>
                    </a:lnTo>
                    <a:lnTo>
                      <a:pt x="246" y="3228"/>
                    </a:lnTo>
                    <a:close/>
                    <a:moveTo>
                      <a:pt x="256" y="3248"/>
                    </a:moveTo>
                    <a:lnTo>
                      <a:pt x="256" y="3248"/>
                    </a:lnTo>
                    <a:lnTo>
                      <a:pt x="254" y="3250"/>
                    </a:lnTo>
                    <a:lnTo>
                      <a:pt x="254" y="3252"/>
                    </a:lnTo>
                    <a:lnTo>
                      <a:pt x="258" y="3256"/>
                    </a:lnTo>
                    <a:lnTo>
                      <a:pt x="262" y="3258"/>
                    </a:lnTo>
                    <a:lnTo>
                      <a:pt x="262" y="3258"/>
                    </a:lnTo>
                    <a:lnTo>
                      <a:pt x="264" y="3258"/>
                    </a:lnTo>
                    <a:lnTo>
                      <a:pt x="264" y="3256"/>
                    </a:lnTo>
                    <a:lnTo>
                      <a:pt x="262" y="3252"/>
                    </a:lnTo>
                    <a:lnTo>
                      <a:pt x="260" y="3248"/>
                    </a:lnTo>
                    <a:lnTo>
                      <a:pt x="258" y="3248"/>
                    </a:lnTo>
                    <a:lnTo>
                      <a:pt x="256" y="3248"/>
                    </a:lnTo>
                    <a:lnTo>
                      <a:pt x="256" y="3248"/>
                    </a:lnTo>
                    <a:close/>
                    <a:moveTo>
                      <a:pt x="254" y="3160"/>
                    </a:moveTo>
                    <a:lnTo>
                      <a:pt x="254" y="3160"/>
                    </a:lnTo>
                    <a:lnTo>
                      <a:pt x="254" y="3160"/>
                    </a:lnTo>
                    <a:lnTo>
                      <a:pt x="256" y="3160"/>
                    </a:lnTo>
                    <a:lnTo>
                      <a:pt x="256" y="3154"/>
                    </a:lnTo>
                    <a:lnTo>
                      <a:pt x="256" y="3154"/>
                    </a:lnTo>
                    <a:lnTo>
                      <a:pt x="254" y="3150"/>
                    </a:lnTo>
                    <a:lnTo>
                      <a:pt x="250" y="3150"/>
                    </a:lnTo>
                    <a:lnTo>
                      <a:pt x="246" y="3152"/>
                    </a:lnTo>
                    <a:lnTo>
                      <a:pt x="242" y="3154"/>
                    </a:lnTo>
                    <a:lnTo>
                      <a:pt x="242" y="3154"/>
                    </a:lnTo>
                    <a:lnTo>
                      <a:pt x="242" y="3156"/>
                    </a:lnTo>
                    <a:lnTo>
                      <a:pt x="246" y="3156"/>
                    </a:lnTo>
                    <a:lnTo>
                      <a:pt x="248" y="3158"/>
                    </a:lnTo>
                    <a:lnTo>
                      <a:pt x="254" y="3160"/>
                    </a:lnTo>
                    <a:lnTo>
                      <a:pt x="254" y="3160"/>
                    </a:lnTo>
                    <a:close/>
                    <a:moveTo>
                      <a:pt x="248" y="3146"/>
                    </a:moveTo>
                    <a:lnTo>
                      <a:pt x="248" y="3146"/>
                    </a:lnTo>
                    <a:lnTo>
                      <a:pt x="250" y="3144"/>
                    </a:lnTo>
                    <a:lnTo>
                      <a:pt x="250" y="3142"/>
                    </a:lnTo>
                    <a:lnTo>
                      <a:pt x="244" y="3136"/>
                    </a:lnTo>
                    <a:lnTo>
                      <a:pt x="244" y="3136"/>
                    </a:lnTo>
                    <a:lnTo>
                      <a:pt x="242" y="3136"/>
                    </a:lnTo>
                    <a:lnTo>
                      <a:pt x="242" y="3136"/>
                    </a:lnTo>
                    <a:lnTo>
                      <a:pt x="244" y="3142"/>
                    </a:lnTo>
                    <a:lnTo>
                      <a:pt x="244" y="3142"/>
                    </a:lnTo>
                    <a:lnTo>
                      <a:pt x="246" y="3146"/>
                    </a:lnTo>
                    <a:lnTo>
                      <a:pt x="246" y="3146"/>
                    </a:lnTo>
                    <a:lnTo>
                      <a:pt x="248" y="3146"/>
                    </a:lnTo>
                    <a:lnTo>
                      <a:pt x="248" y="3146"/>
                    </a:lnTo>
                    <a:close/>
                    <a:moveTo>
                      <a:pt x="282" y="3246"/>
                    </a:moveTo>
                    <a:lnTo>
                      <a:pt x="282" y="3246"/>
                    </a:lnTo>
                    <a:lnTo>
                      <a:pt x="280" y="3242"/>
                    </a:lnTo>
                    <a:lnTo>
                      <a:pt x="278" y="3238"/>
                    </a:lnTo>
                    <a:lnTo>
                      <a:pt x="278" y="3236"/>
                    </a:lnTo>
                    <a:lnTo>
                      <a:pt x="276" y="3234"/>
                    </a:lnTo>
                    <a:lnTo>
                      <a:pt x="276" y="3234"/>
                    </a:lnTo>
                    <a:lnTo>
                      <a:pt x="272" y="3232"/>
                    </a:lnTo>
                    <a:lnTo>
                      <a:pt x="270" y="3232"/>
                    </a:lnTo>
                    <a:lnTo>
                      <a:pt x="270" y="3234"/>
                    </a:lnTo>
                    <a:lnTo>
                      <a:pt x="272" y="3238"/>
                    </a:lnTo>
                    <a:lnTo>
                      <a:pt x="272" y="3238"/>
                    </a:lnTo>
                    <a:lnTo>
                      <a:pt x="274" y="3240"/>
                    </a:lnTo>
                    <a:lnTo>
                      <a:pt x="272" y="3242"/>
                    </a:lnTo>
                    <a:lnTo>
                      <a:pt x="272" y="3244"/>
                    </a:lnTo>
                    <a:lnTo>
                      <a:pt x="276" y="3252"/>
                    </a:lnTo>
                    <a:lnTo>
                      <a:pt x="276" y="3252"/>
                    </a:lnTo>
                    <a:lnTo>
                      <a:pt x="280" y="3256"/>
                    </a:lnTo>
                    <a:lnTo>
                      <a:pt x="284" y="3256"/>
                    </a:lnTo>
                    <a:lnTo>
                      <a:pt x="284" y="3256"/>
                    </a:lnTo>
                    <a:lnTo>
                      <a:pt x="286" y="3254"/>
                    </a:lnTo>
                    <a:lnTo>
                      <a:pt x="286" y="3252"/>
                    </a:lnTo>
                    <a:lnTo>
                      <a:pt x="282" y="3246"/>
                    </a:lnTo>
                    <a:lnTo>
                      <a:pt x="282" y="3246"/>
                    </a:lnTo>
                    <a:close/>
                    <a:moveTo>
                      <a:pt x="234" y="3130"/>
                    </a:moveTo>
                    <a:lnTo>
                      <a:pt x="234" y="3130"/>
                    </a:lnTo>
                    <a:lnTo>
                      <a:pt x="228" y="3130"/>
                    </a:lnTo>
                    <a:lnTo>
                      <a:pt x="226" y="3132"/>
                    </a:lnTo>
                    <a:lnTo>
                      <a:pt x="226" y="3134"/>
                    </a:lnTo>
                    <a:lnTo>
                      <a:pt x="226" y="3134"/>
                    </a:lnTo>
                    <a:lnTo>
                      <a:pt x="228" y="3134"/>
                    </a:lnTo>
                    <a:lnTo>
                      <a:pt x="236" y="3132"/>
                    </a:lnTo>
                    <a:lnTo>
                      <a:pt x="236" y="3132"/>
                    </a:lnTo>
                    <a:lnTo>
                      <a:pt x="240" y="3132"/>
                    </a:lnTo>
                    <a:lnTo>
                      <a:pt x="240" y="3130"/>
                    </a:lnTo>
                    <a:lnTo>
                      <a:pt x="238" y="3128"/>
                    </a:lnTo>
                    <a:lnTo>
                      <a:pt x="234" y="3130"/>
                    </a:lnTo>
                    <a:lnTo>
                      <a:pt x="234" y="3130"/>
                    </a:lnTo>
                    <a:close/>
                    <a:moveTo>
                      <a:pt x="224" y="3120"/>
                    </a:moveTo>
                    <a:lnTo>
                      <a:pt x="224" y="3120"/>
                    </a:lnTo>
                    <a:lnTo>
                      <a:pt x="226" y="3124"/>
                    </a:lnTo>
                    <a:lnTo>
                      <a:pt x="228" y="3126"/>
                    </a:lnTo>
                    <a:lnTo>
                      <a:pt x="230" y="3128"/>
                    </a:lnTo>
                    <a:lnTo>
                      <a:pt x="236" y="3126"/>
                    </a:lnTo>
                    <a:lnTo>
                      <a:pt x="236" y="3126"/>
                    </a:lnTo>
                    <a:lnTo>
                      <a:pt x="238" y="3124"/>
                    </a:lnTo>
                    <a:lnTo>
                      <a:pt x="236" y="3120"/>
                    </a:lnTo>
                    <a:lnTo>
                      <a:pt x="236" y="3116"/>
                    </a:lnTo>
                    <a:lnTo>
                      <a:pt x="234" y="3114"/>
                    </a:lnTo>
                    <a:lnTo>
                      <a:pt x="234" y="3114"/>
                    </a:lnTo>
                    <a:lnTo>
                      <a:pt x="230" y="3116"/>
                    </a:lnTo>
                    <a:lnTo>
                      <a:pt x="228" y="3116"/>
                    </a:lnTo>
                    <a:lnTo>
                      <a:pt x="226" y="3116"/>
                    </a:lnTo>
                    <a:lnTo>
                      <a:pt x="224" y="3120"/>
                    </a:lnTo>
                    <a:lnTo>
                      <a:pt x="224" y="3120"/>
                    </a:lnTo>
                    <a:close/>
                    <a:moveTo>
                      <a:pt x="232" y="3160"/>
                    </a:moveTo>
                    <a:lnTo>
                      <a:pt x="232" y="3160"/>
                    </a:lnTo>
                    <a:lnTo>
                      <a:pt x="234" y="3158"/>
                    </a:lnTo>
                    <a:lnTo>
                      <a:pt x="236" y="3156"/>
                    </a:lnTo>
                    <a:lnTo>
                      <a:pt x="238" y="3154"/>
                    </a:lnTo>
                    <a:lnTo>
                      <a:pt x="238" y="3152"/>
                    </a:lnTo>
                    <a:lnTo>
                      <a:pt x="238" y="3152"/>
                    </a:lnTo>
                    <a:lnTo>
                      <a:pt x="236" y="3148"/>
                    </a:lnTo>
                    <a:lnTo>
                      <a:pt x="236" y="3150"/>
                    </a:lnTo>
                    <a:lnTo>
                      <a:pt x="234" y="3152"/>
                    </a:lnTo>
                    <a:lnTo>
                      <a:pt x="230" y="3154"/>
                    </a:lnTo>
                    <a:lnTo>
                      <a:pt x="230" y="3154"/>
                    </a:lnTo>
                    <a:lnTo>
                      <a:pt x="228" y="3156"/>
                    </a:lnTo>
                    <a:lnTo>
                      <a:pt x="226" y="3158"/>
                    </a:lnTo>
                    <a:lnTo>
                      <a:pt x="226" y="3160"/>
                    </a:lnTo>
                    <a:lnTo>
                      <a:pt x="228" y="3162"/>
                    </a:lnTo>
                    <a:lnTo>
                      <a:pt x="228" y="3162"/>
                    </a:lnTo>
                    <a:lnTo>
                      <a:pt x="232" y="3164"/>
                    </a:lnTo>
                    <a:lnTo>
                      <a:pt x="232" y="3160"/>
                    </a:lnTo>
                    <a:lnTo>
                      <a:pt x="232" y="3160"/>
                    </a:lnTo>
                    <a:close/>
                    <a:moveTo>
                      <a:pt x="290" y="3322"/>
                    </a:moveTo>
                    <a:lnTo>
                      <a:pt x="290" y="3322"/>
                    </a:lnTo>
                    <a:lnTo>
                      <a:pt x="290" y="3324"/>
                    </a:lnTo>
                    <a:lnTo>
                      <a:pt x="292" y="3326"/>
                    </a:lnTo>
                    <a:lnTo>
                      <a:pt x="300" y="3334"/>
                    </a:lnTo>
                    <a:lnTo>
                      <a:pt x="300" y="3334"/>
                    </a:lnTo>
                    <a:lnTo>
                      <a:pt x="304" y="3338"/>
                    </a:lnTo>
                    <a:lnTo>
                      <a:pt x="304" y="3338"/>
                    </a:lnTo>
                    <a:lnTo>
                      <a:pt x="302" y="3332"/>
                    </a:lnTo>
                    <a:lnTo>
                      <a:pt x="302" y="3332"/>
                    </a:lnTo>
                    <a:lnTo>
                      <a:pt x="296" y="3324"/>
                    </a:lnTo>
                    <a:lnTo>
                      <a:pt x="292" y="3322"/>
                    </a:lnTo>
                    <a:lnTo>
                      <a:pt x="292" y="3322"/>
                    </a:lnTo>
                    <a:lnTo>
                      <a:pt x="290" y="3322"/>
                    </a:lnTo>
                    <a:lnTo>
                      <a:pt x="290" y="3322"/>
                    </a:lnTo>
                    <a:close/>
                    <a:moveTo>
                      <a:pt x="246" y="3094"/>
                    </a:moveTo>
                    <a:lnTo>
                      <a:pt x="246" y="3094"/>
                    </a:lnTo>
                    <a:lnTo>
                      <a:pt x="244" y="3094"/>
                    </a:lnTo>
                    <a:lnTo>
                      <a:pt x="242" y="3094"/>
                    </a:lnTo>
                    <a:lnTo>
                      <a:pt x="242" y="3098"/>
                    </a:lnTo>
                    <a:lnTo>
                      <a:pt x="250" y="3112"/>
                    </a:lnTo>
                    <a:lnTo>
                      <a:pt x="250" y="3112"/>
                    </a:lnTo>
                    <a:lnTo>
                      <a:pt x="252" y="3114"/>
                    </a:lnTo>
                    <a:lnTo>
                      <a:pt x="254" y="3112"/>
                    </a:lnTo>
                    <a:lnTo>
                      <a:pt x="256" y="3110"/>
                    </a:lnTo>
                    <a:lnTo>
                      <a:pt x="256" y="3110"/>
                    </a:lnTo>
                    <a:lnTo>
                      <a:pt x="258" y="3110"/>
                    </a:lnTo>
                    <a:lnTo>
                      <a:pt x="258" y="3108"/>
                    </a:lnTo>
                    <a:lnTo>
                      <a:pt x="258" y="3102"/>
                    </a:lnTo>
                    <a:lnTo>
                      <a:pt x="258" y="3102"/>
                    </a:lnTo>
                    <a:lnTo>
                      <a:pt x="258" y="3098"/>
                    </a:lnTo>
                    <a:lnTo>
                      <a:pt x="256" y="3096"/>
                    </a:lnTo>
                    <a:lnTo>
                      <a:pt x="246" y="3094"/>
                    </a:lnTo>
                    <a:lnTo>
                      <a:pt x="246" y="3094"/>
                    </a:lnTo>
                    <a:close/>
                    <a:moveTo>
                      <a:pt x="294" y="3282"/>
                    </a:moveTo>
                    <a:lnTo>
                      <a:pt x="294" y="3282"/>
                    </a:lnTo>
                    <a:lnTo>
                      <a:pt x="294" y="3280"/>
                    </a:lnTo>
                    <a:lnTo>
                      <a:pt x="290" y="3278"/>
                    </a:lnTo>
                    <a:lnTo>
                      <a:pt x="288" y="3280"/>
                    </a:lnTo>
                    <a:lnTo>
                      <a:pt x="288" y="3284"/>
                    </a:lnTo>
                    <a:lnTo>
                      <a:pt x="288" y="3284"/>
                    </a:lnTo>
                    <a:lnTo>
                      <a:pt x="290" y="3286"/>
                    </a:lnTo>
                    <a:lnTo>
                      <a:pt x="292" y="3286"/>
                    </a:lnTo>
                    <a:lnTo>
                      <a:pt x="294" y="3284"/>
                    </a:lnTo>
                    <a:lnTo>
                      <a:pt x="294" y="3282"/>
                    </a:lnTo>
                    <a:lnTo>
                      <a:pt x="294" y="3282"/>
                    </a:lnTo>
                    <a:close/>
                    <a:moveTo>
                      <a:pt x="284" y="3284"/>
                    </a:moveTo>
                    <a:lnTo>
                      <a:pt x="284" y="3284"/>
                    </a:lnTo>
                    <a:lnTo>
                      <a:pt x="282" y="3284"/>
                    </a:lnTo>
                    <a:lnTo>
                      <a:pt x="282" y="3286"/>
                    </a:lnTo>
                    <a:lnTo>
                      <a:pt x="282" y="3288"/>
                    </a:lnTo>
                    <a:lnTo>
                      <a:pt x="286" y="3292"/>
                    </a:lnTo>
                    <a:lnTo>
                      <a:pt x="286" y="3292"/>
                    </a:lnTo>
                    <a:lnTo>
                      <a:pt x="286" y="3292"/>
                    </a:lnTo>
                    <a:lnTo>
                      <a:pt x="286" y="3288"/>
                    </a:lnTo>
                    <a:lnTo>
                      <a:pt x="286" y="3286"/>
                    </a:lnTo>
                    <a:lnTo>
                      <a:pt x="284" y="3284"/>
                    </a:lnTo>
                    <a:lnTo>
                      <a:pt x="284" y="3284"/>
                    </a:lnTo>
                    <a:close/>
                    <a:moveTo>
                      <a:pt x="294" y="3312"/>
                    </a:moveTo>
                    <a:lnTo>
                      <a:pt x="294" y="3312"/>
                    </a:lnTo>
                    <a:lnTo>
                      <a:pt x="294" y="3310"/>
                    </a:lnTo>
                    <a:lnTo>
                      <a:pt x="294" y="3306"/>
                    </a:lnTo>
                    <a:lnTo>
                      <a:pt x="290" y="3298"/>
                    </a:lnTo>
                    <a:lnTo>
                      <a:pt x="290" y="3298"/>
                    </a:lnTo>
                    <a:lnTo>
                      <a:pt x="288" y="3296"/>
                    </a:lnTo>
                    <a:lnTo>
                      <a:pt x="288" y="3298"/>
                    </a:lnTo>
                    <a:lnTo>
                      <a:pt x="288" y="3302"/>
                    </a:lnTo>
                    <a:lnTo>
                      <a:pt x="286" y="3306"/>
                    </a:lnTo>
                    <a:lnTo>
                      <a:pt x="286" y="3306"/>
                    </a:lnTo>
                    <a:lnTo>
                      <a:pt x="284" y="3308"/>
                    </a:lnTo>
                    <a:lnTo>
                      <a:pt x="286" y="3312"/>
                    </a:lnTo>
                    <a:lnTo>
                      <a:pt x="290" y="3314"/>
                    </a:lnTo>
                    <a:lnTo>
                      <a:pt x="294" y="3312"/>
                    </a:lnTo>
                    <a:lnTo>
                      <a:pt x="294" y="3312"/>
                    </a:lnTo>
                    <a:close/>
                    <a:moveTo>
                      <a:pt x="240" y="3200"/>
                    </a:moveTo>
                    <a:lnTo>
                      <a:pt x="240" y="3200"/>
                    </a:lnTo>
                    <a:lnTo>
                      <a:pt x="242" y="3200"/>
                    </a:lnTo>
                    <a:lnTo>
                      <a:pt x="242" y="3200"/>
                    </a:lnTo>
                    <a:lnTo>
                      <a:pt x="242" y="3192"/>
                    </a:lnTo>
                    <a:lnTo>
                      <a:pt x="242" y="3192"/>
                    </a:lnTo>
                    <a:lnTo>
                      <a:pt x="238" y="3184"/>
                    </a:lnTo>
                    <a:lnTo>
                      <a:pt x="236" y="3184"/>
                    </a:lnTo>
                    <a:lnTo>
                      <a:pt x="234" y="3184"/>
                    </a:lnTo>
                    <a:lnTo>
                      <a:pt x="234" y="3184"/>
                    </a:lnTo>
                    <a:lnTo>
                      <a:pt x="230" y="3184"/>
                    </a:lnTo>
                    <a:lnTo>
                      <a:pt x="230" y="3186"/>
                    </a:lnTo>
                    <a:lnTo>
                      <a:pt x="230" y="3196"/>
                    </a:lnTo>
                    <a:lnTo>
                      <a:pt x="230" y="3196"/>
                    </a:lnTo>
                    <a:lnTo>
                      <a:pt x="230" y="3196"/>
                    </a:lnTo>
                    <a:lnTo>
                      <a:pt x="230" y="3196"/>
                    </a:lnTo>
                    <a:lnTo>
                      <a:pt x="236" y="3194"/>
                    </a:lnTo>
                    <a:lnTo>
                      <a:pt x="236" y="3194"/>
                    </a:lnTo>
                    <a:lnTo>
                      <a:pt x="238" y="3192"/>
                    </a:lnTo>
                    <a:lnTo>
                      <a:pt x="238" y="3194"/>
                    </a:lnTo>
                    <a:lnTo>
                      <a:pt x="238" y="3198"/>
                    </a:lnTo>
                    <a:lnTo>
                      <a:pt x="240" y="3200"/>
                    </a:lnTo>
                    <a:lnTo>
                      <a:pt x="240" y="3200"/>
                    </a:lnTo>
                    <a:close/>
                    <a:moveTo>
                      <a:pt x="236" y="3146"/>
                    </a:moveTo>
                    <a:lnTo>
                      <a:pt x="236" y="3146"/>
                    </a:lnTo>
                    <a:lnTo>
                      <a:pt x="238" y="3146"/>
                    </a:lnTo>
                    <a:lnTo>
                      <a:pt x="240" y="3148"/>
                    </a:lnTo>
                    <a:lnTo>
                      <a:pt x="242" y="3148"/>
                    </a:lnTo>
                    <a:lnTo>
                      <a:pt x="242" y="3146"/>
                    </a:lnTo>
                    <a:lnTo>
                      <a:pt x="242" y="3146"/>
                    </a:lnTo>
                    <a:lnTo>
                      <a:pt x="240" y="3142"/>
                    </a:lnTo>
                    <a:lnTo>
                      <a:pt x="236" y="3138"/>
                    </a:lnTo>
                    <a:lnTo>
                      <a:pt x="236" y="3138"/>
                    </a:lnTo>
                    <a:lnTo>
                      <a:pt x="232" y="3138"/>
                    </a:lnTo>
                    <a:lnTo>
                      <a:pt x="228" y="3138"/>
                    </a:lnTo>
                    <a:lnTo>
                      <a:pt x="224" y="3140"/>
                    </a:lnTo>
                    <a:lnTo>
                      <a:pt x="224" y="3144"/>
                    </a:lnTo>
                    <a:lnTo>
                      <a:pt x="224" y="3144"/>
                    </a:lnTo>
                    <a:lnTo>
                      <a:pt x="226" y="3146"/>
                    </a:lnTo>
                    <a:lnTo>
                      <a:pt x="230" y="3146"/>
                    </a:lnTo>
                    <a:lnTo>
                      <a:pt x="236" y="3146"/>
                    </a:lnTo>
                    <a:lnTo>
                      <a:pt x="236" y="3146"/>
                    </a:lnTo>
                    <a:close/>
                    <a:moveTo>
                      <a:pt x="292" y="2928"/>
                    </a:moveTo>
                    <a:lnTo>
                      <a:pt x="292" y="2928"/>
                    </a:lnTo>
                    <a:lnTo>
                      <a:pt x="294" y="2930"/>
                    </a:lnTo>
                    <a:lnTo>
                      <a:pt x="296" y="2930"/>
                    </a:lnTo>
                    <a:lnTo>
                      <a:pt x="298" y="2930"/>
                    </a:lnTo>
                    <a:lnTo>
                      <a:pt x="302" y="2930"/>
                    </a:lnTo>
                    <a:lnTo>
                      <a:pt x="302" y="2930"/>
                    </a:lnTo>
                    <a:lnTo>
                      <a:pt x="304" y="2930"/>
                    </a:lnTo>
                    <a:lnTo>
                      <a:pt x="306" y="2928"/>
                    </a:lnTo>
                    <a:lnTo>
                      <a:pt x="302" y="2918"/>
                    </a:lnTo>
                    <a:lnTo>
                      <a:pt x="302" y="2918"/>
                    </a:lnTo>
                    <a:lnTo>
                      <a:pt x="300" y="2916"/>
                    </a:lnTo>
                    <a:lnTo>
                      <a:pt x="298" y="2916"/>
                    </a:lnTo>
                    <a:lnTo>
                      <a:pt x="294" y="2918"/>
                    </a:lnTo>
                    <a:lnTo>
                      <a:pt x="290" y="2918"/>
                    </a:lnTo>
                    <a:lnTo>
                      <a:pt x="290" y="2918"/>
                    </a:lnTo>
                    <a:lnTo>
                      <a:pt x="286" y="2918"/>
                    </a:lnTo>
                    <a:lnTo>
                      <a:pt x="284" y="2920"/>
                    </a:lnTo>
                    <a:lnTo>
                      <a:pt x="284" y="2922"/>
                    </a:lnTo>
                    <a:lnTo>
                      <a:pt x="288" y="2924"/>
                    </a:lnTo>
                    <a:lnTo>
                      <a:pt x="288" y="2924"/>
                    </a:lnTo>
                    <a:lnTo>
                      <a:pt x="290" y="2924"/>
                    </a:lnTo>
                    <a:lnTo>
                      <a:pt x="292" y="2928"/>
                    </a:lnTo>
                    <a:lnTo>
                      <a:pt x="292" y="2928"/>
                    </a:lnTo>
                    <a:close/>
                    <a:moveTo>
                      <a:pt x="294" y="2944"/>
                    </a:moveTo>
                    <a:lnTo>
                      <a:pt x="294" y="2944"/>
                    </a:lnTo>
                    <a:lnTo>
                      <a:pt x="296" y="2944"/>
                    </a:lnTo>
                    <a:lnTo>
                      <a:pt x="298" y="2942"/>
                    </a:lnTo>
                    <a:lnTo>
                      <a:pt x="300" y="2940"/>
                    </a:lnTo>
                    <a:lnTo>
                      <a:pt x="298" y="2940"/>
                    </a:lnTo>
                    <a:lnTo>
                      <a:pt x="298" y="2940"/>
                    </a:lnTo>
                    <a:lnTo>
                      <a:pt x="292" y="2940"/>
                    </a:lnTo>
                    <a:lnTo>
                      <a:pt x="290" y="2940"/>
                    </a:lnTo>
                    <a:lnTo>
                      <a:pt x="290" y="2942"/>
                    </a:lnTo>
                    <a:lnTo>
                      <a:pt x="290" y="2942"/>
                    </a:lnTo>
                    <a:lnTo>
                      <a:pt x="288" y="2944"/>
                    </a:lnTo>
                    <a:lnTo>
                      <a:pt x="290" y="2944"/>
                    </a:lnTo>
                    <a:lnTo>
                      <a:pt x="294" y="2944"/>
                    </a:lnTo>
                    <a:lnTo>
                      <a:pt x="294" y="2944"/>
                    </a:lnTo>
                    <a:close/>
                    <a:moveTo>
                      <a:pt x="278" y="2914"/>
                    </a:moveTo>
                    <a:lnTo>
                      <a:pt x="278" y="2914"/>
                    </a:lnTo>
                    <a:lnTo>
                      <a:pt x="278" y="2916"/>
                    </a:lnTo>
                    <a:lnTo>
                      <a:pt x="282" y="2916"/>
                    </a:lnTo>
                    <a:lnTo>
                      <a:pt x="286" y="2914"/>
                    </a:lnTo>
                    <a:lnTo>
                      <a:pt x="292" y="2914"/>
                    </a:lnTo>
                    <a:lnTo>
                      <a:pt x="292" y="2914"/>
                    </a:lnTo>
                    <a:lnTo>
                      <a:pt x="294" y="2914"/>
                    </a:lnTo>
                    <a:lnTo>
                      <a:pt x="294" y="2912"/>
                    </a:lnTo>
                    <a:lnTo>
                      <a:pt x="288" y="2908"/>
                    </a:lnTo>
                    <a:lnTo>
                      <a:pt x="288" y="2908"/>
                    </a:lnTo>
                    <a:lnTo>
                      <a:pt x="286" y="2908"/>
                    </a:lnTo>
                    <a:lnTo>
                      <a:pt x="282" y="2908"/>
                    </a:lnTo>
                    <a:lnTo>
                      <a:pt x="278" y="2914"/>
                    </a:lnTo>
                    <a:lnTo>
                      <a:pt x="278" y="2914"/>
                    </a:lnTo>
                    <a:close/>
                    <a:moveTo>
                      <a:pt x="276" y="2888"/>
                    </a:moveTo>
                    <a:lnTo>
                      <a:pt x="276" y="2888"/>
                    </a:lnTo>
                    <a:lnTo>
                      <a:pt x="280" y="2886"/>
                    </a:lnTo>
                    <a:lnTo>
                      <a:pt x="282" y="2884"/>
                    </a:lnTo>
                    <a:lnTo>
                      <a:pt x="282" y="2882"/>
                    </a:lnTo>
                    <a:lnTo>
                      <a:pt x="282" y="2882"/>
                    </a:lnTo>
                    <a:lnTo>
                      <a:pt x="282" y="2880"/>
                    </a:lnTo>
                    <a:lnTo>
                      <a:pt x="278" y="2880"/>
                    </a:lnTo>
                    <a:lnTo>
                      <a:pt x="272" y="2884"/>
                    </a:lnTo>
                    <a:lnTo>
                      <a:pt x="272" y="2884"/>
                    </a:lnTo>
                    <a:lnTo>
                      <a:pt x="270" y="2884"/>
                    </a:lnTo>
                    <a:lnTo>
                      <a:pt x="270" y="2886"/>
                    </a:lnTo>
                    <a:lnTo>
                      <a:pt x="272" y="2888"/>
                    </a:lnTo>
                    <a:lnTo>
                      <a:pt x="276" y="2888"/>
                    </a:lnTo>
                    <a:lnTo>
                      <a:pt x="276" y="2888"/>
                    </a:lnTo>
                    <a:close/>
                    <a:moveTo>
                      <a:pt x="282" y="2902"/>
                    </a:moveTo>
                    <a:lnTo>
                      <a:pt x="282" y="2902"/>
                    </a:lnTo>
                    <a:lnTo>
                      <a:pt x="284" y="2902"/>
                    </a:lnTo>
                    <a:lnTo>
                      <a:pt x="290" y="2900"/>
                    </a:lnTo>
                    <a:lnTo>
                      <a:pt x="290" y="2900"/>
                    </a:lnTo>
                    <a:lnTo>
                      <a:pt x="296" y="2898"/>
                    </a:lnTo>
                    <a:lnTo>
                      <a:pt x="296" y="2898"/>
                    </a:lnTo>
                    <a:lnTo>
                      <a:pt x="296" y="2896"/>
                    </a:lnTo>
                    <a:lnTo>
                      <a:pt x="296" y="2896"/>
                    </a:lnTo>
                    <a:lnTo>
                      <a:pt x="294" y="2894"/>
                    </a:lnTo>
                    <a:lnTo>
                      <a:pt x="292" y="2894"/>
                    </a:lnTo>
                    <a:lnTo>
                      <a:pt x="282" y="2894"/>
                    </a:lnTo>
                    <a:lnTo>
                      <a:pt x="282" y="2894"/>
                    </a:lnTo>
                    <a:lnTo>
                      <a:pt x="276" y="2894"/>
                    </a:lnTo>
                    <a:lnTo>
                      <a:pt x="276" y="2896"/>
                    </a:lnTo>
                    <a:lnTo>
                      <a:pt x="278" y="2900"/>
                    </a:lnTo>
                    <a:lnTo>
                      <a:pt x="282" y="2902"/>
                    </a:lnTo>
                    <a:lnTo>
                      <a:pt x="282" y="2902"/>
                    </a:lnTo>
                    <a:close/>
                    <a:moveTo>
                      <a:pt x="296" y="2950"/>
                    </a:moveTo>
                    <a:lnTo>
                      <a:pt x="296" y="2950"/>
                    </a:lnTo>
                    <a:lnTo>
                      <a:pt x="294" y="2948"/>
                    </a:lnTo>
                    <a:lnTo>
                      <a:pt x="290" y="2950"/>
                    </a:lnTo>
                    <a:lnTo>
                      <a:pt x="290" y="2952"/>
                    </a:lnTo>
                    <a:lnTo>
                      <a:pt x="290" y="2954"/>
                    </a:lnTo>
                    <a:lnTo>
                      <a:pt x="290" y="2954"/>
                    </a:lnTo>
                    <a:lnTo>
                      <a:pt x="292" y="2956"/>
                    </a:lnTo>
                    <a:lnTo>
                      <a:pt x="294" y="2954"/>
                    </a:lnTo>
                    <a:lnTo>
                      <a:pt x="296" y="2952"/>
                    </a:lnTo>
                    <a:lnTo>
                      <a:pt x="296" y="2950"/>
                    </a:lnTo>
                    <a:lnTo>
                      <a:pt x="296" y="2950"/>
                    </a:lnTo>
                    <a:close/>
                    <a:moveTo>
                      <a:pt x="302" y="2888"/>
                    </a:moveTo>
                    <a:lnTo>
                      <a:pt x="302" y="2888"/>
                    </a:lnTo>
                    <a:lnTo>
                      <a:pt x="300" y="2890"/>
                    </a:lnTo>
                    <a:lnTo>
                      <a:pt x="300" y="2892"/>
                    </a:lnTo>
                    <a:lnTo>
                      <a:pt x="302" y="2898"/>
                    </a:lnTo>
                    <a:lnTo>
                      <a:pt x="302" y="2898"/>
                    </a:lnTo>
                    <a:lnTo>
                      <a:pt x="304" y="2900"/>
                    </a:lnTo>
                    <a:lnTo>
                      <a:pt x="308" y="2898"/>
                    </a:lnTo>
                    <a:lnTo>
                      <a:pt x="308" y="2898"/>
                    </a:lnTo>
                    <a:lnTo>
                      <a:pt x="310" y="2896"/>
                    </a:lnTo>
                    <a:lnTo>
                      <a:pt x="308" y="2894"/>
                    </a:lnTo>
                    <a:lnTo>
                      <a:pt x="306" y="2890"/>
                    </a:lnTo>
                    <a:lnTo>
                      <a:pt x="302" y="2888"/>
                    </a:lnTo>
                    <a:lnTo>
                      <a:pt x="302" y="2888"/>
                    </a:lnTo>
                    <a:close/>
                    <a:moveTo>
                      <a:pt x="304" y="2856"/>
                    </a:moveTo>
                    <a:lnTo>
                      <a:pt x="304" y="2856"/>
                    </a:lnTo>
                    <a:lnTo>
                      <a:pt x="304" y="2858"/>
                    </a:lnTo>
                    <a:lnTo>
                      <a:pt x="304" y="2862"/>
                    </a:lnTo>
                    <a:lnTo>
                      <a:pt x="306" y="2864"/>
                    </a:lnTo>
                    <a:lnTo>
                      <a:pt x="308" y="2864"/>
                    </a:lnTo>
                    <a:lnTo>
                      <a:pt x="308" y="2864"/>
                    </a:lnTo>
                    <a:lnTo>
                      <a:pt x="310" y="2862"/>
                    </a:lnTo>
                    <a:lnTo>
                      <a:pt x="308" y="2860"/>
                    </a:lnTo>
                    <a:lnTo>
                      <a:pt x="306" y="2856"/>
                    </a:lnTo>
                    <a:lnTo>
                      <a:pt x="304" y="2856"/>
                    </a:lnTo>
                    <a:lnTo>
                      <a:pt x="304" y="2856"/>
                    </a:lnTo>
                    <a:close/>
                    <a:moveTo>
                      <a:pt x="300" y="2968"/>
                    </a:moveTo>
                    <a:lnTo>
                      <a:pt x="300" y="2968"/>
                    </a:lnTo>
                    <a:lnTo>
                      <a:pt x="304" y="2964"/>
                    </a:lnTo>
                    <a:lnTo>
                      <a:pt x="304" y="2964"/>
                    </a:lnTo>
                    <a:lnTo>
                      <a:pt x="304" y="2962"/>
                    </a:lnTo>
                    <a:lnTo>
                      <a:pt x="304" y="2962"/>
                    </a:lnTo>
                    <a:lnTo>
                      <a:pt x="304" y="2960"/>
                    </a:lnTo>
                    <a:lnTo>
                      <a:pt x="300" y="2962"/>
                    </a:lnTo>
                    <a:lnTo>
                      <a:pt x="298" y="2964"/>
                    </a:lnTo>
                    <a:lnTo>
                      <a:pt x="296" y="2968"/>
                    </a:lnTo>
                    <a:lnTo>
                      <a:pt x="296" y="2968"/>
                    </a:lnTo>
                    <a:lnTo>
                      <a:pt x="296" y="2970"/>
                    </a:lnTo>
                    <a:lnTo>
                      <a:pt x="296" y="2970"/>
                    </a:lnTo>
                    <a:lnTo>
                      <a:pt x="300" y="2968"/>
                    </a:lnTo>
                    <a:lnTo>
                      <a:pt x="300" y="2968"/>
                    </a:lnTo>
                    <a:close/>
                    <a:moveTo>
                      <a:pt x="290" y="2888"/>
                    </a:moveTo>
                    <a:lnTo>
                      <a:pt x="290" y="2888"/>
                    </a:lnTo>
                    <a:lnTo>
                      <a:pt x="294" y="2888"/>
                    </a:lnTo>
                    <a:lnTo>
                      <a:pt x="294" y="2886"/>
                    </a:lnTo>
                    <a:lnTo>
                      <a:pt x="294" y="2886"/>
                    </a:lnTo>
                    <a:lnTo>
                      <a:pt x="292" y="2884"/>
                    </a:lnTo>
                    <a:lnTo>
                      <a:pt x="290" y="2884"/>
                    </a:lnTo>
                    <a:lnTo>
                      <a:pt x="282" y="2888"/>
                    </a:lnTo>
                    <a:lnTo>
                      <a:pt x="282" y="2888"/>
                    </a:lnTo>
                    <a:lnTo>
                      <a:pt x="280" y="2888"/>
                    </a:lnTo>
                    <a:lnTo>
                      <a:pt x="282" y="2890"/>
                    </a:lnTo>
                    <a:lnTo>
                      <a:pt x="290" y="2888"/>
                    </a:lnTo>
                    <a:lnTo>
                      <a:pt x="290" y="2888"/>
                    </a:lnTo>
                    <a:close/>
                    <a:moveTo>
                      <a:pt x="250" y="2970"/>
                    </a:moveTo>
                    <a:lnTo>
                      <a:pt x="250" y="2970"/>
                    </a:lnTo>
                    <a:lnTo>
                      <a:pt x="250" y="2972"/>
                    </a:lnTo>
                    <a:lnTo>
                      <a:pt x="248" y="2974"/>
                    </a:lnTo>
                    <a:lnTo>
                      <a:pt x="248" y="2974"/>
                    </a:lnTo>
                    <a:lnTo>
                      <a:pt x="248" y="2978"/>
                    </a:lnTo>
                    <a:lnTo>
                      <a:pt x="248" y="2978"/>
                    </a:lnTo>
                    <a:lnTo>
                      <a:pt x="252" y="2980"/>
                    </a:lnTo>
                    <a:lnTo>
                      <a:pt x="254" y="2980"/>
                    </a:lnTo>
                    <a:lnTo>
                      <a:pt x="260" y="2974"/>
                    </a:lnTo>
                    <a:lnTo>
                      <a:pt x="260" y="2974"/>
                    </a:lnTo>
                    <a:lnTo>
                      <a:pt x="262" y="2972"/>
                    </a:lnTo>
                    <a:lnTo>
                      <a:pt x="262" y="2968"/>
                    </a:lnTo>
                    <a:lnTo>
                      <a:pt x="262" y="2964"/>
                    </a:lnTo>
                    <a:lnTo>
                      <a:pt x="260" y="2962"/>
                    </a:lnTo>
                    <a:lnTo>
                      <a:pt x="260" y="2962"/>
                    </a:lnTo>
                    <a:lnTo>
                      <a:pt x="256" y="2962"/>
                    </a:lnTo>
                    <a:lnTo>
                      <a:pt x="250" y="2966"/>
                    </a:lnTo>
                    <a:lnTo>
                      <a:pt x="250" y="2966"/>
                    </a:lnTo>
                    <a:lnTo>
                      <a:pt x="248" y="2966"/>
                    </a:lnTo>
                    <a:lnTo>
                      <a:pt x="250" y="2970"/>
                    </a:lnTo>
                    <a:lnTo>
                      <a:pt x="250" y="2970"/>
                    </a:lnTo>
                    <a:close/>
                    <a:moveTo>
                      <a:pt x="540" y="3562"/>
                    </a:moveTo>
                    <a:lnTo>
                      <a:pt x="540" y="3562"/>
                    </a:lnTo>
                    <a:lnTo>
                      <a:pt x="544" y="3562"/>
                    </a:lnTo>
                    <a:lnTo>
                      <a:pt x="548" y="3562"/>
                    </a:lnTo>
                    <a:lnTo>
                      <a:pt x="554" y="3560"/>
                    </a:lnTo>
                    <a:lnTo>
                      <a:pt x="554" y="3558"/>
                    </a:lnTo>
                    <a:lnTo>
                      <a:pt x="554" y="3558"/>
                    </a:lnTo>
                    <a:lnTo>
                      <a:pt x="552" y="3558"/>
                    </a:lnTo>
                    <a:lnTo>
                      <a:pt x="546" y="3558"/>
                    </a:lnTo>
                    <a:lnTo>
                      <a:pt x="542" y="3560"/>
                    </a:lnTo>
                    <a:lnTo>
                      <a:pt x="540" y="3562"/>
                    </a:lnTo>
                    <a:lnTo>
                      <a:pt x="540" y="3562"/>
                    </a:lnTo>
                    <a:close/>
                    <a:moveTo>
                      <a:pt x="560" y="3548"/>
                    </a:moveTo>
                    <a:lnTo>
                      <a:pt x="560" y="3548"/>
                    </a:lnTo>
                    <a:lnTo>
                      <a:pt x="558" y="3550"/>
                    </a:lnTo>
                    <a:lnTo>
                      <a:pt x="556" y="3548"/>
                    </a:lnTo>
                    <a:lnTo>
                      <a:pt x="556" y="3548"/>
                    </a:lnTo>
                    <a:lnTo>
                      <a:pt x="554" y="3550"/>
                    </a:lnTo>
                    <a:lnTo>
                      <a:pt x="554" y="3550"/>
                    </a:lnTo>
                    <a:lnTo>
                      <a:pt x="552" y="3552"/>
                    </a:lnTo>
                    <a:lnTo>
                      <a:pt x="554" y="3554"/>
                    </a:lnTo>
                    <a:lnTo>
                      <a:pt x="560" y="3556"/>
                    </a:lnTo>
                    <a:lnTo>
                      <a:pt x="560" y="3556"/>
                    </a:lnTo>
                    <a:lnTo>
                      <a:pt x="562" y="3556"/>
                    </a:lnTo>
                    <a:lnTo>
                      <a:pt x="564" y="3556"/>
                    </a:lnTo>
                    <a:lnTo>
                      <a:pt x="562" y="3548"/>
                    </a:lnTo>
                    <a:lnTo>
                      <a:pt x="562" y="3548"/>
                    </a:lnTo>
                    <a:lnTo>
                      <a:pt x="560" y="3544"/>
                    </a:lnTo>
                    <a:lnTo>
                      <a:pt x="560" y="3546"/>
                    </a:lnTo>
                    <a:lnTo>
                      <a:pt x="560" y="3548"/>
                    </a:lnTo>
                    <a:lnTo>
                      <a:pt x="560" y="3548"/>
                    </a:lnTo>
                    <a:close/>
                    <a:moveTo>
                      <a:pt x="556" y="3506"/>
                    </a:moveTo>
                    <a:lnTo>
                      <a:pt x="556" y="3506"/>
                    </a:lnTo>
                    <a:lnTo>
                      <a:pt x="530" y="3504"/>
                    </a:lnTo>
                    <a:lnTo>
                      <a:pt x="530" y="3504"/>
                    </a:lnTo>
                    <a:lnTo>
                      <a:pt x="522" y="3504"/>
                    </a:lnTo>
                    <a:lnTo>
                      <a:pt x="522" y="3506"/>
                    </a:lnTo>
                    <a:lnTo>
                      <a:pt x="526" y="3508"/>
                    </a:lnTo>
                    <a:lnTo>
                      <a:pt x="526" y="3508"/>
                    </a:lnTo>
                    <a:lnTo>
                      <a:pt x="528" y="3510"/>
                    </a:lnTo>
                    <a:lnTo>
                      <a:pt x="528" y="3512"/>
                    </a:lnTo>
                    <a:lnTo>
                      <a:pt x="528" y="3516"/>
                    </a:lnTo>
                    <a:lnTo>
                      <a:pt x="530" y="3522"/>
                    </a:lnTo>
                    <a:lnTo>
                      <a:pt x="530" y="3522"/>
                    </a:lnTo>
                    <a:lnTo>
                      <a:pt x="532" y="3524"/>
                    </a:lnTo>
                    <a:lnTo>
                      <a:pt x="536" y="3524"/>
                    </a:lnTo>
                    <a:lnTo>
                      <a:pt x="546" y="3524"/>
                    </a:lnTo>
                    <a:lnTo>
                      <a:pt x="546" y="3524"/>
                    </a:lnTo>
                    <a:lnTo>
                      <a:pt x="550" y="3524"/>
                    </a:lnTo>
                    <a:lnTo>
                      <a:pt x="550" y="3522"/>
                    </a:lnTo>
                    <a:lnTo>
                      <a:pt x="550" y="3520"/>
                    </a:lnTo>
                    <a:lnTo>
                      <a:pt x="554" y="3518"/>
                    </a:lnTo>
                    <a:lnTo>
                      <a:pt x="554" y="3518"/>
                    </a:lnTo>
                    <a:lnTo>
                      <a:pt x="556" y="3520"/>
                    </a:lnTo>
                    <a:lnTo>
                      <a:pt x="558" y="3524"/>
                    </a:lnTo>
                    <a:lnTo>
                      <a:pt x="558" y="3526"/>
                    </a:lnTo>
                    <a:lnTo>
                      <a:pt x="562" y="3528"/>
                    </a:lnTo>
                    <a:lnTo>
                      <a:pt x="562" y="3528"/>
                    </a:lnTo>
                    <a:lnTo>
                      <a:pt x="566" y="3526"/>
                    </a:lnTo>
                    <a:lnTo>
                      <a:pt x="568" y="3524"/>
                    </a:lnTo>
                    <a:lnTo>
                      <a:pt x="572" y="3514"/>
                    </a:lnTo>
                    <a:lnTo>
                      <a:pt x="572" y="3514"/>
                    </a:lnTo>
                    <a:lnTo>
                      <a:pt x="572" y="3512"/>
                    </a:lnTo>
                    <a:lnTo>
                      <a:pt x="572" y="3508"/>
                    </a:lnTo>
                    <a:lnTo>
                      <a:pt x="568" y="3506"/>
                    </a:lnTo>
                    <a:lnTo>
                      <a:pt x="562" y="3506"/>
                    </a:lnTo>
                    <a:lnTo>
                      <a:pt x="556" y="3506"/>
                    </a:lnTo>
                    <a:lnTo>
                      <a:pt x="556" y="3506"/>
                    </a:lnTo>
                    <a:close/>
                    <a:moveTo>
                      <a:pt x="522" y="3532"/>
                    </a:moveTo>
                    <a:lnTo>
                      <a:pt x="522" y="3532"/>
                    </a:lnTo>
                    <a:lnTo>
                      <a:pt x="516" y="3528"/>
                    </a:lnTo>
                    <a:lnTo>
                      <a:pt x="520" y="3528"/>
                    </a:lnTo>
                    <a:lnTo>
                      <a:pt x="524" y="3526"/>
                    </a:lnTo>
                    <a:lnTo>
                      <a:pt x="524" y="3526"/>
                    </a:lnTo>
                    <a:lnTo>
                      <a:pt x="524" y="3524"/>
                    </a:lnTo>
                    <a:lnTo>
                      <a:pt x="524" y="3524"/>
                    </a:lnTo>
                    <a:lnTo>
                      <a:pt x="518" y="3520"/>
                    </a:lnTo>
                    <a:lnTo>
                      <a:pt x="510" y="3520"/>
                    </a:lnTo>
                    <a:lnTo>
                      <a:pt x="510" y="3520"/>
                    </a:lnTo>
                    <a:lnTo>
                      <a:pt x="506" y="3520"/>
                    </a:lnTo>
                    <a:lnTo>
                      <a:pt x="506" y="3518"/>
                    </a:lnTo>
                    <a:lnTo>
                      <a:pt x="514" y="3516"/>
                    </a:lnTo>
                    <a:lnTo>
                      <a:pt x="514" y="3516"/>
                    </a:lnTo>
                    <a:lnTo>
                      <a:pt x="520" y="3514"/>
                    </a:lnTo>
                    <a:lnTo>
                      <a:pt x="520" y="3512"/>
                    </a:lnTo>
                    <a:lnTo>
                      <a:pt x="520" y="3510"/>
                    </a:lnTo>
                    <a:lnTo>
                      <a:pt x="518" y="3508"/>
                    </a:lnTo>
                    <a:lnTo>
                      <a:pt x="518" y="3508"/>
                    </a:lnTo>
                    <a:lnTo>
                      <a:pt x="512" y="3506"/>
                    </a:lnTo>
                    <a:lnTo>
                      <a:pt x="504" y="3506"/>
                    </a:lnTo>
                    <a:lnTo>
                      <a:pt x="498" y="3508"/>
                    </a:lnTo>
                    <a:lnTo>
                      <a:pt x="490" y="3508"/>
                    </a:lnTo>
                    <a:lnTo>
                      <a:pt x="490" y="3508"/>
                    </a:lnTo>
                    <a:lnTo>
                      <a:pt x="486" y="3508"/>
                    </a:lnTo>
                    <a:lnTo>
                      <a:pt x="478" y="3510"/>
                    </a:lnTo>
                    <a:lnTo>
                      <a:pt x="462" y="3514"/>
                    </a:lnTo>
                    <a:lnTo>
                      <a:pt x="462" y="3514"/>
                    </a:lnTo>
                    <a:lnTo>
                      <a:pt x="454" y="3516"/>
                    </a:lnTo>
                    <a:lnTo>
                      <a:pt x="454" y="3516"/>
                    </a:lnTo>
                    <a:lnTo>
                      <a:pt x="454" y="3518"/>
                    </a:lnTo>
                    <a:lnTo>
                      <a:pt x="464" y="3524"/>
                    </a:lnTo>
                    <a:lnTo>
                      <a:pt x="464" y="3524"/>
                    </a:lnTo>
                    <a:lnTo>
                      <a:pt x="466" y="3526"/>
                    </a:lnTo>
                    <a:lnTo>
                      <a:pt x="466" y="3526"/>
                    </a:lnTo>
                    <a:lnTo>
                      <a:pt x="462" y="3528"/>
                    </a:lnTo>
                    <a:lnTo>
                      <a:pt x="462" y="3528"/>
                    </a:lnTo>
                    <a:lnTo>
                      <a:pt x="462" y="3528"/>
                    </a:lnTo>
                    <a:lnTo>
                      <a:pt x="470" y="3532"/>
                    </a:lnTo>
                    <a:lnTo>
                      <a:pt x="470" y="3532"/>
                    </a:lnTo>
                    <a:lnTo>
                      <a:pt x="476" y="3534"/>
                    </a:lnTo>
                    <a:lnTo>
                      <a:pt x="480" y="3536"/>
                    </a:lnTo>
                    <a:lnTo>
                      <a:pt x="486" y="3540"/>
                    </a:lnTo>
                    <a:lnTo>
                      <a:pt x="486" y="3540"/>
                    </a:lnTo>
                    <a:lnTo>
                      <a:pt x="490" y="3540"/>
                    </a:lnTo>
                    <a:lnTo>
                      <a:pt x="490" y="3538"/>
                    </a:lnTo>
                    <a:lnTo>
                      <a:pt x="482" y="3530"/>
                    </a:lnTo>
                    <a:lnTo>
                      <a:pt x="482" y="3530"/>
                    </a:lnTo>
                    <a:lnTo>
                      <a:pt x="480" y="3526"/>
                    </a:lnTo>
                    <a:lnTo>
                      <a:pt x="482" y="3524"/>
                    </a:lnTo>
                    <a:lnTo>
                      <a:pt x="486" y="3524"/>
                    </a:lnTo>
                    <a:lnTo>
                      <a:pt x="490" y="3524"/>
                    </a:lnTo>
                    <a:lnTo>
                      <a:pt x="490" y="3524"/>
                    </a:lnTo>
                    <a:lnTo>
                      <a:pt x="494" y="3524"/>
                    </a:lnTo>
                    <a:lnTo>
                      <a:pt x="498" y="3524"/>
                    </a:lnTo>
                    <a:lnTo>
                      <a:pt x="500" y="3524"/>
                    </a:lnTo>
                    <a:lnTo>
                      <a:pt x="500" y="3524"/>
                    </a:lnTo>
                    <a:lnTo>
                      <a:pt x="500" y="3524"/>
                    </a:lnTo>
                    <a:lnTo>
                      <a:pt x="496" y="3532"/>
                    </a:lnTo>
                    <a:lnTo>
                      <a:pt x="496" y="3536"/>
                    </a:lnTo>
                    <a:lnTo>
                      <a:pt x="500" y="3540"/>
                    </a:lnTo>
                    <a:lnTo>
                      <a:pt x="500" y="3540"/>
                    </a:lnTo>
                    <a:lnTo>
                      <a:pt x="500" y="3540"/>
                    </a:lnTo>
                    <a:lnTo>
                      <a:pt x="502" y="3540"/>
                    </a:lnTo>
                    <a:lnTo>
                      <a:pt x="506" y="3538"/>
                    </a:lnTo>
                    <a:lnTo>
                      <a:pt x="510" y="3536"/>
                    </a:lnTo>
                    <a:lnTo>
                      <a:pt x="510" y="3536"/>
                    </a:lnTo>
                    <a:lnTo>
                      <a:pt x="512" y="3538"/>
                    </a:lnTo>
                    <a:lnTo>
                      <a:pt x="512" y="3538"/>
                    </a:lnTo>
                    <a:lnTo>
                      <a:pt x="514" y="3540"/>
                    </a:lnTo>
                    <a:lnTo>
                      <a:pt x="518" y="3540"/>
                    </a:lnTo>
                    <a:lnTo>
                      <a:pt x="522" y="3542"/>
                    </a:lnTo>
                    <a:lnTo>
                      <a:pt x="522" y="3544"/>
                    </a:lnTo>
                    <a:lnTo>
                      <a:pt x="522" y="3544"/>
                    </a:lnTo>
                    <a:lnTo>
                      <a:pt x="524" y="3548"/>
                    </a:lnTo>
                    <a:lnTo>
                      <a:pt x="524" y="3548"/>
                    </a:lnTo>
                    <a:lnTo>
                      <a:pt x="526" y="3548"/>
                    </a:lnTo>
                    <a:lnTo>
                      <a:pt x="528" y="3550"/>
                    </a:lnTo>
                    <a:lnTo>
                      <a:pt x="528" y="3550"/>
                    </a:lnTo>
                    <a:lnTo>
                      <a:pt x="532" y="3554"/>
                    </a:lnTo>
                    <a:lnTo>
                      <a:pt x="534" y="3552"/>
                    </a:lnTo>
                    <a:lnTo>
                      <a:pt x="534" y="3548"/>
                    </a:lnTo>
                    <a:lnTo>
                      <a:pt x="534" y="3544"/>
                    </a:lnTo>
                    <a:lnTo>
                      <a:pt x="534" y="3544"/>
                    </a:lnTo>
                    <a:lnTo>
                      <a:pt x="532" y="3542"/>
                    </a:lnTo>
                    <a:lnTo>
                      <a:pt x="532" y="3538"/>
                    </a:lnTo>
                    <a:lnTo>
                      <a:pt x="530" y="3536"/>
                    </a:lnTo>
                    <a:lnTo>
                      <a:pt x="522" y="3532"/>
                    </a:lnTo>
                    <a:lnTo>
                      <a:pt x="522" y="3532"/>
                    </a:lnTo>
                    <a:close/>
                    <a:moveTo>
                      <a:pt x="476" y="3508"/>
                    </a:moveTo>
                    <a:lnTo>
                      <a:pt x="476" y="3508"/>
                    </a:lnTo>
                    <a:lnTo>
                      <a:pt x="484" y="3506"/>
                    </a:lnTo>
                    <a:lnTo>
                      <a:pt x="484" y="3504"/>
                    </a:lnTo>
                    <a:lnTo>
                      <a:pt x="484" y="3504"/>
                    </a:lnTo>
                    <a:lnTo>
                      <a:pt x="472" y="3502"/>
                    </a:lnTo>
                    <a:lnTo>
                      <a:pt x="472" y="3502"/>
                    </a:lnTo>
                    <a:lnTo>
                      <a:pt x="464" y="3502"/>
                    </a:lnTo>
                    <a:lnTo>
                      <a:pt x="458" y="3502"/>
                    </a:lnTo>
                    <a:lnTo>
                      <a:pt x="450" y="3506"/>
                    </a:lnTo>
                    <a:lnTo>
                      <a:pt x="450" y="3506"/>
                    </a:lnTo>
                    <a:lnTo>
                      <a:pt x="448" y="3508"/>
                    </a:lnTo>
                    <a:lnTo>
                      <a:pt x="448" y="3508"/>
                    </a:lnTo>
                    <a:lnTo>
                      <a:pt x="456" y="3510"/>
                    </a:lnTo>
                    <a:lnTo>
                      <a:pt x="456" y="3510"/>
                    </a:lnTo>
                    <a:lnTo>
                      <a:pt x="462" y="3510"/>
                    </a:lnTo>
                    <a:lnTo>
                      <a:pt x="476" y="3508"/>
                    </a:lnTo>
                    <a:lnTo>
                      <a:pt x="476" y="3508"/>
                    </a:lnTo>
                    <a:close/>
                    <a:moveTo>
                      <a:pt x="572" y="3528"/>
                    </a:moveTo>
                    <a:lnTo>
                      <a:pt x="572" y="3528"/>
                    </a:lnTo>
                    <a:lnTo>
                      <a:pt x="574" y="3530"/>
                    </a:lnTo>
                    <a:lnTo>
                      <a:pt x="578" y="3530"/>
                    </a:lnTo>
                    <a:lnTo>
                      <a:pt x="580" y="3528"/>
                    </a:lnTo>
                    <a:lnTo>
                      <a:pt x="582" y="3524"/>
                    </a:lnTo>
                    <a:lnTo>
                      <a:pt x="582" y="3524"/>
                    </a:lnTo>
                    <a:lnTo>
                      <a:pt x="580" y="3522"/>
                    </a:lnTo>
                    <a:lnTo>
                      <a:pt x="578" y="3522"/>
                    </a:lnTo>
                    <a:lnTo>
                      <a:pt x="574" y="3524"/>
                    </a:lnTo>
                    <a:lnTo>
                      <a:pt x="572" y="3528"/>
                    </a:lnTo>
                    <a:lnTo>
                      <a:pt x="572" y="3528"/>
                    </a:lnTo>
                    <a:close/>
                    <a:moveTo>
                      <a:pt x="636" y="3486"/>
                    </a:moveTo>
                    <a:lnTo>
                      <a:pt x="636" y="3486"/>
                    </a:lnTo>
                    <a:lnTo>
                      <a:pt x="628" y="3488"/>
                    </a:lnTo>
                    <a:lnTo>
                      <a:pt x="622" y="3486"/>
                    </a:lnTo>
                    <a:lnTo>
                      <a:pt x="616" y="3484"/>
                    </a:lnTo>
                    <a:lnTo>
                      <a:pt x="610" y="3482"/>
                    </a:lnTo>
                    <a:lnTo>
                      <a:pt x="610" y="3482"/>
                    </a:lnTo>
                    <a:lnTo>
                      <a:pt x="602" y="3478"/>
                    </a:lnTo>
                    <a:lnTo>
                      <a:pt x="594" y="3470"/>
                    </a:lnTo>
                    <a:lnTo>
                      <a:pt x="584" y="3462"/>
                    </a:lnTo>
                    <a:lnTo>
                      <a:pt x="574" y="3456"/>
                    </a:lnTo>
                    <a:lnTo>
                      <a:pt x="574" y="3456"/>
                    </a:lnTo>
                    <a:lnTo>
                      <a:pt x="562" y="3448"/>
                    </a:lnTo>
                    <a:lnTo>
                      <a:pt x="548" y="3436"/>
                    </a:lnTo>
                    <a:lnTo>
                      <a:pt x="538" y="3424"/>
                    </a:lnTo>
                    <a:lnTo>
                      <a:pt x="532" y="3414"/>
                    </a:lnTo>
                    <a:lnTo>
                      <a:pt x="532" y="3414"/>
                    </a:lnTo>
                    <a:lnTo>
                      <a:pt x="530" y="3404"/>
                    </a:lnTo>
                    <a:lnTo>
                      <a:pt x="528" y="3404"/>
                    </a:lnTo>
                    <a:lnTo>
                      <a:pt x="522" y="3402"/>
                    </a:lnTo>
                    <a:lnTo>
                      <a:pt x="522" y="3402"/>
                    </a:lnTo>
                    <a:lnTo>
                      <a:pt x="516" y="3402"/>
                    </a:lnTo>
                    <a:lnTo>
                      <a:pt x="514" y="3400"/>
                    </a:lnTo>
                    <a:lnTo>
                      <a:pt x="512" y="3396"/>
                    </a:lnTo>
                    <a:lnTo>
                      <a:pt x="516" y="3390"/>
                    </a:lnTo>
                    <a:lnTo>
                      <a:pt x="516" y="3390"/>
                    </a:lnTo>
                    <a:lnTo>
                      <a:pt x="520" y="3386"/>
                    </a:lnTo>
                    <a:lnTo>
                      <a:pt x="522" y="3386"/>
                    </a:lnTo>
                    <a:lnTo>
                      <a:pt x="524" y="3390"/>
                    </a:lnTo>
                    <a:lnTo>
                      <a:pt x="524" y="3390"/>
                    </a:lnTo>
                    <a:lnTo>
                      <a:pt x="524" y="3392"/>
                    </a:lnTo>
                    <a:lnTo>
                      <a:pt x="526" y="3394"/>
                    </a:lnTo>
                    <a:lnTo>
                      <a:pt x="528" y="3392"/>
                    </a:lnTo>
                    <a:lnTo>
                      <a:pt x="528" y="3388"/>
                    </a:lnTo>
                    <a:lnTo>
                      <a:pt x="528" y="3388"/>
                    </a:lnTo>
                    <a:lnTo>
                      <a:pt x="524" y="3380"/>
                    </a:lnTo>
                    <a:lnTo>
                      <a:pt x="510" y="3364"/>
                    </a:lnTo>
                    <a:lnTo>
                      <a:pt x="510" y="3502"/>
                    </a:lnTo>
                    <a:lnTo>
                      <a:pt x="510" y="3502"/>
                    </a:lnTo>
                    <a:lnTo>
                      <a:pt x="510" y="3502"/>
                    </a:lnTo>
                    <a:lnTo>
                      <a:pt x="510" y="3502"/>
                    </a:lnTo>
                    <a:lnTo>
                      <a:pt x="510" y="3502"/>
                    </a:lnTo>
                    <a:lnTo>
                      <a:pt x="510" y="3502"/>
                    </a:lnTo>
                    <a:lnTo>
                      <a:pt x="518" y="3498"/>
                    </a:lnTo>
                    <a:lnTo>
                      <a:pt x="520" y="3496"/>
                    </a:lnTo>
                    <a:lnTo>
                      <a:pt x="522" y="3496"/>
                    </a:lnTo>
                    <a:lnTo>
                      <a:pt x="530" y="3498"/>
                    </a:lnTo>
                    <a:lnTo>
                      <a:pt x="530" y="3498"/>
                    </a:lnTo>
                    <a:lnTo>
                      <a:pt x="544" y="3500"/>
                    </a:lnTo>
                    <a:lnTo>
                      <a:pt x="560" y="3502"/>
                    </a:lnTo>
                    <a:lnTo>
                      <a:pt x="576" y="3504"/>
                    </a:lnTo>
                    <a:lnTo>
                      <a:pt x="584" y="3506"/>
                    </a:lnTo>
                    <a:lnTo>
                      <a:pt x="588" y="3508"/>
                    </a:lnTo>
                    <a:lnTo>
                      <a:pt x="588" y="3508"/>
                    </a:lnTo>
                    <a:lnTo>
                      <a:pt x="596" y="3512"/>
                    </a:lnTo>
                    <a:lnTo>
                      <a:pt x="598" y="3510"/>
                    </a:lnTo>
                    <a:lnTo>
                      <a:pt x="602" y="3508"/>
                    </a:lnTo>
                    <a:lnTo>
                      <a:pt x="606" y="3506"/>
                    </a:lnTo>
                    <a:lnTo>
                      <a:pt x="606" y="3506"/>
                    </a:lnTo>
                    <a:lnTo>
                      <a:pt x="614" y="3506"/>
                    </a:lnTo>
                    <a:lnTo>
                      <a:pt x="620" y="3502"/>
                    </a:lnTo>
                    <a:lnTo>
                      <a:pt x="624" y="3500"/>
                    </a:lnTo>
                    <a:lnTo>
                      <a:pt x="626" y="3502"/>
                    </a:lnTo>
                    <a:lnTo>
                      <a:pt x="626" y="3502"/>
                    </a:lnTo>
                    <a:lnTo>
                      <a:pt x="630" y="3506"/>
                    </a:lnTo>
                    <a:lnTo>
                      <a:pt x="632" y="3504"/>
                    </a:lnTo>
                    <a:lnTo>
                      <a:pt x="634" y="3502"/>
                    </a:lnTo>
                    <a:lnTo>
                      <a:pt x="638" y="3502"/>
                    </a:lnTo>
                    <a:lnTo>
                      <a:pt x="638" y="3502"/>
                    </a:lnTo>
                    <a:lnTo>
                      <a:pt x="640" y="3502"/>
                    </a:lnTo>
                    <a:lnTo>
                      <a:pt x="642" y="3502"/>
                    </a:lnTo>
                    <a:lnTo>
                      <a:pt x="646" y="3494"/>
                    </a:lnTo>
                    <a:lnTo>
                      <a:pt x="646" y="3494"/>
                    </a:lnTo>
                    <a:lnTo>
                      <a:pt x="648" y="3488"/>
                    </a:lnTo>
                    <a:lnTo>
                      <a:pt x="648" y="3486"/>
                    </a:lnTo>
                    <a:lnTo>
                      <a:pt x="642" y="3486"/>
                    </a:lnTo>
                    <a:lnTo>
                      <a:pt x="636" y="3486"/>
                    </a:lnTo>
                    <a:lnTo>
                      <a:pt x="636" y="3486"/>
                    </a:lnTo>
                    <a:close/>
                    <a:moveTo>
                      <a:pt x="436" y="3502"/>
                    </a:moveTo>
                    <a:lnTo>
                      <a:pt x="436" y="3502"/>
                    </a:lnTo>
                    <a:lnTo>
                      <a:pt x="428" y="3504"/>
                    </a:lnTo>
                    <a:lnTo>
                      <a:pt x="426" y="3506"/>
                    </a:lnTo>
                    <a:lnTo>
                      <a:pt x="420" y="3506"/>
                    </a:lnTo>
                    <a:lnTo>
                      <a:pt x="420" y="3506"/>
                    </a:lnTo>
                    <a:lnTo>
                      <a:pt x="414" y="3506"/>
                    </a:lnTo>
                    <a:lnTo>
                      <a:pt x="414" y="3508"/>
                    </a:lnTo>
                    <a:lnTo>
                      <a:pt x="414" y="3510"/>
                    </a:lnTo>
                    <a:lnTo>
                      <a:pt x="414" y="3510"/>
                    </a:lnTo>
                    <a:lnTo>
                      <a:pt x="416" y="3514"/>
                    </a:lnTo>
                    <a:lnTo>
                      <a:pt x="418" y="3514"/>
                    </a:lnTo>
                    <a:lnTo>
                      <a:pt x="428" y="3516"/>
                    </a:lnTo>
                    <a:lnTo>
                      <a:pt x="428" y="3516"/>
                    </a:lnTo>
                    <a:lnTo>
                      <a:pt x="430" y="3516"/>
                    </a:lnTo>
                    <a:lnTo>
                      <a:pt x="432" y="3518"/>
                    </a:lnTo>
                    <a:lnTo>
                      <a:pt x="432" y="3520"/>
                    </a:lnTo>
                    <a:lnTo>
                      <a:pt x="432" y="3522"/>
                    </a:lnTo>
                    <a:lnTo>
                      <a:pt x="436" y="3522"/>
                    </a:lnTo>
                    <a:lnTo>
                      <a:pt x="436" y="3522"/>
                    </a:lnTo>
                    <a:lnTo>
                      <a:pt x="442" y="3518"/>
                    </a:lnTo>
                    <a:lnTo>
                      <a:pt x="442" y="3516"/>
                    </a:lnTo>
                    <a:lnTo>
                      <a:pt x="442" y="3512"/>
                    </a:lnTo>
                    <a:lnTo>
                      <a:pt x="438" y="3512"/>
                    </a:lnTo>
                    <a:lnTo>
                      <a:pt x="438" y="3512"/>
                    </a:lnTo>
                    <a:lnTo>
                      <a:pt x="432" y="3510"/>
                    </a:lnTo>
                    <a:lnTo>
                      <a:pt x="434" y="3508"/>
                    </a:lnTo>
                    <a:lnTo>
                      <a:pt x="438" y="3508"/>
                    </a:lnTo>
                    <a:lnTo>
                      <a:pt x="438" y="3508"/>
                    </a:lnTo>
                    <a:lnTo>
                      <a:pt x="442" y="3506"/>
                    </a:lnTo>
                    <a:lnTo>
                      <a:pt x="444" y="3504"/>
                    </a:lnTo>
                    <a:lnTo>
                      <a:pt x="440" y="3504"/>
                    </a:lnTo>
                    <a:lnTo>
                      <a:pt x="436" y="3502"/>
                    </a:lnTo>
                    <a:lnTo>
                      <a:pt x="436" y="3502"/>
                    </a:lnTo>
                    <a:close/>
                    <a:moveTo>
                      <a:pt x="290" y="2874"/>
                    </a:moveTo>
                    <a:lnTo>
                      <a:pt x="290" y="2874"/>
                    </a:lnTo>
                    <a:lnTo>
                      <a:pt x="292" y="2876"/>
                    </a:lnTo>
                    <a:lnTo>
                      <a:pt x="294" y="2874"/>
                    </a:lnTo>
                    <a:lnTo>
                      <a:pt x="294" y="2872"/>
                    </a:lnTo>
                    <a:lnTo>
                      <a:pt x="294" y="2870"/>
                    </a:lnTo>
                    <a:lnTo>
                      <a:pt x="294" y="2870"/>
                    </a:lnTo>
                    <a:lnTo>
                      <a:pt x="290" y="2868"/>
                    </a:lnTo>
                    <a:lnTo>
                      <a:pt x="290" y="2874"/>
                    </a:lnTo>
                    <a:lnTo>
                      <a:pt x="290" y="2874"/>
                    </a:lnTo>
                    <a:close/>
                    <a:moveTo>
                      <a:pt x="592" y="3524"/>
                    </a:moveTo>
                    <a:lnTo>
                      <a:pt x="592" y="3524"/>
                    </a:lnTo>
                    <a:lnTo>
                      <a:pt x="596" y="3524"/>
                    </a:lnTo>
                    <a:lnTo>
                      <a:pt x="598" y="3524"/>
                    </a:lnTo>
                    <a:lnTo>
                      <a:pt x="598" y="3522"/>
                    </a:lnTo>
                    <a:lnTo>
                      <a:pt x="596" y="3518"/>
                    </a:lnTo>
                    <a:lnTo>
                      <a:pt x="596" y="3518"/>
                    </a:lnTo>
                    <a:lnTo>
                      <a:pt x="594" y="3518"/>
                    </a:lnTo>
                    <a:lnTo>
                      <a:pt x="590" y="3520"/>
                    </a:lnTo>
                    <a:lnTo>
                      <a:pt x="590" y="3522"/>
                    </a:lnTo>
                    <a:lnTo>
                      <a:pt x="592" y="3524"/>
                    </a:lnTo>
                    <a:lnTo>
                      <a:pt x="592" y="3524"/>
                    </a:lnTo>
                    <a:close/>
                    <a:moveTo>
                      <a:pt x="310" y="3406"/>
                    </a:moveTo>
                    <a:lnTo>
                      <a:pt x="310" y="3406"/>
                    </a:lnTo>
                    <a:lnTo>
                      <a:pt x="314" y="3406"/>
                    </a:lnTo>
                    <a:lnTo>
                      <a:pt x="314" y="3406"/>
                    </a:lnTo>
                    <a:lnTo>
                      <a:pt x="318" y="3406"/>
                    </a:lnTo>
                    <a:lnTo>
                      <a:pt x="322" y="3406"/>
                    </a:lnTo>
                    <a:lnTo>
                      <a:pt x="322" y="3406"/>
                    </a:lnTo>
                    <a:lnTo>
                      <a:pt x="326" y="3408"/>
                    </a:lnTo>
                    <a:lnTo>
                      <a:pt x="328" y="3408"/>
                    </a:lnTo>
                    <a:lnTo>
                      <a:pt x="324" y="3402"/>
                    </a:lnTo>
                    <a:lnTo>
                      <a:pt x="324" y="3402"/>
                    </a:lnTo>
                    <a:lnTo>
                      <a:pt x="318" y="3396"/>
                    </a:lnTo>
                    <a:lnTo>
                      <a:pt x="316" y="3394"/>
                    </a:lnTo>
                    <a:lnTo>
                      <a:pt x="314" y="3394"/>
                    </a:lnTo>
                    <a:lnTo>
                      <a:pt x="314" y="3394"/>
                    </a:lnTo>
                    <a:lnTo>
                      <a:pt x="312" y="3394"/>
                    </a:lnTo>
                    <a:lnTo>
                      <a:pt x="310" y="3392"/>
                    </a:lnTo>
                    <a:lnTo>
                      <a:pt x="308" y="3390"/>
                    </a:lnTo>
                    <a:lnTo>
                      <a:pt x="308" y="3390"/>
                    </a:lnTo>
                    <a:lnTo>
                      <a:pt x="308" y="3390"/>
                    </a:lnTo>
                    <a:lnTo>
                      <a:pt x="306" y="3392"/>
                    </a:lnTo>
                    <a:lnTo>
                      <a:pt x="304" y="3390"/>
                    </a:lnTo>
                    <a:lnTo>
                      <a:pt x="294" y="3384"/>
                    </a:lnTo>
                    <a:lnTo>
                      <a:pt x="294" y="3384"/>
                    </a:lnTo>
                    <a:lnTo>
                      <a:pt x="284" y="3382"/>
                    </a:lnTo>
                    <a:lnTo>
                      <a:pt x="280" y="3378"/>
                    </a:lnTo>
                    <a:lnTo>
                      <a:pt x="274" y="3374"/>
                    </a:lnTo>
                    <a:lnTo>
                      <a:pt x="274" y="3374"/>
                    </a:lnTo>
                    <a:lnTo>
                      <a:pt x="268" y="3370"/>
                    </a:lnTo>
                    <a:lnTo>
                      <a:pt x="264" y="3368"/>
                    </a:lnTo>
                    <a:lnTo>
                      <a:pt x="262" y="3370"/>
                    </a:lnTo>
                    <a:lnTo>
                      <a:pt x="266" y="3374"/>
                    </a:lnTo>
                    <a:lnTo>
                      <a:pt x="266" y="3374"/>
                    </a:lnTo>
                    <a:lnTo>
                      <a:pt x="270" y="3376"/>
                    </a:lnTo>
                    <a:lnTo>
                      <a:pt x="270" y="3380"/>
                    </a:lnTo>
                    <a:lnTo>
                      <a:pt x="268" y="3380"/>
                    </a:lnTo>
                    <a:lnTo>
                      <a:pt x="272" y="3382"/>
                    </a:lnTo>
                    <a:lnTo>
                      <a:pt x="272" y="3382"/>
                    </a:lnTo>
                    <a:lnTo>
                      <a:pt x="276" y="3384"/>
                    </a:lnTo>
                    <a:lnTo>
                      <a:pt x="278" y="3388"/>
                    </a:lnTo>
                    <a:lnTo>
                      <a:pt x="282" y="3390"/>
                    </a:lnTo>
                    <a:lnTo>
                      <a:pt x="288" y="3392"/>
                    </a:lnTo>
                    <a:lnTo>
                      <a:pt x="288" y="3392"/>
                    </a:lnTo>
                    <a:lnTo>
                      <a:pt x="294" y="3392"/>
                    </a:lnTo>
                    <a:lnTo>
                      <a:pt x="296" y="3394"/>
                    </a:lnTo>
                    <a:lnTo>
                      <a:pt x="300" y="3396"/>
                    </a:lnTo>
                    <a:lnTo>
                      <a:pt x="300" y="3396"/>
                    </a:lnTo>
                    <a:lnTo>
                      <a:pt x="302" y="3398"/>
                    </a:lnTo>
                    <a:lnTo>
                      <a:pt x="302" y="3398"/>
                    </a:lnTo>
                    <a:lnTo>
                      <a:pt x="304" y="3398"/>
                    </a:lnTo>
                    <a:lnTo>
                      <a:pt x="308" y="3398"/>
                    </a:lnTo>
                    <a:lnTo>
                      <a:pt x="308" y="3398"/>
                    </a:lnTo>
                    <a:lnTo>
                      <a:pt x="310" y="3400"/>
                    </a:lnTo>
                    <a:lnTo>
                      <a:pt x="310" y="3402"/>
                    </a:lnTo>
                    <a:lnTo>
                      <a:pt x="310" y="3404"/>
                    </a:lnTo>
                    <a:lnTo>
                      <a:pt x="310" y="3406"/>
                    </a:lnTo>
                    <a:lnTo>
                      <a:pt x="310" y="3406"/>
                    </a:lnTo>
                    <a:close/>
                    <a:moveTo>
                      <a:pt x="262" y="3306"/>
                    </a:moveTo>
                    <a:lnTo>
                      <a:pt x="262" y="3306"/>
                    </a:lnTo>
                    <a:lnTo>
                      <a:pt x="260" y="3302"/>
                    </a:lnTo>
                    <a:lnTo>
                      <a:pt x="258" y="3302"/>
                    </a:lnTo>
                    <a:lnTo>
                      <a:pt x="258" y="3304"/>
                    </a:lnTo>
                    <a:lnTo>
                      <a:pt x="258" y="3310"/>
                    </a:lnTo>
                    <a:lnTo>
                      <a:pt x="258" y="3310"/>
                    </a:lnTo>
                    <a:lnTo>
                      <a:pt x="258" y="3314"/>
                    </a:lnTo>
                    <a:lnTo>
                      <a:pt x="258" y="3314"/>
                    </a:lnTo>
                    <a:lnTo>
                      <a:pt x="254" y="3308"/>
                    </a:lnTo>
                    <a:lnTo>
                      <a:pt x="254" y="3308"/>
                    </a:lnTo>
                    <a:lnTo>
                      <a:pt x="254" y="3308"/>
                    </a:lnTo>
                    <a:lnTo>
                      <a:pt x="252" y="3308"/>
                    </a:lnTo>
                    <a:lnTo>
                      <a:pt x="250" y="3310"/>
                    </a:lnTo>
                    <a:lnTo>
                      <a:pt x="248" y="3314"/>
                    </a:lnTo>
                    <a:lnTo>
                      <a:pt x="250" y="3318"/>
                    </a:lnTo>
                    <a:lnTo>
                      <a:pt x="250" y="3318"/>
                    </a:lnTo>
                    <a:lnTo>
                      <a:pt x="252" y="3320"/>
                    </a:lnTo>
                    <a:lnTo>
                      <a:pt x="252" y="3322"/>
                    </a:lnTo>
                    <a:lnTo>
                      <a:pt x="250" y="3324"/>
                    </a:lnTo>
                    <a:lnTo>
                      <a:pt x="252" y="3328"/>
                    </a:lnTo>
                    <a:lnTo>
                      <a:pt x="252" y="3328"/>
                    </a:lnTo>
                    <a:lnTo>
                      <a:pt x="252" y="3332"/>
                    </a:lnTo>
                    <a:lnTo>
                      <a:pt x="254" y="3332"/>
                    </a:lnTo>
                    <a:lnTo>
                      <a:pt x="258" y="3324"/>
                    </a:lnTo>
                    <a:lnTo>
                      <a:pt x="258" y="3324"/>
                    </a:lnTo>
                    <a:lnTo>
                      <a:pt x="260" y="3314"/>
                    </a:lnTo>
                    <a:lnTo>
                      <a:pt x="262" y="3310"/>
                    </a:lnTo>
                    <a:lnTo>
                      <a:pt x="262" y="3306"/>
                    </a:lnTo>
                    <a:lnTo>
                      <a:pt x="262" y="3306"/>
                    </a:lnTo>
                    <a:close/>
                    <a:moveTo>
                      <a:pt x="284" y="3406"/>
                    </a:moveTo>
                    <a:lnTo>
                      <a:pt x="284" y="3406"/>
                    </a:lnTo>
                    <a:lnTo>
                      <a:pt x="286" y="3406"/>
                    </a:lnTo>
                    <a:lnTo>
                      <a:pt x="288" y="3404"/>
                    </a:lnTo>
                    <a:lnTo>
                      <a:pt x="290" y="3402"/>
                    </a:lnTo>
                    <a:lnTo>
                      <a:pt x="290" y="3400"/>
                    </a:lnTo>
                    <a:lnTo>
                      <a:pt x="290" y="3400"/>
                    </a:lnTo>
                    <a:lnTo>
                      <a:pt x="286" y="3398"/>
                    </a:lnTo>
                    <a:lnTo>
                      <a:pt x="284" y="3400"/>
                    </a:lnTo>
                    <a:lnTo>
                      <a:pt x="284" y="3404"/>
                    </a:lnTo>
                    <a:lnTo>
                      <a:pt x="284" y="3406"/>
                    </a:lnTo>
                    <a:lnTo>
                      <a:pt x="284" y="3406"/>
                    </a:lnTo>
                    <a:close/>
                    <a:moveTo>
                      <a:pt x="268" y="3336"/>
                    </a:moveTo>
                    <a:lnTo>
                      <a:pt x="268" y="3336"/>
                    </a:lnTo>
                    <a:lnTo>
                      <a:pt x="260" y="3336"/>
                    </a:lnTo>
                    <a:lnTo>
                      <a:pt x="258" y="3336"/>
                    </a:lnTo>
                    <a:lnTo>
                      <a:pt x="256" y="3338"/>
                    </a:lnTo>
                    <a:lnTo>
                      <a:pt x="256" y="3338"/>
                    </a:lnTo>
                    <a:lnTo>
                      <a:pt x="258" y="3340"/>
                    </a:lnTo>
                    <a:lnTo>
                      <a:pt x="262" y="3342"/>
                    </a:lnTo>
                    <a:lnTo>
                      <a:pt x="262" y="3342"/>
                    </a:lnTo>
                    <a:lnTo>
                      <a:pt x="264" y="3342"/>
                    </a:lnTo>
                    <a:lnTo>
                      <a:pt x="268" y="3340"/>
                    </a:lnTo>
                    <a:lnTo>
                      <a:pt x="268" y="3338"/>
                    </a:lnTo>
                    <a:lnTo>
                      <a:pt x="268" y="3336"/>
                    </a:lnTo>
                    <a:lnTo>
                      <a:pt x="268" y="3336"/>
                    </a:lnTo>
                    <a:close/>
                    <a:moveTo>
                      <a:pt x="412" y="3500"/>
                    </a:moveTo>
                    <a:lnTo>
                      <a:pt x="412" y="3500"/>
                    </a:lnTo>
                    <a:lnTo>
                      <a:pt x="406" y="3498"/>
                    </a:lnTo>
                    <a:lnTo>
                      <a:pt x="402" y="3496"/>
                    </a:lnTo>
                    <a:lnTo>
                      <a:pt x="398" y="3498"/>
                    </a:lnTo>
                    <a:lnTo>
                      <a:pt x="398" y="3498"/>
                    </a:lnTo>
                    <a:lnTo>
                      <a:pt x="396" y="3500"/>
                    </a:lnTo>
                    <a:lnTo>
                      <a:pt x="396" y="3502"/>
                    </a:lnTo>
                    <a:lnTo>
                      <a:pt x="398" y="3504"/>
                    </a:lnTo>
                    <a:lnTo>
                      <a:pt x="402" y="3502"/>
                    </a:lnTo>
                    <a:lnTo>
                      <a:pt x="402" y="3502"/>
                    </a:lnTo>
                    <a:lnTo>
                      <a:pt x="406" y="3500"/>
                    </a:lnTo>
                    <a:lnTo>
                      <a:pt x="408" y="3502"/>
                    </a:lnTo>
                    <a:lnTo>
                      <a:pt x="410" y="3502"/>
                    </a:lnTo>
                    <a:lnTo>
                      <a:pt x="414" y="3504"/>
                    </a:lnTo>
                    <a:lnTo>
                      <a:pt x="414" y="3504"/>
                    </a:lnTo>
                    <a:lnTo>
                      <a:pt x="414" y="3502"/>
                    </a:lnTo>
                    <a:lnTo>
                      <a:pt x="416" y="3500"/>
                    </a:lnTo>
                    <a:lnTo>
                      <a:pt x="414" y="3500"/>
                    </a:lnTo>
                    <a:lnTo>
                      <a:pt x="412" y="3500"/>
                    </a:lnTo>
                    <a:lnTo>
                      <a:pt x="412" y="3500"/>
                    </a:lnTo>
                    <a:close/>
                    <a:moveTo>
                      <a:pt x="248" y="3284"/>
                    </a:moveTo>
                    <a:lnTo>
                      <a:pt x="248" y="3284"/>
                    </a:lnTo>
                    <a:lnTo>
                      <a:pt x="244" y="3282"/>
                    </a:lnTo>
                    <a:lnTo>
                      <a:pt x="244" y="3284"/>
                    </a:lnTo>
                    <a:lnTo>
                      <a:pt x="244" y="3292"/>
                    </a:lnTo>
                    <a:lnTo>
                      <a:pt x="244" y="3292"/>
                    </a:lnTo>
                    <a:lnTo>
                      <a:pt x="240" y="3300"/>
                    </a:lnTo>
                    <a:lnTo>
                      <a:pt x="240" y="3302"/>
                    </a:lnTo>
                    <a:lnTo>
                      <a:pt x="244" y="3302"/>
                    </a:lnTo>
                    <a:lnTo>
                      <a:pt x="244" y="3302"/>
                    </a:lnTo>
                    <a:lnTo>
                      <a:pt x="246" y="3300"/>
                    </a:lnTo>
                    <a:lnTo>
                      <a:pt x="246" y="3298"/>
                    </a:lnTo>
                    <a:lnTo>
                      <a:pt x="248" y="3294"/>
                    </a:lnTo>
                    <a:lnTo>
                      <a:pt x="248" y="3292"/>
                    </a:lnTo>
                    <a:lnTo>
                      <a:pt x="248" y="3292"/>
                    </a:lnTo>
                    <a:lnTo>
                      <a:pt x="252" y="3288"/>
                    </a:lnTo>
                    <a:lnTo>
                      <a:pt x="248" y="3284"/>
                    </a:lnTo>
                    <a:lnTo>
                      <a:pt x="248" y="3284"/>
                    </a:lnTo>
                    <a:close/>
                    <a:moveTo>
                      <a:pt x="376" y="3462"/>
                    </a:moveTo>
                    <a:lnTo>
                      <a:pt x="376" y="3462"/>
                    </a:lnTo>
                    <a:lnTo>
                      <a:pt x="376" y="3466"/>
                    </a:lnTo>
                    <a:lnTo>
                      <a:pt x="378" y="3468"/>
                    </a:lnTo>
                    <a:lnTo>
                      <a:pt x="380" y="3468"/>
                    </a:lnTo>
                    <a:lnTo>
                      <a:pt x="380" y="3464"/>
                    </a:lnTo>
                    <a:lnTo>
                      <a:pt x="380" y="3464"/>
                    </a:lnTo>
                    <a:lnTo>
                      <a:pt x="380" y="3462"/>
                    </a:lnTo>
                    <a:lnTo>
                      <a:pt x="382" y="3462"/>
                    </a:lnTo>
                    <a:lnTo>
                      <a:pt x="382" y="3462"/>
                    </a:lnTo>
                    <a:lnTo>
                      <a:pt x="384" y="3460"/>
                    </a:lnTo>
                    <a:lnTo>
                      <a:pt x="384" y="3460"/>
                    </a:lnTo>
                    <a:lnTo>
                      <a:pt x="384" y="3456"/>
                    </a:lnTo>
                    <a:lnTo>
                      <a:pt x="386" y="3454"/>
                    </a:lnTo>
                    <a:lnTo>
                      <a:pt x="386" y="3454"/>
                    </a:lnTo>
                    <a:lnTo>
                      <a:pt x="386" y="3452"/>
                    </a:lnTo>
                    <a:lnTo>
                      <a:pt x="386" y="3452"/>
                    </a:lnTo>
                    <a:lnTo>
                      <a:pt x="386" y="3448"/>
                    </a:lnTo>
                    <a:lnTo>
                      <a:pt x="386" y="3444"/>
                    </a:lnTo>
                    <a:lnTo>
                      <a:pt x="386" y="3442"/>
                    </a:lnTo>
                    <a:lnTo>
                      <a:pt x="384" y="3440"/>
                    </a:lnTo>
                    <a:lnTo>
                      <a:pt x="384" y="3440"/>
                    </a:lnTo>
                    <a:lnTo>
                      <a:pt x="378" y="3438"/>
                    </a:lnTo>
                    <a:lnTo>
                      <a:pt x="376" y="3438"/>
                    </a:lnTo>
                    <a:lnTo>
                      <a:pt x="374" y="3442"/>
                    </a:lnTo>
                    <a:lnTo>
                      <a:pt x="374" y="3442"/>
                    </a:lnTo>
                    <a:lnTo>
                      <a:pt x="372" y="3444"/>
                    </a:lnTo>
                    <a:lnTo>
                      <a:pt x="370" y="3442"/>
                    </a:lnTo>
                    <a:lnTo>
                      <a:pt x="368" y="3442"/>
                    </a:lnTo>
                    <a:lnTo>
                      <a:pt x="364" y="3442"/>
                    </a:lnTo>
                    <a:lnTo>
                      <a:pt x="364" y="3442"/>
                    </a:lnTo>
                    <a:lnTo>
                      <a:pt x="362" y="3444"/>
                    </a:lnTo>
                    <a:lnTo>
                      <a:pt x="362" y="3446"/>
                    </a:lnTo>
                    <a:lnTo>
                      <a:pt x="368" y="3452"/>
                    </a:lnTo>
                    <a:lnTo>
                      <a:pt x="368" y="3452"/>
                    </a:lnTo>
                    <a:lnTo>
                      <a:pt x="374" y="3458"/>
                    </a:lnTo>
                    <a:lnTo>
                      <a:pt x="376" y="3460"/>
                    </a:lnTo>
                    <a:lnTo>
                      <a:pt x="376" y="3462"/>
                    </a:lnTo>
                    <a:lnTo>
                      <a:pt x="376" y="3462"/>
                    </a:lnTo>
                    <a:close/>
                    <a:moveTo>
                      <a:pt x="360" y="3454"/>
                    </a:moveTo>
                    <a:lnTo>
                      <a:pt x="360" y="3454"/>
                    </a:lnTo>
                    <a:lnTo>
                      <a:pt x="358" y="3458"/>
                    </a:lnTo>
                    <a:lnTo>
                      <a:pt x="354" y="3458"/>
                    </a:lnTo>
                    <a:lnTo>
                      <a:pt x="352" y="3460"/>
                    </a:lnTo>
                    <a:lnTo>
                      <a:pt x="354" y="3462"/>
                    </a:lnTo>
                    <a:lnTo>
                      <a:pt x="354" y="3462"/>
                    </a:lnTo>
                    <a:lnTo>
                      <a:pt x="356" y="3464"/>
                    </a:lnTo>
                    <a:lnTo>
                      <a:pt x="358" y="3464"/>
                    </a:lnTo>
                    <a:lnTo>
                      <a:pt x="364" y="3458"/>
                    </a:lnTo>
                    <a:lnTo>
                      <a:pt x="364" y="3458"/>
                    </a:lnTo>
                    <a:lnTo>
                      <a:pt x="364" y="3456"/>
                    </a:lnTo>
                    <a:lnTo>
                      <a:pt x="364" y="3454"/>
                    </a:lnTo>
                    <a:lnTo>
                      <a:pt x="362" y="3452"/>
                    </a:lnTo>
                    <a:lnTo>
                      <a:pt x="360" y="3454"/>
                    </a:lnTo>
                    <a:lnTo>
                      <a:pt x="360" y="3454"/>
                    </a:lnTo>
                    <a:close/>
                    <a:moveTo>
                      <a:pt x="390" y="3462"/>
                    </a:moveTo>
                    <a:lnTo>
                      <a:pt x="390" y="3462"/>
                    </a:lnTo>
                    <a:lnTo>
                      <a:pt x="394" y="3462"/>
                    </a:lnTo>
                    <a:lnTo>
                      <a:pt x="394" y="3460"/>
                    </a:lnTo>
                    <a:lnTo>
                      <a:pt x="396" y="3458"/>
                    </a:lnTo>
                    <a:lnTo>
                      <a:pt x="398" y="3460"/>
                    </a:lnTo>
                    <a:lnTo>
                      <a:pt x="398" y="3460"/>
                    </a:lnTo>
                    <a:lnTo>
                      <a:pt x="402" y="3462"/>
                    </a:lnTo>
                    <a:lnTo>
                      <a:pt x="402" y="3464"/>
                    </a:lnTo>
                    <a:lnTo>
                      <a:pt x="402" y="3466"/>
                    </a:lnTo>
                    <a:lnTo>
                      <a:pt x="406" y="3468"/>
                    </a:lnTo>
                    <a:lnTo>
                      <a:pt x="406" y="3468"/>
                    </a:lnTo>
                    <a:lnTo>
                      <a:pt x="410" y="3468"/>
                    </a:lnTo>
                    <a:lnTo>
                      <a:pt x="412" y="3466"/>
                    </a:lnTo>
                    <a:lnTo>
                      <a:pt x="412" y="3454"/>
                    </a:lnTo>
                    <a:lnTo>
                      <a:pt x="412" y="3454"/>
                    </a:lnTo>
                    <a:lnTo>
                      <a:pt x="410" y="3450"/>
                    </a:lnTo>
                    <a:lnTo>
                      <a:pt x="408" y="3450"/>
                    </a:lnTo>
                    <a:lnTo>
                      <a:pt x="406" y="3450"/>
                    </a:lnTo>
                    <a:lnTo>
                      <a:pt x="402" y="3448"/>
                    </a:lnTo>
                    <a:lnTo>
                      <a:pt x="402" y="3448"/>
                    </a:lnTo>
                    <a:lnTo>
                      <a:pt x="400" y="3444"/>
                    </a:lnTo>
                    <a:lnTo>
                      <a:pt x="394" y="3442"/>
                    </a:lnTo>
                    <a:lnTo>
                      <a:pt x="390" y="3444"/>
                    </a:lnTo>
                    <a:lnTo>
                      <a:pt x="388" y="3446"/>
                    </a:lnTo>
                    <a:lnTo>
                      <a:pt x="388" y="3448"/>
                    </a:lnTo>
                    <a:lnTo>
                      <a:pt x="388" y="3448"/>
                    </a:lnTo>
                    <a:lnTo>
                      <a:pt x="390" y="3454"/>
                    </a:lnTo>
                    <a:lnTo>
                      <a:pt x="388" y="3456"/>
                    </a:lnTo>
                    <a:lnTo>
                      <a:pt x="388" y="3460"/>
                    </a:lnTo>
                    <a:lnTo>
                      <a:pt x="390" y="3462"/>
                    </a:lnTo>
                    <a:lnTo>
                      <a:pt x="390" y="3462"/>
                    </a:lnTo>
                    <a:close/>
                    <a:moveTo>
                      <a:pt x="356" y="3450"/>
                    </a:moveTo>
                    <a:lnTo>
                      <a:pt x="356" y="3450"/>
                    </a:lnTo>
                    <a:lnTo>
                      <a:pt x="358" y="3450"/>
                    </a:lnTo>
                    <a:lnTo>
                      <a:pt x="360" y="3450"/>
                    </a:lnTo>
                    <a:lnTo>
                      <a:pt x="358" y="3444"/>
                    </a:lnTo>
                    <a:lnTo>
                      <a:pt x="358" y="3444"/>
                    </a:lnTo>
                    <a:lnTo>
                      <a:pt x="358" y="3442"/>
                    </a:lnTo>
                    <a:lnTo>
                      <a:pt x="358" y="3440"/>
                    </a:lnTo>
                    <a:lnTo>
                      <a:pt x="362" y="3438"/>
                    </a:lnTo>
                    <a:lnTo>
                      <a:pt x="366" y="3436"/>
                    </a:lnTo>
                    <a:lnTo>
                      <a:pt x="366" y="3434"/>
                    </a:lnTo>
                    <a:lnTo>
                      <a:pt x="366" y="3432"/>
                    </a:lnTo>
                    <a:lnTo>
                      <a:pt x="366" y="3432"/>
                    </a:lnTo>
                    <a:lnTo>
                      <a:pt x="362" y="3430"/>
                    </a:lnTo>
                    <a:lnTo>
                      <a:pt x="360" y="3430"/>
                    </a:lnTo>
                    <a:lnTo>
                      <a:pt x="358" y="3428"/>
                    </a:lnTo>
                    <a:lnTo>
                      <a:pt x="356" y="3426"/>
                    </a:lnTo>
                    <a:lnTo>
                      <a:pt x="356" y="3426"/>
                    </a:lnTo>
                    <a:lnTo>
                      <a:pt x="354" y="3422"/>
                    </a:lnTo>
                    <a:lnTo>
                      <a:pt x="352" y="3420"/>
                    </a:lnTo>
                    <a:lnTo>
                      <a:pt x="348" y="3418"/>
                    </a:lnTo>
                    <a:lnTo>
                      <a:pt x="346" y="3420"/>
                    </a:lnTo>
                    <a:lnTo>
                      <a:pt x="346" y="3420"/>
                    </a:lnTo>
                    <a:lnTo>
                      <a:pt x="344" y="3420"/>
                    </a:lnTo>
                    <a:lnTo>
                      <a:pt x="344" y="3418"/>
                    </a:lnTo>
                    <a:lnTo>
                      <a:pt x="342" y="3418"/>
                    </a:lnTo>
                    <a:lnTo>
                      <a:pt x="340" y="3420"/>
                    </a:lnTo>
                    <a:lnTo>
                      <a:pt x="340" y="3420"/>
                    </a:lnTo>
                    <a:lnTo>
                      <a:pt x="338" y="3422"/>
                    </a:lnTo>
                    <a:lnTo>
                      <a:pt x="338" y="3418"/>
                    </a:lnTo>
                    <a:lnTo>
                      <a:pt x="336" y="3414"/>
                    </a:lnTo>
                    <a:lnTo>
                      <a:pt x="332" y="3410"/>
                    </a:lnTo>
                    <a:lnTo>
                      <a:pt x="332" y="3410"/>
                    </a:lnTo>
                    <a:lnTo>
                      <a:pt x="328" y="3410"/>
                    </a:lnTo>
                    <a:lnTo>
                      <a:pt x="328" y="3412"/>
                    </a:lnTo>
                    <a:lnTo>
                      <a:pt x="328" y="3414"/>
                    </a:lnTo>
                    <a:lnTo>
                      <a:pt x="322" y="3414"/>
                    </a:lnTo>
                    <a:lnTo>
                      <a:pt x="322" y="3414"/>
                    </a:lnTo>
                    <a:lnTo>
                      <a:pt x="320" y="3414"/>
                    </a:lnTo>
                    <a:lnTo>
                      <a:pt x="318" y="3414"/>
                    </a:lnTo>
                    <a:lnTo>
                      <a:pt x="320" y="3418"/>
                    </a:lnTo>
                    <a:lnTo>
                      <a:pt x="322" y="3422"/>
                    </a:lnTo>
                    <a:lnTo>
                      <a:pt x="322" y="3422"/>
                    </a:lnTo>
                    <a:lnTo>
                      <a:pt x="320" y="3422"/>
                    </a:lnTo>
                    <a:lnTo>
                      <a:pt x="320" y="3422"/>
                    </a:lnTo>
                    <a:lnTo>
                      <a:pt x="314" y="3420"/>
                    </a:lnTo>
                    <a:lnTo>
                      <a:pt x="310" y="3422"/>
                    </a:lnTo>
                    <a:lnTo>
                      <a:pt x="308" y="3424"/>
                    </a:lnTo>
                    <a:lnTo>
                      <a:pt x="308" y="3424"/>
                    </a:lnTo>
                    <a:lnTo>
                      <a:pt x="308" y="3426"/>
                    </a:lnTo>
                    <a:lnTo>
                      <a:pt x="310" y="3428"/>
                    </a:lnTo>
                    <a:lnTo>
                      <a:pt x="310" y="3428"/>
                    </a:lnTo>
                    <a:lnTo>
                      <a:pt x="312" y="3430"/>
                    </a:lnTo>
                    <a:lnTo>
                      <a:pt x="312" y="3430"/>
                    </a:lnTo>
                    <a:lnTo>
                      <a:pt x="312" y="3432"/>
                    </a:lnTo>
                    <a:lnTo>
                      <a:pt x="312" y="3432"/>
                    </a:lnTo>
                    <a:lnTo>
                      <a:pt x="316" y="3432"/>
                    </a:lnTo>
                    <a:lnTo>
                      <a:pt x="320" y="3430"/>
                    </a:lnTo>
                    <a:lnTo>
                      <a:pt x="322" y="3432"/>
                    </a:lnTo>
                    <a:lnTo>
                      <a:pt x="322" y="3434"/>
                    </a:lnTo>
                    <a:lnTo>
                      <a:pt x="322" y="3434"/>
                    </a:lnTo>
                    <a:lnTo>
                      <a:pt x="322" y="3442"/>
                    </a:lnTo>
                    <a:lnTo>
                      <a:pt x="324" y="3444"/>
                    </a:lnTo>
                    <a:lnTo>
                      <a:pt x="328" y="3448"/>
                    </a:lnTo>
                    <a:lnTo>
                      <a:pt x="328" y="3448"/>
                    </a:lnTo>
                    <a:lnTo>
                      <a:pt x="330" y="3448"/>
                    </a:lnTo>
                    <a:lnTo>
                      <a:pt x="332" y="3448"/>
                    </a:lnTo>
                    <a:lnTo>
                      <a:pt x="332" y="3442"/>
                    </a:lnTo>
                    <a:lnTo>
                      <a:pt x="332" y="3438"/>
                    </a:lnTo>
                    <a:lnTo>
                      <a:pt x="332" y="3438"/>
                    </a:lnTo>
                    <a:lnTo>
                      <a:pt x="334" y="3438"/>
                    </a:lnTo>
                    <a:lnTo>
                      <a:pt x="334" y="3438"/>
                    </a:lnTo>
                    <a:lnTo>
                      <a:pt x="336" y="3440"/>
                    </a:lnTo>
                    <a:lnTo>
                      <a:pt x="340" y="3438"/>
                    </a:lnTo>
                    <a:lnTo>
                      <a:pt x="342" y="3438"/>
                    </a:lnTo>
                    <a:lnTo>
                      <a:pt x="342" y="3442"/>
                    </a:lnTo>
                    <a:lnTo>
                      <a:pt x="342" y="3442"/>
                    </a:lnTo>
                    <a:lnTo>
                      <a:pt x="340" y="3448"/>
                    </a:lnTo>
                    <a:lnTo>
                      <a:pt x="336" y="3450"/>
                    </a:lnTo>
                    <a:lnTo>
                      <a:pt x="334" y="3452"/>
                    </a:lnTo>
                    <a:lnTo>
                      <a:pt x="338" y="3454"/>
                    </a:lnTo>
                    <a:lnTo>
                      <a:pt x="338" y="3454"/>
                    </a:lnTo>
                    <a:lnTo>
                      <a:pt x="342" y="3454"/>
                    </a:lnTo>
                    <a:lnTo>
                      <a:pt x="346" y="3454"/>
                    </a:lnTo>
                    <a:lnTo>
                      <a:pt x="348" y="3452"/>
                    </a:lnTo>
                    <a:lnTo>
                      <a:pt x="350" y="3452"/>
                    </a:lnTo>
                    <a:lnTo>
                      <a:pt x="350" y="3452"/>
                    </a:lnTo>
                    <a:lnTo>
                      <a:pt x="352" y="3452"/>
                    </a:lnTo>
                    <a:lnTo>
                      <a:pt x="352" y="3450"/>
                    </a:lnTo>
                    <a:lnTo>
                      <a:pt x="354" y="3448"/>
                    </a:lnTo>
                    <a:lnTo>
                      <a:pt x="356" y="3450"/>
                    </a:lnTo>
                    <a:lnTo>
                      <a:pt x="356" y="3450"/>
                    </a:lnTo>
                    <a:close/>
                    <a:moveTo>
                      <a:pt x="490" y="3366"/>
                    </a:moveTo>
                    <a:lnTo>
                      <a:pt x="490" y="3366"/>
                    </a:lnTo>
                    <a:lnTo>
                      <a:pt x="488" y="3366"/>
                    </a:lnTo>
                    <a:lnTo>
                      <a:pt x="486" y="3364"/>
                    </a:lnTo>
                    <a:lnTo>
                      <a:pt x="482" y="3360"/>
                    </a:lnTo>
                    <a:lnTo>
                      <a:pt x="480" y="3354"/>
                    </a:lnTo>
                    <a:lnTo>
                      <a:pt x="478" y="3352"/>
                    </a:lnTo>
                    <a:lnTo>
                      <a:pt x="476" y="3352"/>
                    </a:lnTo>
                    <a:lnTo>
                      <a:pt x="476" y="3352"/>
                    </a:lnTo>
                    <a:lnTo>
                      <a:pt x="472" y="3356"/>
                    </a:lnTo>
                    <a:lnTo>
                      <a:pt x="468" y="3364"/>
                    </a:lnTo>
                    <a:lnTo>
                      <a:pt x="464" y="3370"/>
                    </a:lnTo>
                    <a:lnTo>
                      <a:pt x="460" y="3374"/>
                    </a:lnTo>
                    <a:lnTo>
                      <a:pt x="460" y="3374"/>
                    </a:lnTo>
                    <a:lnTo>
                      <a:pt x="454" y="3374"/>
                    </a:lnTo>
                    <a:lnTo>
                      <a:pt x="450" y="3372"/>
                    </a:lnTo>
                    <a:lnTo>
                      <a:pt x="446" y="3368"/>
                    </a:lnTo>
                    <a:lnTo>
                      <a:pt x="440" y="3370"/>
                    </a:lnTo>
                    <a:lnTo>
                      <a:pt x="440" y="3370"/>
                    </a:lnTo>
                    <a:lnTo>
                      <a:pt x="438" y="3370"/>
                    </a:lnTo>
                    <a:lnTo>
                      <a:pt x="440" y="3372"/>
                    </a:lnTo>
                    <a:lnTo>
                      <a:pt x="442" y="3374"/>
                    </a:lnTo>
                    <a:lnTo>
                      <a:pt x="444" y="3376"/>
                    </a:lnTo>
                    <a:lnTo>
                      <a:pt x="444" y="3376"/>
                    </a:lnTo>
                    <a:lnTo>
                      <a:pt x="444" y="3378"/>
                    </a:lnTo>
                    <a:lnTo>
                      <a:pt x="448" y="3380"/>
                    </a:lnTo>
                    <a:lnTo>
                      <a:pt x="450" y="3382"/>
                    </a:lnTo>
                    <a:lnTo>
                      <a:pt x="448" y="3384"/>
                    </a:lnTo>
                    <a:lnTo>
                      <a:pt x="448" y="3384"/>
                    </a:lnTo>
                    <a:lnTo>
                      <a:pt x="446" y="3388"/>
                    </a:lnTo>
                    <a:lnTo>
                      <a:pt x="444" y="3388"/>
                    </a:lnTo>
                    <a:lnTo>
                      <a:pt x="440" y="3384"/>
                    </a:lnTo>
                    <a:lnTo>
                      <a:pt x="440" y="3384"/>
                    </a:lnTo>
                    <a:lnTo>
                      <a:pt x="438" y="3382"/>
                    </a:lnTo>
                    <a:lnTo>
                      <a:pt x="438" y="3384"/>
                    </a:lnTo>
                    <a:lnTo>
                      <a:pt x="436" y="3388"/>
                    </a:lnTo>
                    <a:lnTo>
                      <a:pt x="436" y="3398"/>
                    </a:lnTo>
                    <a:lnTo>
                      <a:pt x="440" y="3410"/>
                    </a:lnTo>
                    <a:lnTo>
                      <a:pt x="440" y="3410"/>
                    </a:lnTo>
                    <a:lnTo>
                      <a:pt x="442" y="3412"/>
                    </a:lnTo>
                    <a:lnTo>
                      <a:pt x="448" y="3414"/>
                    </a:lnTo>
                    <a:lnTo>
                      <a:pt x="460" y="3410"/>
                    </a:lnTo>
                    <a:lnTo>
                      <a:pt x="474" y="3406"/>
                    </a:lnTo>
                    <a:lnTo>
                      <a:pt x="478" y="3406"/>
                    </a:lnTo>
                    <a:lnTo>
                      <a:pt x="480" y="3408"/>
                    </a:lnTo>
                    <a:lnTo>
                      <a:pt x="480" y="3408"/>
                    </a:lnTo>
                    <a:lnTo>
                      <a:pt x="482" y="3414"/>
                    </a:lnTo>
                    <a:lnTo>
                      <a:pt x="478" y="3418"/>
                    </a:lnTo>
                    <a:lnTo>
                      <a:pt x="472" y="3422"/>
                    </a:lnTo>
                    <a:lnTo>
                      <a:pt x="466" y="3424"/>
                    </a:lnTo>
                    <a:lnTo>
                      <a:pt x="452" y="3430"/>
                    </a:lnTo>
                    <a:lnTo>
                      <a:pt x="448" y="3434"/>
                    </a:lnTo>
                    <a:lnTo>
                      <a:pt x="448" y="3438"/>
                    </a:lnTo>
                    <a:lnTo>
                      <a:pt x="448" y="3438"/>
                    </a:lnTo>
                    <a:lnTo>
                      <a:pt x="452" y="3446"/>
                    </a:lnTo>
                    <a:lnTo>
                      <a:pt x="458" y="3452"/>
                    </a:lnTo>
                    <a:lnTo>
                      <a:pt x="464" y="3458"/>
                    </a:lnTo>
                    <a:lnTo>
                      <a:pt x="474" y="3462"/>
                    </a:lnTo>
                    <a:lnTo>
                      <a:pt x="488" y="3470"/>
                    </a:lnTo>
                    <a:lnTo>
                      <a:pt x="494" y="3472"/>
                    </a:lnTo>
                    <a:lnTo>
                      <a:pt x="496" y="3474"/>
                    </a:lnTo>
                    <a:lnTo>
                      <a:pt x="496" y="3474"/>
                    </a:lnTo>
                    <a:lnTo>
                      <a:pt x="482" y="3472"/>
                    </a:lnTo>
                    <a:lnTo>
                      <a:pt x="476" y="3468"/>
                    </a:lnTo>
                    <a:lnTo>
                      <a:pt x="474" y="3468"/>
                    </a:lnTo>
                    <a:lnTo>
                      <a:pt x="472" y="3468"/>
                    </a:lnTo>
                    <a:lnTo>
                      <a:pt x="472" y="3468"/>
                    </a:lnTo>
                    <a:lnTo>
                      <a:pt x="470" y="3470"/>
                    </a:lnTo>
                    <a:lnTo>
                      <a:pt x="468" y="3470"/>
                    </a:lnTo>
                    <a:lnTo>
                      <a:pt x="462" y="3466"/>
                    </a:lnTo>
                    <a:lnTo>
                      <a:pt x="456" y="3464"/>
                    </a:lnTo>
                    <a:lnTo>
                      <a:pt x="452" y="3464"/>
                    </a:lnTo>
                    <a:lnTo>
                      <a:pt x="450" y="3464"/>
                    </a:lnTo>
                    <a:lnTo>
                      <a:pt x="450" y="3464"/>
                    </a:lnTo>
                    <a:lnTo>
                      <a:pt x="448" y="3466"/>
                    </a:lnTo>
                    <a:lnTo>
                      <a:pt x="448" y="3468"/>
                    </a:lnTo>
                    <a:lnTo>
                      <a:pt x="448" y="3472"/>
                    </a:lnTo>
                    <a:lnTo>
                      <a:pt x="450" y="3472"/>
                    </a:lnTo>
                    <a:lnTo>
                      <a:pt x="448" y="3472"/>
                    </a:lnTo>
                    <a:lnTo>
                      <a:pt x="442" y="3468"/>
                    </a:lnTo>
                    <a:lnTo>
                      <a:pt x="442" y="3468"/>
                    </a:lnTo>
                    <a:lnTo>
                      <a:pt x="422" y="3454"/>
                    </a:lnTo>
                    <a:lnTo>
                      <a:pt x="416" y="3452"/>
                    </a:lnTo>
                    <a:lnTo>
                      <a:pt x="416" y="3454"/>
                    </a:lnTo>
                    <a:lnTo>
                      <a:pt x="418" y="3456"/>
                    </a:lnTo>
                    <a:lnTo>
                      <a:pt x="418" y="3456"/>
                    </a:lnTo>
                    <a:lnTo>
                      <a:pt x="422" y="3462"/>
                    </a:lnTo>
                    <a:lnTo>
                      <a:pt x="428" y="3464"/>
                    </a:lnTo>
                    <a:lnTo>
                      <a:pt x="430" y="3466"/>
                    </a:lnTo>
                    <a:lnTo>
                      <a:pt x="426" y="3466"/>
                    </a:lnTo>
                    <a:lnTo>
                      <a:pt x="426" y="3466"/>
                    </a:lnTo>
                    <a:lnTo>
                      <a:pt x="420" y="3466"/>
                    </a:lnTo>
                    <a:lnTo>
                      <a:pt x="418" y="3468"/>
                    </a:lnTo>
                    <a:lnTo>
                      <a:pt x="416" y="3472"/>
                    </a:lnTo>
                    <a:lnTo>
                      <a:pt x="414" y="3476"/>
                    </a:lnTo>
                    <a:lnTo>
                      <a:pt x="408" y="3474"/>
                    </a:lnTo>
                    <a:lnTo>
                      <a:pt x="408" y="3474"/>
                    </a:lnTo>
                    <a:lnTo>
                      <a:pt x="398" y="3470"/>
                    </a:lnTo>
                    <a:lnTo>
                      <a:pt x="398" y="3470"/>
                    </a:lnTo>
                    <a:lnTo>
                      <a:pt x="398" y="3472"/>
                    </a:lnTo>
                    <a:lnTo>
                      <a:pt x="398" y="3472"/>
                    </a:lnTo>
                    <a:lnTo>
                      <a:pt x="398" y="3472"/>
                    </a:lnTo>
                    <a:lnTo>
                      <a:pt x="396" y="3474"/>
                    </a:lnTo>
                    <a:lnTo>
                      <a:pt x="392" y="3472"/>
                    </a:lnTo>
                    <a:lnTo>
                      <a:pt x="380" y="3470"/>
                    </a:lnTo>
                    <a:lnTo>
                      <a:pt x="380" y="3470"/>
                    </a:lnTo>
                    <a:lnTo>
                      <a:pt x="380" y="3472"/>
                    </a:lnTo>
                    <a:lnTo>
                      <a:pt x="380" y="3472"/>
                    </a:lnTo>
                    <a:lnTo>
                      <a:pt x="382" y="3476"/>
                    </a:lnTo>
                    <a:lnTo>
                      <a:pt x="386" y="3478"/>
                    </a:lnTo>
                    <a:lnTo>
                      <a:pt x="386" y="3480"/>
                    </a:lnTo>
                    <a:lnTo>
                      <a:pt x="386" y="3480"/>
                    </a:lnTo>
                    <a:lnTo>
                      <a:pt x="386" y="3480"/>
                    </a:lnTo>
                    <a:lnTo>
                      <a:pt x="382" y="3480"/>
                    </a:lnTo>
                    <a:lnTo>
                      <a:pt x="376" y="3476"/>
                    </a:lnTo>
                    <a:lnTo>
                      <a:pt x="374" y="3474"/>
                    </a:lnTo>
                    <a:lnTo>
                      <a:pt x="372" y="3474"/>
                    </a:lnTo>
                    <a:lnTo>
                      <a:pt x="374" y="3476"/>
                    </a:lnTo>
                    <a:lnTo>
                      <a:pt x="374" y="3476"/>
                    </a:lnTo>
                    <a:lnTo>
                      <a:pt x="374" y="3482"/>
                    </a:lnTo>
                    <a:lnTo>
                      <a:pt x="374" y="3484"/>
                    </a:lnTo>
                    <a:lnTo>
                      <a:pt x="374" y="3486"/>
                    </a:lnTo>
                    <a:lnTo>
                      <a:pt x="376" y="3486"/>
                    </a:lnTo>
                    <a:lnTo>
                      <a:pt x="376" y="3486"/>
                    </a:lnTo>
                    <a:lnTo>
                      <a:pt x="380" y="3488"/>
                    </a:lnTo>
                    <a:lnTo>
                      <a:pt x="384" y="3486"/>
                    </a:lnTo>
                    <a:lnTo>
                      <a:pt x="390" y="3486"/>
                    </a:lnTo>
                    <a:lnTo>
                      <a:pt x="394" y="3488"/>
                    </a:lnTo>
                    <a:lnTo>
                      <a:pt x="394" y="3488"/>
                    </a:lnTo>
                    <a:lnTo>
                      <a:pt x="394" y="3488"/>
                    </a:lnTo>
                    <a:lnTo>
                      <a:pt x="396" y="3488"/>
                    </a:lnTo>
                    <a:lnTo>
                      <a:pt x="398" y="3484"/>
                    </a:lnTo>
                    <a:lnTo>
                      <a:pt x="400" y="3480"/>
                    </a:lnTo>
                    <a:lnTo>
                      <a:pt x="402" y="3480"/>
                    </a:lnTo>
                    <a:lnTo>
                      <a:pt x="402" y="3480"/>
                    </a:lnTo>
                    <a:lnTo>
                      <a:pt x="404" y="3480"/>
                    </a:lnTo>
                    <a:lnTo>
                      <a:pt x="402" y="3484"/>
                    </a:lnTo>
                    <a:lnTo>
                      <a:pt x="402" y="3486"/>
                    </a:lnTo>
                    <a:lnTo>
                      <a:pt x="404" y="3488"/>
                    </a:lnTo>
                    <a:lnTo>
                      <a:pt x="404" y="3488"/>
                    </a:lnTo>
                    <a:lnTo>
                      <a:pt x="408" y="3488"/>
                    </a:lnTo>
                    <a:lnTo>
                      <a:pt x="412" y="3486"/>
                    </a:lnTo>
                    <a:lnTo>
                      <a:pt x="416" y="3486"/>
                    </a:lnTo>
                    <a:lnTo>
                      <a:pt x="414" y="3488"/>
                    </a:lnTo>
                    <a:lnTo>
                      <a:pt x="414" y="3488"/>
                    </a:lnTo>
                    <a:lnTo>
                      <a:pt x="412" y="3492"/>
                    </a:lnTo>
                    <a:lnTo>
                      <a:pt x="414" y="3494"/>
                    </a:lnTo>
                    <a:lnTo>
                      <a:pt x="416" y="3492"/>
                    </a:lnTo>
                    <a:lnTo>
                      <a:pt x="418" y="3494"/>
                    </a:lnTo>
                    <a:lnTo>
                      <a:pt x="418" y="3494"/>
                    </a:lnTo>
                    <a:lnTo>
                      <a:pt x="422" y="3498"/>
                    </a:lnTo>
                    <a:lnTo>
                      <a:pt x="424" y="3498"/>
                    </a:lnTo>
                    <a:lnTo>
                      <a:pt x="428" y="3496"/>
                    </a:lnTo>
                    <a:lnTo>
                      <a:pt x="428" y="3496"/>
                    </a:lnTo>
                    <a:lnTo>
                      <a:pt x="432" y="3496"/>
                    </a:lnTo>
                    <a:lnTo>
                      <a:pt x="438" y="3498"/>
                    </a:lnTo>
                    <a:lnTo>
                      <a:pt x="442" y="3498"/>
                    </a:lnTo>
                    <a:lnTo>
                      <a:pt x="446" y="3496"/>
                    </a:lnTo>
                    <a:lnTo>
                      <a:pt x="446" y="3496"/>
                    </a:lnTo>
                    <a:lnTo>
                      <a:pt x="450" y="3496"/>
                    </a:lnTo>
                    <a:lnTo>
                      <a:pt x="452" y="3498"/>
                    </a:lnTo>
                    <a:lnTo>
                      <a:pt x="452" y="3500"/>
                    </a:lnTo>
                    <a:lnTo>
                      <a:pt x="456" y="3498"/>
                    </a:lnTo>
                    <a:lnTo>
                      <a:pt x="456" y="3498"/>
                    </a:lnTo>
                    <a:lnTo>
                      <a:pt x="458" y="3496"/>
                    </a:lnTo>
                    <a:lnTo>
                      <a:pt x="462" y="3496"/>
                    </a:lnTo>
                    <a:lnTo>
                      <a:pt x="464" y="3496"/>
                    </a:lnTo>
                    <a:lnTo>
                      <a:pt x="466" y="3492"/>
                    </a:lnTo>
                    <a:lnTo>
                      <a:pt x="466" y="3492"/>
                    </a:lnTo>
                    <a:lnTo>
                      <a:pt x="466" y="3492"/>
                    </a:lnTo>
                    <a:lnTo>
                      <a:pt x="468" y="3494"/>
                    </a:lnTo>
                    <a:lnTo>
                      <a:pt x="470" y="3498"/>
                    </a:lnTo>
                    <a:lnTo>
                      <a:pt x="478" y="3500"/>
                    </a:lnTo>
                    <a:lnTo>
                      <a:pt x="478" y="3500"/>
                    </a:lnTo>
                    <a:lnTo>
                      <a:pt x="496" y="3504"/>
                    </a:lnTo>
                    <a:lnTo>
                      <a:pt x="502" y="3504"/>
                    </a:lnTo>
                    <a:lnTo>
                      <a:pt x="504" y="3504"/>
                    </a:lnTo>
                    <a:lnTo>
                      <a:pt x="504" y="3502"/>
                    </a:lnTo>
                    <a:lnTo>
                      <a:pt x="504" y="3502"/>
                    </a:lnTo>
                    <a:lnTo>
                      <a:pt x="504" y="3500"/>
                    </a:lnTo>
                    <a:lnTo>
                      <a:pt x="506" y="3500"/>
                    </a:lnTo>
                    <a:lnTo>
                      <a:pt x="510" y="3502"/>
                    </a:lnTo>
                    <a:lnTo>
                      <a:pt x="510" y="3364"/>
                    </a:lnTo>
                    <a:lnTo>
                      <a:pt x="510" y="3364"/>
                    </a:lnTo>
                    <a:lnTo>
                      <a:pt x="508" y="3362"/>
                    </a:lnTo>
                    <a:lnTo>
                      <a:pt x="504" y="3360"/>
                    </a:lnTo>
                    <a:lnTo>
                      <a:pt x="500" y="3360"/>
                    </a:lnTo>
                    <a:lnTo>
                      <a:pt x="496" y="3364"/>
                    </a:lnTo>
                    <a:lnTo>
                      <a:pt x="490" y="3366"/>
                    </a:lnTo>
                    <a:lnTo>
                      <a:pt x="490" y="3366"/>
                    </a:lnTo>
                    <a:close/>
                    <a:moveTo>
                      <a:pt x="298" y="2826"/>
                    </a:moveTo>
                    <a:lnTo>
                      <a:pt x="298" y="2826"/>
                    </a:lnTo>
                    <a:lnTo>
                      <a:pt x="304" y="2826"/>
                    </a:lnTo>
                    <a:lnTo>
                      <a:pt x="306" y="2824"/>
                    </a:lnTo>
                    <a:lnTo>
                      <a:pt x="306" y="2822"/>
                    </a:lnTo>
                    <a:lnTo>
                      <a:pt x="304" y="2820"/>
                    </a:lnTo>
                    <a:lnTo>
                      <a:pt x="302" y="2814"/>
                    </a:lnTo>
                    <a:lnTo>
                      <a:pt x="304" y="2812"/>
                    </a:lnTo>
                    <a:lnTo>
                      <a:pt x="308" y="2812"/>
                    </a:lnTo>
                    <a:lnTo>
                      <a:pt x="308" y="2812"/>
                    </a:lnTo>
                    <a:lnTo>
                      <a:pt x="310" y="2812"/>
                    </a:lnTo>
                    <a:lnTo>
                      <a:pt x="312" y="2810"/>
                    </a:lnTo>
                    <a:lnTo>
                      <a:pt x="310" y="2806"/>
                    </a:lnTo>
                    <a:lnTo>
                      <a:pt x="308" y="2800"/>
                    </a:lnTo>
                    <a:lnTo>
                      <a:pt x="308" y="2798"/>
                    </a:lnTo>
                    <a:lnTo>
                      <a:pt x="310" y="2798"/>
                    </a:lnTo>
                    <a:lnTo>
                      <a:pt x="310" y="2798"/>
                    </a:lnTo>
                    <a:lnTo>
                      <a:pt x="314" y="2798"/>
                    </a:lnTo>
                    <a:lnTo>
                      <a:pt x="314" y="2794"/>
                    </a:lnTo>
                    <a:lnTo>
                      <a:pt x="304" y="2784"/>
                    </a:lnTo>
                    <a:lnTo>
                      <a:pt x="304" y="2784"/>
                    </a:lnTo>
                    <a:lnTo>
                      <a:pt x="302" y="2780"/>
                    </a:lnTo>
                    <a:lnTo>
                      <a:pt x="302" y="2778"/>
                    </a:lnTo>
                    <a:lnTo>
                      <a:pt x="306" y="2776"/>
                    </a:lnTo>
                    <a:lnTo>
                      <a:pt x="306" y="2774"/>
                    </a:lnTo>
                    <a:lnTo>
                      <a:pt x="306" y="2774"/>
                    </a:lnTo>
                    <a:lnTo>
                      <a:pt x="306" y="2774"/>
                    </a:lnTo>
                    <a:lnTo>
                      <a:pt x="306" y="2770"/>
                    </a:lnTo>
                    <a:lnTo>
                      <a:pt x="306" y="2768"/>
                    </a:lnTo>
                    <a:lnTo>
                      <a:pt x="316" y="2764"/>
                    </a:lnTo>
                    <a:lnTo>
                      <a:pt x="316" y="2764"/>
                    </a:lnTo>
                    <a:lnTo>
                      <a:pt x="318" y="2764"/>
                    </a:lnTo>
                    <a:lnTo>
                      <a:pt x="320" y="2762"/>
                    </a:lnTo>
                    <a:lnTo>
                      <a:pt x="318" y="2758"/>
                    </a:lnTo>
                    <a:lnTo>
                      <a:pt x="312" y="2748"/>
                    </a:lnTo>
                    <a:lnTo>
                      <a:pt x="312" y="2748"/>
                    </a:lnTo>
                    <a:lnTo>
                      <a:pt x="310" y="2740"/>
                    </a:lnTo>
                    <a:lnTo>
                      <a:pt x="308" y="2738"/>
                    </a:lnTo>
                    <a:lnTo>
                      <a:pt x="302" y="2738"/>
                    </a:lnTo>
                    <a:lnTo>
                      <a:pt x="302" y="2738"/>
                    </a:lnTo>
                    <a:lnTo>
                      <a:pt x="298" y="2740"/>
                    </a:lnTo>
                    <a:lnTo>
                      <a:pt x="298" y="2738"/>
                    </a:lnTo>
                    <a:lnTo>
                      <a:pt x="298" y="2736"/>
                    </a:lnTo>
                    <a:lnTo>
                      <a:pt x="296" y="2736"/>
                    </a:lnTo>
                    <a:lnTo>
                      <a:pt x="296" y="2736"/>
                    </a:lnTo>
                    <a:lnTo>
                      <a:pt x="292" y="2736"/>
                    </a:lnTo>
                    <a:lnTo>
                      <a:pt x="290" y="2736"/>
                    </a:lnTo>
                    <a:lnTo>
                      <a:pt x="290" y="2738"/>
                    </a:lnTo>
                    <a:lnTo>
                      <a:pt x="290" y="2744"/>
                    </a:lnTo>
                    <a:lnTo>
                      <a:pt x="290" y="2744"/>
                    </a:lnTo>
                    <a:lnTo>
                      <a:pt x="290" y="2752"/>
                    </a:lnTo>
                    <a:lnTo>
                      <a:pt x="288" y="2756"/>
                    </a:lnTo>
                    <a:lnTo>
                      <a:pt x="286" y="2762"/>
                    </a:lnTo>
                    <a:lnTo>
                      <a:pt x="284" y="2770"/>
                    </a:lnTo>
                    <a:lnTo>
                      <a:pt x="284" y="2770"/>
                    </a:lnTo>
                    <a:lnTo>
                      <a:pt x="284" y="2778"/>
                    </a:lnTo>
                    <a:lnTo>
                      <a:pt x="286" y="2782"/>
                    </a:lnTo>
                    <a:lnTo>
                      <a:pt x="286" y="2790"/>
                    </a:lnTo>
                    <a:lnTo>
                      <a:pt x="282" y="2802"/>
                    </a:lnTo>
                    <a:lnTo>
                      <a:pt x="282" y="2802"/>
                    </a:lnTo>
                    <a:lnTo>
                      <a:pt x="278" y="2814"/>
                    </a:lnTo>
                    <a:lnTo>
                      <a:pt x="278" y="2818"/>
                    </a:lnTo>
                    <a:lnTo>
                      <a:pt x="280" y="2822"/>
                    </a:lnTo>
                    <a:lnTo>
                      <a:pt x="286" y="2824"/>
                    </a:lnTo>
                    <a:lnTo>
                      <a:pt x="298" y="2826"/>
                    </a:lnTo>
                    <a:lnTo>
                      <a:pt x="298" y="2826"/>
                    </a:lnTo>
                    <a:close/>
                    <a:moveTo>
                      <a:pt x="316" y="2894"/>
                    </a:moveTo>
                    <a:lnTo>
                      <a:pt x="316" y="2894"/>
                    </a:lnTo>
                    <a:lnTo>
                      <a:pt x="316" y="2898"/>
                    </a:lnTo>
                    <a:lnTo>
                      <a:pt x="318" y="2902"/>
                    </a:lnTo>
                    <a:lnTo>
                      <a:pt x="318" y="2902"/>
                    </a:lnTo>
                    <a:lnTo>
                      <a:pt x="318" y="2904"/>
                    </a:lnTo>
                    <a:lnTo>
                      <a:pt x="318" y="2906"/>
                    </a:lnTo>
                    <a:lnTo>
                      <a:pt x="318" y="2906"/>
                    </a:lnTo>
                    <a:lnTo>
                      <a:pt x="320" y="2908"/>
                    </a:lnTo>
                    <a:lnTo>
                      <a:pt x="320" y="2908"/>
                    </a:lnTo>
                    <a:lnTo>
                      <a:pt x="324" y="2910"/>
                    </a:lnTo>
                    <a:lnTo>
                      <a:pt x="330" y="2910"/>
                    </a:lnTo>
                    <a:lnTo>
                      <a:pt x="336" y="2902"/>
                    </a:lnTo>
                    <a:lnTo>
                      <a:pt x="336" y="2902"/>
                    </a:lnTo>
                    <a:lnTo>
                      <a:pt x="338" y="2900"/>
                    </a:lnTo>
                    <a:lnTo>
                      <a:pt x="338" y="2898"/>
                    </a:lnTo>
                    <a:lnTo>
                      <a:pt x="338" y="2896"/>
                    </a:lnTo>
                    <a:lnTo>
                      <a:pt x="338" y="2896"/>
                    </a:lnTo>
                    <a:lnTo>
                      <a:pt x="338" y="2896"/>
                    </a:lnTo>
                    <a:lnTo>
                      <a:pt x="342" y="2894"/>
                    </a:lnTo>
                    <a:lnTo>
                      <a:pt x="344" y="2890"/>
                    </a:lnTo>
                    <a:lnTo>
                      <a:pt x="342" y="2886"/>
                    </a:lnTo>
                    <a:lnTo>
                      <a:pt x="338" y="2882"/>
                    </a:lnTo>
                    <a:lnTo>
                      <a:pt x="338" y="2882"/>
                    </a:lnTo>
                    <a:lnTo>
                      <a:pt x="332" y="2880"/>
                    </a:lnTo>
                    <a:lnTo>
                      <a:pt x="330" y="2880"/>
                    </a:lnTo>
                    <a:lnTo>
                      <a:pt x="330" y="2882"/>
                    </a:lnTo>
                    <a:lnTo>
                      <a:pt x="328" y="2882"/>
                    </a:lnTo>
                    <a:lnTo>
                      <a:pt x="328" y="2882"/>
                    </a:lnTo>
                    <a:lnTo>
                      <a:pt x="326" y="2882"/>
                    </a:lnTo>
                    <a:lnTo>
                      <a:pt x="324" y="2882"/>
                    </a:lnTo>
                    <a:lnTo>
                      <a:pt x="324" y="2884"/>
                    </a:lnTo>
                    <a:lnTo>
                      <a:pt x="322" y="2888"/>
                    </a:lnTo>
                    <a:lnTo>
                      <a:pt x="322" y="2888"/>
                    </a:lnTo>
                    <a:lnTo>
                      <a:pt x="322" y="2892"/>
                    </a:lnTo>
                    <a:lnTo>
                      <a:pt x="320" y="2894"/>
                    </a:lnTo>
                    <a:lnTo>
                      <a:pt x="318" y="2894"/>
                    </a:lnTo>
                    <a:lnTo>
                      <a:pt x="316" y="2894"/>
                    </a:lnTo>
                    <a:lnTo>
                      <a:pt x="316" y="2894"/>
                    </a:lnTo>
                    <a:close/>
                    <a:moveTo>
                      <a:pt x="258" y="2836"/>
                    </a:moveTo>
                    <a:lnTo>
                      <a:pt x="258" y="2836"/>
                    </a:lnTo>
                    <a:lnTo>
                      <a:pt x="262" y="2838"/>
                    </a:lnTo>
                    <a:lnTo>
                      <a:pt x="264" y="2838"/>
                    </a:lnTo>
                    <a:lnTo>
                      <a:pt x="266" y="2836"/>
                    </a:lnTo>
                    <a:lnTo>
                      <a:pt x="266" y="2834"/>
                    </a:lnTo>
                    <a:lnTo>
                      <a:pt x="266" y="2834"/>
                    </a:lnTo>
                    <a:lnTo>
                      <a:pt x="262" y="2832"/>
                    </a:lnTo>
                    <a:lnTo>
                      <a:pt x="260" y="2832"/>
                    </a:lnTo>
                    <a:lnTo>
                      <a:pt x="258" y="2834"/>
                    </a:lnTo>
                    <a:lnTo>
                      <a:pt x="258" y="2836"/>
                    </a:lnTo>
                    <a:lnTo>
                      <a:pt x="258" y="2836"/>
                    </a:lnTo>
                    <a:close/>
                    <a:moveTo>
                      <a:pt x="324" y="2852"/>
                    </a:moveTo>
                    <a:lnTo>
                      <a:pt x="324" y="2852"/>
                    </a:lnTo>
                    <a:lnTo>
                      <a:pt x="320" y="2856"/>
                    </a:lnTo>
                    <a:lnTo>
                      <a:pt x="322" y="2858"/>
                    </a:lnTo>
                    <a:lnTo>
                      <a:pt x="324" y="2860"/>
                    </a:lnTo>
                    <a:lnTo>
                      <a:pt x="324" y="2860"/>
                    </a:lnTo>
                    <a:lnTo>
                      <a:pt x="324" y="2860"/>
                    </a:lnTo>
                    <a:lnTo>
                      <a:pt x="326" y="2858"/>
                    </a:lnTo>
                    <a:lnTo>
                      <a:pt x="326" y="2854"/>
                    </a:lnTo>
                    <a:lnTo>
                      <a:pt x="326" y="2852"/>
                    </a:lnTo>
                    <a:lnTo>
                      <a:pt x="324" y="2850"/>
                    </a:lnTo>
                    <a:lnTo>
                      <a:pt x="324" y="2852"/>
                    </a:lnTo>
                    <a:lnTo>
                      <a:pt x="324" y="2852"/>
                    </a:lnTo>
                    <a:close/>
                    <a:moveTo>
                      <a:pt x="266" y="2958"/>
                    </a:moveTo>
                    <a:lnTo>
                      <a:pt x="266" y="2958"/>
                    </a:lnTo>
                    <a:lnTo>
                      <a:pt x="270" y="2958"/>
                    </a:lnTo>
                    <a:lnTo>
                      <a:pt x="270" y="2954"/>
                    </a:lnTo>
                    <a:lnTo>
                      <a:pt x="270" y="2950"/>
                    </a:lnTo>
                    <a:lnTo>
                      <a:pt x="268" y="2950"/>
                    </a:lnTo>
                    <a:lnTo>
                      <a:pt x="268" y="2950"/>
                    </a:lnTo>
                    <a:lnTo>
                      <a:pt x="266" y="2952"/>
                    </a:lnTo>
                    <a:lnTo>
                      <a:pt x="264" y="2954"/>
                    </a:lnTo>
                    <a:lnTo>
                      <a:pt x="264" y="2956"/>
                    </a:lnTo>
                    <a:lnTo>
                      <a:pt x="266" y="2958"/>
                    </a:lnTo>
                    <a:lnTo>
                      <a:pt x="266" y="2958"/>
                    </a:lnTo>
                    <a:close/>
                    <a:moveTo>
                      <a:pt x="244" y="3242"/>
                    </a:moveTo>
                    <a:lnTo>
                      <a:pt x="244" y="3242"/>
                    </a:lnTo>
                    <a:lnTo>
                      <a:pt x="248" y="3238"/>
                    </a:lnTo>
                    <a:lnTo>
                      <a:pt x="248" y="3236"/>
                    </a:lnTo>
                    <a:lnTo>
                      <a:pt x="246" y="3236"/>
                    </a:lnTo>
                    <a:lnTo>
                      <a:pt x="240" y="3234"/>
                    </a:lnTo>
                    <a:lnTo>
                      <a:pt x="240" y="3234"/>
                    </a:lnTo>
                    <a:lnTo>
                      <a:pt x="234" y="3234"/>
                    </a:lnTo>
                    <a:lnTo>
                      <a:pt x="234" y="3236"/>
                    </a:lnTo>
                    <a:lnTo>
                      <a:pt x="236" y="3240"/>
                    </a:lnTo>
                    <a:lnTo>
                      <a:pt x="236" y="3242"/>
                    </a:lnTo>
                    <a:lnTo>
                      <a:pt x="236" y="3242"/>
                    </a:lnTo>
                    <a:lnTo>
                      <a:pt x="232" y="3248"/>
                    </a:lnTo>
                    <a:lnTo>
                      <a:pt x="234" y="3250"/>
                    </a:lnTo>
                    <a:lnTo>
                      <a:pt x="238" y="3252"/>
                    </a:lnTo>
                    <a:lnTo>
                      <a:pt x="238" y="3252"/>
                    </a:lnTo>
                    <a:lnTo>
                      <a:pt x="242" y="3254"/>
                    </a:lnTo>
                    <a:lnTo>
                      <a:pt x="242" y="3250"/>
                    </a:lnTo>
                    <a:lnTo>
                      <a:pt x="242" y="3246"/>
                    </a:lnTo>
                    <a:lnTo>
                      <a:pt x="244" y="3242"/>
                    </a:lnTo>
                    <a:lnTo>
                      <a:pt x="244" y="3242"/>
                    </a:lnTo>
                    <a:close/>
                    <a:moveTo>
                      <a:pt x="302" y="2848"/>
                    </a:moveTo>
                    <a:lnTo>
                      <a:pt x="302" y="2848"/>
                    </a:lnTo>
                    <a:lnTo>
                      <a:pt x="300" y="2846"/>
                    </a:lnTo>
                    <a:lnTo>
                      <a:pt x="298" y="2846"/>
                    </a:lnTo>
                    <a:lnTo>
                      <a:pt x="296" y="2846"/>
                    </a:lnTo>
                    <a:lnTo>
                      <a:pt x="292" y="2846"/>
                    </a:lnTo>
                    <a:lnTo>
                      <a:pt x="292" y="2846"/>
                    </a:lnTo>
                    <a:lnTo>
                      <a:pt x="288" y="2846"/>
                    </a:lnTo>
                    <a:lnTo>
                      <a:pt x="286" y="2848"/>
                    </a:lnTo>
                    <a:lnTo>
                      <a:pt x="288" y="2850"/>
                    </a:lnTo>
                    <a:lnTo>
                      <a:pt x="292" y="2854"/>
                    </a:lnTo>
                    <a:lnTo>
                      <a:pt x="292" y="2854"/>
                    </a:lnTo>
                    <a:lnTo>
                      <a:pt x="294" y="2854"/>
                    </a:lnTo>
                    <a:lnTo>
                      <a:pt x="296" y="2854"/>
                    </a:lnTo>
                    <a:lnTo>
                      <a:pt x="296" y="2854"/>
                    </a:lnTo>
                    <a:lnTo>
                      <a:pt x="300" y="2852"/>
                    </a:lnTo>
                    <a:lnTo>
                      <a:pt x="302" y="2850"/>
                    </a:lnTo>
                    <a:lnTo>
                      <a:pt x="302" y="2848"/>
                    </a:lnTo>
                    <a:lnTo>
                      <a:pt x="302" y="2848"/>
                    </a:lnTo>
                    <a:close/>
                    <a:moveTo>
                      <a:pt x="302" y="2912"/>
                    </a:moveTo>
                    <a:lnTo>
                      <a:pt x="302" y="2912"/>
                    </a:lnTo>
                    <a:lnTo>
                      <a:pt x="304" y="2910"/>
                    </a:lnTo>
                    <a:lnTo>
                      <a:pt x="302" y="2906"/>
                    </a:lnTo>
                    <a:lnTo>
                      <a:pt x="300" y="2904"/>
                    </a:lnTo>
                    <a:lnTo>
                      <a:pt x="298" y="2904"/>
                    </a:lnTo>
                    <a:lnTo>
                      <a:pt x="298" y="2904"/>
                    </a:lnTo>
                    <a:lnTo>
                      <a:pt x="296" y="2906"/>
                    </a:lnTo>
                    <a:lnTo>
                      <a:pt x="298" y="2910"/>
                    </a:lnTo>
                    <a:lnTo>
                      <a:pt x="300" y="2912"/>
                    </a:lnTo>
                    <a:lnTo>
                      <a:pt x="302" y="2912"/>
                    </a:lnTo>
                    <a:lnTo>
                      <a:pt x="302" y="2912"/>
                    </a:lnTo>
                    <a:close/>
                    <a:moveTo>
                      <a:pt x="306" y="2942"/>
                    </a:moveTo>
                    <a:lnTo>
                      <a:pt x="306" y="2942"/>
                    </a:lnTo>
                    <a:lnTo>
                      <a:pt x="304" y="2942"/>
                    </a:lnTo>
                    <a:lnTo>
                      <a:pt x="302" y="2948"/>
                    </a:lnTo>
                    <a:lnTo>
                      <a:pt x="302" y="2952"/>
                    </a:lnTo>
                    <a:lnTo>
                      <a:pt x="304" y="2958"/>
                    </a:lnTo>
                    <a:lnTo>
                      <a:pt x="304" y="2958"/>
                    </a:lnTo>
                    <a:lnTo>
                      <a:pt x="306" y="2958"/>
                    </a:lnTo>
                    <a:lnTo>
                      <a:pt x="308" y="2958"/>
                    </a:lnTo>
                    <a:lnTo>
                      <a:pt x="308" y="2952"/>
                    </a:lnTo>
                    <a:lnTo>
                      <a:pt x="308" y="2952"/>
                    </a:lnTo>
                    <a:lnTo>
                      <a:pt x="310" y="2944"/>
                    </a:lnTo>
                    <a:lnTo>
                      <a:pt x="308" y="2942"/>
                    </a:lnTo>
                    <a:lnTo>
                      <a:pt x="306" y="2942"/>
                    </a:lnTo>
                    <a:lnTo>
                      <a:pt x="306" y="2942"/>
                    </a:lnTo>
                    <a:close/>
                    <a:moveTo>
                      <a:pt x="278" y="2958"/>
                    </a:moveTo>
                    <a:lnTo>
                      <a:pt x="278" y="2958"/>
                    </a:lnTo>
                    <a:lnTo>
                      <a:pt x="280" y="2956"/>
                    </a:lnTo>
                    <a:lnTo>
                      <a:pt x="284" y="2952"/>
                    </a:lnTo>
                    <a:lnTo>
                      <a:pt x="284" y="2952"/>
                    </a:lnTo>
                    <a:lnTo>
                      <a:pt x="286" y="2950"/>
                    </a:lnTo>
                    <a:lnTo>
                      <a:pt x="284" y="2946"/>
                    </a:lnTo>
                    <a:lnTo>
                      <a:pt x="280" y="2942"/>
                    </a:lnTo>
                    <a:lnTo>
                      <a:pt x="280" y="2942"/>
                    </a:lnTo>
                    <a:lnTo>
                      <a:pt x="276" y="2942"/>
                    </a:lnTo>
                    <a:lnTo>
                      <a:pt x="274" y="2944"/>
                    </a:lnTo>
                    <a:lnTo>
                      <a:pt x="272" y="2946"/>
                    </a:lnTo>
                    <a:lnTo>
                      <a:pt x="274" y="2950"/>
                    </a:lnTo>
                    <a:lnTo>
                      <a:pt x="274" y="2950"/>
                    </a:lnTo>
                    <a:lnTo>
                      <a:pt x="274" y="2952"/>
                    </a:lnTo>
                    <a:lnTo>
                      <a:pt x="274" y="2956"/>
                    </a:lnTo>
                    <a:lnTo>
                      <a:pt x="274" y="2958"/>
                    </a:lnTo>
                    <a:lnTo>
                      <a:pt x="278" y="2958"/>
                    </a:lnTo>
                    <a:lnTo>
                      <a:pt x="278" y="2958"/>
                    </a:lnTo>
                    <a:close/>
                    <a:moveTo>
                      <a:pt x="1872" y="956"/>
                    </a:moveTo>
                    <a:lnTo>
                      <a:pt x="1872" y="956"/>
                    </a:lnTo>
                    <a:lnTo>
                      <a:pt x="1868" y="926"/>
                    </a:lnTo>
                    <a:lnTo>
                      <a:pt x="1864" y="900"/>
                    </a:lnTo>
                    <a:lnTo>
                      <a:pt x="1862" y="888"/>
                    </a:lnTo>
                    <a:lnTo>
                      <a:pt x="1858" y="876"/>
                    </a:lnTo>
                    <a:lnTo>
                      <a:pt x="1852" y="868"/>
                    </a:lnTo>
                    <a:lnTo>
                      <a:pt x="1844" y="858"/>
                    </a:lnTo>
                    <a:lnTo>
                      <a:pt x="1844" y="858"/>
                    </a:lnTo>
                    <a:lnTo>
                      <a:pt x="1836" y="852"/>
                    </a:lnTo>
                    <a:lnTo>
                      <a:pt x="1830" y="850"/>
                    </a:lnTo>
                    <a:lnTo>
                      <a:pt x="1824" y="850"/>
                    </a:lnTo>
                    <a:lnTo>
                      <a:pt x="1816" y="850"/>
                    </a:lnTo>
                    <a:lnTo>
                      <a:pt x="1810" y="852"/>
                    </a:lnTo>
                    <a:lnTo>
                      <a:pt x="1800" y="850"/>
                    </a:lnTo>
                    <a:lnTo>
                      <a:pt x="1788" y="846"/>
                    </a:lnTo>
                    <a:lnTo>
                      <a:pt x="1774" y="838"/>
                    </a:lnTo>
                    <a:lnTo>
                      <a:pt x="1774" y="838"/>
                    </a:lnTo>
                    <a:lnTo>
                      <a:pt x="1760" y="828"/>
                    </a:lnTo>
                    <a:lnTo>
                      <a:pt x="1750" y="820"/>
                    </a:lnTo>
                    <a:lnTo>
                      <a:pt x="1744" y="814"/>
                    </a:lnTo>
                    <a:lnTo>
                      <a:pt x="1740" y="808"/>
                    </a:lnTo>
                    <a:lnTo>
                      <a:pt x="1734" y="796"/>
                    </a:lnTo>
                    <a:lnTo>
                      <a:pt x="1728" y="788"/>
                    </a:lnTo>
                    <a:lnTo>
                      <a:pt x="1718" y="780"/>
                    </a:lnTo>
                    <a:lnTo>
                      <a:pt x="1718" y="780"/>
                    </a:lnTo>
                    <a:lnTo>
                      <a:pt x="1698" y="762"/>
                    </a:lnTo>
                    <a:lnTo>
                      <a:pt x="1688" y="754"/>
                    </a:lnTo>
                    <a:lnTo>
                      <a:pt x="1680" y="748"/>
                    </a:lnTo>
                    <a:lnTo>
                      <a:pt x="1670" y="742"/>
                    </a:lnTo>
                    <a:lnTo>
                      <a:pt x="1660" y="740"/>
                    </a:lnTo>
                    <a:lnTo>
                      <a:pt x="1646" y="740"/>
                    </a:lnTo>
                    <a:lnTo>
                      <a:pt x="1632" y="740"/>
                    </a:lnTo>
                    <a:lnTo>
                      <a:pt x="1632" y="740"/>
                    </a:lnTo>
                    <a:lnTo>
                      <a:pt x="1618" y="742"/>
                    </a:lnTo>
                    <a:lnTo>
                      <a:pt x="1602" y="742"/>
                    </a:lnTo>
                    <a:lnTo>
                      <a:pt x="1590" y="742"/>
                    </a:lnTo>
                    <a:lnTo>
                      <a:pt x="1578" y="738"/>
                    </a:lnTo>
                    <a:lnTo>
                      <a:pt x="1556" y="732"/>
                    </a:lnTo>
                    <a:lnTo>
                      <a:pt x="1536" y="722"/>
                    </a:lnTo>
                    <a:lnTo>
                      <a:pt x="1536" y="722"/>
                    </a:lnTo>
                    <a:lnTo>
                      <a:pt x="1530" y="722"/>
                    </a:lnTo>
                    <a:lnTo>
                      <a:pt x="1526" y="722"/>
                    </a:lnTo>
                    <a:lnTo>
                      <a:pt x="1516" y="724"/>
                    </a:lnTo>
                    <a:lnTo>
                      <a:pt x="1508" y="730"/>
                    </a:lnTo>
                    <a:lnTo>
                      <a:pt x="1500" y="738"/>
                    </a:lnTo>
                    <a:lnTo>
                      <a:pt x="1488" y="750"/>
                    </a:lnTo>
                    <a:lnTo>
                      <a:pt x="1482" y="754"/>
                    </a:lnTo>
                    <a:lnTo>
                      <a:pt x="1482" y="754"/>
                    </a:lnTo>
                    <a:lnTo>
                      <a:pt x="1480" y="752"/>
                    </a:lnTo>
                    <a:lnTo>
                      <a:pt x="1480" y="752"/>
                    </a:lnTo>
                    <a:lnTo>
                      <a:pt x="1478" y="748"/>
                    </a:lnTo>
                    <a:lnTo>
                      <a:pt x="1478" y="742"/>
                    </a:lnTo>
                    <a:lnTo>
                      <a:pt x="1482" y="728"/>
                    </a:lnTo>
                    <a:lnTo>
                      <a:pt x="1486" y="716"/>
                    </a:lnTo>
                    <a:lnTo>
                      <a:pt x="1488" y="712"/>
                    </a:lnTo>
                    <a:lnTo>
                      <a:pt x="1486" y="708"/>
                    </a:lnTo>
                    <a:lnTo>
                      <a:pt x="1486" y="708"/>
                    </a:lnTo>
                    <a:lnTo>
                      <a:pt x="1482" y="702"/>
                    </a:lnTo>
                    <a:lnTo>
                      <a:pt x="1480" y="698"/>
                    </a:lnTo>
                    <a:lnTo>
                      <a:pt x="1478" y="688"/>
                    </a:lnTo>
                    <a:lnTo>
                      <a:pt x="1476" y="684"/>
                    </a:lnTo>
                    <a:lnTo>
                      <a:pt x="1470" y="680"/>
                    </a:lnTo>
                    <a:lnTo>
                      <a:pt x="1464" y="678"/>
                    </a:lnTo>
                    <a:lnTo>
                      <a:pt x="1454" y="674"/>
                    </a:lnTo>
                    <a:lnTo>
                      <a:pt x="1454" y="674"/>
                    </a:lnTo>
                    <a:lnTo>
                      <a:pt x="1444" y="670"/>
                    </a:lnTo>
                    <a:lnTo>
                      <a:pt x="1438" y="668"/>
                    </a:lnTo>
                    <a:lnTo>
                      <a:pt x="1428" y="658"/>
                    </a:lnTo>
                    <a:lnTo>
                      <a:pt x="1420" y="652"/>
                    </a:lnTo>
                    <a:lnTo>
                      <a:pt x="1416" y="650"/>
                    </a:lnTo>
                    <a:lnTo>
                      <a:pt x="1410" y="650"/>
                    </a:lnTo>
                    <a:lnTo>
                      <a:pt x="1410" y="650"/>
                    </a:lnTo>
                    <a:lnTo>
                      <a:pt x="1400" y="648"/>
                    </a:lnTo>
                    <a:lnTo>
                      <a:pt x="1392" y="644"/>
                    </a:lnTo>
                    <a:lnTo>
                      <a:pt x="1382" y="640"/>
                    </a:lnTo>
                    <a:lnTo>
                      <a:pt x="1362" y="638"/>
                    </a:lnTo>
                    <a:lnTo>
                      <a:pt x="1362" y="638"/>
                    </a:lnTo>
                    <a:lnTo>
                      <a:pt x="1354" y="638"/>
                    </a:lnTo>
                    <a:lnTo>
                      <a:pt x="1348" y="640"/>
                    </a:lnTo>
                    <a:lnTo>
                      <a:pt x="1340" y="644"/>
                    </a:lnTo>
                    <a:lnTo>
                      <a:pt x="1332" y="654"/>
                    </a:lnTo>
                    <a:lnTo>
                      <a:pt x="1326" y="662"/>
                    </a:lnTo>
                    <a:lnTo>
                      <a:pt x="1318" y="676"/>
                    </a:lnTo>
                    <a:lnTo>
                      <a:pt x="1314" y="678"/>
                    </a:lnTo>
                    <a:lnTo>
                      <a:pt x="1312" y="674"/>
                    </a:lnTo>
                    <a:lnTo>
                      <a:pt x="1312" y="674"/>
                    </a:lnTo>
                    <a:lnTo>
                      <a:pt x="1310" y="666"/>
                    </a:lnTo>
                    <a:lnTo>
                      <a:pt x="1314" y="658"/>
                    </a:lnTo>
                    <a:lnTo>
                      <a:pt x="1322" y="642"/>
                    </a:lnTo>
                    <a:lnTo>
                      <a:pt x="1326" y="634"/>
                    </a:lnTo>
                    <a:lnTo>
                      <a:pt x="1326" y="628"/>
                    </a:lnTo>
                    <a:lnTo>
                      <a:pt x="1326" y="626"/>
                    </a:lnTo>
                    <a:lnTo>
                      <a:pt x="1322" y="622"/>
                    </a:lnTo>
                    <a:lnTo>
                      <a:pt x="1314" y="618"/>
                    </a:lnTo>
                    <a:lnTo>
                      <a:pt x="1314" y="618"/>
                    </a:lnTo>
                    <a:lnTo>
                      <a:pt x="1296" y="614"/>
                    </a:lnTo>
                    <a:lnTo>
                      <a:pt x="1288" y="614"/>
                    </a:lnTo>
                    <a:lnTo>
                      <a:pt x="1278" y="616"/>
                    </a:lnTo>
                    <a:lnTo>
                      <a:pt x="1256" y="612"/>
                    </a:lnTo>
                    <a:lnTo>
                      <a:pt x="1256" y="612"/>
                    </a:lnTo>
                    <a:lnTo>
                      <a:pt x="1246" y="612"/>
                    </a:lnTo>
                    <a:lnTo>
                      <a:pt x="1240" y="614"/>
                    </a:lnTo>
                    <a:lnTo>
                      <a:pt x="1234" y="620"/>
                    </a:lnTo>
                    <a:lnTo>
                      <a:pt x="1230" y="626"/>
                    </a:lnTo>
                    <a:lnTo>
                      <a:pt x="1230" y="634"/>
                    </a:lnTo>
                    <a:lnTo>
                      <a:pt x="1228" y="642"/>
                    </a:lnTo>
                    <a:lnTo>
                      <a:pt x="1228" y="656"/>
                    </a:lnTo>
                    <a:lnTo>
                      <a:pt x="1228" y="656"/>
                    </a:lnTo>
                    <a:lnTo>
                      <a:pt x="1226" y="652"/>
                    </a:lnTo>
                    <a:lnTo>
                      <a:pt x="1222" y="652"/>
                    </a:lnTo>
                    <a:lnTo>
                      <a:pt x="1216" y="658"/>
                    </a:lnTo>
                    <a:lnTo>
                      <a:pt x="1214" y="660"/>
                    </a:lnTo>
                    <a:lnTo>
                      <a:pt x="1212" y="660"/>
                    </a:lnTo>
                    <a:lnTo>
                      <a:pt x="1212" y="658"/>
                    </a:lnTo>
                    <a:lnTo>
                      <a:pt x="1214" y="650"/>
                    </a:lnTo>
                    <a:lnTo>
                      <a:pt x="1214" y="650"/>
                    </a:lnTo>
                    <a:lnTo>
                      <a:pt x="1216" y="642"/>
                    </a:lnTo>
                    <a:lnTo>
                      <a:pt x="1214" y="638"/>
                    </a:lnTo>
                    <a:lnTo>
                      <a:pt x="1210" y="636"/>
                    </a:lnTo>
                    <a:lnTo>
                      <a:pt x="1206" y="638"/>
                    </a:lnTo>
                    <a:lnTo>
                      <a:pt x="1198" y="640"/>
                    </a:lnTo>
                    <a:lnTo>
                      <a:pt x="1198" y="640"/>
                    </a:lnTo>
                    <a:lnTo>
                      <a:pt x="1198" y="636"/>
                    </a:lnTo>
                    <a:lnTo>
                      <a:pt x="1198" y="636"/>
                    </a:lnTo>
                    <a:lnTo>
                      <a:pt x="1202" y="632"/>
                    </a:lnTo>
                    <a:lnTo>
                      <a:pt x="1202" y="628"/>
                    </a:lnTo>
                    <a:lnTo>
                      <a:pt x="1204" y="620"/>
                    </a:lnTo>
                    <a:lnTo>
                      <a:pt x="1204" y="616"/>
                    </a:lnTo>
                    <a:lnTo>
                      <a:pt x="1206" y="614"/>
                    </a:lnTo>
                    <a:lnTo>
                      <a:pt x="1210" y="610"/>
                    </a:lnTo>
                    <a:lnTo>
                      <a:pt x="1216" y="608"/>
                    </a:lnTo>
                    <a:lnTo>
                      <a:pt x="1216" y="608"/>
                    </a:lnTo>
                    <a:lnTo>
                      <a:pt x="1224" y="604"/>
                    </a:lnTo>
                    <a:lnTo>
                      <a:pt x="1230" y="596"/>
                    </a:lnTo>
                    <a:lnTo>
                      <a:pt x="1240" y="582"/>
                    </a:lnTo>
                    <a:lnTo>
                      <a:pt x="1248" y="566"/>
                    </a:lnTo>
                    <a:lnTo>
                      <a:pt x="1254" y="560"/>
                    </a:lnTo>
                    <a:lnTo>
                      <a:pt x="1260" y="556"/>
                    </a:lnTo>
                    <a:lnTo>
                      <a:pt x="1260" y="556"/>
                    </a:lnTo>
                    <a:lnTo>
                      <a:pt x="1264" y="554"/>
                    </a:lnTo>
                    <a:lnTo>
                      <a:pt x="1266" y="548"/>
                    </a:lnTo>
                    <a:lnTo>
                      <a:pt x="1266" y="542"/>
                    </a:lnTo>
                    <a:lnTo>
                      <a:pt x="1266" y="536"/>
                    </a:lnTo>
                    <a:lnTo>
                      <a:pt x="1264" y="528"/>
                    </a:lnTo>
                    <a:lnTo>
                      <a:pt x="1260" y="524"/>
                    </a:lnTo>
                    <a:lnTo>
                      <a:pt x="1256" y="520"/>
                    </a:lnTo>
                    <a:lnTo>
                      <a:pt x="1252" y="518"/>
                    </a:lnTo>
                    <a:lnTo>
                      <a:pt x="1252" y="518"/>
                    </a:lnTo>
                    <a:lnTo>
                      <a:pt x="1244" y="518"/>
                    </a:lnTo>
                    <a:lnTo>
                      <a:pt x="1240" y="516"/>
                    </a:lnTo>
                    <a:lnTo>
                      <a:pt x="1238" y="514"/>
                    </a:lnTo>
                    <a:lnTo>
                      <a:pt x="1238" y="508"/>
                    </a:lnTo>
                    <a:lnTo>
                      <a:pt x="1238" y="508"/>
                    </a:lnTo>
                    <a:lnTo>
                      <a:pt x="1236" y="504"/>
                    </a:lnTo>
                    <a:lnTo>
                      <a:pt x="1234" y="502"/>
                    </a:lnTo>
                    <a:lnTo>
                      <a:pt x="1234" y="500"/>
                    </a:lnTo>
                    <a:lnTo>
                      <a:pt x="1232" y="494"/>
                    </a:lnTo>
                    <a:lnTo>
                      <a:pt x="1232" y="494"/>
                    </a:lnTo>
                    <a:lnTo>
                      <a:pt x="1232" y="490"/>
                    </a:lnTo>
                    <a:lnTo>
                      <a:pt x="1230" y="488"/>
                    </a:lnTo>
                    <a:lnTo>
                      <a:pt x="1228" y="484"/>
                    </a:lnTo>
                    <a:lnTo>
                      <a:pt x="1226" y="480"/>
                    </a:lnTo>
                    <a:lnTo>
                      <a:pt x="1226" y="480"/>
                    </a:lnTo>
                    <a:lnTo>
                      <a:pt x="1226" y="476"/>
                    </a:lnTo>
                    <a:lnTo>
                      <a:pt x="1226" y="472"/>
                    </a:lnTo>
                    <a:lnTo>
                      <a:pt x="1222" y="466"/>
                    </a:lnTo>
                    <a:lnTo>
                      <a:pt x="1222" y="466"/>
                    </a:lnTo>
                    <a:lnTo>
                      <a:pt x="1220" y="444"/>
                    </a:lnTo>
                    <a:lnTo>
                      <a:pt x="1218" y="422"/>
                    </a:lnTo>
                    <a:lnTo>
                      <a:pt x="1218" y="422"/>
                    </a:lnTo>
                    <a:lnTo>
                      <a:pt x="1218" y="418"/>
                    </a:lnTo>
                    <a:lnTo>
                      <a:pt x="1216" y="416"/>
                    </a:lnTo>
                    <a:lnTo>
                      <a:pt x="1214" y="414"/>
                    </a:lnTo>
                    <a:lnTo>
                      <a:pt x="1212" y="410"/>
                    </a:lnTo>
                    <a:lnTo>
                      <a:pt x="1212" y="410"/>
                    </a:lnTo>
                    <a:lnTo>
                      <a:pt x="1206" y="398"/>
                    </a:lnTo>
                    <a:lnTo>
                      <a:pt x="1202" y="392"/>
                    </a:lnTo>
                    <a:lnTo>
                      <a:pt x="1200" y="392"/>
                    </a:lnTo>
                    <a:lnTo>
                      <a:pt x="1200" y="392"/>
                    </a:lnTo>
                    <a:lnTo>
                      <a:pt x="1198" y="394"/>
                    </a:lnTo>
                    <a:lnTo>
                      <a:pt x="1198" y="396"/>
                    </a:lnTo>
                    <a:lnTo>
                      <a:pt x="1196" y="402"/>
                    </a:lnTo>
                    <a:lnTo>
                      <a:pt x="1192" y="410"/>
                    </a:lnTo>
                    <a:lnTo>
                      <a:pt x="1192" y="410"/>
                    </a:lnTo>
                    <a:lnTo>
                      <a:pt x="1192" y="406"/>
                    </a:lnTo>
                    <a:lnTo>
                      <a:pt x="1192" y="404"/>
                    </a:lnTo>
                    <a:lnTo>
                      <a:pt x="1192" y="400"/>
                    </a:lnTo>
                    <a:lnTo>
                      <a:pt x="1192" y="394"/>
                    </a:lnTo>
                    <a:lnTo>
                      <a:pt x="1192" y="394"/>
                    </a:lnTo>
                    <a:lnTo>
                      <a:pt x="1188" y="380"/>
                    </a:lnTo>
                    <a:lnTo>
                      <a:pt x="1188" y="380"/>
                    </a:lnTo>
                    <a:lnTo>
                      <a:pt x="1186" y="380"/>
                    </a:lnTo>
                    <a:lnTo>
                      <a:pt x="1184" y="382"/>
                    </a:lnTo>
                    <a:lnTo>
                      <a:pt x="1182" y="382"/>
                    </a:lnTo>
                    <a:lnTo>
                      <a:pt x="1180" y="380"/>
                    </a:lnTo>
                    <a:lnTo>
                      <a:pt x="1178" y="374"/>
                    </a:lnTo>
                    <a:lnTo>
                      <a:pt x="1178" y="374"/>
                    </a:lnTo>
                    <a:lnTo>
                      <a:pt x="1174" y="372"/>
                    </a:lnTo>
                    <a:lnTo>
                      <a:pt x="1172" y="368"/>
                    </a:lnTo>
                    <a:lnTo>
                      <a:pt x="1166" y="364"/>
                    </a:lnTo>
                    <a:lnTo>
                      <a:pt x="1158" y="360"/>
                    </a:lnTo>
                    <a:lnTo>
                      <a:pt x="1154" y="356"/>
                    </a:lnTo>
                    <a:lnTo>
                      <a:pt x="1150" y="350"/>
                    </a:lnTo>
                    <a:lnTo>
                      <a:pt x="1150" y="350"/>
                    </a:lnTo>
                    <a:lnTo>
                      <a:pt x="1148" y="346"/>
                    </a:lnTo>
                    <a:lnTo>
                      <a:pt x="1144" y="342"/>
                    </a:lnTo>
                    <a:lnTo>
                      <a:pt x="1136" y="338"/>
                    </a:lnTo>
                    <a:lnTo>
                      <a:pt x="1126" y="334"/>
                    </a:lnTo>
                    <a:lnTo>
                      <a:pt x="1114" y="330"/>
                    </a:lnTo>
                    <a:lnTo>
                      <a:pt x="1114" y="330"/>
                    </a:lnTo>
                    <a:lnTo>
                      <a:pt x="1102" y="324"/>
                    </a:lnTo>
                    <a:lnTo>
                      <a:pt x="1102" y="324"/>
                    </a:lnTo>
                    <a:lnTo>
                      <a:pt x="1102" y="324"/>
                    </a:lnTo>
                    <a:lnTo>
                      <a:pt x="1102" y="324"/>
                    </a:lnTo>
                    <a:lnTo>
                      <a:pt x="1072" y="316"/>
                    </a:lnTo>
                    <a:lnTo>
                      <a:pt x="1060" y="314"/>
                    </a:lnTo>
                    <a:lnTo>
                      <a:pt x="1056" y="314"/>
                    </a:lnTo>
                    <a:lnTo>
                      <a:pt x="1056" y="314"/>
                    </a:lnTo>
                    <a:lnTo>
                      <a:pt x="1054" y="316"/>
                    </a:lnTo>
                    <a:lnTo>
                      <a:pt x="1048" y="316"/>
                    </a:lnTo>
                    <a:lnTo>
                      <a:pt x="1038" y="314"/>
                    </a:lnTo>
                    <a:lnTo>
                      <a:pt x="1038" y="314"/>
                    </a:lnTo>
                    <a:lnTo>
                      <a:pt x="1026" y="314"/>
                    </a:lnTo>
                    <a:lnTo>
                      <a:pt x="1024" y="316"/>
                    </a:lnTo>
                    <a:lnTo>
                      <a:pt x="1022" y="318"/>
                    </a:lnTo>
                    <a:lnTo>
                      <a:pt x="1022" y="318"/>
                    </a:lnTo>
                    <a:lnTo>
                      <a:pt x="1022" y="322"/>
                    </a:lnTo>
                    <a:lnTo>
                      <a:pt x="1018" y="322"/>
                    </a:lnTo>
                    <a:lnTo>
                      <a:pt x="1006" y="318"/>
                    </a:lnTo>
                    <a:lnTo>
                      <a:pt x="998" y="316"/>
                    </a:lnTo>
                    <a:lnTo>
                      <a:pt x="990" y="314"/>
                    </a:lnTo>
                    <a:lnTo>
                      <a:pt x="982" y="316"/>
                    </a:lnTo>
                    <a:lnTo>
                      <a:pt x="974" y="318"/>
                    </a:lnTo>
                    <a:lnTo>
                      <a:pt x="974" y="318"/>
                    </a:lnTo>
                    <a:lnTo>
                      <a:pt x="972" y="316"/>
                    </a:lnTo>
                    <a:lnTo>
                      <a:pt x="972" y="314"/>
                    </a:lnTo>
                    <a:lnTo>
                      <a:pt x="968" y="308"/>
                    </a:lnTo>
                    <a:lnTo>
                      <a:pt x="966" y="302"/>
                    </a:lnTo>
                    <a:lnTo>
                      <a:pt x="964" y="300"/>
                    </a:lnTo>
                    <a:lnTo>
                      <a:pt x="962" y="298"/>
                    </a:lnTo>
                    <a:lnTo>
                      <a:pt x="962" y="298"/>
                    </a:lnTo>
                    <a:lnTo>
                      <a:pt x="958" y="296"/>
                    </a:lnTo>
                    <a:lnTo>
                      <a:pt x="956" y="294"/>
                    </a:lnTo>
                    <a:lnTo>
                      <a:pt x="954" y="288"/>
                    </a:lnTo>
                    <a:lnTo>
                      <a:pt x="952" y="284"/>
                    </a:lnTo>
                    <a:lnTo>
                      <a:pt x="948" y="280"/>
                    </a:lnTo>
                    <a:lnTo>
                      <a:pt x="942" y="276"/>
                    </a:lnTo>
                    <a:lnTo>
                      <a:pt x="934" y="274"/>
                    </a:lnTo>
                    <a:lnTo>
                      <a:pt x="934" y="274"/>
                    </a:lnTo>
                    <a:lnTo>
                      <a:pt x="920" y="270"/>
                    </a:lnTo>
                    <a:lnTo>
                      <a:pt x="916" y="268"/>
                    </a:lnTo>
                    <a:lnTo>
                      <a:pt x="916" y="264"/>
                    </a:lnTo>
                    <a:lnTo>
                      <a:pt x="918" y="254"/>
                    </a:lnTo>
                    <a:lnTo>
                      <a:pt x="918" y="254"/>
                    </a:lnTo>
                    <a:lnTo>
                      <a:pt x="918" y="248"/>
                    </a:lnTo>
                    <a:lnTo>
                      <a:pt x="918" y="242"/>
                    </a:lnTo>
                    <a:lnTo>
                      <a:pt x="914" y="234"/>
                    </a:lnTo>
                    <a:lnTo>
                      <a:pt x="908" y="228"/>
                    </a:lnTo>
                    <a:lnTo>
                      <a:pt x="892" y="214"/>
                    </a:lnTo>
                    <a:lnTo>
                      <a:pt x="868" y="198"/>
                    </a:lnTo>
                    <a:lnTo>
                      <a:pt x="868" y="198"/>
                    </a:lnTo>
                    <a:lnTo>
                      <a:pt x="862" y="192"/>
                    </a:lnTo>
                    <a:lnTo>
                      <a:pt x="862" y="192"/>
                    </a:lnTo>
                    <a:lnTo>
                      <a:pt x="852" y="188"/>
                    </a:lnTo>
                    <a:lnTo>
                      <a:pt x="840" y="188"/>
                    </a:lnTo>
                    <a:lnTo>
                      <a:pt x="830" y="188"/>
                    </a:lnTo>
                    <a:lnTo>
                      <a:pt x="818" y="190"/>
                    </a:lnTo>
                    <a:lnTo>
                      <a:pt x="804" y="194"/>
                    </a:lnTo>
                    <a:lnTo>
                      <a:pt x="802" y="192"/>
                    </a:lnTo>
                    <a:lnTo>
                      <a:pt x="804" y="190"/>
                    </a:lnTo>
                    <a:lnTo>
                      <a:pt x="804" y="190"/>
                    </a:lnTo>
                    <a:lnTo>
                      <a:pt x="808" y="184"/>
                    </a:lnTo>
                    <a:lnTo>
                      <a:pt x="810" y="180"/>
                    </a:lnTo>
                    <a:lnTo>
                      <a:pt x="812" y="172"/>
                    </a:lnTo>
                    <a:lnTo>
                      <a:pt x="814" y="164"/>
                    </a:lnTo>
                    <a:lnTo>
                      <a:pt x="816" y="160"/>
                    </a:lnTo>
                    <a:lnTo>
                      <a:pt x="822" y="156"/>
                    </a:lnTo>
                    <a:lnTo>
                      <a:pt x="822" y="156"/>
                    </a:lnTo>
                    <a:lnTo>
                      <a:pt x="826" y="152"/>
                    </a:lnTo>
                    <a:lnTo>
                      <a:pt x="826" y="150"/>
                    </a:lnTo>
                    <a:lnTo>
                      <a:pt x="826" y="148"/>
                    </a:lnTo>
                    <a:lnTo>
                      <a:pt x="822" y="146"/>
                    </a:lnTo>
                    <a:lnTo>
                      <a:pt x="814" y="142"/>
                    </a:lnTo>
                    <a:lnTo>
                      <a:pt x="810" y="138"/>
                    </a:lnTo>
                    <a:lnTo>
                      <a:pt x="808" y="134"/>
                    </a:lnTo>
                    <a:lnTo>
                      <a:pt x="808" y="134"/>
                    </a:lnTo>
                    <a:lnTo>
                      <a:pt x="804" y="130"/>
                    </a:lnTo>
                    <a:lnTo>
                      <a:pt x="800" y="128"/>
                    </a:lnTo>
                    <a:lnTo>
                      <a:pt x="792" y="128"/>
                    </a:lnTo>
                    <a:lnTo>
                      <a:pt x="784" y="126"/>
                    </a:lnTo>
                    <a:lnTo>
                      <a:pt x="780" y="124"/>
                    </a:lnTo>
                    <a:lnTo>
                      <a:pt x="778" y="122"/>
                    </a:lnTo>
                    <a:lnTo>
                      <a:pt x="778" y="122"/>
                    </a:lnTo>
                    <a:lnTo>
                      <a:pt x="772" y="116"/>
                    </a:lnTo>
                    <a:lnTo>
                      <a:pt x="766" y="112"/>
                    </a:lnTo>
                    <a:lnTo>
                      <a:pt x="752" y="104"/>
                    </a:lnTo>
                    <a:lnTo>
                      <a:pt x="746" y="100"/>
                    </a:lnTo>
                    <a:lnTo>
                      <a:pt x="744" y="98"/>
                    </a:lnTo>
                    <a:lnTo>
                      <a:pt x="748" y="94"/>
                    </a:lnTo>
                    <a:lnTo>
                      <a:pt x="756" y="92"/>
                    </a:lnTo>
                    <a:lnTo>
                      <a:pt x="756" y="92"/>
                    </a:lnTo>
                    <a:lnTo>
                      <a:pt x="772" y="88"/>
                    </a:lnTo>
                    <a:lnTo>
                      <a:pt x="782" y="84"/>
                    </a:lnTo>
                    <a:lnTo>
                      <a:pt x="782" y="82"/>
                    </a:lnTo>
                    <a:lnTo>
                      <a:pt x="778" y="80"/>
                    </a:lnTo>
                    <a:lnTo>
                      <a:pt x="762" y="78"/>
                    </a:lnTo>
                    <a:lnTo>
                      <a:pt x="762" y="78"/>
                    </a:lnTo>
                    <a:lnTo>
                      <a:pt x="744" y="78"/>
                    </a:lnTo>
                    <a:lnTo>
                      <a:pt x="736" y="80"/>
                    </a:lnTo>
                    <a:lnTo>
                      <a:pt x="726" y="82"/>
                    </a:lnTo>
                    <a:lnTo>
                      <a:pt x="706" y="84"/>
                    </a:lnTo>
                    <a:lnTo>
                      <a:pt x="706" y="84"/>
                    </a:lnTo>
                    <a:lnTo>
                      <a:pt x="696" y="84"/>
                    </a:lnTo>
                    <a:lnTo>
                      <a:pt x="688" y="86"/>
                    </a:lnTo>
                    <a:lnTo>
                      <a:pt x="684" y="88"/>
                    </a:lnTo>
                    <a:lnTo>
                      <a:pt x="682" y="92"/>
                    </a:lnTo>
                    <a:lnTo>
                      <a:pt x="680" y="98"/>
                    </a:lnTo>
                    <a:lnTo>
                      <a:pt x="678" y="100"/>
                    </a:lnTo>
                    <a:lnTo>
                      <a:pt x="674" y="104"/>
                    </a:lnTo>
                    <a:lnTo>
                      <a:pt x="674" y="104"/>
                    </a:lnTo>
                    <a:lnTo>
                      <a:pt x="662" y="110"/>
                    </a:lnTo>
                    <a:lnTo>
                      <a:pt x="654" y="112"/>
                    </a:lnTo>
                    <a:lnTo>
                      <a:pt x="646" y="112"/>
                    </a:lnTo>
                    <a:lnTo>
                      <a:pt x="638" y="112"/>
                    </a:lnTo>
                    <a:lnTo>
                      <a:pt x="630" y="108"/>
                    </a:lnTo>
                    <a:lnTo>
                      <a:pt x="622" y="102"/>
                    </a:lnTo>
                    <a:lnTo>
                      <a:pt x="616" y="94"/>
                    </a:lnTo>
                    <a:lnTo>
                      <a:pt x="616" y="94"/>
                    </a:lnTo>
                    <a:lnTo>
                      <a:pt x="612" y="88"/>
                    </a:lnTo>
                    <a:lnTo>
                      <a:pt x="608" y="86"/>
                    </a:lnTo>
                    <a:lnTo>
                      <a:pt x="602" y="84"/>
                    </a:lnTo>
                    <a:lnTo>
                      <a:pt x="594" y="84"/>
                    </a:lnTo>
                    <a:lnTo>
                      <a:pt x="580" y="86"/>
                    </a:lnTo>
                    <a:lnTo>
                      <a:pt x="564" y="90"/>
                    </a:lnTo>
                    <a:lnTo>
                      <a:pt x="548" y="94"/>
                    </a:lnTo>
                    <a:lnTo>
                      <a:pt x="536" y="94"/>
                    </a:lnTo>
                    <a:lnTo>
                      <a:pt x="530" y="92"/>
                    </a:lnTo>
                    <a:lnTo>
                      <a:pt x="526" y="90"/>
                    </a:lnTo>
                    <a:lnTo>
                      <a:pt x="524" y="84"/>
                    </a:lnTo>
                    <a:lnTo>
                      <a:pt x="522" y="78"/>
                    </a:lnTo>
                    <a:lnTo>
                      <a:pt x="522" y="78"/>
                    </a:lnTo>
                    <a:lnTo>
                      <a:pt x="520" y="64"/>
                    </a:lnTo>
                    <a:lnTo>
                      <a:pt x="516" y="56"/>
                    </a:lnTo>
                    <a:lnTo>
                      <a:pt x="508" y="50"/>
                    </a:lnTo>
                    <a:lnTo>
                      <a:pt x="500" y="46"/>
                    </a:lnTo>
                    <a:lnTo>
                      <a:pt x="490" y="44"/>
                    </a:lnTo>
                    <a:lnTo>
                      <a:pt x="482" y="40"/>
                    </a:lnTo>
                    <a:lnTo>
                      <a:pt x="474" y="32"/>
                    </a:lnTo>
                    <a:lnTo>
                      <a:pt x="468" y="22"/>
                    </a:lnTo>
                    <a:lnTo>
                      <a:pt x="468" y="22"/>
                    </a:lnTo>
                    <a:lnTo>
                      <a:pt x="464" y="12"/>
                    </a:lnTo>
                    <a:lnTo>
                      <a:pt x="458" y="8"/>
                    </a:lnTo>
                    <a:lnTo>
                      <a:pt x="454" y="8"/>
                    </a:lnTo>
                    <a:lnTo>
                      <a:pt x="450" y="10"/>
                    </a:lnTo>
                    <a:lnTo>
                      <a:pt x="446" y="16"/>
                    </a:lnTo>
                    <a:lnTo>
                      <a:pt x="444" y="22"/>
                    </a:lnTo>
                    <a:lnTo>
                      <a:pt x="444" y="28"/>
                    </a:lnTo>
                    <a:lnTo>
                      <a:pt x="444" y="34"/>
                    </a:lnTo>
                    <a:lnTo>
                      <a:pt x="444" y="34"/>
                    </a:lnTo>
                    <a:lnTo>
                      <a:pt x="448" y="40"/>
                    </a:lnTo>
                    <a:lnTo>
                      <a:pt x="452" y="48"/>
                    </a:lnTo>
                    <a:lnTo>
                      <a:pt x="452" y="50"/>
                    </a:lnTo>
                    <a:lnTo>
                      <a:pt x="448" y="52"/>
                    </a:lnTo>
                    <a:lnTo>
                      <a:pt x="430" y="56"/>
                    </a:lnTo>
                    <a:lnTo>
                      <a:pt x="430" y="56"/>
                    </a:lnTo>
                    <a:lnTo>
                      <a:pt x="420" y="60"/>
                    </a:lnTo>
                    <a:lnTo>
                      <a:pt x="410" y="64"/>
                    </a:lnTo>
                    <a:lnTo>
                      <a:pt x="402" y="70"/>
                    </a:lnTo>
                    <a:lnTo>
                      <a:pt x="398" y="74"/>
                    </a:lnTo>
                    <a:lnTo>
                      <a:pt x="392" y="80"/>
                    </a:lnTo>
                    <a:lnTo>
                      <a:pt x="390" y="78"/>
                    </a:lnTo>
                    <a:lnTo>
                      <a:pt x="388" y="72"/>
                    </a:lnTo>
                    <a:lnTo>
                      <a:pt x="388" y="72"/>
                    </a:lnTo>
                    <a:lnTo>
                      <a:pt x="386" y="64"/>
                    </a:lnTo>
                    <a:lnTo>
                      <a:pt x="380" y="56"/>
                    </a:lnTo>
                    <a:lnTo>
                      <a:pt x="380" y="56"/>
                    </a:lnTo>
                    <a:lnTo>
                      <a:pt x="376" y="52"/>
                    </a:lnTo>
                    <a:lnTo>
                      <a:pt x="376" y="48"/>
                    </a:lnTo>
                    <a:lnTo>
                      <a:pt x="378" y="44"/>
                    </a:lnTo>
                    <a:lnTo>
                      <a:pt x="382" y="40"/>
                    </a:lnTo>
                    <a:lnTo>
                      <a:pt x="392" y="32"/>
                    </a:lnTo>
                    <a:lnTo>
                      <a:pt x="402" y="26"/>
                    </a:lnTo>
                    <a:lnTo>
                      <a:pt x="402" y="26"/>
                    </a:lnTo>
                    <a:lnTo>
                      <a:pt x="402" y="26"/>
                    </a:lnTo>
                    <a:lnTo>
                      <a:pt x="402" y="26"/>
                    </a:lnTo>
                    <a:lnTo>
                      <a:pt x="406" y="24"/>
                    </a:lnTo>
                    <a:lnTo>
                      <a:pt x="410" y="20"/>
                    </a:lnTo>
                    <a:lnTo>
                      <a:pt x="410" y="14"/>
                    </a:lnTo>
                    <a:lnTo>
                      <a:pt x="410" y="10"/>
                    </a:lnTo>
                    <a:lnTo>
                      <a:pt x="408" y="6"/>
                    </a:lnTo>
                    <a:lnTo>
                      <a:pt x="404" y="2"/>
                    </a:lnTo>
                    <a:lnTo>
                      <a:pt x="398" y="0"/>
                    </a:lnTo>
                    <a:lnTo>
                      <a:pt x="390" y="0"/>
                    </a:lnTo>
                    <a:lnTo>
                      <a:pt x="390" y="0"/>
                    </a:lnTo>
                    <a:lnTo>
                      <a:pt x="378" y="4"/>
                    </a:lnTo>
                    <a:lnTo>
                      <a:pt x="374" y="6"/>
                    </a:lnTo>
                    <a:lnTo>
                      <a:pt x="370" y="10"/>
                    </a:lnTo>
                    <a:lnTo>
                      <a:pt x="362" y="20"/>
                    </a:lnTo>
                    <a:lnTo>
                      <a:pt x="354" y="26"/>
                    </a:lnTo>
                    <a:lnTo>
                      <a:pt x="344" y="36"/>
                    </a:lnTo>
                    <a:lnTo>
                      <a:pt x="344" y="36"/>
                    </a:lnTo>
                    <a:lnTo>
                      <a:pt x="328" y="46"/>
                    </a:lnTo>
                    <a:lnTo>
                      <a:pt x="316" y="50"/>
                    </a:lnTo>
                    <a:lnTo>
                      <a:pt x="306" y="52"/>
                    </a:lnTo>
                    <a:lnTo>
                      <a:pt x="298" y="52"/>
                    </a:lnTo>
                    <a:lnTo>
                      <a:pt x="294" y="50"/>
                    </a:lnTo>
                    <a:lnTo>
                      <a:pt x="290" y="50"/>
                    </a:lnTo>
                    <a:lnTo>
                      <a:pt x="286" y="52"/>
                    </a:lnTo>
                    <a:lnTo>
                      <a:pt x="284" y="58"/>
                    </a:lnTo>
                    <a:lnTo>
                      <a:pt x="284" y="58"/>
                    </a:lnTo>
                    <a:lnTo>
                      <a:pt x="280" y="66"/>
                    </a:lnTo>
                    <a:lnTo>
                      <a:pt x="276" y="68"/>
                    </a:lnTo>
                    <a:lnTo>
                      <a:pt x="270" y="68"/>
                    </a:lnTo>
                    <a:lnTo>
                      <a:pt x="266" y="66"/>
                    </a:lnTo>
                    <a:lnTo>
                      <a:pt x="256" y="62"/>
                    </a:lnTo>
                    <a:lnTo>
                      <a:pt x="252" y="64"/>
                    </a:lnTo>
                    <a:lnTo>
                      <a:pt x="250" y="68"/>
                    </a:lnTo>
                    <a:lnTo>
                      <a:pt x="250" y="68"/>
                    </a:lnTo>
                    <a:lnTo>
                      <a:pt x="248" y="72"/>
                    </a:lnTo>
                    <a:lnTo>
                      <a:pt x="244" y="78"/>
                    </a:lnTo>
                    <a:lnTo>
                      <a:pt x="238" y="86"/>
                    </a:lnTo>
                    <a:lnTo>
                      <a:pt x="234" y="92"/>
                    </a:lnTo>
                    <a:lnTo>
                      <a:pt x="232" y="100"/>
                    </a:lnTo>
                    <a:lnTo>
                      <a:pt x="230" y="110"/>
                    </a:lnTo>
                    <a:lnTo>
                      <a:pt x="230" y="122"/>
                    </a:lnTo>
                    <a:lnTo>
                      <a:pt x="230" y="122"/>
                    </a:lnTo>
                    <a:lnTo>
                      <a:pt x="230" y="134"/>
                    </a:lnTo>
                    <a:lnTo>
                      <a:pt x="226" y="142"/>
                    </a:lnTo>
                    <a:lnTo>
                      <a:pt x="224" y="144"/>
                    </a:lnTo>
                    <a:lnTo>
                      <a:pt x="220" y="146"/>
                    </a:lnTo>
                    <a:lnTo>
                      <a:pt x="214" y="146"/>
                    </a:lnTo>
                    <a:lnTo>
                      <a:pt x="210" y="148"/>
                    </a:lnTo>
                    <a:lnTo>
                      <a:pt x="208" y="150"/>
                    </a:lnTo>
                    <a:lnTo>
                      <a:pt x="206" y="158"/>
                    </a:lnTo>
                    <a:lnTo>
                      <a:pt x="206" y="158"/>
                    </a:lnTo>
                    <a:lnTo>
                      <a:pt x="202" y="166"/>
                    </a:lnTo>
                    <a:lnTo>
                      <a:pt x="198" y="170"/>
                    </a:lnTo>
                    <a:lnTo>
                      <a:pt x="180" y="202"/>
                    </a:lnTo>
                    <a:lnTo>
                      <a:pt x="180" y="202"/>
                    </a:lnTo>
                    <a:lnTo>
                      <a:pt x="182" y="212"/>
                    </a:lnTo>
                    <a:lnTo>
                      <a:pt x="182" y="214"/>
                    </a:lnTo>
                    <a:lnTo>
                      <a:pt x="180" y="214"/>
                    </a:lnTo>
                    <a:lnTo>
                      <a:pt x="176" y="210"/>
                    </a:lnTo>
                    <a:lnTo>
                      <a:pt x="144" y="264"/>
                    </a:lnTo>
                    <a:lnTo>
                      <a:pt x="144" y="264"/>
                    </a:lnTo>
                    <a:lnTo>
                      <a:pt x="146" y="274"/>
                    </a:lnTo>
                    <a:lnTo>
                      <a:pt x="148" y="278"/>
                    </a:lnTo>
                    <a:lnTo>
                      <a:pt x="152" y="280"/>
                    </a:lnTo>
                    <a:lnTo>
                      <a:pt x="152" y="280"/>
                    </a:lnTo>
                    <a:lnTo>
                      <a:pt x="156" y="284"/>
                    </a:lnTo>
                    <a:lnTo>
                      <a:pt x="158" y="286"/>
                    </a:lnTo>
                    <a:lnTo>
                      <a:pt x="158" y="290"/>
                    </a:lnTo>
                    <a:lnTo>
                      <a:pt x="156" y="296"/>
                    </a:lnTo>
                    <a:lnTo>
                      <a:pt x="154" y="304"/>
                    </a:lnTo>
                    <a:lnTo>
                      <a:pt x="154" y="310"/>
                    </a:lnTo>
                    <a:lnTo>
                      <a:pt x="156" y="314"/>
                    </a:lnTo>
                    <a:lnTo>
                      <a:pt x="156" y="314"/>
                    </a:lnTo>
                    <a:lnTo>
                      <a:pt x="162" y="320"/>
                    </a:lnTo>
                    <a:lnTo>
                      <a:pt x="162" y="324"/>
                    </a:lnTo>
                    <a:lnTo>
                      <a:pt x="160" y="328"/>
                    </a:lnTo>
                    <a:lnTo>
                      <a:pt x="158" y="330"/>
                    </a:lnTo>
                    <a:lnTo>
                      <a:pt x="154" y="334"/>
                    </a:lnTo>
                    <a:lnTo>
                      <a:pt x="152" y="338"/>
                    </a:lnTo>
                    <a:lnTo>
                      <a:pt x="150" y="348"/>
                    </a:lnTo>
                    <a:lnTo>
                      <a:pt x="152" y="360"/>
                    </a:lnTo>
                    <a:lnTo>
                      <a:pt x="152" y="360"/>
                    </a:lnTo>
                    <a:lnTo>
                      <a:pt x="154" y="374"/>
                    </a:lnTo>
                    <a:lnTo>
                      <a:pt x="154" y="386"/>
                    </a:lnTo>
                    <a:lnTo>
                      <a:pt x="152" y="406"/>
                    </a:lnTo>
                    <a:lnTo>
                      <a:pt x="152" y="418"/>
                    </a:lnTo>
                    <a:lnTo>
                      <a:pt x="152" y="422"/>
                    </a:lnTo>
                    <a:lnTo>
                      <a:pt x="156" y="424"/>
                    </a:lnTo>
                    <a:lnTo>
                      <a:pt x="156" y="424"/>
                    </a:lnTo>
                    <a:lnTo>
                      <a:pt x="158" y="428"/>
                    </a:lnTo>
                    <a:lnTo>
                      <a:pt x="158" y="434"/>
                    </a:lnTo>
                    <a:lnTo>
                      <a:pt x="158" y="444"/>
                    </a:lnTo>
                    <a:lnTo>
                      <a:pt x="154" y="454"/>
                    </a:lnTo>
                    <a:lnTo>
                      <a:pt x="150" y="464"/>
                    </a:lnTo>
                    <a:lnTo>
                      <a:pt x="144" y="472"/>
                    </a:lnTo>
                    <a:lnTo>
                      <a:pt x="138" y="478"/>
                    </a:lnTo>
                    <a:lnTo>
                      <a:pt x="132" y="480"/>
                    </a:lnTo>
                    <a:lnTo>
                      <a:pt x="132" y="480"/>
                    </a:lnTo>
                    <a:lnTo>
                      <a:pt x="118" y="482"/>
                    </a:lnTo>
                    <a:lnTo>
                      <a:pt x="110" y="486"/>
                    </a:lnTo>
                    <a:lnTo>
                      <a:pt x="106" y="490"/>
                    </a:lnTo>
                    <a:lnTo>
                      <a:pt x="104" y="494"/>
                    </a:lnTo>
                    <a:lnTo>
                      <a:pt x="104" y="498"/>
                    </a:lnTo>
                    <a:lnTo>
                      <a:pt x="104" y="504"/>
                    </a:lnTo>
                    <a:lnTo>
                      <a:pt x="104" y="504"/>
                    </a:lnTo>
                    <a:lnTo>
                      <a:pt x="104" y="510"/>
                    </a:lnTo>
                    <a:lnTo>
                      <a:pt x="102" y="512"/>
                    </a:lnTo>
                    <a:lnTo>
                      <a:pt x="96" y="516"/>
                    </a:lnTo>
                    <a:lnTo>
                      <a:pt x="92" y="518"/>
                    </a:lnTo>
                    <a:lnTo>
                      <a:pt x="92" y="520"/>
                    </a:lnTo>
                    <a:lnTo>
                      <a:pt x="94" y="526"/>
                    </a:lnTo>
                    <a:lnTo>
                      <a:pt x="98" y="536"/>
                    </a:lnTo>
                    <a:lnTo>
                      <a:pt x="98" y="536"/>
                    </a:lnTo>
                    <a:lnTo>
                      <a:pt x="98" y="540"/>
                    </a:lnTo>
                    <a:lnTo>
                      <a:pt x="98" y="542"/>
                    </a:lnTo>
                    <a:lnTo>
                      <a:pt x="92" y="548"/>
                    </a:lnTo>
                    <a:lnTo>
                      <a:pt x="84" y="552"/>
                    </a:lnTo>
                    <a:lnTo>
                      <a:pt x="74" y="554"/>
                    </a:lnTo>
                    <a:lnTo>
                      <a:pt x="64" y="558"/>
                    </a:lnTo>
                    <a:lnTo>
                      <a:pt x="56" y="562"/>
                    </a:lnTo>
                    <a:lnTo>
                      <a:pt x="50" y="570"/>
                    </a:lnTo>
                    <a:lnTo>
                      <a:pt x="50" y="574"/>
                    </a:lnTo>
                    <a:lnTo>
                      <a:pt x="50" y="578"/>
                    </a:lnTo>
                    <a:lnTo>
                      <a:pt x="50" y="578"/>
                    </a:lnTo>
                    <a:lnTo>
                      <a:pt x="50" y="592"/>
                    </a:lnTo>
                    <a:lnTo>
                      <a:pt x="48" y="600"/>
                    </a:lnTo>
                    <a:lnTo>
                      <a:pt x="46" y="606"/>
                    </a:lnTo>
                    <a:lnTo>
                      <a:pt x="42" y="610"/>
                    </a:lnTo>
                    <a:lnTo>
                      <a:pt x="36" y="618"/>
                    </a:lnTo>
                    <a:lnTo>
                      <a:pt x="34" y="624"/>
                    </a:lnTo>
                    <a:lnTo>
                      <a:pt x="34" y="632"/>
                    </a:lnTo>
                    <a:lnTo>
                      <a:pt x="34" y="632"/>
                    </a:lnTo>
                    <a:lnTo>
                      <a:pt x="34" y="642"/>
                    </a:lnTo>
                    <a:lnTo>
                      <a:pt x="30" y="646"/>
                    </a:lnTo>
                    <a:lnTo>
                      <a:pt x="28" y="648"/>
                    </a:lnTo>
                    <a:lnTo>
                      <a:pt x="22" y="650"/>
                    </a:lnTo>
                    <a:lnTo>
                      <a:pt x="18" y="652"/>
                    </a:lnTo>
                    <a:lnTo>
                      <a:pt x="16" y="654"/>
                    </a:lnTo>
                    <a:lnTo>
                      <a:pt x="14" y="660"/>
                    </a:lnTo>
                    <a:lnTo>
                      <a:pt x="16" y="670"/>
                    </a:lnTo>
                    <a:lnTo>
                      <a:pt x="16" y="670"/>
                    </a:lnTo>
                    <a:lnTo>
                      <a:pt x="18" y="688"/>
                    </a:lnTo>
                    <a:lnTo>
                      <a:pt x="20" y="698"/>
                    </a:lnTo>
                    <a:lnTo>
                      <a:pt x="18" y="706"/>
                    </a:lnTo>
                    <a:lnTo>
                      <a:pt x="18" y="710"/>
                    </a:lnTo>
                    <a:lnTo>
                      <a:pt x="16" y="714"/>
                    </a:lnTo>
                    <a:lnTo>
                      <a:pt x="18" y="716"/>
                    </a:lnTo>
                    <a:lnTo>
                      <a:pt x="28" y="728"/>
                    </a:lnTo>
                    <a:lnTo>
                      <a:pt x="28" y="728"/>
                    </a:lnTo>
                    <a:lnTo>
                      <a:pt x="34" y="734"/>
                    </a:lnTo>
                    <a:lnTo>
                      <a:pt x="42" y="736"/>
                    </a:lnTo>
                    <a:lnTo>
                      <a:pt x="46" y="736"/>
                    </a:lnTo>
                    <a:lnTo>
                      <a:pt x="50" y="732"/>
                    </a:lnTo>
                    <a:lnTo>
                      <a:pt x="54" y="726"/>
                    </a:lnTo>
                    <a:lnTo>
                      <a:pt x="56" y="726"/>
                    </a:lnTo>
                    <a:lnTo>
                      <a:pt x="56" y="730"/>
                    </a:lnTo>
                    <a:lnTo>
                      <a:pt x="56" y="730"/>
                    </a:lnTo>
                    <a:lnTo>
                      <a:pt x="56" y="744"/>
                    </a:lnTo>
                    <a:lnTo>
                      <a:pt x="54" y="756"/>
                    </a:lnTo>
                    <a:lnTo>
                      <a:pt x="52" y="760"/>
                    </a:lnTo>
                    <a:lnTo>
                      <a:pt x="48" y="766"/>
                    </a:lnTo>
                    <a:lnTo>
                      <a:pt x="44" y="768"/>
                    </a:lnTo>
                    <a:lnTo>
                      <a:pt x="38" y="770"/>
                    </a:lnTo>
                    <a:lnTo>
                      <a:pt x="38" y="770"/>
                    </a:lnTo>
                    <a:lnTo>
                      <a:pt x="22" y="786"/>
                    </a:lnTo>
                    <a:lnTo>
                      <a:pt x="12" y="800"/>
                    </a:lnTo>
                    <a:lnTo>
                      <a:pt x="6" y="812"/>
                    </a:lnTo>
                    <a:lnTo>
                      <a:pt x="2" y="824"/>
                    </a:lnTo>
                    <a:lnTo>
                      <a:pt x="0" y="836"/>
                    </a:lnTo>
                    <a:lnTo>
                      <a:pt x="0" y="844"/>
                    </a:lnTo>
                    <a:lnTo>
                      <a:pt x="2" y="860"/>
                    </a:lnTo>
                    <a:lnTo>
                      <a:pt x="2" y="860"/>
                    </a:lnTo>
                    <a:lnTo>
                      <a:pt x="4" y="866"/>
                    </a:lnTo>
                    <a:lnTo>
                      <a:pt x="8" y="870"/>
                    </a:lnTo>
                    <a:lnTo>
                      <a:pt x="16" y="876"/>
                    </a:lnTo>
                    <a:lnTo>
                      <a:pt x="18" y="878"/>
                    </a:lnTo>
                    <a:lnTo>
                      <a:pt x="18" y="882"/>
                    </a:lnTo>
                    <a:lnTo>
                      <a:pt x="18" y="884"/>
                    </a:lnTo>
                    <a:lnTo>
                      <a:pt x="12" y="888"/>
                    </a:lnTo>
                    <a:lnTo>
                      <a:pt x="12" y="888"/>
                    </a:lnTo>
                    <a:lnTo>
                      <a:pt x="8" y="892"/>
                    </a:lnTo>
                    <a:lnTo>
                      <a:pt x="6" y="896"/>
                    </a:lnTo>
                    <a:lnTo>
                      <a:pt x="6" y="900"/>
                    </a:lnTo>
                    <a:lnTo>
                      <a:pt x="6" y="902"/>
                    </a:lnTo>
                    <a:lnTo>
                      <a:pt x="12" y="908"/>
                    </a:lnTo>
                    <a:lnTo>
                      <a:pt x="22" y="914"/>
                    </a:lnTo>
                    <a:lnTo>
                      <a:pt x="44" y="926"/>
                    </a:lnTo>
                    <a:lnTo>
                      <a:pt x="54" y="934"/>
                    </a:lnTo>
                    <a:lnTo>
                      <a:pt x="56" y="938"/>
                    </a:lnTo>
                    <a:lnTo>
                      <a:pt x="58" y="944"/>
                    </a:lnTo>
                    <a:lnTo>
                      <a:pt x="58" y="944"/>
                    </a:lnTo>
                    <a:lnTo>
                      <a:pt x="62" y="960"/>
                    </a:lnTo>
                    <a:lnTo>
                      <a:pt x="68" y="972"/>
                    </a:lnTo>
                    <a:lnTo>
                      <a:pt x="74" y="980"/>
                    </a:lnTo>
                    <a:lnTo>
                      <a:pt x="80" y="988"/>
                    </a:lnTo>
                    <a:lnTo>
                      <a:pt x="92" y="1004"/>
                    </a:lnTo>
                    <a:lnTo>
                      <a:pt x="96" y="1014"/>
                    </a:lnTo>
                    <a:lnTo>
                      <a:pt x="100" y="1026"/>
                    </a:lnTo>
                    <a:lnTo>
                      <a:pt x="100" y="1026"/>
                    </a:lnTo>
                    <a:lnTo>
                      <a:pt x="104" y="1040"/>
                    </a:lnTo>
                    <a:lnTo>
                      <a:pt x="108" y="1056"/>
                    </a:lnTo>
                    <a:lnTo>
                      <a:pt x="122" y="1086"/>
                    </a:lnTo>
                    <a:lnTo>
                      <a:pt x="136" y="1114"/>
                    </a:lnTo>
                    <a:lnTo>
                      <a:pt x="142" y="1128"/>
                    </a:lnTo>
                    <a:lnTo>
                      <a:pt x="146" y="1142"/>
                    </a:lnTo>
                    <a:lnTo>
                      <a:pt x="146" y="1142"/>
                    </a:lnTo>
                    <a:lnTo>
                      <a:pt x="148" y="1152"/>
                    </a:lnTo>
                    <a:lnTo>
                      <a:pt x="152" y="1160"/>
                    </a:lnTo>
                    <a:lnTo>
                      <a:pt x="158" y="1172"/>
                    </a:lnTo>
                    <a:lnTo>
                      <a:pt x="162" y="1180"/>
                    </a:lnTo>
                    <a:lnTo>
                      <a:pt x="164" y="1186"/>
                    </a:lnTo>
                    <a:lnTo>
                      <a:pt x="164" y="1194"/>
                    </a:lnTo>
                    <a:lnTo>
                      <a:pt x="164" y="1194"/>
                    </a:lnTo>
                    <a:lnTo>
                      <a:pt x="166" y="1202"/>
                    </a:lnTo>
                    <a:lnTo>
                      <a:pt x="172" y="1210"/>
                    </a:lnTo>
                    <a:lnTo>
                      <a:pt x="184" y="1228"/>
                    </a:lnTo>
                    <a:lnTo>
                      <a:pt x="192" y="1238"/>
                    </a:lnTo>
                    <a:lnTo>
                      <a:pt x="198" y="1248"/>
                    </a:lnTo>
                    <a:lnTo>
                      <a:pt x="200" y="1260"/>
                    </a:lnTo>
                    <a:lnTo>
                      <a:pt x="200" y="1274"/>
                    </a:lnTo>
                    <a:lnTo>
                      <a:pt x="200" y="1274"/>
                    </a:lnTo>
                    <a:lnTo>
                      <a:pt x="200" y="1286"/>
                    </a:lnTo>
                    <a:lnTo>
                      <a:pt x="204" y="1298"/>
                    </a:lnTo>
                    <a:lnTo>
                      <a:pt x="208" y="1308"/>
                    </a:lnTo>
                    <a:lnTo>
                      <a:pt x="214" y="1316"/>
                    </a:lnTo>
                    <a:lnTo>
                      <a:pt x="228" y="1330"/>
                    </a:lnTo>
                    <a:lnTo>
                      <a:pt x="234" y="1338"/>
                    </a:lnTo>
                    <a:lnTo>
                      <a:pt x="238" y="1344"/>
                    </a:lnTo>
                    <a:lnTo>
                      <a:pt x="238" y="1344"/>
                    </a:lnTo>
                    <a:lnTo>
                      <a:pt x="246" y="1356"/>
                    </a:lnTo>
                    <a:lnTo>
                      <a:pt x="256" y="1368"/>
                    </a:lnTo>
                    <a:lnTo>
                      <a:pt x="278" y="1384"/>
                    </a:lnTo>
                    <a:lnTo>
                      <a:pt x="318" y="1406"/>
                    </a:lnTo>
                    <a:lnTo>
                      <a:pt x="318" y="1406"/>
                    </a:lnTo>
                    <a:lnTo>
                      <a:pt x="358" y="1428"/>
                    </a:lnTo>
                    <a:lnTo>
                      <a:pt x="380" y="1442"/>
                    </a:lnTo>
                    <a:lnTo>
                      <a:pt x="388" y="1448"/>
                    </a:lnTo>
                    <a:lnTo>
                      <a:pt x="392" y="1454"/>
                    </a:lnTo>
                    <a:lnTo>
                      <a:pt x="396" y="1460"/>
                    </a:lnTo>
                    <a:lnTo>
                      <a:pt x="398" y="1468"/>
                    </a:lnTo>
                    <a:lnTo>
                      <a:pt x="398" y="1468"/>
                    </a:lnTo>
                    <a:lnTo>
                      <a:pt x="400" y="1474"/>
                    </a:lnTo>
                    <a:lnTo>
                      <a:pt x="404" y="1480"/>
                    </a:lnTo>
                    <a:lnTo>
                      <a:pt x="408" y="1486"/>
                    </a:lnTo>
                    <a:lnTo>
                      <a:pt x="414" y="1490"/>
                    </a:lnTo>
                    <a:lnTo>
                      <a:pt x="426" y="1496"/>
                    </a:lnTo>
                    <a:lnTo>
                      <a:pt x="434" y="1500"/>
                    </a:lnTo>
                    <a:lnTo>
                      <a:pt x="440" y="1506"/>
                    </a:lnTo>
                    <a:lnTo>
                      <a:pt x="440" y="1506"/>
                    </a:lnTo>
                    <a:lnTo>
                      <a:pt x="438" y="1532"/>
                    </a:lnTo>
                    <a:lnTo>
                      <a:pt x="440" y="1542"/>
                    </a:lnTo>
                    <a:lnTo>
                      <a:pt x="442" y="1546"/>
                    </a:lnTo>
                    <a:lnTo>
                      <a:pt x="442" y="1552"/>
                    </a:lnTo>
                    <a:lnTo>
                      <a:pt x="442" y="1552"/>
                    </a:lnTo>
                    <a:lnTo>
                      <a:pt x="444" y="1564"/>
                    </a:lnTo>
                    <a:lnTo>
                      <a:pt x="446" y="1574"/>
                    </a:lnTo>
                    <a:lnTo>
                      <a:pt x="448" y="1586"/>
                    </a:lnTo>
                    <a:lnTo>
                      <a:pt x="448" y="1594"/>
                    </a:lnTo>
                    <a:lnTo>
                      <a:pt x="448" y="1604"/>
                    </a:lnTo>
                    <a:lnTo>
                      <a:pt x="448" y="1604"/>
                    </a:lnTo>
                    <a:lnTo>
                      <a:pt x="446" y="1614"/>
                    </a:lnTo>
                    <a:lnTo>
                      <a:pt x="446" y="1624"/>
                    </a:lnTo>
                    <a:lnTo>
                      <a:pt x="450" y="1640"/>
                    </a:lnTo>
                    <a:lnTo>
                      <a:pt x="452" y="1658"/>
                    </a:lnTo>
                    <a:lnTo>
                      <a:pt x="452" y="1670"/>
                    </a:lnTo>
                    <a:lnTo>
                      <a:pt x="448" y="1686"/>
                    </a:lnTo>
                    <a:lnTo>
                      <a:pt x="448" y="1686"/>
                    </a:lnTo>
                    <a:lnTo>
                      <a:pt x="444" y="1716"/>
                    </a:lnTo>
                    <a:lnTo>
                      <a:pt x="442" y="1732"/>
                    </a:lnTo>
                    <a:lnTo>
                      <a:pt x="440" y="1742"/>
                    </a:lnTo>
                    <a:lnTo>
                      <a:pt x="440" y="1744"/>
                    </a:lnTo>
                    <a:lnTo>
                      <a:pt x="438" y="1744"/>
                    </a:lnTo>
                    <a:lnTo>
                      <a:pt x="438" y="1744"/>
                    </a:lnTo>
                    <a:lnTo>
                      <a:pt x="436" y="1744"/>
                    </a:lnTo>
                    <a:lnTo>
                      <a:pt x="434" y="1746"/>
                    </a:lnTo>
                    <a:lnTo>
                      <a:pt x="430" y="1752"/>
                    </a:lnTo>
                    <a:lnTo>
                      <a:pt x="430" y="1760"/>
                    </a:lnTo>
                    <a:lnTo>
                      <a:pt x="430" y="1762"/>
                    </a:lnTo>
                    <a:lnTo>
                      <a:pt x="434" y="1764"/>
                    </a:lnTo>
                    <a:lnTo>
                      <a:pt x="434" y="1764"/>
                    </a:lnTo>
                    <a:lnTo>
                      <a:pt x="436" y="1768"/>
                    </a:lnTo>
                    <a:lnTo>
                      <a:pt x="436" y="1772"/>
                    </a:lnTo>
                    <a:lnTo>
                      <a:pt x="434" y="1788"/>
                    </a:lnTo>
                    <a:lnTo>
                      <a:pt x="430" y="1808"/>
                    </a:lnTo>
                    <a:lnTo>
                      <a:pt x="432" y="1820"/>
                    </a:lnTo>
                    <a:lnTo>
                      <a:pt x="434" y="1834"/>
                    </a:lnTo>
                    <a:lnTo>
                      <a:pt x="434" y="1834"/>
                    </a:lnTo>
                    <a:lnTo>
                      <a:pt x="436" y="1846"/>
                    </a:lnTo>
                    <a:lnTo>
                      <a:pt x="436" y="1856"/>
                    </a:lnTo>
                    <a:lnTo>
                      <a:pt x="434" y="1864"/>
                    </a:lnTo>
                    <a:lnTo>
                      <a:pt x="432" y="1870"/>
                    </a:lnTo>
                    <a:lnTo>
                      <a:pt x="428" y="1882"/>
                    </a:lnTo>
                    <a:lnTo>
                      <a:pt x="428" y="1888"/>
                    </a:lnTo>
                    <a:lnTo>
                      <a:pt x="430" y="1894"/>
                    </a:lnTo>
                    <a:lnTo>
                      <a:pt x="430" y="1894"/>
                    </a:lnTo>
                    <a:lnTo>
                      <a:pt x="432" y="1900"/>
                    </a:lnTo>
                    <a:lnTo>
                      <a:pt x="430" y="1908"/>
                    </a:lnTo>
                    <a:lnTo>
                      <a:pt x="424" y="1928"/>
                    </a:lnTo>
                    <a:lnTo>
                      <a:pt x="418" y="1946"/>
                    </a:lnTo>
                    <a:lnTo>
                      <a:pt x="416" y="1956"/>
                    </a:lnTo>
                    <a:lnTo>
                      <a:pt x="416" y="1964"/>
                    </a:lnTo>
                    <a:lnTo>
                      <a:pt x="416" y="1964"/>
                    </a:lnTo>
                    <a:lnTo>
                      <a:pt x="416" y="1974"/>
                    </a:lnTo>
                    <a:lnTo>
                      <a:pt x="414" y="1978"/>
                    </a:lnTo>
                    <a:lnTo>
                      <a:pt x="410" y="1986"/>
                    </a:lnTo>
                    <a:lnTo>
                      <a:pt x="408" y="2004"/>
                    </a:lnTo>
                    <a:lnTo>
                      <a:pt x="408" y="2004"/>
                    </a:lnTo>
                    <a:lnTo>
                      <a:pt x="408" y="2016"/>
                    </a:lnTo>
                    <a:lnTo>
                      <a:pt x="404" y="2024"/>
                    </a:lnTo>
                    <a:lnTo>
                      <a:pt x="400" y="2030"/>
                    </a:lnTo>
                    <a:lnTo>
                      <a:pt x="398" y="2036"/>
                    </a:lnTo>
                    <a:lnTo>
                      <a:pt x="394" y="2040"/>
                    </a:lnTo>
                    <a:lnTo>
                      <a:pt x="392" y="2044"/>
                    </a:lnTo>
                    <a:lnTo>
                      <a:pt x="392" y="2048"/>
                    </a:lnTo>
                    <a:lnTo>
                      <a:pt x="394" y="2056"/>
                    </a:lnTo>
                    <a:lnTo>
                      <a:pt x="394" y="2056"/>
                    </a:lnTo>
                    <a:lnTo>
                      <a:pt x="400" y="2072"/>
                    </a:lnTo>
                    <a:lnTo>
                      <a:pt x="402" y="2086"/>
                    </a:lnTo>
                    <a:lnTo>
                      <a:pt x="402" y="2098"/>
                    </a:lnTo>
                    <a:lnTo>
                      <a:pt x="400" y="2104"/>
                    </a:lnTo>
                    <a:lnTo>
                      <a:pt x="398" y="2108"/>
                    </a:lnTo>
                    <a:lnTo>
                      <a:pt x="398" y="2108"/>
                    </a:lnTo>
                    <a:lnTo>
                      <a:pt x="390" y="2116"/>
                    </a:lnTo>
                    <a:lnTo>
                      <a:pt x="386" y="2124"/>
                    </a:lnTo>
                    <a:lnTo>
                      <a:pt x="384" y="2130"/>
                    </a:lnTo>
                    <a:lnTo>
                      <a:pt x="384" y="2138"/>
                    </a:lnTo>
                    <a:lnTo>
                      <a:pt x="388" y="2162"/>
                    </a:lnTo>
                    <a:lnTo>
                      <a:pt x="388" y="2162"/>
                    </a:lnTo>
                    <a:lnTo>
                      <a:pt x="392" y="2186"/>
                    </a:lnTo>
                    <a:lnTo>
                      <a:pt x="392" y="2200"/>
                    </a:lnTo>
                    <a:lnTo>
                      <a:pt x="392" y="2212"/>
                    </a:lnTo>
                    <a:lnTo>
                      <a:pt x="396" y="2224"/>
                    </a:lnTo>
                    <a:lnTo>
                      <a:pt x="396" y="2224"/>
                    </a:lnTo>
                    <a:lnTo>
                      <a:pt x="398" y="2230"/>
                    </a:lnTo>
                    <a:lnTo>
                      <a:pt x="398" y="2236"/>
                    </a:lnTo>
                    <a:lnTo>
                      <a:pt x="392" y="2248"/>
                    </a:lnTo>
                    <a:lnTo>
                      <a:pt x="386" y="2262"/>
                    </a:lnTo>
                    <a:lnTo>
                      <a:pt x="386" y="2270"/>
                    </a:lnTo>
                    <a:lnTo>
                      <a:pt x="386" y="2280"/>
                    </a:lnTo>
                    <a:lnTo>
                      <a:pt x="386" y="2280"/>
                    </a:lnTo>
                    <a:lnTo>
                      <a:pt x="388" y="2288"/>
                    </a:lnTo>
                    <a:lnTo>
                      <a:pt x="388" y="2292"/>
                    </a:lnTo>
                    <a:lnTo>
                      <a:pt x="386" y="2294"/>
                    </a:lnTo>
                    <a:lnTo>
                      <a:pt x="384" y="2298"/>
                    </a:lnTo>
                    <a:lnTo>
                      <a:pt x="380" y="2300"/>
                    </a:lnTo>
                    <a:lnTo>
                      <a:pt x="378" y="2306"/>
                    </a:lnTo>
                    <a:lnTo>
                      <a:pt x="376" y="2314"/>
                    </a:lnTo>
                    <a:lnTo>
                      <a:pt x="374" y="2328"/>
                    </a:lnTo>
                    <a:lnTo>
                      <a:pt x="374" y="2328"/>
                    </a:lnTo>
                    <a:lnTo>
                      <a:pt x="372" y="2342"/>
                    </a:lnTo>
                    <a:lnTo>
                      <a:pt x="370" y="2354"/>
                    </a:lnTo>
                    <a:lnTo>
                      <a:pt x="362" y="2376"/>
                    </a:lnTo>
                    <a:lnTo>
                      <a:pt x="354" y="2390"/>
                    </a:lnTo>
                    <a:lnTo>
                      <a:pt x="350" y="2402"/>
                    </a:lnTo>
                    <a:lnTo>
                      <a:pt x="350" y="2402"/>
                    </a:lnTo>
                    <a:lnTo>
                      <a:pt x="348" y="2412"/>
                    </a:lnTo>
                    <a:lnTo>
                      <a:pt x="344" y="2414"/>
                    </a:lnTo>
                    <a:lnTo>
                      <a:pt x="342" y="2420"/>
                    </a:lnTo>
                    <a:lnTo>
                      <a:pt x="338" y="2434"/>
                    </a:lnTo>
                    <a:lnTo>
                      <a:pt x="338" y="2434"/>
                    </a:lnTo>
                    <a:lnTo>
                      <a:pt x="336" y="2446"/>
                    </a:lnTo>
                    <a:lnTo>
                      <a:pt x="334" y="2452"/>
                    </a:lnTo>
                    <a:lnTo>
                      <a:pt x="334" y="2454"/>
                    </a:lnTo>
                    <a:lnTo>
                      <a:pt x="332" y="2454"/>
                    </a:lnTo>
                    <a:lnTo>
                      <a:pt x="330" y="2452"/>
                    </a:lnTo>
                    <a:lnTo>
                      <a:pt x="330" y="2452"/>
                    </a:lnTo>
                    <a:lnTo>
                      <a:pt x="328" y="2462"/>
                    </a:lnTo>
                    <a:lnTo>
                      <a:pt x="328" y="2462"/>
                    </a:lnTo>
                    <a:lnTo>
                      <a:pt x="326" y="2474"/>
                    </a:lnTo>
                    <a:lnTo>
                      <a:pt x="324" y="2480"/>
                    </a:lnTo>
                    <a:lnTo>
                      <a:pt x="320" y="2482"/>
                    </a:lnTo>
                    <a:lnTo>
                      <a:pt x="318" y="2482"/>
                    </a:lnTo>
                    <a:lnTo>
                      <a:pt x="310" y="2480"/>
                    </a:lnTo>
                    <a:lnTo>
                      <a:pt x="308" y="2482"/>
                    </a:lnTo>
                    <a:lnTo>
                      <a:pt x="306" y="2486"/>
                    </a:lnTo>
                    <a:lnTo>
                      <a:pt x="306" y="2486"/>
                    </a:lnTo>
                    <a:lnTo>
                      <a:pt x="306" y="2498"/>
                    </a:lnTo>
                    <a:lnTo>
                      <a:pt x="306" y="2506"/>
                    </a:lnTo>
                    <a:lnTo>
                      <a:pt x="310" y="2514"/>
                    </a:lnTo>
                    <a:lnTo>
                      <a:pt x="314" y="2522"/>
                    </a:lnTo>
                    <a:lnTo>
                      <a:pt x="314" y="2530"/>
                    </a:lnTo>
                    <a:lnTo>
                      <a:pt x="314" y="2540"/>
                    </a:lnTo>
                    <a:lnTo>
                      <a:pt x="314" y="2540"/>
                    </a:lnTo>
                    <a:lnTo>
                      <a:pt x="312" y="2552"/>
                    </a:lnTo>
                    <a:lnTo>
                      <a:pt x="314" y="2560"/>
                    </a:lnTo>
                    <a:lnTo>
                      <a:pt x="318" y="2572"/>
                    </a:lnTo>
                    <a:lnTo>
                      <a:pt x="320" y="2576"/>
                    </a:lnTo>
                    <a:lnTo>
                      <a:pt x="322" y="2584"/>
                    </a:lnTo>
                    <a:lnTo>
                      <a:pt x="324" y="2594"/>
                    </a:lnTo>
                    <a:lnTo>
                      <a:pt x="322" y="2606"/>
                    </a:lnTo>
                    <a:lnTo>
                      <a:pt x="322" y="2606"/>
                    </a:lnTo>
                    <a:lnTo>
                      <a:pt x="320" y="2618"/>
                    </a:lnTo>
                    <a:lnTo>
                      <a:pt x="316" y="2624"/>
                    </a:lnTo>
                    <a:lnTo>
                      <a:pt x="314" y="2626"/>
                    </a:lnTo>
                    <a:lnTo>
                      <a:pt x="310" y="2626"/>
                    </a:lnTo>
                    <a:lnTo>
                      <a:pt x="308" y="2626"/>
                    </a:lnTo>
                    <a:lnTo>
                      <a:pt x="306" y="2628"/>
                    </a:lnTo>
                    <a:lnTo>
                      <a:pt x="304" y="2632"/>
                    </a:lnTo>
                    <a:lnTo>
                      <a:pt x="304" y="2642"/>
                    </a:lnTo>
                    <a:lnTo>
                      <a:pt x="304" y="2642"/>
                    </a:lnTo>
                    <a:lnTo>
                      <a:pt x="302" y="2658"/>
                    </a:lnTo>
                    <a:lnTo>
                      <a:pt x="298" y="2670"/>
                    </a:lnTo>
                    <a:lnTo>
                      <a:pt x="294" y="2686"/>
                    </a:lnTo>
                    <a:lnTo>
                      <a:pt x="292" y="2692"/>
                    </a:lnTo>
                    <a:lnTo>
                      <a:pt x="292" y="2696"/>
                    </a:lnTo>
                    <a:lnTo>
                      <a:pt x="294" y="2704"/>
                    </a:lnTo>
                    <a:lnTo>
                      <a:pt x="298" y="2712"/>
                    </a:lnTo>
                    <a:lnTo>
                      <a:pt x="298" y="2712"/>
                    </a:lnTo>
                    <a:lnTo>
                      <a:pt x="302" y="2722"/>
                    </a:lnTo>
                    <a:lnTo>
                      <a:pt x="308" y="2728"/>
                    </a:lnTo>
                    <a:lnTo>
                      <a:pt x="312" y="2732"/>
                    </a:lnTo>
                    <a:lnTo>
                      <a:pt x="316" y="2734"/>
                    </a:lnTo>
                    <a:lnTo>
                      <a:pt x="320" y="2734"/>
                    </a:lnTo>
                    <a:lnTo>
                      <a:pt x="324" y="2732"/>
                    </a:lnTo>
                    <a:lnTo>
                      <a:pt x="328" y="2728"/>
                    </a:lnTo>
                    <a:lnTo>
                      <a:pt x="330" y="2724"/>
                    </a:lnTo>
                    <a:lnTo>
                      <a:pt x="330" y="2724"/>
                    </a:lnTo>
                    <a:lnTo>
                      <a:pt x="334" y="2716"/>
                    </a:lnTo>
                    <a:lnTo>
                      <a:pt x="336" y="2716"/>
                    </a:lnTo>
                    <a:lnTo>
                      <a:pt x="338" y="2718"/>
                    </a:lnTo>
                    <a:lnTo>
                      <a:pt x="342" y="2722"/>
                    </a:lnTo>
                    <a:lnTo>
                      <a:pt x="346" y="2726"/>
                    </a:lnTo>
                    <a:lnTo>
                      <a:pt x="348" y="2728"/>
                    </a:lnTo>
                    <a:lnTo>
                      <a:pt x="348" y="2728"/>
                    </a:lnTo>
                    <a:lnTo>
                      <a:pt x="350" y="2730"/>
                    </a:lnTo>
                    <a:lnTo>
                      <a:pt x="350" y="2732"/>
                    </a:lnTo>
                    <a:lnTo>
                      <a:pt x="344" y="2738"/>
                    </a:lnTo>
                    <a:lnTo>
                      <a:pt x="340" y="2744"/>
                    </a:lnTo>
                    <a:lnTo>
                      <a:pt x="340" y="2746"/>
                    </a:lnTo>
                    <a:lnTo>
                      <a:pt x="344" y="2746"/>
                    </a:lnTo>
                    <a:lnTo>
                      <a:pt x="344" y="2746"/>
                    </a:lnTo>
                    <a:lnTo>
                      <a:pt x="350" y="2748"/>
                    </a:lnTo>
                    <a:lnTo>
                      <a:pt x="354" y="2752"/>
                    </a:lnTo>
                    <a:lnTo>
                      <a:pt x="356" y="2754"/>
                    </a:lnTo>
                    <a:lnTo>
                      <a:pt x="356" y="2760"/>
                    </a:lnTo>
                    <a:lnTo>
                      <a:pt x="356" y="2766"/>
                    </a:lnTo>
                    <a:lnTo>
                      <a:pt x="354" y="2766"/>
                    </a:lnTo>
                    <a:lnTo>
                      <a:pt x="352" y="2764"/>
                    </a:lnTo>
                    <a:lnTo>
                      <a:pt x="352" y="2764"/>
                    </a:lnTo>
                    <a:lnTo>
                      <a:pt x="348" y="2758"/>
                    </a:lnTo>
                    <a:lnTo>
                      <a:pt x="344" y="2758"/>
                    </a:lnTo>
                    <a:lnTo>
                      <a:pt x="342" y="2760"/>
                    </a:lnTo>
                    <a:lnTo>
                      <a:pt x="342" y="2766"/>
                    </a:lnTo>
                    <a:lnTo>
                      <a:pt x="342" y="2766"/>
                    </a:lnTo>
                    <a:lnTo>
                      <a:pt x="342" y="2774"/>
                    </a:lnTo>
                    <a:lnTo>
                      <a:pt x="342" y="2778"/>
                    </a:lnTo>
                    <a:lnTo>
                      <a:pt x="340" y="2782"/>
                    </a:lnTo>
                    <a:lnTo>
                      <a:pt x="342" y="2792"/>
                    </a:lnTo>
                    <a:lnTo>
                      <a:pt x="342" y="2792"/>
                    </a:lnTo>
                    <a:lnTo>
                      <a:pt x="342" y="2798"/>
                    </a:lnTo>
                    <a:lnTo>
                      <a:pt x="342" y="2804"/>
                    </a:lnTo>
                    <a:lnTo>
                      <a:pt x="336" y="2812"/>
                    </a:lnTo>
                    <a:lnTo>
                      <a:pt x="330" y="2820"/>
                    </a:lnTo>
                    <a:lnTo>
                      <a:pt x="330" y="2824"/>
                    </a:lnTo>
                    <a:lnTo>
                      <a:pt x="330" y="2830"/>
                    </a:lnTo>
                    <a:lnTo>
                      <a:pt x="330" y="2830"/>
                    </a:lnTo>
                    <a:lnTo>
                      <a:pt x="334" y="2840"/>
                    </a:lnTo>
                    <a:lnTo>
                      <a:pt x="332" y="2852"/>
                    </a:lnTo>
                    <a:lnTo>
                      <a:pt x="330" y="2860"/>
                    </a:lnTo>
                    <a:lnTo>
                      <a:pt x="326" y="2864"/>
                    </a:lnTo>
                    <a:lnTo>
                      <a:pt x="326" y="2864"/>
                    </a:lnTo>
                    <a:lnTo>
                      <a:pt x="324" y="2866"/>
                    </a:lnTo>
                    <a:lnTo>
                      <a:pt x="324" y="2870"/>
                    </a:lnTo>
                    <a:lnTo>
                      <a:pt x="330" y="2872"/>
                    </a:lnTo>
                    <a:lnTo>
                      <a:pt x="336" y="2874"/>
                    </a:lnTo>
                    <a:lnTo>
                      <a:pt x="336" y="2874"/>
                    </a:lnTo>
                    <a:lnTo>
                      <a:pt x="344" y="2878"/>
                    </a:lnTo>
                    <a:lnTo>
                      <a:pt x="346" y="2882"/>
                    </a:lnTo>
                    <a:lnTo>
                      <a:pt x="348" y="2890"/>
                    </a:lnTo>
                    <a:lnTo>
                      <a:pt x="346" y="2896"/>
                    </a:lnTo>
                    <a:lnTo>
                      <a:pt x="346" y="2896"/>
                    </a:lnTo>
                    <a:lnTo>
                      <a:pt x="342" y="2904"/>
                    </a:lnTo>
                    <a:lnTo>
                      <a:pt x="338" y="2908"/>
                    </a:lnTo>
                    <a:lnTo>
                      <a:pt x="332" y="2912"/>
                    </a:lnTo>
                    <a:lnTo>
                      <a:pt x="326" y="2916"/>
                    </a:lnTo>
                    <a:lnTo>
                      <a:pt x="326" y="2916"/>
                    </a:lnTo>
                    <a:lnTo>
                      <a:pt x="320" y="2918"/>
                    </a:lnTo>
                    <a:lnTo>
                      <a:pt x="318" y="2922"/>
                    </a:lnTo>
                    <a:lnTo>
                      <a:pt x="320" y="2926"/>
                    </a:lnTo>
                    <a:lnTo>
                      <a:pt x="322" y="2930"/>
                    </a:lnTo>
                    <a:lnTo>
                      <a:pt x="322" y="2930"/>
                    </a:lnTo>
                    <a:lnTo>
                      <a:pt x="322" y="2932"/>
                    </a:lnTo>
                    <a:lnTo>
                      <a:pt x="322" y="2932"/>
                    </a:lnTo>
                    <a:lnTo>
                      <a:pt x="320" y="2936"/>
                    </a:lnTo>
                    <a:lnTo>
                      <a:pt x="316" y="2940"/>
                    </a:lnTo>
                    <a:lnTo>
                      <a:pt x="312" y="2946"/>
                    </a:lnTo>
                    <a:lnTo>
                      <a:pt x="312" y="2946"/>
                    </a:lnTo>
                    <a:lnTo>
                      <a:pt x="312" y="2954"/>
                    </a:lnTo>
                    <a:lnTo>
                      <a:pt x="312" y="2956"/>
                    </a:lnTo>
                    <a:lnTo>
                      <a:pt x="312" y="2962"/>
                    </a:lnTo>
                    <a:lnTo>
                      <a:pt x="310" y="2974"/>
                    </a:lnTo>
                    <a:lnTo>
                      <a:pt x="310" y="2974"/>
                    </a:lnTo>
                    <a:lnTo>
                      <a:pt x="308" y="2986"/>
                    </a:lnTo>
                    <a:lnTo>
                      <a:pt x="308" y="2994"/>
                    </a:lnTo>
                    <a:lnTo>
                      <a:pt x="306" y="3000"/>
                    </a:lnTo>
                    <a:lnTo>
                      <a:pt x="300" y="3006"/>
                    </a:lnTo>
                    <a:lnTo>
                      <a:pt x="300" y="3006"/>
                    </a:lnTo>
                    <a:lnTo>
                      <a:pt x="298" y="3006"/>
                    </a:lnTo>
                    <a:lnTo>
                      <a:pt x="296" y="3006"/>
                    </a:lnTo>
                    <a:lnTo>
                      <a:pt x="298" y="2998"/>
                    </a:lnTo>
                    <a:lnTo>
                      <a:pt x="300" y="2988"/>
                    </a:lnTo>
                    <a:lnTo>
                      <a:pt x="300" y="2984"/>
                    </a:lnTo>
                    <a:lnTo>
                      <a:pt x="296" y="2980"/>
                    </a:lnTo>
                    <a:lnTo>
                      <a:pt x="296" y="2980"/>
                    </a:lnTo>
                    <a:lnTo>
                      <a:pt x="292" y="2978"/>
                    </a:lnTo>
                    <a:lnTo>
                      <a:pt x="290" y="2974"/>
                    </a:lnTo>
                    <a:lnTo>
                      <a:pt x="290" y="2968"/>
                    </a:lnTo>
                    <a:lnTo>
                      <a:pt x="290" y="2964"/>
                    </a:lnTo>
                    <a:lnTo>
                      <a:pt x="288" y="2962"/>
                    </a:lnTo>
                    <a:lnTo>
                      <a:pt x="282" y="2962"/>
                    </a:lnTo>
                    <a:lnTo>
                      <a:pt x="282" y="2962"/>
                    </a:lnTo>
                    <a:lnTo>
                      <a:pt x="276" y="2962"/>
                    </a:lnTo>
                    <a:lnTo>
                      <a:pt x="274" y="2964"/>
                    </a:lnTo>
                    <a:lnTo>
                      <a:pt x="274" y="2966"/>
                    </a:lnTo>
                    <a:lnTo>
                      <a:pt x="270" y="2964"/>
                    </a:lnTo>
                    <a:lnTo>
                      <a:pt x="270" y="2964"/>
                    </a:lnTo>
                    <a:lnTo>
                      <a:pt x="268" y="2964"/>
                    </a:lnTo>
                    <a:lnTo>
                      <a:pt x="266" y="2964"/>
                    </a:lnTo>
                    <a:lnTo>
                      <a:pt x="266" y="2968"/>
                    </a:lnTo>
                    <a:lnTo>
                      <a:pt x="266" y="2972"/>
                    </a:lnTo>
                    <a:lnTo>
                      <a:pt x="264" y="2976"/>
                    </a:lnTo>
                    <a:lnTo>
                      <a:pt x="260" y="2980"/>
                    </a:lnTo>
                    <a:lnTo>
                      <a:pt x="254" y="2986"/>
                    </a:lnTo>
                    <a:lnTo>
                      <a:pt x="254" y="2986"/>
                    </a:lnTo>
                    <a:lnTo>
                      <a:pt x="238" y="2994"/>
                    </a:lnTo>
                    <a:lnTo>
                      <a:pt x="228" y="3004"/>
                    </a:lnTo>
                    <a:lnTo>
                      <a:pt x="226" y="3008"/>
                    </a:lnTo>
                    <a:lnTo>
                      <a:pt x="224" y="3012"/>
                    </a:lnTo>
                    <a:lnTo>
                      <a:pt x="224" y="3016"/>
                    </a:lnTo>
                    <a:lnTo>
                      <a:pt x="226" y="3020"/>
                    </a:lnTo>
                    <a:lnTo>
                      <a:pt x="226" y="3020"/>
                    </a:lnTo>
                    <a:lnTo>
                      <a:pt x="232" y="3026"/>
                    </a:lnTo>
                    <a:lnTo>
                      <a:pt x="236" y="3026"/>
                    </a:lnTo>
                    <a:lnTo>
                      <a:pt x="236" y="3024"/>
                    </a:lnTo>
                    <a:lnTo>
                      <a:pt x="238" y="3016"/>
                    </a:lnTo>
                    <a:lnTo>
                      <a:pt x="238" y="3016"/>
                    </a:lnTo>
                    <a:lnTo>
                      <a:pt x="238" y="3010"/>
                    </a:lnTo>
                    <a:lnTo>
                      <a:pt x="242" y="3006"/>
                    </a:lnTo>
                    <a:lnTo>
                      <a:pt x="244" y="3006"/>
                    </a:lnTo>
                    <a:lnTo>
                      <a:pt x="248" y="3006"/>
                    </a:lnTo>
                    <a:lnTo>
                      <a:pt x="252" y="3012"/>
                    </a:lnTo>
                    <a:lnTo>
                      <a:pt x="252" y="3012"/>
                    </a:lnTo>
                    <a:lnTo>
                      <a:pt x="256" y="3018"/>
                    </a:lnTo>
                    <a:lnTo>
                      <a:pt x="264" y="3022"/>
                    </a:lnTo>
                    <a:lnTo>
                      <a:pt x="272" y="3024"/>
                    </a:lnTo>
                    <a:lnTo>
                      <a:pt x="274" y="3022"/>
                    </a:lnTo>
                    <a:lnTo>
                      <a:pt x="274" y="3020"/>
                    </a:lnTo>
                    <a:lnTo>
                      <a:pt x="274" y="3020"/>
                    </a:lnTo>
                    <a:lnTo>
                      <a:pt x="276" y="3016"/>
                    </a:lnTo>
                    <a:lnTo>
                      <a:pt x="278" y="3016"/>
                    </a:lnTo>
                    <a:lnTo>
                      <a:pt x="282" y="3018"/>
                    </a:lnTo>
                    <a:lnTo>
                      <a:pt x="286" y="3024"/>
                    </a:lnTo>
                    <a:lnTo>
                      <a:pt x="286" y="3024"/>
                    </a:lnTo>
                    <a:lnTo>
                      <a:pt x="290" y="3026"/>
                    </a:lnTo>
                    <a:lnTo>
                      <a:pt x="292" y="3028"/>
                    </a:lnTo>
                    <a:lnTo>
                      <a:pt x="296" y="3030"/>
                    </a:lnTo>
                    <a:lnTo>
                      <a:pt x="296" y="3036"/>
                    </a:lnTo>
                    <a:lnTo>
                      <a:pt x="296" y="3036"/>
                    </a:lnTo>
                    <a:lnTo>
                      <a:pt x="294" y="3040"/>
                    </a:lnTo>
                    <a:lnTo>
                      <a:pt x="292" y="3040"/>
                    </a:lnTo>
                    <a:lnTo>
                      <a:pt x="286" y="3042"/>
                    </a:lnTo>
                    <a:lnTo>
                      <a:pt x="280" y="3042"/>
                    </a:lnTo>
                    <a:lnTo>
                      <a:pt x="278" y="3044"/>
                    </a:lnTo>
                    <a:lnTo>
                      <a:pt x="276" y="3048"/>
                    </a:lnTo>
                    <a:lnTo>
                      <a:pt x="276" y="3048"/>
                    </a:lnTo>
                    <a:lnTo>
                      <a:pt x="274" y="3054"/>
                    </a:lnTo>
                    <a:lnTo>
                      <a:pt x="274" y="3056"/>
                    </a:lnTo>
                    <a:lnTo>
                      <a:pt x="280" y="3062"/>
                    </a:lnTo>
                    <a:lnTo>
                      <a:pt x="284" y="3064"/>
                    </a:lnTo>
                    <a:lnTo>
                      <a:pt x="282" y="3064"/>
                    </a:lnTo>
                    <a:lnTo>
                      <a:pt x="282" y="3064"/>
                    </a:lnTo>
                    <a:lnTo>
                      <a:pt x="272" y="3062"/>
                    </a:lnTo>
                    <a:lnTo>
                      <a:pt x="270" y="3062"/>
                    </a:lnTo>
                    <a:lnTo>
                      <a:pt x="268" y="3066"/>
                    </a:lnTo>
                    <a:lnTo>
                      <a:pt x="268" y="3066"/>
                    </a:lnTo>
                    <a:lnTo>
                      <a:pt x="266" y="3072"/>
                    </a:lnTo>
                    <a:lnTo>
                      <a:pt x="268" y="3074"/>
                    </a:lnTo>
                    <a:lnTo>
                      <a:pt x="272" y="3074"/>
                    </a:lnTo>
                    <a:lnTo>
                      <a:pt x="282" y="3074"/>
                    </a:lnTo>
                    <a:lnTo>
                      <a:pt x="282" y="3074"/>
                    </a:lnTo>
                    <a:lnTo>
                      <a:pt x="290" y="3074"/>
                    </a:lnTo>
                    <a:lnTo>
                      <a:pt x="296" y="3076"/>
                    </a:lnTo>
                    <a:lnTo>
                      <a:pt x="300" y="3078"/>
                    </a:lnTo>
                    <a:lnTo>
                      <a:pt x="302" y="3078"/>
                    </a:lnTo>
                    <a:lnTo>
                      <a:pt x="302" y="3074"/>
                    </a:lnTo>
                    <a:lnTo>
                      <a:pt x="302" y="3074"/>
                    </a:lnTo>
                    <a:lnTo>
                      <a:pt x="304" y="3072"/>
                    </a:lnTo>
                    <a:lnTo>
                      <a:pt x="306" y="3072"/>
                    </a:lnTo>
                    <a:lnTo>
                      <a:pt x="310" y="3076"/>
                    </a:lnTo>
                    <a:lnTo>
                      <a:pt x="312" y="3080"/>
                    </a:lnTo>
                    <a:lnTo>
                      <a:pt x="312" y="3082"/>
                    </a:lnTo>
                    <a:lnTo>
                      <a:pt x="310" y="3084"/>
                    </a:lnTo>
                    <a:lnTo>
                      <a:pt x="310" y="3084"/>
                    </a:lnTo>
                    <a:lnTo>
                      <a:pt x="308" y="3086"/>
                    </a:lnTo>
                    <a:lnTo>
                      <a:pt x="310" y="3088"/>
                    </a:lnTo>
                    <a:lnTo>
                      <a:pt x="314" y="3096"/>
                    </a:lnTo>
                    <a:lnTo>
                      <a:pt x="318" y="3100"/>
                    </a:lnTo>
                    <a:lnTo>
                      <a:pt x="318" y="3102"/>
                    </a:lnTo>
                    <a:lnTo>
                      <a:pt x="314" y="3100"/>
                    </a:lnTo>
                    <a:lnTo>
                      <a:pt x="314" y="3100"/>
                    </a:lnTo>
                    <a:lnTo>
                      <a:pt x="300" y="3090"/>
                    </a:lnTo>
                    <a:lnTo>
                      <a:pt x="294" y="3088"/>
                    </a:lnTo>
                    <a:lnTo>
                      <a:pt x="286" y="3088"/>
                    </a:lnTo>
                    <a:lnTo>
                      <a:pt x="286" y="3088"/>
                    </a:lnTo>
                    <a:lnTo>
                      <a:pt x="272" y="3086"/>
                    </a:lnTo>
                    <a:lnTo>
                      <a:pt x="268" y="3088"/>
                    </a:lnTo>
                    <a:lnTo>
                      <a:pt x="266" y="3088"/>
                    </a:lnTo>
                    <a:lnTo>
                      <a:pt x="268" y="3090"/>
                    </a:lnTo>
                    <a:lnTo>
                      <a:pt x="268" y="3090"/>
                    </a:lnTo>
                    <a:lnTo>
                      <a:pt x="270" y="3092"/>
                    </a:lnTo>
                    <a:lnTo>
                      <a:pt x="272" y="3092"/>
                    </a:lnTo>
                    <a:lnTo>
                      <a:pt x="274" y="3092"/>
                    </a:lnTo>
                    <a:lnTo>
                      <a:pt x="276" y="3096"/>
                    </a:lnTo>
                    <a:lnTo>
                      <a:pt x="276" y="3096"/>
                    </a:lnTo>
                    <a:lnTo>
                      <a:pt x="278" y="3100"/>
                    </a:lnTo>
                    <a:lnTo>
                      <a:pt x="282" y="3104"/>
                    </a:lnTo>
                    <a:lnTo>
                      <a:pt x="292" y="3110"/>
                    </a:lnTo>
                    <a:lnTo>
                      <a:pt x="292" y="3110"/>
                    </a:lnTo>
                    <a:lnTo>
                      <a:pt x="294" y="3112"/>
                    </a:lnTo>
                    <a:lnTo>
                      <a:pt x="294" y="3114"/>
                    </a:lnTo>
                    <a:lnTo>
                      <a:pt x="294" y="3116"/>
                    </a:lnTo>
                    <a:lnTo>
                      <a:pt x="294" y="3120"/>
                    </a:lnTo>
                    <a:lnTo>
                      <a:pt x="294" y="3120"/>
                    </a:lnTo>
                    <a:lnTo>
                      <a:pt x="294" y="3120"/>
                    </a:lnTo>
                    <a:lnTo>
                      <a:pt x="292" y="3120"/>
                    </a:lnTo>
                    <a:lnTo>
                      <a:pt x="288" y="3118"/>
                    </a:lnTo>
                    <a:lnTo>
                      <a:pt x="284" y="3116"/>
                    </a:lnTo>
                    <a:lnTo>
                      <a:pt x="280" y="3116"/>
                    </a:lnTo>
                    <a:lnTo>
                      <a:pt x="280" y="3120"/>
                    </a:lnTo>
                    <a:lnTo>
                      <a:pt x="280" y="3120"/>
                    </a:lnTo>
                    <a:lnTo>
                      <a:pt x="276" y="3132"/>
                    </a:lnTo>
                    <a:lnTo>
                      <a:pt x="276" y="3138"/>
                    </a:lnTo>
                    <a:lnTo>
                      <a:pt x="276" y="3148"/>
                    </a:lnTo>
                    <a:lnTo>
                      <a:pt x="276" y="3148"/>
                    </a:lnTo>
                    <a:lnTo>
                      <a:pt x="278" y="3168"/>
                    </a:lnTo>
                    <a:lnTo>
                      <a:pt x="280" y="3174"/>
                    </a:lnTo>
                    <a:lnTo>
                      <a:pt x="282" y="3178"/>
                    </a:lnTo>
                    <a:lnTo>
                      <a:pt x="282" y="3178"/>
                    </a:lnTo>
                    <a:lnTo>
                      <a:pt x="284" y="3178"/>
                    </a:lnTo>
                    <a:lnTo>
                      <a:pt x="284" y="3176"/>
                    </a:lnTo>
                    <a:lnTo>
                      <a:pt x="286" y="3168"/>
                    </a:lnTo>
                    <a:lnTo>
                      <a:pt x="288" y="3160"/>
                    </a:lnTo>
                    <a:lnTo>
                      <a:pt x="290" y="3156"/>
                    </a:lnTo>
                    <a:lnTo>
                      <a:pt x="290" y="3156"/>
                    </a:lnTo>
                    <a:lnTo>
                      <a:pt x="292" y="3154"/>
                    </a:lnTo>
                    <a:lnTo>
                      <a:pt x="292" y="3158"/>
                    </a:lnTo>
                    <a:lnTo>
                      <a:pt x="292" y="3164"/>
                    </a:lnTo>
                    <a:lnTo>
                      <a:pt x="292" y="3170"/>
                    </a:lnTo>
                    <a:lnTo>
                      <a:pt x="292" y="3170"/>
                    </a:lnTo>
                    <a:lnTo>
                      <a:pt x="294" y="3176"/>
                    </a:lnTo>
                    <a:lnTo>
                      <a:pt x="298" y="3182"/>
                    </a:lnTo>
                    <a:lnTo>
                      <a:pt x="300" y="3184"/>
                    </a:lnTo>
                    <a:lnTo>
                      <a:pt x="296" y="3182"/>
                    </a:lnTo>
                    <a:lnTo>
                      <a:pt x="296" y="3182"/>
                    </a:lnTo>
                    <a:lnTo>
                      <a:pt x="290" y="3180"/>
                    </a:lnTo>
                    <a:lnTo>
                      <a:pt x="284" y="3182"/>
                    </a:lnTo>
                    <a:lnTo>
                      <a:pt x="280" y="3184"/>
                    </a:lnTo>
                    <a:lnTo>
                      <a:pt x="280" y="3186"/>
                    </a:lnTo>
                    <a:lnTo>
                      <a:pt x="282" y="3188"/>
                    </a:lnTo>
                    <a:lnTo>
                      <a:pt x="282" y="3188"/>
                    </a:lnTo>
                    <a:lnTo>
                      <a:pt x="282" y="3190"/>
                    </a:lnTo>
                    <a:lnTo>
                      <a:pt x="280" y="3192"/>
                    </a:lnTo>
                    <a:lnTo>
                      <a:pt x="280" y="3194"/>
                    </a:lnTo>
                    <a:lnTo>
                      <a:pt x="284" y="3198"/>
                    </a:lnTo>
                    <a:lnTo>
                      <a:pt x="284" y="3198"/>
                    </a:lnTo>
                    <a:lnTo>
                      <a:pt x="296" y="3206"/>
                    </a:lnTo>
                    <a:lnTo>
                      <a:pt x="296" y="3206"/>
                    </a:lnTo>
                    <a:lnTo>
                      <a:pt x="294" y="3206"/>
                    </a:lnTo>
                    <a:lnTo>
                      <a:pt x="288" y="3206"/>
                    </a:lnTo>
                    <a:lnTo>
                      <a:pt x="288" y="3206"/>
                    </a:lnTo>
                    <a:lnTo>
                      <a:pt x="280" y="3204"/>
                    </a:lnTo>
                    <a:lnTo>
                      <a:pt x="278" y="3204"/>
                    </a:lnTo>
                    <a:lnTo>
                      <a:pt x="280" y="3206"/>
                    </a:lnTo>
                    <a:lnTo>
                      <a:pt x="288" y="3216"/>
                    </a:lnTo>
                    <a:lnTo>
                      <a:pt x="288" y="3216"/>
                    </a:lnTo>
                    <a:lnTo>
                      <a:pt x="290" y="3220"/>
                    </a:lnTo>
                    <a:lnTo>
                      <a:pt x="290" y="3220"/>
                    </a:lnTo>
                    <a:lnTo>
                      <a:pt x="280" y="3214"/>
                    </a:lnTo>
                    <a:lnTo>
                      <a:pt x="280" y="3214"/>
                    </a:lnTo>
                    <a:lnTo>
                      <a:pt x="274" y="3212"/>
                    </a:lnTo>
                    <a:lnTo>
                      <a:pt x="268" y="3212"/>
                    </a:lnTo>
                    <a:lnTo>
                      <a:pt x="264" y="3214"/>
                    </a:lnTo>
                    <a:lnTo>
                      <a:pt x="264" y="3216"/>
                    </a:lnTo>
                    <a:lnTo>
                      <a:pt x="268" y="3218"/>
                    </a:lnTo>
                    <a:lnTo>
                      <a:pt x="268" y="3218"/>
                    </a:lnTo>
                    <a:lnTo>
                      <a:pt x="272" y="3220"/>
                    </a:lnTo>
                    <a:lnTo>
                      <a:pt x="274" y="3224"/>
                    </a:lnTo>
                    <a:lnTo>
                      <a:pt x="274" y="3226"/>
                    </a:lnTo>
                    <a:lnTo>
                      <a:pt x="278" y="3228"/>
                    </a:lnTo>
                    <a:lnTo>
                      <a:pt x="278" y="3228"/>
                    </a:lnTo>
                    <a:lnTo>
                      <a:pt x="282" y="3230"/>
                    </a:lnTo>
                    <a:lnTo>
                      <a:pt x="284" y="3230"/>
                    </a:lnTo>
                    <a:lnTo>
                      <a:pt x="288" y="3230"/>
                    </a:lnTo>
                    <a:lnTo>
                      <a:pt x="292" y="3234"/>
                    </a:lnTo>
                    <a:lnTo>
                      <a:pt x="292" y="3234"/>
                    </a:lnTo>
                    <a:lnTo>
                      <a:pt x="296" y="3236"/>
                    </a:lnTo>
                    <a:lnTo>
                      <a:pt x="296" y="3238"/>
                    </a:lnTo>
                    <a:lnTo>
                      <a:pt x="288" y="3236"/>
                    </a:lnTo>
                    <a:lnTo>
                      <a:pt x="288" y="3236"/>
                    </a:lnTo>
                    <a:lnTo>
                      <a:pt x="284" y="3236"/>
                    </a:lnTo>
                    <a:lnTo>
                      <a:pt x="284" y="3238"/>
                    </a:lnTo>
                    <a:lnTo>
                      <a:pt x="288" y="3248"/>
                    </a:lnTo>
                    <a:lnTo>
                      <a:pt x="288" y="3248"/>
                    </a:lnTo>
                    <a:lnTo>
                      <a:pt x="290" y="3252"/>
                    </a:lnTo>
                    <a:lnTo>
                      <a:pt x="294" y="3252"/>
                    </a:lnTo>
                    <a:lnTo>
                      <a:pt x="298" y="3250"/>
                    </a:lnTo>
                    <a:lnTo>
                      <a:pt x="302" y="3240"/>
                    </a:lnTo>
                    <a:lnTo>
                      <a:pt x="302" y="3240"/>
                    </a:lnTo>
                    <a:lnTo>
                      <a:pt x="306" y="3234"/>
                    </a:lnTo>
                    <a:lnTo>
                      <a:pt x="308" y="3232"/>
                    </a:lnTo>
                    <a:lnTo>
                      <a:pt x="308" y="3234"/>
                    </a:lnTo>
                    <a:lnTo>
                      <a:pt x="306" y="3242"/>
                    </a:lnTo>
                    <a:lnTo>
                      <a:pt x="306" y="3242"/>
                    </a:lnTo>
                    <a:lnTo>
                      <a:pt x="300" y="3256"/>
                    </a:lnTo>
                    <a:lnTo>
                      <a:pt x="296" y="3258"/>
                    </a:lnTo>
                    <a:lnTo>
                      <a:pt x="292" y="3258"/>
                    </a:lnTo>
                    <a:lnTo>
                      <a:pt x="292" y="3258"/>
                    </a:lnTo>
                    <a:lnTo>
                      <a:pt x="288" y="3258"/>
                    </a:lnTo>
                    <a:lnTo>
                      <a:pt x="286" y="3258"/>
                    </a:lnTo>
                    <a:lnTo>
                      <a:pt x="284" y="3260"/>
                    </a:lnTo>
                    <a:lnTo>
                      <a:pt x="284" y="3264"/>
                    </a:lnTo>
                    <a:lnTo>
                      <a:pt x="284" y="3264"/>
                    </a:lnTo>
                    <a:lnTo>
                      <a:pt x="286" y="3266"/>
                    </a:lnTo>
                    <a:lnTo>
                      <a:pt x="286" y="3266"/>
                    </a:lnTo>
                    <a:lnTo>
                      <a:pt x="288" y="3268"/>
                    </a:lnTo>
                    <a:lnTo>
                      <a:pt x="288" y="3272"/>
                    </a:lnTo>
                    <a:lnTo>
                      <a:pt x="288" y="3272"/>
                    </a:lnTo>
                    <a:lnTo>
                      <a:pt x="288" y="3276"/>
                    </a:lnTo>
                    <a:lnTo>
                      <a:pt x="290" y="3276"/>
                    </a:lnTo>
                    <a:lnTo>
                      <a:pt x="292" y="3276"/>
                    </a:lnTo>
                    <a:lnTo>
                      <a:pt x="296" y="3276"/>
                    </a:lnTo>
                    <a:lnTo>
                      <a:pt x="296" y="3276"/>
                    </a:lnTo>
                    <a:lnTo>
                      <a:pt x="302" y="3278"/>
                    </a:lnTo>
                    <a:lnTo>
                      <a:pt x="306" y="3286"/>
                    </a:lnTo>
                    <a:lnTo>
                      <a:pt x="306" y="3286"/>
                    </a:lnTo>
                    <a:lnTo>
                      <a:pt x="308" y="3294"/>
                    </a:lnTo>
                    <a:lnTo>
                      <a:pt x="308" y="3298"/>
                    </a:lnTo>
                    <a:lnTo>
                      <a:pt x="306" y="3298"/>
                    </a:lnTo>
                    <a:lnTo>
                      <a:pt x="302" y="3294"/>
                    </a:lnTo>
                    <a:lnTo>
                      <a:pt x="302" y="3294"/>
                    </a:lnTo>
                    <a:lnTo>
                      <a:pt x="298" y="3288"/>
                    </a:lnTo>
                    <a:lnTo>
                      <a:pt x="296" y="3288"/>
                    </a:lnTo>
                    <a:lnTo>
                      <a:pt x="296" y="3290"/>
                    </a:lnTo>
                    <a:lnTo>
                      <a:pt x="296" y="3294"/>
                    </a:lnTo>
                    <a:lnTo>
                      <a:pt x="296" y="3294"/>
                    </a:lnTo>
                    <a:lnTo>
                      <a:pt x="298" y="3298"/>
                    </a:lnTo>
                    <a:lnTo>
                      <a:pt x="298" y="3302"/>
                    </a:lnTo>
                    <a:lnTo>
                      <a:pt x="298" y="3304"/>
                    </a:lnTo>
                    <a:lnTo>
                      <a:pt x="300" y="3308"/>
                    </a:lnTo>
                    <a:lnTo>
                      <a:pt x="300" y="3308"/>
                    </a:lnTo>
                    <a:lnTo>
                      <a:pt x="302" y="3310"/>
                    </a:lnTo>
                    <a:lnTo>
                      <a:pt x="302" y="3310"/>
                    </a:lnTo>
                    <a:lnTo>
                      <a:pt x="306" y="3308"/>
                    </a:lnTo>
                    <a:lnTo>
                      <a:pt x="308" y="3306"/>
                    </a:lnTo>
                    <a:lnTo>
                      <a:pt x="310" y="3308"/>
                    </a:lnTo>
                    <a:lnTo>
                      <a:pt x="312" y="3310"/>
                    </a:lnTo>
                    <a:lnTo>
                      <a:pt x="312" y="3310"/>
                    </a:lnTo>
                    <a:lnTo>
                      <a:pt x="314" y="3318"/>
                    </a:lnTo>
                    <a:lnTo>
                      <a:pt x="310" y="3316"/>
                    </a:lnTo>
                    <a:lnTo>
                      <a:pt x="310" y="3316"/>
                    </a:lnTo>
                    <a:lnTo>
                      <a:pt x="308" y="3316"/>
                    </a:lnTo>
                    <a:lnTo>
                      <a:pt x="308" y="3318"/>
                    </a:lnTo>
                    <a:lnTo>
                      <a:pt x="312" y="3326"/>
                    </a:lnTo>
                    <a:lnTo>
                      <a:pt x="318" y="3332"/>
                    </a:lnTo>
                    <a:lnTo>
                      <a:pt x="322" y="3332"/>
                    </a:lnTo>
                    <a:lnTo>
                      <a:pt x="324" y="3332"/>
                    </a:lnTo>
                    <a:lnTo>
                      <a:pt x="324" y="3332"/>
                    </a:lnTo>
                    <a:lnTo>
                      <a:pt x="326" y="3322"/>
                    </a:lnTo>
                    <a:lnTo>
                      <a:pt x="330" y="3318"/>
                    </a:lnTo>
                    <a:lnTo>
                      <a:pt x="332" y="3316"/>
                    </a:lnTo>
                    <a:lnTo>
                      <a:pt x="332" y="3316"/>
                    </a:lnTo>
                    <a:lnTo>
                      <a:pt x="334" y="3314"/>
                    </a:lnTo>
                    <a:lnTo>
                      <a:pt x="334" y="3312"/>
                    </a:lnTo>
                    <a:lnTo>
                      <a:pt x="334" y="3310"/>
                    </a:lnTo>
                    <a:lnTo>
                      <a:pt x="342" y="3312"/>
                    </a:lnTo>
                    <a:lnTo>
                      <a:pt x="342" y="3312"/>
                    </a:lnTo>
                    <a:lnTo>
                      <a:pt x="348" y="3312"/>
                    </a:lnTo>
                    <a:lnTo>
                      <a:pt x="350" y="3312"/>
                    </a:lnTo>
                    <a:lnTo>
                      <a:pt x="350" y="3310"/>
                    </a:lnTo>
                    <a:lnTo>
                      <a:pt x="344" y="3304"/>
                    </a:lnTo>
                    <a:lnTo>
                      <a:pt x="334" y="3300"/>
                    </a:lnTo>
                    <a:lnTo>
                      <a:pt x="334" y="3300"/>
                    </a:lnTo>
                    <a:lnTo>
                      <a:pt x="326" y="3294"/>
                    </a:lnTo>
                    <a:lnTo>
                      <a:pt x="324" y="3292"/>
                    </a:lnTo>
                    <a:lnTo>
                      <a:pt x="328" y="3290"/>
                    </a:lnTo>
                    <a:lnTo>
                      <a:pt x="336" y="3294"/>
                    </a:lnTo>
                    <a:lnTo>
                      <a:pt x="336" y="3294"/>
                    </a:lnTo>
                    <a:lnTo>
                      <a:pt x="350" y="3302"/>
                    </a:lnTo>
                    <a:lnTo>
                      <a:pt x="354" y="3308"/>
                    </a:lnTo>
                    <a:lnTo>
                      <a:pt x="354" y="3314"/>
                    </a:lnTo>
                    <a:lnTo>
                      <a:pt x="354" y="3314"/>
                    </a:lnTo>
                    <a:lnTo>
                      <a:pt x="352" y="3320"/>
                    </a:lnTo>
                    <a:lnTo>
                      <a:pt x="350" y="3322"/>
                    </a:lnTo>
                    <a:lnTo>
                      <a:pt x="348" y="3324"/>
                    </a:lnTo>
                    <a:lnTo>
                      <a:pt x="350" y="3330"/>
                    </a:lnTo>
                    <a:lnTo>
                      <a:pt x="350" y="3330"/>
                    </a:lnTo>
                    <a:lnTo>
                      <a:pt x="352" y="3332"/>
                    </a:lnTo>
                    <a:lnTo>
                      <a:pt x="348" y="3328"/>
                    </a:lnTo>
                    <a:lnTo>
                      <a:pt x="342" y="3322"/>
                    </a:lnTo>
                    <a:lnTo>
                      <a:pt x="340" y="3322"/>
                    </a:lnTo>
                    <a:lnTo>
                      <a:pt x="338" y="3326"/>
                    </a:lnTo>
                    <a:lnTo>
                      <a:pt x="338" y="3326"/>
                    </a:lnTo>
                    <a:lnTo>
                      <a:pt x="334" y="3336"/>
                    </a:lnTo>
                    <a:lnTo>
                      <a:pt x="334" y="3336"/>
                    </a:lnTo>
                    <a:lnTo>
                      <a:pt x="332" y="3334"/>
                    </a:lnTo>
                    <a:lnTo>
                      <a:pt x="332" y="3334"/>
                    </a:lnTo>
                    <a:lnTo>
                      <a:pt x="332" y="3330"/>
                    </a:lnTo>
                    <a:lnTo>
                      <a:pt x="330" y="3332"/>
                    </a:lnTo>
                    <a:lnTo>
                      <a:pt x="324" y="3338"/>
                    </a:lnTo>
                    <a:lnTo>
                      <a:pt x="324" y="3338"/>
                    </a:lnTo>
                    <a:lnTo>
                      <a:pt x="322" y="3340"/>
                    </a:lnTo>
                    <a:lnTo>
                      <a:pt x="320" y="3340"/>
                    </a:lnTo>
                    <a:lnTo>
                      <a:pt x="316" y="3336"/>
                    </a:lnTo>
                    <a:lnTo>
                      <a:pt x="310" y="3330"/>
                    </a:lnTo>
                    <a:lnTo>
                      <a:pt x="306" y="3328"/>
                    </a:lnTo>
                    <a:lnTo>
                      <a:pt x="306" y="3328"/>
                    </a:lnTo>
                    <a:lnTo>
                      <a:pt x="304" y="3328"/>
                    </a:lnTo>
                    <a:lnTo>
                      <a:pt x="304" y="3328"/>
                    </a:lnTo>
                    <a:lnTo>
                      <a:pt x="306" y="3332"/>
                    </a:lnTo>
                    <a:lnTo>
                      <a:pt x="310" y="3336"/>
                    </a:lnTo>
                    <a:lnTo>
                      <a:pt x="310" y="3340"/>
                    </a:lnTo>
                    <a:lnTo>
                      <a:pt x="308" y="3344"/>
                    </a:lnTo>
                    <a:lnTo>
                      <a:pt x="308" y="3344"/>
                    </a:lnTo>
                    <a:lnTo>
                      <a:pt x="306" y="3350"/>
                    </a:lnTo>
                    <a:lnTo>
                      <a:pt x="308" y="3350"/>
                    </a:lnTo>
                    <a:lnTo>
                      <a:pt x="312" y="3352"/>
                    </a:lnTo>
                    <a:lnTo>
                      <a:pt x="310" y="3356"/>
                    </a:lnTo>
                    <a:lnTo>
                      <a:pt x="310" y="3356"/>
                    </a:lnTo>
                    <a:lnTo>
                      <a:pt x="306" y="3364"/>
                    </a:lnTo>
                    <a:lnTo>
                      <a:pt x="306" y="3368"/>
                    </a:lnTo>
                    <a:lnTo>
                      <a:pt x="306" y="3370"/>
                    </a:lnTo>
                    <a:lnTo>
                      <a:pt x="308" y="3370"/>
                    </a:lnTo>
                    <a:lnTo>
                      <a:pt x="314" y="3366"/>
                    </a:lnTo>
                    <a:lnTo>
                      <a:pt x="314" y="3366"/>
                    </a:lnTo>
                    <a:lnTo>
                      <a:pt x="316" y="3364"/>
                    </a:lnTo>
                    <a:lnTo>
                      <a:pt x="320" y="3364"/>
                    </a:lnTo>
                    <a:lnTo>
                      <a:pt x="322" y="3366"/>
                    </a:lnTo>
                    <a:lnTo>
                      <a:pt x="324" y="3372"/>
                    </a:lnTo>
                    <a:lnTo>
                      <a:pt x="322" y="3374"/>
                    </a:lnTo>
                    <a:lnTo>
                      <a:pt x="320" y="3374"/>
                    </a:lnTo>
                    <a:lnTo>
                      <a:pt x="320" y="3374"/>
                    </a:lnTo>
                    <a:lnTo>
                      <a:pt x="316" y="3374"/>
                    </a:lnTo>
                    <a:lnTo>
                      <a:pt x="316" y="3374"/>
                    </a:lnTo>
                    <a:lnTo>
                      <a:pt x="322" y="3380"/>
                    </a:lnTo>
                    <a:lnTo>
                      <a:pt x="322" y="3380"/>
                    </a:lnTo>
                    <a:lnTo>
                      <a:pt x="322" y="3380"/>
                    </a:lnTo>
                    <a:lnTo>
                      <a:pt x="322" y="3382"/>
                    </a:lnTo>
                    <a:lnTo>
                      <a:pt x="318" y="3384"/>
                    </a:lnTo>
                    <a:lnTo>
                      <a:pt x="316" y="3386"/>
                    </a:lnTo>
                    <a:lnTo>
                      <a:pt x="320" y="3388"/>
                    </a:lnTo>
                    <a:lnTo>
                      <a:pt x="320" y="3388"/>
                    </a:lnTo>
                    <a:lnTo>
                      <a:pt x="328" y="3390"/>
                    </a:lnTo>
                    <a:lnTo>
                      <a:pt x="332" y="3388"/>
                    </a:lnTo>
                    <a:lnTo>
                      <a:pt x="334" y="3384"/>
                    </a:lnTo>
                    <a:lnTo>
                      <a:pt x="334" y="3378"/>
                    </a:lnTo>
                    <a:lnTo>
                      <a:pt x="334" y="3378"/>
                    </a:lnTo>
                    <a:lnTo>
                      <a:pt x="334" y="3376"/>
                    </a:lnTo>
                    <a:lnTo>
                      <a:pt x="336" y="3374"/>
                    </a:lnTo>
                    <a:lnTo>
                      <a:pt x="340" y="3370"/>
                    </a:lnTo>
                    <a:lnTo>
                      <a:pt x="344" y="3368"/>
                    </a:lnTo>
                    <a:lnTo>
                      <a:pt x="346" y="3366"/>
                    </a:lnTo>
                    <a:lnTo>
                      <a:pt x="346" y="3364"/>
                    </a:lnTo>
                    <a:lnTo>
                      <a:pt x="346" y="3364"/>
                    </a:lnTo>
                    <a:lnTo>
                      <a:pt x="344" y="3362"/>
                    </a:lnTo>
                    <a:lnTo>
                      <a:pt x="340" y="3360"/>
                    </a:lnTo>
                    <a:lnTo>
                      <a:pt x="340" y="3358"/>
                    </a:lnTo>
                    <a:lnTo>
                      <a:pt x="344" y="3358"/>
                    </a:lnTo>
                    <a:lnTo>
                      <a:pt x="344" y="3358"/>
                    </a:lnTo>
                    <a:lnTo>
                      <a:pt x="352" y="3358"/>
                    </a:lnTo>
                    <a:lnTo>
                      <a:pt x="354" y="3362"/>
                    </a:lnTo>
                    <a:lnTo>
                      <a:pt x="356" y="3362"/>
                    </a:lnTo>
                    <a:lnTo>
                      <a:pt x="360" y="3360"/>
                    </a:lnTo>
                    <a:lnTo>
                      <a:pt x="360" y="3360"/>
                    </a:lnTo>
                    <a:lnTo>
                      <a:pt x="364" y="3358"/>
                    </a:lnTo>
                    <a:lnTo>
                      <a:pt x="368" y="3356"/>
                    </a:lnTo>
                    <a:lnTo>
                      <a:pt x="382" y="3356"/>
                    </a:lnTo>
                    <a:lnTo>
                      <a:pt x="392" y="3358"/>
                    </a:lnTo>
                    <a:lnTo>
                      <a:pt x="394" y="3360"/>
                    </a:lnTo>
                    <a:lnTo>
                      <a:pt x="396" y="3362"/>
                    </a:lnTo>
                    <a:lnTo>
                      <a:pt x="396" y="3362"/>
                    </a:lnTo>
                    <a:lnTo>
                      <a:pt x="392" y="3366"/>
                    </a:lnTo>
                    <a:lnTo>
                      <a:pt x="386" y="3368"/>
                    </a:lnTo>
                    <a:lnTo>
                      <a:pt x="380" y="3366"/>
                    </a:lnTo>
                    <a:lnTo>
                      <a:pt x="372" y="3364"/>
                    </a:lnTo>
                    <a:lnTo>
                      <a:pt x="372" y="3364"/>
                    </a:lnTo>
                    <a:lnTo>
                      <a:pt x="368" y="3364"/>
                    </a:lnTo>
                    <a:lnTo>
                      <a:pt x="366" y="3366"/>
                    </a:lnTo>
                    <a:lnTo>
                      <a:pt x="362" y="3370"/>
                    </a:lnTo>
                    <a:lnTo>
                      <a:pt x="358" y="3376"/>
                    </a:lnTo>
                    <a:lnTo>
                      <a:pt x="356" y="3376"/>
                    </a:lnTo>
                    <a:lnTo>
                      <a:pt x="354" y="3376"/>
                    </a:lnTo>
                    <a:lnTo>
                      <a:pt x="354" y="3376"/>
                    </a:lnTo>
                    <a:lnTo>
                      <a:pt x="348" y="3372"/>
                    </a:lnTo>
                    <a:lnTo>
                      <a:pt x="342" y="3374"/>
                    </a:lnTo>
                    <a:lnTo>
                      <a:pt x="338" y="3378"/>
                    </a:lnTo>
                    <a:lnTo>
                      <a:pt x="338" y="3384"/>
                    </a:lnTo>
                    <a:lnTo>
                      <a:pt x="338" y="3384"/>
                    </a:lnTo>
                    <a:lnTo>
                      <a:pt x="340" y="3388"/>
                    </a:lnTo>
                    <a:lnTo>
                      <a:pt x="338" y="3390"/>
                    </a:lnTo>
                    <a:lnTo>
                      <a:pt x="338" y="3392"/>
                    </a:lnTo>
                    <a:lnTo>
                      <a:pt x="340" y="3396"/>
                    </a:lnTo>
                    <a:lnTo>
                      <a:pt x="340" y="3396"/>
                    </a:lnTo>
                    <a:lnTo>
                      <a:pt x="342" y="3398"/>
                    </a:lnTo>
                    <a:lnTo>
                      <a:pt x="340" y="3398"/>
                    </a:lnTo>
                    <a:lnTo>
                      <a:pt x="334" y="3396"/>
                    </a:lnTo>
                    <a:lnTo>
                      <a:pt x="326" y="3396"/>
                    </a:lnTo>
                    <a:lnTo>
                      <a:pt x="326" y="3396"/>
                    </a:lnTo>
                    <a:lnTo>
                      <a:pt x="324" y="3396"/>
                    </a:lnTo>
                    <a:lnTo>
                      <a:pt x="324" y="3398"/>
                    </a:lnTo>
                    <a:lnTo>
                      <a:pt x="326" y="3402"/>
                    </a:lnTo>
                    <a:lnTo>
                      <a:pt x="342" y="3412"/>
                    </a:lnTo>
                    <a:lnTo>
                      <a:pt x="342" y="3412"/>
                    </a:lnTo>
                    <a:lnTo>
                      <a:pt x="354" y="3418"/>
                    </a:lnTo>
                    <a:lnTo>
                      <a:pt x="356" y="3418"/>
                    </a:lnTo>
                    <a:lnTo>
                      <a:pt x="354" y="3412"/>
                    </a:lnTo>
                    <a:lnTo>
                      <a:pt x="354" y="3412"/>
                    </a:lnTo>
                    <a:lnTo>
                      <a:pt x="352" y="3406"/>
                    </a:lnTo>
                    <a:lnTo>
                      <a:pt x="352" y="3402"/>
                    </a:lnTo>
                    <a:lnTo>
                      <a:pt x="358" y="3400"/>
                    </a:lnTo>
                    <a:lnTo>
                      <a:pt x="362" y="3398"/>
                    </a:lnTo>
                    <a:lnTo>
                      <a:pt x="362" y="3398"/>
                    </a:lnTo>
                    <a:lnTo>
                      <a:pt x="364" y="3396"/>
                    </a:lnTo>
                    <a:lnTo>
                      <a:pt x="364" y="3394"/>
                    </a:lnTo>
                    <a:lnTo>
                      <a:pt x="360" y="3390"/>
                    </a:lnTo>
                    <a:lnTo>
                      <a:pt x="356" y="3388"/>
                    </a:lnTo>
                    <a:lnTo>
                      <a:pt x="362" y="3390"/>
                    </a:lnTo>
                    <a:lnTo>
                      <a:pt x="362" y="3390"/>
                    </a:lnTo>
                    <a:lnTo>
                      <a:pt x="370" y="3392"/>
                    </a:lnTo>
                    <a:lnTo>
                      <a:pt x="374" y="3390"/>
                    </a:lnTo>
                    <a:lnTo>
                      <a:pt x="378" y="3386"/>
                    </a:lnTo>
                    <a:lnTo>
                      <a:pt x="384" y="3382"/>
                    </a:lnTo>
                    <a:lnTo>
                      <a:pt x="384" y="3382"/>
                    </a:lnTo>
                    <a:lnTo>
                      <a:pt x="392" y="3378"/>
                    </a:lnTo>
                    <a:lnTo>
                      <a:pt x="396" y="3374"/>
                    </a:lnTo>
                    <a:lnTo>
                      <a:pt x="402" y="3372"/>
                    </a:lnTo>
                    <a:lnTo>
                      <a:pt x="406" y="3374"/>
                    </a:lnTo>
                    <a:lnTo>
                      <a:pt x="406" y="3374"/>
                    </a:lnTo>
                    <a:lnTo>
                      <a:pt x="408" y="3376"/>
                    </a:lnTo>
                    <a:lnTo>
                      <a:pt x="408" y="3378"/>
                    </a:lnTo>
                    <a:lnTo>
                      <a:pt x="406" y="3384"/>
                    </a:lnTo>
                    <a:lnTo>
                      <a:pt x="398" y="3392"/>
                    </a:lnTo>
                    <a:lnTo>
                      <a:pt x="390" y="3396"/>
                    </a:lnTo>
                    <a:lnTo>
                      <a:pt x="390" y="3396"/>
                    </a:lnTo>
                    <a:lnTo>
                      <a:pt x="384" y="3400"/>
                    </a:lnTo>
                    <a:lnTo>
                      <a:pt x="384" y="3402"/>
                    </a:lnTo>
                    <a:lnTo>
                      <a:pt x="382" y="3404"/>
                    </a:lnTo>
                    <a:lnTo>
                      <a:pt x="380" y="3402"/>
                    </a:lnTo>
                    <a:lnTo>
                      <a:pt x="380" y="3402"/>
                    </a:lnTo>
                    <a:lnTo>
                      <a:pt x="376" y="3400"/>
                    </a:lnTo>
                    <a:lnTo>
                      <a:pt x="374" y="3402"/>
                    </a:lnTo>
                    <a:lnTo>
                      <a:pt x="374" y="3404"/>
                    </a:lnTo>
                    <a:lnTo>
                      <a:pt x="370" y="3402"/>
                    </a:lnTo>
                    <a:lnTo>
                      <a:pt x="370" y="3402"/>
                    </a:lnTo>
                    <a:lnTo>
                      <a:pt x="362" y="3404"/>
                    </a:lnTo>
                    <a:lnTo>
                      <a:pt x="358" y="3406"/>
                    </a:lnTo>
                    <a:lnTo>
                      <a:pt x="356" y="3408"/>
                    </a:lnTo>
                    <a:lnTo>
                      <a:pt x="356" y="3408"/>
                    </a:lnTo>
                    <a:lnTo>
                      <a:pt x="360" y="3414"/>
                    </a:lnTo>
                    <a:lnTo>
                      <a:pt x="366" y="3420"/>
                    </a:lnTo>
                    <a:lnTo>
                      <a:pt x="372" y="3426"/>
                    </a:lnTo>
                    <a:lnTo>
                      <a:pt x="378" y="3430"/>
                    </a:lnTo>
                    <a:lnTo>
                      <a:pt x="378" y="3430"/>
                    </a:lnTo>
                    <a:lnTo>
                      <a:pt x="382" y="3432"/>
                    </a:lnTo>
                    <a:lnTo>
                      <a:pt x="386" y="3434"/>
                    </a:lnTo>
                    <a:lnTo>
                      <a:pt x="392" y="3438"/>
                    </a:lnTo>
                    <a:lnTo>
                      <a:pt x="402" y="3438"/>
                    </a:lnTo>
                    <a:lnTo>
                      <a:pt x="402" y="3438"/>
                    </a:lnTo>
                    <a:lnTo>
                      <a:pt x="410" y="3436"/>
                    </a:lnTo>
                    <a:lnTo>
                      <a:pt x="414" y="3434"/>
                    </a:lnTo>
                    <a:lnTo>
                      <a:pt x="416" y="3426"/>
                    </a:lnTo>
                    <a:lnTo>
                      <a:pt x="416" y="3412"/>
                    </a:lnTo>
                    <a:lnTo>
                      <a:pt x="416" y="3412"/>
                    </a:lnTo>
                    <a:lnTo>
                      <a:pt x="418" y="3400"/>
                    </a:lnTo>
                    <a:lnTo>
                      <a:pt x="420" y="3394"/>
                    </a:lnTo>
                    <a:lnTo>
                      <a:pt x="422" y="3388"/>
                    </a:lnTo>
                    <a:lnTo>
                      <a:pt x="424" y="3378"/>
                    </a:lnTo>
                    <a:lnTo>
                      <a:pt x="424" y="3378"/>
                    </a:lnTo>
                    <a:lnTo>
                      <a:pt x="424" y="3372"/>
                    </a:lnTo>
                    <a:lnTo>
                      <a:pt x="426" y="3368"/>
                    </a:lnTo>
                    <a:lnTo>
                      <a:pt x="428" y="3366"/>
                    </a:lnTo>
                    <a:lnTo>
                      <a:pt x="432" y="3366"/>
                    </a:lnTo>
                    <a:lnTo>
                      <a:pt x="440" y="3364"/>
                    </a:lnTo>
                    <a:lnTo>
                      <a:pt x="444" y="3362"/>
                    </a:lnTo>
                    <a:lnTo>
                      <a:pt x="450" y="3358"/>
                    </a:lnTo>
                    <a:lnTo>
                      <a:pt x="450" y="3358"/>
                    </a:lnTo>
                    <a:lnTo>
                      <a:pt x="454" y="3354"/>
                    </a:lnTo>
                    <a:lnTo>
                      <a:pt x="458" y="3354"/>
                    </a:lnTo>
                    <a:lnTo>
                      <a:pt x="462" y="3354"/>
                    </a:lnTo>
                    <a:lnTo>
                      <a:pt x="466" y="3356"/>
                    </a:lnTo>
                    <a:lnTo>
                      <a:pt x="470" y="3350"/>
                    </a:lnTo>
                    <a:lnTo>
                      <a:pt x="470" y="3350"/>
                    </a:lnTo>
                    <a:lnTo>
                      <a:pt x="476" y="3342"/>
                    </a:lnTo>
                    <a:lnTo>
                      <a:pt x="480" y="3340"/>
                    </a:lnTo>
                    <a:lnTo>
                      <a:pt x="486" y="3340"/>
                    </a:lnTo>
                    <a:lnTo>
                      <a:pt x="496" y="3342"/>
                    </a:lnTo>
                    <a:lnTo>
                      <a:pt x="496" y="3342"/>
                    </a:lnTo>
                    <a:lnTo>
                      <a:pt x="510" y="3344"/>
                    </a:lnTo>
                    <a:lnTo>
                      <a:pt x="518" y="3348"/>
                    </a:lnTo>
                    <a:lnTo>
                      <a:pt x="518" y="3348"/>
                    </a:lnTo>
                    <a:lnTo>
                      <a:pt x="520" y="3346"/>
                    </a:lnTo>
                    <a:lnTo>
                      <a:pt x="518" y="3342"/>
                    </a:lnTo>
                    <a:lnTo>
                      <a:pt x="510" y="3328"/>
                    </a:lnTo>
                    <a:lnTo>
                      <a:pt x="500" y="3308"/>
                    </a:lnTo>
                    <a:lnTo>
                      <a:pt x="496" y="3296"/>
                    </a:lnTo>
                    <a:lnTo>
                      <a:pt x="492" y="3282"/>
                    </a:lnTo>
                    <a:lnTo>
                      <a:pt x="492" y="3282"/>
                    </a:lnTo>
                    <a:lnTo>
                      <a:pt x="490" y="3266"/>
                    </a:lnTo>
                    <a:lnTo>
                      <a:pt x="490" y="3256"/>
                    </a:lnTo>
                    <a:lnTo>
                      <a:pt x="490" y="3246"/>
                    </a:lnTo>
                    <a:lnTo>
                      <a:pt x="494" y="3238"/>
                    </a:lnTo>
                    <a:lnTo>
                      <a:pt x="498" y="3228"/>
                    </a:lnTo>
                    <a:lnTo>
                      <a:pt x="506" y="3222"/>
                    </a:lnTo>
                    <a:lnTo>
                      <a:pt x="518" y="3216"/>
                    </a:lnTo>
                    <a:lnTo>
                      <a:pt x="518" y="3216"/>
                    </a:lnTo>
                    <a:lnTo>
                      <a:pt x="528" y="3212"/>
                    </a:lnTo>
                    <a:lnTo>
                      <a:pt x="536" y="3208"/>
                    </a:lnTo>
                    <a:lnTo>
                      <a:pt x="542" y="3202"/>
                    </a:lnTo>
                    <a:lnTo>
                      <a:pt x="546" y="3196"/>
                    </a:lnTo>
                    <a:lnTo>
                      <a:pt x="550" y="3180"/>
                    </a:lnTo>
                    <a:lnTo>
                      <a:pt x="552" y="3156"/>
                    </a:lnTo>
                    <a:lnTo>
                      <a:pt x="552" y="3156"/>
                    </a:lnTo>
                    <a:lnTo>
                      <a:pt x="556" y="3144"/>
                    </a:lnTo>
                    <a:lnTo>
                      <a:pt x="564" y="3134"/>
                    </a:lnTo>
                    <a:lnTo>
                      <a:pt x="572" y="3126"/>
                    </a:lnTo>
                    <a:lnTo>
                      <a:pt x="580" y="3122"/>
                    </a:lnTo>
                    <a:lnTo>
                      <a:pt x="596" y="3112"/>
                    </a:lnTo>
                    <a:lnTo>
                      <a:pt x="602" y="3108"/>
                    </a:lnTo>
                    <a:lnTo>
                      <a:pt x="604" y="3104"/>
                    </a:lnTo>
                    <a:lnTo>
                      <a:pt x="604" y="3104"/>
                    </a:lnTo>
                    <a:lnTo>
                      <a:pt x="606" y="3100"/>
                    </a:lnTo>
                    <a:lnTo>
                      <a:pt x="610" y="3096"/>
                    </a:lnTo>
                    <a:lnTo>
                      <a:pt x="616" y="3092"/>
                    </a:lnTo>
                    <a:lnTo>
                      <a:pt x="622" y="3086"/>
                    </a:lnTo>
                    <a:lnTo>
                      <a:pt x="624" y="3082"/>
                    </a:lnTo>
                    <a:lnTo>
                      <a:pt x="622" y="3078"/>
                    </a:lnTo>
                    <a:lnTo>
                      <a:pt x="622" y="3078"/>
                    </a:lnTo>
                    <a:lnTo>
                      <a:pt x="620" y="3074"/>
                    </a:lnTo>
                    <a:lnTo>
                      <a:pt x="620" y="3072"/>
                    </a:lnTo>
                    <a:lnTo>
                      <a:pt x="624" y="3066"/>
                    </a:lnTo>
                    <a:lnTo>
                      <a:pt x="626" y="3060"/>
                    </a:lnTo>
                    <a:lnTo>
                      <a:pt x="626" y="3054"/>
                    </a:lnTo>
                    <a:lnTo>
                      <a:pt x="626" y="3044"/>
                    </a:lnTo>
                    <a:lnTo>
                      <a:pt x="626" y="3044"/>
                    </a:lnTo>
                    <a:lnTo>
                      <a:pt x="624" y="3038"/>
                    </a:lnTo>
                    <a:lnTo>
                      <a:pt x="620" y="3036"/>
                    </a:lnTo>
                    <a:lnTo>
                      <a:pt x="608" y="3036"/>
                    </a:lnTo>
                    <a:lnTo>
                      <a:pt x="600" y="3034"/>
                    </a:lnTo>
                    <a:lnTo>
                      <a:pt x="590" y="3032"/>
                    </a:lnTo>
                    <a:lnTo>
                      <a:pt x="580" y="3026"/>
                    </a:lnTo>
                    <a:lnTo>
                      <a:pt x="570" y="3016"/>
                    </a:lnTo>
                    <a:lnTo>
                      <a:pt x="570" y="3016"/>
                    </a:lnTo>
                    <a:lnTo>
                      <a:pt x="554" y="2996"/>
                    </a:lnTo>
                    <a:lnTo>
                      <a:pt x="550" y="2988"/>
                    </a:lnTo>
                    <a:lnTo>
                      <a:pt x="550" y="2982"/>
                    </a:lnTo>
                    <a:lnTo>
                      <a:pt x="550" y="2976"/>
                    </a:lnTo>
                    <a:lnTo>
                      <a:pt x="554" y="2968"/>
                    </a:lnTo>
                    <a:lnTo>
                      <a:pt x="564" y="2948"/>
                    </a:lnTo>
                    <a:lnTo>
                      <a:pt x="564" y="2948"/>
                    </a:lnTo>
                    <a:lnTo>
                      <a:pt x="570" y="2938"/>
                    </a:lnTo>
                    <a:lnTo>
                      <a:pt x="576" y="2930"/>
                    </a:lnTo>
                    <a:lnTo>
                      <a:pt x="580" y="2928"/>
                    </a:lnTo>
                    <a:lnTo>
                      <a:pt x="584" y="2926"/>
                    </a:lnTo>
                    <a:lnTo>
                      <a:pt x="592" y="2926"/>
                    </a:lnTo>
                    <a:lnTo>
                      <a:pt x="594" y="2924"/>
                    </a:lnTo>
                    <a:lnTo>
                      <a:pt x="598" y="2922"/>
                    </a:lnTo>
                    <a:lnTo>
                      <a:pt x="598" y="2922"/>
                    </a:lnTo>
                    <a:lnTo>
                      <a:pt x="602" y="2918"/>
                    </a:lnTo>
                    <a:lnTo>
                      <a:pt x="608" y="2916"/>
                    </a:lnTo>
                    <a:lnTo>
                      <a:pt x="622" y="2916"/>
                    </a:lnTo>
                    <a:lnTo>
                      <a:pt x="628" y="2916"/>
                    </a:lnTo>
                    <a:lnTo>
                      <a:pt x="632" y="2914"/>
                    </a:lnTo>
                    <a:lnTo>
                      <a:pt x="634" y="2912"/>
                    </a:lnTo>
                    <a:lnTo>
                      <a:pt x="630" y="2908"/>
                    </a:lnTo>
                    <a:lnTo>
                      <a:pt x="630" y="2908"/>
                    </a:lnTo>
                    <a:lnTo>
                      <a:pt x="628" y="2902"/>
                    </a:lnTo>
                    <a:lnTo>
                      <a:pt x="630" y="2898"/>
                    </a:lnTo>
                    <a:lnTo>
                      <a:pt x="638" y="2890"/>
                    </a:lnTo>
                    <a:lnTo>
                      <a:pt x="642" y="2886"/>
                    </a:lnTo>
                    <a:lnTo>
                      <a:pt x="646" y="2878"/>
                    </a:lnTo>
                    <a:lnTo>
                      <a:pt x="648" y="2868"/>
                    </a:lnTo>
                    <a:lnTo>
                      <a:pt x="644" y="2856"/>
                    </a:lnTo>
                    <a:lnTo>
                      <a:pt x="644" y="2856"/>
                    </a:lnTo>
                    <a:lnTo>
                      <a:pt x="644" y="2850"/>
                    </a:lnTo>
                    <a:lnTo>
                      <a:pt x="644" y="2844"/>
                    </a:lnTo>
                    <a:lnTo>
                      <a:pt x="646" y="2836"/>
                    </a:lnTo>
                    <a:lnTo>
                      <a:pt x="648" y="2830"/>
                    </a:lnTo>
                    <a:lnTo>
                      <a:pt x="652" y="2822"/>
                    </a:lnTo>
                    <a:lnTo>
                      <a:pt x="660" y="2816"/>
                    </a:lnTo>
                    <a:lnTo>
                      <a:pt x="668" y="2810"/>
                    </a:lnTo>
                    <a:lnTo>
                      <a:pt x="678" y="2806"/>
                    </a:lnTo>
                    <a:lnTo>
                      <a:pt x="678" y="2806"/>
                    </a:lnTo>
                    <a:lnTo>
                      <a:pt x="684" y="2802"/>
                    </a:lnTo>
                    <a:lnTo>
                      <a:pt x="684" y="2802"/>
                    </a:lnTo>
                    <a:lnTo>
                      <a:pt x="682" y="2800"/>
                    </a:lnTo>
                    <a:lnTo>
                      <a:pt x="674" y="2798"/>
                    </a:lnTo>
                    <a:lnTo>
                      <a:pt x="662" y="2794"/>
                    </a:lnTo>
                    <a:lnTo>
                      <a:pt x="662" y="2794"/>
                    </a:lnTo>
                    <a:lnTo>
                      <a:pt x="658" y="2790"/>
                    </a:lnTo>
                    <a:lnTo>
                      <a:pt x="658" y="2786"/>
                    </a:lnTo>
                    <a:lnTo>
                      <a:pt x="660" y="2782"/>
                    </a:lnTo>
                    <a:lnTo>
                      <a:pt x="664" y="2780"/>
                    </a:lnTo>
                    <a:lnTo>
                      <a:pt x="670" y="2780"/>
                    </a:lnTo>
                    <a:lnTo>
                      <a:pt x="676" y="2780"/>
                    </a:lnTo>
                    <a:lnTo>
                      <a:pt x="682" y="2782"/>
                    </a:lnTo>
                    <a:lnTo>
                      <a:pt x="686" y="2788"/>
                    </a:lnTo>
                    <a:lnTo>
                      <a:pt x="686" y="2788"/>
                    </a:lnTo>
                    <a:lnTo>
                      <a:pt x="690" y="2792"/>
                    </a:lnTo>
                    <a:lnTo>
                      <a:pt x="692" y="2796"/>
                    </a:lnTo>
                    <a:lnTo>
                      <a:pt x="696" y="2798"/>
                    </a:lnTo>
                    <a:lnTo>
                      <a:pt x="700" y="2798"/>
                    </a:lnTo>
                    <a:lnTo>
                      <a:pt x="704" y="2796"/>
                    </a:lnTo>
                    <a:lnTo>
                      <a:pt x="708" y="2792"/>
                    </a:lnTo>
                    <a:lnTo>
                      <a:pt x="712" y="2786"/>
                    </a:lnTo>
                    <a:lnTo>
                      <a:pt x="714" y="2778"/>
                    </a:lnTo>
                    <a:lnTo>
                      <a:pt x="714" y="2778"/>
                    </a:lnTo>
                    <a:lnTo>
                      <a:pt x="716" y="2770"/>
                    </a:lnTo>
                    <a:lnTo>
                      <a:pt x="714" y="2762"/>
                    </a:lnTo>
                    <a:lnTo>
                      <a:pt x="708" y="2754"/>
                    </a:lnTo>
                    <a:lnTo>
                      <a:pt x="706" y="2752"/>
                    </a:lnTo>
                    <a:lnTo>
                      <a:pt x="702" y="2752"/>
                    </a:lnTo>
                    <a:lnTo>
                      <a:pt x="702" y="2752"/>
                    </a:lnTo>
                    <a:lnTo>
                      <a:pt x="678" y="2758"/>
                    </a:lnTo>
                    <a:lnTo>
                      <a:pt x="670" y="2760"/>
                    </a:lnTo>
                    <a:lnTo>
                      <a:pt x="662" y="2758"/>
                    </a:lnTo>
                    <a:lnTo>
                      <a:pt x="658" y="2756"/>
                    </a:lnTo>
                    <a:lnTo>
                      <a:pt x="656" y="2750"/>
                    </a:lnTo>
                    <a:lnTo>
                      <a:pt x="654" y="2744"/>
                    </a:lnTo>
                    <a:lnTo>
                      <a:pt x="656" y="2734"/>
                    </a:lnTo>
                    <a:lnTo>
                      <a:pt x="656" y="2734"/>
                    </a:lnTo>
                    <a:lnTo>
                      <a:pt x="656" y="2726"/>
                    </a:lnTo>
                    <a:lnTo>
                      <a:pt x="654" y="2716"/>
                    </a:lnTo>
                    <a:lnTo>
                      <a:pt x="650" y="2700"/>
                    </a:lnTo>
                    <a:lnTo>
                      <a:pt x="648" y="2694"/>
                    </a:lnTo>
                    <a:lnTo>
                      <a:pt x="646" y="2690"/>
                    </a:lnTo>
                    <a:lnTo>
                      <a:pt x="648" y="2684"/>
                    </a:lnTo>
                    <a:lnTo>
                      <a:pt x="654" y="2682"/>
                    </a:lnTo>
                    <a:lnTo>
                      <a:pt x="654" y="2682"/>
                    </a:lnTo>
                    <a:lnTo>
                      <a:pt x="662" y="2680"/>
                    </a:lnTo>
                    <a:lnTo>
                      <a:pt x="668" y="2682"/>
                    </a:lnTo>
                    <a:lnTo>
                      <a:pt x="684" y="2688"/>
                    </a:lnTo>
                    <a:lnTo>
                      <a:pt x="700" y="2696"/>
                    </a:lnTo>
                    <a:lnTo>
                      <a:pt x="708" y="2698"/>
                    </a:lnTo>
                    <a:lnTo>
                      <a:pt x="714" y="2700"/>
                    </a:lnTo>
                    <a:lnTo>
                      <a:pt x="714" y="2700"/>
                    </a:lnTo>
                    <a:lnTo>
                      <a:pt x="724" y="2700"/>
                    </a:lnTo>
                    <a:lnTo>
                      <a:pt x="728" y="2700"/>
                    </a:lnTo>
                    <a:lnTo>
                      <a:pt x="734" y="2700"/>
                    </a:lnTo>
                    <a:lnTo>
                      <a:pt x="748" y="2694"/>
                    </a:lnTo>
                    <a:lnTo>
                      <a:pt x="748" y="2694"/>
                    </a:lnTo>
                    <a:lnTo>
                      <a:pt x="762" y="2684"/>
                    </a:lnTo>
                    <a:lnTo>
                      <a:pt x="768" y="2680"/>
                    </a:lnTo>
                    <a:lnTo>
                      <a:pt x="770" y="2676"/>
                    </a:lnTo>
                    <a:lnTo>
                      <a:pt x="770" y="2672"/>
                    </a:lnTo>
                    <a:lnTo>
                      <a:pt x="770" y="2670"/>
                    </a:lnTo>
                    <a:lnTo>
                      <a:pt x="764" y="2664"/>
                    </a:lnTo>
                    <a:lnTo>
                      <a:pt x="764" y="2664"/>
                    </a:lnTo>
                    <a:lnTo>
                      <a:pt x="762" y="2660"/>
                    </a:lnTo>
                    <a:lnTo>
                      <a:pt x="760" y="2658"/>
                    </a:lnTo>
                    <a:lnTo>
                      <a:pt x="758" y="2650"/>
                    </a:lnTo>
                    <a:lnTo>
                      <a:pt x="762" y="2642"/>
                    </a:lnTo>
                    <a:lnTo>
                      <a:pt x="770" y="2632"/>
                    </a:lnTo>
                    <a:lnTo>
                      <a:pt x="770" y="2632"/>
                    </a:lnTo>
                    <a:lnTo>
                      <a:pt x="776" y="2622"/>
                    </a:lnTo>
                    <a:lnTo>
                      <a:pt x="778" y="2612"/>
                    </a:lnTo>
                    <a:lnTo>
                      <a:pt x="776" y="2602"/>
                    </a:lnTo>
                    <a:lnTo>
                      <a:pt x="772" y="2598"/>
                    </a:lnTo>
                    <a:lnTo>
                      <a:pt x="770" y="2596"/>
                    </a:lnTo>
                    <a:lnTo>
                      <a:pt x="770" y="2596"/>
                    </a:lnTo>
                    <a:lnTo>
                      <a:pt x="766" y="2592"/>
                    </a:lnTo>
                    <a:lnTo>
                      <a:pt x="762" y="2588"/>
                    </a:lnTo>
                    <a:lnTo>
                      <a:pt x="760" y="2578"/>
                    </a:lnTo>
                    <a:lnTo>
                      <a:pt x="760" y="2574"/>
                    </a:lnTo>
                    <a:lnTo>
                      <a:pt x="762" y="2572"/>
                    </a:lnTo>
                    <a:lnTo>
                      <a:pt x="768" y="2572"/>
                    </a:lnTo>
                    <a:lnTo>
                      <a:pt x="774" y="2576"/>
                    </a:lnTo>
                    <a:lnTo>
                      <a:pt x="774" y="2576"/>
                    </a:lnTo>
                    <a:lnTo>
                      <a:pt x="784" y="2582"/>
                    </a:lnTo>
                    <a:lnTo>
                      <a:pt x="792" y="2582"/>
                    </a:lnTo>
                    <a:lnTo>
                      <a:pt x="824" y="2578"/>
                    </a:lnTo>
                    <a:lnTo>
                      <a:pt x="824" y="2578"/>
                    </a:lnTo>
                    <a:lnTo>
                      <a:pt x="856" y="2574"/>
                    </a:lnTo>
                    <a:lnTo>
                      <a:pt x="890" y="2566"/>
                    </a:lnTo>
                    <a:lnTo>
                      <a:pt x="920" y="2556"/>
                    </a:lnTo>
                    <a:lnTo>
                      <a:pt x="934" y="2550"/>
                    </a:lnTo>
                    <a:lnTo>
                      <a:pt x="944" y="2544"/>
                    </a:lnTo>
                    <a:lnTo>
                      <a:pt x="944" y="2544"/>
                    </a:lnTo>
                    <a:lnTo>
                      <a:pt x="952" y="2538"/>
                    </a:lnTo>
                    <a:lnTo>
                      <a:pt x="956" y="2534"/>
                    </a:lnTo>
                    <a:lnTo>
                      <a:pt x="958" y="2528"/>
                    </a:lnTo>
                    <a:lnTo>
                      <a:pt x="960" y="2524"/>
                    </a:lnTo>
                    <a:lnTo>
                      <a:pt x="962" y="2516"/>
                    </a:lnTo>
                    <a:lnTo>
                      <a:pt x="966" y="2510"/>
                    </a:lnTo>
                    <a:lnTo>
                      <a:pt x="970" y="2504"/>
                    </a:lnTo>
                    <a:lnTo>
                      <a:pt x="970" y="2504"/>
                    </a:lnTo>
                    <a:lnTo>
                      <a:pt x="980" y="2492"/>
                    </a:lnTo>
                    <a:lnTo>
                      <a:pt x="986" y="2478"/>
                    </a:lnTo>
                    <a:lnTo>
                      <a:pt x="990" y="2464"/>
                    </a:lnTo>
                    <a:lnTo>
                      <a:pt x="990" y="2444"/>
                    </a:lnTo>
                    <a:lnTo>
                      <a:pt x="990" y="2444"/>
                    </a:lnTo>
                    <a:lnTo>
                      <a:pt x="990" y="2436"/>
                    </a:lnTo>
                    <a:lnTo>
                      <a:pt x="990" y="2432"/>
                    </a:lnTo>
                    <a:lnTo>
                      <a:pt x="986" y="2432"/>
                    </a:lnTo>
                    <a:lnTo>
                      <a:pt x="984" y="2432"/>
                    </a:lnTo>
                    <a:lnTo>
                      <a:pt x="980" y="2432"/>
                    </a:lnTo>
                    <a:lnTo>
                      <a:pt x="976" y="2432"/>
                    </a:lnTo>
                    <a:lnTo>
                      <a:pt x="970" y="2428"/>
                    </a:lnTo>
                    <a:lnTo>
                      <a:pt x="964" y="2420"/>
                    </a:lnTo>
                    <a:lnTo>
                      <a:pt x="964" y="2420"/>
                    </a:lnTo>
                    <a:lnTo>
                      <a:pt x="962" y="2410"/>
                    </a:lnTo>
                    <a:lnTo>
                      <a:pt x="962" y="2404"/>
                    </a:lnTo>
                    <a:lnTo>
                      <a:pt x="964" y="2400"/>
                    </a:lnTo>
                    <a:lnTo>
                      <a:pt x="968" y="2396"/>
                    </a:lnTo>
                    <a:lnTo>
                      <a:pt x="970" y="2392"/>
                    </a:lnTo>
                    <a:lnTo>
                      <a:pt x="970" y="2388"/>
                    </a:lnTo>
                    <a:lnTo>
                      <a:pt x="968" y="2380"/>
                    </a:lnTo>
                    <a:lnTo>
                      <a:pt x="962" y="2368"/>
                    </a:lnTo>
                    <a:lnTo>
                      <a:pt x="962" y="2368"/>
                    </a:lnTo>
                    <a:lnTo>
                      <a:pt x="954" y="2360"/>
                    </a:lnTo>
                    <a:lnTo>
                      <a:pt x="946" y="2354"/>
                    </a:lnTo>
                    <a:lnTo>
                      <a:pt x="928" y="2344"/>
                    </a:lnTo>
                    <a:lnTo>
                      <a:pt x="922" y="2338"/>
                    </a:lnTo>
                    <a:lnTo>
                      <a:pt x="918" y="2332"/>
                    </a:lnTo>
                    <a:lnTo>
                      <a:pt x="918" y="2330"/>
                    </a:lnTo>
                    <a:lnTo>
                      <a:pt x="920" y="2326"/>
                    </a:lnTo>
                    <a:lnTo>
                      <a:pt x="926" y="2316"/>
                    </a:lnTo>
                    <a:lnTo>
                      <a:pt x="926" y="2316"/>
                    </a:lnTo>
                    <a:lnTo>
                      <a:pt x="928" y="2320"/>
                    </a:lnTo>
                    <a:lnTo>
                      <a:pt x="934" y="2326"/>
                    </a:lnTo>
                    <a:lnTo>
                      <a:pt x="946" y="2332"/>
                    </a:lnTo>
                    <a:lnTo>
                      <a:pt x="952" y="2334"/>
                    </a:lnTo>
                    <a:lnTo>
                      <a:pt x="958" y="2334"/>
                    </a:lnTo>
                    <a:lnTo>
                      <a:pt x="958" y="2334"/>
                    </a:lnTo>
                    <a:lnTo>
                      <a:pt x="966" y="2336"/>
                    </a:lnTo>
                    <a:lnTo>
                      <a:pt x="976" y="2338"/>
                    </a:lnTo>
                    <a:lnTo>
                      <a:pt x="992" y="2348"/>
                    </a:lnTo>
                    <a:lnTo>
                      <a:pt x="1002" y="2352"/>
                    </a:lnTo>
                    <a:lnTo>
                      <a:pt x="1010" y="2356"/>
                    </a:lnTo>
                    <a:lnTo>
                      <a:pt x="1018" y="2358"/>
                    </a:lnTo>
                    <a:lnTo>
                      <a:pt x="1026" y="2356"/>
                    </a:lnTo>
                    <a:lnTo>
                      <a:pt x="1026" y="2356"/>
                    </a:lnTo>
                    <a:lnTo>
                      <a:pt x="1032" y="2354"/>
                    </a:lnTo>
                    <a:lnTo>
                      <a:pt x="1038" y="2352"/>
                    </a:lnTo>
                    <a:lnTo>
                      <a:pt x="1050" y="2356"/>
                    </a:lnTo>
                    <a:lnTo>
                      <a:pt x="1056" y="2358"/>
                    </a:lnTo>
                    <a:lnTo>
                      <a:pt x="1062" y="2358"/>
                    </a:lnTo>
                    <a:lnTo>
                      <a:pt x="1068" y="2358"/>
                    </a:lnTo>
                    <a:lnTo>
                      <a:pt x="1076" y="2354"/>
                    </a:lnTo>
                    <a:lnTo>
                      <a:pt x="1076" y="2354"/>
                    </a:lnTo>
                    <a:lnTo>
                      <a:pt x="1090" y="2344"/>
                    </a:lnTo>
                    <a:lnTo>
                      <a:pt x="1100" y="2334"/>
                    </a:lnTo>
                    <a:lnTo>
                      <a:pt x="1110" y="2320"/>
                    </a:lnTo>
                    <a:lnTo>
                      <a:pt x="1122" y="2300"/>
                    </a:lnTo>
                    <a:lnTo>
                      <a:pt x="1122" y="2300"/>
                    </a:lnTo>
                    <a:lnTo>
                      <a:pt x="1120" y="2294"/>
                    </a:lnTo>
                    <a:lnTo>
                      <a:pt x="1120" y="2294"/>
                    </a:lnTo>
                    <a:lnTo>
                      <a:pt x="1124" y="2288"/>
                    </a:lnTo>
                    <a:lnTo>
                      <a:pt x="1130" y="2282"/>
                    </a:lnTo>
                    <a:lnTo>
                      <a:pt x="1140" y="2276"/>
                    </a:lnTo>
                    <a:lnTo>
                      <a:pt x="1150" y="2270"/>
                    </a:lnTo>
                    <a:lnTo>
                      <a:pt x="1154" y="2264"/>
                    </a:lnTo>
                    <a:lnTo>
                      <a:pt x="1158" y="2256"/>
                    </a:lnTo>
                    <a:lnTo>
                      <a:pt x="1158" y="2256"/>
                    </a:lnTo>
                    <a:lnTo>
                      <a:pt x="1166" y="2232"/>
                    </a:lnTo>
                    <a:lnTo>
                      <a:pt x="1170" y="2224"/>
                    </a:lnTo>
                    <a:lnTo>
                      <a:pt x="1174" y="2218"/>
                    </a:lnTo>
                    <a:lnTo>
                      <a:pt x="1188" y="2204"/>
                    </a:lnTo>
                    <a:lnTo>
                      <a:pt x="1210" y="2184"/>
                    </a:lnTo>
                    <a:lnTo>
                      <a:pt x="1210" y="2184"/>
                    </a:lnTo>
                    <a:lnTo>
                      <a:pt x="1220" y="2174"/>
                    </a:lnTo>
                    <a:lnTo>
                      <a:pt x="1228" y="2164"/>
                    </a:lnTo>
                    <a:lnTo>
                      <a:pt x="1240" y="2140"/>
                    </a:lnTo>
                    <a:lnTo>
                      <a:pt x="1254" y="2110"/>
                    </a:lnTo>
                    <a:lnTo>
                      <a:pt x="1270" y="2074"/>
                    </a:lnTo>
                    <a:lnTo>
                      <a:pt x="1270" y="2074"/>
                    </a:lnTo>
                    <a:lnTo>
                      <a:pt x="1278" y="2058"/>
                    </a:lnTo>
                    <a:lnTo>
                      <a:pt x="1284" y="2048"/>
                    </a:lnTo>
                    <a:lnTo>
                      <a:pt x="1290" y="2042"/>
                    </a:lnTo>
                    <a:lnTo>
                      <a:pt x="1294" y="2038"/>
                    </a:lnTo>
                    <a:lnTo>
                      <a:pt x="1304" y="2030"/>
                    </a:lnTo>
                    <a:lnTo>
                      <a:pt x="1308" y="2022"/>
                    </a:lnTo>
                    <a:lnTo>
                      <a:pt x="1314" y="2012"/>
                    </a:lnTo>
                    <a:lnTo>
                      <a:pt x="1314" y="2012"/>
                    </a:lnTo>
                    <a:lnTo>
                      <a:pt x="1320" y="1998"/>
                    </a:lnTo>
                    <a:lnTo>
                      <a:pt x="1322" y="1984"/>
                    </a:lnTo>
                    <a:lnTo>
                      <a:pt x="1322" y="1970"/>
                    </a:lnTo>
                    <a:lnTo>
                      <a:pt x="1322" y="1956"/>
                    </a:lnTo>
                    <a:lnTo>
                      <a:pt x="1322" y="1926"/>
                    </a:lnTo>
                    <a:lnTo>
                      <a:pt x="1320" y="1910"/>
                    </a:lnTo>
                    <a:lnTo>
                      <a:pt x="1322" y="1894"/>
                    </a:lnTo>
                    <a:lnTo>
                      <a:pt x="1322" y="1894"/>
                    </a:lnTo>
                    <a:lnTo>
                      <a:pt x="1324" y="1878"/>
                    </a:lnTo>
                    <a:lnTo>
                      <a:pt x="1332" y="1862"/>
                    </a:lnTo>
                    <a:lnTo>
                      <a:pt x="1340" y="1848"/>
                    </a:lnTo>
                    <a:lnTo>
                      <a:pt x="1352" y="1836"/>
                    </a:lnTo>
                    <a:lnTo>
                      <a:pt x="1364" y="1824"/>
                    </a:lnTo>
                    <a:lnTo>
                      <a:pt x="1376" y="1816"/>
                    </a:lnTo>
                    <a:lnTo>
                      <a:pt x="1388" y="1808"/>
                    </a:lnTo>
                    <a:lnTo>
                      <a:pt x="1398" y="1802"/>
                    </a:lnTo>
                    <a:lnTo>
                      <a:pt x="1398" y="1802"/>
                    </a:lnTo>
                    <a:lnTo>
                      <a:pt x="1422" y="1792"/>
                    </a:lnTo>
                    <a:lnTo>
                      <a:pt x="1438" y="1782"/>
                    </a:lnTo>
                    <a:lnTo>
                      <a:pt x="1452" y="1772"/>
                    </a:lnTo>
                    <a:lnTo>
                      <a:pt x="1462" y="1764"/>
                    </a:lnTo>
                    <a:lnTo>
                      <a:pt x="1476" y="1750"/>
                    </a:lnTo>
                    <a:lnTo>
                      <a:pt x="1482" y="1744"/>
                    </a:lnTo>
                    <a:lnTo>
                      <a:pt x="1490" y="1740"/>
                    </a:lnTo>
                    <a:lnTo>
                      <a:pt x="1490" y="1740"/>
                    </a:lnTo>
                    <a:lnTo>
                      <a:pt x="1498" y="1738"/>
                    </a:lnTo>
                    <a:lnTo>
                      <a:pt x="1502" y="1738"/>
                    </a:lnTo>
                    <a:lnTo>
                      <a:pt x="1506" y="1740"/>
                    </a:lnTo>
                    <a:lnTo>
                      <a:pt x="1508" y="1742"/>
                    </a:lnTo>
                    <a:lnTo>
                      <a:pt x="1514" y="1742"/>
                    </a:lnTo>
                    <a:lnTo>
                      <a:pt x="1520" y="1742"/>
                    </a:lnTo>
                    <a:lnTo>
                      <a:pt x="1530" y="1740"/>
                    </a:lnTo>
                    <a:lnTo>
                      <a:pt x="1530" y="1740"/>
                    </a:lnTo>
                    <a:lnTo>
                      <a:pt x="1544" y="1738"/>
                    </a:lnTo>
                    <a:lnTo>
                      <a:pt x="1556" y="1738"/>
                    </a:lnTo>
                    <a:lnTo>
                      <a:pt x="1576" y="1738"/>
                    </a:lnTo>
                    <a:lnTo>
                      <a:pt x="1584" y="1738"/>
                    </a:lnTo>
                    <a:lnTo>
                      <a:pt x="1588" y="1736"/>
                    </a:lnTo>
                    <a:lnTo>
                      <a:pt x="1592" y="1734"/>
                    </a:lnTo>
                    <a:lnTo>
                      <a:pt x="1590" y="1728"/>
                    </a:lnTo>
                    <a:lnTo>
                      <a:pt x="1590" y="1728"/>
                    </a:lnTo>
                    <a:lnTo>
                      <a:pt x="1590" y="1724"/>
                    </a:lnTo>
                    <a:lnTo>
                      <a:pt x="1590" y="1722"/>
                    </a:lnTo>
                    <a:lnTo>
                      <a:pt x="1594" y="1716"/>
                    </a:lnTo>
                    <a:lnTo>
                      <a:pt x="1608" y="1702"/>
                    </a:lnTo>
                    <a:lnTo>
                      <a:pt x="1616" y="1696"/>
                    </a:lnTo>
                    <a:lnTo>
                      <a:pt x="1622" y="1690"/>
                    </a:lnTo>
                    <a:lnTo>
                      <a:pt x="1626" y="1682"/>
                    </a:lnTo>
                    <a:lnTo>
                      <a:pt x="1626" y="1676"/>
                    </a:lnTo>
                    <a:lnTo>
                      <a:pt x="1624" y="1672"/>
                    </a:lnTo>
                    <a:lnTo>
                      <a:pt x="1624" y="1672"/>
                    </a:lnTo>
                    <a:lnTo>
                      <a:pt x="1622" y="1662"/>
                    </a:lnTo>
                    <a:lnTo>
                      <a:pt x="1624" y="1654"/>
                    </a:lnTo>
                    <a:lnTo>
                      <a:pt x="1628" y="1644"/>
                    </a:lnTo>
                    <a:lnTo>
                      <a:pt x="1634" y="1634"/>
                    </a:lnTo>
                    <a:lnTo>
                      <a:pt x="1650" y="1610"/>
                    </a:lnTo>
                    <a:lnTo>
                      <a:pt x="1668" y="1580"/>
                    </a:lnTo>
                    <a:lnTo>
                      <a:pt x="1668" y="1580"/>
                    </a:lnTo>
                    <a:lnTo>
                      <a:pt x="1674" y="1564"/>
                    </a:lnTo>
                    <a:lnTo>
                      <a:pt x="1678" y="1550"/>
                    </a:lnTo>
                    <a:lnTo>
                      <a:pt x="1678" y="1536"/>
                    </a:lnTo>
                    <a:lnTo>
                      <a:pt x="1678" y="1524"/>
                    </a:lnTo>
                    <a:lnTo>
                      <a:pt x="1678" y="1514"/>
                    </a:lnTo>
                    <a:lnTo>
                      <a:pt x="1680" y="1506"/>
                    </a:lnTo>
                    <a:lnTo>
                      <a:pt x="1682" y="1498"/>
                    </a:lnTo>
                    <a:lnTo>
                      <a:pt x="1688" y="1494"/>
                    </a:lnTo>
                    <a:lnTo>
                      <a:pt x="1688" y="1494"/>
                    </a:lnTo>
                    <a:lnTo>
                      <a:pt x="1694" y="1488"/>
                    </a:lnTo>
                    <a:lnTo>
                      <a:pt x="1698" y="1480"/>
                    </a:lnTo>
                    <a:lnTo>
                      <a:pt x="1698" y="1470"/>
                    </a:lnTo>
                    <a:lnTo>
                      <a:pt x="1700" y="1460"/>
                    </a:lnTo>
                    <a:lnTo>
                      <a:pt x="1700" y="1434"/>
                    </a:lnTo>
                    <a:lnTo>
                      <a:pt x="1702" y="1418"/>
                    </a:lnTo>
                    <a:lnTo>
                      <a:pt x="1704" y="1404"/>
                    </a:lnTo>
                    <a:lnTo>
                      <a:pt x="1704" y="1404"/>
                    </a:lnTo>
                    <a:lnTo>
                      <a:pt x="1708" y="1390"/>
                    </a:lnTo>
                    <a:lnTo>
                      <a:pt x="1708" y="1378"/>
                    </a:lnTo>
                    <a:lnTo>
                      <a:pt x="1708" y="1368"/>
                    </a:lnTo>
                    <a:lnTo>
                      <a:pt x="1706" y="1360"/>
                    </a:lnTo>
                    <a:lnTo>
                      <a:pt x="1702" y="1342"/>
                    </a:lnTo>
                    <a:lnTo>
                      <a:pt x="1702" y="1334"/>
                    </a:lnTo>
                    <a:lnTo>
                      <a:pt x="1702" y="1324"/>
                    </a:lnTo>
                    <a:lnTo>
                      <a:pt x="1702" y="1324"/>
                    </a:lnTo>
                    <a:lnTo>
                      <a:pt x="1706" y="1252"/>
                    </a:lnTo>
                    <a:lnTo>
                      <a:pt x="1708" y="1234"/>
                    </a:lnTo>
                    <a:lnTo>
                      <a:pt x="1710" y="1224"/>
                    </a:lnTo>
                    <a:lnTo>
                      <a:pt x="1712" y="1220"/>
                    </a:lnTo>
                    <a:lnTo>
                      <a:pt x="1714" y="1220"/>
                    </a:lnTo>
                    <a:lnTo>
                      <a:pt x="1718" y="1222"/>
                    </a:lnTo>
                    <a:lnTo>
                      <a:pt x="1720" y="1226"/>
                    </a:lnTo>
                    <a:lnTo>
                      <a:pt x="1720" y="1226"/>
                    </a:lnTo>
                    <a:lnTo>
                      <a:pt x="1726" y="1234"/>
                    </a:lnTo>
                    <a:lnTo>
                      <a:pt x="1730" y="1238"/>
                    </a:lnTo>
                    <a:lnTo>
                      <a:pt x="1736" y="1238"/>
                    </a:lnTo>
                    <a:lnTo>
                      <a:pt x="1740" y="1234"/>
                    </a:lnTo>
                    <a:lnTo>
                      <a:pt x="1746" y="1224"/>
                    </a:lnTo>
                    <a:lnTo>
                      <a:pt x="1752" y="1212"/>
                    </a:lnTo>
                    <a:lnTo>
                      <a:pt x="1766" y="1176"/>
                    </a:lnTo>
                    <a:lnTo>
                      <a:pt x="1766" y="1176"/>
                    </a:lnTo>
                    <a:lnTo>
                      <a:pt x="1774" y="1158"/>
                    </a:lnTo>
                    <a:lnTo>
                      <a:pt x="1780" y="1146"/>
                    </a:lnTo>
                    <a:lnTo>
                      <a:pt x="1788" y="1136"/>
                    </a:lnTo>
                    <a:lnTo>
                      <a:pt x="1794" y="1128"/>
                    </a:lnTo>
                    <a:lnTo>
                      <a:pt x="1810" y="1112"/>
                    </a:lnTo>
                    <a:lnTo>
                      <a:pt x="1820" y="1100"/>
                    </a:lnTo>
                    <a:lnTo>
                      <a:pt x="1830" y="1082"/>
                    </a:lnTo>
                    <a:lnTo>
                      <a:pt x="1830" y="1082"/>
                    </a:lnTo>
                    <a:lnTo>
                      <a:pt x="1852" y="1044"/>
                    </a:lnTo>
                    <a:lnTo>
                      <a:pt x="1860" y="1030"/>
                    </a:lnTo>
                    <a:lnTo>
                      <a:pt x="1866" y="1016"/>
                    </a:lnTo>
                    <a:lnTo>
                      <a:pt x="1872" y="1002"/>
                    </a:lnTo>
                    <a:lnTo>
                      <a:pt x="1874" y="988"/>
                    </a:lnTo>
                    <a:lnTo>
                      <a:pt x="1874" y="972"/>
                    </a:lnTo>
                    <a:lnTo>
                      <a:pt x="1872" y="956"/>
                    </a:lnTo>
                    <a:lnTo>
                      <a:pt x="1872" y="956"/>
                    </a:lnTo>
                    <a:close/>
                    <a:moveTo>
                      <a:pt x="1128" y="2234"/>
                    </a:moveTo>
                    <a:lnTo>
                      <a:pt x="1128" y="2234"/>
                    </a:lnTo>
                    <a:lnTo>
                      <a:pt x="1132" y="2242"/>
                    </a:lnTo>
                    <a:lnTo>
                      <a:pt x="1132" y="2242"/>
                    </a:lnTo>
                    <a:lnTo>
                      <a:pt x="1128" y="2234"/>
                    </a:lnTo>
                    <a:lnTo>
                      <a:pt x="1128" y="2234"/>
                    </a:lnTo>
                    <a:close/>
                    <a:moveTo>
                      <a:pt x="698" y="3490"/>
                    </a:moveTo>
                    <a:lnTo>
                      <a:pt x="698" y="3490"/>
                    </a:lnTo>
                    <a:lnTo>
                      <a:pt x="692" y="3492"/>
                    </a:lnTo>
                    <a:lnTo>
                      <a:pt x="688" y="3490"/>
                    </a:lnTo>
                    <a:lnTo>
                      <a:pt x="684" y="3490"/>
                    </a:lnTo>
                    <a:lnTo>
                      <a:pt x="678" y="3492"/>
                    </a:lnTo>
                    <a:lnTo>
                      <a:pt x="678" y="3492"/>
                    </a:lnTo>
                    <a:lnTo>
                      <a:pt x="670" y="3496"/>
                    </a:lnTo>
                    <a:lnTo>
                      <a:pt x="666" y="3498"/>
                    </a:lnTo>
                    <a:lnTo>
                      <a:pt x="670" y="3500"/>
                    </a:lnTo>
                    <a:lnTo>
                      <a:pt x="670" y="3500"/>
                    </a:lnTo>
                    <a:lnTo>
                      <a:pt x="672" y="3500"/>
                    </a:lnTo>
                    <a:lnTo>
                      <a:pt x="678" y="3498"/>
                    </a:lnTo>
                    <a:lnTo>
                      <a:pt x="678" y="3498"/>
                    </a:lnTo>
                    <a:lnTo>
                      <a:pt x="682" y="3494"/>
                    </a:lnTo>
                    <a:lnTo>
                      <a:pt x="684" y="3496"/>
                    </a:lnTo>
                    <a:lnTo>
                      <a:pt x="686" y="3498"/>
                    </a:lnTo>
                    <a:lnTo>
                      <a:pt x="690" y="3496"/>
                    </a:lnTo>
                    <a:lnTo>
                      <a:pt x="690" y="3496"/>
                    </a:lnTo>
                    <a:lnTo>
                      <a:pt x="694" y="3496"/>
                    </a:lnTo>
                    <a:lnTo>
                      <a:pt x="696" y="3496"/>
                    </a:lnTo>
                    <a:lnTo>
                      <a:pt x="696" y="3496"/>
                    </a:lnTo>
                    <a:lnTo>
                      <a:pt x="700" y="3496"/>
                    </a:lnTo>
                    <a:lnTo>
                      <a:pt x="700" y="3496"/>
                    </a:lnTo>
                    <a:lnTo>
                      <a:pt x="702" y="3494"/>
                    </a:lnTo>
                    <a:lnTo>
                      <a:pt x="704" y="3492"/>
                    </a:lnTo>
                    <a:lnTo>
                      <a:pt x="702" y="3490"/>
                    </a:lnTo>
                    <a:lnTo>
                      <a:pt x="698" y="3490"/>
                    </a:lnTo>
                    <a:lnTo>
                      <a:pt x="698" y="3490"/>
                    </a:lnTo>
                    <a:close/>
                    <a:moveTo>
                      <a:pt x="294" y="3084"/>
                    </a:moveTo>
                    <a:lnTo>
                      <a:pt x="294" y="3084"/>
                    </a:lnTo>
                    <a:lnTo>
                      <a:pt x="298" y="3086"/>
                    </a:lnTo>
                    <a:lnTo>
                      <a:pt x="300" y="3084"/>
                    </a:lnTo>
                    <a:lnTo>
                      <a:pt x="300" y="3084"/>
                    </a:lnTo>
                    <a:lnTo>
                      <a:pt x="300" y="3082"/>
                    </a:lnTo>
                    <a:lnTo>
                      <a:pt x="298" y="3080"/>
                    </a:lnTo>
                    <a:lnTo>
                      <a:pt x="292" y="3078"/>
                    </a:lnTo>
                    <a:lnTo>
                      <a:pt x="292" y="3078"/>
                    </a:lnTo>
                    <a:lnTo>
                      <a:pt x="286" y="3078"/>
                    </a:lnTo>
                    <a:lnTo>
                      <a:pt x="282" y="3078"/>
                    </a:lnTo>
                    <a:lnTo>
                      <a:pt x="276" y="3080"/>
                    </a:lnTo>
                    <a:lnTo>
                      <a:pt x="274" y="3082"/>
                    </a:lnTo>
                    <a:lnTo>
                      <a:pt x="274" y="3082"/>
                    </a:lnTo>
                    <a:lnTo>
                      <a:pt x="274" y="3084"/>
                    </a:lnTo>
                    <a:lnTo>
                      <a:pt x="274" y="3084"/>
                    </a:lnTo>
                    <a:lnTo>
                      <a:pt x="280" y="3084"/>
                    </a:lnTo>
                    <a:lnTo>
                      <a:pt x="288" y="3084"/>
                    </a:lnTo>
                    <a:lnTo>
                      <a:pt x="294" y="3084"/>
                    </a:lnTo>
                    <a:lnTo>
                      <a:pt x="294" y="3084"/>
                    </a:lnTo>
                    <a:close/>
                    <a:moveTo>
                      <a:pt x="338" y="3318"/>
                    </a:moveTo>
                    <a:lnTo>
                      <a:pt x="338" y="3318"/>
                    </a:lnTo>
                    <a:lnTo>
                      <a:pt x="330" y="3322"/>
                    </a:lnTo>
                    <a:lnTo>
                      <a:pt x="328" y="3324"/>
                    </a:lnTo>
                    <a:lnTo>
                      <a:pt x="330" y="3326"/>
                    </a:lnTo>
                    <a:lnTo>
                      <a:pt x="330" y="3326"/>
                    </a:lnTo>
                    <a:lnTo>
                      <a:pt x="330" y="3326"/>
                    </a:lnTo>
                    <a:lnTo>
                      <a:pt x="334" y="3326"/>
                    </a:lnTo>
                    <a:lnTo>
                      <a:pt x="338" y="3322"/>
                    </a:lnTo>
                    <a:lnTo>
                      <a:pt x="338" y="3318"/>
                    </a:lnTo>
                    <a:lnTo>
                      <a:pt x="338" y="3318"/>
                    </a:lnTo>
                    <a:lnTo>
                      <a:pt x="338" y="3318"/>
                    </a:lnTo>
                    <a:lnTo>
                      <a:pt x="338" y="3318"/>
                    </a:lnTo>
                    <a:close/>
                    <a:moveTo>
                      <a:pt x="292" y="3034"/>
                    </a:moveTo>
                    <a:lnTo>
                      <a:pt x="292" y="3034"/>
                    </a:lnTo>
                    <a:lnTo>
                      <a:pt x="290" y="3032"/>
                    </a:lnTo>
                    <a:lnTo>
                      <a:pt x="288" y="3030"/>
                    </a:lnTo>
                    <a:lnTo>
                      <a:pt x="284" y="3030"/>
                    </a:lnTo>
                    <a:lnTo>
                      <a:pt x="282" y="3034"/>
                    </a:lnTo>
                    <a:lnTo>
                      <a:pt x="282" y="3034"/>
                    </a:lnTo>
                    <a:lnTo>
                      <a:pt x="284" y="3036"/>
                    </a:lnTo>
                    <a:lnTo>
                      <a:pt x="286" y="3038"/>
                    </a:lnTo>
                    <a:lnTo>
                      <a:pt x="290" y="3036"/>
                    </a:lnTo>
                    <a:lnTo>
                      <a:pt x="292" y="3034"/>
                    </a:lnTo>
                    <a:lnTo>
                      <a:pt x="292" y="3034"/>
                    </a:lnTo>
                    <a:close/>
                    <a:moveTo>
                      <a:pt x="420" y="3442"/>
                    </a:moveTo>
                    <a:lnTo>
                      <a:pt x="420" y="3442"/>
                    </a:lnTo>
                    <a:lnTo>
                      <a:pt x="420" y="3446"/>
                    </a:lnTo>
                    <a:lnTo>
                      <a:pt x="424" y="3452"/>
                    </a:lnTo>
                    <a:lnTo>
                      <a:pt x="440" y="3462"/>
                    </a:lnTo>
                    <a:lnTo>
                      <a:pt x="440" y="3462"/>
                    </a:lnTo>
                    <a:lnTo>
                      <a:pt x="444" y="3464"/>
                    </a:lnTo>
                    <a:lnTo>
                      <a:pt x="444" y="3462"/>
                    </a:lnTo>
                    <a:lnTo>
                      <a:pt x="442" y="3458"/>
                    </a:lnTo>
                    <a:lnTo>
                      <a:pt x="438" y="3454"/>
                    </a:lnTo>
                    <a:lnTo>
                      <a:pt x="438" y="3454"/>
                    </a:lnTo>
                    <a:lnTo>
                      <a:pt x="430" y="3446"/>
                    </a:lnTo>
                    <a:lnTo>
                      <a:pt x="430" y="3446"/>
                    </a:lnTo>
                    <a:lnTo>
                      <a:pt x="434" y="3448"/>
                    </a:lnTo>
                    <a:lnTo>
                      <a:pt x="434" y="3448"/>
                    </a:lnTo>
                    <a:lnTo>
                      <a:pt x="438" y="3450"/>
                    </a:lnTo>
                    <a:lnTo>
                      <a:pt x="442" y="3450"/>
                    </a:lnTo>
                    <a:lnTo>
                      <a:pt x="442" y="3448"/>
                    </a:lnTo>
                    <a:lnTo>
                      <a:pt x="440" y="3444"/>
                    </a:lnTo>
                    <a:lnTo>
                      <a:pt x="440" y="3444"/>
                    </a:lnTo>
                    <a:lnTo>
                      <a:pt x="436" y="3438"/>
                    </a:lnTo>
                    <a:lnTo>
                      <a:pt x="434" y="3432"/>
                    </a:lnTo>
                    <a:lnTo>
                      <a:pt x="434" y="3420"/>
                    </a:lnTo>
                    <a:lnTo>
                      <a:pt x="434" y="3420"/>
                    </a:lnTo>
                    <a:lnTo>
                      <a:pt x="434" y="3418"/>
                    </a:lnTo>
                    <a:lnTo>
                      <a:pt x="434" y="3420"/>
                    </a:lnTo>
                    <a:lnTo>
                      <a:pt x="430" y="3422"/>
                    </a:lnTo>
                    <a:lnTo>
                      <a:pt x="426" y="3428"/>
                    </a:lnTo>
                    <a:lnTo>
                      <a:pt x="426" y="3432"/>
                    </a:lnTo>
                    <a:lnTo>
                      <a:pt x="426" y="3432"/>
                    </a:lnTo>
                    <a:lnTo>
                      <a:pt x="426" y="3436"/>
                    </a:lnTo>
                    <a:lnTo>
                      <a:pt x="424" y="3436"/>
                    </a:lnTo>
                    <a:lnTo>
                      <a:pt x="422" y="3436"/>
                    </a:lnTo>
                    <a:lnTo>
                      <a:pt x="420" y="3442"/>
                    </a:lnTo>
                    <a:lnTo>
                      <a:pt x="420" y="3442"/>
                    </a:lnTo>
                    <a:close/>
                    <a:moveTo>
                      <a:pt x="272" y="3186"/>
                    </a:moveTo>
                    <a:lnTo>
                      <a:pt x="272" y="3186"/>
                    </a:lnTo>
                    <a:lnTo>
                      <a:pt x="270" y="3186"/>
                    </a:lnTo>
                    <a:lnTo>
                      <a:pt x="270" y="3186"/>
                    </a:lnTo>
                    <a:lnTo>
                      <a:pt x="272" y="3180"/>
                    </a:lnTo>
                    <a:lnTo>
                      <a:pt x="272" y="3180"/>
                    </a:lnTo>
                    <a:lnTo>
                      <a:pt x="274" y="3174"/>
                    </a:lnTo>
                    <a:lnTo>
                      <a:pt x="274" y="3168"/>
                    </a:lnTo>
                    <a:lnTo>
                      <a:pt x="274" y="3150"/>
                    </a:lnTo>
                    <a:lnTo>
                      <a:pt x="274" y="3150"/>
                    </a:lnTo>
                    <a:lnTo>
                      <a:pt x="272" y="3136"/>
                    </a:lnTo>
                    <a:lnTo>
                      <a:pt x="272" y="3132"/>
                    </a:lnTo>
                    <a:lnTo>
                      <a:pt x="270" y="3132"/>
                    </a:lnTo>
                    <a:lnTo>
                      <a:pt x="270" y="3132"/>
                    </a:lnTo>
                    <a:lnTo>
                      <a:pt x="266" y="3132"/>
                    </a:lnTo>
                    <a:lnTo>
                      <a:pt x="264" y="3130"/>
                    </a:lnTo>
                    <a:lnTo>
                      <a:pt x="262" y="3130"/>
                    </a:lnTo>
                    <a:lnTo>
                      <a:pt x="258" y="3132"/>
                    </a:lnTo>
                    <a:lnTo>
                      <a:pt x="258" y="3132"/>
                    </a:lnTo>
                    <a:lnTo>
                      <a:pt x="252" y="3136"/>
                    </a:lnTo>
                    <a:lnTo>
                      <a:pt x="250" y="3138"/>
                    </a:lnTo>
                    <a:lnTo>
                      <a:pt x="252" y="3140"/>
                    </a:lnTo>
                    <a:lnTo>
                      <a:pt x="252" y="3140"/>
                    </a:lnTo>
                    <a:lnTo>
                      <a:pt x="254" y="3142"/>
                    </a:lnTo>
                    <a:lnTo>
                      <a:pt x="254" y="3144"/>
                    </a:lnTo>
                    <a:lnTo>
                      <a:pt x="254" y="3146"/>
                    </a:lnTo>
                    <a:lnTo>
                      <a:pt x="256" y="3148"/>
                    </a:lnTo>
                    <a:lnTo>
                      <a:pt x="256" y="3148"/>
                    </a:lnTo>
                    <a:lnTo>
                      <a:pt x="258" y="3150"/>
                    </a:lnTo>
                    <a:lnTo>
                      <a:pt x="260" y="3154"/>
                    </a:lnTo>
                    <a:lnTo>
                      <a:pt x="258" y="3164"/>
                    </a:lnTo>
                    <a:lnTo>
                      <a:pt x="258" y="3164"/>
                    </a:lnTo>
                    <a:lnTo>
                      <a:pt x="256" y="3166"/>
                    </a:lnTo>
                    <a:lnTo>
                      <a:pt x="252" y="3164"/>
                    </a:lnTo>
                    <a:lnTo>
                      <a:pt x="250" y="3162"/>
                    </a:lnTo>
                    <a:lnTo>
                      <a:pt x="246" y="3162"/>
                    </a:lnTo>
                    <a:lnTo>
                      <a:pt x="246" y="3162"/>
                    </a:lnTo>
                    <a:lnTo>
                      <a:pt x="244" y="3164"/>
                    </a:lnTo>
                    <a:lnTo>
                      <a:pt x="242" y="3162"/>
                    </a:lnTo>
                    <a:lnTo>
                      <a:pt x="242" y="3162"/>
                    </a:lnTo>
                    <a:lnTo>
                      <a:pt x="238" y="3162"/>
                    </a:lnTo>
                    <a:lnTo>
                      <a:pt x="238" y="3162"/>
                    </a:lnTo>
                    <a:lnTo>
                      <a:pt x="236" y="3164"/>
                    </a:lnTo>
                    <a:lnTo>
                      <a:pt x="234" y="3168"/>
                    </a:lnTo>
                    <a:lnTo>
                      <a:pt x="236" y="3172"/>
                    </a:lnTo>
                    <a:lnTo>
                      <a:pt x="238" y="3178"/>
                    </a:lnTo>
                    <a:lnTo>
                      <a:pt x="238" y="3178"/>
                    </a:lnTo>
                    <a:lnTo>
                      <a:pt x="242" y="3184"/>
                    </a:lnTo>
                    <a:lnTo>
                      <a:pt x="244" y="3190"/>
                    </a:lnTo>
                    <a:lnTo>
                      <a:pt x="246" y="3194"/>
                    </a:lnTo>
                    <a:lnTo>
                      <a:pt x="248" y="3200"/>
                    </a:lnTo>
                    <a:lnTo>
                      <a:pt x="248" y="3200"/>
                    </a:lnTo>
                    <a:lnTo>
                      <a:pt x="250" y="3200"/>
                    </a:lnTo>
                    <a:lnTo>
                      <a:pt x="252" y="3200"/>
                    </a:lnTo>
                    <a:lnTo>
                      <a:pt x="254" y="3196"/>
                    </a:lnTo>
                    <a:lnTo>
                      <a:pt x="254" y="3190"/>
                    </a:lnTo>
                    <a:lnTo>
                      <a:pt x="252" y="3184"/>
                    </a:lnTo>
                    <a:lnTo>
                      <a:pt x="252" y="3184"/>
                    </a:lnTo>
                    <a:lnTo>
                      <a:pt x="250" y="3180"/>
                    </a:lnTo>
                    <a:lnTo>
                      <a:pt x="252" y="3178"/>
                    </a:lnTo>
                    <a:lnTo>
                      <a:pt x="254" y="3178"/>
                    </a:lnTo>
                    <a:lnTo>
                      <a:pt x="258" y="3182"/>
                    </a:lnTo>
                    <a:lnTo>
                      <a:pt x="258" y="3182"/>
                    </a:lnTo>
                    <a:lnTo>
                      <a:pt x="262" y="3184"/>
                    </a:lnTo>
                    <a:lnTo>
                      <a:pt x="262" y="3186"/>
                    </a:lnTo>
                    <a:lnTo>
                      <a:pt x="260" y="3186"/>
                    </a:lnTo>
                    <a:lnTo>
                      <a:pt x="258" y="3190"/>
                    </a:lnTo>
                    <a:lnTo>
                      <a:pt x="258" y="3190"/>
                    </a:lnTo>
                    <a:lnTo>
                      <a:pt x="258" y="3192"/>
                    </a:lnTo>
                    <a:lnTo>
                      <a:pt x="258" y="3194"/>
                    </a:lnTo>
                    <a:lnTo>
                      <a:pt x="258" y="3194"/>
                    </a:lnTo>
                    <a:lnTo>
                      <a:pt x="258" y="3198"/>
                    </a:lnTo>
                    <a:lnTo>
                      <a:pt x="258" y="3198"/>
                    </a:lnTo>
                    <a:lnTo>
                      <a:pt x="258" y="3202"/>
                    </a:lnTo>
                    <a:lnTo>
                      <a:pt x="258" y="3206"/>
                    </a:lnTo>
                    <a:lnTo>
                      <a:pt x="260" y="3208"/>
                    </a:lnTo>
                    <a:lnTo>
                      <a:pt x="266" y="3208"/>
                    </a:lnTo>
                    <a:lnTo>
                      <a:pt x="266" y="3208"/>
                    </a:lnTo>
                    <a:lnTo>
                      <a:pt x="270" y="3208"/>
                    </a:lnTo>
                    <a:lnTo>
                      <a:pt x="272" y="3206"/>
                    </a:lnTo>
                    <a:lnTo>
                      <a:pt x="274" y="3200"/>
                    </a:lnTo>
                    <a:lnTo>
                      <a:pt x="274" y="3194"/>
                    </a:lnTo>
                    <a:lnTo>
                      <a:pt x="276" y="3192"/>
                    </a:lnTo>
                    <a:lnTo>
                      <a:pt x="276" y="3192"/>
                    </a:lnTo>
                    <a:lnTo>
                      <a:pt x="276" y="3190"/>
                    </a:lnTo>
                    <a:lnTo>
                      <a:pt x="276" y="3188"/>
                    </a:lnTo>
                    <a:lnTo>
                      <a:pt x="276" y="3186"/>
                    </a:lnTo>
                    <a:lnTo>
                      <a:pt x="272" y="3186"/>
                    </a:lnTo>
                    <a:lnTo>
                      <a:pt x="272" y="318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sp>
            <p:nvSpPr>
              <p:cNvPr id="57" name="Freeform 5963"/>
              <p:cNvSpPr>
                <a:spLocks/>
              </p:cNvSpPr>
              <p:nvPr/>
            </p:nvSpPr>
            <p:spPr bwMode="auto">
              <a:xfrm>
                <a:off x="4301831" y="1967427"/>
                <a:ext cx="6637" cy="3318"/>
              </a:xfrm>
              <a:custGeom>
                <a:avLst/>
                <a:gdLst>
                  <a:gd name="T0" fmla="*/ 2147483647 w 8"/>
                  <a:gd name="T1" fmla="*/ 2147483647 h 6"/>
                  <a:gd name="T2" fmla="*/ 2147483647 w 8"/>
                  <a:gd name="T3" fmla="*/ 2147483647 h 6"/>
                  <a:gd name="T4" fmla="*/ 2147483647 w 8"/>
                  <a:gd name="T5" fmla="*/ 2147483647 h 6"/>
                  <a:gd name="T6" fmla="*/ 2147483647 w 8"/>
                  <a:gd name="T7" fmla="*/ 2147483647 h 6"/>
                  <a:gd name="T8" fmla="*/ 2147483647 w 8"/>
                  <a:gd name="T9" fmla="*/ 2147483647 h 6"/>
                  <a:gd name="T10" fmla="*/ 2147483647 w 8"/>
                  <a:gd name="T11" fmla="*/ 0 h 6"/>
                  <a:gd name="T12" fmla="*/ 2147483647 w 8"/>
                  <a:gd name="T13" fmla="*/ 0 h 6"/>
                  <a:gd name="T14" fmla="*/ 2147483647 w 8"/>
                  <a:gd name="T15" fmla="*/ 0 h 6"/>
                  <a:gd name="T16" fmla="*/ 2147483647 w 8"/>
                  <a:gd name="T17" fmla="*/ 2147483647 h 6"/>
                  <a:gd name="T18" fmla="*/ 0 w 8"/>
                  <a:gd name="T19" fmla="*/ 2147483647 h 6"/>
                  <a:gd name="T20" fmla="*/ 2147483647 w 8"/>
                  <a:gd name="T21" fmla="*/ 2147483647 h 6"/>
                  <a:gd name="T22" fmla="*/ 2147483647 w 8"/>
                  <a:gd name="T23" fmla="*/ 2147483647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6"/>
                  <a:gd name="T38" fmla="*/ 8 w 8"/>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6">
                    <a:moveTo>
                      <a:pt x="2" y="6"/>
                    </a:moveTo>
                    <a:lnTo>
                      <a:pt x="2" y="6"/>
                    </a:lnTo>
                    <a:lnTo>
                      <a:pt x="4" y="6"/>
                    </a:lnTo>
                    <a:lnTo>
                      <a:pt x="6" y="4"/>
                    </a:lnTo>
                    <a:lnTo>
                      <a:pt x="8" y="2"/>
                    </a:lnTo>
                    <a:lnTo>
                      <a:pt x="8" y="0"/>
                    </a:lnTo>
                    <a:lnTo>
                      <a:pt x="4" y="0"/>
                    </a:lnTo>
                    <a:lnTo>
                      <a:pt x="2" y="2"/>
                    </a:lnTo>
                    <a:lnTo>
                      <a:pt x="0" y="4"/>
                    </a:lnTo>
                    <a:lnTo>
                      <a:pt x="2"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58" name="Freeform 5964"/>
              <p:cNvSpPr>
                <a:spLocks/>
              </p:cNvSpPr>
              <p:nvPr/>
            </p:nvSpPr>
            <p:spPr bwMode="auto">
              <a:xfrm>
                <a:off x="4281919" y="1990652"/>
                <a:ext cx="6637" cy="3318"/>
              </a:xfrm>
              <a:custGeom>
                <a:avLst/>
                <a:gdLst>
                  <a:gd name="T0" fmla="*/ 2147483647 w 10"/>
                  <a:gd name="T1" fmla="*/ 2147483647 h 8"/>
                  <a:gd name="T2" fmla="*/ 2147483647 w 10"/>
                  <a:gd name="T3" fmla="*/ 2147483647 h 8"/>
                  <a:gd name="T4" fmla="*/ 2147483647 w 10"/>
                  <a:gd name="T5" fmla="*/ 0 h 8"/>
                  <a:gd name="T6" fmla="*/ 2147483647 w 10"/>
                  <a:gd name="T7" fmla="*/ 0 h 8"/>
                  <a:gd name="T8" fmla="*/ 0 w 10"/>
                  <a:gd name="T9" fmla="*/ 2147483647 h 8"/>
                  <a:gd name="T10" fmla="*/ 0 w 10"/>
                  <a:gd name="T11" fmla="*/ 2147483647 h 8"/>
                  <a:gd name="T12" fmla="*/ 0 w 10"/>
                  <a:gd name="T13" fmla="*/ 2147483647 h 8"/>
                  <a:gd name="T14" fmla="*/ 2147483647 w 10"/>
                  <a:gd name="T15" fmla="*/ 2147483647 h 8"/>
                  <a:gd name="T16" fmla="*/ 2147483647 w 10"/>
                  <a:gd name="T17" fmla="*/ 2147483647 h 8"/>
                  <a:gd name="T18" fmla="*/ 2147483647 w 10"/>
                  <a:gd name="T19" fmla="*/ 2147483647 h 8"/>
                  <a:gd name="T20" fmla="*/ 2147483647 w 10"/>
                  <a:gd name="T21" fmla="*/ 2147483647 h 8"/>
                  <a:gd name="T22" fmla="*/ 2147483647 w 10"/>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8"/>
                  <a:gd name="T38" fmla="*/ 10 w 10"/>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8">
                    <a:moveTo>
                      <a:pt x="10" y="2"/>
                    </a:moveTo>
                    <a:lnTo>
                      <a:pt x="10" y="2"/>
                    </a:lnTo>
                    <a:lnTo>
                      <a:pt x="8" y="0"/>
                    </a:lnTo>
                    <a:lnTo>
                      <a:pt x="4" y="0"/>
                    </a:lnTo>
                    <a:lnTo>
                      <a:pt x="0" y="4"/>
                    </a:lnTo>
                    <a:lnTo>
                      <a:pt x="0" y="6"/>
                    </a:lnTo>
                    <a:lnTo>
                      <a:pt x="2" y="8"/>
                    </a:lnTo>
                    <a:lnTo>
                      <a:pt x="6" y="6"/>
                    </a:lnTo>
                    <a:lnTo>
                      <a:pt x="10" y="4"/>
                    </a:lnTo>
                    <a:lnTo>
                      <a:pt x="1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59" name="Freeform 5965"/>
              <p:cNvSpPr>
                <a:spLocks/>
              </p:cNvSpPr>
              <p:nvPr/>
            </p:nvSpPr>
            <p:spPr bwMode="auto">
              <a:xfrm>
                <a:off x="4296852" y="1977380"/>
                <a:ext cx="8297" cy="4977"/>
              </a:xfrm>
              <a:custGeom>
                <a:avLst/>
                <a:gdLst>
                  <a:gd name="T0" fmla="*/ 0 w 14"/>
                  <a:gd name="T1" fmla="*/ 2147483647 h 8"/>
                  <a:gd name="T2" fmla="*/ 0 w 14"/>
                  <a:gd name="T3" fmla="*/ 2147483647 h 8"/>
                  <a:gd name="T4" fmla="*/ 0 w 14"/>
                  <a:gd name="T5" fmla="*/ 2147483647 h 8"/>
                  <a:gd name="T6" fmla="*/ 0 w 14"/>
                  <a:gd name="T7" fmla="*/ 2147483647 h 8"/>
                  <a:gd name="T8" fmla="*/ 2147483647 w 14"/>
                  <a:gd name="T9" fmla="*/ 2147483647 h 8"/>
                  <a:gd name="T10" fmla="*/ 2147483647 w 14"/>
                  <a:gd name="T11" fmla="*/ 2147483647 h 8"/>
                  <a:gd name="T12" fmla="*/ 2147483647 w 14"/>
                  <a:gd name="T13" fmla="*/ 2147483647 h 8"/>
                  <a:gd name="T14" fmla="*/ 2147483647 w 14"/>
                  <a:gd name="T15" fmla="*/ 0 h 8"/>
                  <a:gd name="T16" fmla="*/ 2147483647 w 14"/>
                  <a:gd name="T17" fmla="*/ 0 h 8"/>
                  <a:gd name="T18" fmla="*/ 2147483647 w 14"/>
                  <a:gd name="T19" fmla="*/ 0 h 8"/>
                  <a:gd name="T20" fmla="*/ 2147483647 w 14"/>
                  <a:gd name="T21" fmla="*/ 2147483647 h 8"/>
                  <a:gd name="T22" fmla="*/ 0 w 14"/>
                  <a:gd name="T23" fmla="*/ 2147483647 h 8"/>
                  <a:gd name="T24" fmla="*/ 0 w 14"/>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8"/>
                  <a:gd name="T41" fmla="*/ 14 w 1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8">
                    <a:moveTo>
                      <a:pt x="0" y="6"/>
                    </a:moveTo>
                    <a:lnTo>
                      <a:pt x="0" y="6"/>
                    </a:lnTo>
                    <a:lnTo>
                      <a:pt x="0" y="8"/>
                    </a:lnTo>
                    <a:lnTo>
                      <a:pt x="8" y="6"/>
                    </a:lnTo>
                    <a:lnTo>
                      <a:pt x="14" y="2"/>
                    </a:lnTo>
                    <a:lnTo>
                      <a:pt x="12" y="0"/>
                    </a:lnTo>
                    <a:lnTo>
                      <a:pt x="4" y="0"/>
                    </a:lnTo>
                    <a:lnTo>
                      <a:pt x="2" y="2"/>
                    </a:lnTo>
                    <a:lnTo>
                      <a:pt x="0"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0" name="Freeform 5966"/>
              <p:cNvSpPr>
                <a:spLocks/>
              </p:cNvSpPr>
              <p:nvPr/>
            </p:nvSpPr>
            <p:spPr bwMode="auto">
              <a:xfrm>
                <a:off x="4286897" y="2010559"/>
                <a:ext cx="6637" cy="3318"/>
              </a:xfrm>
              <a:custGeom>
                <a:avLst/>
                <a:gdLst>
                  <a:gd name="T0" fmla="*/ 2147483647 w 14"/>
                  <a:gd name="T1" fmla="*/ 2147483647 h 8"/>
                  <a:gd name="T2" fmla="*/ 2147483647 w 14"/>
                  <a:gd name="T3" fmla="*/ 2147483647 h 8"/>
                  <a:gd name="T4" fmla="*/ 2147483647 w 14"/>
                  <a:gd name="T5" fmla="*/ 2147483647 h 8"/>
                  <a:gd name="T6" fmla="*/ 2147483647 w 14"/>
                  <a:gd name="T7" fmla="*/ 2147483647 h 8"/>
                  <a:gd name="T8" fmla="*/ 2147483647 w 14"/>
                  <a:gd name="T9" fmla="*/ 0 h 8"/>
                  <a:gd name="T10" fmla="*/ 2147483647 w 14"/>
                  <a:gd name="T11" fmla="*/ 2147483647 h 8"/>
                  <a:gd name="T12" fmla="*/ 2147483647 w 14"/>
                  <a:gd name="T13" fmla="*/ 2147483647 h 8"/>
                  <a:gd name="T14" fmla="*/ 2147483647 w 14"/>
                  <a:gd name="T15" fmla="*/ 2147483647 h 8"/>
                  <a:gd name="T16" fmla="*/ 2147483647 w 14"/>
                  <a:gd name="T17" fmla="*/ 2147483647 h 8"/>
                  <a:gd name="T18" fmla="*/ 2147483647 w 14"/>
                  <a:gd name="T19" fmla="*/ 2147483647 h 8"/>
                  <a:gd name="T20" fmla="*/ 0 w 14"/>
                  <a:gd name="T21" fmla="*/ 2147483647 h 8"/>
                  <a:gd name="T22" fmla="*/ 2147483647 w 14"/>
                  <a:gd name="T23" fmla="*/ 2147483647 h 8"/>
                  <a:gd name="T24" fmla="*/ 2147483647 w 14"/>
                  <a:gd name="T25" fmla="*/ 2147483647 h 8"/>
                  <a:gd name="T26" fmla="*/ 2147483647 w 14"/>
                  <a:gd name="T27" fmla="*/ 2147483647 h 8"/>
                  <a:gd name="T28" fmla="*/ 2147483647 w 14"/>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8"/>
                  <a:gd name="T47" fmla="*/ 14 w 14"/>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8">
                    <a:moveTo>
                      <a:pt x="12" y="6"/>
                    </a:moveTo>
                    <a:lnTo>
                      <a:pt x="12" y="6"/>
                    </a:lnTo>
                    <a:lnTo>
                      <a:pt x="14" y="4"/>
                    </a:lnTo>
                    <a:lnTo>
                      <a:pt x="14" y="2"/>
                    </a:lnTo>
                    <a:lnTo>
                      <a:pt x="10" y="0"/>
                    </a:lnTo>
                    <a:lnTo>
                      <a:pt x="6" y="2"/>
                    </a:lnTo>
                    <a:lnTo>
                      <a:pt x="6" y="4"/>
                    </a:lnTo>
                    <a:lnTo>
                      <a:pt x="2" y="6"/>
                    </a:lnTo>
                    <a:lnTo>
                      <a:pt x="0" y="8"/>
                    </a:lnTo>
                    <a:lnTo>
                      <a:pt x="4" y="8"/>
                    </a:lnTo>
                    <a:lnTo>
                      <a:pt x="8" y="8"/>
                    </a:lnTo>
                    <a:lnTo>
                      <a:pt x="12"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1" name="Freeform 5967"/>
              <p:cNvSpPr>
                <a:spLocks/>
              </p:cNvSpPr>
              <p:nvPr/>
            </p:nvSpPr>
            <p:spPr bwMode="auto">
              <a:xfrm>
                <a:off x="4288557" y="1997288"/>
                <a:ext cx="8296" cy="11613"/>
              </a:xfrm>
              <a:custGeom>
                <a:avLst/>
                <a:gdLst>
                  <a:gd name="T0" fmla="*/ 2147483647 w 16"/>
                  <a:gd name="T1" fmla="*/ 2147483647 h 22"/>
                  <a:gd name="T2" fmla="*/ 2147483647 w 16"/>
                  <a:gd name="T3" fmla="*/ 2147483647 h 22"/>
                  <a:gd name="T4" fmla="*/ 2147483647 w 16"/>
                  <a:gd name="T5" fmla="*/ 0 h 22"/>
                  <a:gd name="T6" fmla="*/ 2147483647 w 16"/>
                  <a:gd name="T7" fmla="*/ 0 h 22"/>
                  <a:gd name="T8" fmla="*/ 2147483647 w 16"/>
                  <a:gd name="T9" fmla="*/ 2147483647 h 22"/>
                  <a:gd name="T10" fmla="*/ 2147483647 w 16"/>
                  <a:gd name="T11" fmla="*/ 2147483647 h 22"/>
                  <a:gd name="T12" fmla="*/ 2147483647 w 16"/>
                  <a:gd name="T13" fmla="*/ 2147483647 h 22"/>
                  <a:gd name="T14" fmla="*/ 2147483647 w 16"/>
                  <a:gd name="T15" fmla="*/ 2147483647 h 22"/>
                  <a:gd name="T16" fmla="*/ 2147483647 w 16"/>
                  <a:gd name="T17" fmla="*/ 2147483647 h 22"/>
                  <a:gd name="T18" fmla="*/ 2147483647 w 16"/>
                  <a:gd name="T19" fmla="*/ 2147483647 h 22"/>
                  <a:gd name="T20" fmla="*/ 2147483647 w 16"/>
                  <a:gd name="T21" fmla="*/ 2147483647 h 22"/>
                  <a:gd name="T22" fmla="*/ 2147483647 w 16"/>
                  <a:gd name="T23" fmla="*/ 2147483647 h 22"/>
                  <a:gd name="T24" fmla="*/ 0 w 16"/>
                  <a:gd name="T25" fmla="*/ 2147483647 h 22"/>
                  <a:gd name="T26" fmla="*/ 0 w 16"/>
                  <a:gd name="T27" fmla="*/ 2147483647 h 22"/>
                  <a:gd name="T28" fmla="*/ 2147483647 w 16"/>
                  <a:gd name="T29" fmla="*/ 2147483647 h 22"/>
                  <a:gd name="T30" fmla="*/ 2147483647 w 16"/>
                  <a:gd name="T31" fmla="*/ 2147483647 h 22"/>
                  <a:gd name="T32" fmla="*/ 2147483647 w 16"/>
                  <a:gd name="T33" fmla="*/ 2147483647 h 22"/>
                  <a:gd name="T34" fmla="*/ 2147483647 w 16"/>
                  <a:gd name="T35" fmla="*/ 2147483647 h 22"/>
                  <a:gd name="T36" fmla="*/ 2147483647 w 16"/>
                  <a:gd name="T37" fmla="*/ 2147483647 h 22"/>
                  <a:gd name="T38" fmla="*/ 2147483647 w 16"/>
                  <a:gd name="T39" fmla="*/ 2147483647 h 22"/>
                  <a:gd name="T40" fmla="*/ 2147483647 w 16"/>
                  <a:gd name="T41" fmla="*/ 2147483647 h 22"/>
                  <a:gd name="T42" fmla="*/ 2147483647 w 16"/>
                  <a:gd name="T43" fmla="*/ 2147483647 h 22"/>
                  <a:gd name="T44" fmla="*/ 2147483647 w 16"/>
                  <a:gd name="T45" fmla="*/ 2147483647 h 22"/>
                  <a:gd name="T46" fmla="*/ 2147483647 w 16"/>
                  <a:gd name="T47" fmla="*/ 2147483647 h 22"/>
                  <a:gd name="T48" fmla="*/ 2147483647 w 16"/>
                  <a:gd name="T49" fmla="*/ 2147483647 h 2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
                  <a:gd name="T76" fmla="*/ 0 h 22"/>
                  <a:gd name="T77" fmla="*/ 16 w 16"/>
                  <a:gd name="T78" fmla="*/ 22 h 2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 h="22">
                    <a:moveTo>
                      <a:pt x="14" y="6"/>
                    </a:moveTo>
                    <a:lnTo>
                      <a:pt x="14" y="6"/>
                    </a:lnTo>
                    <a:lnTo>
                      <a:pt x="10" y="0"/>
                    </a:lnTo>
                    <a:lnTo>
                      <a:pt x="8" y="0"/>
                    </a:lnTo>
                    <a:lnTo>
                      <a:pt x="8" y="4"/>
                    </a:lnTo>
                    <a:lnTo>
                      <a:pt x="6" y="8"/>
                    </a:lnTo>
                    <a:lnTo>
                      <a:pt x="4" y="10"/>
                    </a:lnTo>
                    <a:lnTo>
                      <a:pt x="2" y="14"/>
                    </a:lnTo>
                    <a:lnTo>
                      <a:pt x="2" y="18"/>
                    </a:lnTo>
                    <a:lnTo>
                      <a:pt x="0" y="20"/>
                    </a:lnTo>
                    <a:lnTo>
                      <a:pt x="0" y="22"/>
                    </a:lnTo>
                    <a:lnTo>
                      <a:pt x="2" y="22"/>
                    </a:lnTo>
                    <a:lnTo>
                      <a:pt x="6" y="22"/>
                    </a:lnTo>
                    <a:lnTo>
                      <a:pt x="6" y="18"/>
                    </a:lnTo>
                    <a:lnTo>
                      <a:pt x="8" y="16"/>
                    </a:lnTo>
                    <a:lnTo>
                      <a:pt x="10" y="14"/>
                    </a:lnTo>
                    <a:lnTo>
                      <a:pt x="14" y="12"/>
                    </a:lnTo>
                    <a:lnTo>
                      <a:pt x="16" y="10"/>
                    </a:lnTo>
                    <a:lnTo>
                      <a:pt x="14"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2" name="Freeform 5968"/>
              <p:cNvSpPr>
                <a:spLocks/>
              </p:cNvSpPr>
              <p:nvPr/>
            </p:nvSpPr>
            <p:spPr bwMode="auto">
              <a:xfrm>
                <a:off x="4276941" y="2012219"/>
                <a:ext cx="8297" cy="3318"/>
              </a:xfrm>
              <a:custGeom>
                <a:avLst/>
                <a:gdLst>
                  <a:gd name="T0" fmla="*/ 0 w 12"/>
                  <a:gd name="T1" fmla="*/ 2147483647 h 6"/>
                  <a:gd name="T2" fmla="*/ 0 w 12"/>
                  <a:gd name="T3" fmla="*/ 2147483647 h 6"/>
                  <a:gd name="T4" fmla="*/ 0 w 12"/>
                  <a:gd name="T5" fmla="*/ 2147483647 h 6"/>
                  <a:gd name="T6" fmla="*/ 2147483647 w 12"/>
                  <a:gd name="T7" fmla="*/ 2147483647 h 6"/>
                  <a:gd name="T8" fmla="*/ 2147483647 w 12"/>
                  <a:gd name="T9" fmla="*/ 2147483647 h 6"/>
                  <a:gd name="T10" fmla="*/ 2147483647 w 12"/>
                  <a:gd name="T11" fmla="*/ 2147483647 h 6"/>
                  <a:gd name="T12" fmla="*/ 2147483647 w 12"/>
                  <a:gd name="T13" fmla="*/ 2147483647 h 6"/>
                  <a:gd name="T14" fmla="*/ 2147483647 w 12"/>
                  <a:gd name="T15" fmla="*/ 0 h 6"/>
                  <a:gd name="T16" fmla="*/ 2147483647 w 12"/>
                  <a:gd name="T17" fmla="*/ 2147483647 h 6"/>
                  <a:gd name="T18" fmla="*/ 0 w 12"/>
                  <a:gd name="T19" fmla="*/ 2147483647 h 6"/>
                  <a:gd name="T20" fmla="*/ 0 w 12"/>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6"/>
                  <a:gd name="T35" fmla="*/ 12 w 12"/>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6">
                    <a:moveTo>
                      <a:pt x="0" y="4"/>
                    </a:moveTo>
                    <a:lnTo>
                      <a:pt x="0" y="4"/>
                    </a:lnTo>
                    <a:lnTo>
                      <a:pt x="0" y="6"/>
                    </a:lnTo>
                    <a:lnTo>
                      <a:pt x="2" y="6"/>
                    </a:lnTo>
                    <a:lnTo>
                      <a:pt x="10" y="4"/>
                    </a:lnTo>
                    <a:lnTo>
                      <a:pt x="12" y="2"/>
                    </a:lnTo>
                    <a:lnTo>
                      <a:pt x="8" y="0"/>
                    </a:lnTo>
                    <a:lnTo>
                      <a:pt x="4" y="2"/>
                    </a:lnTo>
                    <a:lnTo>
                      <a:pt x="0"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3" name="Freeform 5969"/>
              <p:cNvSpPr>
                <a:spLocks/>
              </p:cNvSpPr>
              <p:nvPr/>
            </p:nvSpPr>
            <p:spPr bwMode="auto">
              <a:xfrm>
                <a:off x="4295194" y="1970745"/>
                <a:ext cx="6637" cy="6636"/>
              </a:xfrm>
              <a:custGeom>
                <a:avLst/>
                <a:gdLst>
                  <a:gd name="T0" fmla="*/ 2147483647 w 12"/>
                  <a:gd name="T1" fmla="*/ 2147483647 h 12"/>
                  <a:gd name="T2" fmla="*/ 2147483647 w 12"/>
                  <a:gd name="T3" fmla="*/ 2147483647 h 12"/>
                  <a:gd name="T4" fmla="*/ 2147483647 w 12"/>
                  <a:gd name="T5" fmla="*/ 2147483647 h 12"/>
                  <a:gd name="T6" fmla="*/ 2147483647 w 12"/>
                  <a:gd name="T7" fmla="*/ 2147483647 h 12"/>
                  <a:gd name="T8" fmla="*/ 0 w 12"/>
                  <a:gd name="T9" fmla="*/ 2147483647 h 12"/>
                  <a:gd name="T10" fmla="*/ 2147483647 w 12"/>
                  <a:gd name="T11" fmla="*/ 2147483647 h 12"/>
                  <a:gd name="T12" fmla="*/ 2147483647 w 12"/>
                  <a:gd name="T13" fmla="*/ 2147483647 h 12"/>
                  <a:gd name="T14" fmla="*/ 2147483647 w 12"/>
                  <a:gd name="T15" fmla="*/ 2147483647 h 12"/>
                  <a:gd name="T16" fmla="*/ 2147483647 w 12"/>
                  <a:gd name="T17" fmla="*/ 2147483647 h 12"/>
                  <a:gd name="T18" fmla="*/ 2147483647 w 12"/>
                  <a:gd name="T19" fmla="*/ 2147483647 h 12"/>
                  <a:gd name="T20" fmla="*/ 2147483647 w 12"/>
                  <a:gd name="T21" fmla="*/ 2147483647 h 12"/>
                  <a:gd name="T22" fmla="*/ 2147483647 w 12"/>
                  <a:gd name="T23" fmla="*/ 2147483647 h 12"/>
                  <a:gd name="T24" fmla="*/ 2147483647 w 12"/>
                  <a:gd name="T25" fmla="*/ 0 h 12"/>
                  <a:gd name="T26" fmla="*/ 2147483647 w 12"/>
                  <a:gd name="T27" fmla="*/ 2147483647 h 12"/>
                  <a:gd name="T28" fmla="*/ 2147483647 w 12"/>
                  <a:gd name="T29" fmla="*/ 2147483647 h 12"/>
                  <a:gd name="T30" fmla="*/ 2147483647 w 12"/>
                  <a:gd name="T31" fmla="*/ 2147483647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12"/>
                  <a:gd name="T50" fmla="*/ 12 w 12"/>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12">
                    <a:moveTo>
                      <a:pt x="4" y="2"/>
                    </a:moveTo>
                    <a:lnTo>
                      <a:pt x="4" y="2"/>
                    </a:lnTo>
                    <a:lnTo>
                      <a:pt x="4" y="6"/>
                    </a:lnTo>
                    <a:lnTo>
                      <a:pt x="2" y="10"/>
                    </a:lnTo>
                    <a:lnTo>
                      <a:pt x="0" y="12"/>
                    </a:lnTo>
                    <a:lnTo>
                      <a:pt x="2" y="12"/>
                    </a:lnTo>
                    <a:lnTo>
                      <a:pt x="8" y="10"/>
                    </a:lnTo>
                    <a:lnTo>
                      <a:pt x="10" y="8"/>
                    </a:lnTo>
                    <a:lnTo>
                      <a:pt x="12" y="4"/>
                    </a:lnTo>
                    <a:lnTo>
                      <a:pt x="12" y="2"/>
                    </a:lnTo>
                    <a:lnTo>
                      <a:pt x="8" y="0"/>
                    </a:lnTo>
                    <a:lnTo>
                      <a:pt x="6" y="2"/>
                    </a:lnTo>
                    <a:lnTo>
                      <a:pt x="4"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4" name="Freeform 5970"/>
              <p:cNvSpPr>
                <a:spLocks/>
              </p:cNvSpPr>
              <p:nvPr/>
            </p:nvSpPr>
            <p:spPr bwMode="auto">
              <a:xfrm>
                <a:off x="3226617" y="3963147"/>
                <a:ext cx="4977" cy="6636"/>
              </a:xfrm>
              <a:custGeom>
                <a:avLst/>
                <a:gdLst>
                  <a:gd name="T0" fmla="*/ 2147483647 w 10"/>
                  <a:gd name="T1" fmla="*/ 2147483647 h 14"/>
                  <a:gd name="T2" fmla="*/ 2147483647 w 10"/>
                  <a:gd name="T3" fmla="*/ 2147483647 h 14"/>
                  <a:gd name="T4" fmla="*/ 0 w 10"/>
                  <a:gd name="T5" fmla="*/ 2147483647 h 14"/>
                  <a:gd name="T6" fmla="*/ 2147483647 w 10"/>
                  <a:gd name="T7" fmla="*/ 2147483647 h 14"/>
                  <a:gd name="T8" fmla="*/ 2147483647 w 10"/>
                  <a:gd name="T9" fmla="*/ 2147483647 h 14"/>
                  <a:gd name="T10" fmla="*/ 2147483647 w 10"/>
                  <a:gd name="T11" fmla="*/ 2147483647 h 14"/>
                  <a:gd name="T12" fmla="*/ 2147483647 w 10"/>
                  <a:gd name="T13" fmla="*/ 2147483647 h 14"/>
                  <a:gd name="T14" fmla="*/ 2147483647 w 10"/>
                  <a:gd name="T15" fmla="*/ 2147483647 h 14"/>
                  <a:gd name="T16" fmla="*/ 2147483647 w 10"/>
                  <a:gd name="T17" fmla="*/ 2147483647 h 14"/>
                  <a:gd name="T18" fmla="*/ 2147483647 w 10"/>
                  <a:gd name="T19" fmla="*/ 2147483647 h 14"/>
                  <a:gd name="T20" fmla="*/ 2147483647 w 10"/>
                  <a:gd name="T21" fmla="*/ 2147483647 h 14"/>
                  <a:gd name="T22" fmla="*/ 2147483647 w 10"/>
                  <a:gd name="T23" fmla="*/ 0 h 14"/>
                  <a:gd name="T24" fmla="*/ 2147483647 w 10"/>
                  <a:gd name="T25" fmla="*/ 2147483647 h 14"/>
                  <a:gd name="T26" fmla="*/ 2147483647 w 10"/>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4"/>
                  <a:gd name="T44" fmla="*/ 10 w 1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4">
                    <a:moveTo>
                      <a:pt x="2" y="2"/>
                    </a:moveTo>
                    <a:lnTo>
                      <a:pt x="2" y="2"/>
                    </a:lnTo>
                    <a:lnTo>
                      <a:pt x="0" y="4"/>
                    </a:lnTo>
                    <a:lnTo>
                      <a:pt x="2" y="8"/>
                    </a:lnTo>
                    <a:lnTo>
                      <a:pt x="6" y="12"/>
                    </a:lnTo>
                    <a:lnTo>
                      <a:pt x="8" y="14"/>
                    </a:lnTo>
                    <a:lnTo>
                      <a:pt x="10" y="12"/>
                    </a:lnTo>
                    <a:lnTo>
                      <a:pt x="10" y="10"/>
                    </a:lnTo>
                    <a:lnTo>
                      <a:pt x="8" y="6"/>
                    </a:lnTo>
                    <a:lnTo>
                      <a:pt x="6" y="2"/>
                    </a:lnTo>
                    <a:lnTo>
                      <a:pt x="4" y="0"/>
                    </a:lnTo>
                    <a:lnTo>
                      <a:pt x="2"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5" name="Freeform 5971"/>
              <p:cNvSpPr>
                <a:spLocks/>
              </p:cNvSpPr>
              <p:nvPr/>
            </p:nvSpPr>
            <p:spPr bwMode="auto">
              <a:xfrm>
                <a:off x="4339994" y="2723909"/>
                <a:ext cx="4978" cy="18249"/>
              </a:xfrm>
              <a:custGeom>
                <a:avLst/>
                <a:gdLst>
                  <a:gd name="T0" fmla="*/ 0 w 10"/>
                  <a:gd name="T1" fmla="*/ 2147483647 h 32"/>
                  <a:gd name="T2" fmla="*/ 0 w 10"/>
                  <a:gd name="T3" fmla="*/ 2147483647 h 32"/>
                  <a:gd name="T4" fmla="*/ 0 w 10"/>
                  <a:gd name="T5" fmla="*/ 2147483647 h 32"/>
                  <a:gd name="T6" fmla="*/ 2147483647 w 10"/>
                  <a:gd name="T7" fmla="*/ 2147483647 h 32"/>
                  <a:gd name="T8" fmla="*/ 2147483647 w 10"/>
                  <a:gd name="T9" fmla="*/ 2147483647 h 32"/>
                  <a:gd name="T10" fmla="*/ 2147483647 w 10"/>
                  <a:gd name="T11" fmla="*/ 2147483647 h 32"/>
                  <a:gd name="T12" fmla="*/ 2147483647 w 10"/>
                  <a:gd name="T13" fmla="*/ 2147483647 h 32"/>
                  <a:gd name="T14" fmla="*/ 2147483647 w 10"/>
                  <a:gd name="T15" fmla="*/ 2147483647 h 32"/>
                  <a:gd name="T16" fmla="*/ 2147483647 w 10"/>
                  <a:gd name="T17" fmla="*/ 2147483647 h 32"/>
                  <a:gd name="T18" fmla="*/ 2147483647 w 10"/>
                  <a:gd name="T19" fmla="*/ 2147483647 h 32"/>
                  <a:gd name="T20" fmla="*/ 2147483647 w 10"/>
                  <a:gd name="T21" fmla="*/ 2147483647 h 32"/>
                  <a:gd name="T22" fmla="*/ 2147483647 w 10"/>
                  <a:gd name="T23" fmla="*/ 0 h 32"/>
                  <a:gd name="T24" fmla="*/ 0 w 10"/>
                  <a:gd name="T25" fmla="*/ 0 h 32"/>
                  <a:gd name="T26" fmla="*/ 0 w 10"/>
                  <a:gd name="T27" fmla="*/ 2147483647 h 32"/>
                  <a:gd name="T28" fmla="*/ 2147483647 w 10"/>
                  <a:gd name="T29" fmla="*/ 2147483647 h 32"/>
                  <a:gd name="T30" fmla="*/ 2147483647 w 10"/>
                  <a:gd name="T31" fmla="*/ 2147483647 h 32"/>
                  <a:gd name="T32" fmla="*/ 2147483647 w 10"/>
                  <a:gd name="T33" fmla="*/ 2147483647 h 32"/>
                  <a:gd name="T34" fmla="*/ 2147483647 w 10"/>
                  <a:gd name="T35" fmla="*/ 2147483647 h 32"/>
                  <a:gd name="T36" fmla="*/ 0 w 10"/>
                  <a:gd name="T37" fmla="*/ 2147483647 h 32"/>
                  <a:gd name="T38" fmla="*/ 0 w 10"/>
                  <a:gd name="T39" fmla="*/ 2147483647 h 3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
                  <a:gd name="T61" fmla="*/ 0 h 32"/>
                  <a:gd name="T62" fmla="*/ 10 w 10"/>
                  <a:gd name="T63" fmla="*/ 32 h 3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 h="32">
                    <a:moveTo>
                      <a:pt x="0" y="14"/>
                    </a:moveTo>
                    <a:lnTo>
                      <a:pt x="0" y="14"/>
                    </a:lnTo>
                    <a:lnTo>
                      <a:pt x="0" y="18"/>
                    </a:lnTo>
                    <a:lnTo>
                      <a:pt x="2" y="22"/>
                    </a:lnTo>
                    <a:lnTo>
                      <a:pt x="8" y="32"/>
                    </a:lnTo>
                    <a:lnTo>
                      <a:pt x="10" y="30"/>
                    </a:lnTo>
                    <a:lnTo>
                      <a:pt x="10" y="28"/>
                    </a:lnTo>
                    <a:lnTo>
                      <a:pt x="8" y="20"/>
                    </a:lnTo>
                    <a:lnTo>
                      <a:pt x="4" y="2"/>
                    </a:lnTo>
                    <a:lnTo>
                      <a:pt x="2" y="0"/>
                    </a:lnTo>
                    <a:lnTo>
                      <a:pt x="0" y="0"/>
                    </a:lnTo>
                    <a:lnTo>
                      <a:pt x="0" y="4"/>
                    </a:lnTo>
                    <a:lnTo>
                      <a:pt x="2" y="10"/>
                    </a:lnTo>
                    <a:lnTo>
                      <a:pt x="2" y="14"/>
                    </a:lnTo>
                    <a:lnTo>
                      <a:pt x="0" y="1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6" name="Freeform 5972"/>
              <p:cNvSpPr>
                <a:spLocks/>
              </p:cNvSpPr>
              <p:nvPr/>
            </p:nvSpPr>
            <p:spPr bwMode="auto">
              <a:xfrm>
                <a:off x="4344972" y="2722250"/>
                <a:ext cx="6637" cy="8294"/>
              </a:xfrm>
              <a:custGeom>
                <a:avLst/>
                <a:gdLst>
                  <a:gd name="T0" fmla="*/ 2147483647 w 12"/>
                  <a:gd name="T1" fmla="*/ 2147483647 h 14"/>
                  <a:gd name="T2" fmla="*/ 2147483647 w 12"/>
                  <a:gd name="T3" fmla="*/ 2147483647 h 14"/>
                  <a:gd name="T4" fmla="*/ 2147483647 w 12"/>
                  <a:gd name="T5" fmla="*/ 2147483647 h 14"/>
                  <a:gd name="T6" fmla="*/ 2147483647 w 12"/>
                  <a:gd name="T7" fmla="*/ 2147483647 h 14"/>
                  <a:gd name="T8" fmla="*/ 2147483647 w 12"/>
                  <a:gd name="T9" fmla="*/ 0 h 14"/>
                  <a:gd name="T10" fmla="*/ 2147483647 w 12"/>
                  <a:gd name="T11" fmla="*/ 0 h 14"/>
                  <a:gd name="T12" fmla="*/ 0 w 12"/>
                  <a:gd name="T13" fmla="*/ 0 h 14"/>
                  <a:gd name="T14" fmla="*/ 0 w 12"/>
                  <a:gd name="T15" fmla="*/ 2147483647 h 14"/>
                  <a:gd name="T16" fmla="*/ 0 w 12"/>
                  <a:gd name="T17" fmla="*/ 2147483647 h 14"/>
                  <a:gd name="T18" fmla="*/ 0 w 12"/>
                  <a:gd name="T19" fmla="*/ 2147483647 h 14"/>
                  <a:gd name="T20" fmla="*/ 0 w 12"/>
                  <a:gd name="T21" fmla="*/ 2147483647 h 14"/>
                  <a:gd name="T22" fmla="*/ 0 w 12"/>
                  <a:gd name="T23" fmla="*/ 2147483647 h 14"/>
                  <a:gd name="T24" fmla="*/ 2147483647 w 12"/>
                  <a:gd name="T25" fmla="*/ 2147483647 h 14"/>
                  <a:gd name="T26" fmla="*/ 2147483647 w 12"/>
                  <a:gd name="T27" fmla="*/ 2147483647 h 14"/>
                  <a:gd name="T28" fmla="*/ 2147483647 w 12"/>
                  <a:gd name="T29" fmla="*/ 2147483647 h 14"/>
                  <a:gd name="T30" fmla="*/ 2147483647 w 12"/>
                  <a:gd name="T31" fmla="*/ 2147483647 h 14"/>
                  <a:gd name="T32" fmla="*/ 2147483647 w 12"/>
                  <a:gd name="T33" fmla="*/ 2147483647 h 14"/>
                  <a:gd name="T34" fmla="*/ 2147483647 w 12"/>
                  <a:gd name="T35" fmla="*/ 2147483647 h 14"/>
                  <a:gd name="T36" fmla="*/ 2147483647 w 12"/>
                  <a:gd name="T37" fmla="*/ 2147483647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
                  <a:gd name="T58" fmla="*/ 0 h 14"/>
                  <a:gd name="T59" fmla="*/ 12 w 12"/>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 h="14">
                    <a:moveTo>
                      <a:pt x="8" y="8"/>
                    </a:moveTo>
                    <a:lnTo>
                      <a:pt x="8" y="8"/>
                    </a:lnTo>
                    <a:lnTo>
                      <a:pt x="4" y="4"/>
                    </a:lnTo>
                    <a:lnTo>
                      <a:pt x="4" y="2"/>
                    </a:lnTo>
                    <a:lnTo>
                      <a:pt x="2" y="0"/>
                    </a:lnTo>
                    <a:lnTo>
                      <a:pt x="0" y="0"/>
                    </a:lnTo>
                    <a:lnTo>
                      <a:pt x="0" y="2"/>
                    </a:lnTo>
                    <a:lnTo>
                      <a:pt x="0" y="4"/>
                    </a:lnTo>
                    <a:lnTo>
                      <a:pt x="0" y="6"/>
                    </a:lnTo>
                    <a:lnTo>
                      <a:pt x="0" y="8"/>
                    </a:lnTo>
                    <a:lnTo>
                      <a:pt x="2" y="12"/>
                    </a:lnTo>
                    <a:lnTo>
                      <a:pt x="6" y="14"/>
                    </a:lnTo>
                    <a:lnTo>
                      <a:pt x="12" y="14"/>
                    </a:lnTo>
                    <a:lnTo>
                      <a:pt x="12" y="12"/>
                    </a:lnTo>
                    <a:lnTo>
                      <a:pt x="8"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7" name="Freeform 5973"/>
              <p:cNvSpPr>
                <a:spLocks/>
              </p:cNvSpPr>
              <p:nvPr/>
            </p:nvSpPr>
            <p:spPr bwMode="auto">
              <a:xfrm>
                <a:off x="4348291" y="2740498"/>
                <a:ext cx="13274" cy="9954"/>
              </a:xfrm>
              <a:custGeom>
                <a:avLst/>
                <a:gdLst>
                  <a:gd name="T0" fmla="*/ 2147483647 w 18"/>
                  <a:gd name="T1" fmla="*/ 2147483647 h 20"/>
                  <a:gd name="T2" fmla="*/ 2147483647 w 18"/>
                  <a:gd name="T3" fmla="*/ 2147483647 h 20"/>
                  <a:gd name="T4" fmla="*/ 2147483647 w 18"/>
                  <a:gd name="T5" fmla="*/ 2147483647 h 20"/>
                  <a:gd name="T6" fmla="*/ 2147483647 w 18"/>
                  <a:gd name="T7" fmla="*/ 2147483647 h 20"/>
                  <a:gd name="T8" fmla="*/ 2147483647 w 18"/>
                  <a:gd name="T9" fmla="*/ 2147483647 h 20"/>
                  <a:gd name="T10" fmla="*/ 2147483647 w 18"/>
                  <a:gd name="T11" fmla="*/ 2147483647 h 20"/>
                  <a:gd name="T12" fmla="*/ 0 w 18"/>
                  <a:gd name="T13" fmla="*/ 0 h 20"/>
                  <a:gd name="T14" fmla="*/ 0 w 18"/>
                  <a:gd name="T15" fmla="*/ 0 h 20"/>
                  <a:gd name="T16" fmla="*/ 0 w 18"/>
                  <a:gd name="T17" fmla="*/ 2147483647 h 20"/>
                  <a:gd name="T18" fmla="*/ 0 w 18"/>
                  <a:gd name="T19" fmla="*/ 2147483647 h 20"/>
                  <a:gd name="T20" fmla="*/ 2147483647 w 18"/>
                  <a:gd name="T21" fmla="*/ 2147483647 h 20"/>
                  <a:gd name="T22" fmla="*/ 2147483647 w 18"/>
                  <a:gd name="T23" fmla="*/ 2147483647 h 20"/>
                  <a:gd name="T24" fmla="*/ 2147483647 w 18"/>
                  <a:gd name="T25" fmla="*/ 2147483647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20"/>
                  <a:gd name="T41" fmla="*/ 18 w 18"/>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20">
                    <a:moveTo>
                      <a:pt x="16" y="20"/>
                    </a:moveTo>
                    <a:lnTo>
                      <a:pt x="16" y="20"/>
                    </a:lnTo>
                    <a:lnTo>
                      <a:pt x="18" y="20"/>
                    </a:lnTo>
                    <a:lnTo>
                      <a:pt x="16" y="16"/>
                    </a:lnTo>
                    <a:lnTo>
                      <a:pt x="8" y="6"/>
                    </a:lnTo>
                    <a:lnTo>
                      <a:pt x="0" y="0"/>
                    </a:lnTo>
                    <a:lnTo>
                      <a:pt x="0" y="2"/>
                    </a:lnTo>
                    <a:lnTo>
                      <a:pt x="6" y="10"/>
                    </a:lnTo>
                    <a:lnTo>
                      <a:pt x="16" y="2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8" name="Freeform 5974"/>
              <p:cNvSpPr>
                <a:spLocks/>
              </p:cNvSpPr>
              <p:nvPr/>
            </p:nvSpPr>
            <p:spPr bwMode="auto">
              <a:xfrm>
                <a:off x="4434573" y="2189726"/>
                <a:ext cx="4977" cy="4977"/>
              </a:xfrm>
              <a:custGeom>
                <a:avLst/>
                <a:gdLst>
                  <a:gd name="T0" fmla="*/ 2147483647 w 8"/>
                  <a:gd name="T1" fmla="*/ 2147483647 h 12"/>
                  <a:gd name="T2" fmla="*/ 2147483647 w 8"/>
                  <a:gd name="T3" fmla="*/ 2147483647 h 12"/>
                  <a:gd name="T4" fmla="*/ 2147483647 w 8"/>
                  <a:gd name="T5" fmla="*/ 2147483647 h 12"/>
                  <a:gd name="T6" fmla="*/ 2147483647 w 8"/>
                  <a:gd name="T7" fmla="*/ 2147483647 h 12"/>
                  <a:gd name="T8" fmla="*/ 2147483647 w 8"/>
                  <a:gd name="T9" fmla="*/ 2147483647 h 12"/>
                  <a:gd name="T10" fmla="*/ 0 w 8"/>
                  <a:gd name="T11" fmla="*/ 0 h 12"/>
                  <a:gd name="T12" fmla="*/ 0 w 8"/>
                  <a:gd name="T13" fmla="*/ 0 h 12"/>
                  <a:gd name="T14" fmla="*/ 0 w 8"/>
                  <a:gd name="T15" fmla="*/ 2147483647 h 12"/>
                  <a:gd name="T16" fmla="*/ 0 w 8"/>
                  <a:gd name="T17" fmla="*/ 2147483647 h 12"/>
                  <a:gd name="T18" fmla="*/ 2147483647 w 8"/>
                  <a:gd name="T19" fmla="*/ 2147483647 h 12"/>
                  <a:gd name="T20" fmla="*/ 2147483647 w 8"/>
                  <a:gd name="T21" fmla="*/ 2147483647 h 12"/>
                  <a:gd name="T22" fmla="*/ 2147483647 w 8"/>
                  <a:gd name="T23" fmla="*/ 2147483647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2"/>
                  <a:gd name="T38" fmla="*/ 8 w 8"/>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2">
                    <a:moveTo>
                      <a:pt x="8" y="12"/>
                    </a:moveTo>
                    <a:lnTo>
                      <a:pt x="8" y="12"/>
                    </a:lnTo>
                    <a:lnTo>
                      <a:pt x="8" y="10"/>
                    </a:lnTo>
                    <a:lnTo>
                      <a:pt x="6" y="6"/>
                    </a:lnTo>
                    <a:lnTo>
                      <a:pt x="2" y="2"/>
                    </a:lnTo>
                    <a:lnTo>
                      <a:pt x="0" y="0"/>
                    </a:lnTo>
                    <a:lnTo>
                      <a:pt x="0" y="2"/>
                    </a:lnTo>
                    <a:lnTo>
                      <a:pt x="0" y="6"/>
                    </a:lnTo>
                    <a:lnTo>
                      <a:pt x="4" y="10"/>
                    </a:lnTo>
                    <a:lnTo>
                      <a:pt x="8" y="1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9" name="Freeform 5975"/>
              <p:cNvSpPr>
                <a:spLocks/>
              </p:cNvSpPr>
              <p:nvPr/>
            </p:nvSpPr>
            <p:spPr bwMode="auto">
              <a:xfrm>
                <a:off x="4268645" y="2033785"/>
                <a:ext cx="4977" cy="3318"/>
              </a:xfrm>
              <a:custGeom>
                <a:avLst/>
                <a:gdLst>
                  <a:gd name="T0" fmla="*/ 2147483647 w 12"/>
                  <a:gd name="T1" fmla="*/ 2147483647 h 8"/>
                  <a:gd name="T2" fmla="*/ 2147483647 w 12"/>
                  <a:gd name="T3" fmla="*/ 2147483647 h 8"/>
                  <a:gd name="T4" fmla="*/ 2147483647 w 12"/>
                  <a:gd name="T5" fmla="*/ 2147483647 h 8"/>
                  <a:gd name="T6" fmla="*/ 2147483647 w 12"/>
                  <a:gd name="T7" fmla="*/ 2147483647 h 8"/>
                  <a:gd name="T8" fmla="*/ 2147483647 w 12"/>
                  <a:gd name="T9" fmla="*/ 2147483647 h 8"/>
                  <a:gd name="T10" fmla="*/ 2147483647 w 12"/>
                  <a:gd name="T11" fmla="*/ 2147483647 h 8"/>
                  <a:gd name="T12" fmla="*/ 2147483647 w 12"/>
                  <a:gd name="T13" fmla="*/ 2147483647 h 8"/>
                  <a:gd name="T14" fmla="*/ 2147483647 w 12"/>
                  <a:gd name="T15" fmla="*/ 2147483647 h 8"/>
                  <a:gd name="T16" fmla="*/ 2147483647 w 12"/>
                  <a:gd name="T17" fmla="*/ 2147483647 h 8"/>
                  <a:gd name="T18" fmla="*/ 2147483647 w 12"/>
                  <a:gd name="T19" fmla="*/ 0 h 8"/>
                  <a:gd name="T20" fmla="*/ 0 w 12"/>
                  <a:gd name="T21" fmla="*/ 2147483647 h 8"/>
                  <a:gd name="T22" fmla="*/ 0 w 12"/>
                  <a:gd name="T23" fmla="*/ 2147483647 h 8"/>
                  <a:gd name="T24" fmla="*/ 0 w 12"/>
                  <a:gd name="T25" fmla="*/ 2147483647 h 8"/>
                  <a:gd name="T26" fmla="*/ 0 w 12"/>
                  <a:gd name="T27" fmla="*/ 2147483647 h 8"/>
                  <a:gd name="T28" fmla="*/ 2147483647 w 12"/>
                  <a:gd name="T29" fmla="*/ 2147483647 h 8"/>
                  <a:gd name="T30" fmla="*/ 2147483647 w 12"/>
                  <a:gd name="T31" fmla="*/ 2147483647 h 8"/>
                  <a:gd name="T32" fmla="*/ 2147483647 w 12"/>
                  <a:gd name="T33" fmla="*/ 2147483647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8"/>
                  <a:gd name="T53" fmla="*/ 12 w 12"/>
                  <a:gd name="T54" fmla="*/ 8 h 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8">
                    <a:moveTo>
                      <a:pt x="6" y="8"/>
                    </a:moveTo>
                    <a:lnTo>
                      <a:pt x="6" y="8"/>
                    </a:lnTo>
                    <a:lnTo>
                      <a:pt x="10" y="8"/>
                    </a:lnTo>
                    <a:lnTo>
                      <a:pt x="12" y="6"/>
                    </a:lnTo>
                    <a:lnTo>
                      <a:pt x="10" y="6"/>
                    </a:lnTo>
                    <a:lnTo>
                      <a:pt x="8" y="4"/>
                    </a:lnTo>
                    <a:lnTo>
                      <a:pt x="4" y="4"/>
                    </a:lnTo>
                    <a:lnTo>
                      <a:pt x="4" y="2"/>
                    </a:lnTo>
                    <a:lnTo>
                      <a:pt x="2" y="0"/>
                    </a:lnTo>
                    <a:lnTo>
                      <a:pt x="0" y="2"/>
                    </a:lnTo>
                    <a:lnTo>
                      <a:pt x="0" y="4"/>
                    </a:lnTo>
                    <a:lnTo>
                      <a:pt x="0" y="6"/>
                    </a:lnTo>
                    <a:lnTo>
                      <a:pt x="2" y="8"/>
                    </a:lnTo>
                    <a:lnTo>
                      <a:pt x="6"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0" name="Freeform 5976"/>
              <p:cNvSpPr>
                <a:spLocks/>
              </p:cNvSpPr>
              <p:nvPr/>
            </p:nvSpPr>
            <p:spPr bwMode="auto">
              <a:xfrm>
                <a:off x="4510900" y="2201339"/>
                <a:ext cx="3319" cy="1658"/>
              </a:xfrm>
              <a:custGeom>
                <a:avLst/>
                <a:gdLst>
                  <a:gd name="T0" fmla="*/ 0 w 6"/>
                  <a:gd name="T1" fmla="*/ 2147483647 h 4"/>
                  <a:gd name="T2" fmla="*/ 0 w 6"/>
                  <a:gd name="T3" fmla="*/ 2147483647 h 4"/>
                  <a:gd name="T4" fmla="*/ 0 w 6"/>
                  <a:gd name="T5" fmla="*/ 2147483647 h 4"/>
                  <a:gd name="T6" fmla="*/ 2147483647 w 6"/>
                  <a:gd name="T7" fmla="*/ 2147483647 h 4"/>
                  <a:gd name="T8" fmla="*/ 2147483647 w 6"/>
                  <a:gd name="T9" fmla="*/ 2147483647 h 4"/>
                  <a:gd name="T10" fmla="*/ 2147483647 w 6"/>
                  <a:gd name="T11" fmla="*/ 0 h 4"/>
                  <a:gd name="T12" fmla="*/ 2147483647 w 6"/>
                  <a:gd name="T13" fmla="*/ 0 h 4"/>
                  <a:gd name="T14" fmla="*/ 2147483647 w 6"/>
                  <a:gd name="T15" fmla="*/ 0 h 4"/>
                  <a:gd name="T16" fmla="*/ 2147483647 w 6"/>
                  <a:gd name="T17" fmla="*/ 0 h 4"/>
                  <a:gd name="T18" fmla="*/ 0 w 6"/>
                  <a:gd name="T19" fmla="*/ 2147483647 h 4"/>
                  <a:gd name="T20" fmla="*/ 0 w 6"/>
                  <a:gd name="T21" fmla="*/ 2147483647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0" y="2"/>
                    </a:moveTo>
                    <a:lnTo>
                      <a:pt x="0" y="2"/>
                    </a:lnTo>
                    <a:lnTo>
                      <a:pt x="0" y="4"/>
                    </a:lnTo>
                    <a:lnTo>
                      <a:pt x="2" y="4"/>
                    </a:lnTo>
                    <a:lnTo>
                      <a:pt x="4" y="2"/>
                    </a:lnTo>
                    <a:lnTo>
                      <a:pt x="6" y="0"/>
                    </a:lnTo>
                    <a:lnTo>
                      <a:pt x="4" y="0"/>
                    </a:lnTo>
                    <a:lnTo>
                      <a:pt x="2" y="0"/>
                    </a:lnTo>
                    <a:lnTo>
                      <a:pt x="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1" name="Freeform 5977"/>
              <p:cNvSpPr>
                <a:spLocks/>
              </p:cNvSpPr>
              <p:nvPr/>
            </p:nvSpPr>
            <p:spPr bwMode="auto">
              <a:xfrm>
                <a:off x="4512559" y="2193044"/>
                <a:ext cx="4978" cy="3318"/>
              </a:xfrm>
              <a:custGeom>
                <a:avLst/>
                <a:gdLst>
                  <a:gd name="T0" fmla="*/ 2147483647 w 8"/>
                  <a:gd name="T1" fmla="*/ 0 h 8"/>
                  <a:gd name="T2" fmla="*/ 2147483647 w 8"/>
                  <a:gd name="T3" fmla="*/ 0 h 8"/>
                  <a:gd name="T4" fmla="*/ 0 w 8"/>
                  <a:gd name="T5" fmla="*/ 0 h 8"/>
                  <a:gd name="T6" fmla="*/ 0 w 8"/>
                  <a:gd name="T7" fmla="*/ 2147483647 h 8"/>
                  <a:gd name="T8" fmla="*/ 2147483647 w 8"/>
                  <a:gd name="T9" fmla="*/ 2147483647 h 8"/>
                  <a:gd name="T10" fmla="*/ 2147483647 w 8"/>
                  <a:gd name="T11" fmla="*/ 2147483647 h 8"/>
                  <a:gd name="T12" fmla="*/ 2147483647 w 8"/>
                  <a:gd name="T13" fmla="*/ 2147483647 h 8"/>
                  <a:gd name="T14" fmla="*/ 2147483647 w 8"/>
                  <a:gd name="T15" fmla="*/ 2147483647 h 8"/>
                  <a:gd name="T16" fmla="*/ 2147483647 w 8"/>
                  <a:gd name="T17" fmla="*/ 2147483647 h 8"/>
                  <a:gd name="T18" fmla="*/ 2147483647 w 8"/>
                  <a:gd name="T19" fmla="*/ 2147483647 h 8"/>
                  <a:gd name="T20" fmla="*/ 2147483647 w 8"/>
                  <a:gd name="T21" fmla="*/ 0 h 8"/>
                  <a:gd name="T22" fmla="*/ 2147483647 w 8"/>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8"/>
                  <a:gd name="T38" fmla="*/ 8 w 8"/>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8">
                    <a:moveTo>
                      <a:pt x="2" y="0"/>
                    </a:moveTo>
                    <a:lnTo>
                      <a:pt x="2" y="0"/>
                    </a:lnTo>
                    <a:lnTo>
                      <a:pt x="0" y="0"/>
                    </a:lnTo>
                    <a:lnTo>
                      <a:pt x="0" y="4"/>
                    </a:lnTo>
                    <a:lnTo>
                      <a:pt x="2" y="8"/>
                    </a:lnTo>
                    <a:lnTo>
                      <a:pt x="6" y="8"/>
                    </a:lnTo>
                    <a:lnTo>
                      <a:pt x="8" y="8"/>
                    </a:lnTo>
                    <a:lnTo>
                      <a:pt x="6" y="4"/>
                    </a:lnTo>
                    <a:lnTo>
                      <a:pt x="6" y="2"/>
                    </a:lnTo>
                    <a:lnTo>
                      <a:pt x="2"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2" name="Freeform 5978"/>
              <p:cNvSpPr>
                <a:spLocks/>
              </p:cNvSpPr>
              <p:nvPr/>
            </p:nvSpPr>
            <p:spPr bwMode="auto">
              <a:xfrm>
                <a:off x="4499285" y="2085213"/>
                <a:ext cx="6637" cy="3318"/>
              </a:xfrm>
              <a:custGeom>
                <a:avLst/>
                <a:gdLst>
                  <a:gd name="T0" fmla="*/ 2147483647 w 12"/>
                  <a:gd name="T1" fmla="*/ 2147483647 h 8"/>
                  <a:gd name="T2" fmla="*/ 2147483647 w 12"/>
                  <a:gd name="T3" fmla="*/ 2147483647 h 8"/>
                  <a:gd name="T4" fmla="*/ 2147483647 w 12"/>
                  <a:gd name="T5" fmla="*/ 0 h 8"/>
                  <a:gd name="T6" fmla="*/ 2147483647 w 12"/>
                  <a:gd name="T7" fmla="*/ 0 h 8"/>
                  <a:gd name="T8" fmla="*/ 2147483647 w 12"/>
                  <a:gd name="T9" fmla="*/ 2147483647 h 8"/>
                  <a:gd name="T10" fmla="*/ 2147483647 w 12"/>
                  <a:gd name="T11" fmla="*/ 2147483647 h 8"/>
                  <a:gd name="T12" fmla="*/ 2147483647 w 12"/>
                  <a:gd name="T13" fmla="*/ 2147483647 h 8"/>
                  <a:gd name="T14" fmla="*/ 0 w 12"/>
                  <a:gd name="T15" fmla="*/ 2147483647 h 8"/>
                  <a:gd name="T16" fmla="*/ 0 w 12"/>
                  <a:gd name="T17" fmla="*/ 2147483647 h 8"/>
                  <a:gd name="T18" fmla="*/ 2147483647 w 12"/>
                  <a:gd name="T19" fmla="*/ 2147483647 h 8"/>
                  <a:gd name="T20" fmla="*/ 2147483647 w 12"/>
                  <a:gd name="T21" fmla="*/ 2147483647 h 8"/>
                  <a:gd name="T22" fmla="*/ 2147483647 w 12"/>
                  <a:gd name="T23" fmla="*/ 2147483647 h 8"/>
                  <a:gd name="T24" fmla="*/ 2147483647 w 12"/>
                  <a:gd name="T25" fmla="*/ 2147483647 h 8"/>
                  <a:gd name="T26" fmla="*/ 2147483647 w 12"/>
                  <a:gd name="T27" fmla="*/ 2147483647 h 8"/>
                  <a:gd name="T28" fmla="*/ 2147483647 w 12"/>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8"/>
                  <a:gd name="T47" fmla="*/ 12 w 12"/>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8">
                    <a:moveTo>
                      <a:pt x="12" y="4"/>
                    </a:moveTo>
                    <a:lnTo>
                      <a:pt x="12" y="4"/>
                    </a:lnTo>
                    <a:lnTo>
                      <a:pt x="12" y="0"/>
                    </a:lnTo>
                    <a:lnTo>
                      <a:pt x="10" y="0"/>
                    </a:lnTo>
                    <a:lnTo>
                      <a:pt x="4" y="2"/>
                    </a:lnTo>
                    <a:lnTo>
                      <a:pt x="2" y="2"/>
                    </a:lnTo>
                    <a:lnTo>
                      <a:pt x="0" y="2"/>
                    </a:lnTo>
                    <a:lnTo>
                      <a:pt x="0" y="4"/>
                    </a:lnTo>
                    <a:lnTo>
                      <a:pt x="4" y="8"/>
                    </a:lnTo>
                    <a:lnTo>
                      <a:pt x="6" y="8"/>
                    </a:lnTo>
                    <a:lnTo>
                      <a:pt x="8" y="8"/>
                    </a:lnTo>
                    <a:lnTo>
                      <a:pt x="12"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3" name="Freeform 5979"/>
              <p:cNvSpPr>
                <a:spLocks/>
              </p:cNvSpPr>
              <p:nvPr/>
            </p:nvSpPr>
            <p:spPr bwMode="auto">
              <a:xfrm>
                <a:off x="4268645" y="2030467"/>
                <a:ext cx="4977" cy="3318"/>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0 h 6"/>
                  <a:gd name="T10" fmla="*/ 2147483647 w 6"/>
                  <a:gd name="T11" fmla="*/ 0 h 6"/>
                  <a:gd name="T12" fmla="*/ 0 w 6"/>
                  <a:gd name="T13" fmla="*/ 2147483647 h 6"/>
                  <a:gd name="T14" fmla="*/ 0 w 6"/>
                  <a:gd name="T15" fmla="*/ 2147483647 h 6"/>
                  <a:gd name="T16" fmla="*/ 2147483647 w 6"/>
                  <a:gd name="T17" fmla="*/ 2147483647 h 6"/>
                  <a:gd name="T18" fmla="*/ 2147483647 w 6"/>
                  <a:gd name="T19" fmla="*/ 2147483647 h 6"/>
                  <a:gd name="T20" fmla="*/ 2147483647 w 6"/>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6"/>
                  <a:gd name="T35" fmla="*/ 6 w 6"/>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6">
                    <a:moveTo>
                      <a:pt x="6" y="6"/>
                    </a:moveTo>
                    <a:lnTo>
                      <a:pt x="6" y="6"/>
                    </a:lnTo>
                    <a:lnTo>
                      <a:pt x="6" y="4"/>
                    </a:lnTo>
                    <a:lnTo>
                      <a:pt x="6" y="2"/>
                    </a:lnTo>
                    <a:lnTo>
                      <a:pt x="2" y="0"/>
                    </a:lnTo>
                    <a:lnTo>
                      <a:pt x="0" y="2"/>
                    </a:lnTo>
                    <a:lnTo>
                      <a:pt x="0" y="4"/>
                    </a:lnTo>
                    <a:lnTo>
                      <a:pt x="2" y="6"/>
                    </a:lnTo>
                    <a:lnTo>
                      <a:pt x="6"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4" name="Freeform 5980"/>
              <p:cNvSpPr>
                <a:spLocks/>
              </p:cNvSpPr>
              <p:nvPr/>
            </p:nvSpPr>
            <p:spPr bwMode="auto">
              <a:xfrm>
                <a:off x="4263667" y="2032126"/>
                <a:ext cx="4978" cy="1658"/>
              </a:xfrm>
              <a:custGeom>
                <a:avLst/>
                <a:gdLst>
                  <a:gd name="T0" fmla="*/ 0 w 6"/>
                  <a:gd name="T1" fmla="*/ 0 h 4"/>
                  <a:gd name="T2" fmla="*/ 0 w 6"/>
                  <a:gd name="T3" fmla="*/ 0 h 4"/>
                  <a:gd name="T4" fmla="*/ 0 w 6"/>
                  <a:gd name="T5" fmla="*/ 2147483647 h 4"/>
                  <a:gd name="T6" fmla="*/ 0 w 6"/>
                  <a:gd name="T7" fmla="*/ 2147483647 h 4"/>
                  <a:gd name="T8" fmla="*/ 2147483647 w 6"/>
                  <a:gd name="T9" fmla="*/ 2147483647 h 4"/>
                  <a:gd name="T10" fmla="*/ 2147483647 w 6"/>
                  <a:gd name="T11" fmla="*/ 2147483647 h 4"/>
                  <a:gd name="T12" fmla="*/ 2147483647 w 6"/>
                  <a:gd name="T13" fmla="*/ 2147483647 h 4"/>
                  <a:gd name="T14" fmla="*/ 2147483647 w 6"/>
                  <a:gd name="T15" fmla="*/ 0 h 4"/>
                  <a:gd name="T16" fmla="*/ 2147483647 w 6"/>
                  <a:gd name="T17" fmla="*/ 0 h 4"/>
                  <a:gd name="T18" fmla="*/ 0 w 6"/>
                  <a:gd name="T19" fmla="*/ 0 h 4"/>
                  <a:gd name="T20" fmla="*/ 0 w 6"/>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0" y="0"/>
                    </a:moveTo>
                    <a:lnTo>
                      <a:pt x="0" y="0"/>
                    </a:lnTo>
                    <a:lnTo>
                      <a:pt x="0" y="2"/>
                    </a:lnTo>
                    <a:lnTo>
                      <a:pt x="0" y="4"/>
                    </a:lnTo>
                    <a:lnTo>
                      <a:pt x="4" y="2"/>
                    </a:lnTo>
                    <a:lnTo>
                      <a:pt x="6" y="2"/>
                    </a:lnTo>
                    <a:lnTo>
                      <a:pt x="4" y="0"/>
                    </a:lnTo>
                    <a:lnTo>
                      <a:pt x="2" y="0"/>
                    </a:lnTo>
                    <a:lnTo>
                      <a:pt x="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5" name="Freeform 5981"/>
              <p:cNvSpPr>
                <a:spLocks/>
              </p:cNvSpPr>
              <p:nvPr/>
            </p:nvSpPr>
            <p:spPr bwMode="auto">
              <a:xfrm>
                <a:off x="4578930" y="2013877"/>
                <a:ext cx="11615" cy="6636"/>
              </a:xfrm>
              <a:custGeom>
                <a:avLst/>
                <a:gdLst>
                  <a:gd name="T0" fmla="*/ 2147483647 w 20"/>
                  <a:gd name="T1" fmla="*/ 2147483647 h 10"/>
                  <a:gd name="T2" fmla="*/ 2147483647 w 20"/>
                  <a:gd name="T3" fmla="*/ 2147483647 h 10"/>
                  <a:gd name="T4" fmla="*/ 2147483647 w 20"/>
                  <a:gd name="T5" fmla="*/ 2147483647 h 10"/>
                  <a:gd name="T6" fmla="*/ 2147483647 w 20"/>
                  <a:gd name="T7" fmla="*/ 2147483647 h 10"/>
                  <a:gd name="T8" fmla="*/ 2147483647 w 20"/>
                  <a:gd name="T9" fmla="*/ 0 h 10"/>
                  <a:gd name="T10" fmla="*/ 2147483647 w 20"/>
                  <a:gd name="T11" fmla="*/ 0 h 10"/>
                  <a:gd name="T12" fmla="*/ 2147483647 w 20"/>
                  <a:gd name="T13" fmla="*/ 0 h 10"/>
                  <a:gd name="T14" fmla="*/ 2147483647 w 20"/>
                  <a:gd name="T15" fmla="*/ 0 h 10"/>
                  <a:gd name="T16" fmla="*/ 0 w 20"/>
                  <a:gd name="T17" fmla="*/ 2147483647 h 10"/>
                  <a:gd name="T18" fmla="*/ 0 w 20"/>
                  <a:gd name="T19" fmla="*/ 2147483647 h 10"/>
                  <a:gd name="T20" fmla="*/ 2147483647 w 20"/>
                  <a:gd name="T21" fmla="*/ 2147483647 h 10"/>
                  <a:gd name="T22" fmla="*/ 2147483647 w 20"/>
                  <a:gd name="T23" fmla="*/ 2147483647 h 10"/>
                  <a:gd name="T24" fmla="*/ 2147483647 w 20"/>
                  <a:gd name="T25" fmla="*/ 2147483647 h 10"/>
                  <a:gd name="T26" fmla="*/ 2147483647 w 20"/>
                  <a:gd name="T27" fmla="*/ 2147483647 h 10"/>
                  <a:gd name="T28" fmla="*/ 2147483647 w 20"/>
                  <a:gd name="T29" fmla="*/ 2147483647 h 10"/>
                  <a:gd name="T30" fmla="*/ 2147483647 w 20"/>
                  <a:gd name="T31" fmla="*/ 2147483647 h 10"/>
                  <a:gd name="T32" fmla="*/ 2147483647 w 20"/>
                  <a:gd name="T33" fmla="*/ 2147483647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
                  <a:gd name="T52" fmla="*/ 0 h 10"/>
                  <a:gd name="T53" fmla="*/ 20 w 20"/>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 h="10">
                    <a:moveTo>
                      <a:pt x="18" y="4"/>
                    </a:moveTo>
                    <a:lnTo>
                      <a:pt x="18" y="4"/>
                    </a:lnTo>
                    <a:lnTo>
                      <a:pt x="20" y="4"/>
                    </a:lnTo>
                    <a:lnTo>
                      <a:pt x="18" y="4"/>
                    </a:lnTo>
                    <a:lnTo>
                      <a:pt x="8" y="0"/>
                    </a:lnTo>
                    <a:lnTo>
                      <a:pt x="4" y="0"/>
                    </a:lnTo>
                    <a:lnTo>
                      <a:pt x="2" y="0"/>
                    </a:lnTo>
                    <a:lnTo>
                      <a:pt x="0" y="4"/>
                    </a:lnTo>
                    <a:lnTo>
                      <a:pt x="0" y="8"/>
                    </a:lnTo>
                    <a:lnTo>
                      <a:pt x="4" y="10"/>
                    </a:lnTo>
                    <a:lnTo>
                      <a:pt x="8" y="10"/>
                    </a:lnTo>
                    <a:lnTo>
                      <a:pt x="10" y="8"/>
                    </a:lnTo>
                    <a:lnTo>
                      <a:pt x="12" y="6"/>
                    </a:lnTo>
                    <a:lnTo>
                      <a:pt x="18"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6" name="Freeform 5982"/>
              <p:cNvSpPr>
                <a:spLocks/>
              </p:cNvSpPr>
              <p:nvPr/>
            </p:nvSpPr>
            <p:spPr bwMode="auto">
              <a:xfrm>
                <a:off x="4507582" y="2202998"/>
                <a:ext cx="3319" cy="1659"/>
              </a:xfrm>
              <a:custGeom>
                <a:avLst/>
                <a:gdLst>
                  <a:gd name="T0" fmla="*/ 2147483647 w 6"/>
                  <a:gd name="T1" fmla="*/ 0 h 4"/>
                  <a:gd name="T2" fmla="*/ 2147483647 w 6"/>
                  <a:gd name="T3" fmla="*/ 0 h 4"/>
                  <a:gd name="T4" fmla="*/ 2147483647 w 6"/>
                  <a:gd name="T5" fmla="*/ 0 h 4"/>
                  <a:gd name="T6" fmla="*/ 2147483647 w 6"/>
                  <a:gd name="T7" fmla="*/ 0 h 4"/>
                  <a:gd name="T8" fmla="*/ 0 w 6"/>
                  <a:gd name="T9" fmla="*/ 2147483647 h 4"/>
                  <a:gd name="T10" fmla="*/ 0 w 6"/>
                  <a:gd name="T11" fmla="*/ 2147483647 h 4"/>
                  <a:gd name="T12" fmla="*/ 0 w 6"/>
                  <a:gd name="T13" fmla="*/ 2147483647 h 4"/>
                  <a:gd name="T14" fmla="*/ 2147483647 w 6"/>
                  <a:gd name="T15" fmla="*/ 2147483647 h 4"/>
                  <a:gd name="T16" fmla="*/ 2147483647 w 6"/>
                  <a:gd name="T17" fmla="*/ 2147483647 h 4"/>
                  <a:gd name="T18" fmla="*/ 2147483647 w 6"/>
                  <a:gd name="T19" fmla="*/ 0 h 4"/>
                  <a:gd name="T20" fmla="*/ 2147483647 w 6"/>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6" y="0"/>
                    </a:moveTo>
                    <a:lnTo>
                      <a:pt x="6" y="0"/>
                    </a:lnTo>
                    <a:lnTo>
                      <a:pt x="4" y="0"/>
                    </a:lnTo>
                    <a:lnTo>
                      <a:pt x="2" y="0"/>
                    </a:lnTo>
                    <a:lnTo>
                      <a:pt x="0" y="2"/>
                    </a:lnTo>
                    <a:lnTo>
                      <a:pt x="0" y="4"/>
                    </a:lnTo>
                    <a:lnTo>
                      <a:pt x="2" y="4"/>
                    </a:lnTo>
                    <a:lnTo>
                      <a:pt x="4" y="2"/>
                    </a:lnTo>
                    <a:lnTo>
                      <a:pt x="6"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7" name="Freeform 5983"/>
              <p:cNvSpPr>
                <a:spLocks/>
              </p:cNvSpPr>
              <p:nvPr/>
            </p:nvSpPr>
            <p:spPr bwMode="auto">
              <a:xfrm>
                <a:off x="4474396" y="2206316"/>
                <a:ext cx="1659" cy="3318"/>
              </a:xfrm>
              <a:custGeom>
                <a:avLst/>
                <a:gdLst>
                  <a:gd name="T0" fmla="*/ 0 w 8"/>
                  <a:gd name="T1" fmla="*/ 0 h 6"/>
                  <a:gd name="T2" fmla="*/ 0 w 8"/>
                  <a:gd name="T3" fmla="*/ 0 h 6"/>
                  <a:gd name="T4" fmla="*/ 0 w 8"/>
                  <a:gd name="T5" fmla="*/ 2147483647 h 6"/>
                  <a:gd name="T6" fmla="*/ 2147483647 w 8"/>
                  <a:gd name="T7" fmla="*/ 2147483647 h 6"/>
                  <a:gd name="T8" fmla="*/ 2147483647 w 8"/>
                  <a:gd name="T9" fmla="*/ 2147483647 h 6"/>
                  <a:gd name="T10" fmla="*/ 2147483647 w 8"/>
                  <a:gd name="T11" fmla="*/ 2147483647 h 6"/>
                  <a:gd name="T12" fmla="*/ 2147483647 w 8"/>
                  <a:gd name="T13" fmla="*/ 2147483647 h 6"/>
                  <a:gd name="T14" fmla="*/ 2147483647 w 8"/>
                  <a:gd name="T15" fmla="*/ 2147483647 h 6"/>
                  <a:gd name="T16" fmla="*/ 2147483647 w 8"/>
                  <a:gd name="T17" fmla="*/ 0 h 6"/>
                  <a:gd name="T18" fmla="*/ 2147483647 w 8"/>
                  <a:gd name="T19" fmla="*/ 0 h 6"/>
                  <a:gd name="T20" fmla="*/ 0 w 8"/>
                  <a:gd name="T21" fmla="*/ 0 h 6"/>
                  <a:gd name="T22" fmla="*/ 0 w 8"/>
                  <a:gd name="T23" fmla="*/ 0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6"/>
                  <a:gd name="T38" fmla="*/ 8 w 8"/>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6">
                    <a:moveTo>
                      <a:pt x="0" y="0"/>
                    </a:moveTo>
                    <a:lnTo>
                      <a:pt x="0" y="0"/>
                    </a:lnTo>
                    <a:lnTo>
                      <a:pt x="0" y="2"/>
                    </a:lnTo>
                    <a:lnTo>
                      <a:pt x="2" y="4"/>
                    </a:lnTo>
                    <a:lnTo>
                      <a:pt x="6" y="6"/>
                    </a:lnTo>
                    <a:lnTo>
                      <a:pt x="8" y="4"/>
                    </a:lnTo>
                    <a:lnTo>
                      <a:pt x="8" y="2"/>
                    </a:lnTo>
                    <a:lnTo>
                      <a:pt x="6" y="0"/>
                    </a:lnTo>
                    <a:lnTo>
                      <a:pt x="2" y="0"/>
                    </a:lnTo>
                    <a:lnTo>
                      <a:pt x="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8" name="Freeform 5984"/>
              <p:cNvSpPr>
                <a:spLocks/>
              </p:cNvSpPr>
              <p:nvPr/>
            </p:nvSpPr>
            <p:spPr bwMode="auto">
              <a:xfrm>
                <a:off x="4461122" y="2194704"/>
                <a:ext cx="18252" cy="11612"/>
              </a:xfrm>
              <a:custGeom>
                <a:avLst/>
                <a:gdLst>
                  <a:gd name="T0" fmla="*/ 2147483647 w 32"/>
                  <a:gd name="T1" fmla="*/ 2147483647 h 22"/>
                  <a:gd name="T2" fmla="*/ 2147483647 w 32"/>
                  <a:gd name="T3" fmla="*/ 2147483647 h 22"/>
                  <a:gd name="T4" fmla="*/ 2147483647 w 32"/>
                  <a:gd name="T5" fmla="*/ 2147483647 h 22"/>
                  <a:gd name="T6" fmla="*/ 0 w 32"/>
                  <a:gd name="T7" fmla="*/ 2147483647 h 22"/>
                  <a:gd name="T8" fmla="*/ 0 w 32"/>
                  <a:gd name="T9" fmla="*/ 2147483647 h 22"/>
                  <a:gd name="T10" fmla="*/ 0 w 32"/>
                  <a:gd name="T11" fmla="*/ 2147483647 h 22"/>
                  <a:gd name="T12" fmla="*/ 0 w 32"/>
                  <a:gd name="T13" fmla="*/ 2147483647 h 22"/>
                  <a:gd name="T14" fmla="*/ 0 w 32"/>
                  <a:gd name="T15" fmla="*/ 2147483647 h 22"/>
                  <a:gd name="T16" fmla="*/ 2147483647 w 32"/>
                  <a:gd name="T17" fmla="*/ 2147483647 h 22"/>
                  <a:gd name="T18" fmla="*/ 2147483647 w 32"/>
                  <a:gd name="T19" fmla="*/ 2147483647 h 22"/>
                  <a:gd name="T20" fmla="*/ 2147483647 w 32"/>
                  <a:gd name="T21" fmla="*/ 2147483647 h 22"/>
                  <a:gd name="T22" fmla="*/ 2147483647 w 32"/>
                  <a:gd name="T23" fmla="*/ 2147483647 h 22"/>
                  <a:gd name="T24" fmla="*/ 2147483647 w 32"/>
                  <a:gd name="T25" fmla="*/ 2147483647 h 22"/>
                  <a:gd name="T26" fmla="*/ 2147483647 w 32"/>
                  <a:gd name="T27" fmla="*/ 2147483647 h 22"/>
                  <a:gd name="T28" fmla="*/ 2147483647 w 32"/>
                  <a:gd name="T29" fmla="*/ 2147483647 h 22"/>
                  <a:gd name="T30" fmla="*/ 2147483647 w 32"/>
                  <a:gd name="T31" fmla="*/ 2147483647 h 22"/>
                  <a:gd name="T32" fmla="*/ 2147483647 w 32"/>
                  <a:gd name="T33" fmla="*/ 2147483647 h 22"/>
                  <a:gd name="T34" fmla="*/ 2147483647 w 32"/>
                  <a:gd name="T35" fmla="*/ 2147483647 h 22"/>
                  <a:gd name="T36" fmla="*/ 2147483647 w 32"/>
                  <a:gd name="T37" fmla="*/ 2147483647 h 22"/>
                  <a:gd name="T38" fmla="*/ 2147483647 w 32"/>
                  <a:gd name="T39" fmla="*/ 2147483647 h 22"/>
                  <a:gd name="T40" fmla="*/ 2147483647 w 32"/>
                  <a:gd name="T41" fmla="*/ 2147483647 h 22"/>
                  <a:gd name="T42" fmla="*/ 2147483647 w 32"/>
                  <a:gd name="T43" fmla="*/ 2147483647 h 22"/>
                  <a:gd name="T44" fmla="*/ 2147483647 w 32"/>
                  <a:gd name="T45" fmla="*/ 2147483647 h 22"/>
                  <a:gd name="T46" fmla="*/ 2147483647 w 32"/>
                  <a:gd name="T47" fmla="*/ 2147483647 h 22"/>
                  <a:gd name="T48" fmla="*/ 2147483647 w 32"/>
                  <a:gd name="T49" fmla="*/ 2147483647 h 22"/>
                  <a:gd name="T50" fmla="*/ 2147483647 w 32"/>
                  <a:gd name="T51" fmla="*/ 2147483647 h 22"/>
                  <a:gd name="T52" fmla="*/ 2147483647 w 32"/>
                  <a:gd name="T53" fmla="*/ 2147483647 h 22"/>
                  <a:gd name="T54" fmla="*/ 2147483647 w 32"/>
                  <a:gd name="T55" fmla="*/ 2147483647 h 22"/>
                  <a:gd name="T56" fmla="*/ 2147483647 w 32"/>
                  <a:gd name="T57" fmla="*/ 2147483647 h 22"/>
                  <a:gd name="T58" fmla="*/ 2147483647 w 32"/>
                  <a:gd name="T59" fmla="*/ 2147483647 h 22"/>
                  <a:gd name="T60" fmla="*/ 2147483647 w 32"/>
                  <a:gd name="T61" fmla="*/ 2147483647 h 22"/>
                  <a:gd name="T62" fmla="*/ 2147483647 w 32"/>
                  <a:gd name="T63" fmla="*/ 0 h 22"/>
                  <a:gd name="T64" fmla="*/ 2147483647 w 32"/>
                  <a:gd name="T65" fmla="*/ 2147483647 h 22"/>
                  <a:gd name="T66" fmla="*/ 2147483647 w 32"/>
                  <a:gd name="T67" fmla="*/ 2147483647 h 22"/>
                  <a:gd name="T68" fmla="*/ 2147483647 w 32"/>
                  <a:gd name="T69" fmla="*/ 2147483647 h 22"/>
                  <a:gd name="T70" fmla="*/ 2147483647 w 32"/>
                  <a:gd name="T71" fmla="*/ 2147483647 h 22"/>
                  <a:gd name="T72" fmla="*/ 2147483647 w 32"/>
                  <a:gd name="T73" fmla="*/ 2147483647 h 22"/>
                  <a:gd name="T74" fmla="*/ 2147483647 w 32"/>
                  <a:gd name="T75" fmla="*/ 2147483647 h 22"/>
                  <a:gd name="T76" fmla="*/ 2147483647 w 32"/>
                  <a:gd name="T77" fmla="*/ 2147483647 h 22"/>
                  <a:gd name="T78" fmla="*/ 2147483647 w 32"/>
                  <a:gd name="T79" fmla="*/ 2147483647 h 22"/>
                  <a:gd name="T80" fmla="*/ 2147483647 w 32"/>
                  <a:gd name="T81" fmla="*/ 2147483647 h 22"/>
                  <a:gd name="T82" fmla="*/ 2147483647 w 32"/>
                  <a:gd name="T83" fmla="*/ 2147483647 h 2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2"/>
                  <a:gd name="T127" fmla="*/ 0 h 22"/>
                  <a:gd name="T128" fmla="*/ 32 w 32"/>
                  <a:gd name="T129" fmla="*/ 22 h 2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2" h="22">
                    <a:moveTo>
                      <a:pt x="8" y="8"/>
                    </a:moveTo>
                    <a:lnTo>
                      <a:pt x="8" y="8"/>
                    </a:lnTo>
                    <a:lnTo>
                      <a:pt x="4" y="10"/>
                    </a:lnTo>
                    <a:lnTo>
                      <a:pt x="0" y="12"/>
                    </a:lnTo>
                    <a:lnTo>
                      <a:pt x="0" y="16"/>
                    </a:lnTo>
                    <a:lnTo>
                      <a:pt x="0" y="18"/>
                    </a:lnTo>
                    <a:lnTo>
                      <a:pt x="4" y="16"/>
                    </a:lnTo>
                    <a:lnTo>
                      <a:pt x="8" y="18"/>
                    </a:lnTo>
                    <a:lnTo>
                      <a:pt x="8" y="20"/>
                    </a:lnTo>
                    <a:lnTo>
                      <a:pt x="12" y="22"/>
                    </a:lnTo>
                    <a:lnTo>
                      <a:pt x="16" y="22"/>
                    </a:lnTo>
                    <a:lnTo>
                      <a:pt x="18" y="22"/>
                    </a:lnTo>
                    <a:lnTo>
                      <a:pt x="20" y="20"/>
                    </a:lnTo>
                    <a:lnTo>
                      <a:pt x="20" y="18"/>
                    </a:lnTo>
                    <a:lnTo>
                      <a:pt x="20" y="16"/>
                    </a:lnTo>
                    <a:lnTo>
                      <a:pt x="20" y="14"/>
                    </a:lnTo>
                    <a:lnTo>
                      <a:pt x="22" y="14"/>
                    </a:lnTo>
                    <a:lnTo>
                      <a:pt x="24" y="14"/>
                    </a:lnTo>
                    <a:lnTo>
                      <a:pt x="26" y="14"/>
                    </a:lnTo>
                    <a:lnTo>
                      <a:pt x="30" y="12"/>
                    </a:lnTo>
                    <a:lnTo>
                      <a:pt x="32" y="8"/>
                    </a:lnTo>
                    <a:lnTo>
                      <a:pt x="30" y="6"/>
                    </a:lnTo>
                    <a:lnTo>
                      <a:pt x="16" y="2"/>
                    </a:lnTo>
                    <a:lnTo>
                      <a:pt x="10" y="0"/>
                    </a:lnTo>
                    <a:lnTo>
                      <a:pt x="10" y="2"/>
                    </a:lnTo>
                    <a:lnTo>
                      <a:pt x="14" y="6"/>
                    </a:lnTo>
                    <a:lnTo>
                      <a:pt x="14" y="8"/>
                    </a:lnTo>
                    <a:lnTo>
                      <a:pt x="14" y="10"/>
                    </a:lnTo>
                    <a:lnTo>
                      <a:pt x="12" y="12"/>
                    </a:lnTo>
                    <a:lnTo>
                      <a:pt x="10" y="10"/>
                    </a:lnTo>
                    <a:lnTo>
                      <a:pt x="10" y="8"/>
                    </a:lnTo>
                    <a:lnTo>
                      <a:pt x="8"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9" name="Freeform 5985"/>
              <p:cNvSpPr>
                <a:spLocks/>
              </p:cNvSpPr>
              <p:nvPr/>
            </p:nvSpPr>
            <p:spPr bwMode="auto">
              <a:xfrm>
                <a:off x="4519196" y="2196362"/>
                <a:ext cx="6637" cy="1659"/>
              </a:xfrm>
              <a:custGeom>
                <a:avLst/>
                <a:gdLst>
                  <a:gd name="T0" fmla="*/ 2147483647 w 10"/>
                  <a:gd name="T1" fmla="*/ 2147483647 h 4"/>
                  <a:gd name="T2" fmla="*/ 2147483647 w 10"/>
                  <a:gd name="T3" fmla="*/ 2147483647 h 4"/>
                  <a:gd name="T4" fmla="*/ 2147483647 w 10"/>
                  <a:gd name="T5" fmla="*/ 0 h 4"/>
                  <a:gd name="T6" fmla="*/ 2147483647 w 10"/>
                  <a:gd name="T7" fmla="*/ 0 h 4"/>
                  <a:gd name="T8" fmla="*/ 2147483647 w 10"/>
                  <a:gd name="T9" fmla="*/ 0 h 4"/>
                  <a:gd name="T10" fmla="*/ 0 w 10"/>
                  <a:gd name="T11" fmla="*/ 2147483647 h 4"/>
                  <a:gd name="T12" fmla="*/ 0 w 10"/>
                  <a:gd name="T13" fmla="*/ 2147483647 h 4"/>
                  <a:gd name="T14" fmla="*/ 2147483647 w 10"/>
                  <a:gd name="T15" fmla="*/ 2147483647 h 4"/>
                  <a:gd name="T16" fmla="*/ 2147483647 w 10"/>
                  <a:gd name="T17" fmla="*/ 2147483647 h 4"/>
                  <a:gd name="T18" fmla="*/ 2147483647 w 10"/>
                  <a:gd name="T19" fmla="*/ 2147483647 h 4"/>
                  <a:gd name="T20" fmla="*/ 2147483647 w 10"/>
                  <a:gd name="T21" fmla="*/ 2147483647 h 4"/>
                  <a:gd name="T22" fmla="*/ 2147483647 w 10"/>
                  <a:gd name="T23" fmla="*/ 2147483647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4"/>
                  <a:gd name="T38" fmla="*/ 10 w 10"/>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4">
                    <a:moveTo>
                      <a:pt x="10" y="2"/>
                    </a:moveTo>
                    <a:lnTo>
                      <a:pt x="10" y="2"/>
                    </a:lnTo>
                    <a:lnTo>
                      <a:pt x="10" y="0"/>
                    </a:lnTo>
                    <a:lnTo>
                      <a:pt x="6" y="0"/>
                    </a:lnTo>
                    <a:lnTo>
                      <a:pt x="2" y="0"/>
                    </a:lnTo>
                    <a:lnTo>
                      <a:pt x="0" y="2"/>
                    </a:lnTo>
                    <a:lnTo>
                      <a:pt x="2" y="4"/>
                    </a:lnTo>
                    <a:lnTo>
                      <a:pt x="6" y="4"/>
                    </a:lnTo>
                    <a:lnTo>
                      <a:pt x="8" y="4"/>
                    </a:lnTo>
                    <a:lnTo>
                      <a:pt x="1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0" name="Freeform 5986"/>
              <p:cNvSpPr>
                <a:spLocks/>
              </p:cNvSpPr>
              <p:nvPr/>
            </p:nvSpPr>
            <p:spPr bwMode="auto">
              <a:xfrm>
                <a:off x="4517537" y="2201339"/>
                <a:ext cx="1659" cy="1658"/>
              </a:xfrm>
              <a:custGeom>
                <a:avLst/>
                <a:gdLst>
                  <a:gd name="T0" fmla="*/ 0 w 4"/>
                  <a:gd name="T1" fmla="*/ 2147483647 h 4"/>
                  <a:gd name="T2" fmla="*/ 0 w 4"/>
                  <a:gd name="T3" fmla="*/ 2147483647 h 4"/>
                  <a:gd name="T4" fmla="*/ 0 w 4"/>
                  <a:gd name="T5" fmla="*/ 2147483647 h 4"/>
                  <a:gd name="T6" fmla="*/ 2147483647 w 4"/>
                  <a:gd name="T7" fmla="*/ 2147483647 h 4"/>
                  <a:gd name="T8" fmla="*/ 2147483647 w 4"/>
                  <a:gd name="T9" fmla="*/ 2147483647 h 4"/>
                  <a:gd name="T10" fmla="*/ 2147483647 w 4"/>
                  <a:gd name="T11" fmla="*/ 0 h 4"/>
                  <a:gd name="T12" fmla="*/ 2147483647 w 4"/>
                  <a:gd name="T13" fmla="*/ 0 h 4"/>
                  <a:gd name="T14" fmla="*/ 2147483647 w 4"/>
                  <a:gd name="T15" fmla="*/ 0 h 4"/>
                  <a:gd name="T16" fmla="*/ 0 w 4"/>
                  <a:gd name="T17" fmla="*/ 0 h 4"/>
                  <a:gd name="T18" fmla="*/ 0 w 4"/>
                  <a:gd name="T19" fmla="*/ 2147483647 h 4"/>
                  <a:gd name="T20" fmla="*/ 0 w 4"/>
                  <a:gd name="T21" fmla="*/ 2147483647 h 4"/>
                  <a:gd name="T22" fmla="*/ 0 w 4"/>
                  <a:gd name="T23" fmla="*/ 2147483647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4"/>
                  <a:gd name="T38" fmla="*/ 4 w 4"/>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4">
                    <a:moveTo>
                      <a:pt x="0" y="4"/>
                    </a:moveTo>
                    <a:lnTo>
                      <a:pt x="0" y="4"/>
                    </a:lnTo>
                    <a:lnTo>
                      <a:pt x="2" y="4"/>
                    </a:lnTo>
                    <a:lnTo>
                      <a:pt x="4" y="2"/>
                    </a:lnTo>
                    <a:lnTo>
                      <a:pt x="4" y="0"/>
                    </a:lnTo>
                    <a:lnTo>
                      <a:pt x="2" y="0"/>
                    </a:lnTo>
                    <a:lnTo>
                      <a:pt x="0" y="0"/>
                    </a:lnTo>
                    <a:lnTo>
                      <a:pt x="0" y="2"/>
                    </a:lnTo>
                    <a:lnTo>
                      <a:pt x="0"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1" name="Freeform 5987"/>
              <p:cNvSpPr>
                <a:spLocks/>
              </p:cNvSpPr>
              <p:nvPr/>
            </p:nvSpPr>
            <p:spPr bwMode="auto">
              <a:xfrm>
                <a:off x="4341654" y="3014226"/>
                <a:ext cx="3319" cy="6636"/>
              </a:xfrm>
              <a:custGeom>
                <a:avLst/>
                <a:gdLst>
                  <a:gd name="T0" fmla="*/ 0 w 8"/>
                  <a:gd name="T1" fmla="*/ 0 h 10"/>
                  <a:gd name="T2" fmla="*/ 0 w 8"/>
                  <a:gd name="T3" fmla="*/ 0 h 10"/>
                  <a:gd name="T4" fmla="*/ 0 w 8"/>
                  <a:gd name="T5" fmla="*/ 2147483647 h 10"/>
                  <a:gd name="T6" fmla="*/ 0 w 8"/>
                  <a:gd name="T7" fmla="*/ 2147483647 h 10"/>
                  <a:gd name="T8" fmla="*/ 2147483647 w 8"/>
                  <a:gd name="T9" fmla="*/ 2147483647 h 10"/>
                  <a:gd name="T10" fmla="*/ 2147483647 w 8"/>
                  <a:gd name="T11" fmla="*/ 2147483647 h 10"/>
                  <a:gd name="T12" fmla="*/ 2147483647 w 8"/>
                  <a:gd name="T13" fmla="*/ 2147483647 h 10"/>
                  <a:gd name="T14" fmla="*/ 2147483647 w 8"/>
                  <a:gd name="T15" fmla="*/ 2147483647 h 10"/>
                  <a:gd name="T16" fmla="*/ 2147483647 w 8"/>
                  <a:gd name="T17" fmla="*/ 2147483647 h 10"/>
                  <a:gd name="T18" fmla="*/ 2147483647 w 8"/>
                  <a:gd name="T19" fmla="*/ 0 h 10"/>
                  <a:gd name="T20" fmla="*/ 0 w 8"/>
                  <a:gd name="T21" fmla="*/ 0 h 10"/>
                  <a:gd name="T22" fmla="*/ 0 w 8"/>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0"/>
                  <a:gd name="T38" fmla="*/ 8 w 8"/>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0">
                    <a:moveTo>
                      <a:pt x="0" y="0"/>
                    </a:moveTo>
                    <a:lnTo>
                      <a:pt x="0" y="0"/>
                    </a:lnTo>
                    <a:lnTo>
                      <a:pt x="0" y="4"/>
                    </a:lnTo>
                    <a:lnTo>
                      <a:pt x="0" y="8"/>
                    </a:lnTo>
                    <a:lnTo>
                      <a:pt x="4" y="10"/>
                    </a:lnTo>
                    <a:lnTo>
                      <a:pt x="8" y="10"/>
                    </a:lnTo>
                    <a:lnTo>
                      <a:pt x="8" y="8"/>
                    </a:lnTo>
                    <a:lnTo>
                      <a:pt x="6" y="4"/>
                    </a:lnTo>
                    <a:lnTo>
                      <a:pt x="4" y="0"/>
                    </a:lnTo>
                    <a:lnTo>
                      <a:pt x="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2" name="Freeform 5988"/>
              <p:cNvSpPr>
                <a:spLocks/>
              </p:cNvSpPr>
              <p:nvPr/>
            </p:nvSpPr>
            <p:spPr bwMode="auto">
              <a:xfrm>
                <a:off x="4914105" y="4210330"/>
                <a:ext cx="9956" cy="19907"/>
              </a:xfrm>
              <a:custGeom>
                <a:avLst/>
                <a:gdLst>
                  <a:gd name="T0" fmla="*/ 2147483647 w 16"/>
                  <a:gd name="T1" fmla="*/ 2147483647 h 36"/>
                  <a:gd name="T2" fmla="*/ 2147483647 w 16"/>
                  <a:gd name="T3" fmla="*/ 2147483647 h 36"/>
                  <a:gd name="T4" fmla="*/ 0 w 16"/>
                  <a:gd name="T5" fmla="*/ 2147483647 h 36"/>
                  <a:gd name="T6" fmla="*/ 0 w 16"/>
                  <a:gd name="T7" fmla="*/ 2147483647 h 36"/>
                  <a:gd name="T8" fmla="*/ 2147483647 w 16"/>
                  <a:gd name="T9" fmla="*/ 2147483647 h 36"/>
                  <a:gd name="T10" fmla="*/ 2147483647 w 16"/>
                  <a:gd name="T11" fmla="*/ 2147483647 h 36"/>
                  <a:gd name="T12" fmla="*/ 2147483647 w 16"/>
                  <a:gd name="T13" fmla="*/ 2147483647 h 36"/>
                  <a:gd name="T14" fmla="*/ 2147483647 w 16"/>
                  <a:gd name="T15" fmla="*/ 2147483647 h 36"/>
                  <a:gd name="T16" fmla="*/ 2147483647 w 16"/>
                  <a:gd name="T17" fmla="*/ 2147483647 h 36"/>
                  <a:gd name="T18" fmla="*/ 2147483647 w 16"/>
                  <a:gd name="T19" fmla="*/ 2147483647 h 36"/>
                  <a:gd name="T20" fmla="*/ 2147483647 w 16"/>
                  <a:gd name="T21" fmla="*/ 2147483647 h 36"/>
                  <a:gd name="T22" fmla="*/ 2147483647 w 16"/>
                  <a:gd name="T23" fmla="*/ 2147483647 h 36"/>
                  <a:gd name="T24" fmla="*/ 2147483647 w 16"/>
                  <a:gd name="T25" fmla="*/ 2147483647 h 36"/>
                  <a:gd name="T26" fmla="*/ 2147483647 w 16"/>
                  <a:gd name="T27" fmla="*/ 2147483647 h 36"/>
                  <a:gd name="T28" fmla="*/ 2147483647 w 16"/>
                  <a:gd name="T29" fmla="*/ 2147483647 h 36"/>
                  <a:gd name="T30" fmla="*/ 2147483647 w 16"/>
                  <a:gd name="T31" fmla="*/ 2147483647 h 36"/>
                  <a:gd name="T32" fmla="*/ 2147483647 w 16"/>
                  <a:gd name="T33" fmla="*/ 2147483647 h 36"/>
                  <a:gd name="T34" fmla="*/ 2147483647 w 16"/>
                  <a:gd name="T35" fmla="*/ 0 h 36"/>
                  <a:gd name="T36" fmla="*/ 2147483647 w 16"/>
                  <a:gd name="T37" fmla="*/ 0 h 36"/>
                  <a:gd name="T38" fmla="*/ 2147483647 w 16"/>
                  <a:gd name="T39" fmla="*/ 2147483647 h 36"/>
                  <a:gd name="T40" fmla="*/ 2147483647 w 16"/>
                  <a:gd name="T41" fmla="*/ 2147483647 h 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36"/>
                  <a:gd name="T65" fmla="*/ 16 w 16"/>
                  <a:gd name="T66" fmla="*/ 36 h 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36">
                    <a:moveTo>
                      <a:pt x="2" y="6"/>
                    </a:moveTo>
                    <a:lnTo>
                      <a:pt x="2" y="6"/>
                    </a:lnTo>
                    <a:lnTo>
                      <a:pt x="0" y="12"/>
                    </a:lnTo>
                    <a:lnTo>
                      <a:pt x="0" y="18"/>
                    </a:lnTo>
                    <a:lnTo>
                      <a:pt x="4" y="24"/>
                    </a:lnTo>
                    <a:lnTo>
                      <a:pt x="8" y="30"/>
                    </a:lnTo>
                    <a:lnTo>
                      <a:pt x="12" y="36"/>
                    </a:lnTo>
                    <a:lnTo>
                      <a:pt x="16" y="36"/>
                    </a:lnTo>
                    <a:lnTo>
                      <a:pt x="16" y="32"/>
                    </a:lnTo>
                    <a:lnTo>
                      <a:pt x="14" y="26"/>
                    </a:lnTo>
                    <a:lnTo>
                      <a:pt x="14" y="20"/>
                    </a:lnTo>
                    <a:lnTo>
                      <a:pt x="12" y="18"/>
                    </a:lnTo>
                    <a:lnTo>
                      <a:pt x="10" y="14"/>
                    </a:lnTo>
                    <a:lnTo>
                      <a:pt x="8" y="8"/>
                    </a:lnTo>
                    <a:lnTo>
                      <a:pt x="6" y="0"/>
                    </a:lnTo>
                    <a:lnTo>
                      <a:pt x="4" y="0"/>
                    </a:lnTo>
                    <a:lnTo>
                      <a:pt x="2"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3" name="Freeform 5989"/>
              <p:cNvSpPr>
                <a:spLocks/>
              </p:cNvSpPr>
              <p:nvPr/>
            </p:nvSpPr>
            <p:spPr bwMode="auto">
              <a:xfrm>
                <a:off x="4925720" y="4185446"/>
                <a:ext cx="6637" cy="16590"/>
              </a:xfrm>
              <a:custGeom>
                <a:avLst/>
                <a:gdLst>
                  <a:gd name="T0" fmla="*/ 2147483647 w 10"/>
                  <a:gd name="T1" fmla="*/ 2147483647 h 28"/>
                  <a:gd name="T2" fmla="*/ 2147483647 w 10"/>
                  <a:gd name="T3" fmla="*/ 2147483647 h 28"/>
                  <a:gd name="T4" fmla="*/ 2147483647 w 10"/>
                  <a:gd name="T5" fmla="*/ 2147483647 h 28"/>
                  <a:gd name="T6" fmla="*/ 2147483647 w 10"/>
                  <a:gd name="T7" fmla="*/ 2147483647 h 28"/>
                  <a:gd name="T8" fmla="*/ 2147483647 w 10"/>
                  <a:gd name="T9" fmla="*/ 2147483647 h 28"/>
                  <a:gd name="T10" fmla="*/ 2147483647 w 10"/>
                  <a:gd name="T11" fmla="*/ 2147483647 h 28"/>
                  <a:gd name="T12" fmla="*/ 2147483647 w 10"/>
                  <a:gd name="T13" fmla="*/ 2147483647 h 28"/>
                  <a:gd name="T14" fmla="*/ 2147483647 w 10"/>
                  <a:gd name="T15" fmla="*/ 2147483647 h 28"/>
                  <a:gd name="T16" fmla="*/ 2147483647 w 10"/>
                  <a:gd name="T17" fmla="*/ 2147483647 h 28"/>
                  <a:gd name="T18" fmla="*/ 2147483647 w 10"/>
                  <a:gd name="T19" fmla="*/ 2147483647 h 28"/>
                  <a:gd name="T20" fmla="*/ 2147483647 w 10"/>
                  <a:gd name="T21" fmla="*/ 0 h 28"/>
                  <a:gd name="T22" fmla="*/ 2147483647 w 10"/>
                  <a:gd name="T23" fmla="*/ 2147483647 h 28"/>
                  <a:gd name="T24" fmla="*/ 2147483647 w 10"/>
                  <a:gd name="T25" fmla="*/ 2147483647 h 28"/>
                  <a:gd name="T26" fmla="*/ 2147483647 w 10"/>
                  <a:gd name="T27" fmla="*/ 2147483647 h 28"/>
                  <a:gd name="T28" fmla="*/ 2147483647 w 10"/>
                  <a:gd name="T29" fmla="*/ 2147483647 h 28"/>
                  <a:gd name="T30" fmla="*/ 2147483647 w 10"/>
                  <a:gd name="T31" fmla="*/ 2147483647 h 28"/>
                  <a:gd name="T32" fmla="*/ 0 w 10"/>
                  <a:gd name="T33" fmla="*/ 2147483647 h 28"/>
                  <a:gd name="T34" fmla="*/ 2147483647 w 10"/>
                  <a:gd name="T35" fmla="*/ 2147483647 h 28"/>
                  <a:gd name="T36" fmla="*/ 2147483647 w 10"/>
                  <a:gd name="T37" fmla="*/ 2147483647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
                  <a:gd name="T58" fmla="*/ 0 h 28"/>
                  <a:gd name="T59" fmla="*/ 10 w 10"/>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 h="28">
                    <a:moveTo>
                      <a:pt x="2" y="28"/>
                    </a:moveTo>
                    <a:lnTo>
                      <a:pt x="2" y="28"/>
                    </a:lnTo>
                    <a:lnTo>
                      <a:pt x="4" y="28"/>
                    </a:lnTo>
                    <a:lnTo>
                      <a:pt x="6" y="26"/>
                    </a:lnTo>
                    <a:lnTo>
                      <a:pt x="8" y="16"/>
                    </a:lnTo>
                    <a:lnTo>
                      <a:pt x="10" y="6"/>
                    </a:lnTo>
                    <a:lnTo>
                      <a:pt x="8" y="4"/>
                    </a:lnTo>
                    <a:lnTo>
                      <a:pt x="6" y="2"/>
                    </a:lnTo>
                    <a:lnTo>
                      <a:pt x="2" y="0"/>
                    </a:lnTo>
                    <a:lnTo>
                      <a:pt x="2" y="2"/>
                    </a:lnTo>
                    <a:lnTo>
                      <a:pt x="2" y="12"/>
                    </a:lnTo>
                    <a:lnTo>
                      <a:pt x="2" y="18"/>
                    </a:lnTo>
                    <a:lnTo>
                      <a:pt x="2" y="22"/>
                    </a:lnTo>
                    <a:lnTo>
                      <a:pt x="0" y="24"/>
                    </a:lnTo>
                    <a:lnTo>
                      <a:pt x="2" y="2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4" name="Freeform 5990"/>
              <p:cNvSpPr>
                <a:spLocks/>
              </p:cNvSpPr>
              <p:nvPr/>
            </p:nvSpPr>
            <p:spPr bwMode="auto">
              <a:xfrm>
                <a:off x="4925720" y="4263416"/>
                <a:ext cx="6637" cy="9954"/>
              </a:xfrm>
              <a:custGeom>
                <a:avLst/>
                <a:gdLst>
                  <a:gd name="T0" fmla="*/ 2147483647 w 12"/>
                  <a:gd name="T1" fmla="*/ 2147483647 h 18"/>
                  <a:gd name="T2" fmla="*/ 2147483647 w 12"/>
                  <a:gd name="T3" fmla="*/ 2147483647 h 18"/>
                  <a:gd name="T4" fmla="*/ 2147483647 w 12"/>
                  <a:gd name="T5" fmla="*/ 2147483647 h 18"/>
                  <a:gd name="T6" fmla="*/ 2147483647 w 12"/>
                  <a:gd name="T7" fmla="*/ 2147483647 h 18"/>
                  <a:gd name="T8" fmla="*/ 2147483647 w 12"/>
                  <a:gd name="T9" fmla="*/ 2147483647 h 18"/>
                  <a:gd name="T10" fmla="*/ 2147483647 w 12"/>
                  <a:gd name="T11" fmla="*/ 2147483647 h 18"/>
                  <a:gd name="T12" fmla="*/ 2147483647 w 12"/>
                  <a:gd name="T13" fmla="*/ 0 h 18"/>
                  <a:gd name="T14" fmla="*/ 2147483647 w 12"/>
                  <a:gd name="T15" fmla="*/ 2147483647 h 18"/>
                  <a:gd name="T16" fmla="*/ 2147483647 w 12"/>
                  <a:gd name="T17" fmla="*/ 2147483647 h 18"/>
                  <a:gd name="T18" fmla="*/ 0 w 12"/>
                  <a:gd name="T19" fmla="*/ 2147483647 h 18"/>
                  <a:gd name="T20" fmla="*/ 0 w 12"/>
                  <a:gd name="T21" fmla="*/ 2147483647 h 18"/>
                  <a:gd name="T22" fmla="*/ 2147483647 w 12"/>
                  <a:gd name="T23" fmla="*/ 2147483647 h 18"/>
                  <a:gd name="T24" fmla="*/ 2147483647 w 12"/>
                  <a:gd name="T25" fmla="*/ 2147483647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18"/>
                  <a:gd name="T41" fmla="*/ 12 w 12"/>
                  <a:gd name="T42" fmla="*/ 18 h 1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18">
                    <a:moveTo>
                      <a:pt x="4" y="18"/>
                    </a:moveTo>
                    <a:lnTo>
                      <a:pt x="4" y="18"/>
                    </a:lnTo>
                    <a:lnTo>
                      <a:pt x="6" y="16"/>
                    </a:lnTo>
                    <a:lnTo>
                      <a:pt x="10" y="12"/>
                    </a:lnTo>
                    <a:lnTo>
                      <a:pt x="12" y="2"/>
                    </a:lnTo>
                    <a:lnTo>
                      <a:pt x="12" y="0"/>
                    </a:lnTo>
                    <a:lnTo>
                      <a:pt x="10" y="2"/>
                    </a:lnTo>
                    <a:lnTo>
                      <a:pt x="4" y="8"/>
                    </a:lnTo>
                    <a:lnTo>
                      <a:pt x="0" y="14"/>
                    </a:lnTo>
                    <a:lnTo>
                      <a:pt x="0" y="18"/>
                    </a:lnTo>
                    <a:lnTo>
                      <a:pt x="4" y="1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5" name="Freeform 5991"/>
              <p:cNvSpPr>
                <a:spLocks/>
              </p:cNvSpPr>
              <p:nvPr/>
            </p:nvSpPr>
            <p:spPr bwMode="auto">
              <a:xfrm>
                <a:off x="4572293" y="2969434"/>
                <a:ext cx="3319" cy="4977"/>
              </a:xfrm>
              <a:custGeom>
                <a:avLst/>
                <a:gdLst>
                  <a:gd name="T0" fmla="*/ 2147483647 w 4"/>
                  <a:gd name="T1" fmla="*/ 2147483647 h 8"/>
                  <a:gd name="T2" fmla="*/ 2147483647 w 4"/>
                  <a:gd name="T3" fmla="*/ 2147483647 h 8"/>
                  <a:gd name="T4" fmla="*/ 2147483647 w 4"/>
                  <a:gd name="T5" fmla="*/ 2147483647 h 8"/>
                  <a:gd name="T6" fmla="*/ 2147483647 w 4"/>
                  <a:gd name="T7" fmla="*/ 0 h 8"/>
                  <a:gd name="T8" fmla="*/ 2147483647 w 4"/>
                  <a:gd name="T9" fmla="*/ 0 h 8"/>
                  <a:gd name="T10" fmla="*/ 2147483647 w 4"/>
                  <a:gd name="T11" fmla="*/ 0 h 8"/>
                  <a:gd name="T12" fmla="*/ 2147483647 w 4"/>
                  <a:gd name="T13" fmla="*/ 0 h 8"/>
                  <a:gd name="T14" fmla="*/ 0 w 4"/>
                  <a:gd name="T15" fmla="*/ 2147483647 h 8"/>
                  <a:gd name="T16" fmla="*/ 0 w 4"/>
                  <a:gd name="T17" fmla="*/ 2147483647 h 8"/>
                  <a:gd name="T18" fmla="*/ 0 w 4"/>
                  <a:gd name="T19" fmla="*/ 2147483647 h 8"/>
                  <a:gd name="T20" fmla="*/ 2147483647 w 4"/>
                  <a:gd name="T21" fmla="*/ 2147483647 h 8"/>
                  <a:gd name="T22" fmla="*/ 2147483647 w 4"/>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8"/>
                  <a:gd name="T38" fmla="*/ 4 w 4"/>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8">
                    <a:moveTo>
                      <a:pt x="2" y="8"/>
                    </a:moveTo>
                    <a:lnTo>
                      <a:pt x="2" y="8"/>
                    </a:lnTo>
                    <a:lnTo>
                      <a:pt x="4" y="6"/>
                    </a:lnTo>
                    <a:lnTo>
                      <a:pt x="4" y="0"/>
                    </a:lnTo>
                    <a:lnTo>
                      <a:pt x="2" y="0"/>
                    </a:lnTo>
                    <a:lnTo>
                      <a:pt x="0" y="2"/>
                    </a:lnTo>
                    <a:lnTo>
                      <a:pt x="0" y="6"/>
                    </a:lnTo>
                    <a:lnTo>
                      <a:pt x="0" y="8"/>
                    </a:lnTo>
                    <a:lnTo>
                      <a:pt x="2"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6" name="Freeform 5992"/>
              <p:cNvSpPr>
                <a:spLocks/>
              </p:cNvSpPr>
              <p:nvPr/>
            </p:nvSpPr>
            <p:spPr bwMode="auto">
              <a:xfrm>
                <a:off x="4577271" y="2921325"/>
                <a:ext cx="3319" cy="8294"/>
              </a:xfrm>
              <a:custGeom>
                <a:avLst/>
                <a:gdLst>
                  <a:gd name="T0" fmla="*/ 0 w 8"/>
                  <a:gd name="T1" fmla="*/ 0 h 12"/>
                  <a:gd name="T2" fmla="*/ 0 w 8"/>
                  <a:gd name="T3" fmla="*/ 0 h 12"/>
                  <a:gd name="T4" fmla="*/ 0 w 8"/>
                  <a:gd name="T5" fmla="*/ 2147483647 h 12"/>
                  <a:gd name="T6" fmla="*/ 2147483647 w 8"/>
                  <a:gd name="T7" fmla="*/ 2147483647 h 12"/>
                  <a:gd name="T8" fmla="*/ 2147483647 w 8"/>
                  <a:gd name="T9" fmla="*/ 2147483647 h 12"/>
                  <a:gd name="T10" fmla="*/ 2147483647 w 8"/>
                  <a:gd name="T11" fmla="*/ 2147483647 h 12"/>
                  <a:gd name="T12" fmla="*/ 2147483647 w 8"/>
                  <a:gd name="T13" fmla="*/ 2147483647 h 12"/>
                  <a:gd name="T14" fmla="*/ 2147483647 w 8"/>
                  <a:gd name="T15" fmla="*/ 2147483647 h 12"/>
                  <a:gd name="T16" fmla="*/ 2147483647 w 8"/>
                  <a:gd name="T17" fmla="*/ 2147483647 h 12"/>
                  <a:gd name="T18" fmla="*/ 0 w 8"/>
                  <a:gd name="T19" fmla="*/ 0 h 12"/>
                  <a:gd name="T20" fmla="*/ 0 w 8"/>
                  <a:gd name="T21" fmla="*/ 0 h 12"/>
                  <a:gd name="T22" fmla="*/ 0 w 8"/>
                  <a:gd name="T23" fmla="*/ 0 h 12"/>
                  <a:gd name="T24" fmla="*/ 0 w 8"/>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12"/>
                  <a:gd name="T41" fmla="*/ 8 w 8"/>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12">
                    <a:moveTo>
                      <a:pt x="0" y="0"/>
                    </a:moveTo>
                    <a:lnTo>
                      <a:pt x="0" y="0"/>
                    </a:lnTo>
                    <a:lnTo>
                      <a:pt x="0" y="8"/>
                    </a:lnTo>
                    <a:lnTo>
                      <a:pt x="2" y="10"/>
                    </a:lnTo>
                    <a:lnTo>
                      <a:pt x="6" y="12"/>
                    </a:lnTo>
                    <a:lnTo>
                      <a:pt x="8" y="12"/>
                    </a:lnTo>
                    <a:lnTo>
                      <a:pt x="6" y="10"/>
                    </a:lnTo>
                    <a:lnTo>
                      <a:pt x="4" y="4"/>
                    </a:lnTo>
                    <a:lnTo>
                      <a:pt x="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7" name="Freeform 5993"/>
              <p:cNvSpPr>
                <a:spLocks/>
              </p:cNvSpPr>
              <p:nvPr/>
            </p:nvSpPr>
            <p:spPr bwMode="auto">
              <a:xfrm>
                <a:off x="4537449" y="2921325"/>
                <a:ext cx="39823" cy="31520"/>
              </a:xfrm>
              <a:custGeom>
                <a:avLst/>
                <a:gdLst>
                  <a:gd name="T0" fmla="*/ 2147483647 w 70"/>
                  <a:gd name="T1" fmla="*/ 2147483647 h 56"/>
                  <a:gd name="T2" fmla="*/ 2147483647 w 70"/>
                  <a:gd name="T3" fmla="*/ 2147483647 h 56"/>
                  <a:gd name="T4" fmla="*/ 2147483647 w 70"/>
                  <a:gd name="T5" fmla="*/ 2147483647 h 56"/>
                  <a:gd name="T6" fmla="*/ 2147483647 w 70"/>
                  <a:gd name="T7" fmla="*/ 2147483647 h 56"/>
                  <a:gd name="T8" fmla="*/ 2147483647 w 70"/>
                  <a:gd name="T9" fmla="*/ 2147483647 h 56"/>
                  <a:gd name="T10" fmla="*/ 2147483647 w 70"/>
                  <a:gd name="T11" fmla="*/ 2147483647 h 56"/>
                  <a:gd name="T12" fmla="*/ 2147483647 w 70"/>
                  <a:gd name="T13" fmla="*/ 2147483647 h 56"/>
                  <a:gd name="T14" fmla="*/ 2147483647 w 70"/>
                  <a:gd name="T15" fmla="*/ 2147483647 h 56"/>
                  <a:gd name="T16" fmla="*/ 2147483647 w 70"/>
                  <a:gd name="T17" fmla="*/ 2147483647 h 56"/>
                  <a:gd name="T18" fmla="*/ 2147483647 w 70"/>
                  <a:gd name="T19" fmla="*/ 2147483647 h 56"/>
                  <a:gd name="T20" fmla="*/ 2147483647 w 70"/>
                  <a:gd name="T21" fmla="*/ 2147483647 h 56"/>
                  <a:gd name="T22" fmla="*/ 2147483647 w 70"/>
                  <a:gd name="T23" fmla="*/ 2147483647 h 56"/>
                  <a:gd name="T24" fmla="*/ 2147483647 w 70"/>
                  <a:gd name="T25" fmla="*/ 2147483647 h 56"/>
                  <a:gd name="T26" fmla="*/ 2147483647 w 70"/>
                  <a:gd name="T27" fmla="*/ 0 h 56"/>
                  <a:gd name="T28" fmla="*/ 2147483647 w 70"/>
                  <a:gd name="T29" fmla="*/ 0 h 56"/>
                  <a:gd name="T30" fmla="*/ 2147483647 w 70"/>
                  <a:gd name="T31" fmla="*/ 2147483647 h 56"/>
                  <a:gd name="T32" fmla="*/ 2147483647 w 70"/>
                  <a:gd name="T33" fmla="*/ 2147483647 h 56"/>
                  <a:gd name="T34" fmla="*/ 0 w 70"/>
                  <a:gd name="T35" fmla="*/ 2147483647 h 56"/>
                  <a:gd name="T36" fmla="*/ 0 w 70"/>
                  <a:gd name="T37" fmla="*/ 2147483647 h 56"/>
                  <a:gd name="T38" fmla="*/ 0 w 70"/>
                  <a:gd name="T39" fmla="*/ 2147483647 h 56"/>
                  <a:gd name="T40" fmla="*/ 2147483647 w 70"/>
                  <a:gd name="T41" fmla="*/ 2147483647 h 56"/>
                  <a:gd name="T42" fmla="*/ 2147483647 w 70"/>
                  <a:gd name="T43" fmla="*/ 2147483647 h 56"/>
                  <a:gd name="T44" fmla="*/ 2147483647 w 70"/>
                  <a:gd name="T45" fmla="*/ 2147483647 h 56"/>
                  <a:gd name="T46" fmla="*/ 2147483647 w 70"/>
                  <a:gd name="T47" fmla="*/ 2147483647 h 56"/>
                  <a:gd name="T48" fmla="*/ 2147483647 w 70"/>
                  <a:gd name="T49" fmla="*/ 2147483647 h 56"/>
                  <a:gd name="T50" fmla="*/ 2147483647 w 70"/>
                  <a:gd name="T51" fmla="*/ 2147483647 h 56"/>
                  <a:gd name="T52" fmla="*/ 2147483647 w 70"/>
                  <a:gd name="T53" fmla="*/ 2147483647 h 56"/>
                  <a:gd name="T54" fmla="*/ 2147483647 w 70"/>
                  <a:gd name="T55" fmla="*/ 2147483647 h 56"/>
                  <a:gd name="T56" fmla="*/ 2147483647 w 70"/>
                  <a:gd name="T57" fmla="*/ 2147483647 h 56"/>
                  <a:gd name="T58" fmla="*/ 2147483647 w 70"/>
                  <a:gd name="T59" fmla="*/ 2147483647 h 56"/>
                  <a:gd name="T60" fmla="*/ 2147483647 w 70"/>
                  <a:gd name="T61" fmla="*/ 2147483647 h 56"/>
                  <a:gd name="T62" fmla="*/ 2147483647 w 70"/>
                  <a:gd name="T63" fmla="*/ 2147483647 h 56"/>
                  <a:gd name="T64" fmla="*/ 2147483647 w 70"/>
                  <a:gd name="T65" fmla="*/ 2147483647 h 56"/>
                  <a:gd name="T66" fmla="*/ 2147483647 w 70"/>
                  <a:gd name="T67" fmla="*/ 2147483647 h 56"/>
                  <a:gd name="T68" fmla="*/ 2147483647 w 70"/>
                  <a:gd name="T69" fmla="*/ 2147483647 h 56"/>
                  <a:gd name="T70" fmla="*/ 2147483647 w 70"/>
                  <a:gd name="T71" fmla="*/ 2147483647 h 56"/>
                  <a:gd name="T72" fmla="*/ 2147483647 w 70"/>
                  <a:gd name="T73" fmla="*/ 2147483647 h 56"/>
                  <a:gd name="T74" fmla="*/ 2147483647 w 70"/>
                  <a:gd name="T75" fmla="*/ 2147483647 h 56"/>
                  <a:gd name="T76" fmla="*/ 2147483647 w 70"/>
                  <a:gd name="T77" fmla="*/ 2147483647 h 5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70"/>
                  <a:gd name="T118" fmla="*/ 0 h 56"/>
                  <a:gd name="T119" fmla="*/ 70 w 70"/>
                  <a:gd name="T120" fmla="*/ 56 h 5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70" h="56">
                    <a:moveTo>
                      <a:pt x="62" y="46"/>
                    </a:moveTo>
                    <a:lnTo>
                      <a:pt x="62" y="46"/>
                    </a:lnTo>
                    <a:lnTo>
                      <a:pt x="58" y="42"/>
                    </a:lnTo>
                    <a:lnTo>
                      <a:pt x="56" y="36"/>
                    </a:lnTo>
                    <a:lnTo>
                      <a:pt x="52" y="22"/>
                    </a:lnTo>
                    <a:lnTo>
                      <a:pt x="52" y="18"/>
                    </a:lnTo>
                    <a:lnTo>
                      <a:pt x="50" y="16"/>
                    </a:lnTo>
                    <a:lnTo>
                      <a:pt x="44" y="16"/>
                    </a:lnTo>
                    <a:lnTo>
                      <a:pt x="36" y="14"/>
                    </a:lnTo>
                    <a:lnTo>
                      <a:pt x="30" y="10"/>
                    </a:lnTo>
                    <a:lnTo>
                      <a:pt x="22" y="2"/>
                    </a:lnTo>
                    <a:lnTo>
                      <a:pt x="20" y="0"/>
                    </a:lnTo>
                    <a:lnTo>
                      <a:pt x="16" y="0"/>
                    </a:lnTo>
                    <a:lnTo>
                      <a:pt x="8" y="2"/>
                    </a:lnTo>
                    <a:lnTo>
                      <a:pt x="2" y="4"/>
                    </a:lnTo>
                    <a:lnTo>
                      <a:pt x="0" y="6"/>
                    </a:lnTo>
                    <a:lnTo>
                      <a:pt x="0" y="8"/>
                    </a:lnTo>
                    <a:lnTo>
                      <a:pt x="8" y="8"/>
                    </a:lnTo>
                    <a:lnTo>
                      <a:pt x="24" y="16"/>
                    </a:lnTo>
                    <a:lnTo>
                      <a:pt x="30" y="22"/>
                    </a:lnTo>
                    <a:lnTo>
                      <a:pt x="32" y="28"/>
                    </a:lnTo>
                    <a:lnTo>
                      <a:pt x="34" y="30"/>
                    </a:lnTo>
                    <a:lnTo>
                      <a:pt x="38" y="32"/>
                    </a:lnTo>
                    <a:lnTo>
                      <a:pt x="44" y="32"/>
                    </a:lnTo>
                    <a:lnTo>
                      <a:pt x="46" y="36"/>
                    </a:lnTo>
                    <a:lnTo>
                      <a:pt x="52" y="42"/>
                    </a:lnTo>
                    <a:lnTo>
                      <a:pt x="58" y="50"/>
                    </a:lnTo>
                    <a:lnTo>
                      <a:pt x="64" y="56"/>
                    </a:lnTo>
                    <a:lnTo>
                      <a:pt x="68" y="56"/>
                    </a:lnTo>
                    <a:lnTo>
                      <a:pt x="70" y="54"/>
                    </a:lnTo>
                    <a:lnTo>
                      <a:pt x="68" y="50"/>
                    </a:lnTo>
                    <a:lnTo>
                      <a:pt x="62" y="4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8" name="Freeform 5994"/>
              <p:cNvSpPr>
                <a:spLocks/>
              </p:cNvSpPr>
              <p:nvPr/>
            </p:nvSpPr>
            <p:spPr bwMode="auto">
              <a:xfrm>
                <a:off x="4602160" y="2881510"/>
                <a:ext cx="9956" cy="4976"/>
              </a:xfrm>
              <a:custGeom>
                <a:avLst/>
                <a:gdLst>
                  <a:gd name="T0" fmla="*/ 0 w 16"/>
                  <a:gd name="T1" fmla="*/ 2147483647 h 8"/>
                  <a:gd name="T2" fmla="*/ 0 w 16"/>
                  <a:gd name="T3" fmla="*/ 2147483647 h 8"/>
                  <a:gd name="T4" fmla="*/ 2147483647 w 16"/>
                  <a:gd name="T5" fmla="*/ 2147483647 h 8"/>
                  <a:gd name="T6" fmla="*/ 2147483647 w 16"/>
                  <a:gd name="T7" fmla="*/ 2147483647 h 8"/>
                  <a:gd name="T8" fmla="*/ 2147483647 w 16"/>
                  <a:gd name="T9" fmla="*/ 2147483647 h 8"/>
                  <a:gd name="T10" fmla="*/ 2147483647 w 16"/>
                  <a:gd name="T11" fmla="*/ 2147483647 h 8"/>
                  <a:gd name="T12" fmla="*/ 2147483647 w 16"/>
                  <a:gd name="T13" fmla="*/ 2147483647 h 8"/>
                  <a:gd name="T14" fmla="*/ 2147483647 w 16"/>
                  <a:gd name="T15" fmla="*/ 2147483647 h 8"/>
                  <a:gd name="T16" fmla="*/ 2147483647 w 16"/>
                  <a:gd name="T17" fmla="*/ 2147483647 h 8"/>
                  <a:gd name="T18" fmla="*/ 2147483647 w 16"/>
                  <a:gd name="T19" fmla="*/ 0 h 8"/>
                  <a:gd name="T20" fmla="*/ 2147483647 w 16"/>
                  <a:gd name="T21" fmla="*/ 2147483647 h 8"/>
                  <a:gd name="T22" fmla="*/ 0 w 16"/>
                  <a:gd name="T23" fmla="*/ 2147483647 h 8"/>
                  <a:gd name="T24" fmla="*/ 0 w 16"/>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8"/>
                  <a:gd name="T41" fmla="*/ 16 w 16"/>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8">
                    <a:moveTo>
                      <a:pt x="0" y="6"/>
                    </a:moveTo>
                    <a:lnTo>
                      <a:pt x="0" y="6"/>
                    </a:lnTo>
                    <a:lnTo>
                      <a:pt x="2" y="8"/>
                    </a:lnTo>
                    <a:lnTo>
                      <a:pt x="4" y="8"/>
                    </a:lnTo>
                    <a:lnTo>
                      <a:pt x="14" y="6"/>
                    </a:lnTo>
                    <a:lnTo>
                      <a:pt x="16" y="6"/>
                    </a:lnTo>
                    <a:lnTo>
                      <a:pt x="16" y="4"/>
                    </a:lnTo>
                    <a:lnTo>
                      <a:pt x="12" y="2"/>
                    </a:lnTo>
                    <a:lnTo>
                      <a:pt x="6" y="0"/>
                    </a:lnTo>
                    <a:lnTo>
                      <a:pt x="2" y="2"/>
                    </a:lnTo>
                    <a:lnTo>
                      <a:pt x="0"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9" name="Freeform 5995"/>
              <p:cNvSpPr>
                <a:spLocks/>
              </p:cNvSpPr>
              <p:nvPr/>
            </p:nvSpPr>
            <p:spPr bwMode="auto">
              <a:xfrm>
                <a:off x="4610457" y="2962798"/>
                <a:ext cx="8296" cy="4977"/>
              </a:xfrm>
              <a:custGeom>
                <a:avLst/>
                <a:gdLst>
                  <a:gd name="T0" fmla="*/ 2147483647 w 14"/>
                  <a:gd name="T1" fmla="*/ 2147483647 h 10"/>
                  <a:gd name="T2" fmla="*/ 2147483647 w 14"/>
                  <a:gd name="T3" fmla="*/ 2147483647 h 10"/>
                  <a:gd name="T4" fmla="*/ 2147483647 w 14"/>
                  <a:gd name="T5" fmla="*/ 0 h 10"/>
                  <a:gd name="T6" fmla="*/ 2147483647 w 14"/>
                  <a:gd name="T7" fmla="*/ 0 h 10"/>
                  <a:gd name="T8" fmla="*/ 2147483647 w 14"/>
                  <a:gd name="T9" fmla="*/ 2147483647 h 10"/>
                  <a:gd name="T10" fmla="*/ 2147483647 w 14"/>
                  <a:gd name="T11" fmla="*/ 2147483647 h 10"/>
                  <a:gd name="T12" fmla="*/ 0 w 14"/>
                  <a:gd name="T13" fmla="*/ 2147483647 h 10"/>
                  <a:gd name="T14" fmla="*/ 0 w 14"/>
                  <a:gd name="T15" fmla="*/ 2147483647 h 10"/>
                  <a:gd name="T16" fmla="*/ 0 w 14"/>
                  <a:gd name="T17" fmla="*/ 2147483647 h 10"/>
                  <a:gd name="T18" fmla="*/ 2147483647 w 14"/>
                  <a:gd name="T19" fmla="*/ 2147483647 h 10"/>
                  <a:gd name="T20" fmla="*/ 2147483647 w 14"/>
                  <a:gd name="T21" fmla="*/ 2147483647 h 10"/>
                  <a:gd name="T22" fmla="*/ 2147483647 w 14"/>
                  <a:gd name="T23" fmla="*/ 2147483647 h 10"/>
                  <a:gd name="T24" fmla="*/ 2147483647 w 14"/>
                  <a:gd name="T25" fmla="*/ 2147483647 h 10"/>
                  <a:gd name="T26" fmla="*/ 2147483647 w 14"/>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10"/>
                  <a:gd name="T44" fmla="*/ 14 w 14"/>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10">
                    <a:moveTo>
                      <a:pt x="14" y="2"/>
                    </a:moveTo>
                    <a:lnTo>
                      <a:pt x="14" y="2"/>
                    </a:lnTo>
                    <a:lnTo>
                      <a:pt x="14" y="0"/>
                    </a:lnTo>
                    <a:lnTo>
                      <a:pt x="12" y="0"/>
                    </a:lnTo>
                    <a:lnTo>
                      <a:pt x="8" y="2"/>
                    </a:lnTo>
                    <a:lnTo>
                      <a:pt x="2" y="4"/>
                    </a:lnTo>
                    <a:lnTo>
                      <a:pt x="0" y="8"/>
                    </a:lnTo>
                    <a:lnTo>
                      <a:pt x="0" y="10"/>
                    </a:lnTo>
                    <a:lnTo>
                      <a:pt x="2" y="10"/>
                    </a:lnTo>
                    <a:lnTo>
                      <a:pt x="8" y="8"/>
                    </a:lnTo>
                    <a:lnTo>
                      <a:pt x="12" y="4"/>
                    </a:lnTo>
                    <a:lnTo>
                      <a:pt x="14"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0" name="Freeform 5996"/>
              <p:cNvSpPr>
                <a:spLocks/>
              </p:cNvSpPr>
              <p:nvPr/>
            </p:nvSpPr>
            <p:spPr bwMode="auto">
              <a:xfrm>
                <a:off x="4607138" y="2934596"/>
                <a:ext cx="6637" cy="13272"/>
              </a:xfrm>
              <a:custGeom>
                <a:avLst/>
                <a:gdLst>
                  <a:gd name="T0" fmla="*/ 2147483647 w 12"/>
                  <a:gd name="T1" fmla="*/ 2147483647 h 24"/>
                  <a:gd name="T2" fmla="*/ 2147483647 w 12"/>
                  <a:gd name="T3" fmla="*/ 2147483647 h 24"/>
                  <a:gd name="T4" fmla="*/ 2147483647 w 12"/>
                  <a:gd name="T5" fmla="*/ 2147483647 h 24"/>
                  <a:gd name="T6" fmla="*/ 2147483647 w 12"/>
                  <a:gd name="T7" fmla="*/ 2147483647 h 24"/>
                  <a:gd name="T8" fmla="*/ 2147483647 w 12"/>
                  <a:gd name="T9" fmla="*/ 2147483647 h 24"/>
                  <a:gd name="T10" fmla="*/ 2147483647 w 12"/>
                  <a:gd name="T11" fmla="*/ 2147483647 h 24"/>
                  <a:gd name="T12" fmla="*/ 2147483647 w 12"/>
                  <a:gd name="T13" fmla="*/ 2147483647 h 24"/>
                  <a:gd name="T14" fmla="*/ 2147483647 w 12"/>
                  <a:gd name="T15" fmla="*/ 0 h 24"/>
                  <a:gd name="T16" fmla="*/ 2147483647 w 12"/>
                  <a:gd name="T17" fmla="*/ 0 h 24"/>
                  <a:gd name="T18" fmla="*/ 2147483647 w 12"/>
                  <a:gd name="T19" fmla="*/ 0 h 24"/>
                  <a:gd name="T20" fmla="*/ 2147483647 w 12"/>
                  <a:gd name="T21" fmla="*/ 0 h 24"/>
                  <a:gd name="T22" fmla="*/ 0 w 12"/>
                  <a:gd name="T23" fmla="*/ 2147483647 h 24"/>
                  <a:gd name="T24" fmla="*/ 0 w 12"/>
                  <a:gd name="T25" fmla="*/ 2147483647 h 24"/>
                  <a:gd name="T26" fmla="*/ 2147483647 w 12"/>
                  <a:gd name="T27" fmla="*/ 2147483647 h 24"/>
                  <a:gd name="T28" fmla="*/ 2147483647 w 12"/>
                  <a:gd name="T29" fmla="*/ 2147483647 h 24"/>
                  <a:gd name="T30" fmla="*/ 2147483647 w 12"/>
                  <a:gd name="T31" fmla="*/ 2147483647 h 24"/>
                  <a:gd name="T32" fmla="*/ 2147483647 w 12"/>
                  <a:gd name="T33" fmla="*/ 2147483647 h 24"/>
                  <a:gd name="T34" fmla="*/ 2147483647 w 12"/>
                  <a:gd name="T35" fmla="*/ 2147483647 h 24"/>
                  <a:gd name="T36" fmla="*/ 2147483647 w 12"/>
                  <a:gd name="T37" fmla="*/ 2147483647 h 24"/>
                  <a:gd name="T38" fmla="*/ 2147483647 w 12"/>
                  <a:gd name="T39" fmla="*/ 2147483647 h 24"/>
                  <a:gd name="T40" fmla="*/ 2147483647 w 12"/>
                  <a:gd name="T41" fmla="*/ 2147483647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
                  <a:gd name="T64" fmla="*/ 0 h 24"/>
                  <a:gd name="T65" fmla="*/ 12 w 12"/>
                  <a:gd name="T66" fmla="*/ 24 h 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 h="24">
                    <a:moveTo>
                      <a:pt x="6" y="24"/>
                    </a:moveTo>
                    <a:lnTo>
                      <a:pt x="6" y="24"/>
                    </a:lnTo>
                    <a:lnTo>
                      <a:pt x="10" y="20"/>
                    </a:lnTo>
                    <a:lnTo>
                      <a:pt x="12" y="16"/>
                    </a:lnTo>
                    <a:lnTo>
                      <a:pt x="12" y="12"/>
                    </a:lnTo>
                    <a:lnTo>
                      <a:pt x="12" y="8"/>
                    </a:lnTo>
                    <a:lnTo>
                      <a:pt x="12" y="4"/>
                    </a:lnTo>
                    <a:lnTo>
                      <a:pt x="8" y="0"/>
                    </a:lnTo>
                    <a:lnTo>
                      <a:pt x="6" y="0"/>
                    </a:lnTo>
                    <a:lnTo>
                      <a:pt x="2" y="0"/>
                    </a:lnTo>
                    <a:lnTo>
                      <a:pt x="0" y="2"/>
                    </a:lnTo>
                    <a:lnTo>
                      <a:pt x="0" y="4"/>
                    </a:lnTo>
                    <a:lnTo>
                      <a:pt x="4" y="8"/>
                    </a:lnTo>
                    <a:lnTo>
                      <a:pt x="4" y="12"/>
                    </a:lnTo>
                    <a:lnTo>
                      <a:pt x="2" y="18"/>
                    </a:lnTo>
                    <a:lnTo>
                      <a:pt x="2" y="24"/>
                    </a:lnTo>
                    <a:lnTo>
                      <a:pt x="6" y="2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1" name="Freeform 5997"/>
              <p:cNvSpPr>
                <a:spLocks/>
              </p:cNvSpPr>
              <p:nvPr/>
            </p:nvSpPr>
            <p:spPr bwMode="auto">
              <a:xfrm>
                <a:off x="4607138" y="2908053"/>
                <a:ext cx="14933" cy="13272"/>
              </a:xfrm>
              <a:custGeom>
                <a:avLst/>
                <a:gdLst>
                  <a:gd name="T0" fmla="*/ 2147483647 w 30"/>
                  <a:gd name="T1" fmla="*/ 0 h 22"/>
                  <a:gd name="T2" fmla="*/ 2147483647 w 30"/>
                  <a:gd name="T3" fmla="*/ 0 h 22"/>
                  <a:gd name="T4" fmla="*/ 2147483647 w 30"/>
                  <a:gd name="T5" fmla="*/ 0 h 22"/>
                  <a:gd name="T6" fmla="*/ 2147483647 w 30"/>
                  <a:gd name="T7" fmla="*/ 0 h 22"/>
                  <a:gd name="T8" fmla="*/ 2147483647 w 30"/>
                  <a:gd name="T9" fmla="*/ 2147483647 h 22"/>
                  <a:gd name="T10" fmla="*/ 2147483647 w 30"/>
                  <a:gd name="T11" fmla="*/ 2147483647 h 22"/>
                  <a:gd name="T12" fmla="*/ 0 w 30"/>
                  <a:gd name="T13" fmla="*/ 2147483647 h 22"/>
                  <a:gd name="T14" fmla="*/ 0 w 30"/>
                  <a:gd name="T15" fmla="*/ 2147483647 h 22"/>
                  <a:gd name="T16" fmla="*/ 2147483647 w 30"/>
                  <a:gd name="T17" fmla="*/ 2147483647 h 22"/>
                  <a:gd name="T18" fmla="*/ 2147483647 w 30"/>
                  <a:gd name="T19" fmla="*/ 2147483647 h 22"/>
                  <a:gd name="T20" fmla="*/ 2147483647 w 30"/>
                  <a:gd name="T21" fmla="*/ 2147483647 h 22"/>
                  <a:gd name="T22" fmla="*/ 2147483647 w 30"/>
                  <a:gd name="T23" fmla="*/ 2147483647 h 22"/>
                  <a:gd name="T24" fmla="*/ 2147483647 w 30"/>
                  <a:gd name="T25" fmla="*/ 2147483647 h 22"/>
                  <a:gd name="T26" fmla="*/ 2147483647 w 30"/>
                  <a:gd name="T27" fmla="*/ 2147483647 h 22"/>
                  <a:gd name="T28" fmla="*/ 2147483647 w 30"/>
                  <a:gd name="T29" fmla="*/ 2147483647 h 22"/>
                  <a:gd name="T30" fmla="*/ 2147483647 w 30"/>
                  <a:gd name="T31" fmla="*/ 2147483647 h 22"/>
                  <a:gd name="T32" fmla="*/ 2147483647 w 30"/>
                  <a:gd name="T33" fmla="*/ 2147483647 h 22"/>
                  <a:gd name="T34" fmla="*/ 2147483647 w 30"/>
                  <a:gd name="T35" fmla="*/ 2147483647 h 22"/>
                  <a:gd name="T36" fmla="*/ 2147483647 w 30"/>
                  <a:gd name="T37" fmla="*/ 2147483647 h 22"/>
                  <a:gd name="T38" fmla="*/ 2147483647 w 30"/>
                  <a:gd name="T39" fmla="*/ 2147483647 h 22"/>
                  <a:gd name="T40" fmla="*/ 2147483647 w 30"/>
                  <a:gd name="T41" fmla="*/ 2147483647 h 22"/>
                  <a:gd name="T42" fmla="*/ 2147483647 w 30"/>
                  <a:gd name="T43" fmla="*/ 2147483647 h 22"/>
                  <a:gd name="T44" fmla="*/ 2147483647 w 30"/>
                  <a:gd name="T45" fmla="*/ 0 h 22"/>
                  <a:gd name="T46" fmla="*/ 2147483647 w 30"/>
                  <a:gd name="T47" fmla="*/ 0 h 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0"/>
                  <a:gd name="T73" fmla="*/ 0 h 22"/>
                  <a:gd name="T74" fmla="*/ 30 w 30"/>
                  <a:gd name="T75" fmla="*/ 22 h 2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0" h="22">
                    <a:moveTo>
                      <a:pt x="20" y="0"/>
                    </a:moveTo>
                    <a:lnTo>
                      <a:pt x="20" y="0"/>
                    </a:lnTo>
                    <a:lnTo>
                      <a:pt x="16" y="0"/>
                    </a:lnTo>
                    <a:lnTo>
                      <a:pt x="14" y="0"/>
                    </a:lnTo>
                    <a:lnTo>
                      <a:pt x="4" y="6"/>
                    </a:lnTo>
                    <a:lnTo>
                      <a:pt x="0" y="8"/>
                    </a:lnTo>
                    <a:lnTo>
                      <a:pt x="0" y="10"/>
                    </a:lnTo>
                    <a:lnTo>
                      <a:pt x="2" y="14"/>
                    </a:lnTo>
                    <a:lnTo>
                      <a:pt x="8" y="18"/>
                    </a:lnTo>
                    <a:lnTo>
                      <a:pt x="16" y="22"/>
                    </a:lnTo>
                    <a:lnTo>
                      <a:pt x="22" y="22"/>
                    </a:lnTo>
                    <a:lnTo>
                      <a:pt x="28" y="20"/>
                    </a:lnTo>
                    <a:lnTo>
                      <a:pt x="30" y="20"/>
                    </a:lnTo>
                    <a:lnTo>
                      <a:pt x="30" y="16"/>
                    </a:lnTo>
                    <a:lnTo>
                      <a:pt x="30" y="14"/>
                    </a:lnTo>
                    <a:lnTo>
                      <a:pt x="28" y="12"/>
                    </a:lnTo>
                    <a:lnTo>
                      <a:pt x="22" y="8"/>
                    </a:lnTo>
                    <a:lnTo>
                      <a:pt x="22" y="4"/>
                    </a:lnTo>
                    <a:lnTo>
                      <a:pt x="22" y="2"/>
                    </a:lnTo>
                    <a:lnTo>
                      <a:pt x="2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2" name="Freeform 5998"/>
              <p:cNvSpPr>
                <a:spLocks/>
              </p:cNvSpPr>
              <p:nvPr/>
            </p:nvSpPr>
            <p:spPr bwMode="auto">
              <a:xfrm>
                <a:off x="4570634" y="2962798"/>
                <a:ext cx="3319" cy="3318"/>
              </a:xfrm>
              <a:custGeom>
                <a:avLst/>
                <a:gdLst>
                  <a:gd name="T0" fmla="*/ 0 w 6"/>
                  <a:gd name="T1" fmla="*/ 2147483647 h 8"/>
                  <a:gd name="T2" fmla="*/ 0 w 6"/>
                  <a:gd name="T3" fmla="*/ 2147483647 h 8"/>
                  <a:gd name="T4" fmla="*/ 2147483647 w 6"/>
                  <a:gd name="T5" fmla="*/ 2147483647 h 8"/>
                  <a:gd name="T6" fmla="*/ 2147483647 w 6"/>
                  <a:gd name="T7" fmla="*/ 2147483647 h 8"/>
                  <a:gd name="T8" fmla="*/ 2147483647 w 6"/>
                  <a:gd name="T9" fmla="*/ 2147483647 h 8"/>
                  <a:gd name="T10" fmla="*/ 2147483647 w 6"/>
                  <a:gd name="T11" fmla="*/ 2147483647 h 8"/>
                  <a:gd name="T12" fmla="*/ 2147483647 w 6"/>
                  <a:gd name="T13" fmla="*/ 2147483647 h 8"/>
                  <a:gd name="T14" fmla="*/ 2147483647 w 6"/>
                  <a:gd name="T15" fmla="*/ 0 h 8"/>
                  <a:gd name="T16" fmla="*/ 2147483647 w 6"/>
                  <a:gd name="T17" fmla="*/ 2147483647 h 8"/>
                  <a:gd name="T18" fmla="*/ 0 w 6"/>
                  <a:gd name="T19" fmla="*/ 2147483647 h 8"/>
                  <a:gd name="T20" fmla="*/ 0 w 6"/>
                  <a:gd name="T21" fmla="*/ 2147483647 h 8"/>
                  <a:gd name="T22" fmla="*/ 0 w 6"/>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8"/>
                  <a:gd name="T38" fmla="*/ 6 w 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8">
                    <a:moveTo>
                      <a:pt x="0" y="8"/>
                    </a:moveTo>
                    <a:lnTo>
                      <a:pt x="0" y="8"/>
                    </a:lnTo>
                    <a:lnTo>
                      <a:pt x="2" y="8"/>
                    </a:lnTo>
                    <a:lnTo>
                      <a:pt x="4" y="6"/>
                    </a:lnTo>
                    <a:lnTo>
                      <a:pt x="6" y="4"/>
                    </a:lnTo>
                    <a:lnTo>
                      <a:pt x="4" y="2"/>
                    </a:lnTo>
                    <a:lnTo>
                      <a:pt x="2" y="0"/>
                    </a:lnTo>
                    <a:lnTo>
                      <a:pt x="2" y="4"/>
                    </a:lnTo>
                    <a:lnTo>
                      <a:pt x="0" y="6"/>
                    </a:lnTo>
                    <a:lnTo>
                      <a:pt x="0"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3" name="Freeform 5999"/>
              <p:cNvSpPr>
                <a:spLocks/>
              </p:cNvSpPr>
              <p:nvPr/>
            </p:nvSpPr>
            <p:spPr bwMode="auto">
              <a:xfrm>
                <a:off x="4587227" y="2891463"/>
                <a:ext cx="8296" cy="3318"/>
              </a:xfrm>
              <a:custGeom>
                <a:avLst/>
                <a:gdLst>
                  <a:gd name="T0" fmla="*/ 2147483647 w 16"/>
                  <a:gd name="T1" fmla="*/ 0 h 12"/>
                  <a:gd name="T2" fmla="*/ 2147483647 w 16"/>
                  <a:gd name="T3" fmla="*/ 0 h 12"/>
                  <a:gd name="T4" fmla="*/ 2147483647 w 16"/>
                  <a:gd name="T5" fmla="*/ 0 h 12"/>
                  <a:gd name="T6" fmla="*/ 2147483647 w 16"/>
                  <a:gd name="T7" fmla="*/ 0 h 12"/>
                  <a:gd name="T8" fmla="*/ 2147483647 w 16"/>
                  <a:gd name="T9" fmla="*/ 0 h 12"/>
                  <a:gd name="T10" fmla="*/ 0 w 16"/>
                  <a:gd name="T11" fmla="*/ 2147483647 h 12"/>
                  <a:gd name="T12" fmla="*/ 0 w 16"/>
                  <a:gd name="T13" fmla="*/ 2147483647 h 12"/>
                  <a:gd name="T14" fmla="*/ 0 w 16"/>
                  <a:gd name="T15" fmla="*/ 2147483647 h 12"/>
                  <a:gd name="T16" fmla="*/ 0 w 16"/>
                  <a:gd name="T17" fmla="*/ 2147483647 h 12"/>
                  <a:gd name="T18" fmla="*/ 2147483647 w 16"/>
                  <a:gd name="T19" fmla="*/ 2147483647 h 12"/>
                  <a:gd name="T20" fmla="*/ 2147483647 w 16"/>
                  <a:gd name="T21" fmla="*/ 2147483647 h 12"/>
                  <a:gd name="T22" fmla="*/ 2147483647 w 16"/>
                  <a:gd name="T23" fmla="*/ 2147483647 h 12"/>
                  <a:gd name="T24" fmla="*/ 2147483647 w 16"/>
                  <a:gd name="T25" fmla="*/ 2147483647 h 12"/>
                  <a:gd name="T26" fmla="*/ 2147483647 w 16"/>
                  <a:gd name="T27" fmla="*/ 2147483647 h 12"/>
                  <a:gd name="T28" fmla="*/ 2147483647 w 16"/>
                  <a:gd name="T29" fmla="*/ 2147483647 h 12"/>
                  <a:gd name="T30" fmla="*/ 2147483647 w 16"/>
                  <a:gd name="T31" fmla="*/ 2147483647 h 12"/>
                  <a:gd name="T32" fmla="*/ 2147483647 w 16"/>
                  <a:gd name="T33" fmla="*/ 2147483647 h 12"/>
                  <a:gd name="T34" fmla="*/ 2147483647 w 16"/>
                  <a:gd name="T35" fmla="*/ 2147483647 h 12"/>
                  <a:gd name="T36" fmla="*/ 2147483647 w 16"/>
                  <a:gd name="T37" fmla="*/ 2147483647 h 12"/>
                  <a:gd name="T38" fmla="*/ 2147483647 w 16"/>
                  <a:gd name="T39" fmla="*/ 0 h 12"/>
                  <a:gd name="T40" fmla="*/ 2147483647 w 16"/>
                  <a:gd name="T41" fmla="*/ 0 h 12"/>
                  <a:gd name="T42" fmla="*/ 2147483647 w 16"/>
                  <a:gd name="T43" fmla="*/ 0 h 12"/>
                  <a:gd name="T44" fmla="*/ 2147483647 w 16"/>
                  <a:gd name="T45" fmla="*/ 0 h 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
                  <a:gd name="T70" fmla="*/ 0 h 12"/>
                  <a:gd name="T71" fmla="*/ 16 w 16"/>
                  <a:gd name="T72" fmla="*/ 12 h 1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 h="12">
                    <a:moveTo>
                      <a:pt x="14" y="0"/>
                    </a:moveTo>
                    <a:lnTo>
                      <a:pt x="14" y="0"/>
                    </a:lnTo>
                    <a:lnTo>
                      <a:pt x="10" y="0"/>
                    </a:lnTo>
                    <a:lnTo>
                      <a:pt x="6" y="0"/>
                    </a:lnTo>
                    <a:lnTo>
                      <a:pt x="2" y="0"/>
                    </a:lnTo>
                    <a:lnTo>
                      <a:pt x="0" y="2"/>
                    </a:lnTo>
                    <a:lnTo>
                      <a:pt x="0" y="6"/>
                    </a:lnTo>
                    <a:lnTo>
                      <a:pt x="0" y="10"/>
                    </a:lnTo>
                    <a:lnTo>
                      <a:pt x="2" y="10"/>
                    </a:lnTo>
                    <a:lnTo>
                      <a:pt x="4" y="10"/>
                    </a:lnTo>
                    <a:lnTo>
                      <a:pt x="6" y="8"/>
                    </a:lnTo>
                    <a:lnTo>
                      <a:pt x="8" y="8"/>
                    </a:lnTo>
                    <a:lnTo>
                      <a:pt x="10" y="8"/>
                    </a:lnTo>
                    <a:lnTo>
                      <a:pt x="12" y="10"/>
                    </a:lnTo>
                    <a:lnTo>
                      <a:pt x="14" y="12"/>
                    </a:lnTo>
                    <a:lnTo>
                      <a:pt x="14" y="10"/>
                    </a:lnTo>
                    <a:lnTo>
                      <a:pt x="16" y="0"/>
                    </a:lnTo>
                    <a:lnTo>
                      <a:pt x="14"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4" name="Freeform 6000"/>
              <p:cNvSpPr>
                <a:spLocks/>
              </p:cNvSpPr>
              <p:nvPr/>
            </p:nvSpPr>
            <p:spPr bwMode="auto">
              <a:xfrm>
                <a:off x="4580590" y="2952844"/>
                <a:ext cx="11614" cy="14931"/>
              </a:xfrm>
              <a:custGeom>
                <a:avLst/>
                <a:gdLst>
                  <a:gd name="T0" fmla="*/ 0 w 22"/>
                  <a:gd name="T1" fmla="*/ 2147483647 h 26"/>
                  <a:gd name="T2" fmla="*/ 0 w 22"/>
                  <a:gd name="T3" fmla="*/ 2147483647 h 26"/>
                  <a:gd name="T4" fmla="*/ 0 w 22"/>
                  <a:gd name="T5" fmla="*/ 2147483647 h 26"/>
                  <a:gd name="T6" fmla="*/ 2147483647 w 22"/>
                  <a:gd name="T7" fmla="*/ 2147483647 h 26"/>
                  <a:gd name="T8" fmla="*/ 2147483647 w 22"/>
                  <a:gd name="T9" fmla="*/ 2147483647 h 26"/>
                  <a:gd name="T10" fmla="*/ 2147483647 w 22"/>
                  <a:gd name="T11" fmla="*/ 2147483647 h 26"/>
                  <a:gd name="T12" fmla="*/ 2147483647 w 22"/>
                  <a:gd name="T13" fmla="*/ 2147483647 h 26"/>
                  <a:gd name="T14" fmla="*/ 2147483647 w 22"/>
                  <a:gd name="T15" fmla="*/ 2147483647 h 26"/>
                  <a:gd name="T16" fmla="*/ 2147483647 w 22"/>
                  <a:gd name="T17" fmla="*/ 2147483647 h 26"/>
                  <a:gd name="T18" fmla="*/ 2147483647 w 22"/>
                  <a:gd name="T19" fmla="*/ 2147483647 h 26"/>
                  <a:gd name="T20" fmla="*/ 2147483647 w 22"/>
                  <a:gd name="T21" fmla="*/ 2147483647 h 26"/>
                  <a:gd name="T22" fmla="*/ 2147483647 w 22"/>
                  <a:gd name="T23" fmla="*/ 2147483647 h 26"/>
                  <a:gd name="T24" fmla="*/ 2147483647 w 22"/>
                  <a:gd name="T25" fmla="*/ 2147483647 h 26"/>
                  <a:gd name="T26" fmla="*/ 2147483647 w 22"/>
                  <a:gd name="T27" fmla="*/ 0 h 26"/>
                  <a:gd name="T28" fmla="*/ 2147483647 w 22"/>
                  <a:gd name="T29" fmla="*/ 0 h 26"/>
                  <a:gd name="T30" fmla="*/ 0 w 22"/>
                  <a:gd name="T31" fmla="*/ 2147483647 h 26"/>
                  <a:gd name="T32" fmla="*/ 0 w 22"/>
                  <a:gd name="T33" fmla="*/ 2147483647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26"/>
                  <a:gd name="T53" fmla="*/ 22 w 22"/>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26">
                    <a:moveTo>
                      <a:pt x="0" y="2"/>
                    </a:moveTo>
                    <a:lnTo>
                      <a:pt x="0" y="2"/>
                    </a:lnTo>
                    <a:lnTo>
                      <a:pt x="0" y="4"/>
                    </a:lnTo>
                    <a:lnTo>
                      <a:pt x="2" y="8"/>
                    </a:lnTo>
                    <a:lnTo>
                      <a:pt x="12" y="20"/>
                    </a:lnTo>
                    <a:lnTo>
                      <a:pt x="18" y="26"/>
                    </a:lnTo>
                    <a:lnTo>
                      <a:pt x="20" y="26"/>
                    </a:lnTo>
                    <a:lnTo>
                      <a:pt x="22" y="24"/>
                    </a:lnTo>
                    <a:lnTo>
                      <a:pt x="18" y="20"/>
                    </a:lnTo>
                    <a:lnTo>
                      <a:pt x="14" y="14"/>
                    </a:lnTo>
                    <a:lnTo>
                      <a:pt x="8" y="6"/>
                    </a:lnTo>
                    <a:lnTo>
                      <a:pt x="4" y="0"/>
                    </a:lnTo>
                    <a:lnTo>
                      <a:pt x="2" y="0"/>
                    </a:lnTo>
                    <a:lnTo>
                      <a:pt x="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5" name="Freeform 6001"/>
              <p:cNvSpPr>
                <a:spLocks/>
              </p:cNvSpPr>
              <p:nvPr/>
            </p:nvSpPr>
            <p:spPr bwMode="auto">
              <a:xfrm>
                <a:off x="4577271" y="2863261"/>
                <a:ext cx="4977" cy="8295"/>
              </a:xfrm>
              <a:custGeom>
                <a:avLst/>
                <a:gdLst>
                  <a:gd name="T0" fmla="*/ 2147483647 w 10"/>
                  <a:gd name="T1" fmla="*/ 0 h 12"/>
                  <a:gd name="T2" fmla="*/ 2147483647 w 10"/>
                  <a:gd name="T3" fmla="*/ 0 h 12"/>
                  <a:gd name="T4" fmla="*/ 2147483647 w 10"/>
                  <a:gd name="T5" fmla="*/ 2147483647 h 12"/>
                  <a:gd name="T6" fmla="*/ 0 w 10"/>
                  <a:gd name="T7" fmla="*/ 2147483647 h 12"/>
                  <a:gd name="T8" fmla="*/ 0 w 10"/>
                  <a:gd name="T9" fmla="*/ 2147483647 h 12"/>
                  <a:gd name="T10" fmla="*/ 2147483647 w 10"/>
                  <a:gd name="T11" fmla="*/ 2147483647 h 12"/>
                  <a:gd name="T12" fmla="*/ 2147483647 w 10"/>
                  <a:gd name="T13" fmla="*/ 2147483647 h 12"/>
                  <a:gd name="T14" fmla="*/ 2147483647 w 10"/>
                  <a:gd name="T15" fmla="*/ 2147483647 h 12"/>
                  <a:gd name="T16" fmla="*/ 2147483647 w 10"/>
                  <a:gd name="T17" fmla="*/ 2147483647 h 12"/>
                  <a:gd name="T18" fmla="*/ 2147483647 w 10"/>
                  <a:gd name="T19" fmla="*/ 2147483647 h 12"/>
                  <a:gd name="T20" fmla="*/ 2147483647 w 10"/>
                  <a:gd name="T21" fmla="*/ 2147483647 h 12"/>
                  <a:gd name="T22" fmla="*/ 2147483647 w 10"/>
                  <a:gd name="T23" fmla="*/ 0 h 12"/>
                  <a:gd name="T24" fmla="*/ 2147483647 w 10"/>
                  <a:gd name="T25" fmla="*/ 0 h 12"/>
                  <a:gd name="T26" fmla="*/ 2147483647 w 10"/>
                  <a:gd name="T27" fmla="*/ 0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2"/>
                  <a:gd name="T44" fmla="*/ 10 w 10"/>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2">
                    <a:moveTo>
                      <a:pt x="6" y="0"/>
                    </a:moveTo>
                    <a:lnTo>
                      <a:pt x="6" y="0"/>
                    </a:lnTo>
                    <a:lnTo>
                      <a:pt x="2" y="2"/>
                    </a:lnTo>
                    <a:lnTo>
                      <a:pt x="0" y="6"/>
                    </a:lnTo>
                    <a:lnTo>
                      <a:pt x="0" y="10"/>
                    </a:lnTo>
                    <a:lnTo>
                      <a:pt x="4" y="12"/>
                    </a:lnTo>
                    <a:lnTo>
                      <a:pt x="6" y="12"/>
                    </a:lnTo>
                    <a:lnTo>
                      <a:pt x="8" y="10"/>
                    </a:lnTo>
                    <a:lnTo>
                      <a:pt x="10" y="6"/>
                    </a:lnTo>
                    <a:lnTo>
                      <a:pt x="10" y="2"/>
                    </a:lnTo>
                    <a:lnTo>
                      <a:pt x="8" y="0"/>
                    </a:lnTo>
                    <a:lnTo>
                      <a:pt x="6"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6" name="Freeform 6002"/>
              <p:cNvSpPr>
                <a:spLocks/>
              </p:cNvSpPr>
              <p:nvPr/>
            </p:nvSpPr>
            <p:spPr bwMode="auto">
              <a:xfrm>
                <a:off x="5332243" y="4613456"/>
                <a:ext cx="13274" cy="14930"/>
              </a:xfrm>
              <a:custGeom>
                <a:avLst/>
                <a:gdLst>
                  <a:gd name="T0" fmla="*/ 2147483647 w 18"/>
                  <a:gd name="T1" fmla="*/ 2147483647 h 28"/>
                  <a:gd name="T2" fmla="*/ 2147483647 w 18"/>
                  <a:gd name="T3" fmla="*/ 2147483647 h 28"/>
                  <a:gd name="T4" fmla="*/ 2147483647 w 18"/>
                  <a:gd name="T5" fmla="*/ 2147483647 h 28"/>
                  <a:gd name="T6" fmla="*/ 2147483647 w 18"/>
                  <a:gd name="T7" fmla="*/ 2147483647 h 28"/>
                  <a:gd name="T8" fmla="*/ 2147483647 w 18"/>
                  <a:gd name="T9" fmla="*/ 2147483647 h 28"/>
                  <a:gd name="T10" fmla="*/ 2147483647 w 18"/>
                  <a:gd name="T11" fmla="*/ 2147483647 h 28"/>
                  <a:gd name="T12" fmla="*/ 2147483647 w 18"/>
                  <a:gd name="T13" fmla="*/ 2147483647 h 28"/>
                  <a:gd name="T14" fmla="*/ 2147483647 w 18"/>
                  <a:gd name="T15" fmla="*/ 2147483647 h 28"/>
                  <a:gd name="T16" fmla="*/ 2147483647 w 18"/>
                  <a:gd name="T17" fmla="*/ 2147483647 h 28"/>
                  <a:gd name="T18" fmla="*/ 2147483647 w 18"/>
                  <a:gd name="T19" fmla="*/ 0 h 28"/>
                  <a:gd name="T20" fmla="*/ 2147483647 w 18"/>
                  <a:gd name="T21" fmla="*/ 2147483647 h 28"/>
                  <a:gd name="T22" fmla="*/ 2147483647 w 18"/>
                  <a:gd name="T23" fmla="*/ 2147483647 h 28"/>
                  <a:gd name="T24" fmla="*/ 0 w 18"/>
                  <a:gd name="T25" fmla="*/ 2147483647 h 28"/>
                  <a:gd name="T26" fmla="*/ 0 w 18"/>
                  <a:gd name="T27" fmla="*/ 2147483647 h 28"/>
                  <a:gd name="T28" fmla="*/ 2147483647 w 18"/>
                  <a:gd name="T29" fmla="*/ 2147483647 h 28"/>
                  <a:gd name="T30" fmla="*/ 2147483647 w 18"/>
                  <a:gd name="T31" fmla="*/ 2147483647 h 28"/>
                  <a:gd name="T32" fmla="*/ 2147483647 w 18"/>
                  <a:gd name="T33" fmla="*/ 2147483647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8"/>
                  <a:gd name="T53" fmla="*/ 18 w 18"/>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8">
                    <a:moveTo>
                      <a:pt x="10" y="28"/>
                    </a:moveTo>
                    <a:lnTo>
                      <a:pt x="10" y="28"/>
                    </a:lnTo>
                    <a:lnTo>
                      <a:pt x="14" y="26"/>
                    </a:lnTo>
                    <a:lnTo>
                      <a:pt x="16" y="24"/>
                    </a:lnTo>
                    <a:lnTo>
                      <a:pt x="18" y="22"/>
                    </a:lnTo>
                    <a:lnTo>
                      <a:pt x="18" y="20"/>
                    </a:lnTo>
                    <a:lnTo>
                      <a:pt x="16" y="12"/>
                    </a:lnTo>
                    <a:lnTo>
                      <a:pt x="14" y="2"/>
                    </a:lnTo>
                    <a:lnTo>
                      <a:pt x="12" y="0"/>
                    </a:lnTo>
                    <a:lnTo>
                      <a:pt x="10" y="2"/>
                    </a:lnTo>
                    <a:lnTo>
                      <a:pt x="2" y="12"/>
                    </a:lnTo>
                    <a:lnTo>
                      <a:pt x="0" y="18"/>
                    </a:lnTo>
                    <a:lnTo>
                      <a:pt x="0" y="24"/>
                    </a:lnTo>
                    <a:lnTo>
                      <a:pt x="2" y="28"/>
                    </a:lnTo>
                    <a:lnTo>
                      <a:pt x="10" y="2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7" name="Freeform 6003"/>
              <p:cNvSpPr>
                <a:spLocks/>
              </p:cNvSpPr>
              <p:nvPr/>
            </p:nvSpPr>
            <p:spPr bwMode="auto">
              <a:xfrm>
                <a:off x="5284125" y="4639999"/>
                <a:ext cx="14933" cy="13272"/>
              </a:xfrm>
              <a:custGeom>
                <a:avLst/>
                <a:gdLst>
                  <a:gd name="T0" fmla="*/ 0 w 26"/>
                  <a:gd name="T1" fmla="*/ 2147483647 h 24"/>
                  <a:gd name="T2" fmla="*/ 0 w 26"/>
                  <a:gd name="T3" fmla="*/ 2147483647 h 24"/>
                  <a:gd name="T4" fmla="*/ 0 w 26"/>
                  <a:gd name="T5" fmla="*/ 2147483647 h 24"/>
                  <a:gd name="T6" fmla="*/ 2147483647 w 26"/>
                  <a:gd name="T7" fmla="*/ 2147483647 h 24"/>
                  <a:gd name="T8" fmla="*/ 2147483647 w 26"/>
                  <a:gd name="T9" fmla="*/ 2147483647 h 24"/>
                  <a:gd name="T10" fmla="*/ 2147483647 w 26"/>
                  <a:gd name="T11" fmla="*/ 2147483647 h 24"/>
                  <a:gd name="T12" fmla="*/ 2147483647 w 26"/>
                  <a:gd name="T13" fmla="*/ 2147483647 h 24"/>
                  <a:gd name="T14" fmla="*/ 2147483647 w 26"/>
                  <a:gd name="T15" fmla="*/ 2147483647 h 24"/>
                  <a:gd name="T16" fmla="*/ 2147483647 w 26"/>
                  <a:gd name="T17" fmla="*/ 2147483647 h 24"/>
                  <a:gd name="T18" fmla="*/ 2147483647 w 26"/>
                  <a:gd name="T19" fmla="*/ 2147483647 h 24"/>
                  <a:gd name="T20" fmla="*/ 2147483647 w 26"/>
                  <a:gd name="T21" fmla="*/ 2147483647 h 24"/>
                  <a:gd name="T22" fmla="*/ 2147483647 w 26"/>
                  <a:gd name="T23" fmla="*/ 2147483647 h 24"/>
                  <a:gd name="T24" fmla="*/ 2147483647 w 26"/>
                  <a:gd name="T25" fmla="*/ 2147483647 h 24"/>
                  <a:gd name="T26" fmla="*/ 2147483647 w 26"/>
                  <a:gd name="T27" fmla="*/ 2147483647 h 24"/>
                  <a:gd name="T28" fmla="*/ 2147483647 w 26"/>
                  <a:gd name="T29" fmla="*/ 2147483647 h 24"/>
                  <a:gd name="T30" fmla="*/ 2147483647 w 26"/>
                  <a:gd name="T31" fmla="*/ 0 h 24"/>
                  <a:gd name="T32" fmla="*/ 2147483647 w 26"/>
                  <a:gd name="T33" fmla="*/ 2147483647 h 24"/>
                  <a:gd name="T34" fmla="*/ 0 w 26"/>
                  <a:gd name="T35" fmla="*/ 2147483647 h 24"/>
                  <a:gd name="T36" fmla="*/ 0 w 26"/>
                  <a:gd name="T37" fmla="*/ 2147483647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24"/>
                  <a:gd name="T59" fmla="*/ 26 w 26"/>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24">
                    <a:moveTo>
                      <a:pt x="0" y="4"/>
                    </a:moveTo>
                    <a:lnTo>
                      <a:pt x="0" y="4"/>
                    </a:lnTo>
                    <a:lnTo>
                      <a:pt x="0" y="8"/>
                    </a:lnTo>
                    <a:lnTo>
                      <a:pt x="2" y="12"/>
                    </a:lnTo>
                    <a:lnTo>
                      <a:pt x="8" y="20"/>
                    </a:lnTo>
                    <a:lnTo>
                      <a:pt x="12" y="22"/>
                    </a:lnTo>
                    <a:lnTo>
                      <a:pt x="16" y="24"/>
                    </a:lnTo>
                    <a:lnTo>
                      <a:pt x="20" y="22"/>
                    </a:lnTo>
                    <a:lnTo>
                      <a:pt x="24" y="20"/>
                    </a:lnTo>
                    <a:lnTo>
                      <a:pt x="26" y="16"/>
                    </a:lnTo>
                    <a:lnTo>
                      <a:pt x="26" y="12"/>
                    </a:lnTo>
                    <a:lnTo>
                      <a:pt x="22" y="8"/>
                    </a:lnTo>
                    <a:lnTo>
                      <a:pt x="18" y="4"/>
                    </a:lnTo>
                    <a:lnTo>
                      <a:pt x="14" y="2"/>
                    </a:lnTo>
                    <a:lnTo>
                      <a:pt x="8" y="0"/>
                    </a:lnTo>
                    <a:lnTo>
                      <a:pt x="4" y="2"/>
                    </a:lnTo>
                    <a:lnTo>
                      <a:pt x="0"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8" name="Freeform 6007"/>
              <p:cNvSpPr>
                <a:spLocks/>
              </p:cNvSpPr>
              <p:nvPr/>
            </p:nvSpPr>
            <p:spPr bwMode="auto">
              <a:xfrm>
                <a:off x="3226617" y="4006279"/>
                <a:ext cx="4977" cy="11612"/>
              </a:xfrm>
              <a:custGeom>
                <a:avLst/>
                <a:gdLst>
                  <a:gd name="T0" fmla="*/ 2147483647 w 10"/>
                  <a:gd name="T1" fmla="*/ 2147483647 h 16"/>
                  <a:gd name="T2" fmla="*/ 2147483647 w 10"/>
                  <a:gd name="T3" fmla="*/ 2147483647 h 16"/>
                  <a:gd name="T4" fmla="*/ 2147483647 w 10"/>
                  <a:gd name="T5" fmla="*/ 2147483647 h 16"/>
                  <a:gd name="T6" fmla="*/ 2147483647 w 10"/>
                  <a:gd name="T7" fmla="*/ 2147483647 h 16"/>
                  <a:gd name="T8" fmla="*/ 2147483647 w 10"/>
                  <a:gd name="T9" fmla="*/ 2147483647 h 16"/>
                  <a:gd name="T10" fmla="*/ 2147483647 w 10"/>
                  <a:gd name="T11" fmla="*/ 2147483647 h 16"/>
                  <a:gd name="T12" fmla="*/ 2147483647 w 10"/>
                  <a:gd name="T13" fmla="*/ 0 h 16"/>
                  <a:gd name="T14" fmla="*/ 2147483647 w 10"/>
                  <a:gd name="T15" fmla="*/ 0 h 16"/>
                  <a:gd name="T16" fmla="*/ 2147483647 w 10"/>
                  <a:gd name="T17" fmla="*/ 2147483647 h 16"/>
                  <a:gd name="T18" fmla="*/ 2147483647 w 10"/>
                  <a:gd name="T19" fmla="*/ 2147483647 h 16"/>
                  <a:gd name="T20" fmla="*/ 2147483647 w 10"/>
                  <a:gd name="T21" fmla="*/ 2147483647 h 16"/>
                  <a:gd name="T22" fmla="*/ 0 w 10"/>
                  <a:gd name="T23" fmla="*/ 2147483647 h 16"/>
                  <a:gd name="T24" fmla="*/ 2147483647 w 10"/>
                  <a:gd name="T25" fmla="*/ 2147483647 h 16"/>
                  <a:gd name="T26" fmla="*/ 2147483647 w 10"/>
                  <a:gd name="T27" fmla="*/ 2147483647 h 16"/>
                  <a:gd name="T28" fmla="*/ 2147483647 w 10"/>
                  <a:gd name="T29" fmla="*/ 2147483647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16"/>
                  <a:gd name="T47" fmla="*/ 10 w 10"/>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16">
                    <a:moveTo>
                      <a:pt x="6" y="16"/>
                    </a:moveTo>
                    <a:lnTo>
                      <a:pt x="6" y="16"/>
                    </a:lnTo>
                    <a:lnTo>
                      <a:pt x="8" y="16"/>
                    </a:lnTo>
                    <a:lnTo>
                      <a:pt x="10" y="12"/>
                    </a:lnTo>
                    <a:lnTo>
                      <a:pt x="6" y="4"/>
                    </a:lnTo>
                    <a:lnTo>
                      <a:pt x="4" y="0"/>
                    </a:lnTo>
                    <a:lnTo>
                      <a:pt x="4" y="6"/>
                    </a:lnTo>
                    <a:lnTo>
                      <a:pt x="2" y="10"/>
                    </a:lnTo>
                    <a:lnTo>
                      <a:pt x="0" y="14"/>
                    </a:lnTo>
                    <a:lnTo>
                      <a:pt x="2" y="16"/>
                    </a:lnTo>
                    <a:lnTo>
                      <a:pt x="6" y="1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9" name="Freeform 6137"/>
              <p:cNvSpPr>
                <a:spLocks/>
              </p:cNvSpPr>
              <p:nvPr/>
            </p:nvSpPr>
            <p:spPr bwMode="auto">
              <a:xfrm>
                <a:off x="4159133" y="4039458"/>
                <a:ext cx="6637" cy="9954"/>
              </a:xfrm>
              <a:custGeom>
                <a:avLst/>
                <a:gdLst>
                  <a:gd name="T0" fmla="*/ 2147483647 w 12"/>
                  <a:gd name="T1" fmla="*/ 0 h 18"/>
                  <a:gd name="T2" fmla="*/ 2147483647 w 12"/>
                  <a:gd name="T3" fmla="*/ 0 h 18"/>
                  <a:gd name="T4" fmla="*/ 2147483647 w 12"/>
                  <a:gd name="T5" fmla="*/ 0 h 18"/>
                  <a:gd name="T6" fmla="*/ 2147483647 w 12"/>
                  <a:gd name="T7" fmla="*/ 0 h 18"/>
                  <a:gd name="T8" fmla="*/ 0 w 12"/>
                  <a:gd name="T9" fmla="*/ 2147483647 h 18"/>
                  <a:gd name="T10" fmla="*/ 0 w 12"/>
                  <a:gd name="T11" fmla="*/ 2147483647 h 18"/>
                  <a:gd name="T12" fmla="*/ 2147483647 w 12"/>
                  <a:gd name="T13" fmla="*/ 2147483647 h 18"/>
                  <a:gd name="T14" fmla="*/ 2147483647 w 12"/>
                  <a:gd name="T15" fmla="*/ 2147483647 h 18"/>
                  <a:gd name="T16" fmla="*/ 2147483647 w 12"/>
                  <a:gd name="T17" fmla="*/ 2147483647 h 18"/>
                  <a:gd name="T18" fmla="*/ 2147483647 w 12"/>
                  <a:gd name="T19" fmla="*/ 2147483647 h 18"/>
                  <a:gd name="T20" fmla="*/ 2147483647 w 12"/>
                  <a:gd name="T21" fmla="*/ 2147483647 h 18"/>
                  <a:gd name="T22" fmla="*/ 2147483647 w 12"/>
                  <a:gd name="T23" fmla="*/ 2147483647 h 18"/>
                  <a:gd name="T24" fmla="*/ 2147483647 w 12"/>
                  <a:gd name="T25" fmla="*/ 2147483647 h 18"/>
                  <a:gd name="T26" fmla="*/ 2147483647 w 12"/>
                  <a:gd name="T27" fmla="*/ 0 h 18"/>
                  <a:gd name="T28" fmla="*/ 2147483647 w 12"/>
                  <a:gd name="T29" fmla="*/ 0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18"/>
                  <a:gd name="T47" fmla="*/ 12 w 12"/>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18">
                    <a:moveTo>
                      <a:pt x="10" y="0"/>
                    </a:moveTo>
                    <a:lnTo>
                      <a:pt x="10" y="0"/>
                    </a:lnTo>
                    <a:lnTo>
                      <a:pt x="6" y="0"/>
                    </a:lnTo>
                    <a:lnTo>
                      <a:pt x="4" y="0"/>
                    </a:lnTo>
                    <a:lnTo>
                      <a:pt x="0" y="6"/>
                    </a:lnTo>
                    <a:lnTo>
                      <a:pt x="0" y="14"/>
                    </a:lnTo>
                    <a:lnTo>
                      <a:pt x="2" y="18"/>
                    </a:lnTo>
                    <a:lnTo>
                      <a:pt x="4" y="18"/>
                    </a:lnTo>
                    <a:lnTo>
                      <a:pt x="6" y="16"/>
                    </a:lnTo>
                    <a:lnTo>
                      <a:pt x="10" y="10"/>
                    </a:lnTo>
                    <a:lnTo>
                      <a:pt x="12" y="4"/>
                    </a:lnTo>
                    <a:lnTo>
                      <a:pt x="12" y="2"/>
                    </a:lnTo>
                    <a:lnTo>
                      <a:pt x="1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0" name="Freeform 6139"/>
              <p:cNvSpPr>
                <a:spLocks/>
              </p:cNvSpPr>
              <p:nvPr/>
            </p:nvSpPr>
            <p:spPr bwMode="auto">
              <a:xfrm>
                <a:off x="5007024" y="4369589"/>
                <a:ext cx="4978" cy="13272"/>
              </a:xfrm>
              <a:custGeom>
                <a:avLst/>
                <a:gdLst>
                  <a:gd name="T0" fmla="*/ 2147483647 w 10"/>
                  <a:gd name="T1" fmla="*/ 2147483647 h 28"/>
                  <a:gd name="T2" fmla="*/ 2147483647 w 10"/>
                  <a:gd name="T3" fmla="*/ 2147483647 h 28"/>
                  <a:gd name="T4" fmla="*/ 2147483647 w 10"/>
                  <a:gd name="T5" fmla="*/ 2147483647 h 28"/>
                  <a:gd name="T6" fmla="*/ 2147483647 w 10"/>
                  <a:gd name="T7" fmla="*/ 2147483647 h 28"/>
                  <a:gd name="T8" fmla="*/ 2147483647 w 10"/>
                  <a:gd name="T9" fmla="*/ 2147483647 h 28"/>
                  <a:gd name="T10" fmla="*/ 2147483647 w 10"/>
                  <a:gd name="T11" fmla="*/ 2147483647 h 28"/>
                  <a:gd name="T12" fmla="*/ 2147483647 w 10"/>
                  <a:gd name="T13" fmla="*/ 0 h 28"/>
                  <a:gd name="T14" fmla="*/ 2147483647 w 10"/>
                  <a:gd name="T15" fmla="*/ 0 h 28"/>
                  <a:gd name="T16" fmla="*/ 2147483647 w 10"/>
                  <a:gd name="T17" fmla="*/ 0 h 28"/>
                  <a:gd name="T18" fmla="*/ 0 w 10"/>
                  <a:gd name="T19" fmla="*/ 2147483647 h 28"/>
                  <a:gd name="T20" fmla="*/ 0 w 10"/>
                  <a:gd name="T21" fmla="*/ 2147483647 h 28"/>
                  <a:gd name="T22" fmla="*/ 2147483647 w 10"/>
                  <a:gd name="T23" fmla="*/ 2147483647 h 28"/>
                  <a:gd name="T24" fmla="*/ 2147483647 w 10"/>
                  <a:gd name="T25" fmla="*/ 2147483647 h 28"/>
                  <a:gd name="T26" fmla="*/ 2147483647 w 10"/>
                  <a:gd name="T27" fmla="*/ 2147483647 h 28"/>
                  <a:gd name="T28" fmla="*/ 2147483647 w 10"/>
                  <a:gd name="T29" fmla="*/ 2147483647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28"/>
                  <a:gd name="T47" fmla="*/ 10 w 10"/>
                  <a:gd name="T48" fmla="*/ 28 h 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28">
                    <a:moveTo>
                      <a:pt x="8" y="28"/>
                    </a:moveTo>
                    <a:lnTo>
                      <a:pt x="8" y="28"/>
                    </a:lnTo>
                    <a:lnTo>
                      <a:pt x="10" y="28"/>
                    </a:lnTo>
                    <a:lnTo>
                      <a:pt x="10" y="24"/>
                    </a:lnTo>
                    <a:lnTo>
                      <a:pt x="10" y="12"/>
                    </a:lnTo>
                    <a:lnTo>
                      <a:pt x="8" y="2"/>
                    </a:lnTo>
                    <a:lnTo>
                      <a:pt x="6" y="0"/>
                    </a:lnTo>
                    <a:lnTo>
                      <a:pt x="4" y="0"/>
                    </a:lnTo>
                    <a:lnTo>
                      <a:pt x="0" y="6"/>
                    </a:lnTo>
                    <a:lnTo>
                      <a:pt x="0" y="16"/>
                    </a:lnTo>
                    <a:lnTo>
                      <a:pt x="2" y="24"/>
                    </a:lnTo>
                    <a:lnTo>
                      <a:pt x="4" y="26"/>
                    </a:lnTo>
                    <a:lnTo>
                      <a:pt x="8" y="2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1" name="Freeform 6140"/>
              <p:cNvSpPr>
                <a:spLocks/>
              </p:cNvSpPr>
              <p:nvPr/>
            </p:nvSpPr>
            <p:spPr bwMode="auto">
              <a:xfrm>
                <a:off x="4212230" y="3946557"/>
                <a:ext cx="4977" cy="8294"/>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2147483647 w 10"/>
                  <a:gd name="T9" fmla="*/ 2147483647 h 14"/>
                  <a:gd name="T10" fmla="*/ 2147483647 w 10"/>
                  <a:gd name="T11" fmla="*/ 0 h 14"/>
                  <a:gd name="T12" fmla="*/ 2147483647 w 10"/>
                  <a:gd name="T13" fmla="*/ 0 h 14"/>
                  <a:gd name="T14" fmla="*/ 0 w 10"/>
                  <a:gd name="T15" fmla="*/ 2147483647 h 14"/>
                  <a:gd name="T16" fmla="*/ 2147483647 w 10"/>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4"/>
                  <a:gd name="T29" fmla="*/ 10 w 1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4">
                    <a:moveTo>
                      <a:pt x="8" y="14"/>
                    </a:moveTo>
                    <a:lnTo>
                      <a:pt x="8" y="14"/>
                    </a:lnTo>
                    <a:lnTo>
                      <a:pt x="10" y="10"/>
                    </a:lnTo>
                    <a:lnTo>
                      <a:pt x="10" y="6"/>
                    </a:lnTo>
                    <a:lnTo>
                      <a:pt x="10" y="2"/>
                    </a:lnTo>
                    <a:lnTo>
                      <a:pt x="8" y="0"/>
                    </a:lnTo>
                    <a:lnTo>
                      <a:pt x="4" y="0"/>
                    </a:lnTo>
                    <a:lnTo>
                      <a:pt x="0" y="4"/>
                    </a:lnTo>
                    <a:lnTo>
                      <a:pt x="8" y="1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2" name="Freeform 6142"/>
              <p:cNvSpPr>
                <a:spLocks/>
              </p:cNvSpPr>
              <p:nvPr/>
            </p:nvSpPr>
            <p:spPr bwMode="auto">
              <a:xfrm>
                <a:off x="4212230" y="3946557"/>
                <a:ext cx="4977" cy="8294"/>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2147483647 w 10"/>
                  <a:gd name="T9" fmla="*/ 2147483647 h 14"/>
                  <a:gd name="T10" fmla="*/ 2147483647 w 10"/>
                  <a:gd name="T11" fmla="*/ 0 h 14"/>
                  <a:gd name="T12" fmla="*/ 2147483647 w 10"/>
                  <a:gd name="T13" fmla="*/ 0 h 14"/>
                  <a:gd name="T14" fmla="*/ 0 w 10"/>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4"/>
                  <a:gd name="T26" fmla="*/ 10 w 1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4">
                    <a:moveTo>
                      <a:pt x="8" y="14"/>
                    </a:moveTo>
                    <a:lnTo>
                      <a:pt x="8" y="14"/>
                    </a:lnTo>
                    <a:lnTo>
                      <a:pt x="10" y="10"/>
                    </a:lnTo>
                    <a:lnTo>
                      <a:pt x="10" y="6"/>
                    </a:lnTo>
                    <a:lnTo>
                      <a:pt x="10" y="2"/>
                    </a:lnTo>
                    <a:lnTo>
                      <a:pt x="8" y="0"/>
                    </a:lnTo>
                    <a:lnTo>
                      <a:pt x="4" y="0"/>
                    </a:lnTo>
                    <a:lnTo>
                      <a:pt x="0" y="4"/>
                    </a:lnTo>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3" name="Freeform 6143"/>
              <p:cNvSpPr>
                <a:spLocks/>
              </p:cNvSpPr>
              <p:nvPr/>
            </p:nvSpPr>
            <p:spPr bwMode="auto">
              <a:xfrm>
                <a:off x="3229936" y="4004620"/>
                <a:ext cx="6637" cy="6636"/>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2147483647 w 10"/>
                  <a:gd name="T9" fmla="*/ 2147483647 h 14"/>
                  <a:gd name="T10" fmla="*/ 2147483647 w 10"/>
                  <a:gd name="T11" fmla="*/ 0 h 14"/>
                  <a:gd name="T12" fmla="*/ 2147483647 w 10"/>
                  <a:gd name="T13" fmla="*/ 2147483647 h 14"/>
                  <a:gd name="T14" fmla="*/ 2147483647 w 10"/>
                  <a:gd name="T15" fmla="*/ 2147483647 h 14"/>
                  <a:gd name="T16" fmla="*/ 2147483647 w 10"/>
                  <a:gd name="T17" fmla="*/ 2147483647 h 14"/>
                  <a:gd name="T18" fmla="*/ 0 w 10"/>
                  <a:gd name="T19" fmla="*/ 2147483647 h 14"/>
                  <a:gd name="T20" fmla="*/ 0 w 10"/>
                  <a:gd name="T21" fmla="*/ 2147483647 h 14"/>
                  <a:gd name="T22" fmla="*/ 2147483647 w 10"/>
                  <a:gd name="T23" fmla="*/ 2147483647 h 14"/>
                  <a:gd name="T24" fmla="*/ 2147483647 w 10"/>
                  <a:gd name="T25" fmla="*/ 2147483647 h 14"/>
                  <a:gd name="T26" fmla="*/ 2147483647 w 10"/>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4"/>
                  <a:gd name="T44" fmla="*/ 10 w 1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4">
                    <a:moveTo>
                      <a:pt x="6" y="14"/>
                    </a:moveTo>
                    <a:lnTo>
                      <a:pt x="6" y="14"/>
                    </a:lnTo>
                    <a:lnTo>
                      <a:pt x="10" y="10"/>
                    </a:lnTo>
                    <a:lnTo>
                      <a:pt x="10" y="4"/>
                    </a:lnTo>
                    <a:lnTo>
                      <a:pt x="10" y="2"/>
                    </a:lnTo>
                    <a:lnTo>
                      <a:pt x="8" y="0"/>
                    </a:lnTo>
                    <a:lnTo>
                      <a:pt x="6" y="2"/>
                    </a:lnTo>
                    <a:lnTo>
                      <a:pt x="2" y="4"/>
                    </a:lnTo>
                    <a:lnTo>
                      <a:pt x="0" y="6"/>
                    </a:lnTo>
                    <a:lnTo>
                      <a:pt x="0" y="10"/>
                    </a:lnTo>
                    <a:lnTo>
                      <a:pt x="4" y="14"/>
                    </a:lnTo>
                    <a:lnTo>
                      <a:pt x="6" y="1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4" name="Freeform 6145"/>
              <p:cNvSpPr>
                <a:spLocks/>
              </p:cNvSpPr>
              <p:nvPr/>
            </p:nvSpPr>
            <p:spPr bwMode="auto">
              <a:xfrm>
                <a:off x="3206706" y="4027845"/>
                <a:ext cx="4977" cy="8295"/>
              </a:xfrm>
              <a:custGeom>
                <a:avLst/>
                <a:gdLst>
                  <a:gd name="T0" fmla="*/ 2147483647 w 8"/>
                  <a:gd name="T1" fmla="*/ 0 h 14"/>
                  <a:gd name="T2" fmla="*/ 2147483647 w 8"/>
                  <a:gd name="T3" fmla="*/ 0 h 14"/>
                  <a:gd name="T4" fmla="*/ 2147483647 w 8"/>
                  <a:gd name="T5" fmla="*/ 2147483647 h 14"/>
                  <a:gd name="T6" fmla="*/ 0 w 8"/>
                  <a:gd name="T7" fmla="*/ 2147483647 h 14"/>
                  <a:gd name="T8" fmla="*/ 0 w 8"/>
                  <a:gd name="T9" fmla="*/ 2147483647 h 14"/>
                  <a:gd name="T10" fmla="*/ 0 w 8"/>
                  <a:gd name="T11" fmla="*/ 2147483647 h 14"/>
                  <a:gd name="T12" fmla="*/ 2147483647 w 8"/>
                  <a:gd name="T13" fmla="*/ 2147483647 h 14"/>
                  <a:gd name="T14" fmla="*/ 2147483647 w 8"/>
                  <a:gd name="T15" fmla="*/ 2147483647 h 14"/>
                  <a:gd name="T16" fmla="*/ 2147483647 w 8"/>
                  <a:gd name="T17" fmla="*/ 2147483647 h 14"/>
                  <a:gd name="T18" fmla="*/ 2147483647 w 8"/>
                  <a:gd name="T19" fmla="*/ 2147483647 h 14"/>
                  <a:gd name="T20" fmla="*/ 2147483647 w 8"/>
                  <a:gd name="T21" fmla="*/ 0 h 14"/>
                  <a:gd name="T22" fmla="*/ 2147483647 w 8"/>
                  <a:gd name="T23" fmla="*/ 0 h 14"/>
                  <a:gd name="T24" fmla="*/ 2147483647 w 8"/>
                  <a:gd name="T25" fmla="*/ 0 h 14"/>
                  <a:gd name="T26" fmla="*/ 2147483647 w 8"/>
                  <a:gd name="T27" fmla="*/ 0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14"/>
                  <a:gd name="T44" fmla="*/ 8 w 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14">
                    <a:moveTo>
                      <a:pt x="6" y="0"/>
                    </a:moveTo>
                    <a:lnTo>
                      <a:pt x="6" y="0"/>
                    </a:lnTo>
                    <a:lnTo>
                      <a:pt x="2" y="2"/>
                    </a:lnTo>
                    <a:lnTo>
                      <a:pt x="0" y="8"/>
                    </a:lnTo>
                    <a:lnTo>
                      <a:pt x="0" y="12"/>
                    </a:lnTo>
                    <a:lnTo>
                      <a:pt x="0" y="14"/>
                    </a:lnTo>
                    <a:lnTo>
                      <a:pt x="2" y="14"/>
                    </a:lnTo>
                    <a:lnTo>
                      <a:pt x="4" y="12"/>
                    </a:lnTo>
                    <a:lnTo>
                      <a:pt x="8" y="6"/>
                    </a:lnTo>
                    <a:lnTo>
                      <a:pt x="8" y="0"/>
                    </a:lnTo>
                    <a:lnTo>
                      <a:pt x="6"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5" name="Freeform 6146"/>
              <p:cNvSpPr>
                <a:spLocks/>
              </p:cNvSpPr>
              <p:nvPr/>
            </p:nvSpPr>
            <p:spPr bwMode="auto">
              <a:xfrm>
                <a:off x="3213343" y="4037799"/>
                <a:ext cx="4977" cy="6636"/>
              </a:xfrm>
              <a:custGeom>
                <a:avLst/>
                <a:gdLst>
                  <a:gd name="T0" fmla="*/ 2147483647 w 10"/>
                  <a:gd name="T1" fmla="*/ 2147483647 h 10"/>
                  <a:gd name="T2" fmla="*/ 2147483647 w 10"/>
                  <a:gd name="T3" fmla="*/ 2147483647 h 10"/>
                  <a:gd name="T4" fmla="*/ 2147483647 w 10"/>
                  <a:gd name="T5" fmla="*/ 0 h 10"/>
                  <a:gd name="T6" fmla="*/ 2147483647 w 10"/>
                  <a:gd name="T7" fmla="*/ 0 h 10"/>
                  <a:gd name="T8" fmla="*/ 2147483647 w 10"/>
                  <a:gd name="T9" fmla="*/ 2147483647 h 10"/>
                  <a:gd name="T10" fmla="*/ 0 w 10"/>
                  <a:gd name="T11" fmla="*/ 2147483647 h 10"/>
                  <a:gd name="T12" fmla="*/ 0 w 10"/>
                  <a:gd name="T13" fmla="*/ 2147483647 h 10"/>
                  <a:gd name="T14" fmla="*/ 2147483647 w 10"/>
                  <a:gd name="T15" fmla="*/ 2147483647 h 10"/>
                  <a:gd name="T16" fmla="*/ 2147483647 w 10"/>
                  <a:gd name="T17" fmla="*/ 2147483647 h 10"/>
                  <a:gd name="T18" fmla="*/ 2147483647 w 10"/>
                  <a:gd name="T19" fmla="*/ 2147483647 h 10"/>
                  <a:gd name="T20" fmla="*/ 2147483647 w 10"/>
                  <a:gd name="T21" fmla="*/ 2147483647 h 10"/>
                  <a:gd name="T22" fmla="*/ 2147483647 w 10"/>
                  <a:gd name="T23" fmla="*/ 2147483647 h 10"/>
                  <a:gd name="T24" fmla="*/ 2147483647 w 10"/>
                  <a:gd name="T25" fmla="*/ 2147483647 h 10"/>
                  <a:gd name="T26" fmla="*/ 2147483647 w 10"/>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0"/>
                  <a:gd name="T44" fmla="*/ 10 w 10"/>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0">
                    <a:moveTo>
                      <a:pt x="10" y="2"/>
                    </a:moveTo>
                    <a:lnTo>
                      <a:pt x="10" y="2"/>
                    </a:lnTo>
                    <a:lnTo>
                      <a:pt x="10" y="0"/>
                    </a:lnTo>
                    <a:lnTo>
                      <a:pt x="8" y="0"/>
                    </a:lnTo>
                    <a:lnTo>
                      <a:pt x="4" y="4"/>
                    </a:lnTo>
                    <a:lnTo>
                      <a:pt x="0" y="8"/>
                    </a:lnTo>
                    <a:lnTo>
                      <a:pt x="2" y="10"/>
                    </a:lnTo>
                    <a:lnTo>
                      <a:pt x="4" y="10"/>
                    </a:lnTo>
                    <a:lnTo>
                      <a:pt x="8" y="8"/>
                    </a:lnTo>
                    <a:lnTo>
                      <a:pt x="10" y="4"/>
                    </a:lnTo>
                    <a:lnTo>
                      <a:pt x="1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6" name="Freeform 6147"/>
              <p:cNvSpPr>
                <a:spLocks/>
              </p:cNvSpPr>
              <p:nvPr/>
            </p:nvSpPr>
            <p:spPr bwMode="auto">
              <a:xfrm>
                <a:off x="3231595" y="3999644"/>
                <a:ext cx="6637" cy="1658"/>
              </a:xfrm>
              <a:custGeom>
                <a:avLst/>
                <a:gdLst>
                  <a:gd name="T0" fmla="*/ 0 w 10"/>
                  <a:gd name="T1" fmla="*/ 2147483647 h 6"/>
                  <a:gd name="T2" fmla="*/ 0 w 10"/>
                  <a:gd name="T3" fmla="*/ 2147483647 h 6"/>
                  <a:gd name="T4" fmla="*/ 0 w 10"/>
                  <a:gd name="T5" fmla="*/ 2147483647 h 6"/>
                  <a:gd name="T6" fmla="*/ 0 w 10"/>
                  <a:gd name="T7" fmla="*/ 2147483647 h 6"/>
                  <a:gd name="T8" fmla="*/ 2147483647 w 10"/>
                  <a:gd name="T9" fmla="*/ 2147483647 h 6"/>
                  <a:gd name="T10" fmla="*/ 2147483647 w 10"/>
                  <a:gd name="T11" fmla="*/ 2147483647 h 6"/>
                  <a:gd name="T12" fmla="*/ 2147483647 w 10"/>
                  <a:gd name="T13" fmla="*/ 0 h 6"/>
                  <a:gd name="T14" fmla="*/ 2147483647 w 10"/>
                  <a:gd name="T15" fmla="*/ 0 h 6"/>
                  <a:gd name="T16" fmla="*/ 2147483647 w 10"/>
                  <a:gd name="T17" fmla="*/ 0 h 6"/>
                  <a:gd name="T18" fmla="*/ 2147483647 w 10"/>
                  <a:gd name="T19" fmla="*/ 0 h 6"/>
                  <a:gd name="T20" fmla="*/ 2147483647 w 10"/>
                  <a:gd name="T21" fmla="*/ 2147483647 h 6"/>
                  <a:gd name="T22" fmla="*/ 0 w 10"/>
                  <a:gd name="T23" fmla="*/ 2147483647 h 6"/>
                  <a:gd name="T24" fmla="*/ 0 w 10"/>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6"/>
                  <a:gd name="T41" fmla="*/ 10 w 10"/>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6">
                    <a:moveTo>
                      <a:pt x="0" y="6"/>
                    </a:moveTo>
                    <a:lnTo>
                      <a:pt x="0" y="6"/>
                    </a:lnTo>
                    <a:lnTo>
                      <a:pt x="4" y="6"/>
                    </a:lnTo>
                    <a:lnTo>
                      <a:pt x="8" y="4"/>
                    </a:lnTo>
                    <a:lnTo>
                      <a:pt x="10" y="0"/>
                    </a:lnTo>
                    <a:lnTo>
                      <a:pt x="8" y="0"/>
                    </a:lnTo>
                    <a:lnTo>
                      <a:pt x="4" y="0"/>
                    </a:lnTo>
                    <a:lnTo>
                      <a:pt x="2" y="2"/>
                    </a:lnTo>
                    <a:lnTo>
                      <a:pt x="0"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7" name="Freeform 6148"/>
              <p:cNvSpPr>
                <a:spLocks/>
              </p:cNvSpPr>
              <p:nvPr/>
            </p:nvSpPr>
            <p:spPr bwMode="auto">
              <a:xfrm>
                <a:off x="3213343" y="4034481"/>
                <a:ext cx="3319" cy="3318"/>
              </a:xfrm>
              <a:custGeom>
                <a:avLst/>
                <a:gdLst>
                  <a:gd name="T0" fmla="*/ 2147483647 w 8"/>
                  <a:gd name="T1" fmla="*/ 0 h 8"/>
                  <a:gd name="T2" fmla="*/ 2147483647 w 8"/>
                  <a:gd name="T3" fmla="*/ 0 h 8"/>
                  <a:gd name="T4" fmla="*/ 2147483647 w 8"/>
                  <a:gd name="T5" fmla="*/ 2147483647 h 8"/>
                  <a:gd name="T6" fmla="*/ 0 w 8"/>
                  <a:gd name="T7" fmla="*/ 2147483647 h 8"/>
                  <a:gd name="T8" fmla="*/ 0 w 8"/>
                  <a:gd name="T9" fmla="*/ 2147483647 h 8"/>
                  <a:gd name="T10" fmla="*/ 0 w 8"/>
                  <a:gd name="T11" fmla="*/ 2147483647 h 8"/>
                  <a:gd name="T12" fmla="*/ 0 w 8"/>
                  <a:gd name="T13" fmla="*/ 2147483647 h 8"/>
                  <a:gd name="T14" fmla="*/ 2147483647 w 8"/>
                  <a:gd name="T15" fmla="*/ 2147483647 h 8"/>
                  <a:gd name="T16" fmla="*/ 2147483647 w 8"/>
                  <a:gd name="T17" fmla="*/ 2147483647 h 8"/>
                  <a:gd name="T18" fmla="*/ 2147483647 w 8"/>
                  <a:gd name="T19" fmla="*/ 2147483647 h 8"/>
                  <a:gd name="T20" fmla="*/ 2147483647 w 8"/>
                  <a:gd name="T21" fmla="*/ 0 h 8"/>
                  <a:gd name="T22" fmla="*/ 2147483647 w 8"/>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8"/>
                  <a:gd name="T38" fmla="*/ 8 w 8"/>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8">
                    <a:moveTo>
                      <a:pt x="6" y="0"/>
                    </a:moveTo>
                    <a:lnTo>
                      <a:pt x="6" y="0"/>
                    </a:lnTo>
                    <a:lnTo>
                      <a:pt x="4" y="2"/>
                    </a:lnTo>
                    <a:lnTo>
                      <a:pt x="0" y="4"/>
                    </a:lnTo>
                    <a:lnTo>
                      <a:pt x="0" y="6"/>
                    </a:lnTo>
                    <a:lnTo>
                      <a:pt x="0" y="8"/>
                    </a:lnTo>
                    <a:lnTo>
                      <a:pt x="4" y="8"/>
                    </a:lnTo>
                    <a:lnTo>
                      <a:pt x="6" y="6"/>
                    </a:lnTo>
                    <a:lnTo>
                      <a:pt x="8" y="2"/>
                    </a:lnTo>
                    <a:lnTo>
                      <a:pt x="6"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8" name="Freeform 6151"/>
              <p:cNvSpPr>
                <a:spLocks noEditPoints="1"/>
              </p:cNvSpPr>
              <p:nvPr/>
            </p:nvSpPr>
            <p:spPr bwMode="auto">
              <a:xfrm>
                <a:off x="6621504" y="4051070"/>
                <a:ext cx="1539812" cy="1375272"/>
              </a:xfrm>
              <a:custGeom>
                <a:avLst/>
                <a:gdLst/>
                <a:ahLst/>
                <a:cxnLst>
                  <a:cxn ang="0">
                    <a:pos x="696" y="550"/>
                  </a:cxn>
                  <a:cxn ang="0">
                    <a:pos x="1634" y="564"/>
                  </a:cxn>
                  <a:cxn ang="0">
                    <a:pos x="1542" y="1182"/>
                  </a:cxn>
                  <a:cxn ang="0">
                    <a:pos x="1436" y="994"/>
                  </a:cxn>
                  <a:cxn ang="0">
                    <a:pos x="1244" y="702"/>
                  </a:cxn>
                  <a:cxn ang="0">
                    <a:pos x="1144" y="636"/>
                  </a:cxn>
                  <a:cxn ang="0">
                    <a:pos x="912" y="744"/>
                  </a:cxn>
                  <a:cxn ang="0">
                    <a:pos x="920" y="604"/>
                  </a:cxn>
                  <a:cxn ang="0">
                    <a:pos x="754" y="556"/>
                  </a:cxn>
                  <a:cxn ang="0">
                    <a:pos x="612" y="722"/>
                  </a:cxn>
                  <a:cxn ang="0">
                    <a:pos x="414" y="840"/>
                  </a:cxn>
                  <a:cxn ang="0">
                    <a:pos x="110" y="1034"/>
                  </a:cxn>
                  <a:cxn ang="0">
                    <a:pos x="8" y="1264"/>
                  </a:cxn>
                  <a:cxn ang="0">
                    <a:pos x="96" y="1664"/>
                  </a:cxn>
                  <a:cxn ang="0">
                    <a:pos x="344" y="1698"/>
                  </a:cxn>
                  <a:cxn ang="0">
                    <a:pos x="772" y="1596"/>
                  </a:cxn>
                  <a:cxn ang="0">
                    <a:pos x="990" y="1640"/>
                  </a:cxn>
                  <a:cxn ang="0">
                    <a:pos x="1020" y="1792"/>
                  </a:cxn>
                  <a:cxn ang="0">
                    <a:pos x="1276" y="1916"/>
                  </a:cxn>
                  <a:cxn ang="0">
                    <a:pos x="1478" y="1874"/>
                  </a:cxn>
                  <a:cxn ang="0">
                    <a:pos x="1628" y="1412"/>
                  </a:cxn>
                  <a:cxn ang="0">
                    <a:pos x="1668" y="244"/>
                  </a:cxn>
                  <a:cxn ang="0">
                    <a:pos x="1242" y="2032"/>
                  </a:cxn>
                  <a:cxn ang="0">
                    <a:pos x="1276" y="2118"/>
                  </a:cxn>
                  <a:cxn ang="0">
                    <a:pos x="1388" y="2198"/>
                  </a:cxn>
                  <a:cxn ang="0">
                    <a:pos x="982" y="1810"/>
                  </a:cxn>
                  <a:cxn ang="0">
                    <a:pos x="2214" y="814"/>
                  </a:cxn>
                  <a:cxn ang="0">
                    <a:pos x="2158" y="1098"/>
                  </a:cxn>
                  <a:cxn ang="0">
                    <a:pos x="2154" y="718"/>
                  </a:cxn>
                  <a:cxn ang="0">
                    <a:pos x="1772" y="386"/>
                  </a:cxn>
                  <a:cxn ang="0">
                    <a:pos x="1742" y="318"/>
                  </a:cxn>
                  <a:cxn ang="0">
                    <a:pos x="1830" y="382"/>
                  </a:cxn>
                  <a:cxn ang="0">
                    <a:pos x="1906" y="576"/>
                  </a:cxn>
                  <a:cxn ang="0">
                    <a:pos x="2196" y="808"/>
                  </a:cxn>
                  <a:cxn ang="0">
                    <a:pos x="2434" y="2088"/>
                  </a:cxn>
                  <a:cxn ang="0">
                    <a:pos x="2246" y="2248"/>
                  </a:cxn>
                  <a:cxn ang="0">
                    <a:pos x="2256" y="2404"/>
                  </a:cxn>
                  <a:cxn ang="0">
                    <a:pos x="2416" y="2196"/>
                  </a:cxn>
                  <a:cxn ang="0">
                    <a:pos x="2666" y="822"/>
                  </a:cxn>
                  <a:cxn ang="0">
                    <a:pos x="2482" y="1836"/>
                  </a:cxn>
                  <a:cxn ang="0">
                    <a:pos x="2464" y="1830"/>
                  </a:cxn>
                  <a:cxn ang="0">
                    <a:pos x="2502" y="2120"/>
                  </a:cxn>
                  <a:cxn ang="0">
                    <a:pos x="2600" y="1904"/>
                  </a:cxn>
                  <a:cxn ang="0">
                    <a:pos x="2250" y="926"/>
                  </a:cxn>
                  <a:cxn ang="0">
                    <a:pos x="1522" y="492"/>
                  </a:cxn>
                  <a:cxn ang="0">
                    <a:pos x="1366" y="252"/>
                  </a:cxn>
                  <a:cxn ang="0">
                    <a:pos x="920" y="78"/>
                  </a:cxn>
                  <a:cxn ang="0">
                    <a:pos x="850" y="288"/>
                  </a:cxn>
                  <a:cxn ang="0">
                    <a:pos x="994" y="384"/>
                  </a:cxn>
                  <a:cxn ang="0">
                    <a:pos x="1060" y="804"/>
                  </a:cxn>
                  <a:cxn ang="0">
                    <a:pos x="1212" y="440"/>
                  </a:cxn>
                  <a:cxn ang="0">
                    <a:pos x="1400" y="492"/>
                  </a:cxn>
                  <a:cxn ang="0">
                    <a:pos x="1394" y="386"/>
                  </a:cxn>
                  <a:cxn ang="0">
                    <a:pos x="1220" y="170"/>
                  </a:cxn>
                  <a:cxn ang="0">
                    <a:pos x="1452" y="296"/>
                  </a:cxn>
                  <a:cxn ang="0">
                    <a:pos x="1530" y="242"/>
                  </a:cxn>
                  <a:cxn ang="0">
                    <a:pos x="1588" y="202"/>
                  </a:cxn>
                  <a:cxn ang="0">
                    <a:pos x="1500" y="128"/>
                  </a:cxn>
                  <a:cxn ang="0">
                    <a:pos x="768" y="146"/>
                  </a:cxn>
                  <a:cxn ang="0">
                    <a:pos x="1004" y="284"/>
                  </a:cxn>
                  <a:cxn ang="0">
                    <a:pos x="966" y="96"/>
                  </a:cxn>
                  <a:cxn ang="0">
                    <a:pos x="786" y="18"/>
                  </a:cxn>
                  <a:cxn ang="0">
                    <a:pos x="1616" y="1224"/>
                  </a:cxn>
                </a:cxnLst>
                <a:rect l="0" t="0" r="r" b="b"/>
                <a:pathLst>
                  <a:path w="2690" h="2404">
                    <a:moveTo>
                      <a:pt x="692" y="12"/>
                    </a:moveTo>
                    <a:lnTo>
                      <a:pt x="692" y="12"/>
                    </a:lnTo>
                    <a:lnTo>
                      <a:pt x="698" y="14"/>
                    </a:lnTo>
                    <a:lnTo>
                      <a:pt x="702" y="18"/>
                    </a:lnTo>
                    <a:lnTo>
                      <a:pt x="708" y="20"/>
                    </a:lnTo>
                    <a:lnTo>
                      <a:pt x="714" y="20"/>
                    </a:lnTo>
                    <a:lnTo>
                      <a:pt x="714" y="20"/>
                    </a:lnTo>
                    <a:lnTo>
                      <a:pt x="716" y="20"/>
                    </a:lnTo>
                    <a:lnTo>
                      <a:pt x="714" y="18"/>
                    </a:lnTo>
                    <a:lnTo>
                      <a:pt x="712" y="16"/>
                    </a:lnTo>
                    <a:lnTo>
                      <a:pt x="710" y="12"/>
                    </a:lnTo>
                    <a:lnTo>
                      <a:pt x="708" y="12"/>
                    </a:lnTo>
                    <a:lnTo>
                      <a:pt x="710" y="12"/>
                    </a:lnTo>
                    <a:lnTo>
                      <a:pt x="710" y="12"/>
                    </a:lnTo>
                    <a:lnTo>
                      <a:pt x="714" y="12"/>
                    </a:lnTo>
                    <a:lnTo>
                      <a:pt x="718" y="16"/>
                    </a:lnTo>
                    <a:lnTo>
                      <a:pt x="722" y="18"/>
                    </a:lnTo>
                    <a:lnTo>
                      <a:pt x="728" y="18"/>
                    </a:lnTo>
                    <a:lnTo>
                      <a:pt x="728" y="18"/>
                    </a:lnTo>
                    <a:lnTo>
                      <a:pt x="730" y="16"/>
                    </a:lnTo>
                    <a:lnTo>
                      <a:pt x="730" y="12"/>
                    </a:lnTo>
                    <a:lnTo>
                      <a:pt x="724" y="6"/>
                    </a:lnTo>
                    <a:lnTo>
                      <a:pt x="714" y="2"/>
                    </a:lnTo>
                    <a:lnTo>
                      <a:pt x="708" y="0"/>
                    </a:lnTo>
                    <a:lnTo>
                      <a:pt x="702" y="2"/>
                    </a:lnTo>
                    <a:lnTo>
                      <a:pt x="702" y="2"/>
                    </a:lnTo>
                    <a:lnTo>
                      <a:pt x="694" y="4"/>
                    </a:lnTo>
                    <a:lnTo>
                      <a:pt x="688" y="8"/>
                    </a:lnTo>
                    <a:lnTo>
                      <a:pt x="688" y="10"/>
                    </a:lnTo>
                    <a:lnTo>
                      <a:pt x="692" y="12"/>
                    </a:lnTo>
                    <a:lnTo>
                      <a:pt x="692" y="12"/>
                    </a:lnTo>
                    <a:close/>
                    <a:moveTo>
                      <a:pt x="742" y="352"/>
                    </a:moveTo>
                    <a:lnTo>
                      <a:pt x="742" y="352"/>
                    </a:lnTo>
                    <a:lnTo>
                      <a:pt x="740" y="350"/>
                    </a:lnTo>
                    <a:lnTo>
                      <a:pt x="740" y="350"/>
                    </a:lnTo>
                    <a:lnTo>
                      <a:pt x="736" y="352"/>
                    </a:lnTo>
                    <a:lnTo>
                      <a:pt x="732" y="358"/>
                    </a:lnTo>
                    <a:lnTo>
                      <a:pt x="728" y="366"/>
                    </a:lnTo>
                    <a:lnTo>
                      <a:pt x="724" y="382"/>
                    </a:lnTo>
                    <a:lnTo>
                      <a:pt x="724" y="386"/>
                    </a:lnTo>
                    <a:lnTo>
                      <a:pt x="724" y="388"/>
                    </a:lnTo>
                    <a:lnTo>
                      <a:pt x="726" y="388"/>
                    </a:lnTo>
                    <a:lnTo>
                      <a:pt x="726" y="388"/>
                    </a:lnTo>
                    <a:lnTo>
                      <a:pt x="736" y="382"/>
                    </a:lnTo>
                    <a:lnTo>
                      <a:pt x="742" y="374"/>
                    </a:lnTo>
                    <a:lnTo>
                      <a:pt x="744" y="364"/>
                    </a:lnTo>
                    <a:lnTo>
                      <a:pt x="742" y="352"/>
                    </a:lnTo>
                    <a:lnTo>
                      <a:pt x="742" y="352"/>
                    </a:lnTo>
                    <a:close/>
                    <a:moveTo>
                      <a:pt x="696" y="550"/>
                    </a:moveTo>
                    <a:lnTo>
                      <a:pt x="696" y="550"/>
                    </a:lnTo>
                    <a:lnTo>
                      <a:pt x="692" y="548"/>
                    </a:lnTo>
                    <a:lnTo>
                      <a:pt x="690" y="548"/>
                    </a:lnTo>
                    <a:lnTo>
                      <a:pt x="690" y="552"/>
                    </a:lnTo>
                    <a:lnTo>
                      <a:pt x="692" y="556"/>
                    </a:lnTo>
                    <a:lnTo>
                      <a:pt x="700" y="566"/>
                    </a:lnTo>
                    <a:lnTo>
                      <a:pt x="710" y="578"/>
                    </a:lnTo>
                    <a:lnTo>
                      <a:pt x="710" y="578"/>
                    </a:lnTo>
                    <a:lnTo>
                      <a:pt x="714" y="580"/>
                    </a:lnTo>
                    <a:lnTo>
                      <a:pt x="718" y="578"/>
                    </a:lnTo>
                    <a:lnTo>
                      <a:pt x="724" y="576"/>
                    </a:lnTo>
                    <a:lnTo>
                      <a:pt x="728" y="574"/>
                    </a:lnTo>
                    <a:lnTo>
                      <a:pt x="734" y="568"/>
                    </a:lnTo>
                    <a:lnTo>
                      <a:pt x="736" y="564"/>
                    </a:lnTo>
                    <a:lnTo>
                      <a:pt x="738" y="558"/>
                    </a:lnTo>
                    <a:lnTo>
                      <a:pt x="736" y="552"/>
                    </a:lnTo>
                    <a:lnTo>
                      <a:pt x="736" y="552"/>
                    </a:lnTo>
                    <a:lnTo>
                      <a:pt x="730" y="546"/>
                    </a:lnTo>
                    <a:lnTo>
                      <a:pt x="728" y="544"/>
                    </a:lnTo>
                    <a:lnTo>
                      <a:pt x="724" y="546"/>
                    </a:lnTo>
                    <a:lnTo>
                      <a:pt x="722" y="548"/>
                    </a:lnTo>
                    <a:lnTo>
                      <a:pt x="718" y="552"/>
                    </a:lnTo>
                    <a:lnTo>
                      <a:pt x="712" y="554"/>
                    </a:lnTo>
                    <a:lnTo>
                      <a:pt x="706" y="554"/>
                    </a:lnTo>
                    <a:lnTo>
                      <a:pt x="696" y="550"/>
                    </a:lnTo>
                    <a:lnTo>
                      <a:pt x="696" y="550"/>
                    </a:lnTo>
                    <a:close/>
                    <a:moveTo>
                      <a:pt x="936" y="688"/>
                    </a:moveTo>
                    <a:lnTo>
                      <a:pt x="936" y="688"/>
                    </a:lnTo>
                    <a:lnTo>
                      <a:pt x="938" y="696"/>
                    </a:lnTo>
                    <a:lnTo>
                      <a:pt x="940" y="696"/>
                    </a:lnTo>
                    <a:lnTo>
                      <a:pt x="942" y="696"/>
                    </a:lnTo>
                    <a:lnTo>
                      <a:pt x="946" y="692"/>
                    </a:lnTo>
                    <a:lnTo>
                      <a:pt x="950" y="684"/>
                    </a:lnTo>
                    <a:lnTo>
                      <a:pt x="950" y="684"/>
                    </a:lnTo>
                    <a:lnTo>
                      <a:pt x="950" y="680"/>
                    </a:lnTo>
                    <a:lnTo>
                      <a:pt x="950" y="678"/>
                    </a:lnTo>
                    <a:lnTo>
                      <a:pt x="946" y="676"/>
                    </a:lnTo>
                    <a:lnTo>
                      <a:pt x="942" y="676"/>
                    </a:lnTo>
                    <a:lnTo>
                      <a:pt x="940" y="676"/>
                    </a:lnTo>
                    <a:lnTo>
                      <a:pt x="936" y="680"/>
                    </a:lnTo>
                    <a:lnTo>
                      <a:pt x="934" y="684"/>
                    </a:lnTo>
                    <a:lnTo>
                      <a:pt x="936" y="688"/>
                    </a:lnTo>
                    <a:lnTo>
                      <a:pt x="936" y="688"/>
                    </a:lnTo>
                    <a:close/>
                    <a:moveTo>
                      <a:pt x="1610" y="556"/>
                    </a:moveTo>
                    <a:lnTo>
                      <a:pt x="1610" y="556"/>
                    </a:lnTo>
                    <a:lnTo>
                      <a:pt x="1616" y="560"/>
                    </a:lnTo>
                    <a:lnTo>
                      <a:pt x="1624" y="562"/>
                    </a:lnTo>
                    <a:lnTo>
                      <a:pt x="1632" y="564"/>
                    </a:lnTo>
                    <a:lnTo>
                      <a:pt x="1634" y="564"/>
                    </a:lnTo>
                    <a:lnTo>
                      <a:pt x="1634" y="562"/>
                    </a:lnTo>
                    <a:lnTo>
                      <a:pt x="1634" y="562"/>
                    </a:lnTo>
                    <a:lnTo>
                      <a:pt x="1628" y="558"/>
                    </a:lnTo>
                    <a:lnTo>
                      <a:pt x="1618" y="552"/>
                    </a:lnTo>
                    <a:lnTo>
                      <a:pt x="1610" y="550"/>
                    </a:lnTo>
                    <a:lnTo>
                      <a:pt x="1610" y="552"/>
                    </a:lnTo>
                    <a:lnTo>
                      <a:pt x="1610" y="556"/>
                    </a:lnTo>
                    <a:lnTo>
                      <a:pt x="1610" y="556"/>
                    </a:lnTo>
                    <a:close/>
                    <a:moveTo>
                      <a:pt x="1402" y="2052"/>
                    </a:moveTo>
                    <a:lnTo>
                      <a:pt x="1402" y="2052"/>
                    </a:lnTo>
                    <a:lnTo>
                      <a:pt x="1404" y="2054"/>
                    </a:lnTo>
                    <a:lnTo>
                      <a:pt x="1410" y="2056"/>
                    </a:lnTo>
                    <a:lnTo>
                      <a:pt x="1416" y="2056"/>
                    </a:lnTo>
                    <a:lnTo>
                      <a:pt x="1420" y="2054"/>
                    </a:lnTo>
                    <a:lnTo>
                      <a:pt x="1420" y="2054"/>
                    </a:lnTo>
                    <a:lnTo>
                      <a:pt x="1420" y="2052"/>
                    </a:lnTo>
                    <a:lnTo>
                      <a:pt x="1418" y="2048"/>
                    </a:lnTo>
                    <a:lnTo>
                      <a:pt x="1412" y="2048"/>
                    </a:lnTo>
                    <a:lnTo>
                      <a:pt x="1404" y="2048"/>
                    </a:lnTo>
                    <a:lnTo>
                      <a:pt x="1402" y="2050"/>
                    </a:lnTo>
                    <a:lnTo>
                      <a:pt x="1402" y="2052"/>
                    </a:lnTo>
                    <a:lnTo>
                      <a:pt x="1402" y="2052"/>
                    </a:lnTo>
                    <a:close/>
                    <a:moveTo>
                      <a:pt x="1610" y="1344"/>
                    </a:moveTo>
                    <a:lnTo>
                      <a:pt x="1610" y="1344"/>
                    </a:lnTo>
                    <a:lnTo>
                      <a:pt x="1612" y="1338"/>
                    </a:lnTo>
                    <a:lnTo>
                      <a:pt x="1614" y="1334"/>
                    </a:lnTo>
                    <a:lnTo>
                      <a:pt x="1612" y="1324"/>
                    </a:lnTo>
                    <a:lnTo>
                      <a:pt x="1610" y="1312"/>
                    </a:lnTo>
                    <a:lnTo>
                      <a:pt x="1608" y="1304"/>
                    </a:lnTo>
                    <a:lnTo>
                      <a:pt x="1610" y="1294"/>
                    </a:lnTo>
                    <a:lnTo>
                      <a:pt x="1610" y="1294"/>
                    </a:lnTo>
                    <a:lnTo>
                      <a:pt x="1610" y="1280"/>
                    </a:lnTo>
                    <a:lnTo>
                      <a:pt x="1608" y="1276"/>
                    </a:lnTo>
                    <a:lnTo>
                      <a:pt x="1606" y="1276"/>
                    </a:lnTo>
                    <a:lnTo>
                      <a:pt x="1604" y="1274"/>
                    </a:lnTo>
                    <a:lnTo>
                      <a:pt x="1600" y="1270"/>
                    </a:lnTo>
                    <a:lnTo>
                      <a:pt x="1598" y="1266"/>
                    </a:lnTo>
                    <a:lnTo>
                      <a:pt x="1596" y="1256"/>
                    </a:lnTo>
                    <a:lnTo>
                      <a:pt x="1596" y="1256"/>
                    </a:lnTo>
                    <a:lnTo>
                      <a:pt x="1594" y="1246"/>
                    </a:lnTo>
                    <a:lnTo>
                      <a:pt x="1590" y="1238"/>
                    </a:lnTo>
                    <a:lnTo>
                      <a:pt x="1582" y="1226"/>
                    </a:lnTo>
                    <a:lnTo>
                      <a:pt x="1570" y="1214"/>
                    </a:lnTo>
                    <a:lnTo>
                      <a:pt x="1560" y="1198"/>
                    </a:lnTo>
                    <a:lnTo>
                      <a:pt x="1560" y="1198"/>
                    </a:lnTo>
                    <a:lnTo>
                      <a:pt x="1550" y="1184"/>
                    </a:lnTo>
                    <a:lnTo>
                      <a:pt x="1548" y="1182"/>
                    </a:lnTo>
                    <a:lnTo>
                      <a:pt x="1546" y="1182"/>
                    </a:lnTo>
                    <a:lnTo>
                      <a:pt x="1542" y="1182"/>
                    </a:lnTo>
                    <a:lnTo>
                      <a:pt x="1538" y="1180"/>
                    </a:lnTo>
                    <a:lnTo>
                      <a:pt x="1534" y="1176"/>
                    </a:lnTo>
                    <a:lnTo>
                      <a:pt x="1526" y="1166"/>
                    </a:lnTo>
                    <a:lnTo>
                      <a:pt x="1526" y="1166"/>
                    </a:lnTo>
                    <a:lnTo>
                      <a:pt x="1518" y="1156"/>
                    </a:lnTo>
                    <a:lnTo>
                      <a:pt x="1514" y="1146"/>
                    </a:lnTo>
                    <a:lnTo>
                      <a:pt x="1514" y="1136"/>
                    </a:lnTo>
                    <a:lnTo>
                      <a:pt x="1514" y="1126"/>
                    </a:lnTo>
                    <a:lnTo>
                      <a:pt x="1514" y="1110"/>
                    </a:lnTo>
                    <a:lnTo>
                      <a:pt x="1514" y="1104"/>
                    </a:lnTo>
                    <a:lnTo>
                      <a:pt x="1510" y="1098"/>
                    </a:lnTo>
                    <a:lnTo>
                      <a:pt x="1510" y="1098"/>
                    </a:lnTo>
                    <a:lnTo>
                      <a:pt x="1508" y="1096"/>
                    </a:lnTo>
                    <a:lnTo>
                      <a:pt x="1506" y="1096"/>
                    </a:lnTo>
                    <a:lnTo>
                      <a:pt x="1502" y="1102"/>
                    </a:lnTo>
                    <a:lnTo>
                      <a:pt x="1502" y="1104"/>
                    </a:lnTo>
                    <a:lnTo>
                      <a:pt x="1498" y="1104"/>
                    </a:lnTo>
                    <a:lnTo>
                      <a:pt x="1494" y="1102"/>
                    </a:lnTo>
                    <a:lnTo>
                      <a:pt x="1490" y="1096"/>
                    </a:lnTo>
                    <a:lnTo>
                      <a:pt x="1490" y="1096"/>
                    </a:lnTo>
                    <a:lnTo>
                      <a:pt x="1484" y="1090"/>
                    </a:lnTo>
                    <a:lnTo>
                      <a:pt x="1480" y="1090"/>
                    </a:lnTo>
                    <a:lnTo>
                      <a:pt x="1480" y="1092"/>
                    </a:lnTo>
                    <a:lnTo>
                      <a:pt x="1480" y="1098"/>
                    </a:lnTo>
                    <a:lnTo>
                      <a:pt x="1478" y="1102"/>
                    </a:lnTo>
                    <a:lnTo>
                      <a:pt x="1478" y="1106"/>
                    </a:lnTo>
                    <a:lnTo>
                      <a:pt x="1474" y="1104"/>
                    </a:lnTo>
                    <a:lnTo>
                      <a:pt x="1470" y="1100"/>
                    </a:lnTo>
                    <a:lnTo>
                      <a:pt x="1470" y="1100"/>
                    </a:lnTo>
                    <a:lnTo>
                      <a:pt x="1464" y="1092"/>
                    </a:lnTo>
                    <a:lnTo>
                      <a:pt x="1462" y="1086"/>
                    </a:lnTo>
                    <a:lnTo>
                      <a:pt x="1462" y="1080"/>
                    </a:lnTo>
                    <a:lnTo>
                      <a:pt x="1462" y="1076"/>
                    </a:lnTo>
                    <a:lnTo>
                      <a:pt x="1464" y="1066"/>
                    </a:lnTo>
                    <a:lnTo>
                      <a:pt x="1462" y="1060"/>
                    </a:lnTo>
                    <a:lnTo>
                      <a:pt x="1462" y="1054"/>
                    </a:lnTo>
                    <a:lnTo>
                      <a:pt x="1462" y="1054"/>
                    </a:lnTo>
                    <a:lnTo>
                      <a:pt x="1458" y="1046"/>
                    </a:lnTo>
                    <a:lnTo>
                      <a:pt x="1452" y="1038"/>
                    </a:lnTo>
                    <a:lnTo>
                      <a:pt x="1440" y="1022"/>
                    </a:lnTo>
                    <a:lnTo>
                      <a:pt x="1430" y="1012"/>
                    </a:lnTo>
                    <a:lnTo>
                      <a:pt x="1428" y="1008"/>
                    </a:lnTo>
                    <a:lnTo>
                      <a:pt x="1432" y="1008"/>
                    </a:lnTo>
                    <a:lnTo>
                      <a:pt x="1432" y="1008"/>
                    </a:lnTo>
                    <a:lnTo>
                      <a:pt x="1436" y="1008"/>
                    </a:lnTo>
                    <a:lnTo>
                      <a:pt x="1438" y="1006"/>
                    </a:lnTo>
                    <a:lnTo>
                      <a:pt x="1440" y="1002"/>
                    </a:lnTo>
                    <a:lnTo>
                      <a:pt x="1438" y="998"/>
                    </a:lnTo>
                    <a:lnTo>
                      <a:pt x="1436" y="994"/>
                    </a:lnTo>
                    <a:lnTo>
                      <a:pt x="1430" y="988"/>
                    </a:lnTo>
                    <a:lnTo>
                      <a:pt x="1422" y="984"/>
                    </a:lnTo>
                    <a:lnTo>
                      <a:pt x="1410" y="978"/>
                    </a:lnTo>
                    <a:lnTo>
                      <a:pt x="1410" y="978"/>
                    </a:lnTo>
                    <a:lnTo>
                      <a:pt x="1398" y="974"/>
                    </a:lnTo>
                    <a:lnTo>
                      <a:pt x="1392" y="968"/>
                    </a:lnTo>
                    <a:lnTo>
                      <a:pt x="1388" y="964"/>
                    </a:lnTo>
                    <a:lnTo>
                      <a:pt x="1386" y="960"/>
                    </a:lnTo>
                    <a:lnTo>
                      <a:pt x="1384" y="956"/>
                    </a:lnTo>
                    <a:lnTo>
                      <a:pt x="1380" y="952"/>
                    </a:lnTo>
                    <a:lnTo>
                      <a:pt x="1374" y="950"/>
                    </a:lnTo>
                    <a:lnTo>
                      <a:pt x="1364" y="946"/>
                    </a:lnTo>
                    <a:lnTo>
                      <a:pt x="1364" y="946"/>
                    </a:lnTo>
                    <a:lnTo>
                      <a:pt x="1354" y="942"/>
                    </a:lnTo>
                    <a:lnTo>
                      <a:pt x="1346" y="938"/>
                    </a:lnTo>
                    <a:lnTo>
                      <a:pt x="1340" y="934"/>
                    </a:lnTo>
                    <a:lnTo>
                      <a:pt x="1338" y="928"/>
                    </a:lnTo>
                    <a:lnTo>
                      <a:pt x="1334" y="916"/>
                    </a:lnTo>
                    <a:lnTo>
                      <a:pt x="1332" y="908"/>
                    </a:lnTo>
                    <a:lnTo>
                      <a:pt x="1328" y="902"/>
                    </a:lnTo>
                    <a:lnTo>
                      <a:pt x="1328" y="902"/>
                    </a:lnTo>
                    <a:lnTo>
                      <a:pt x="1324" y="896"/>
                    </a:lnTo>
                    <a:lnTo>
                      <a:pt x="1324" y="886"/>
                    </a:lnTo>
                    <a:lnTo>
                      <a:pt x="1322" y="864"/>
                    </a:lnTo>
                    <a:lnTo>
                      <a:pt x="1322" y="852"/>
                    </a:lnTo>
                    <a:lnTo>
                      <a:pt x="1320" y="840"/>
                    </a:lnTo>
                    <a:lnTo>
                      <a:pt x="1316" y="828"/>
                    </a:lnTo>
                    <a:lnTo>
                      <a:pt x="1308" y="818"/>
                    </a:lnTo>
                    <a:lnTo>
                      <a:pt x="1308" y="818"/>
                    </a:lnTo>
                    <a:lnTo>
                      <a:pt x="1304" y="812"/>
                    </a:lnTo>
                    <a:lnTo>
                      <a:pt x="1302" y="806"/>
                    </a:lnTo>
                    <a:lnTo>
                      <a:pt x="1298" y="794"/>
                    </a:lnTo>
                    <a:lnTo>
                      <a:pt x="1296" y="780"/>
                    </a:lnTo>
                    <a:lnTo>
                      <a:pt x="1296" y="764"/>
                    </a:lnTo>
                    <a:lnTo>
                      <a:pt x="1296" y="750"/>
                    </a:lnTo>
                    <a:lnTo>
                      <a:pt x="1294" y="736"/>
                    </a:lnTo>
                    <a:lnTo>
                      <a:pt x="1290" y="726"/>
                    </a:lnTo>
                    <a:lnTo>
                      <a:pt x="1286" y="722"/>
                    </a:lnTo>
                    <a:lnTo>
                      <a:pt x="1282" y="718"/>
                    </a:lnTo>
                    <a:lnTo>
                      <a:pt x="1282" y="718"/>
                    </a:lnTo>
                    <a:lnTo>
                      <a:pt x="1274" y="712"/>
                    </a:lnTo>
                    <a:lnTo>
                      <a:pt x="1268" y="704"/>
                    </a:lnTo>
                    <a:lnTo>
                      <a:pt x="1262" y="692"/>
                    </a:lnTo>
                    <a:lnTo>
                      <a:pt x="1258" y="690"/>
                    </a:lnTo>
                    <a:lnTo>
                      <a:pt x="1256" y="688"/>
                    </a:lnTo>
                    <a:lnTo>
                      <a:pt x="1254" y="690"/>
                    </a:lnTo>
                    <a:lnTo>
                      <a:pt x="1250" y="698"/>
                    </a:lnTo>
                    <a:lnTo>
                      <a:pt x="1250" y="698"/>
                    </a:lnTo>
                    <a:lnTo>
                      <a:pt x="1244" y="702"/>
                    </a:lnTo>
                    <a:lnTo>
                      <a:pt x="1240" y="704"/>
                    </a:lnTo>
                    <a:lnTo>
                      <a:pt x="1236" y="702"/>
                    </a:lnTo>
                    <a:lnTo>
                      <a:pt x="1232" y="696"/>
                    </a:lnTo>
                    <a:lnTo>
                      <a:pt x="1228" y="690"/>
                    </a:lnTo>
                    <a:lnTo>
                      <a:pt x="1226" y="682"/>
                    </a:lnTo>
                    <a:lnTo>
                      <a:pt x="1224" y="664"/>
                    </a:lnTo>
                    <a:lnTo>
                      <a:pt x="1224" y="664"/>
                    </a:lnTo>
                    <a:lnTo>
                      <a:pt x="1224" y="650"/>
                    </a:lnTo>
                    <a:lnTo>
                      <a:pt x="1224" y="634"/>
                    </a:lnTo>
                    <a:lnTo>
                      <a:pt x="1220" y="620"/>
                    </a:lnTo>
                    <a:lnTo>
                      <a:pt x="1216" y="614"/>
                    </a:lnTo>
                    <a:lnTo>
                      <a:pt x="1212" y="606"/>
                    </a:lnTo>
                    <a:lnTo>
                      <a:pt x="1212" y="606"/>
                    </a:lnTo>
                    <a:lnTo>
                      <a:pt x="1208" y="600"/>
                    </a:lnTo>
                    <a:lnTo>
                      <a:pt x="1206" y="596"/>
                    </a:lnTo>
                    <a:lnTo>
                      <a:pt x="1206" y="588"/>
                    </a:lnTo>
                    <a:lnTo>
                      <a:pt x="1208" y="584"/>
                    </a:lnTo>
                    <a:lnTo>
                      <a:pt x="1206" y="582"/>
                    </a:lnTo>
                    <a:lnTo>
                      <a:pt x="1204" y="578"/>
                    </a:lnTo>
                    <a:lnTo>
                      <a:pt x="1204" y="578"/>
                    </a:lnTo>
                    <a:lnTo>
                      <a:pt x="1200" y="576"/>
                    </a:lnTo>
                    <a:lnTo>
                      <a:pt x="1196" y="572"/>
                    </a:lnTo>
                    <a:lnTo>
                      <a:pt x="1194" y="562"/>
                    </a:lnTo>
                    <a:lnTo>
                      <a:pt x="1192" y="548"/>
                    </a:lnTo>
                    <a:lnTo>
                      <a:pt x="1190" y="534"/>
                    </a:lnTo>
                    <a:lnTo>
                      <a:pt x="1190" y="534"/>
                    </a:lnTo>
                    <a:lnTo>
                      <a:pt x="1188" y="526"/>
                    </a:lnTo>
                    <a:lnTo>
                      <a:pt x="1184" y="522"/>
                    </a:lnTo>
                    <a:lnTo>
                      <a:pt x="1180" y="520"/>
                    </a:lnTo>
                    <a:lnTo>
                      <a:pt x="1176" y="520"/>
                    </a:lnTo>
                    <a:lnTo>
                      <a:pt x="1172" y="522"/>
                    </a:lnTo>
                    <a:lnTo>
                      <a:pt x="1170" y="526"/>
                    </a:lnTo>
                    <a:lnTo>
                      <a:pt x="1166" y="532"/>
                    </a:lnTo>
                    <a:lnTo>
                      <a:pt x="1166" y="538"/>
                    </a:lnTo>
                    <a:lnTo>
                      <a:pt x="1166" y="538"/>
                    </a:lnTo>
                    <a:lnTo>
                      <a:pt x="1164" y="552"/>
                    </a:lnTo>
                    <a:lnTo>
                      <a:pt x="1162" y="564"/>
                    </a:lnTo>
                    <a:lnTo>
                      <a:pt x="1150" y="594"/>
                    </a:lnTo>
                    <a:lnTo>
                      <a:pt x="1150" y="594"/>
                    </a:lnTo>
                    <a:lnTo>
                      <a:pt x="1146" y="602"/>
                    </a:lnTo>
                    <a:lnTo>
                      <a:pt x="1146" y="608"/>
                    </a:lnTo>
                    <a:lnTo>
                      <a:pt x="1146" y="612"/>
                    </a:lnTo>
                    <a:lnTo>
                      <a:pt x="1150" y="614"/>
                    </a:lnTo>
                    <a:lnTo>
                      <a:pt x="1152" y="616"/>
                    </a:lnTo>
                    <a:lnTo>
                      <a:pt x="1152" y="618"/>
                    </a:lnTo>
                    <a:lnTo>
                      <a:pt x="1150" y="622"/>
                    </a:lnTo>
                    <a:lnTo>
                      <a:pt x="1150" y="622"/>
                    </a:lnTo>
                    <a:lnTo>
                      <a:pt x="1144" y="630"/>
                    </a:lnTo>
                    <a:lnTo>
                      <a:pt x="1144" y="636"/>
                    </a:lnTo>
                    <a:lnTo>
                      <a:pt x="1144" y="646"/>
                    </a:lnTo>
                    <a:lnTo>
                      <a:pt x="1138" y="658"/>
                    </a:lnTo>
                    <a:lnTo>
                      <a:pt x="1138" y="658"/>
                    </a:lnTo>
                    <a:lnTo>
                      <a:pt x="1136" y="668"/>
                    </a:lnTo>
                    <a:lnTo>
                      <a:pt x="1136" y="676"/>
                    </a:lnTo>
                    <a:lnTo>
                      <a:pt x="1140" y="700"/>
                    </a:lnTo>
                    <a:lnTo>
                      <a:pt x="1144" y="724"/>
                    </a:lnTo>
                    <a:lnTo>
                      <a:pt x="1144" y="736"/>
                    </a:lnTo>
                    <a:lnTo>
                      <a:pt x="1142" y="748"/>
                    </a:lnTo>
                    <a:lnTo>
                      <a:pt x="1142" y="748"/>
                    </a:lnTo>
                    <a:lnTo>
                      <a:pt x="1136" y="768"/>
                    </a:lnTo>
                    <a:lnTo>
                      <a:pt x="1136" y="780"/>
                    </a:lnTo>
                    <a:lnTo>
                      <a:pt x="1136" y="792"/>
                    </a:lnTo>
                    <a:lnTo>
                      <a:pt x="1130" y="806"/>
                    </a:lnTo>
                    <a:lnTo>
                      <a:pt x="1130" y="806"/>
                    </a:lnTo>
                    <a:lnTo>
                      <a:pt x="1124" y="816"/>
                    </a:lnTo>
                    <a:lnTo>
                      <a:pt x="1120" y="826"/>
                    </a:lnTo>
                    <a:lnTo>
                      <a:pt x="1116" y="840"/>
                    </a:lnTo>
                    <a:lnTo>
                      <a:pt x="1114" y="850"/>
                    </a:lnTo>
                    <a:lnTo>
                      <a:pt x="1110" y="856"/>
                    </a:lnTo>
                    <a:lnTo>
                      <a:pt x="1102" y="862"/>
                    </a:lnTo>
                    <a:lnTo>
                      <a:pt x="1102" y="862"/>
                    </a:lnTo>
                    <a:lnTo>
                      <a:pt x="1096" y="866"/>
                    </a:lnTo>
                    <a:lnTo>
                      <a:pt x="1088" y="866"/>
                    </a:lnTo>
                    <a:lnTo>
                      <a:pt x="1078" y="864"/>
                    </a:lnTo>
                    <a:lnTo>
                      <a:pt x="1068" y="860"/>
                    </a:lnTo>
                    <a:lnTo>
                      <a:pt x="1060" y="854"/>
                    </a:lnTo>
                    <a:lnTo>
                      <a:pt x="1052" y="848"/>
                    </a:lnTo>
                    <a:lnTo>
                      <a:pt x="1046" y="842"/>
                    </a:lnTo>
                    <a:lnTo>
                      <a:pt x="1044" y="836"/>
                    </a:lnTo>
                    <a:lnTo>
                      <a:pt x="1044" y="836"/>
                    </a:lnTo>
                    <a:lnTo>
                      <a:pt x="1040" y="830"/>
                    </a:lnTo>
                    <a:lnTo>
                      <a:pt x="1036" y="826"/>
                    </a:lnTo>
                    <a:lnTo>
                      <a:pt x="1028" y="824"/>
                    </a:lnTo>
                    <a:lnTo>
                      <a:pt x="1022" y="822"/>
                    </a:lnTo>
                    <a:lnTo>
                      <a:pt x="1014" y="818"/>
                    </a:lnTo>
                    <a:lnTo>
                      <a:pt x="1004" y="812"/>
                    </a:lnTo>
                    <a:lnTo>
                      <a:pt x="990" y="800"/>
                    </a:lnTo>
                    <a:lnTo>
                      <a:pt x="990" y="800"/>
                    </a:lnTo>
                    <a:lnTo>
                      <a:pt x="978" y="788"/>
                    </a:lnTo>
                    <a:lnTo>
                      <a:pt x="968" y="782"/>
                    </a:lnTo>
                    <a:lnTo>
                      <a:pt x="962" y="780"/>
                    </a:lnTo>
                    <a:lnTo>
                      <a:pt x="956" y="778"/>
                    </a:lnTo>
                    <a:lnTo>
                      <a:pt x="948" y="776"/>
                    </a:lnTo>
                    <a:lnTo>
                      <a:pt x="942" y="772"/>
                    </a:lnTo>
                    <a:lnTo>
                      <a:pt x="934" y="764"/>
                    </a:lnTo>
                    <a:lnTo>
                      <a:pt x="934" y="764"/>
                    </a:lnTo>
                    <a:lnTo>
                      <a:pt x="922" y="752"/>
                    </a:lnTo>
                    <a:lnTo>
                      <a:pt x="912" y="744"/>
                    </a:lnTo>
                    <a:lnTo>
                      <a:pt x="898" y="732"/>
                    </a:lnTo>
                    <a:lnTo>
                      <a:pt x="896" y="728"/>
                    </a:lnTo>
                    <a:lnTo>
                      <a:pt x="896" y="722"/>
                    </a:lnTo>
                    <a:lnTo>
                      <a:pt x="900" y="712"/>
                    </a:lnTo>
                    <a:lnTo>
                      <a:pt x="908" y="700"/>
                    </a:lnTo>
                    <a:lnTo>
                      <a:pt x="908" y="700"/>
                    </a:lnTo>
                    <a:lnTo>
                      <a:pt x="916" y="684"/>
                    </a:lnTo>
                    <a:lnTo>
                      <a:pt x="920" y="674"/>
                    </a:lnTo>
                    <a:lnTo>
                      <a:pt x="920" y="670"/>
                    </a:lnTo>
                    <a:lnTo>
                      <a:pt x="918" y="670"/>
                    </a:lnTo>
                    <a:lnTo>
                      <a:pt x="916" y="668"/>
                    </a:lnTo>
                    <a:lnTo>
                      <a:pt x="914" y="666"/>
                    </a:lnTo>
                    <a:lnTo>
                      <a:pt x="914" y="662"/>
                    </a:lnTo>
                    <a:lnTo>
                      <a:pt x="918" y="652"/>
                    </a:lnTo>
                    <a:lnTo>
                      <a:pt x="918" y="652"/>
                    </a:lnTo>
                    <a:lnTo>
                      <a:pt x="924" y="644"/>
                    </a:lnTo>
                    <a:lnTo>
                      <a:pt x="928" y="640"/>
                    </a:lnTo>
                    <a:lnTo>
                      <a:pt x="930" y="642"/>
                    </a:lnTo>
                    <a:lnTo>
                      <a:pt x="934" y="646"/>
                    </a:lnTo>
                    <a:lnTo>
                      <a:pt x="936" y="648"/>
                    </a:lnTo>
                    <a:lnTo>
                      <a:pt x="936" y="650"/>
                    </a:lnTo>
                    <a:lnTo>
                      <a:pt x="938" y="646"/>
                    </a:lnTo>
                    <a:lnTo>
                      <a:pt x="940" y="638"/>
                    </a:lnTo>
                    <a:lnTo>
                      <a:pt x="940" y="638"/>
                    </a:lnTo>
                    <a:lnTo>
                      <a:pt x="942" y="626"/>
                    </a:lnTo>
                    <a:lnTo>
                      <a:pt x="946" y="618"/>
                    </a:lnTo>
                    <a:lnTo>
                      <a:pt x="950" y="612"/>
                    </a:lnTo>
                    <a:lnTo>
                      <a:pt x="956" y="606"/>
                    </a:lnTo>
                    <a:lnTo>
                      <a:pt x="958" y="604"/>
                    </a:lnTo>
                    <a:lnTo>
                      <a:pt x="960" y="602"/>
                    </a:lnTo>
                    <a:lnTo>
                      <a:pt x="960" y="598"/>
                    </a:lnTo>
                    <a:lnTo>
                      <a:pt x="956" y="596"/>
                    </a:lnTo>
                    <a:lnTo>
                      <a:pt x="956" y="596"/>
                    </a:lnTo>
                    <a:lnTo>
                      <a:pt x="950" y="590"/>
                    </a:lnTo>
                    <a:lnTo>
                      <a:pt x="946" y="586"/>
                    </a:lnTo>
                    <a:lnTo>
                      <a:pt x="942" y="580"/>
                    </a:lnTo>
                    <a:lnTo>
                      <a:pt x="942" y="578"/>
                    </a:lnTo>
                    <a:lnTo>
                      <a:pt x="940" y="578"/>
                    </a:lnTo>
                    <a:lnTo>
                      <a:pt x="934" y="582"/>
                    </a:lnTo>
                    <a:lnTo>
                      <a:pt x="934" y="582"/>
                    </a:lnTo>
                    <a:lnTo>
                      <a:pt x="930" y="584"/>
                    </a:lnTo>
                    <a:lnTo>
                      <a:pt x="928" y="588"/>
                    </a:lnTo>
                    <a:lnTo>
                      <a:pt x="928" y="594"/>
                    </a:lnTo>
                    <a:lnTo>
                      <a:pt x="930" y="598"/>
                    </a:lnTo>
                    <a:lnTo>
                      <a:pt x="928" y="600"/>
                    </a:lnTo>
                    <a:lnTo>
                      <a:pt x="926" y="602"/>
                    </a:lnTo>
                    <a:lnTo>
                      <a:pt x="926" y="602"/>
                    </a:lnTo>
                    <a:lnTo>
                      <a:pt x="922" y="604"/>
                    </a:lnTo>
                    <a:lnTo>
                      <a:pt x="920" y="604"/>
                    </a:lnTo>
                    <a:lnTo>
                      <a:pt x="918" y="598"/>
                    </a:lnTo>
                    <a:lnTo>
                      <a:pt x="918" y="592"/>
                    </a:lnTo>
                    <a:lnTo>
                      <a:pt x="918" y="590"/>
                    </a:lnTo>
                    <a:lnTo>
                      <a:pt x="916" y="590"/>
                    </a:lnTo>
                    <a:lnTo>
                      <a:pt x="916" y="590"/>
                    </a:lnTo>
                    <a:lnTo>
                      <a:pt x="914" y="588"/>
                    </a:lnTo>
                    <a:lnTo>
                      <a:pt x="914" y="586"/>
                    </a:lnTo>
                    <a:lnTo>
                      <a:pt x="914" y="578"/>
                    </a:lnTo>
                    <a:lnTo>
                      <a:pt x="914" y="574"/>
                    </a:lnTo>
                    <a:lnTo>
                      <a:pt x="912" y="574"/>
                    </a:lnTo>
                    <a:lnTo>
                      <a:pt x="906" y="576"/>
                    </a:lnTo>
                    <a:lnTo>
                      <a:pt x="898" y="584"/>
                    </a:lnTo>
                    <a:lnTo>
                      <a:pt x="898" y="584"/>
                    </a:lnTo>
                    <a:lnTo>
                      <a:pt x="888" y="590"/>
                    </a:lnTo>
                    <a:lnTo>
                      <a:pt x="882" y="594"/>
                    </a:lnTo>
                    <a:lnTo>
                      <a:pt x="878" y="594"/>
                    </a:lnTo>
                    <a:lnTo>
                      <a:pt x="874" y="592"/>
                    </a:lnTo>
                    <a:lnTo>
                      <a:pt x="870" y="586"/>
                    </a:lnTo>
                    <a:lnTo>
                      <a:pt x="866" y="584"/>
                    </a:lnTo>
                    <a:lnTo>
                      <a:pt x="860" y="584"/>
                    </a:lnTo>
                    <a:lnTo>
                      <a:pt x="860" y="584"/>
                    </a:lnTo>
                    <a:lnTo>
                      <a:pt x="854" y="586"/>
                    </a:lnTo>
                    <a:lnTo>
                      <a:pt x="848" y="586"/>
                    </a:lnTo>
                    <a:lnTo>
                      <a:pt x="844" y="584"/>
                    </a:lnTo>
                    <a:lnTo>
                      <a:pt x="842" y="580"/>
                    </a:lnTo>
                    <a:lnTo>
                      <a:pt x="834" y="572"/>
                    </a:lnTo>
                    <a:lnTo>
                      <a:pt x="830" y="570"/>
                    </a:lnTo>
                    <a:lnTo>
                      <a:pt x="822" y="570"/>
                    </a:lnTo>
                    <a:lnTo>
                      <a:pt x="822" y="570"/>
                    </a:lnTo>
                    <a:lnTo>
                      <a:pt x="814" y="570"/>
                    </a:lnTo>
                    <a:lnTo>
                      <a:pt x="808" y="568"/>
                    </a:lnTo>
                    <a:lnTo>
                      <a:pt x="804" y="564"/>
                    </a:lnTo>
                    <a:lnTo>
                      <a:pt x="802" y="560"/>
                    </a:lnTo>
                    <a:lnTo>
                      <a:pt x="798" y="554"/>
                    </a:lnTo>
                    <a:lnTo>
                      <a:pt x="796" y="554"/>
                    </a:lnTo>
                    <a:lnTo>
                      <a:pt x="792" y="554"/>
                    </a:lnTo>
                    <a:lnTo>
                      <a:pt x="792" y="554"/>
                    </a:lnTo>
                    <a:lnTo>
                      <a:pt x="788" y="554"/>
                    </a:lnTo>
                    <a:lnTo>
                      <a:pt x="784" y="554"/>
                    </a:lnTo>
                    <a:lnTo>
                      <a:pt x="782" y="550"/>
                    </a:lnTo>
                    <a:lnTo>
                      <a:pt x="776" y="546"/>
                    </a:lnTo>
                    <a:lnTo>
                      <a:pt x="774" y="544"/>
                    </a:lnTo>
                    <a:lnTo>
                      <a:pt x="768" y="542"/>
                    </a:lnTo>
                    <a:lnTo>
                      <a:pt x="768" y="542"/>
                    </a:lnTo>
                    <a:lnTo>
                      <a:pt x="758" y="542"/>
                    </a:lnTo>
                    <a:lnTo>
                      <a:pt x="752" y="544"/>
                    </a:lnTo>
                    <a:lnTo>
                      <a:pt x="750" y="546"/>
                    </a:lnTo>
                    <a:lnTo>
                      <a:pt x="750" y="548"/>
                    </a:lnTo>
                    <a:lnTo>
                      <a:pt x="754" y="556"/>
                    </a:lnTo>
                    <a:lnTo>
                      <a:pt x="754" y="556"/>
                    </a:lnTo>
                    <a:lnTo>
                      <a:pt x="756" y="558"/>
                    </a:lnTo>
                    <a:lnTo>
                      <a:pt x="762" y="560"/>
                    </a:lnTo>
                    <a:lnTo>
                      <a:pt x="774" y="560"/>
                    </a:lnTo>
                    <a:lnTo>
                      <a:pt x="778" y="560"/>
                    </a:lnTo>
                    <a:lnTo>
                      <a:pt x="782" y="564"/>
                    </a:lnTo>
                    <a:lnTo>
                      <a:pt x="784" y="570"/>
                    </a:lnTo>
                    <a:lnTo>
                      <a:pt x="782" y="580"/>
                    </a:lnTo>
                    <a:lnTo>
                      <a:pt x="782" y="580"/>
                    </a:lnTo>
                    <a:lnTo>
                      <a:pt x="778" y="594"/>
                    </a:lnTo>
                    <a:lnTo>
                      <a:pt x="778" y="596"/>
                    </a:lnTo>
                    <a:lnTo>
                      <a:pt x="776" y="596"/>
                    </a:lnTo>
                    <a:lnTo>
                      <a:pt x="768" y="594"/>
                    </a:lnTo>
                    <a:lnTo>
                      <a:pt x="760" y="594"/>
                    </a:lnTo>
                    <a:lnTo>
                      <a:pt x="750" y="596"/>
                    </a:lnTo>
                    <a:lnTo>
                      <a:pt x="750" y="596"/>
                    </a:lnTo>
                    <a:lnTo>
                      <a:pt x="742" y="596"/>
                    </a:lnTo>
                    <a:lnTo>
                      <a:pt x="736" y="596"/>
                    </a:lnTo>
                    <a:lnTo>
                      <a:pt x="728" y="592"/>
                    </a:lnTo>
                    <a:lnTo>
                      <a:pt x="726" y="592"/>
                    </a:lnTo>
                    <a:lnTo>
                      <a:pt x="720" y="594"/>
                    </a:lnTo>
                    <a:lnTo>
                      <a:pt x="700" y="608"/>
                    </a:lnTo>
                    <a:lnTo>
                      <a:pt x="700" y="608"/>
                    </a:lnTo>
                    <a:lnTo>
                      <a:pt x="688" y="620"/>
                    </a:lnTo>
                    <a:lnTo>
                      <a:pt x="680" y="628"/>
                    </a:lnTo>
                    <a:lnTo>
                      <a:pt x="678" y="634"/>
                    </a:lnTo>
                    <a:lnTo>
                      <a:pt x="676" y="638"/>
                    </a:lnTo>
                    <a:lnTo>
                      <a:pt x="676" y="644"/>
                    </a:lnTo>
                    <a:lnTo>
                      <a:pt x="674" y="652"/>
                    </a:lnTo>
                    <a:lnTo>
                      <a:pt x="670" y="662"/>
                    </a:lnTo>
                    <a:lnTo>
                      <a:pt x="662" y="674"/>
                    </a:lnTo>
                    <a:lnTo>
                      <a:pt x="662" y="674"/>
                    </a:lnTo>
                    <a:lnTo>
                      <a:pt x="654" y="688"/>
                    </a:lnTo>
                    <a:lnTo>
                      <a:pt x="650" y="698"/>
                    </a:lnTo>
                    <a:lnTo>
                      <a:pt x="652" y="706"/>
                    </a:lnTo>
                    <a:lnTo>
                      <a:pt x="654" y="710"/>
                    </a:lnTo>
                    <a:lnTo>
                      <a:pt x="662" y="716"/>
                    </a:lnTo>
                    <a:lnTo>
                      <a:pt x="662" y="720"/>
                    </a:lnTo>
                    <a:lnTo>
                      <a:pt x="658" y="724"/>
                    </a:lnTo>
                    <a:lnTo>
                      <a:pt x="658" y="724"/>
                    </a:lnTo>
                    <a:lnTo>
                      <a:pt x="652" y="728"/>
                    </a:lnTo>
                    <a:lnTo>
                      <a:pt x="648" y="730"/>
                    </a:lnTo>
                    <a:lnTo>
                      <a:pt x="644" y="730"/>
                    </a:lnTo>
                    <a:lnTo>
                      <a:pt x="640" y="728"/>
                    </a:lnTo>
                    <a:lnTo>
                      <a:pt x="630" y="722"/>
                    </a:lnTo>
                    <a:lnTo>
                      <a:pt x="626" y="722"/>
                    </a:lnTo>
                    <a:lnTo>
                      <a:pt x="618" y="722"/>
                    </a:lnTo>
                    <a:lnTo>
                      <a:pt x="618" y="722"/>
                    </a:lnTo>
                    <a:lnTo>
                      <a:pt x="612" y="722"/>
                    </a:lnTo>
                    <a:lnTo>
                      <a:pt x="608" y="718"/>
                    </a:lnTo>
                    <a:lnTo>
                      <a:pt x="596" y="712"/>
                    </a:lnTo>
                    <a:lnTo>
                      <a:pt x="574" y="688"/>
                    </a:lnTo>
                    <a:lnTo>
                      <a:pt x="562" y="676"/>
                    </a:lnTo>
                    <a:lnTo>
                      <a:pt x="554" y="670"/>
                    </a:lnTo>
                    <a:lnTo>
                      <a:pt x="550" y="668"/>
                    </a:lnTo>
                    <a:lnTo>
                      <a:pt x="548" y="668"/>
                    </a:lnTo>
                    <a:lnTo>
                      <a:pt x="546" y="670"/>
                    </a:lnTo>
                    <a:lnTo>
                      <a:pt x="544" y="674"/>
                    </a:lnTo>
                    <a:lnTo>
                      <a:pt x="544" y="674"/>
                    </a:lnTo>
                    <a:lnTo>
                      <a:pt x="542" y="682"/>
                    </a:lnTo>
                    <a:lnTo>
                      <a:pt x="540" y="684"/>
                    </a:lnTo>
                    <a:lnTo>
                      <a:pt x="536" y="684"/>
                    </a:lnTo>
                    <a:lnTo>
                      <a:pt x="532" y="682"/>
                    </a:lnTo>
                    <a:lnTo>
                      <a:pt x="526" y="678"/>
                    </a:lnTo>
                    <a:lnTo>
                      <a:pt x="522" y="678"/>
                    </a:lnTo>
                    <a:lnTo>
                      <a:pt x="518" y="682"/>
                    </a:lnTo>
                    <a:lnTo>
                      <a:pt x="516" y="690"/>
                    </a:lnTo>
                    <a:lnTo>
                      <a:pt x="516" y="690"/>
                    </a:lnTo>
                    <a:lnTo>
                      <a:pt x="516" y="698"/>
                    </a:lnTo>
                    <a:lnTo>
                      <a:pt x="514" y="700"/>
                    </a:lnTo>
                    <a:lnTo>
                      <a:pt x="510" y="700"/>
                    </a:lnTo>
                    <a:lnTo>
                      <a:pt x="508" y="698"/>
                    </a:lnTo>
                    <a:lnTo>
                      <a:pt x="502" y="696"/>
                    </a:lnTo>
                    <a:lnTo>
                      <a:pt x="498" y="698"/>
                    </a:lnTo>
                    <a:lnTo>
                      <a:pt x="490" y="704"/>
                    </a:lnTo>
                    <a:lnTo>
                      <a:pt x="482" y="718"/>
                    </a:lnTo>
                    <a:lnTo>
                      <a:pt x="482" y="718"/>
                    </a:lnTo>
                    <a:lnTo>
                      <a:pt x="474" y="732"/>
                    </a:lnTo>
                    <a:lnTo>
                      <a:pt x="468" y="742"/>
                    </a:lnTo>
                    <a:lnTo>
                      <a:pt x="458" y="752"/>
                    </a:lnTo>
                    <a:lnTo>
                      <a:pt x="454" y="756"/>
                    </a:lnTo>
                    <a:lnTo>
                      <a:pt x="452" y="762"/>
                    </a:lnTo>
                    <a:lnTo>
                      <a:pt x="450" y="768"/>
                    </a:lnTo>
                    <a:lnTo>
                      <a:pt x="448" y="780"/>
                    </a:lnTo>
                    <a:lnTo>
                      <a:pt x="448" y="780"/>
                    </a:lnTo>
                    <a:lnTo>
                      <a:pt x="448" y="794"/>
                    </a:lnTo>
                    <a:lnTo>
                      <a:pt x="446" y="798"/>
                    </a:lnTo>
                    <a:lnTo>
                      <a:pt x="444" y="800"/>
                    </a:lnTo>
                    <a:lnTo>
                      <a:pt x="440" y="798"/>
                    </a:lnTo>
                    <a:lnTo>
                      <a:pt x="434" y="794"/>
                    </a:lnTo>
                    <a:lnTo>
                      <a:pt x="428" y="792"/>
                    </a:lnTo>
                    <a:lnTo>
                      <a:pt x="426" y="792"/>
                    </a:lnTo>
                    <a:lnTo>
                      <a:pt x="422" y="794"/>
                    </a:lnTo>
                    <a:lnTo>
                      <a:pt x="420" y="798"/>
                    </a:lnTo>
                    <a:lnTo>
                      <a:pt x="418" y="804"/>
                    </a:lnTo>
                    <a:lnTo>
                      <a:pt x="416" y="824"/>
                    </a:lnTo>
                    <a:lnTo>
                      <a:pt x="416" y="824"/>
                    </a:lnTo>
                    <a:lnTo>
                      <a:pt x="414" y="840"/>
                    </a:lnTo>
                    <a:lnTo>
                      <a:pt x="414" y="842"/>
                    </a:lnTo>
                    <a:lnTo>
                      <a:pt x="412" y="842"/>
                    </a:lnTo>
                    <a:lnTo>
                      <a:pt x="408" y="828"/>
                    </a:lnTo>
                    <a:lnTo>
                      <a:pt x="402" y="818"/>
                    </a:lnTo>
                    <a:lnTo>
                      <a:pt x="400" y="812"/>
                    </a:lnTo>
                    <a:lnTo>
                      <a:pt x="396" y="810"/>
                    </a:lnTo>
                    <a:lnTo>
                      <a:pt x="392" y="810"/>
                    </a:lnTo>
                    <a:lnTo>
                      <a:pt x="386" y="812"/>
                    </a:lnTo>
                    <a:lnTo>
                      <a:pt x="382" y="816"/>
                    </a:lnTo>
                    <a:lnTo>
                      <a:pt x="376" y="822"/>
                    </a:lnTo>
                    <a:lnTo>
                      <a:pt x="376" y="822"/>
                    </a:lnTo>
                    <a:lnTo>
                      <a:pt x="366" y="840"/>
                    </a:lnTo>
                    <a:lnTo>
                      <a:pt x="360" y="852"/>
                    </a:lnTo>
                    <a:lnTo>
                      <a:pt x="360" y="864"/>
                    </a:lnTo>
                    <a:lnTo>
                      <a:pt x="362" y="872"/>
                    </a:lnTo>
                    <a:lnTo>
                      <a:pt x="362" y="880"/>
                    </a:lnTo>
                    <a:lnTo>
                      <a:pt x="362" y="886"/>
                    </a:lnTo>
                    <a:lnTo>
                      <a:pt x="358" y="894"/>
                    </a:lnTo>
                    <a:lnTo>
                      <a:pt x="350" y="902"/>
                    </a:lnTo>
                    <a:lnTo>
                      <a:pt x="350" y="902"/>
                    </a:lnTo>
                    <a:lnTo>
                      <a:pt x="344" y="908"/>
                    </a:lnTo>
                    <a:lnTo>
                      <a:pt x="338" y="916"/>
                    </a:lnTo>
                    <a:lnTo>
                      <a:pt x="334" y="930"/>
                    </a:lnTo>
                    <a:lnTo>
                      <a:pt x="330" y="940"/>
                    </a:lnTo>
                    <a:lnTo>
                      <a:pt x="324" y="948"/>
                    </a:lnTo>
                    <a:lnTo>
                      <a:pt x="316" y="958"/>
                    </a:lnTo>
                    <a:lnTo>
                      <a:pt x="304" y="968"/>
                    </a:lnTo>
                    <a:lnTo>
                      <a:pt x="304" y="968"/>
                    </a:lnTo>
                    <a:lnTo>
                      <a:pt x="290" y="976"/>
                    </a:lnTo>
                    <a:lnTo>
                      <a:pt x="276" y="980"/>
                    </a:lnTo>
                    <a:lnTo>
                      <a:pt x="266" y="982"/>
                    </a:lnTo>
                    <a:lnTo>
                      <a:pt x="256" y="980"/>
                    </a:lnTo>
                    <a:lnTo>
                      <a:pt x="240" y="980"/>
                    </a:lnTo>
                    <a:lnTo>
                      <a:pt x="234" y="982"/>
                    </a:lnTo>
                    <a:lnTo>
                      <a:pt x="232" y="986"/>
                    </a:lnTo>
                    <a:lnTo>
                      <a:pt x="232" y="986"/>
                    </a:lnTo>
                    <a:lnTo>
                      <a:pt x="228" y="990"/>
                    </a:lnTo>
                    <a:lnTo>
                      <a:pt x="224" y="994"/>
                    </a:lnTo>
                    <a:lnTo>
                      <a:pt x="212" y="998"/>
                    </a:lnTo>
                    <a:lnTo>
                      <a:pt x="198" y="1002"/>
                    </a:lnTo>
                    <a:lnTo>
                      <a:pt x="180" y="1012"/>
                    </a:lnTo>
                    <a:lnTo>
                      <a:pt x="180" y="1012"/>
                    </a:lnTo>
                    <a:lnTo>
                      <a:pt x="170" y="1016"/>
                    </a:lnTo>
                    <a:lnTo>
                      <a:pt x="162" y="1016"/>
                    </a:lnTo>
                    <a:lnTo>
                      <a:pt x="150" y="1012"/>
                    </a:lnTo>
                    <a:lnTo>
                      <a:pt x="142" y="1012"/>
                    </a:lnTo>
                    <a:lnTo>
                      <a:pt x="134" y="1014"/>
                    </a:lnTo>
                    <a:lnTo>
                      <a:pt x="124" y="1020"/>
                    </a:lnTo>
                    <a:lnTo>
                      <a:pt x="110" y="1034"/>
                    </a:lnTo>
                    <a:lnTo>
                      <a:pt x="110" y="1034"/>
                    </a:lnTo>
                    <a:lnTo>
                      <a:pt x="98" y="1048"/>
                    </a:lnTo>
                    <a:lnTo>
                      <a:pt x="86" y="1058"/>
                    </a:lnTo>
                    <a:lnTo>
                      <a:pt x="78" y="1062"/>
                    </a:lnTo>
                    <a:lnTo>
                      <a:pt x="72" y="1066"/>
                    </a:lnTo>
                    <a:lnTo>
                      <a:pt x="66" y="1068"/>
                    </a:lnTo>
                    <a:lnTo>
                      <a:pt x="60" y="1074"/>
                    </a:lnTo>
                    <a:lnTo>
                      <a:pt x="54" y="1082"/>
                    </a:lnTo>
                    <a:lnTo>
                      <a:pt x="50" y="1094"/>
                    </a:lnTo>
                    <a:lnTo>
                      <a:pt x="50" y="1094"/>
                    </a:lnTo>
                    <a:lnTo>
                      <a:pt x="44" y="1104"/>
                    </a:lnTo>
                    <a:lnTo>
                      <a:pt x="42" y="1106"/>
                    </a:lnTo>
                    <a:lnTo>
                      <a:pt x="42" y="1104"/>
                    </a:lnTo>
                    <a:lnTo>
                      <a:pt x="40" y="1100"/>
                    </a:lnTo>
                    <a:lnTo>
                      <a:pt x="38" y="1092"/>
                    </a:lnTo>
                    <a:lnTo>
                      <a:pt x="38" y="1084"/>
                    </a:lnTo>
                    <a:lnTo>
                      <a:pt x="36" y="1078"/>
                    </a:lnTo>
                    <a:lnTo>
                      <a:pt x="34" y="1078"/>
                    </a:lnTo>
                    <a:lnTo>
                      <a:pt x="30" y="1078"/>
                    </a:lnTo>
                    <a:lnTo>
                      <a:pt x="24" y="1088"/>
                    </a:lnTo>
                    <a:lnTo>
                      <a:pt x="24" y="1088"/>
                    </a:lnTo>
                    <a:lnTo>
                      <a:pt x="18" y="1100"/>
                    </a:lnTo>
                    <a:lnTo>
                      <a:pt x="16" y="1110"/>
                    </a:lnTo>
                    <a:lnTo>
                      <a:pt x="18" y="1118"/>
                    </a:lnTo>
                    <a:lnTo>
                      <a:pt x="20" y="1126"/>
                    </a:lnTo>
                    <a:lnTo>
                      <a:pt x="22" y="1134"/>
                    </a:lnTo>
                    <a:lnTo>
                      <a:pt x="22" y="1144"/>
                    </a:lnTo>
                    <a:lnTo>
                      <a:pt x="20" y="1154"/>
                    </a:lnTo>
                    <a:lnTo>
                      <a:pt x="12" y="1170"/>
                    </a:lnTo>
                    <a:lnTo>
                      <a:pt x="12" y="1170"/>
                    </a:lnTo>
                    <a:lnTo>
                      <a:pt x="8" y="1180"/>
                    </a:lnTo>
                    <a:lnTo>
                      <a:pt x="4" y="1188"/>
                    </a:lnTo>
                    <a:lnTo>
                      <a:pt x="4" y="1196"/>
                    </a:lnTo>
                    <a:lnTo>
                      <a:pt x="4" y="1204"/>
                    </a:lnTo>
                    <a:lnTo>
                      <a:pt x="8" y="1220"/>
                    </a:lnTo>
                    <a:lnTo>
                      <a:pt x="16" y="1236"/>
                    </a:lnTo>
                    <a:lnTo>
                      <a:pt x="34" y="1266"/>
                    </a:lnTo>
                    <a:lnTo>
                      <a:pt x="40" y="1280"/>
                    </a:lnTo>
                    <a:lnTo>
                      <a:pt x="40" y="1288"/>
                    </a:lnTo>
                    <a:lnTo>
                      <a:pt x="42" y="1294"/>
                    </a:lnTo>
                    <a:lnTo>
                      <a:pt x="42" y="1294"/>
                    </a:lnTo>
                    <a:lnTo>
                      <a:pt x="40" y="1304"/>
                    </a:lnTo>
                    <a:lnTo>
                      <a:pt x="38" y="1304"/>
                    </a:lnTo>
                    <a:lnTo>
                      <a:pt x="36" y="1304"/>
                    </a:lnTo>
                    <a:lnTo>
                      <a:pt x="32" y="1298"/>
                    </a:lnTo>
                    <a:lnTo>
                      <a:pt x="26" y="1288"/>
                    </a:lnTo>
                    <a:lnTo>
                      <a:pt x="14" y="1268"/>
                    </a:lnTo>
                    <a:lnTo>
                      <a:pt x="10" y="1264"/>
                    </a:lnTo>
                    <a:lnTo>
                      <a:pt x="8" y="1264"/>
                    </a:lnTo>
                    <a:lnTo>
                      <a:pt x="8" y="1264"/>
                    </a:lnTo>
                    <a:lnTo>
                      <a:pt x="8" y="1264"/>
                    </a:lnTo>
                    <a:lnTo>
                      <a:pt x="6" y="1270"/>
                    </a:lnTo>
                    <a:lnTo>
                      <a:pt x="8" y="1276"/>
                    </a:lnTo>
                    <a:lnTo>
                      <a:pt x="14" y="1290"/>
                    </a:lnTo>
                    <a:lnTo>
                      <a:pt x="20" y="1304"/>
                    </a:lnTo>
                    <a:lnTo>
                      <a:pt x="22" y="1310"/>
                    </a:lnTo>
                    <a:lnTo>
                      <a:pt x="22" y="1316"/>
                    </a:lnTo>
                    <a:lnTo>
                      <a:pt x="22" y="1316"/>
                    </a:lnTo>
                    <a:lnTo>
                      <a:pt x="20" y="1316"/>
                    </a:lnTo>
                    <a:lnTo>
                      <a:pt x="20" y="1316"/>
                    </a:lnTo>
                    <a:lnTo>
                      <a:pt x="16" y="1312"/>
                    </a:lnTo>
                    <a:lnTo>
                      <a:pt x="10" y="1298"/>
                    </a:lnTo>
                    <a:lnTo>
                      <a:pt x="6" y="1292"/>
                    </a:lnTo>
                    <a:lnTo>
                      <a:pt x="2" y="1288"/>
                    </a:lnTo>
                    <a:lnTo>
                      <a:pt x="2" y="1288"/>
                    </a:lnTo>
                    <a:lnTo>
                      <a:pt x="0" y="1290"/>
                    </a:lnTo>
                    <a:lnTo>
                      <a:pt x="0" y="1298"/>
                    </a:lnTo>
                    <a:lnTo>
                      <a:pt x="0" y="1298"/>
                    </a:lnTo>
                    <a:lnTo>
                      <a:pt x="0" y="1306"/>
                    </a:lnTo>
                    <a:lnTo>
                      <a:pt x="4" y="1316"/>
                    </a:lnTo>
                    <a:lnTo>
                      <a:pt x="18" y="1334"/>
                    </a:lnTo>
                    <a:lnTo>
                      <a:pt x="30" y="1354"/>
                    </a:lnTo>
                    <a:lnTo>
                      <a:pt x="34" y="1364"/>
                    </a:lnTo>
                    <a:lnTo>
                      <a:pt x="36" y="1374"/>
                    </a:lnTo>
                    <a:lnTo>
                      <a:pt x="36" y="1374"/>
                    </a:lnTo>
                    <a:lnTo>
                      <a:pt x="36" y="1390"/>
                    </a:lnTo>
                    <a:lnTo>
                      <a:pt x="40" y="1402"/>
                    </a:lnTo>
                    <a:lnTo>
                      <a:pt x="48" y="1414"/>
                    </a:lnTo>
                    <a:lnTo>
                      <a:pt x="60" y="1438"/>
                    </a:lnTo>
                    <a:lnTo>
                      <a:pt x="60" y="1438"/>
                    </a:lnTo>
                    <a:lnTo>
                      <a:pt x="66" y="1452"/>
                    </a:lnTo>
                    <a:lnTo>
                      <a:pt x="68" y="1462"/>
                    </a:lnTo>
                    <a:lnTo>
                      <a:pt x="68" y="1482"/>
                    </a:lnTo>
                    <a:lnTo>
                      <a:pt x="70" y="1494"/>
                    </a:lnTo>
                    <a:lnTo>
                      <a:pt x="72" y="1510"/>
                    </a:lnTo>
                    <a:lnTo>
                      <a:pt x="76" y="1530"/>
                    </a:lnTo>
                    <a:lnTo>
                      <a:pt x="86" y="1556"/>
                    </a:lnTo>
                    <a:lnTo>
                      <a:pt x="86" y="1556"/>
                    </a:lnTo>
                    <a:lnTo>
                      <a:pt x="96" y="1580"/>
                    </a:lnTo>
                    <a:lnTo>
                      <a:pt x="100" y="1598"/>
                    </a:lnTo>
                    <a:lnTo>
                      <a:pt x="102" y="1610"/>
                    </a:lnTo>
                    <a:lnTo>
                      <a:pt x="100" y="1620"/>
                    </a:lnTo>
                    <a:lnTo>
                      <a:pt x="96" y="1632"/>
                    </a:lnTo>
                    <a:lnTo>
                      <a:pt x="94" y="1638"/>
                    </a:lnTo>
                    <a:lnTo>
                      <a:pt x="94" y="1646"/>
                    </a:lnTo>
                    <a:lnTo>
                      <a:pt x="94" y="1646"/>
                    </a:lnTo>
                    <a:lnTo>
                      <a:pt x="96" y="1656"/>
                    </a:lnTo>
                    <a:lnTo>
                      <a:pt x="96" y="1664"/>
                    </a:lnTo>
                    <a:lnTo>
                      <a:pt x="94" y="1672"/>
                    </a:lnTo>
                    <a:lnTo>
                      <a:pt x="92" y="1678"/>
                    </a:lnTo>
                    <a:lnTo>
                      <a:pt x="88" y="1682"/>
                    </a:lnTo>
                    <a:lnTo>
                      <a:pt x="84" y="1684"/>
                    </a:lnTo>
                    <a:lnTo>
                      <a:pt x="80" y="1684"/>
                    </a:lnTo>
                    <a:lnTo>
                      <a:pt x="74" y="1684"/>
                    </a:lnTo>
                    <a:lnTo>
                      <a:pt x="74" y="1684"/>
                    </a:lnTo>
                    <a:lnTo>
                      <a:pt x="70" y="1684"/>
                    </a:lnTo>
                    <a:lnTo>
                      <a:pt x="68" y="1688"/>
                    </a:lnTo>
                    <a:lnTo>
                      <a:pt x="66" y="1694"/>
                    </a:lnTo>
                    <a:lnTo>
                      <a:pt x="66" y="1702"/>
                    </a:lnTo>
                    <a:lnTo>
                      <a:pt x="68" y="1710"/>
                    </a:lnTo>
                    <a:lnTo>
                      <a:pt x="70" y="1716"/>
                    </a:lnTo>
                    <a:lnTo>
                      <a:pt x="76" y="1722"/>
                    </a:lnTo>
                    <a:lnTo>
                      <a:pt x="82" y="1722"/>
                    </a:lnTo>
                    <a:lnTo>
                      <a:pt x="82" y="1722"/>
                    </a:lnTo>
                    <a:lnTo>
                      <a:pt x="88" y="1722"/>
                    </a:lnTo>
                    <a:lnTo>
                      <a:pt x="92" y="1726"/>
                    </a:lnTo>
                    <a:lnTo>
                      <a:pt x="104" y="1738"/>
                    </a:lnTo>
                    <a:lnTo>
                      <a:pt x="114" y="1746"/>
                    </a:lnTo>
                    <a:lnTo>
                      <a:pt x="124" y="1754"/>
                    </a:lnTo>
                    <a:lnTo>
                      <a:pt x="138" y="1760"/>
                    </a:lnTo>
                    <a:lnTo>
                      <a:pt x="156" y="1762"/>
                    </a:lnTo>
                    <a:lnTo>
                      <a:pt x="156" y="1762"/>
                    </a:lnTo>
                    <a:lnTo>
                      <a:pt x="174" y="1764"/>
                    </a:lnTo>
                    <a:lnTo>
                      <a:pt x="188" y="1760"/>
                    </a:lnTo>
                    <a:lnTo>
                      <a:pt x="200" y="1756"/>
                    </a:lnTo>
                    <a:lnTo>
                      <a:pt x="208" y="1750"/>
                    </a:lnTo>
                    <a:lnTo>
                      <a:pt x="222" y="1736"/>
                    </a:lnTo>
                    <a:lnTo>
                      <a:pt x="230" y="1732"/>
                    </a:lnTo>
                    <a:lnTo>
                      <a:pt x="238" y="1730"/>
                    </a:lnTo>
                    <a:lnTo>
                      <a:pt x="238" y="1730"/>
                    </a:lnTo>
                    <a:lnTo>
                      <a:pt x="246" y="1728"/>
                    </a:lnTo>
                    <a:lnTo>
                      <a:pt x="252" y="1724"/>
                    </a:lnTo>
                    <a:lnTo>
                      <a:pt x="254" y="1720"/>
                    </a:lnTo>
                    <a:lnTo>
                      <a:pt x="258" y="1714"/>
                    </a:lnTo>
                    <a:lnTo>
                      <a:pt x="260" y="1708"/>
                    </a:lnTo>
                    <a:lnTo>
                      <a:pt x="264" y="1704"/>
                    </a:lnTo>
                    <a:lnTo>
                      <a:pt x="270" y="1702"/>
                    </a:lnTo>
                    <a:lnTo>
                      <a:pt x="278" y="1700"/>
                    </a:lnTo>
                    <a:lnTo>
                      <a:pt x="278" y="1700"/>
                    </a:lnTo>
                    <a:lnTo>
                      <a:pt x="290" y="1700"/>
                    </a:lnTo>
                    <a:lnTo>
                      <a:pt x="300" y="1700"/>
                    </a:lnTo>
                    <a:lnTo>
                      <a:pt x="316" y="1696"/>
                    </a:lnTo>
                    <a:lnTo>
                      <a:pt x="322" y="1694"/>
                    </a:lnTo>
                    <a:lnTo>
                      <a:pt x="328" y="1694"/>
                    </a:lnTo>
                    <a:lnTo>
                      <a:pt x="336" y="1694"/>
                    </a:lnTo>
                    <a:lnTo>
                      <a:pt x="344" y="1698"/>
                    </a:lnTo>
                    <a:lnTo>
                      <a:pt x="344" y="1698"/>
                    </a:lnTo>
                    <a:lnTo>
                      <a:pt x="354" y="1702"/>
                    </a:lnTo>
                    <a:lnTo>
                      <a:pt x="360" y="1704"/>
                    </a:lnTo>
                    <a:lnTo>
                      <a:pt x="364" y="1704"/>
                    </a:lnTo>
                    <a:lnTo>
                      <a:pt x="368" y="1702"/>
                    </a:lnTo>
                    <a:lnTo>
                      <a:pt x="372" y="1698"/>
                    </a:lnTo>
                    <a:lnTo>
                      <a:pt x="378" y="1698"/>
                    </a:lnTo>
                    <a:lnTo>
                      <a:pt x="386" y="1698"/>
                    </a:lnTo>
                    <a:lnTo>
                      <a:pt x="398" y="1702"/>
                    </a:lnTo>
                    <a:lnTo>
                      <a:pt x="398" y="1702"/>
                    </a:lnTo>
                    <a:lnTo>
                      <a:pt x="406" y="1702"/>
                    </a:lnTo>
                    <a:lnTo>
                      <a:pt x="410" y="1702"/>
                    </a:lnTo>
                    <a:lnTo>
                      <a:pt x="416" y="1702"/>
                    </a:lnTo>
                    <a:lnTo>
                      <a:pt x="420" y="1698"/>
                    </a:lnTo>
                    <a:lnTo>
                      <a:pt x="426" y="1690"/>
                    </a:lnTo>
                    <a:lnTo>
                      <a:pt x="430" y="1678"/>
                    </a:lnTo>
                    <a:lnTo>
                      <a:pt x="434" y="1668"/>
                    </a:lnTo>
                    <a:lnTo>
                      <a:pt x="438" y="1656"/>
                    </a:lnTo>
                    <a:lnTo>
                      <a:pt x="446" y="1650"/>
                    </a:lnTo>
                    <a:lnTo>
                      <a:pt x="450" y="1646"/>
                    </a:lnTo>
                    <a:lnTo>
                      <a:pt x="454" y="1646"/>
                    </a:lnTo>
                    <a:lnTo>
                      <a:pt x="454" y="1646"/>
                    </a:lnTo>
                    <a:lnTo>
                      <a:pt x="464" y="1644"/>
                    </a:lnTo>
                    <a:lnTo>
                      <a:pt x="472" y="1640"/>
                    </a:lnTo>
                    <a:lnTo>
                      <a:pt x="484" y="1628"/>
                    </a:lnTo>
                    <a:lnTo>
                      <a:pt x="492" y="1622"/>
                    </a:lnTo>
                    <a:lnTo>
                      <a:pt x="502" y="1616"/>
                    </a:lnTo>
                    <a:lnTo>
                      <a:pt x="514" y="1614"/>
                    </a:lnTo>
                    <a:lnTo>
                      <a:pt x="530" y="1614"/>
                    </a:lnTo>
                    <a:lnTo>
                      <a:pt x="530" y="1614"/>
                    </a:lnTo>
                    <a:lnTo>
                      <a:pt x="544" y="1614"/>
                    </a:lnTo>
                    <a:lnTo>
                      <a:pt x="556" y="1614"/>
                    </a:lnTo>
                    <a:lnTo>
                      <a:pt x="578" y="1610"/>
                    </a:lnTo>
                    <a:lnTo>
                      <a:pt x="596" y="1602"/>
                    </a:lnTo>
                    <a:lnTo>
                      <a:pt x="614" y="1594"/>
                    </a:lnTo>
                    <a:lnTo>
                      <a:pt x="630" y="1586"/>
                    </a:lnTo>
                    <a:lnTo>
                      <a:pt x="644" y="1580"/>
                    </a:lnTo>
                    <a:lnTo>
                      <a:pt x="660" y="1574"/>
                    </a:lnTo>
                    <a:lnTo>
                      <a:pt x="668" y="1574"/>
                    </a:lnTo>
                    <a:lnTo>
                      <a:pt x="676" y="1574"/>
                    </a:lnTo>
                    <a:lnTo>
                      <a:pt x="676" y="1574"/>
                    </a:lnTo>
                    <a:lnTo>
                      <a:pt x="696" y="1578"/>
                    </a:lnTo>
                    <a:lnTo>
                      <a:pt x="706" y="1576"/>
                    </a:lnTo>
                    <a:lnTo>
                      <a:pt x="712" y="1574"/>
                    </a:lnTo>
                    <a:lnTo>
                      <a:pt x="716" y="1572"/>
                    </a:lnTo>
                    <a:lnTo>
                      <a:pt x="718" y="1570"/>
                    </a:lnTo>
                    <a:lnTo>
                      <a:pt x="724" y="1572"/>
                    </a:lnTo>
                    <a:lnTo>
                      <a:pt x="752" y="1586"/>
                    </a:lnTo>
                    <a:lnTo>
                      <a:pt x="752" y="1586"/>
                    </a:lnTo>
                    <a:lnTo>
                      <a:pt x="772" y="1596"/>
                    </a:lnTo>
                    <a:lnTo>
                      <a:pt x="786" y="1602"/>
                    </a:lnTo>
                    <a:lnTo>
                      <a:pt x="798" y="1606"/>
                    </a:lnTo>
                    <a:lnTo>
                      <a:pt x="806" y="1606"/>
                    </a:lnTo>
                    <a:lnTo>
                      <a:pt x="822" y="1608"/>
                    </a:lnTo>
                    <a:lnTo>
                      <a:pt x="828" y="1612"/>
                    </a:lnTo>
                    <a:lnTo>
                      <a:pt x="838" y="1618"/>
                    </a:lnTo>
                    <a:lnTo>
                      <a:pt x="838" y="1618"/>
                    </a:lnTo>
                    <a:lnTo>
                      <a:pt x="846" y="1626"/>
                    </a:lnTo>
                    <a:lnTo>
                      <a:pt x="848" y="1632"/>
                    </a:lnTo>
                    <a:lnTo>
                      <a:pt x="848" y="1636"/>
                    </a:lnTo>
                    <a:lnTo>
                      <a:pt x="846" y="1642"/>
                    </a:lnTo>
                    <a:lnTo>
                      <a:pt x="844" y="1646"/>
                    </a:lnTo>
                    <a:lnTo>
                      <a:pt x="844" y="1650"/>
                    </a:lnTo>
                    <a:lnTo>
                      <a:pt x="848" y="1656"/>
                    </a:lnTo>
                    <a:lnTo>
                      <a:pt x="860" y="1662"/>
                    </a:lnTo>
                    <a:lnTo>
                      <a:pt x="860" y="1662"/>
                    </a:lnTo>
                    <a:lnTo>
                      <a:pt x="866" y="1666"/>
                    </a:lnTo>
                    <a:lnTo>
                      <a:pt x="870" y="1672"/>
                    </a:lnTo>
                    <a:lnTo>
                      <a:pt x="876" y="1682"/>
                    </a:lnTo>
                    <a:lnTo>
                      <a:pt x="880" y="1694"/>
                    </a:lnTo>
                    <a:lnTo>
                      <a:pt x="882" y="1708"/>
                    </a:lnTo>
                    <a:lnTo>
                      <a:pt x="884" y="1722"/>
                    </a:lnTo>
                    <a:lnTo>
                      <a:pt x="886" y="1732"/>
                    </a:lnTo>
                    <a:lnTo>
                      <a:pt x="892" y="1742"/>
                    </a:lnTo>
                    <a:lnTo>
                      <a:pt x="894" y="1746"/>
                    </a:lnTo>
                    <a:lnTo>
                      <a:pt x="900" y="1748"/>
                    </a:lnTo>
                    <a:lnTo>
                      <a:pt x="900" y="1748"/>
                    </a:lnTo>
                    <a:lnTo>
                      <a:pt x="914" y="1756"/>
                    </a:lnTo>
                    <a:lnTo>
                      <a:pt x="914" y="1758"/>
                    </a:lnTo>
                    <a:lnTo>
                      <a:pt x="914" y="1756"/>
                    </a:lnTo>
                    <a:lnTo>
                      <a:pt x="914" y="1750"/>
                    </a:lnTo>
                    <a:lnTo>
                      <a:pt x="916" y="1742"/>
                    </a:lnTo>
                    <a:lnTo>
                      <a:pt x="920" y="1730"/>
                    </a:lnTo>
                    <a:lnTo>
                      <a:pt x="932" y="1716"/>
                    </a:lnTo>
                    <a:lnTo>
                      <a:pt x="932" y="1716"/>
                    </a:lnTo>
                    <a:lnTo>
                      <a:pt x="944" y="1702"/>
                    </a:lnTo>
                    <a:lnTo>
                      <a:pt x="952" y="1694"/>
                    </a:lnTo>
                    <a:lnTo>
                      <a:pt x="958" y="1690"/>
                    </a:lnTo>
                    <a:lnTo>
                      <a:pt x="962" y="1690"/>
                    </a:lnTo>
                    <a:lnTo>
                      <a:pt x="964" y="1690"/>
                    </a:lnTo>
                    <a:lnTo>
                      <a:pt x="966" y="1680"/>
                    </a:lnTo>
                    <a:lnTo>
                      <a:pt x="966" y="1680"/>
                    </a:lnTo>
                    <a:lnTo>
                      <a:pt x="968" y="1672"/>
                    </a:lnTo>
                    <a:lnTo>
                      <a:pt x="972" y="1666"/>
                    </a:lnTo>
                    <a:lnTo>
                      <a:pt x="980" y="1658"/>
                    </a:lnTo>
                    <a:lnTo>
                      <a:pt x="986" y="1650"/>
                    </a:lnTo>
                    <a:lnTo>
                      <a:pt x="988" y="1646"/>
                    </a:lnTo>
                    <a:lnTo>
                      <a:pt x="990" y="1640"/>
                    </a:lnTo>
                    <a:lnTo>
                      <a:pt x="990" y="1640"/>
                    </a:lnTo>
                    <a:lnTo>
                      <a:pt x="990" y="1632"/>
                    </a:lnTo>
                    <a:lnTo>
                      <a:pt x="990" y="1630"/>
                    </a:lnTo>
                    <a:lnTo>
                      <a:pt x="990" y="1632"/>
                    </a:lnTo>
                    <a:lnTo>
                      <a:pt x="998" y="1646"/>
                    </a:lnTo>
                    <a:lnTo>
                      <a:pt x="998" y="1646"/>
                    </a:lnTo>
                    <a:lnTo>
                      <a:pt x="998" y="1654"/>
                    </a:lnTo>
                    <a:lnTo>
                      <a:pt x="996" y="1664"/>
                    </a:lnTo>
                    <a:lnTo>
                      <a:pt x="988" y="1686"/>
                    </a:lnTo>
                    <a:lnTo>
                      <a:pt x="980" y="1710"/>
                    </a:lnTo>
                    <a:lnTo>
                      <a:pt x="978" y="1718"/>
                    </a:lnTo>
                    <a:lnTo>
                      <a:pt x="978" y="1726"/>
                    </a:lnTo>
                    <a:lnTo>
                      <a:pt x="978" y="1726"/>
                    </a:lnTo>
                    <a:lnTo>
                      <a:pt x="980" y="1736"/>
                    </a:lnTo>
                    <a:lnTo>
                      <a:pt x="980" y="1746"/>
                    </a:lnTo>
                    <a:lnTo>
                      <a:pt x="976" y="1750"/>
                    </a:lnTo>
                    <a:lnTo>
                      <a:pt x="972" y="1752"/>
                    </a:lnTo>
                    <a:lnTo>
                      <a:pt x="968" y="1752"/>
                    </a:lnTo>
                    <a:lnTo>
                      <a:pt x="968" y="1752"/>
                    </a:lnTo>
                    <a:lnTo>
                      <a:pt x="964" y="1754"/>
                    </a:lnTo>
                    <a:lnTo>
                      <a:pt x="960" y="1756"/>
                    </a:lnTo>
                    <a:lnTo>
                      <a:pt x="956" y="1758"/>
                    </a:lnTo>
                    <a:lnTo>
                      <a:pt x="954" y="1762"/>
                    </a:lnTo>
                    <a:lnTo>
                      <a:pt x="954" y="1766"/>
                    </a:lnTo>
                    <a:lnTo>
                      <a:pt x="958" y="1770"/>
                    </a:lnTo>
                    <a:lnTo>
                      <a:pt x="962" y="1770"/>
                    </a:lnTo>
                    <a:lnTo>
                      <a:pt x="972" y="1770"/>
                    </a:lnTo>
                    <a:lnTo>
                      <a:pt x="972" y="1770"/>
                    </a:lnTo>
                    <a:lnTo>
                      <a:pt x="978" y="1770"/>
                    </a:lnTo>
                    <a:lnTo>
                      <a:pt x="982" y="1766"/>
                    </a:lnTo>
                    <a:lnTo>
                      <a:pt x="990" y="1758"/>
                    </a:lnTo>
                    <a:lnTo>
                      <a:pt x="994" y="1750"/>
                    </a:lnTo>
                    <a:lnTo>
                      <a:pt x="996" y="1740"/>
                    </a:lnTo>
                    <a:lnTo>
                      <a:pt x="1000" y="1730"/>
                    </a:lnTo>
                    <a:lnTo>
                      <a:pt x="1002" y="1726"/>
                    </a:lnTo>
                    <a:lnTo>
                      <a:pt x="1004" y="1726"/>
                    </a:lnTo>
                    <a:lnTo>
                      <a:pt x="1006" y="1726"/>
                    </a:lnTo>
                    <a:lnTo>
                      <a:pt x="1012" y="1734"/>
                    </a:lnTo>
                    <a:lnTo>
                      <a:pt x="1012" y="1734"/>
                    </a:lnTo>
                    <a:lnTo>
                      <a:pt x="1016" y="1744"/>
                    </a:lnTo>
                    <a:lnTo>
                      <a:pt x="1018" y="1754"/>
                    </a:lnTo>
                    <a:lnTo>
                      <a:pt x="1016" y="1762"/>
                    </a:lnTo>
                    <a:lnTo>
                      <a:pt x="1014" y="1770"/>
                    </a:lnTo>
                    <a:lnTo>
                      <a:pt x="1006" y="1784"/>
                    </a:lnTo>
                    <a:lnTo>
                      <a:pt x="1004" y="1788"/>
                    </a:lnTo>
                    <a:lnTo>
                      <a:pt x="1006" y="1792"/>
                    </a:lnTo>
                    <a:lnTo>
                      <a:pt x="1006" y="1792"/>
                    </a:lnTo>
                    <a:lnTo>
                      <a:pt x="1008" y="1794"/>
                    </a:lnTo>
                    <a:lnTo>
                      <a:pt x="1012" y="1794"/>
                    </a:lnTo>
                    <a:lnTo>
                      <a:pt x="1020" y="1792"/>
                    </a:lnTo>
                    <a:lnTo>
                      <a:pt x="1030" y="1792"/>
                    </a:lnTo>
                    <a:lnTo>
                      <a:pt x="1036" y="1792"/>
                    </a:lnTo>
                    <a:lnTo>
                      <a:pt x="1042" y="1794"/>
                    </a:lnTo>
                    <a:lnTo>
                      <a:pt x="1042" y="1794"/>
                    </a:lnTo>
                    <a:lnTo>
                      <a:pt x="1048" y="1800"/>
                    </a:lnTo>
                    <a:lnTo>
                      <a:pt x="1054" y="1806"/>
                    </a:lnTo>
                    <a:lnTo>
                      <a:pt x="1060" y="1814"/>
                    </a:lnTo>
                    <a:lnTo>
                      <a:pt x="1066" y="1824"/>
                    </a:lnTo>
                    <a:lnTo>
                      <a:pt x="1070" y="1832"/>
                    </a:lnTo>
                    <a:lnTo>
                      <a:pt x="1072" y="1842"/>
                    </a:lnTo>
                    <a:lnTo>
                      <a:pt x="1072" y="1850"/>
                    </a:lnTo>
                    <a:lnTo>
                      <a:pt x="1070" y="1858"/>
                    </a:lnTo>
                    <a:lnTo>
                      <a:pt x="1070" y="1858"/>
                    </a:lnTo>
                    <a:lnTo>
                      <a:pt x="1068" y="1866"/>
                    </a:lnTo>
                    <a:lnTo>
                      <a:pt x="1068" y="1874"/>
                    </a:lnTo>
                    <a:lnTo>
                      <a:pt x="1074" y="1886"/>
                    </a:lnTo>
                    <a:lnTo>
                      <a:pt x="1080" y="1896"/>
                    </a:lnTo>
                    <a:lnTo>
                      <a:pt x="1088" y="1904"/>
                    </a:lnTo>
                    <a:lnTo>
                      <a:pt x="1098" y="1914"/>
                    </a:lnTo>
                    <a:lnTo>
                      <a:pt x="1106" y="1920"/>
                    </a:lnTo>
                    <a:lnTo>
                      <a:pt x="1114" y="1924"/>
                    </a:lnTo>
                    <a:lnTo>
                      <a:pt x="1114" y="1924"/>
                    </a:lnTo>
                    <a:lnTo>
                      <a:pt x="1120" y="1926"/>
                    </a:lnTo>
                    <a:lnTo>
                      <a:pt x="1126" y="1930"/>
                    </a:lnTo>
                    <a:lnTo>
                      <a:pt x="1134" y="1938"/>
                    </a:lnTo>
                    <a:lnTo>
                      <a:pt x="1138" y="1944"/>
                    </a:lnTo>
                    <a:lnTo>
                      <a:pt x="1142" y="1944"/>
                    </a:lnTo>
                    <a:lnTo>
                      <a:pt x="1146" y="1942"/>
                    </a:lnTo>
                    <a:lnTo>
                      <a:pt x="1146" y="1942"/>
                    </a:lnTo>
                    <a:lnTo>
                      <a:pt x="1152" y="1936"/>
                    </a:lnTo>
                    <a:lnTo>
                      <a:pt x="1156" y="1936"/>
                    </a:lnTo>
                    <a:lnTo>
                      <a:pt x="1160" y="1936"/>
                    </a:lnTo>
                    <a:lnTo>
                      <a:pt x="1176" y="1942"/>
                    </a:lnTo>
                    <a:lnTo>
                      <a:pt x="1198" y="1956"/>
                    </a:lnTo>
                    <a:lnTo>
                      <a:pt x="1198" y="1956"/>
                    </a:lnTo>
                    <a:lnTo>
                      <a:pt x="1210" y="1962"/>
                    </a:lnTo>
                    <a:lnTo>
                      <a:pt x="1218" y="1964"/>
                    </a:lnTo>
                    <a:lnTo>
                      <a:pt x="1224" y="1964"/>
                    </a:lnTo>
                    <a:lnTo>
                      <a:pt x="1230" y="1960"/>
                    </a:lnTo>
                    <a:lnTo>
                      <a:pt x="1238" y="1952"/>
                    </a:lnTo>
                    <a:lnTo>
                      <a:pt x="1244" y="1946"/>
                    </a:lnTo>
                    <a:lnTo>
                      <a:pt x="1252" y="1940"/>
                    </a:lnTo>
                    <a:lnTo>
                      <a:pt x="1252" y="1940"/>
                    </a:lnTo>
                    <a:lnTo>
                      <a:pt x="1260" y="1936"/>
                    </a:lnTo>
                    <a:lnTo>
                      <a:pt x="1264" y="1930"/>
                    </a:lnTo>
                    <a:lnTo>
                      <a:pt x="1270" y="1920"/>
                    </a:lnTo>
                    <a:lnTo>
                      <a:pt x="1270" y="1918"/>
                    </a:lnTo>
                    <a:lnTo>
                      <a:pt x="1272" y="1916"/>
                    </a:lnTo>
                    <a:lnTo>
                      <a:pt x="1276" y="1916"/>
                    </a:lnTo>
                    <a:lnTo>
                      <a:pt x="1282" y="1918"/>
                    </a:lnTo>
                    <a:lnTo>
                      <a:pt x="1282" y="1918"/>
                    </a:lnTo>
                    <a:lnTo>
                      <a:pt x="1286" y="1924"/>
                    </a:lnTo>
                    <a:lnTo>
                      <a:pt x="1288" y="1928"/>
                    </a:lnTo>
                    <a:lnTo>
                      <a:pt x="1284" y="1930"/>
                    </a:lnTo>
                    <a:lnTo>
                      <a:pt x="1280" y="1934"/>
                    </a:lnTo>
                    <a:lnTo>
                      <a:pt x="1274" y="1940"/>
                    </a:lnTo>
                    <a:lnTo>
                      <a:pt x="1274" y="1944"/>
                    </a:lnTo>
                    <a:lnTo>
                      <a:pt x="1278" y="1946"/>
                    </a:lnTo>
                    <a:lnTo>
                      <a:pt x="1278" y="1946"/>
                    </a:lnTo>
                    <a:lnTo>
                      <a:pt x="1282" y="1948"/>
                    </a:lnTo>
                    <a:lnTo>
                      <a:pt x="1288" y="1948"/>
                    </a:lnTo>
                    <a:lnTo>
                      <a:pt x="1290" y="1944"/>
                    </a:lnTo>
                    <a:lnTo>
                      <a:pt x="1292" y="1942"/>
                    </a:lnTo>
                    <a:lnTo>
                      <a:pt x="1296" y="1936"/>
                    </a:lnTo>
                    <a:lnTo>
                      <a:pt x="1296" y="1942"/>
                    </a:lnTo>
                    <a:lnTo>
                      <a:pt x="1296" y="1942"/>
                    </a:lnTo>
                    <a:lnTo>
                      <a:pt x="1298" y="1948"/>
                    </a:lnTo>
                    <a:lnTo>
                      <a:pt x="1300" y="1952"/>
                    </a:lnTo>
                    <a:lnTo>
                      <a:pt x="1306" y="1956"/>
                    </a:lnTo>
                    <a:lnTo>
                      <a:pt x="1316" y="1964"/>
                    </a:lnTo>
                    <a:lnTo>
                      <a:pt x="1324" y="1970"/>
                    </a:lnTo>
                    <a:lnTo>
                      <a:pt x="1334" y="1982"/>
                    </a:lnTo>
                    <a:lnTo>
                      <a:pt x="1334" y="1982"/>
                    </a:lnTo>
                    <a:lnTo>
                      <a:pt x="1338" y="1988"/>
                    </a:lnTo>
                    <a:lnTo>
                      <a:pt x="1340" y="1988"/>
                    </a:lnTo>
                    <a:lnTo>
                      <a:pt x="1340" y="1980"/>
                    </a:lnTo>
                    <a:lnTo>
                      <a:pt x="1340" y="1974"/>
                    </a:lnTo>
                    <a:lnTo>
                      <a:pt x="1340" y="1968"/>
                    </a:lnTo>
                    <a:lnTo>
                      <a:pt x="1342" y="1962"/>
                    </a:lnTo>
                    <a:lnTo>
                      <a:pt x="1346" y="1960"/>
                    </a:lnTo>
                    <a:lnTo>
                      <a:pt x="1346" y="1960"/>
                    </a:lnTo>
                    <a:lnTo>
                      <a:pt x="1354" y="1956"/>
                    </a:lnTo>
                    <a:lnTo>
                      <a:pt x="1362" y="1950"/>
                    </a:lnTo>
                    <a:lnTo>
                      <a:pt x="1386" y="1930"/>
                    </a:lnTo>
                    <a:lnTo>
                      <a:pt x="1398" y="1920"/>
                    </a:lnTo>
                    <a:lnTo>
                      <a:pt x="1412" y="1912"/>
                    </a:lnTo>
                    <a:lnTo>
                      <a:pt x="1428" y="1908"/>
                    </a:lnTo>
                    <a:lnTo>
                      <a:pt x="1434" y="1908"/>
                    </a:lnTo>
                    <a:lnTo>
                      <a:pt x="1442" y="1908"/>
                    </a:lnTo>
                    <a:lnTo>
                      <a:pt x="1442" y="1908"/>
                    </a:lnTo>
                    <a:lnTo>
                      <a:pt x="1456" y="1910"/>
                    </a:lnTo>
                    <a:lnTo>
                      <a:pt x="1466" y="1906"/>
                    </a:lnTo>
                    <a:lnTo>
                      <a:pt x="1474" y="1902"/>
                    </a:lnTo>
                    <a:lnTo>
                      <a:pt x="1478" y="1896"/>
                    </a:lnTo>
                    <a:lnTo>
                      <a:pt x="1482" y="1890"/>
                    </a:lnTo>
                    <a:lnTo>
                      <a:pt x="1482" y="1884"/>
                    </a:lnTo>
                    <a:lnTo>
                      <a:pt x="1482" y="1878"/>
                    </a:lnTo>
                    <a:lnTo>
                      <a:pt x="1478" y="1874"/>
                    </a:lnTo>
                    <a:lnTo>
                      <a:pt x="1478" y="1874"/>
                    </a:lnTo>
                    <a:lnTo>
                      <a:pt x="1476" y="1870"/>
                    </a:lnTo>
                    <a:lnTo>
                      <a:pt x="1476" y="1866"/>
                    </a:lnTo>
                    <a:lnTo>
                      <a:pt x="1480" y="1856"/>
                    </a:lnTo>
                    <a:lnTo>
                      <a:pt x="1486" y="1842"/>
                    </a:lnTo>
                    <a:lnTo>
                      <a:pt x="1488" y="1836"/>
                    </a:lnTo>
                    <a:lnTo>
                      <a:pt x="1488" y="1828"/>
                    </a:lnTo>
                    <a:lnTo>
                      <a:pt x="1488" y="1828"/>
                    </a:lnTo>
                    <a:lnTo>
                      <a:pt x="1490" y="1812"/>
                    </a:lnTo>
                    <a:lnTo>
                      <a:pt x="1494" y="1794"/>
                    </a:lnTo>
                    <a:lnTo>
                      <a:pt x="1502" y="1776"/>
                    </a:lnTo>
                    <a:lnTo>
                      <a:pt x="1506" y="1770"/>
                    </a:lnTo>
                    <a:lnTo>
                      <a:pt x="1510" y="1766"/>
                    </a:lnTo>
                    <a:lnTo>
                      <a:pt x="1510" y="1766"/>
                    </a:lnTo>
                    <a:lnTo>
                      <a:pt x="1514" y="1760"/>
                    </a:lnTo>
                    <a:lnTo>
                      <a:pt x="1518" y="1750"/>
                    </a:lnTo>
                    <a:lnTo>
                      <a:pt x="1526" y="1718"/>
                    </a:lnTo>
                    <a:lnTo>
                      <a:pt x="1530" y="1700"/>
                    </a:lnTo>
                    <a:lnTo>
                      <a:pt x="1538" y="1680"/>
                    </a:lnTo>
                    <a:lnTo>
                      <a:pt x="1548" y="1662"/>
                    </a:lnTo>
                    <a:lnTo>
                      <a:pt x="1554" y="1654"/>
                    </a:lnTo>
                    <a:lnTo>
                      <a:pt x="1562" y="1646"/>
                    </a:lnTo>
                    <a:lnTo>
                      <a:pt x="1562" y="1646"/>
                    </a:lnTo>
                    <a:lnTo>
                      <a:pt x="1574" y="1634"/>
                    </a:lnTo>
                    <a:lnTo>
                      <a:pt x="1582" y="1626"/>
                    </a:lnTo>
                    <a:lnTo>
                      <a:pt x="1586" y="1618"/>
                    </a:lnTo>
                    <a:lnTo>
                      <a:pt x="1588" y="1612"/>
                    </a:lnTo>
                    <a:lnTo>
                      <a:pt x="1588" y="1604"/>
                    </a:lnTo>
                    <a:lnTo>
                      <a:pt x="1590" y="1598"/>
                    </a:lnTo>
                    <a:lnTo>
                      <a:pt x="1594" y="1590"/>
                    </a:lnTo>
                    <a:lnTo>
                      <a:pt x="1594" y="1590"/>
                    </a:lnTo>
                    <a:lnTo>
                      <a:pt x="1598" y="1576"/>
                    </a:lnTo>
                    <a:lnTo>
                      <a:pt x="1602" y="1566"/>
                    </a:lnTo>
                    <a:lnTo>
                      <a:pt x="1602" y="1556"/>
                    </a:lnTo>
                    <a:lnTo>
                      <a:pt x="1602" y="1546"/>
                    </a:lnTo>
                    <a:lnTo>
                      <a:pt x="1602" y="1532"/>
                    </a:lnTo>
                    <a:lnTo>
                      <a:pt x="1604" y="1524"/>
                    </a:lnTo>
                    <a:lnTo>
                      <a:pt x="1606" y="1516"/>
                    </a:lnTo>
                    <a:lnTo>
                      <a:pt x="1606" y="1516"/>
                    </a:lnTo>
                    <a:lnTo>
                      <a:pt x="1612" y="1504"/>
                    </a:lnTo>
                    <a:lnTo>
                      <a:pt x="1614" y="1494"/>
                    </a:lnTo>
                    <a:lnTo>
                      <a:pt x="1616" y="1476"/>
                    </a:lnTo>
                    <a:lnTo>
                      <a:pt x="1618" y="1458"/>
                    </a:lnTo>
                    <a:lnTo>
                      <a:pt x="1620" y="1448"/>
                    </a:lnTo>
                    <a:lnTo>
                      <a:pt x="1626" y="1438"/>
                    </a:lnTo>
                    <a:lnTo>
                      <a:pt x="1626" y="1438"/>
                    </a:lnTo>
                    <a:lnTo>
                      <a:pt x="1628" y="1432"/>
                    </a:lnTo>
                    <a:lnTo>
                      <a:pt x="1630" y="1426"/>
                    </a:lnTo>
                    <a:lnTo>
                      <a:pt x="1628" y="1412"/>
                    </a:lnTo>
                    <a:lnTo>
                      <a:pt x="1626" y="1398"/>
                    </a:lnTo>
                    <a:lnTo>
                      <a:pt x="1622" y="1384"/>
                    </a:lnTo>
                    <a:lnTo>
                      <a:pt x="1612" y="1358"/>
                    </a:lnTo>
                    <a:lnTo>
                      <a:pt x="1610" y="1350"/>
                    </a:lnTo>
                    <a:lnTo>
                      <a:pt x="1610" y="1344"/>
                    </a:lnTo>
                    <a:lnTo>
                      <a:pt x="1610" y="1344"/>
                    </a:lnTo>
                    <a:close/>
                    <a:moveTo>
                      <a:pt x="1412" y="2026"/>
                    </a:moveTo>
                    <a:lnTo>
                      <a:pt x="1412" y="2026"/>
                    </a:lnTo>
                    <a:lnTo>
                      <a:pt x="1408" y="2024"/>
                    </a:lnTo>
                    <a:lnTo>
                      <a:pt x="1406" y="2020"/>
                    </a:lnTo>
                    <a:lnTo>
                      <a:pt x="1404" y="2016"/>
                    </a:lnTo>
                    <a:lnTo>
                      <a:pt x="1402" y="2014"/>
                    </a:lnTo>
                    <a:lnTo>
                      <a:pt x="1400" y="2014"/>
                    </a:lnTo>
                    <a:lnTo>
                      <a:pt x="1396" y="2018"/>
                    </a:lnTo>
                    <a:lnTo>
                      <a:pt x="1396" y="2018"/>
                    </a:lnTo>
                    <a:lnTo>
                      <a:pt x="1392" y="2022"/>
                    </a:lnTo>
                    <a:lnTo>
                      <a:pt x="1392" y="2024"/>
                    </a:lnTo>
                    <a:lnTo>
                      <a:pt x="1394" y="2024"/>
                    </a:lnTo>
                    <a:lnTo>
                      <a:pt x="1394" y="2024"/>
                    </a:lnTo>
                    <a:lnTo>
                      <a:pt x="1396" y="2026"/>
                    </a:lnTo>
                    <a:lnTo>
                      <a:pt x="1398" y="2028"/>
                    </a:lnTo>
                    <a:lnTo>
                      <a:pt x="1400" y="2038"/>
                    </a:lnTo>
                    <a:lnTo>
                      <a:pt x="1400" y="2038"/>
                    </a:lnTo>
                    <a:lnTo>
                      <a:pt x="1402" y="2040"/>
                    </a:lnTo>
                    <a:lnTo>
                      <a:pt x="1404" y="2042"/>
                    </a:lnTo>
                    <a:lnTo>
                      <a:pt x="1410" y="2044"/>
                    </a:lnTo>
                    <a:lnTo>
                      <a:pt x="1414" y="2042"/>
                    </a:lnTo>
                    <a:lnTo>
                      <a:pt x="1414" y="2040"/>
                    </a:lnTo>
                    <a:lnTo>
                      <a:pt x="1414" y="2036"/>
                    </a:lnTo>
                    <a:lnTo>
                      <a:pt x="1414" y="2036"/>
                    </a:lnTo>
                    <a:lnTo>
                      <a:pt x="1412" y="2034"/>
                    </a:lnTo>
                    <a:lnTo>
                      <a:pt x="1412" y="2032"/>
                    </a:lnTo>
                    <a:lnTo>
                      <a:pt x="1414" y="2030"/>
                    </a:lnTo>
                    <a:lnTo>
                      <a:pt x="1416" y="2028"/>
                    </a:lnTo>
                    <a:lnTo>
                      <a:pt x="1412" y="2026"/>
                    </a:lnTo>
                    <a:lnTo>
                      <a:pt x="1412" y="2026"/>
                    </a:lnTo>
                    <a:close/>
                    <a:moveTo>
                      <a:pt x="1708" y="300"/>
                    </a:moveTo>
                    <a:lnTo>
                      <a:pt x="1708" y="300"/>
                    </a:lnTo>
                    <a:lnTo>
                      <a:pt x="1704" y="298"/>
                    </a:lnTo>
                    <a:lnTo>
                      <a:pt x="1700" y="294"/>
                    </a:lnTo>
                    <a:lnTo>
                      <a:pt x="1694" y="284"/>
                    </a:lnTo>
                    <a:lnTo>
                      <a:pt x="1688" y="274"/>
                    </a:lnTo>
                    <a:lnTo>
                      <a:pt x="1686" y="272"/>
                    </a:lnTo>
                    <a:lnTo>
                      <a:pt x="1682" y="268"/>
                    </a:lnTo>
                    <a:lnTo>
                      <a:pt x="1682" y="268"/>
                    </a:lnTo>
                    <a:lnTo>
                      <a:pt x="1678" y="266"/>
                    </a:lnTo>
                    <a:lnTo>
                      <a:pt x="1676" y="262"/>
                    </a:lnTo>
                    <a:lnTo>
                      <a:pt x="1672" y="252"/>
                    </a:lnTo>
                    <a:lnTo>
                      <a:pt x="1668" y="244"/>
                    </a:lnTo>
                    <a:lnTo>
                      <a:pt x="1668" y="242"/>
                    </a:lnTo>
                    <a:lnTo>
                      <a:pt x="1664" y="244"/>
                    </a:lnTo>
                    <a:lnTo>
                      <a:pt x="1664" y="244"/>
                    </a:lnTo>
                    <a:lnTo>
                      <a:pt x="1662" y="248"/>
                    </a:lnTo>
                    <a:lnTo>
                      <a:pt x="1662" y="250"/>
                    </a:lnTo>
                    <a:lnTo>
                      <a:pt x="1666" y="256"/>
                    </a:lnTo>
                    <a:lnTo>
                      <a:pt x="1670" y="264"/>
                    </a:lnTo>
                    <a:lnTo>
                      <a:pt x="1672" y="268"/>
                    </a:lnTo>
                    <a:lnTo>
                      <a:pt x="1672" y="276"/>
                    </a:lnTo>
                    <a:lnTo>
                      <a:pt x="1672" y="276"/>
                    </a:lnTo>
                    <a:lnTo>
                      <a:pt x="1672" y="282"/>
                    </a:lnTo>
                    <a:lnTo>
                      <a:pt x="1672" y="288"/>
                    </a:lnTo>
                    <a:lnTo>
                      <a:pt x="1680" y="298"/>
                    </a:lnTo>
                    <a:lnTo>
                      <a:pt x="1688" y="306"/>
                    </a:lnTo>
                    <a:lnTo>
                      <a:pt x="1690" y="310"/>
                    </a:lnTo>
                    <a:lnTo>
                      <a:pt x="1692" y="316"/>
                    </a:lnTo>
                    <a:lnTo>
                      <a:pt x="1692" y="316"/>
                    </a:lnTo>
                    <a:lnTo>
                      <a:pt x="1694" y="324"/>
                    </a:lnTo>
                    <a:lnTo>
                      <a:pt x="1700" y="330"/>
                    </a:lnTo>
                    <a:lnTo>
                      <a:pt x="1708" y="332"/>
                    </a:lnTo>
                    <a:lnTo>
                      <a:pt x="1716" y="330"/>
                    </a:lnTo>
                    <a:lnTo>
                      <a:pt x="1716" y="330"/>
                    </a:lnTo>
                    <a:lnTo>
                      <a:pt x="1720" y="328"/>
                    </a:lnTo>
                    <a:lnTo>
                      <a:pt x="1722" y="326"/>
                    </a:lnTo>
                    <a:lnTo>
                      <a:pt x="1722" y="322"/>
                    </a:lnTo>
                    <a:lnTo>
                      <a:pt x="1720" y="316"/>
                    </a:lnTo>
                    <a:lnTo>
                      <a:pt x="1716" y="306"/>
                    </a:lnTo>
                    <a:lnTo>
                      <a:pt x="1712" y="304"/>
                    </a:lnTo>
                    <a:lnTo>
                      <a:pt x="1708" y="300"/>
                    </a:lnTo>
                    <a:lnTo>
                      <a:pt x="1708" y="300"/>
                    </a:lnTo>
                    <a:close/>
                    <a:moveTo>
                      <a:pt x="1712" y="342"/>
                    </a:moveTo>
                    <a:lnTo>
                      <a:pt x="1712" y="342"/>
                    </a:lnTo>
                    <a:lnTo>
                      <a:pt x="1712" y="346"/>
                    </a:lnTo>
                    <a:lnTo>
                      <a:pt x="1716" y="346"/>
                    </a:lnTo>
                    <a:lnTo>
                      <a:pt x="1718" y="346"/>
                    </a:lnTo>
                    <a:lnTo>
                      <a:pt x="1720" y="344"/>
                    </a:lnTo>
                    <a:lnTo>
                      <a:pt x="1720" y="344"/>
                    </a:lnTo>
                    <a:lnTo>
                      <a:pt x="1718" y="340"/>
                    </a:lnTo>
                    <a:lnTo>
                      <a:pt x="1716" y="338"/>
                    </a:lnTo>
                    <a:lnTo>
                      <a:pt x="1712" y="340"/>
                    </a:lnTo>
                    <a:lnTo>
                      <a:pt x="1712" y="342"/>
                    </a:lnTo>
                    <a:lnTo>
                      <a:pt x="1712" y="342"/>
                    </a:lnTo>
                    <a:close/>
                    <a:moveTo>
                      <a:pt x="1238" y="2006"/>
                    </a:moveTo>
                    <a:lnTo>
                      <a:pt x="1238" y="2006"/>
                    </a:lnTo>
                    <a:lnTo>
                      <a:pt x="1236" y="2012"/>
                    </a:lnTo>
                    <a:lnTo>
                      <a:pt x="1234" y="2024"/>
                    </a:lnTo>
                    <a:lnTo>
                      <a:pt x="1236" y="2032"/>
                    </a:lnTo>
                    <a:lnTo>
                      <a:pt x="1240" y="2034"/>
                    </a:lnTo>
                    <a:lnTo>
                      <a:pt x="1242" y="2032"/>
                    </a:lnTo>
                    <a:lnTo>
                      <a:pt x="1242" y="2032"/>
                    </a:lnTo>
                    <a:lnTo>
                      <a:pt x="1244" y="2028"/>
                    </a:lnTo>
                    <a:lnTo>
                      <a:pt x="1246" y="2024"/>
                    </a:lnTo>
                    <a:lnTo>
                      <a:pt x="1246" y="2014"/>
                    </a:lnTo>
                    <a:lnTo>
                      <a:pt x="1242" y="2006"/>
                    </a:lnTo>
                    <a:lnTo>
                      <a:pt x="1240" y="2004"/>
                    </a:lnTo>
                    <a:lnTo>
                      <a:pt x="1238" y="2006"/>
                    </a:lnTo>
                    <a:lnTo>
                      <a:pt x="1238" y="2006"/>
                    </a:lnTo>
                    <a:close/>
                    <a:moveTo>
                      <a:pt x="1414" y="2116"/>
                    </a:moveTo>
                    <a:lnTo>
                      <a:pt x="1414" y="2116"/>
                    </a:lnTo>
                    <a:lnTo>
                      <a:pt x="1414" y="2106"/>
                    </a:lnTo>
                    <a:lnTo>
                      <a:pt x="1414" y="2096"/>
                    </a:lnTo>
                    <a:lnTo>
                      <a:pt x="1414" y="2088"/>
                    </a:lnTo>
                    <a:lnTo>
                      <a:pt x="1412" y="2082"/>
                    </a:lnTo>
                    <a:lnTo>
                      <a:pt x="1408" y="2076"/>
                    </a:lnTo>
                    <a:lnTo>
                      <a:pt x="1406" y="2072"/>
                    </a:lnTo>
                    <a:lnTo>
                      <a:pt x="1402" y="2072"/>
                    </a:lnTo>
                    <a:lnTo>
                      <a:pt x="1400" y="2074"/>
                    </a:lnTo>
                    <a:lnTo>
                      <a:pt x="1400" y="2074"/>
                    </a:lnTo>
                    <a:lnTo>
                      <a:pt x="1398" y="2078"/>
                    </a:lnTo>
                    <a:lnTo>
                      <a:pt x="1396" y="2078"/>
                    </a:lnTo>
                    <a:lnTo>
                      <a:pt x="1392" y="2076"/>
                    </a:lnTo>
                    <a:lnTo>
                      <a:pt x="1388" y="2076"/>
                    </a:lnTo>
                    <a:lnTo>
                      <a:pt x="1386" y="2078"/>
                    </a:lnTo>
                    <a:lnTo>
                      <a:pt x="1382" y="2080"/>
                    </a:lnTo>
                    <a:lnTo>
                      <a:pt x="1382" y="2080"/>
                    </a:lnTo>
                    <a:lnTo>
                      <a:pt x="1380" y="2082"/>
                    </a:lnTo>
                    <a:lnTo>
                      <a:pt x="1378" y="2082"/>
                    </a:lnTo>
                    <a:lnTo>
                      <a:pt x="1370" y="2082"/>
                    </a:lnTo>
                    <a:lnTo>
                      <a:pt x="1352" y="2088"/>
                    </a:lnTo>
                    <a:lnTo>
                      <a:pt x="1352" y="2088"/>
                    </a:lnTo>
                    <a:lnTo>
                      <a:pt x="1340" y="2092"/>
                    </a:lnTo>
                    <a:lnTo>
                      <a:pt x="1332" y="2094"/>
                    </a:lnTo>
                    <a:lnTo>
                      <a:pt x="1324" y="2092"/>
                    </a:lnTo>
                    <a:lnTo>
                      <a:pt x="1320" y="2088"/>
                    </a:lnTo>
                    <a:lnTo>
                      <a:pt x="1310" y="2080"/>
                    </a:lnTo>
                    <a:lnTo>
                      <a:pt x="1304" y="2076"/>
                    </a:lnTo>
                    <a:lnTo>
                      <a:pt x="1296" y="2076"/>
                    </a:lnTo>
                    <a:lnTo>
                      <a:pt x="1296" y="2076"/>
                    </a:lnTo>
                    <a:lnTo>
                      <a:pt x="1288" y="2074"/>
                    </a:lnTo>
                    <a:lnTo>
                      <a:pt x="1282" y="2072"/>
                    </a:lnTo>
                    <a:lnTo>
                      <a:pt x="1274" y="2066"/>
                    </a:lnTo>
                    <a:lnTo>
                      <a:pt x="1272" y="2064"/>
                    </a:lnTo>
                    <a:lnTo>
                      <a:pt x="1270" y="2064"/>
                    </a:lnTo>
                    <a:lnTo>
                      <a:pt x="1266" y="2078"/>
                    </a:lnTo>
                    <a:lnTo>
                      <a:pt x="1266" y="2078"/>
                    </a:lnTo>
                    <a:lnTo>
                      <a:pt x="1264" y="2086"/>
                    </a:lnTo>
                    <a:lnTo>
                      <a:pt x="1266" y="2094"/>
                    </a:lnTo>
                    <a:lnTo>
                      <a:pt x="1276" y="2118"/>
                    </a:lnTo>
                    <a:lnTo>
                      <a:pt x="1276" y="2118"/>
                    </a:lnTo>
                    <a:lnTo>
                      <a:pt x="1280" y="2130"/>
                    </a:lnTo>
                    <a:lnTo>
                      <a:pt x="1284" y="2134"/>
                    </a:lnTo>
                    <a:lnTo>
                      <a:pt x="1288" y="2136"/>
                    </a:lnTo>
                    <a:lnTo>
                      <a:pt x="1288" y="2144"/>
                    </a:lnTo>
                    <a:lnTo>
                      <a:pt x="1288" y="2144"/>
                    </a:lnTo>
                    <a:lnTo>
                      <a:pt x="1288" y="2158"/>
                    </a:lnTo>
                    <a:lnTo>
                      <a:pt x="1292" y="2174"/>
                    </a:lnTo>
                    <a:lnTo>
                      <a:pt x="1296" y="2186"/>
                    </a:lnTo>
                    <a:lnTo>
                      <a:pt x="1300" y="2192"/>
                    </a:lnTo>
                    <a:lnTo>
                      <a:pt x="1304" y="2198"/>
                    </a:lnTo>
                    <a:lnTo>
                      <a:pt x="1304" y="2198"/>
                    </a:lnTo>
                    <a:lnTo>
                      <a:pt x="1310" y="2202"/>
                    </a:lnTo>
                    <a:lnTo>
                      <a:pt x="1312" y="2206"/>
                    </a:lnTo>
                    <a:lnTo>
                      <a:pt x="1318" y="2216"/>
                    </a:lnTo>
                    <a:lnTo>
                      <a:pt x="1322" y="2224"/>
                    </a:lnTo>
                    <a:lnTo>
                      <a:pt x="1324" y="2226"/>
                    </a:lnTo>
                    <a:lnTo>
                      <a:pt x="1328" y="2226"/>
                    </a:lnTo>
                    <a:lnTo>
                      <a:pt x="1328" y="2226"/>
                    </a:lnTo>
                    <a:lnTo>
                      <a:pt x="1332" y="2226"/>
                    </a:lnTo>
                    <a:lnTo>
                      <a:pt x="1338" y="2226"/>
                    </a:lnTo>
                    <a:lnTo>
                      <a:pt x="1352" y="2230"/>
                    </a:lnTo>
                    <a:lnTo>
                      <a:pt x="1352" y="2230"/>
                    </a:lnTo>
                    <a:lnTo>
                      <a:pt x="1356" y="2232"/>
                    </a:lnTo>
                    <a:lnTo>
                      <a:pt x="1358" y="2230"/>
                    </a:lnTo>
                    <a:lnTo>
                      <a:pt x="1360" y="2226"/>
                    </a:lnTo>
                    <a:lnTo>
                      <a:pt x="1362" y="2220"/>
                    </a:lnTo>
                    <a:lnTo>
                      <a:pt x="1366" y="2214"/>
                    </a:lnTo>
                    <a:lnTo>
                      <a:pt x="1366" y="2214"/>
                    </a:lnTo>
                    <a:lnTo>
                      <a:pt x="1370" y="2212"/>
                    </a:lnTo>
                    <a:lnTo>
                      <a:pt x="1372" y="2208"/>
                    </a:lnTo>
                    <a:lnTo>
                      <a:pt x="1374" y="2200"/>
                    </a:lnTo>
                    <a:lnTo>
                      <a:pt x="1376" y="2194"/>
                    </a:lnTo>
                    <a:lnTo>
                      <a:pt x="1378" y="2194"/>
                    </a:lnTo>
                    <a:lnTo>
                      <a:pt x="1378" y="2196"/>
                    </a:lnTo>
                    <a:lnTo>
                      <a:pt x="1378" y="2196"/>
                    </a:lnTo>
                    <a:lnTo>
                      <a:pt x="1380" y="2198"/>
                    </a:lnTo>
                    <a:lnTo>
                      <a:pt x="1382" y="2198"/>
                    </a:lnTo>
                    <a:lnTo>
                      <a:pt x="1382" y="2194"/>
                    </a:lnTo>
                    <a:lnTo>
                      <a:pt x="1384" y="2190"/>
                    </a:lnTo>
                    <a:lnTo>
                      <a:pt x="1386" y="2188"/>
                    </a:lnTo>
                    <a:lnTo>
                      <a:pt x="1388" y="2188"/>
                    </a:lnTo>
                    <a:lnTo>
                      <a:pt x="1388" y="2188"/>
                    </a:lnTo>
                    <a:lnTo>
                      <a:pt x="1392" y="2192"/>
                    </a:lnTo>
                    <a:lnTo>
                      <a:pt x="1394" y="2194"/>
                    </a:lnTo>
                    <a:lnTo>
                      <a:pt x="1394" y="2196"/>
                    </a:lnTo>
                    <a:lnTo>
                      <a:pt x="1392" y="2196"/>
                    </a:lnTo>
                    <a:lnTo>
                      <a:pt x="1392" y="2196"/>
                    </a:lnTo>
                    <a:lnTo>
                      <a:pt x="1388" y="2198"/>
                    </a:lnTo>
                    <a:lnTo>
                      <a:pt x="1388" y="2202"/>
                    </a:lnTo>
                    <a:lnTo>
                      <a:pt x="1390" y="2206"/>
                    </a:lnTo>
                    <a:lnTo>
                      <a:pt x="1398" y="2210"/>
                    </a:lnTo>
                    <a:lnTo>
                      <a:pt x="1398" y="2210"/>
                    </a:lnTo>
                    <a:lnTo>
                      <a:pt x="1402" y="2208"/>
                    </a:lnTo>
                    <a:lnTo>
                      <a:pt x="1404" y="2206"/>
                    </a:lnTo>
                    <a:lnTo>
                      <a:pt x="1402" y="2194"/>
                    </a:lnTo>
                    <a:lnTo>
                      <a:pt x="1400" y="2180"/>
                    </a:lnTo>
                    <a:lnTo>
                      <a:pt x="1400" y="2174"/>
                    </a:lnTo>
                    <a:lnTo>
                      <a:pt x="1402" y="2170"/>
                    </a:lnTo>
                    <a:lnTo>
                      <a:pt x="1402" y="2170"/>
                    </a:lnTo>
                    <a:lnTo>
                      <a:pt x="1404" y="2168"/>
                    </a:lnTo>
                    <a:lnTo>
                      <a:pt x="1404" y="2166"/>
                    </a:lnTo>
                    <a:lnTo>
                      <a:pt x="1402" y="2160"/>
                    </a:lnTo>
                    <a:lnTo>
                      <a:pt x="1402" y="2152"/>
                    </a:lnTo>
                    <a:lnTo>
                      <a:pt x="1402" y="2150"/>
                    </a:lnTo>
                    <a:lnTo>
                      <a:pt x="1404" y="2146"/>
                    </a:lnTo>
                    <a:lnTo>
                      <a:pt x="1404" y="2146"/>
                    </a:lnTo>
                    <a:lnTo>
                      <a:pt x="1408" y="2144"/>
                    </a:lnTo>
                    <a:lnTo>
                      <a:pt x="1410" y="2144"/>
                    </a:lnTo>
                    <a:lnTo>
                      <a:pt x="1410" y="2150"/>
                    </a:lnTo>
                    <a:lnTo>
                      <a:pt x="1412" y="2154"/>
                    </a:lnTo>
                    <a:lnTo>
                      <a:pt x="1412" y="2154"/>
                    </a:lnTo>
                    <a:lnTo>
                      <a:pt x="1414" y="2152"/>
                    </a:lnTo>
                    <a:lnTo>
                      <a:pt x="1414" y="2152"/>
                    </a:lnTo>
                    <a:lnTo>
                      <a:pt x="1416" y="2148"/>
                    </a:lnTo>
                    <a:lnTo>
                      <a:pt x="1416" y="2146"/>
                    </a:lnTo>
                    <a:lnTo>
                      <a:pt x="1414" y="2140"/>
                    </a:lnTo>
                    <a:lnTo>
                      <a:pt x="1412" y="2132"/>
                    </a:lnTo>
                    <a:lnTo>
                      <a:pt x="1412" y="2124"/>
                    </a:lnTo>
                    <a:lnTo>
                      <a:pt x="1414" y="2116"/>
                    </a:lnTo>
                    <a:lnTo>
                      <a:pt x="1414" y="2116"/>
                    </a:lnTo>
                    <a:close/>
                    <a:moveTo>
                      <a:pt x="984" y="1792"/>
                    </a:moveTo>
                    <a:lnTo>
                      <a:pt x="984" y="1792"/>
                    </a:lnTo>
                    <a:lnTo>
                      <a:pt x="980" y="1788"/>
                    </a:lnTo>
                    <a:lnTo>
                      <a:pt x="974" y="1788"/>
                    </a:lnTo>
                    <a:lnTo>
                      <a:pt x="966" y="1788"/>
                    </a:lnTo>
                    <a:lnTo>
                      <a:pt x="958" y="1792"/>
                    </a:lnTo>
                    <a:lnTo>
                      <a:pt x="950" y="1794"/>
                    </a:lnTo>
                    <a:lnTo>
                      <a:pt x="944" y="1798"/>
                    </a:lnTo>
                    <a:lnTo>
                      <a:pt x="942" y="1804"/>
                    </a:lnTo>
                    <a:lnTo>
                      <a:pt x="940" y="1808"/>
                    </a:lnTo>
                    <a:lnTo>
                      <a:pt x="940" y="1808"/>
                    </a:lnTo>
                    <a:lnTo>
                      <a:pt x="942" y="1810"/>
                    </a:lnTo>
                    <a:lnTo>
                      <a:pt x="948" y="1812"/>
                    </a:lnTo>
                    <a:lnTo>
                      <a:pt x="960" y="1814"/>
                    </a:lnTo>
                    <a:lnTo>
                      <a:pt x="974" y="1812"/>
                    </a:lnTo>
                    <a:lnTo>
                      <a:pt x="982" y="1810"/>
                    </a:lnTo>
                    <a:lnTo>
                      <a:pt x="982" y="1810"/>
                    </a:lnTo>
                    <a:lnTo>
                      <a:pt x="990" y="1808"/>
                    </a:lnTo>
                    <a:lnTo>
                      <a:pt x="998" y="1808"/>
                    </a:lnTo>
                    <a:lnTo>
                      <a:pt x="1004" y="1806"/>
                    </a:lnTo>
                    <a:lnTo>
                      <a:pt x="1004" y="1804"/>
                    </a:lnTo>
                    <a:lnTo>
                      <a:pt x="1002" y="1800"/>
                    </a:lnTo>
                    <a:lnTo>
                      <a:pt x="1002" y="1800"/>
                    </a:lnTo>
                    <a:lnTo>
                      <a:pt x="1000" y="1798"/>
                    </a:lnTo>
                    <a:lnTo>
                      <a:pt x="994" y="1798"/>
                    </a:lnTo>
                    <a:lnTo>
                      <a:pt x="990" y="1796"/>
                    </a:lnTo>
                    <a:lnTo>
                      <a:pt x="984" y="1792"/>
                    </a:lnTo>
                    <a:lnTo>
                      <a:pt x="984" y="1792"/>
                    </a:lnTo>
                    <a:close/>
                    <a:moveTo>
                      <a:pt x="2204" y="1064"/>
                    </a:moveTo>
                    <a:lnTo>
                      <a:pt x="2204" y="1064"/>
                    </a:lnTo>
                    <a:lnTo>
                      <a:pt x="2206" y="1066"/>
                    </a:lnTo>
                    <a:lnTo>
                      <a:pt x="2208" y="1066"/>
                    </a:lnTo>
                    <a:lnTo>
                      <a:pt x="2212" y="1066"/>
                    </a:lnTo>
                    <a:lnTo>
                      <a:pt x="2214" y="1060"/>
                    </a:lnTo>
                    <a:lnTo>
                      <a:pt x="2214" y="1058"/>
                    </a:lnTo>
                    <a:lnTo>
                      <a:pt x="2212" y="1054"/>
                    </a:lnTo>
                    <a:lnTo>
                      <a:pt x="2212" y="1054"/>
                    </a:lnTo>
                    <a:lnTo>
                      <a:pt x="2210" y="1050"/>
                    </a:lnTo>
                    <a:lnTo>
                      <a:pt x="2208" y="1048"/>
                    </a:lnTo>
                    <a:lnTo>
                      <a:pt x="2206" y="1048"/>
                    </a:lnTo>
                    <a:lnTo>
                      <a:pt x="2204" y="1050"/>
                    </a:lnTo>
                    <a:lnTo>
                      <a:pt x="2202" y="1054"/>
                    </a:lnTo>
                    <a:lnTo>
                      <a:pt x="2204" y="1064"/>
                    </a:lnTo>
                    <a:lnTo>
                      <a:pt x="2204" y="1064"/>
                    </a:lnTo>
                    <a:close/>
                    <a:moveTo>
                      <a:pt x="2218" y="862"/>
                    </a:moveTo>
                    <a:lnTo>
                      <a:pt x="2218" y="862"/>
                    </a:lnTo>
                    <a:lnTo>
                      <a:pt x="2216" y="866"/>
                    </a:lnTo>
                    <a:lnTo>
                      <a:pt x="2218" y="870"/>
                    </a:lnTo>
                    <a:lnTo>
                      <a:pt x="2222" y="872"/>
                    </a:lnTo>
                    <a:lnTo>
                      <a:pt x="2228" y="874"/>
                    </a:lnTo>
                    <a:lnTo>
                      <a:pt x="2228" y="874"/>
                    </a:lnTo>
                    <a:lnTo>
                      <a:pt x="2230" y="872"/>
                    </a:lnTo>
                    <a:lnTo>
                      <a:pt x="2230" y="870"/>
                    </a:lnTo>
                    <a:lnTo>
                      <a:pt x="2228" y="864"/>
                    </a:lnTo>
                    <a:lnTo>
                      <a:pt x="2222" y="860"/>
                    </a:lnTo>
                    <a:lnTo>
                      <a:pt x="2220" y="860"/>
                    </a:lnTo>
                    <a:lnTo>
                      <a:pt x="2218" y="862"/>
                    </a:lnTo>
                    <a:lnTo>
                      <a:pt x="2218" y="862"/>
                    </a:lnTo>
                    <a:close/>
                    <a:moveTo>
                      <a:pt x="2220" y="824"/>
                    </a:moveTo>
                    <a:lnTo>
                      <a:pt x="2220" y="824"/>
                    </a:lnTo>
                    <a:lnTo>
                      <a:pt x="2222" y="824"/>
                    </a:lnTo>
                    <a:lnTo>
                      <a:pt x="2222" y="822"/>
                    </a:lnTo>
                    <a:lnTo>
                      <a:pt x="2216" y="814"/>
                    </a:lnTo>
                    <a:lnTo>
                      <a:pt x="2216" y="814"/>
                    </a:lnTo>
                    <a:lnTo>
                      <a:pt x="2216" y="812"/>
                    </a:lnTo>
                    <a:lnTo>
                      <a:pt x="2214" y="814"/>
                    </a:lnTo>
                    <a:lnTo>
                      <a:pt x="2212" y="816"/>
                    </a:lnTo>
                    <a:lnTo>
                      <a:pt x="2214" y="822"/>
                    </a:lnTo>
                    <a:lnTo>
                      <a:pt x="2216" y="822"/>
                    </a:lnTo>
                    <a:lnTo>
                      <a:pt x="2220" y="824"/>
                    </a:lnTo>
                    <a:lnTo>
                      <a:pt x="2220" y="824"/>
                    </a:lnTo>
                    <a:close/>
                    <a:moveTo>
                      <a:pt x="2124" y="1064"/>
                    </a:moveTo>
                    <a:lnTo>
                      <a:pt x="2124" y="1064"/>
                    </a:lnTo>
                    <a:lnTo>
                      <a:pt x="2118" y="1060"/>
                    </a:lnTo>
                    <a:lnTo>
                      <a:pt x="2116" y="1060"/>
                    </a:lnTo>
                    <a:lnTo>
                      <a:pt x="2114" y="1062"/>
                    </a:lnTo>
                    <a:lnTo>
                      <a:pt x="2096" y="1042"/>
                    </a:lnTo>
                    <a:lnTo>
                      <a:pt x="2096" y="1042"/>
                    </a:lnTo>
                    <a:lnTo>
                      <a:pt x="2094" y="1038"/>
                    </a:lnTo>
                    <a:lnTo>
                      <a:pt x="2090" y="1032"/>
                    </a:lnTo>
                    <a:lnTo>
                      <a:pt x="2076" y="1018"/>
                    </a:lnTo>
                    <a:lnTo>
                      <a:pt x="2060" y="1008"/>
                    </a:lnTo>
                    <a:lnTo>
                      <a:pt x="2050" y="1000"/>
                    </a:lnTo>
                    <a:lnTo>
                      <a:pt x="2050" y="1004"/>
                    </a:lnTo>
                    <a:lnTo>
                      <a:pt x="2050" y="1004"/>
                    </a:lnTo>
                    <a:lnTo>
                      <a:pt x="2044" y="998"/>
                    </a:lnTo>
                    <a:lnTo>
                      <a:pt x="2040" y="994"/>
                    </a:lnTo>
                    <a:lnTo>
                      <a:pt x="2036" y="992"/>
                    </a:lnTo>
                    <a:lnTo>
                      <a:pt x="2040" y="1000"/>
                    </a:lnTo>
                    <a:lnTo>
                      <a:pt x="2050" y="1020"/>
                    </a:lnTo>
                    <a:lnTo>
                      <a:pt x="2050" y="1020"/>
                    </a:lnTo>
                    <a:lnTo>
                      <a:pt x="2052" y="1024"/>
                    </a:lnTo>
                    <a:lnTo>
                      <a:pt x="2052" y="1026"/>
                    </a:lnTo>
                    <a:lnTo>
                      <a:pt x="2052" y="1026"/>
                    </a:lnTo>
                    <a:lnTo>
                      <a:pt x="2064" y="1036"/>
                    </a:lnTo>
                    <a:lnTo>
                      <a:pt x="2070" y="1042"/>
                    </a:lnTo>
                    <a:lnTo>
                      <a:pt x="2076" y="1056"/>
                    </a:lnTo>
                    <a:lnTo>
                      <a:pt x="2076" y="1054"/>
                    </a:lnTo>
                    <a:lnTo>
                      <a:pt x="2078" y="1058"/>
                    </a:lnTo>
                    <a:lnTo>
                      <a:pt x="2078" y="1058"/>
                    </a:lnTo>
                    <a:lnTo>
                      <a:pt x="2082" y="1058"/>
                    </a:lnTo>
                    <a:lnTo>
                      <a:pt x="2088" y="1064"/>
                    </a:lnTo>
                    <a:lnTo>
                      <a:pt x="2088" y="1064"/>
                    </a:lnTo>
                    <a:lnTo>
                      <a:pt x="2094" y="1070"/>
                    </a:lnTo>
                    <a:lnTo>
                      <a:pt x="2102" y="1074"/>
                    </a:lnTo>
                    <a:lnTo>
                      <a:pt x="2110" y="1080"/>
                    </a:lnTo>
                    <a:lnTo>
                      <a:pt x="2116" y="1086"/>
                    </a:lnTo>
                    <a:lnTo>
                      <a:pt x="2136" y="1098"/>
                    </a:lnTo>
                    <a:lnTo>
                      <a:pt x="2136" y="1098"/>
                    </a:lnTo>
                    <a:lnTo>
                      <a:pt x="2136" y="1102"/>
                    </a:lnTo>
                    <a:lnTo>
                      <a:pt x="2136" y="1104"/>
                    </a:lnTo>
                    <a:lnTo>
                      <a:pt x="2136" y="1104"/>
                    </a:lnTo>
                    <a:lnTo>
                      <a:pt x="2136" y="1104"/>
                    </a:lnTo>
                    <a:lnTo>
                      <a:pt x="2154" y="1100"/>
                    </a:lnTo>
                    <a:lnTo>
                      <a:pt x="2158" y="1098"/>
                    </a:lnTo>
                    <a:lnTo>
                      <a:pt x="2158" y="1096"/>
                    </a:lnTo>
                    <a:lnTo>
                      <a:pt x="2148" y="1086"/>
                    </a:lnTo>
                    <a:lnTo>
                      <a:pt x="2124" y="1064"/>
                    </a:lnTo>
                    <a:lnTo>
                      <a:pt x="2124" y="1064"/>
                    </a:lnTo>
                    <a:close/>
                    <a:moveTo>
                      <a:pt x="2172" y="1036"/>
                    </a:moveTo>
                    <a:lnTo>
                      <a:pt x="2172" y="1036"/>
                    </a:lnTo>
                    <a:lnTo>
                      <a:pt x="2178" y="1038"/>
                    </a:lnTo>
                    <a:lnTo>
                      <a:pt x="2182" y="1040"/>
                    </a:lnTo>
                    <a:lnTo>
                      <a:pt x="2184" y="1038"/>
                    </a:lnTo>
                    <a:lnTo>
                      <a:pt x="2186" y="1036"/>
                    </a:lnTo>
                    <a:lnTo>
                      <a:pt x="2186" y="1030"/>
                    </a:lnTo>
                    <a:lnTo>
                      <a:pt x="2182" y="1024"/>
                    </a:lnTo>
                    <a:lnTo>
                      <a:pt x="2182" y="1024"/>
                    </a:lnTo>
                    <a:lnTo>
                      <a:pt x="2176" y="1018"/>
                    </a:lnTo>
                    <a:lnTo>
                      <a:pt x="2172" y="1016"/>
                    </a:lnTo>
                    <a:lnTo>
                      <a:pt x="2168" y="1018"/>
                    </a:lnTo>
                    <a:lnTo>
                      <a:pt x="2168" y="1020"/>
                    </a:lnTo>
                    <a:lnTo>
                      <a:pt x="2170" y="1020"/>
                    </a:lnTo>
                    <a:lnTo>
                      <a:pt x="2170" y="1020"/>
                    </a:lnTo>
                    <a:lnTo>
                      <a:pt x="2172" y="1022"/>
                    </a:lnTo>
                    <a:lnTo>
                      <a:pt x="2172" y="1024"/>
                    </a:lnTo>
                    <a:lnTo>
                      <a:pt x="2170" y="1028"/>
                    </a:lnTo>
                    <a:lnTo>
                      <a:pt x="2168" y="1032"/>
                    </a:lnTo>
                    <a:lnTo>
                      <a:pt x="2170" y="1034"/>
                    </a:lnTo>
                    <a:lnTo>
                      <a:pt x="2172" y="1036"/>
                    </a:lnTo>
                    <a:lnTo>
                      <a:pt x="2172" y="1036"/>
                    </a:lnTo>
                    <a:close/>
                    <a:moveTo>
                      <a:pt x="2152" y="752"/>
                    </a:moveTo>
                    <a:lnTo>
                      <a:pt x="2152" y="752"/>
                    </a:lnTo>
                    <a:lnTo>
                      <a:pt x="2154" y="760"/>
                    </a:lnTo>
                    <a:lnTo>
                      <a:pt x="2156" y="764"/>
                    </a:lnTo>
                    <a:lnTo>
                      <a:pt x="2160" y="766"/>
                    </a:lnTo>
                    <a:lnTo>
                      <a:pt x="2168" y="764"/>
                    </a:lnTo>
                    <a:lnTo>
                      <a:pt x="2168" y="764"/>
                    </a:lnTo>
                    <a:lnTo>
                      <a:pt x="2172" y="762"/>
                    </a:lnTo>
                    <a:lnTo>
                      <a:pt x="2174" y="760"/>
                    </a:lnTo>
                    <a:lnTo>
                      <a:pt x="2176" y="758"/>
                    </a:lnTo>
                    <a:lnTo>
                      <a:pt x="2176" y="754"/>
                    </a:lnTo>
                    <a:lnTo>
                      <a:pt x="2174" y="746"/>
                    </a:lnTo>
                    <a:lnTo>
                      <a:pt x="2170" y="736"/>
                    </a:lnTo>
                    <a:lnTo>
                      <a:pt x="2170" y="736"/>
                    </a:lnTo>
                    <a:lnTo>
                      <a:pt x="2168" y="732"/>
                    </a:lnTo>
                    <a:lnTo>
                      <a:pt x="2166" y="732"/>
                    </a:lnTo>
                    <a:lnTo>
                      <a:pt x="2164" y="734"/>
                    </a:lnTo>
                    <a:lnTo>
                      <a:pt x="2162" y="736"/>
                    </a:lnTo>
                    <a:lnTo>
                      <a:pt x="2162" y="736"/>
                    </a:lnTo>
                    <a:lnTo>
                      <a:pt x="2158" y="730"/>
                    </a:lnTo>
                    <a:lnTo>
                      <a:pt x="2158" y="730"/>
                    </a:lnTo>
                    <a:lnTo>
                      <a:pt x="2156" y="724"/>
                    </a:lnTo>
                    <a:lnTo>
                      <a:pt x="2154" y="718"/>
                    </a:lnTo>
                    <a:lnTo>
                      <a:pt x="2152" y="716"/>
                    </a:lnTo>
                    <a:lnTo>
                      <a:pt x="2148" y="716"/>
                    </a:lnTo>
                    <a:lnTo>
                      <a:pt x="2148" y="716"/>
                    </a:lnTo>
                    <a:lnTo>
                      <a:pt x="2146" y="718"/>
                    </a:lnTo>
                    <a:lnTo>
                      <a:pt x="2146" y="722"/>
                    </a:lnTo>
                    <a:lnTo>
                      <a:pt x="2148" y="726"/>
                    </a:lnTo>
                    <a:lnTo>
                      <a:pt x="2148" y="726"/>
                    </a:lnTo>
                    <a:lnTo>
                      <a:pt x="2152" y="736"/>
                    </a:lnTo>
                    <a:lnTo>
                      <a:pt x="2152" y="742"/>
                    </a:lnTo>
                    <a:lnTo>
                      <a:pt x="2152" y="746"/>
                    </a:lnTo>
                    <a:lnTo>
                      <a:pt x="2152" y="752"/>
                    </a:lnTo>
                    <a:lnTo>
                      <a:pt x="2152" y="752"/>
                    </a:lnTo>
                    <a:close/>
                    <a:moveTo>
                      <a:pt x="2196" y="758"/>
                    </a:moveTo>
                    <a:lnTo>
                      <a:pt x="2196" y="758"/>
                    </a:lnTo>
                    <a:lnTo>
                      <a:pt x="2202" y="754"/>
                    </a:lnTo>
                    <a:lnTo>
                      <a:pt x="2206" y="750"/>
                    </a:lnTo>
                    <a:lnTo>
                      <a:pt x="2208" y="748"/>
                    </a:lnTo>
                    <a:lnTo>
                      <a:pt x="2206" y="746"/>
                    </a:lnTo>
                    <a:lnTo>
                      <a:pt x="2206" y="746"/>
                    </a:lnTo>
                    <a:lnTo>
                      <a:pt x="2202" y="746"/>
                    </a:lnTo>
                    <a:lnTo>
                      <a:pt x="2198" y="748"/>
                    </a:lnTo>
                    <a:lnTo>
                      <a:pt x="2194" y="752"/>
                    </a:lnTo>
                    <a:lnTo>
                      <a:pt x="2194" y="754"/>
                    </a:lnTo>
                    <a:lnTo>
                      <a:pt x="2196" y="758"/>
                    </a:lnTo>
                    <a:lnTo>
                      <a:pt x="2196" y="758"/>
                    </a:lnTo>
                    <a:close/>
                    <a:moveTo>
                      <a:pt x="2206" y="798"/>
                    </a:moveTo>
                    <a:lnTo>
                      <a:pt x="2206" y="798"/>
                    </a:lnTo>
                    <a:lnTo>
                      <a:pt x="2210" y="800"/>
                    </a:lnTo>
                    <a:lnTo>
                      <a:pt x="2214" y="800"/>
                    </a:lnTo>
                    <a:lnTo>
                      <a:pt x="2216" y="798"/>
                    </a:lnTo>
                    <a:lnTo>
                      <a:pt x="2216" y="792"/>
                    </a:lnTo>
                    <a:lnTo>
                      <a:pt x="2216" y="792"/>
                    </a:lnTo>
                    <a:lnTo>
                      <a:pt x="2216" y="790"/>
                    </a:lnTo>
                    <a:lnTo>
                      <a:pt x="2214" y="788"/>
                    </a:lnTo>
                    <a:lnTo>
                      <a:pt x="2208" y="790"/>
                    </a:lnTo>
                    <a:lnTo>
                      <a:pt x="2204" y="794"/>
                    </a:lnTo>
                    <a:lnTo>
                      <a:pt x="2204" y="796"/>
                    </a:lnTo>
                    <a:lnTo>
                      <a:pt x="2206" y="798"/>
                    </a:lnTo>
                    <a:lnTo>
                      <a:pt x="2206" y="798"/>
                    </a:lnTo>
                    <a:close/>
                    <a:moveTo>
                      <a:pt x="1762" y="382"/>
                    </a:moveTo>
                    <a:lnTo>
                      <a:pt x="1762" y="382"/>
                    </a:lnTo>
                    <a:lnTo>
                      <a:pt x="1762" y="386"/>
                    </a:lnTo>
                    <a:lnTo>
                      <a:pt x="1764" y="392"/>
                    </a:lnTo>
                    <a:lnTo>
                      <a:pt x="1768" y="394"/>
                    </a:lnTo>
                    <a:lnTo>
                      <a:pt x="1770" y="394"/>
                    </a:lnTo>
                    <a:lnTo>
                      <a:pt x="1772" y="392"/>
                    </a:lnTo>
                    <a:lnTo>
                      <a:pt x="1772" y="392"/>
                    </a:lnTo>
                    <a:lnTo>
                      <a:pt x="1774" y="390"/>
                    </a:lnTo>
                    <a:lnTo>
                      <a:pt x="1772" y="386"/>
                    </a:lnTo>
                    <a:lnTo>
                      <a:pt x="1770" y="382"/>
                    </a:lnTo>
                    <a:lnTo>
                      <a:pt x="1766" y="378"/>
                    </a:lnTo>
                    <a:lnTo>
                      <a:pt x="1764" y="380"/>
                    </a:lnTo>
                    <a:lnTo>
                      <a:pt x="1762" y="382"/>
                    </a:lnTo>
                    <a:lnTo>
                      <a:pt x="1762" y="382"/>
                    </a:lnTo>
                    <a:close/>
                    <a:moveTo>
                      <a:pt x="1786" y="386"/>
                    </a:moveTo>
                    <a:lnTo>
                      <a:pt x="1786" y="386"/>
                    </a:lnTo>
                    <a:lnTo>
                      <a:pt x="1784" y="386"/>
                    </a:lnTo>
                    <a:lnTo>
                      <a:pt x="1780" y="388"/>
                    </a:lnTo>
                    <a:lnTo>
                      <a:pt x="1776" y="396"/>
                    </a:lnTo>
                    <a:lnTo>
                      <a:pt x="1776" y="402"/>
                    </a:lnTo>
                    <a:lnTo>
                      <a:pt x="1778" y="404"/>
                    </a:lnTo>
                    <a:lnTo>
                      <a:pt x="1780" y="404"/>
                    </a:lnTo>
                    <a:lnTo>
                      <a:pt x="1780" y="404"/>
                    </a:lnTo>
                    <a:lnTo>
                      <a:pt x="1784" y="402"/>
                    </a:lnTo>
                    <a:lnTo>
                      <a:pt x="1788" y="404"/>
                    </a:lnTo>
                    <a:lnTo>
                      <a:pt x="1790" y="410"/>
                    </a:lnTo>
                    <a:lnTo>
                      <a:pt x="1794" y="414"/>
                    </a:lnTo>
                    <a:lnTo>
                      <a:pt x="1794" y="414"/>
                    </a:lnTo>
                    <a:lnTo>
                      <a:pt x="1796" y="416"/>
                    </a:lnTo>
                    <a:lnTo>
                      <a:pt x="1800" y="412"/>
                    </a:lnTo>
                    <a:lnTo>
                      <a:pt x="1798" y="408"/>
                    </a:lnTo>
                    <a:lnTo>
                      <a:pt x="1794" y="402"/>
                    </a:lnTo>
                    <a:lnTo>
                      <a:pt x="1794" y="402"/>
                    </a:lnTo>
                    <a:lnTo>
                      <a:pt x="1790" y="396"/>
                    </a:lnTo>
                    <a:lnTo>
                      <a:pt x="1790" y="392"/>
                    </a:lnTo>
                    <a:lnTo>
                      <a:pt x="1790" y="390"/>
                    </a:lnTo>
                    <a:lnTo>
                      <a:pt x="1786" y="386"/>
                    </a:lnTo>
                    <a:lnTo>
                      <a:pt x="1786" y="386"/>
                    </a:lnTo>
                    <a:close/>
                    <a:moveTo>
                      <a:pt x="1754" y="340"/>
                    </a:moveTo>
                    <a:lnTo>
                      <a:pt x="1754" y="340"/>
                    </a:lnTo>
                    <a:lnTo>
                      <a:pt x="1758" y="346"/>
                    </a:lnTo>
                    <a:lnTo>
                      <a:pt x="1766" y="354"/>
                    </a:lnTo>
                    <a:lnTo>
                      <a:pt x="1776" y="360"/>
                    </a:lnTo>
                    <a:lnTo>
                      <a:pt x="1780" y="360"/>
                    </a:lnTo>
                    <a:lnTo>
                      <a:pt x="1784" y="360"/>
                    </a:lnTo>
                    <a:lnTo>
                      <a:pt x="1784" y="360"/>
                    </a:lnTo>
                    <a:lnTo>
                      <a:pt x="1788" y="358"/>
                    </a:lnTo>
                    <a:lnTo>
                      <a:pt x="1788" y="358"/>
                    </a:lnTo>
                    <a:lnTo>
                      <a:pt x="1784" y="356"/>
                    </a:lnTo>
                    <a:lnTo>
                      <a:pt x="1776" y="352"/>
                    </a:lnTo>
                    <a:lnTo>
                      <a:pt x="1774" y="348"/>
                    </a:lnTo>
                    <a:lnTo>
                      <a:pt x="1772" y="344"/>
                    </a:lnTo>
                    <a:lnTo>
                      <a:pt x="1772" y="344"/>
                    </a:lnTo>
                    <a:lnTo>
                      <a:pt x="1768" y="336"/>
                    </a:lnTo>
                    <a:lnTo>
                      <a:pt x="1764" y="332"/>
                    </a:lnTo>
                    <a:lnTo>
                      <a:pt x="1746" y="320"/>
                    </a:lnTo>
                    <a:lnTo>
                      <a:pt x="1746" y="320"/>
                    </a:lnTo>
                    <a:lnTo>
                      <a:pt x="1742" y="318"/>
                    </a:lnTo>
                    <a:lnTo>
                      <a:pt x="1740" y="320"/>
                    </a:lnTo>
                    <a:lnTo>
                      <a:pt x="1742" y="328"/>
                    </a:lnTo>
                    <a:lnTo>
                      <a:pt x="1742" y="328"/>
                    </a:lnTo>
                    <a:lnTo>
                      <a:pt x="1744" y="332"/>
                    </a:lnTo>
                    <a:lnTo>
                      <a:pt x="1748" y="334"/>
                    </a:lnTo>
                    <a:lnTo>
                      <a:pt x="1752" y="336"/>
                    </a:lnTo>
                    <a:lnTo>
                      <a:pt x="1754" y="340"/>
                    </a:lnTo>
                    <a:lnTo>
                      <a:pt x="1754" y="340"/>
                    </a:lnTo>
                    <a:close/>
                    <a:moveTo>
                      <a:pt x="1744" y="368"/>
                    </a:moveTo>
                    <a:lnTo>
                      <a:pt x="1744" y="368"/>
                    </a:lnTo>
                    <a:lnTo>
                      <a:pt x="1744" y="374"/>
                    </a:lnTo>
                    <a:lnTo>
                      <a:pt x="1748" y="378"/>
                    </a:lnTo>
                    <a:lnTo>
                      <a:pt x="1752" y="382"/>
                    </a:lnTo>
                    <a:lnTo>
                      <a:pt x="1754" y="380"/>
                    </a:lnTo>
                    <a:lnTo>
                      <a:pt x="1756" y="380"/>
                    </a:lnTo>
                    <a:lnTo>
                      <a:pt x="1756" y="380"/>
                    </a:lnTo>
                    <a:lnTo>
                      <a:pt x="1758" y="376"/>
                    </a:lnTo>
                    <a:lnTo>
                      <a:pt x="1758" y="374"/>
                    </a:lnTo>
                    <a:lnTo>
                      <a:pt x="1752" y="368"/>
                    </a:lnTo>
                    <a:lnTo>
                      <a:pt x="1746" y="366"/>
                    </a:lnTo>
                    <a:lnTo>
                      <a:pt x="1744" y="366"/>
                    </a:lnTo>
                    <a:lnTo>
                      <a:pt x="1744" y="368"/>
                    </a:lnTo>
                    <a:lnTo>
                      <a:pt x="1744" y="368"/>
                    </a:lnTo>
                    <a:close/>
                    <a:moveTo>
                      <a:pt x="1802" y="416"/>
                    </a:moveTo>
                    <a:lnTo>
                      <a:pt x="1802" y="416"/>
                    </a:lnTo>
                    <a:lnTo>
                      <a:pt x="1800" y="420"/>
                    </a:lnTo>
                    <a:lnTo>
                      <a:pt x="1800" y="424"/>
                    </a:lnTo>
                    <a:lnTo>
                      <a:pt x="1804" y="426"/>
                    </a:lnTo>
                    <a:lnTo>
                      <a:pt x="1810" y="424"/>
                    </a:lnTo>
                    <a:lnTo>
                      <a:pt x="1810" y="424"/>
                    </a:lnTo>
                    <a:lnTo>
                      <a:pt x="1810" y="422"/>
                    </a:lnTo>
                    <a:lnTo>
                      <a:pt x="1812" y="420"/>
                    </a:lnTo>
                    <a:lnTo>
                      <a:pt x="1810" y="416"/>
                    </a:lnTo>
                    <a:lnTo>
                      <a:pt x="1806" y="414"/>
                    </a:lnTo>
                    <a:lnTo>
                      <a:pt x="1804" y="414"/>
                    </a:lnTo>
                    <a:lnTo>
                      <a:pt x="1802" y="416"/>
                    </a:lnTo>
                    <a:lnTo>
                      <a:pt x="1802" y="416"/>
                    </a:lnTo>
                    <a:close/>
                    <a:moveTo>
                      <a:pt x="1858" y="386"/>
                    </a:moveTo>
                    <a:lnTo>
                      <a:pt x="1858" y="386"/>
                    </a:lnTo>
                    <a:lnTo>
                      <a:pt x="1848" y="382"/>
                    </a:lnTo>
                    <a:lnTo>
                      <a:pt x="1844" y="378"/>
                    </a:lnTo>
                    <a:lnTo>
                      <a:pt x="1840" y="374"/>
                    </a:lnTo>
                    <a:lnTo>
                      <a:pt x="1832" y="368"/>
                    </a:lnTo>
                    <a:lnTo>
                      <a:pt x="1832" y="368"/>
                    </a:lnTo>
                    <a:lnTo>
                      <a:pt x="1828" y="366"/>
                    </a:lnTo>
                    <a:lnTo>
                      <a:pt x="1826" y="368"/>
                    </a:lnTo>
                    <a:lnTo>
                      <a:pt x="1828" y="378"/>
                    </a:lnTo>
                    <a:lnTo>
                      <a:pt x="1828" y="378"/>
                    </a:lnTo>
                    <a:lnTo>
                      <a:pt x="1830" y="382"/>
                    </a:lnTo>
                    <a:lnTo>
                      <a:pt x="1834" y="386"/>
                    </a:lnTo>
                    <a:lnTo>
                      <a:pt x="1848" y="394"/>
                    </a:lnTo>
                    <a:lnTo>
                      <a:pt x="1864" y="404"/>
                    </a:lnTo>
                    <a:lnTo>
                      <a:pt x="1878" y="414"/>
                    </a:lnTo>
                    <a:lnTo>
                      <a:pt x="1878" y="414"/>
                    </a:lnTo>
                    <a:lnTo>
                      <a:pt x="1880" y="416"/>
                    </a:lnTo>
                    <a:lnTo>
                      <a:pt x="1882" y="416"/>
                    </a:lnTo>
                    <a:lnTo>
                      <a:pt x="1878" y="408"/>
                    </a:lnTo>
                    <a:lnTo>
                      <a:pt x="1870" y="396"/>
                    </a:lnTo>
                    <a:lnTo>
                      <a:pt x="1864" y="390"/>
                    </a:lnTo>
                    <a:lnTo>
                      <a:pt x="1858" y="386"/>
                    </a:lnTo>
                    <a:lnTo>
                      <a:pt x="1858" y="386"/>
                    </a:lnTo>
                    <a:close/>
                    <a:moveTo>
                      <a:pt x="1882" y="456"/>
                    </a:moveTo>
                    <a:lnTo>
                      <a:pt x="1882" y="456"/>
                    </a:lnTo>
                    <a:lnTo>
                      <a:pt x="1876" y="450"/>
                    </a:lnTo>
                    <a:lnTo>
                      <a:pt x="1872" y="450"/>
                    </a:lnTo>
                    <a:lnTo>
                      <a:pt x="1870" y="454"/>
                    </a:lnTo>
                    <a:lnTo>
                      <a:pt x="1870" y="462"/>
                    </a:lnTo>
                    <a:lnTo>
                      <a:pt x="1870" y="462"/>
                    </a:lnTo>
                    <a:lnTo>
                      <a:pt x="1870" y="468"/>
                    </a:lnTo>
                    <a:lnTo>
                      <a:pt x="1876" y="474"/>
                    </a:lnTo>
                    <a:lnTo>
                      <a:pt x="1882" y="478"/>
                    </a:lnTo>
                    <a:lnTo>
                      <a:pt x="1892" y="478"/>
                    </a:lnTo>
                    <a:lnTo>
                      <a:pt x="1892" y="478"/>
                    </a:lnTo>
                    <a:lnTo>
                      <a:pt x="1900" y="476"/>
                    </a:lnTo>
                    <a:lnTo>
                      <a:pt x="1900" y="478"/>
                    </a:lnTo>
                    <a:lnTo>
                      <a:pt x="1902" y="480"/>
                    </a:lnTo>
                    <a:lnTo>
                      <a:pt x="1912" y="482"/>
                    </a:lnTo>
                    <a:lnTo>
                      <a:pt x="1912" y="482"/>
                    </a:lnTo>
                    <a:lnTo>
                      <a:pt x="1916" y="482"/>
                    </a:lnTo>
                    <a:lnTo>
                      <a:pt x="1920" y="482"/>
                    </a:lnTo>
                    <a:lnTo>
                      <a:pt x="1920" y="480"/>
                    </a:lnTo>
                    <a:lnTo>
                      <a:pt x="1918" y="476"/>
                    </a:lnTo>
                    <a:lnTo>
                      <a:pt x="1914" y="468"/>
                    </a:lnTo>
                    <a:lnTo>
                      <a:pt x="1906" y="460"/>
                    </a:lnTo>
                    <a:lnTo>
                      <a:pt x="1906" y="460"/>
                    </a:lnTo>
                    <a:lnTo>
                      <a:pt x="1902" y="458"/>
                    </a:lnTo>
                    <a:lnTo>
                      <a:pt x="1900" y="456"/>
                    </a:lnTo>
                    <a:lnTo>
                      <a:pt x="1892" y="456"/>
                    </a:lnTo>
                    <a:lnTo>
                      <a:pt x="1886" y="458"/>
                    </a:lnTo>
                    <a:lnTo>
                      <a:pt x="1884" y="456"/>
                    </a:lnTo>
                    <a:lnTo>
                      <a:pt x="1882" y="456"/>
                    </a:lnTo>
                    <a:lnTo>
                      <a:pt x="1882" y="456"/>
                    </a:lnTo>
                    <a:close/>
                    <a:moveTo>
                      <a:pt x="1884" y="560"/>
                    </a:moveTo>
                    <a:lnTo>
                      <a:pt x="1884" y="560"/>
                    </a:lnTo>
                    <a:lnTo>
                      <a:pt x="1886" y="564"/>
                    </a:lnTo>
                    <a:lnTo>
                      <a:pt x="1894" y="570"/>
                    </a:lnTo>
                    <a:lnTo>
                      <a:pt x="1902" y="576"/>
                    </a:lnTo>
                    <a:lnTo>
                      <a:pt x="1906" y="576"/>
                    </a:lnTo>
                    <a:lnTo>
                      <a:pt x="1910" y="576"/>
                    </a:lnTo>
                    <a:lnTo>
                      <a:pt x="1910" y="576"/>
                    </a:lnTo>
                    <a:lnTo>
                      <a:pt x="1910" y="574"/>
                    </a:lnTo>
                    <a:lnTo>
                      <a:pt x="1908" y="570"/>
                    </a:lnTo>
                    <a:lnTo>
                      <a:pt x="1900" y="562"/>
                    </a:lnTo>
                    <a:lnTo>
                      <a:pt x="1890" y="558"/>
                    </a:lnTo>
                    <a:lnTo>
                      <a:pt x="1886" y="558"/>
                    </a:lnTo>
                    <a:lnTo>
                      <a:pt x="1884" y="560"/>
                    </a:lnTo>
                    <a:lnTo>
                      <a:pt x="1884" y="560"/>
                    </a:lnTo>
                    <a:close/>
                    <a:moveTo>
                      <a:pt x="1966" y="508"/>
                    </a:moveTo>
                    <a:lnTo>
                      <a:pt x="1966" y="508"/>
                    </a:lnTo>
                    <a:lnTo>
                      <a:pt x="1958" y="506"/>
                    </a:lnTo>
                    <a:lnTo>
                      <a:pt x="1950" y="502"/>
                    </a:lnTo>
                    <a:lnTo>
                      <a:pt x="1942" y="498"/>
                    </a:lnTo>
                    <a:lnTo>
                      <a:pt x="1938" y="498"/>
                    </a:lnTo>
                    <a:lnTo>
                      <a:pt x="1936" y="500"/>
                    </a:lnTo>
                    <a:lnTo>
                      <a:pt x="1936" y="500"/>
                    </a:lnTo>
                    <a:lnTo>
                      <a:pt x="1934" y="500"/>
                    </a:lnTo>
                    <a:lnTo>
                      <a:pt x="1934" y="502"/>
                    </a:lnTo>
                    <a:lnTo>
                      <a:pt x="1938" y="504"/>
                    </a:lnTo>
                    <a:lnTo>
                      <a:pt x="1942" y="506"/>
                    </a:lnTo>
                    <a:lnTo>
                      <a:pt x="1944" y="510"/>
                    </a:lnTo>
                    <a:lnTo>
                      <a:pt x="1944" y="512"/>
                    </a:lnTo>
                    <a:lnTo>
                      <a:pt x="1944" y="512"/>
                    </a:lnTo>
                    <a:lnTo>
                      <a:pt x="1946" y="516"/>
                    </a:lnTo>
                    <a:lnTo>
                      <a:pt x="1948" y="518"/>
                    </a:lnTo>
                    <a:lnTo>
                      <a:pt x="1956" y="524"/>
                    </a:lnTo>
                    <a:lnTo>
                      <a:pt x="1966" y="528"/>
                    </a:lnTo>
                    <a:lnTo>
                      <a:pt x="1974" y="528"/>
                    </a:lnTo>
                    <a:lnTo>
                      <a:pt x="1974" y="528"/>
                    </a:lnTo>
                    <a:lnTo>
                      <a:pt x="1976" y="528"/>
                    </a:lnTo>
                    <a:lnTo>
                      <a:pt x="1978" y="526"/>
                    </a:lnTo>
                    <a:lnTo>
                      <a:pt x="1976" y="518"/>
                    </a:lnTo>
                    <a:lnTo>
                      <a:pt x="1972" y="512"/>
                    </a:lnTo>
                    <a:lnTo>
                      <a:pt x="1968" y="510"/>
                    </a:lnTo>
                    <a:lnTo>
                      <a:pt x="1966" y="508"/>
                    </a:lnTo>
                    <a:lnTo>
                      <a:pt x="1966" y="508"/>
                    </a:lnTo>
                    <a:close/>
                    <a:moveTo>
                      <a:pt x="2174" y="784"/>
                    </a:moveTo>
                    <a:lnTo>
                      <a:pt x="2174" y="784"/>
                    </a:lnTo>
                    <a:lnTo>
                      <a:pt x="2174" y="788"/>
                    </a:lnTo>
                    <a:lnTo>
                      <a:pt x="2180" y="792"/>
                    </a:lnTo>
                    <a:lnTo>
                      <a:pt x="2180" y="792"/>
                    </a:lnTo>
                    <a:lnTo>
                      <a:pt x="2182" y="794"/>
                    </a:lnTo>
                    <a:lnTo>
                      <a:pt x="2184" y="798"/>
                    </a:lnTo>
                    <a:lnTo>
                      <a:pt x="2186" y="804"/>
                    </a:lnTo>
                    <a:lnTo>
                      <a:pt x="2188" y="808"/>
                    </a:lnTo>
                    <a:lnTo>
                      <a:pt x="2192" y="808"/>
                    </a:lnTo>
                    <a:lnTo>
                      <a:pt x="2196" y="808"/>
                    </a:lnTo>
                    <a:lnTo>
                      <a:pt x="2196" y="808"/>
                    </a:lnTo>
                    <a:lnTo>
                      <a:pt x="2198" y="806"/>
                    </a:lnTo>
                    <a:lnTo>
                      <a:pt x="2198" y="800"/>
                    </a:lnTo>
                    <a:lnTo>
                      <a:pt x="2196" y="794"/>
                    </a:lnTo>
                    <a:lnTo>
                      <a:pt x="2190" y="788"/>
                    </a:lnTo>
                    <a:lnTo>
                      <a:pt x="2186" y="784"/>
                    </a:lnTo>
                    <a:lnTo>
                      <a:pt x="2180" y="780"/>
                    </a:lnTo>
                    <a:lnTo>
                      <a:pt x="2176" y="780"/>
                    </a:lnTo>
                    <a:lnTo>
                      <a:pt x="2174" y="784"/>
                    </a:lnTo>
                    <a:lnTo>
                      <a:pt x="2174" y="784"/>
                    </a:lnTo>
                    <a:close/>
                    <a:moveTo>
                      <a:pt x="1938" y="458"/>
                    </a:moveTo>
                    <a:lnTo>
                      <a:pt x="1938" y="458"/>
                    </a:lnTo>
                    <a:lnTo>
                      <a:pt x="1938" y="454"/>
                    </a:lnTo>
                    <a:lnTo>
                      <a:pt x="1938" y="448"/>
                    </a:lnTo>
                    <a:lnTo>
                      <a:pt x="1936" y="444"/>
                    </a:lnTo>
                    <a:lnTo>
                      <a:pt x="1930" y="438"/>
                    </a:lnTo>
                    <a:lnTo>
                      <a:pt x="1930" y="438"/>
                    </a:lnTo>
                    <a:lnTo>
                      <a:pt x="1928" y="434"/>
                    </a:lnTo>
                    <a:lnTo>
                      <a:pt x="1926" y="428"/>
                    </a:lnTo>
                    <a:lnTo>
                      <a:pt x="1922" y="420"/>
                    </a:lnTo>
                    <a:lnTo>
                      <a:pt x="1920" y="410"/>
                    </a:lnTo>
                    <a:lnTo>
                      <a:pt x="1916" y="408"/>
                    </a:lnTo>
                    <a:lnTo>
                      <a:pt x="1910" y="406"/>
                    </a:lnTo>
                    <a:lnTo>
                      <a:pt x="1910" y="406"/>
                    </a:lnTo>
                    <a:lnTo>
                      <a:pt x="1908" y="404"/>
                    </a:lnTo>
                    <a:lnTo>
                      <a:pt x="1906" y="406"/>
                    </a:lnTo>
                    <a:lnTo>
                      <a:pt x="1906" y="412"/>
                    </a:lnTo>
                    <a:lnTo>
                      <a:pt x="1912" y="422"/>
                    </a:lnTo>
                    <a:lnTo>
                      <a:pt x="1916" y="440"/>
                    </a:lnTo>
                    <a:lnTo>
                      <a:pt x="1916" y="440"/>
                    </a:lnTo>
                    <a:lnTo>
                      <a:pt x="1918" y="446"/>
                    </a:lnTo>
                    <a:lnTo>
                      <a:pt x="1920" y="448"/>
                    </a:lnTo>
                    <a:lnTo>
                      <a:pt x="1926" y="452"/>
                    </a:lnTo>
                    <a:lnTo>
                      <a:pt x="1930" y="460"/>
                    </a:lnTo>
                    <a:lnTo>
                      <a:pt x="1930" y="460"/>
                    </a:lnTo>
                    <a:lnTo>
                      <a:pt x="1936" y="466"/>
                    </a:lnTo>
                    <a:lnTo>
                      <a:pt x="1940" y="470"/>
                    </a:lnTo>
                    <a:lnTo>
                      <a:pt x="1942" y="468"/>
                    </a:lnTo>
                    <a:lnTo>
                      <a:pt x="1942" y="468"/>
                    </a:lnTo>
                    <a:lnTo>
                      <a:pt x="1938" y="458"/>
                    </a:lnTo>
                    <a:lnTo>
                      <a:pt x="1938" y="458"/>
                    </a:lnTo>
                    <a:close/>
                    <a:moveTo>
                      <a:pt x="2456" y="2102"/>
                    </a:moveTo>
                    <a:lnTo>
                      <a:pt x="2456" y="2102"/>
                    </a:lnTo>
                    <a:lnTo>
                      <a:pt x="2460" y="2096"/>
                    </a:lnTo>
                    <a:lnTo>
                      <a:pt x="2460" y="2090"/>
                    </a:lnTo>
                    <a:lnTo>
                      <a:pt x="2458" y="2084"/>
                    </a:lnTo>
                    <a:lnTo>
                      <a:pt x="2456" y="2082"/>
                    </a:lnTo>
                    <a:lnTo>
                      <a:pt x="2450" y="2082"/>
                    </a:lnTo>
                    <a:lnTo>
                      <a:pt x="2442" y="2084"/>
                    </a:lnTo>
                    <a:lnTo>
                      <a:pt x="2434" y="2088"/>
                    </a:lnTo>
                    <a:lnTo>
                      <a:pt x="2426" y="2094"/>
                    </a:lnTo>
                    <a:lnTo>
                      <a:pt x="2426" y="2094"/>
                    </a:lnTo>
                    <a:lnTo>
                      <a:pt x="2418" y="2100"/>
                    </a:lnTo>
                    <a:lnTo>
                      <a:pt x="2412" y="2100"/>
                    </a:lnTo>
                    <a:lnTo>
                      <a:pt x="2410" y="2098"/>
                    </a:lnTo>
                    <a:lnTo>
                      <a:pt x="2410" y="2094"/>
                    </a:lnTo>
                    <a:lnTo>
                      <a:pt x="2410" y="2080"/>
                    </a:lnTo>
                    <a:lnTo>
                      <a:pt x="2410" y="2076"/>
                    </a:lnTo>
                    <a:lnTo>
                      <a:pt x="2408" y="2074"/>
                    </a:lnTo>
                    <a:lnTo>
                      <a:pt x="2408" y="2074"/>
                    </a:lnTo>
                    <a:lnTo>
                      <a:pt x="2400" y="2072"/>
                    </a:lnTo>
                    <a:lnTo>
                      <a:pt x="2398" y="2070"/>
                    </a:lnTo>
                    <a:lnTo>
                      <a:pt x="2398" y="2068"/>
                    </a:lnTo>
                    <a:lnTo>
                      <a:pt x="2404" y="2064"/>
                    </a:lnTo>
                    <a:lnTo>
                      <a:pt x="2404" y="2064"/>
                    </a:lnTo>
                    <a:lnTo>
                      <a:pt x="2408" y="2062"/>
                    </a:lnTo>
                    <a:lnTo>
                      <a:pt x="2408" y="2058"/>
                    </a:lnTo>
                    <a:lnTo>
                      <a:pt x="2408" y="2056"/>
                    </a:lnTo>
                    <a:lnTo>
                      <a:pt x="2404" y="2054"/>
                    </a:lnTo>
                    <a:lnTo>
                      <a:pt x="2400" y="2054"/>
                    </a:lnTo>
                    <a:lnTo>
                      <a:pt x="2396" y="2056"/>
                    </a:lnTo>
                    <a:lnTo>
                      <a:pt x="2388" y="2060"/>
                    </a:lnTo>
                    <a:lnTo>
                      <a:pt x="2380" y="2068"/>
                    </a:lnTo>
                    <a:lnTo>
                      <a:pt x="2380" y="2068"/>
                    </a:lnTo>
                    <a:lnTo>
                      <a:pt x="2376" y="2074"/>
                    </a:lnTo>
                    <a:lnTo>
                      <a:pt x="2374" y="2080"/>
                    </a:lnTo>
                    <a:lnTo>
                      <a:pt x="2374" y="2096"/>
                    </a:lnTo>
                    <a:lnTo>
                      <a:pt x="2372" y="2104"/>
                    </a:lnTo>
                    <a:lnTo>
                      <a:pt x="2370" y="2110"/>
                    </a:lnTo>
                    <a:lnTo>
                      <a:pt x="2366" y="2116"/>
                    </a:lnTo>
                    <a:lnTo>
                      <a:pt x="2358" y="2120"/>
                    </a:lnTo>
                    <a:lnTo>
                      <a:pt x="2358" y="2120"/>
                    </a:lnTo>
                    <a:lnTo>
                      <a:pt x="2352" y="2126"/>
                    </a:lnTo>
                    <a:lnTo>
                      <a:pt x="2346" y="2134"/>
                    </a:lnTo>
                    <a:lnTo>
                      <a:pt x="2336" y="2156"/>
                    </a:lnTo>
                    <a:lnTo>
                      <a:pt x="2324" y="2180"/>
                    </a:lnTo>
                    <a:lnTo>
                      <a:pt x="2318" y="2190"/>
                    </a:lnTo>
                    <a:lnTo>
                      <a:pt x="2310" y="2196"/>
                    </a:lnTo>
                    <a:lnTo>
                      <a:pt x="2310" y="2196"/>
                    </a:lnTo>
                    <a:lnTo>
                      <a:pt x="2298" y="2206"/>
                    </a:lnTo>
                    <a:lnTo>
                      <a:pt x="2286" y="2218"/>
                    </a:lnTo>
                    <a:lnTo>
                      <a:pt x="2274" y="2228"/>
                    </a:lnTo>
                    <a:lnTo>
                      <a:pt x="2270" y="2230"/>
                    </a:lnTo>
                    <a:lnTo>
                      <a:pt x="2264" y="2232"/>
                    </a:lnTo>
                    <a:lnTo>
                      <a:pt x="2264" y="2232"/>
                    </a:lnTo>
                    <a:lnTo>
                      <a:pt x="2260" y="2234"/>
                    </a:lnTo>
                    <a:lnTo>
                      <a:pt x="2256" y="2236"/>
                    </a:lnTo>
                    <a:lnTo>
                      <a:pt x="2250" y="2242"/>
                    </a:lnTo>
                    <a:lnTo>
                      <a:pt x="2246" y="2248"/>
                    </a:lnTo>
                    <a:lnTo>
                      <a:pt x="2242" y="2250"/>
                    </a:lnTo>
                    <a:lnTo>
                      <a:pt x="2236" y="2250"/>
                    </a:lnTo>
                    <a:lnTo>
                      <a:pt x="2236" y="2250"/>
                    </a:lnTo>
                    <a:lnTo>
                      <a:pt x="2228" y="2250"/>
                    </a:lnTo>
                    <a:lnTo>
                      <a:pt x="2222" y="2254"/>
                    </a:lnTo>
                    <a:lnTo>
                      <a:pt x="2216" y="2260"/>
                    </a:lnTo>
                    <a:lnTo>
                      <a:pt x="2210" y="2266"/>
                    </a:lnTo>
                    <a:lnTo>
                      <a:pt x="2200" y="2282"/>
                    </a:lnTo>
                    <a:lnTo>
                      <a:pt x="2186" y="2298"/>
                    </a:lnTo>
                    <a:lnTo>
                      <a:pt x="2186" y="2298"/>
                    </a:lnTo>
                    <a:lnTo>
                      <a:pt x="2174" y="2310"/>
                    </a:lnTo>
                    <a:lnTo>
                      <a:pt x="2162" y="2322"/>
                    </a:lnTo>
                    <a:lnTo>
                      <a:pt x="2160" y="2328"/>
                    </a:lnTo>
                    <a:lnTo>
                      <a:pt x="2156" y="2334"/>
                    </a:lnTo>
                    <a:lnTo>
                      <a:pt x="2156" y="2338"/>
                    </a:lnTo>
                    <a:lnTo>
                      <a:pt x="2158" y="2344"/>
                    </a:lnTo>
                    <a:lnTo>
                      <a:pt x="2158" y="2344"/>
                    </a:lnTo>
                    <a:lnTo>
                      <a:pt x="2160" y="2348"/>
                    </a:lnTo>
                    <a:lnTo>
                      <a:pt x="2158" y="2352"/>
                    </a:lnTo>
                    <a:lnTo>
                      <a:pt x="2152" y="2356"/>
                    </a:lnTo>
                    <a:lnTo>
                      <a:pt x="2146" y="2360"/>
                    </a:lnTo>
                    <a:lnTo>
                      <a:pt x="2146" y="2362"/>
                    </a:lnTo>
                    <a:lnTo>
                      <a:pt x="2146" y="2368"/>
                    </a:lnTo>
                    <a:lnTo>
                      <a:pt x="2146" y="2368"/>
                    </a:lnTo>
                    <a:lnTo>
                      <a:pt x="2152" y="2376"/>
                    </a:lnTo>
                    <a:lnTo>
                      <a:pt x="2162" y="2382"/>
                    </a:lnTo>
                    <a:lnTo>
                      <a:pt x="2168" y="2384"/>
                    </a:lnTo>
                    <a:lnTo>
                      <a:pt x="2172" y="2384"/>
                    </a:lnTo>
                    <a:lnTo>
                      <a:pt x="2178" y="2382"/>
                    </a:lnTo>
                    <a:lnTo>
                      <a:pt x="2184" y="2378"/>
                    </a:lnTo>
                    <a:lnTo>
                      <a:pt x="2184" y="2378"/>
                    </a:lnTo>
                    <a:lnTo>
                      <a:pt x="2190" y="2376"/>
                    </a:lnTo>
                    <a:lnTo>
                      <a:pt x="2192" y="2374"/>
                    </a:lnTo>
                    <a:lnTo>
                      <a:pt x="2194" y="2376"/>
                    </a:lnTo>
                    <a:lnTo>
                      <a:pt x="2196" y="2378"/>
                    </a:lnTo>
                    <a:lnTo>
                      <a:pt x="2200" y="2384"/>
                    </a:lnTo>
                    <a:lnTo>
                      <a:pt x="2202" y="2386"/>
                    </a:lnTo>
                    <a:lnTo>
                      <a:pt x="2208" y="2386"/>
                    </a:lnTo>
                    <a:lnTo>
                      <a:pt x="2208" y="2386"/>
                    </a:lnTo>
                    <a:lnTo>
                      <a:pt x="2212" y="2386"/>
                    </a:lnTo>
                    <a:lnTo>
                      <a:pt x="2216" y="2388"/>
                    </a:lnTo>
                    <a:lnTo>
                      <a:pt x="2218" y="2392"/>
                    </a:lnTo>
                    <a:lnTo>
                      <a:pt x="2218" y="2396"/>
                    </a:lnTo>
                    <a:lnTo>
                      <a:pt x="2220" y="2398"/>
                    </a:lnTo>
                    <a:lnTo>
                      <a:pt x="2224" y="2402"/>
                    </a:lnTo>
                    <a:lnTo>
                      <a:pt x="2232" y="2402"/>
                    </a:lnTo>
                    <a:lnTo>
                      <a:pt x="2232" y="2402"/>
                    </a:lnTo>
                    <a:lnTo>
                      <a:pt x="2248" y="2404"/>
                    </a:lnTo>
                    <a:lnTo>
                      <a:pt x="2256" y="2404"/>
                    </a:lnTo>
                    <a:lnTo>
                      <a:pt x="2262" y="2404"/>
                    </a:lnTo>
                    <a:lnTo>
                      <a:pt x="2268" y="2402"/>
                    </a:lnTo>
                    <a:lnTo>
                      <a:pt x="2276" y="2398"/>
                    </a:lnTo>
                    <a:lnTo>
                      <a:pt x="2282" y="2390"/>
                    </a:lnTo>
                    <a:lnTo>
                      <a:pt x="2288" y="2380"/>
                    </a:lnTo>
                    <a:lnTo>
                      <a:pt x="2288" y="2380"/>
                    </a:lnTo>
                    <a:lnTo>
                      <a:pt x="2296" y="2372"/>
                    </a:lnTo>
                    <a:lnTo>
                      <a:pt x="2302" y="2366"/>
                    </a:lnTo>
                    <a:lnTo>
                      <a:pt x="2308" y="2362"/>
                    </a:lnTo>
                    <a:lnTo>
                      <a:pt x="2314" y="2360"/>
                    </a:lnTo>
                    <a:lnTo>
                      <a:pt x="2320" y="2358"/>
                    </a:lnTo>
                    <a:lnTo>
                      <a:pt x="2320" y="2356"/>
                    </a:lnTo>
                    <a:lnTo>
                      <a:pt x="2318" y="2352"/>
                    </a:lnTo>
                    <a:lnTo>
                      <a:pt x="2318" y="2352"/>
                    </a:lnTo>
                    <a:lnTo>
                      <a:pt x="2318" y="2346"/>
                    </a:lnTo>
                    <a:lnTo>
                      <a:pt x="2318" y="2340"/>
                    </a:lnTo>
                    <a:lnTo>
                      <a:pt x="2324" y="2328"/>
                    </a:lnTo>
                    <a:lnTo>
                      <a:pt x="2332" y="2312"/>
                    </a:lnTo>
                    <a:lnTo>
                      <a:pt x="2336" y="2300"/>
                    </a:lnTo>
                    <a:lnTo>
                      <a:pt x="2336" y="2288"/>
                    </a:lnTo>
                    <a:lnTo>
                      <a:pt x="2336" y="2288"/>
                    </a:lnTo>
                    <a:lnTo>
                      <a:pt x="2340" y="2276"/>
                    </a:lnTo>
                    <a:lnTo>
                      <a:pt x="2346" y="2266"/>
                    </a:lnTo>
                    <a:lnTo>
                      <a:pt x="2354" y="2258"/>
                    </a:lnTo>
                    <a:lnTo>
                      <a:pt x="2364" y="2252"/>
                    </a:lnTo>
                    <a:lnTo>
                      <a:pt x="2376" y="2248"/>
                    </a:lnTo>
                    <a:lnTo>
                      <a:pt x="2386" y="2246"/>
                    </a:lnTo>
                    <a:lnTo>
                      <a:pt x="2394" y="2244"/>
                    </a:lnTo>
                    <a:lnTo>
                      <a:pt x="2400" y="2246"/>
                    </a:lnTo>
                    <a:lnTo>
                      <a:pt x="2400" y="2246"/>
                    </a:lnTo>
                    <a:lnTo>
                      <a:pt x="2406" y="2246"/>
                    </a:lnTo>
                    <a:lnTo>
                      <a:pt x="2410" y="2246"/>
                    </a:lnTo>
                    <a:lnTo>
                      <a:pt x="2414" y="2244"/>
                    </a:lnTo>
                    <a:lnTo>
                      <a:pt x="2416" y="2242"/>
                    </a:lnTo>
                    <a:lnTo>
                      <a:pt x="2418" y="2238"/>
                    </a:lnTo>
                    <a:lnTo>
                      <a:pt x="2418" y="2236"/>
                    </a:lnTo>
                    <a:lnTo>
                      <a:pt x="2416" y="2232"/>
                    </a:lnTo>
                    <a:lnTo>
                      <a:pt x="2410" y="2230"/>
                    </a:lnTo>
                    <a:lnTo>
                      <a:pt x="2410" y="2230"/>
                    </a:lnTo>
                    <a:lnTo>
                      <a:pt x="2404" y="2228"/>
                    </a:lnTo>
                    <a:lnTo>
                      <a:pt x="2402" y="2224"/>
                    </a:lnTo>
                    <a:lnTo>
                      <a:pt x="2400" y="2218"/>
                    </a:lnTo>
                    <a:lnTo>
                      <a:pt x="2400" y="2214"/>
                    </a:lnTo>
                    <a:lnTo>
                      <a:pt x="2400" y="2208"/>
                    </a:lnTo>
                    <a:lnTo>
                      <a:pt x="2402" y="2204"/>
                    </a:lnTo>
                    <a:lnTo>
                      <a:pt x="2406" y="2200"/>
                    </a:lnTo>
                    <a:lnTo>
                      <a:pt x="2410" y="2198"/>
                    </a:lnTo>
                    <a:lnTo>
                      <a:pt x="2410" y="2198"/>
                    </a:lnTo>
                    <a:lnTo>
                      <a:pt x="2416" y="2196"/>
                    </a:lnTo>
                    <a:lnTo>
                      <a:pt x="2420" y="2192"/>
                    </a:lnTo>
                    <a:lnTo>
                      <a:pt x="2430" y="2178"/>
                    </a:lnTo>
                    <a:lnTo>
                      <a:pt x="2440" y="2160"/>
                    </a:lnTo>
                    <a:lnTo>
                      <a:pt x="2454" y="2138"/>
                    </a:lnTo>
                    <a:lnTo>
                      <a:pt x="2454" y="2138"/>
                    </a:lnTo>
                    <a:lnTo>
                      <a:pt x="2460" y="2130"/>
                    </a:lnTo>
                    <a:lnTo>
                      <a:pt x="2462" y="2124"/>
                    </a:lnTo>
                    <a:lnTo>
                      <a:pt x="2462" y="2120"/>
                    </a:lnTo>
                    <a:lnTo>
                      <a:pt x="2460" y="2118"/>
                    </a:lnTo>
                    <a:lnTo>
                      <a:pt x="2456" y="2116"/>
                    </a:lnTo>
                    <a:lnTo>
                      <a:pt x="2454" y="2114"/>
                    </a:lnTo>
                    <a:lnTo>
                      <a:pt x="2454" y="2110"/>
                    </a:lnTo>
                    <a:lnTo>
                      <a:pt x="2456" y="2102"/>
                    </a:lnTo>
                    <a:lnTo>
                      <a:pt x="2456" y="2102"/>
                    </a:lnTo>
                    <a:close/>
                    <a:moveTo>
                      <a:pt x="2684" y="808"/>
                    </a:moveTo>
                    <a:lnTo>
                      <a:pt x="2684" y="808"/>
                    </a:lnTo>
                    <a:lnTo>
                      <a:pt x="2680" y="812"/>
                    </a:lnTo>
                    <a:lnTo>
                      <a:pt x="2678" y="810"/>
                    </a:lnTo>
                    <a:lnTo>
                      <a:pt x="2678" y="810"/>
                    </a:lnTo>
                    <a:lnTo>
                      <a:pt x="2682" y="802"/>
                    </a:lnTo>
                    <a:lnTo>
                      <a:pt x="2688" y="794"/>
                    </a:lnTo>
                    <a:lnTo>
                      <a:pt x="2688" y="794"/>
                    </a:lnTo>
                    <a:lnTo>
                      <a:pt x="2690" y="792"/>
                    </a:lnTo>
                    <a:lnTo>
                      <a:pt x="2690" y="790"/>
                    </a:lnTo>
                    <a:lnTo>
                      <a:pt x="2688" y="788"/>
                    </a:lnTo>
                    <a:lnTo>
                      <a:pt x="2684" y="790"/>
                    </a:lnTo>
                    <a:lnTo>
                      <a:pt x="2676" y="794"/>
                    </a:lnTo>
                    <a:lnTo>
                      <a:pt x="2664" y="800"/>
                    </a:lnTo>
                    <a:lnTo>
                      <a:pt x="2664" y="800"/>
                    </a:lnTo>
                    <a:lnTo>
                      <a:pt x="2658" y="804"/>
                    </a:lnTo>
                    <a:lnTo>
                      <a:pt x="2652" y="806"/>
                    </a:lnTo>
                    <a:lnTo>
                      <a:pt x="2648" y="806"/>
                    </a:lnTo>
                    <a:lnTo>
                      <a:pt x="2646" y="812"/>
                    </a:lnTo>
                    <a:lnTo>
                      <a:pt x="2646" y="812"/>
                    </a:lnTo>
                    <a:lnTo>
                      <a:pt x="2644" y="814"/>
                    </a:lnTo>
                    <a:lnTo>
                      <a:pt x="2642" y="816"/>
                    </a:lnTo>
                    <a:lnTo>
                      <a:pt x="2636" y="814"/>
                    </a:lnTo>
                    <a:lnTo>
                      <a:pt x="2634" y="814"/>
                    </a:lnTo>
                    <a:lnTo>
                      <a:pt x="2634" y="816"/>
                    </a:lnTo>
                    <a:lnTo>
                      <a:pt x="2636" y="826"/>
                    </a:lnTo>
                    <a:lnTo>
                      <a:pt x="2636" y="826"/>
                    </a:lnTo>
                    <a:lnTo>
                      <a:pt x="2640" y="832"/>
                    </a:lnTo>
                    <a:lnTo>
                      <a:pt x="2642" y="832"/>
                    </a:lnTo>
                    <a:lnTo>
                      <a:pt x="2656" y="822"/>
                    </a:lnTo>
                    <a:lnTo>
                      <a:pt x="2656" y="822"/>
                    </a:lnTo>
                    <a:lnTo>
                      <a:pt x="2660" y="820"/>
                    </a:lnTo>
                    <a:lnTo>
                      <a:pt x="2662" y="820"/>
                    </a:lnTo>
                    <a:lnTo>
                      <a:pt x="2664" y="820"/>
                    </a:lnTo>
                    <a:lnTo>
                      <a:pt x="2666" y="822"/>
                    </a:lnTo>
                    <a:lnTo>
                      <a:pt x="2666" y="824"/>
                    </a:lnTo>
                    <a:lnTo>
                      <a:pt x="2668" y="824"/>
                    </a:lnTo>
                    <a:lnTo>
                      <a:pt x="2670" y="824"/>
                    </a:lnTo>
                    <a:lnTo>
                      <a:pt x="2670" y="824"/>
                    </a:lnTo>
                    <a:lnTo>
                      <a:pt x="2678" y="820"/>
                    </a:lnTo>
                    <a:lnTo>
                      <a:pt x="2684" y="820"/>
                    </a:lnTo>
                    <a:lnTo>
                      <a:pt x="2690" y="820"/>
                    </a:lnTo>
                    <a:lnTo>
                      <a:pt x="2690" y="820"/>
                    </a:lnTo>
                    <a:lnTo>
                      <a:pt x="2690" y="820"/>
                    </a:lnTo>
                    <a:lnTo>
                      <a:pt x="2690" y="820"/>
                    </a:lnTo>
                    <a:lnTo>
                      <a:pt x="2688" y="816"/>
                    </a:lnTo>
                    <a:lnTo>
                      <a:pt x="2688" y="810"/>
                    </a:lnTo>
                    <a:lnTo>
                      <a:pt x="2688" y="806"/>
                    </a:lnTo>
                    <a:lnTo>
                      <a:pt x="2684" y="808"/>
                    </a:lnTo>
                    <a:lnTo>
                      <a:pt x="2684" y="808"/>
                    </a:lnTo>
                    <a:close/>
                    <a:moveTo>
                      <a:pt x="2600" y="1904"/>
                    </a:moveTo>
                    <a:lnTo>
                      <a:pt x="2600" y="1904"/>
                    </a:lnTo>
                    <a:lnTo>
                      <a:pt x="2596" y="1910"/>
                    </a:lnTo>
                    <a:lnTo>
                      <a:pt x="2592" y="1916"/>
                    </a:lnTo>
                    <a:lnTo>
                      <a:pt x="2586" y="1918"/>
                    </a:lnTo>
                    <a:lnTo>
                      <a:pt x="2580" y="1918"/>
                    </a:lnTo>
                    <a:lnTo>
                      <a:pt x="2574" y="1918"/>
                    </a:lnTo>
                    <a:lnTo>
                      <a:pt x="2566" y="1914"/>
                    </a:lnTo>
                    <a:lnTo>
                      <a:pt x="2548" y="1906"/>
                    </a:lnTo>
                    <a:lnTo>
                      <a:pt x="2548" y="1906"/>
                    </a:lnTo>
                    <a:lnTo>
                      <a:pt x="2540" y="1900"/>
                    </a:lnTo>
                    <a:lnTo>
                      <a:pt x="2534" y="1892"/>
                    </a:lnTo>
                    <a:lnTo>
                      <a:pt x="2530" y="1884"/>
                    </a:lnTo>
                    <a:lnTo>
                      <a:pt x="2528" y="1876"/>
                    </a:lnTo>
                    <a:lnTo>
                      <a:pt x="2522" y="1856"/>
                    </a:lnTo>
                    <a:lnTo>
                      <a:pt x="2518" y="1848"/>
                    </a:lnTo>
                    <a:lnTo>
                      <a:pt x="2514" y="1840"/>
                    </a:lnTo>
                    <a:lnTo>
                      <a:pt x="2514" y="1840"/>
                    </a:lnTo>
                    <a:lnTo>
                      <a:pt x="2508" y="1834"/>
                    </a:lnTo>
                    <a:lnTo>
                      <a:pt x="2504" y="1832"/>
                    </a:lnTo>
                    <a:lnTo>
                      <a:pt x="2504" y="1834"/>
                    </a:lnTo>
                    <a:lnTo>
                      <a:pt x="2504" y="1838"/>
                    </a:lnTo>
                    <a:lnTo>
                      <a:pt x="2506" y="1850"/>
                    </a:lnTo>
                    <a:lnTo>
                      <a:pt x="2512" y="1868"/>
                    </a:lnTo>
                    <a:lnTo>
                      <a:pt x="2512" y="1868"/>
                    </a:lnTo>
                    <a:lnTo>
                      <a:pt x="2514" y="1874"/>
                    </a:lnTo>
                    <a:lnTo>
                      <a:pt x="2512" y="1876"/>
                    </a:lnTo>
                    <a:lnTo>
                      <a:pt x="2512" y="1876"/>
                    </a:lnTo>
                    <a:lnTo>
                      <a:pt x="2506" y="1874"/>
                    </a:lnTo>
                    <a:lnTo>
                      <a:pt x="2498" y="1868"/>
                    </a:lnTo>
                    <a:lnTo>
                      <a:pt x="2490" y="1862"/>
                    </a:lnTo>
                    <a:lnTo>
                      <a:pt x="2484" y="1854"/>
                    </a:lnTo>
                    <a:lnTo>
                      <a:pt x="2482" y="1844"/>
                    </a:lnTo>
                    <a:lnTo>
                      <a:pt x="2482" y="1836"/>
                    </a:lnTo>
                    <a:lnTo>
                      <a:pt x="2482" y="1836"/>
                    </a:lnTo>
                    <a:lnTo>
                      <a:pt x="2482" y="1830"/>
                    </a:lnTo>
                    <a:lnTo>
                      <a:pt x="2482" y="1826"/>
                    </a:lnTo>
                    <a:lnTo>
                      <a:pt x="2478" y="1818"/>
                    </a:lnTo>
                    <a:lnTo>
                      <a:pt x="2474" y="1810"/>
                    </a:lnTo>
                    <a:lnTo>
                      <a:pt x="2472" y="1806"/>
                    </a:lnTo>
                    <a:lnTo>
                      <a:pt x="2472" y="1802"/>
                    </a:lnTo>
                    <a:lnTo>
                      <a:pt x="2472" y="1802"/>
                    </a:lnTo>
                    <a:lnTo>
                      <a:pt x="2472" y="1792"/>
                    </a:lnTo>
                    <a:lnTo>
                      <a:pt x="2470" y="1786"/>
                    </a:lnTo>
                    <a:lnTo>
                      <a:pt x="2466" y="1780"/>
                    </a:lnTo>
                    <a:lnTo>
                      <a:pt x="2462" y="1770"/>
                    </a:lnTo>
                    <a:lnTo>
                      <a:pt x="2462" y="1770"/>
                    </a:lnTo>
                    <a:lnTo>
                      <a:pt x="2454" y="1762"/>
                    </a:lnTo>
                    <a:lnTo>
                      <a:pt x="2448" y="1758"/>
                    </a:lnTo>
                    <a:lnTo>
                      <a:pt x="2440" y="1754"/>
                    </a:lnTo>
                    <a:lnTo>
                      <a:pt x="2428" y="1752"/>
                    </a:lnTo>
                    <a:lnTo>
                      <a:pt x="2428" y="1752"/>
                    </a:lnTo>
                    <a:lnTo>
                      <a:pt x="2424" y="1750"/>
                    </a:lnTo>
                    <a:lnTo>
                      <a:pt x="2422" y="1748"/>
                    </a:lnTo>
                    <a:lnTo>
                      <a:pt x="2418" y="1738"/>
                    </a:lnTo>
                    <a:lnTo>
                      <a:pt x="2412" y="1730"/>
                    </a:lnTo>
                    <a:lnTo>
                      <a:pt x="2408" y="1726"/>
                    </a:lnTo>
                    <a:lnTo>
                      <a:pt x="2402" y="1726"/>
                    </a:lnTo>
                    <a:lnTo>
                      <a:pt x="2402" y="1726"/>
                    </a:lnTo>
                    <a:lnTo>
                      <a:pt x="2394" y="1726"/>
                    </a:lnTo>
                    <a:lnTo>
                      <a:pt x="2394" y="1728"/>
                    </a:lnTo>
                    <a:lnTo>
                      <a:pt x="2394" y="1730"/>
                    </a:lnTo>
                    <a:lnTo>
                      <a:pt x="2400" y="1736"/>
                    </a:lnTo>
                    <a:lnTo>
                      <a:pt x="2410" y="1748"/>
                    </a:lnTo>
                    <a:lnTo>
                      <a:pt x="2410" y="1748"/>
                    </a:lnTo>
                    <a:lnTo>
                      <a:pt x="2414" y="1754"/>
                    </a:lnTo>
                    <a:lnTo>
                      <a:pt x="2416" y="1758"/>
                    </a:lnTo>
                    <a:lnTo>
                      <a:pt x="2416" y="1762"/>
                    </a:lnTo>
                    <a:lnTo>
                      <a:pt x="2416" y="1764"/>
                    </a:lnTo>
                    <a:lnTo>
                      <a:pt x="2414" y="1768"/>
                    </a:lnTo>
                    <a:lnTo>
                      <a:pt x="2420" y="1776"/>
                    </a:lnTo>
                    <a:lnTo>
                      <a:pt x="2420" y="1776"/>
                    </a:lnTo>
                    <a:lnTo>
                      <a:pt x="2426" y="1784"/>
                    </a:lnTo>
                    <a:lnTo>
                      <a:pt x="2430" y="1794"/>
                    </a:lnTo>
                    <a:lnTo>
                      <a:pt x="2440" y="1814"/>
                    </a:lnTo>
                    <a:lnTo>
                      <a:pt x="2444" y="1822"/>
                    </a:lnTo>
                    <a:lnTo>
                      <a:pt x="2448" y="1828"/>
                    </a:lnTo>
                    <a:lnTo>
                      <a:pt x="2452" y="1830"/>
                    </a:lnTo>
                    <a:lnTo>
                      <a:pt x="2454" y="1826"/>
                    </a:lnTo>
                    <a:lnTo>
                      <a:pt x="2454" y="1826"/>
                    </a:lnTo>
                    <a:lnTo>
                      <a:pt x="2456" y="1822"/>
                    </a:lnTo>
                    <a:lnTo>
                      <a:pt x="2460" y="1822"/>
                    </a:lnTo>
                    <a:lnTo>
                      <a:pt x="2464" y="1830"/>
                    </a:lnTo>
                    <a:lnTo>
                      <a:pt x="2466" y="1840"/>
                    </a:lnTo>
                    <a:lnTo>
                      <a:pt x="2466" y="1842"/>
                    </a:lnTo>
                    <a:lnTo>
                      <a:pt x="2464" y="1842"/>
                    </a:lnTo>
                    <a:lnTo>
                      <a:pt x="2464" y="1842"/>
                    </a:lnTo>
                    <a:lnTo>
                      <a:pt x="2458" y="1838"/>
                    </a:lnTo>
                    <a:lnTo>
                      <a:pt x="2458" y="1842"/>
                    </a:lnTo>
                    <a:lnTo>
                      <a:pt x="2474" y="1878"/>
                    </a:lnTo>
                    <a:lnTo>
                      <a:pt x="2474" y="1878"/>
                    </a:lnTo>
                    <a:lnTo>
                      <a:pt x="2480" y="1892"/>
                    </a:lnTo>
                    <a:lnTo>
                      <a:pt x="2482" y="1902"/>
                    </a:lnTo>
                    <a:lnTo>
                      <a:pt x="2482" y="1910"/>
                    </a:lnTo>
                    <a:lnTo>
                      <a:pt x="2482" y="1916"/>
                    </a:lnTo>
                    <a:lnTo>
                      <a:pt x="2478" y="1928"/>
                    </a:lnTo>
                    <a:lnTo>
                      <a:pt x="2476" y="1936"/>
                    </a:lnTo>
                    <a:lnTo>
                      <a:pt x="2476" y="1946"/>
                    </a:lnTo>
                    <a:lnTo>
                      <a:pt x="2476" y="1946"/>
                    </a:lnTo>
                    <a:lnTo>
                      <a:pt x="2476" y="1954"/>
                    </a:lnTo>
                    <a:lnTo>
                      <a:pt x="2472" y="1962"/>
                    </a:lnTo>
                    <a:lnTo>
                      <a:pt x="2466" y="1968"/>
                    </a:lnTo>
                    <a:lnTo>
                      <a:pt x="2460" y="1972"/>
                    </a:lnTo>
                    <a:lnTo>
                      <a:pt x="2446" y="1980"/>
                    </a:lnTo>
                    <a:lnTo>
                      <a:pt x="2442" y="1984"/>
                    </a:lnTo>
                    <a:lnTo>
                      <a:pt x="2440" y="1988"/>
                    </a:lnTo>
                    <a:lnTo>
                      <a:pt x="2440" y="1988"/>
                    </a:lnTo>
                    <a:lnTo>
                      <a:pt x="2440" y="1994"/>
                    </a:lnTo>
                    <a:lnTo>
                      <a:pt x="2444" y="2000"/>
                    </a:lnTo>
                    <a:lnTo>
                      <a:pt x="2456" y="2010"/>
                    </a:lnTo>
                    <a:lnTo>
                      <a:pt x="2474" y="2020"/>
                    </a:lnTo>
                    <a:lnTo>
                      <a:pt x="2488" y="2028"/>
                    </a:lnTo>
                    <a:lnTo>
                      <a:pt x="2488" y="2028"/>
                    </a:lnTo>
                    <a:lnTo>
                      <a:pt x="2494" y="2032"/>
                    </a:lnTo>
                    <a:lnTo>
                      <a:pt x="2496" y="2040"/>
                    </a:lnTo>
                    <a:lnTo>
                      <a:pt x="2498" y="2048"/>
                    </a:lnTo>
                    <a:lnTo>
                      <a:pt x="2496" y="2058"/>
                    </a:lnTo>
                    <a:lnTo>
                      <a:pt x="2492" y="2076"/>
                    </a:lnTo>
                    <a:lnTo>
                      <a:pt x="2488" y="2082"/>
                    </a:lnTo>
                    <a:lnTo>
                      <a:pt x="2484" y="2088"/>
                    </a:lnTo>
                    <a:lnTo>
                      <a:pt x="2484" y="2088"/>
                    </a:lnTo>
                    <a:lnTo>
                      <a:pt x="2478" y="2092"/>
                    </a:lnTo>
                    <a:lnTo>
                      <a:pt x="2474" y="2098"/>
                    </a:lnTo>
                    <a:lnTo>
                      <a:pt x="2474" y="2100"/>
                    </a:lnTo>
                    <a:lnTo>
                      <a:pt x="2476" y="2100"/>
                    </a:lnTo>
                    <a:lnTo>
                      <a:pt x="2488" y="2106"/>
                    </a:lnTo>
                    <a:lnTo>
                      <a:pt x="2488" y="2106"/>
                    </a:lnTo>
                    <a:lnTo>
                      <a:pt x="2492" y="2108"/>
                    </a:lnTo>
                    <a:lnTo>
                      <a:pt x="2494" y="2110"/>
                    </a:lnTo>
                    <a:lnTo>
                      <a:pt x="2498" y="2116"/>
                    </a:lnTo>
                    <a:lnTo>
                      <a:pt x="2498" y="2120"/>
                    </a:lnTo>
                    <a:lnTo>
                      <a:pt x="2502" y="2120"/>
                    </a:lnTo>
                    <a:lnTo>
                      <a:pt x="2506" y="2118"/>
                    </a:lnTo>
                    <a:lnTo>
                      <a:pt x="2512" y="2114"/>
                    </a:lnTo>
                    <a:lnTo>
                      <a:pt x="2512" y="2114"/>
                    </a:lnTo>
                    <a:lnTo>
                      <a:pt x="2520" y="2108"/>
                    </a:lnTo>
                    <a:lnTo>
                      <a:pt x="2530" y="2094"/>
                    </a:lnTo>
                    <a:lnTo>
                      <a:pt x="2552" y="2062"/>
                    </a:lnTo>
                    <a:lnTo>
                      <a:pt x="2560" y="2044"/>
                    </a:lnTo>
                    <a:lnTo>
                      <a:pt x="2568" y="2028"/>
                    </a:lnTo>
                    <a:lnTo>
                      <a:pt x="2570" y="2016"/>
                    </a:lnTo>
                    <a:lnTo>
                      <a:pt x="2570" y="2010"/>
                    </a:lnTo>
                    <a:lnTo>
                      <a:pt x="2568" y="2006"/>
                    </a:lnTo>
                    <a:lnTo>
                      <a:pt x="2568" y="2006"/>
                    </a:lnTo>
                    <a:lnTo>
                      <a:pt x="2566" y="2002"/>
                    </a:lnTo>
                    <a:lnTo>
                      <a:pt x="2568" y="1998"/>
                    </a:lnTo>
                    <a:lnTo>
                      <a:pt x="2570" y="1992"/>
                    </a:lnTo>
                    <a:lnTo>
                      <a:pt x="2574" y="1986"/>
                    </a:lnTo>
                    <a:lnTo>
                      <a:pt x="2580" y="1982"/>
                    </a:lnTo>
                    <a:lnTo>
                      <a:pt x="2586" y="1980"/>
                    </a:lnTo>
                    <a:lnTo>
                      <a:pt x="2594" y="1982"/>
                    </a:lnTo>
                    <a:lnTo>
                      <a:pt x="2602" y="1986"/>
                    </a:lnTo>
                    <a:lnTo>
                      <a:pt x="2602" y="1986"/>
                    </a:lnTo>
                    <a:lnTo>
                      <a:pt x="2608" y="1990"/>
                    </a:lnTo>
                    <a:lnTo>
                      <a:pt x="2610" y="1990"/>
                    </a:lnTo>
                    <a:lnTo>
                      <a:pt x="2612" y="1988"/>
                    </a:lnTo>
                    <a:lnTo>
                      <a:pt x="2612" y="1984"/>
                    </a:lnTo>
                    <a:lnTo>
                      <a:pt x="2610" y="1978"/>
                    </a:lnTo>
                    <a:lnTo>
                      <a:pt x="2608" y="1970"/>
                    </a:lnTo>
                    <a:lnTo>
                      <a:pt x="2608" y="1964"/>
                    </a:lnTo>
                    <a:lnTo>
                      <a:pt x="2610" y="1958"/>
                    </a:lnTo>
                    <a:lnTo>
                      <a:pt x="2612" y="1956"/>
                    </a:lnTo>
                    <a:lnTo>
                      <a:pt x="2614" y="1954"/>
                    </a:lnTo>
                    <a:lnTo>
                      <a:pt x="2614" y="1954"/>
                    </a:lnTo>
                    <a:lnTo>
                      <a:pt x="2620" y="1952"/>
                    </a:lnTo>
                    <a:lnTo>
                      <a:pt x="2624" y="1948"/>
                    </a:lnTo>
                    <a:lnTo>
                      <a:pt x="2626" y="1942"/>
                    </a:lnTo>
                    <a:lnTo>
                      <a:pt x="2626" y="1934"/>
                    </a:lnTo>
                    <a:lnTo>
                      <a:pt x="2628" y="1920"/>
                    </a:lnTo>
                    <a:lnTo>
                      <a:pt x="2628" y="1912"/>
                    </a:lnTo>
                    <a:lnTo>
                      <a:pt x="2630" y="1908"/>
                    </a:lnTo>
                    <a:lnTo>
                      <a:pt x="2630" y="1908"/>
                    </a:lnTo>
                    <a:lnTo>
                      <a:pt x="2632" y="1904"/>
                    </a:lnTo>
                    <a:lnTo>
                      <a:pt x="2630" y="1900"/>
                    </a:lnTo>
                    <a:lnTo>
                      <a:pt x="2626" y="1896"/>
                    </a:lnTo>
                    <a:lnTo>
                      <a:pt x="2620" y="1894"/>
                    </a:lnTo>
                    <a:lnTo>
                      <a:pt x="2614" y="1894"/>
                    </a:lnTo>
                    <a:lnTo>
                      <a:pt x="2608" y="1896"/>
                    </a:lnTo>
                    <a:lnTo>
                      <a:pt x="2604" y="1900"/>
                    </a:lnTo>
                    <a:lnTo>
                      <a:pt x="2600" y="1904"/>
                    </a:lnTo>
                    <a:lnTo>
                      <a:pt x="2600" y="1904"/>
                    </a:lnTo>
                    <a:close/>
                    <a:moveTo>
                      <a:pt x="2636" y="868"/>
                    </a:moveTo>
                    <a:lnTo>
                      <a:pt x="2636" y="868"/>
                    </a:lnTo>
                    <a:lnTo>
                      <a:pt x="2636" y="864"/>
                    </a:lnTo>
                    <a:lnTo>
                      <a:pt x="2634" y="860"/>
                    </a:lnTo>
                    <a:lnTo>
                      <a:pt x="2630" y="856"/>
                    </a:lnTo>
                    <a:lnTo>
                      <a:pt x="2626" y="854"/>
                    </a:lnTo>
                    <a:lnTo>
                      <a:pt x="2616" y="850"/>
                    </a:lnTo>
                    <a:lnTo>
                      <a:pt x="2606" y="852"/>
                    </a:lnTo>
                    <a:lnTo>
                      <a:pt x="2606" y="852"/>
                    </a:lnTo>
                    <a:lnTo>
                      <a:pt x="2596" y="858"/>
                    </a:lnTo>
                    <a:lnTo>
                      <a:pt x="2588" y="864"/>
                    </a:lnTo>
                    <a:lnTo>
                      <a:pt x="2582" y="870"/>
                    </a:lnTo>
                    <a:lnTo>
                      <a:pt x="2580" y="876"/>
                    </a:lnTo>
                    <a:lnTo>
                      <a:pt x="2580" y="880"/>
                    </a:lnTo>
                    <a:lnTo>
                      <a:pt x="2580" y="882"/>
                    </a:lnTo>
                    <a:lnTo>
                      <a:pt x="2582" y="886"/>
                    </a:lnTo>
                    <a:lnTo>
                      <a:pt x="2586" y="888"/>
                    </a:lnTo>
                    <a:lnTo>
                      <a:pt x="2600" y="892"/>
                    </a:lnTo>
                    <a:lnTo>
                      <a:pt x="2600" y="892"/>
                    </a:lnTo>
                    <a:lnTo>
                      <a:pt x="2610" y="896"/>
                    </a:lnTo>
                    <a:lnTo>
                      <a:pt x="2616" y="894"/>
                    </a:lnTo>
                    <a:lnTo>
                      <a:pt x="2620" y="890"/>
                    </a:lnTo>
                    <a:lnTo>
                      <a:pt x="2620" y="890"/>
                    </a:lnTo>
                    <a:lnTo>
                      <a:pt x="2624" y="888"/>
                    </a:lnTo>
                    <a:lnTo>
                      <a:pt x="2626" y="886"/>
                    </a:lnTo>
                    <a:lnTo>
                      <a:pt x="2630" y="888"/>
                    </a:lnTo>
                    <a:lnTo>
                      <a:pt x="2636" y="890"/>
                    </a:lnTo>
                    <a:lnTo>
                      <a:pt x="2638" y="890"/>
                    </a:lnTo>
                    <a:lnTo>
                      <a:pt x="2640" y="888"/>
                    </a:lnTo>
                    <a:lnTo>
                      <a:pt x="2640" y="888"/>
                    </a:lnTo>
                    <a:lnTo>
                      <a:pt x="2642" y="886"/>
                    </a:lnTo>
                    <a:lnTo>
                      <a:pt x="2642" y="886"/>
                    </a:lnTo>
                    <a:lnTo>
                      <a:pt x="2640" y="882"/>
                    </a:lnTo>
                    <a:lnTo>
                      <a:pt x="2636" y="876"/>
                    </a:lnTo>
                    <a:lnTo>
                      <a:pt x="2636" y="872"/>
                    </a:lnTo>
                    <a:lnTo>
                      <a:pt x="2636" y="868"/>
                    </a:lnTo>
                    <a:lnTo>
                      <a:pt x="2636" y="868"/>
                    </a:lnTo>
                    <a:close/>
                    <a:moveTo>
                      <a:pt x="2260" y="930"/>
                    </a:moveTo>
                    <a:lnTo>
                      <a:pt x="2260" y="930"/>
                    </a:lnTo>
                    <a:lnTo>
                      <a:pt x="2260" y="928"/>
                    </a:lnTo>
                    <a:lnTo>
                      <a:pt x="2262" y="924"/>
                    </a:lnTo>
                    <a:lnTo>
                      <a:pt x="2258" y="918"/>
                    </a:lnTo>
                    <a:lnTo>
                      <a:pt x="2254" y="912"/>
                    </a:lnTo>
                    <a:lnTo>
                      <a:pt x="2252" y="912"/>
                    </a:lnTo>
                    <a:lnTo>
                      <a:pt x="2248" y="914"/>
                    </a:lnTo>
                    <a:lnTo>
                      <a:pt x="2248" y="914"/>
                    </a:lnTo>
                    <a:lnTo>
                      <a:pt x="2248" y="918"/>
                    </a:lnTo>
                    <a:lnTo>
                      <a:pt x="2248" y="920"/>
                    </a:lnTo>
                    <a:lnTo>
                      <a:pt x="2250" y="926"/>
                    </a:lnTo>
                    <a:lnTo>
                      <a:pt x="2256" y="930"/>
                    </a:lnTo>
                    <a:lnTo>
                      <a:pt x="2258" y="930"/>
                    </a:lnTo>
                    <a:lnTo>
                      <a:pt x="2260" y="930"/>
                    </a:lnTo>
                    <a:lnTo>
                      <a:pt x="2260" y="930"/>
                    </a:lnTo>
                    <a:close/>
                    <a:moveTo>
                      <a:pt x="2258" y="948"/>
                    </a:moveTo>
                    <a:lnTo>
                      <a:pt x="2258" y="948"/>
                    </a:lnTo>
                    <a:lnTo>
                      <a:pt x="2256" y="950"/>
                    </a:lnTo>
                    <a:lnTo>
                      <a:pt x="2256" y="954"/>
                    </a:lnTo>
                    <a:lnTo>
                      <a:pt x="2258" y="960"/>
                    </a:lnTo>
                    <a:lnTo>
                      <a:pt x="2262" y="964"/>
                    </a:lnTo>
                    <a:lnTo>
                      <a:pt x="2266" y="966"/>
                    </a:lnTo>
                    <a:lnTo>
                      <a:pt x="2266" y="966"/>
                    </a:lnTo>
                    <a:lnTo>
                      <a:pt x="2268" y="964"/>
                    </a:lnTo>
                    <a:lnTo>
                      <a:pt x="2268" y="962"/>
                    </a:lnTo>
                    <a:lnTo>
                      <a:pt x="2266" y="954"/>
                    </a:lnTo>
                    <a:lnTo>
                      <a:pt x="2262" y="948"/>
                    </a:lnTo>
                    <a:lnTo>
                      <a:pt x="2260" y="948"/>
                    </a:lnTo>
                    <a:lnTo>
                      <a:pt x="2258" y="948"/>
                    </a:lnTo>
                    <a:lnTo>
                      <a:pt x="2258" y="948"/>
                    </a:lnTo>
                    <a:close/>
                    <a:moveTo>
                      <a:pt x="1490" y="460"/>
                    </a:moveTo>
                    <a:lnTo>
                      <a:pt x="1490" y="460"/>
                    </a:lnTo>
                    <a:lnTo>
                      <a:pt x="1492" y="462"/>
                    </a:lnTo>
                    <a:lnTo>
                      <a:pt x="1494" y="464"/>
                    </a:lnTo>
                    <a:lnTo>
                      <a:pt x="1496" y="462"/>
                    </a:lnTo>
                    <a:lnTo>
                      <a:pt x="1496" y="460"/>
                    </a:lnTo>
                    <a:lnTo>
                      <a:pt x="1496" y="454"/>
                    </a:lnTo>
                    <a:lnTo>
                      <a:pt x="1494" y="448"/>
                    </a:lnTo>
                    <a:lnTo>
                      <a:pt x="1494" y="448"/>
                    </a:lnTo>
                    <a:lnTo>
                      <a:pt x="1490" y="446"/>
                    </a:lnTo>
                    <a:lnTo>
                      <a:pt x="1486" y="448"/>
                    </a:lnTo>
                    <a:lnTo>
                      <a:pt x="1486" y="452"/>
                    </a:lnTo>
                    <a:lnTo>
                      <a:pt x="1490" y="460"/>
                    </a:lnTo>
                    <a:lnTo>
                      <a:pt x="1490" y="460"/>
                    </a:lnTo>
                    <a:close/>
                    <a:moveTo>
                      <a:pt x="1532" y="492"/>
                    </a:moveTo>
                    <a:lnTo>
                      <a:pt x="1532" y="492"/>
                    </a:lnTo>
                    <a:lnTo>
                      <a:pt x="1534" y="486"/>
                    </a:lnTo>
                    <a:lnTo>
                      <a:pt x="1534" y="482"/>
                    </a:lnTo>
                    <a:lnTo>
                      <a:pt x="1532" y="482"/>
                    </a:lnTo>
                    <a:lnTo>
                      <a:pt x="1530" y="482"/>
                    </a:lnTo>
                    <a:lnTo>
                      <a:pt x="1530" y="482"/>
                    </a:lnTo>
                    <a:lnTo>
                      <a:pt x="1528" y="484"/>
                    </a:lnTo>
                    <a:lnTo>
                      <a:pt x="1526" y="484"/>
                    </a:lnTo>
                    <a:lnTo>
                      <a:pt x="1522" y="480"/>
                    </a:lnTo>
                    <a:lnTo>
                      <a:pt x="1518" y="478"/>
                    </a:lnTo>
                    <a:lnTo>
                      <a:pt x="1516" y="478"/>
                    </a:lnTo>
                    <a:lnTo>
                      <a:pt x="1516" y="478"/>
                    </a:lnTo>
                    <a:lnTo>
                      <a:pt x="1516" y="478"/>
                    </a:lnTo>
                    <a:lnTo>
                      <a:pt x="1518" y="486"/>
                    </a:lnTo>
                    <a:lnTo>
                      <a:pt x="1522" y="492"/>
                    </a:lnTo>
                    <a:lnTo>
                      <a:pt x="1528" y="496"/>
                    </a:lnTo>
                    <a:lnTo>
                      <a:pt x="1532" y="496"/>
                    </a:lnTo>
                    <a:lnTo>
                      <a:pt x="1532" y="492"/>
                    </a:lnTo>
                    <a:lnTo>
                      <a:pt x="1532" y="492"/>
                    </a:lnTo>
                    <a:close/>
                    <a:moveTo>
                      <a:pt x="1520" y="466"/>
                    </a:moveTo>
                    <a:lnTo>
                      <a:pt x="1520" y="466"/>
                    </a:lnTo>
                    <a:lnTo>
                      <a:pt x="1516" y="458"/>
                    </a:lnTo>
                    <a:lnTo>
                      <a:pt x="1512" y="454"/>
                    </a:lnTo>
                    <a:lnTo>
                      <a:pt x="1508" y="454"/>
                    </a:lnTo>
                    <a:lnTo>
                      <a:pt x="1506" y="454"/>
                    </a:lnTo>
                    <a:lnTo>
                      <a:pt x="1504" y="456"/>
                    </a:lnTo>
                    <a:lnTo>
                      <a:pt x="1502" y="460"/>
                    </a:lnTo>
                    <a:lnTo>
                      <a:pt x="1502" y="460"/>
                    </a:lnTo>
                    <a:lnTo>
                      <a:pt x="1500" y="468"/>
                    </a:lnTo>
                    <a:lnTo>
                      <a:pt x="1500" y="470"/>
                    </a:lnTo>
                    <a:lnTo>
                      <a:pt x="1504" y="470"/>
                    </a:lnTo>
                    <a:lnTo>
                      <a:pt x="1504" y="470"/>
                    </a:lnTo>
                    <a:lnTo>
                      <a:pt x="1514" y="472"/>
                    </a:lnTo>
                    <a:lnTo>
                      <a:pt x="1518" y="470"/>
                    </a:lnTo>
                    <a:lnTo>
                      <a:pt x="1520" y="466"/>
                    </a:lnTo>
                    <a:lnTo>
                      <a:pt x="1520" y="466"/>
                    </a:lnTo>
                    <a:close/>
                    <a:moveTo>
                      <a:pt x="1400" y="268"/>
                    </a:moveTo>
                    <a:lnTo>
                      <a:pt x="1400" y="268"/>
                    </a:lnTo>
                    <a:lnTo>
                      <a:pt x="1394" y="264"/>
                    </a:lnTo>
                    <a:lnTo>
                      <a:pt x="1392" y="264"/>
                    </a:lnTo>
                    <a:lnTo>
                      <a:pt x="1390" y="266"/>
                    </a:lnTo>
                    <a:lnTo>
                      <a:pt x="1392" y="272"/>
                    </a:lnTo>
                    <a:lnTo>
                      <a:pt x="1396" y="280"/>
                    </a:lnTo>
                    <a:lnTo>
                      <a:pt x="1396" y="280"/>
                    </a:lnTo>
                    <a:lnTo>
                      <a:pt x="1398" y="282"/>
                    </a:lnTo>
                    <a:lnTo>
                      <a:pt x="1400" y="284"/>
                    </a:lnTo>
                    <a:lnTo>
                      <a:pt x="1402" y="282"/>
                    </a:lnTo>
                    <a:lnTo>
                      <a:pt x="1404" y="280"/>
                    </a:lnTo>
                    <a:lnTo>
                      <a:pt x="1404" y="274"/>
                    </a:lnTo>
                    <a:lnTo>
                      <a:pt x="1402" y="272"/>
                    </a:lnTo>
                    <a:lnTo>
                      <a:pt x="1400" y="268"/>
                    </a:lnTo>
                    <a:lnTo>
                      <a:pt x="1400" y="268"/>
                    </a:lnTo>
                    <a:close/>
                    <a:moveTo>
                      <a:pt x="1360" y="254"/>
                    </a:moveTo>
                    <a:lnTo>
                      <a:pt x="1360" y="254"/>
                    </a:lnTo>
                    <a:lnTo>
                      <a:pt x="1360" y="256"/>
                    </a:lnTo>
                    <a:lnTo>
                      <a:pt x="1360" y="260"/>
                    </a:lnTo>
                    <a:lnTo>
                      <a:pt x="1362" y="264"/>
                    </a:lnTo>
                    <a:lnTo>
                      <a:pt x="1368" y="266"/>
                    </a:lnTo>
                    <a:lnTo>
                      <a:pt x="1372" y="264"/>
                    </a:lnTo>
                    <a:lnTo>
                      <a:pt x="1372" y="264"/>
                    </a:lnTo>
                    <a:lnTo>
                      <a:pt x="1372" y="262"/>
                    </a:lnTo>
                    <a:lnTo>
                      <a:pt x="1372" y="260"/>
                    </a:lnTo>
                    <a:lnTo>
                      <a:pt x="1370" y="254"/>
                    </a:lnTo>
                    <a:lnTo>
                      <a:pt x="1366" y="252"/>
                    </a:lnTo>
                    <a:lnTo>
                      <a:pt x="1364" y="252"/>
                    </a:lnTo>
                    <a:lnTo>
                      <a:pt x="1360" y="254"/>
                    </a:lnTo>
                    <a:lnTo>
                      <a:pt x="1360" y="254"/>
                    </a:lnTo>
                    <a:close/>
                    <a:moveTo>
                      <a:pt x="1320" y="218"/>
                    </a:moveTo>
                    <a:lnTo>
                      <a:pt x="1320" y="218"/>
                    </a:lnTo>
                    <a:lnTo>
                      <a:pt x="1318" y="216"/>
                    </a:lnTo>
                    <a:lnTo>
                      <a:pt x="1316" y="218"/>
                    </a:lnTo>
                    <a:lnTo>
                      <a:pt x="1314" y="220"/>
                    </a:lnTo>
                    <a:lnTo>
                      <a:pt x="1314" y="226"/>
                    </a:lnTo>
                    <a:lnTo>
                      <a:pt x="1316" y="232"/>
                    </a:lnTo>
                    <a:lnTo>
                      <a:pt x="1316" y="232"/>
                    </a:lnTo>
                    <a:lnTo>
                      <a:pt x="1318" y="232"/>
                    </a:lnTo>
                    <a:lnTo>
                      <a:pt x="1320" y="232"/>
                    </a:lnTo>
                    <a:lnTo>
                      <a:pt x="1324" y="228"/>
                    </a:lnTo>
                    <a:lnTo>
                      <a:pt x="1324" y="224"/>
                    </a:lnTo>
                    <a:lnTo>
                      <a:pt x="1324" y="220"/>
                    </a:lnTo>
                    <a:lnTo>
                      <a:pt x="1320" y="218"/>
                    </a:lnTo>
                    <a:lnTo>
                      <a:pt x="1320" y="218"/>
                    </a:lnTo>
                    <a:close/>
                    <a:moveTo>
                      <a:pt x="1360" y="106"/>
                    </a:moveTo>
                    <a:lnTo>
                      <a:pt x="1360" y="106"/>
                    </a:lnTo>
                    <a:lnTo>
                      <a:pt x="1370" y="106"/>
                    </a:lnTo>
                    <a:lnTo>
                      <a:pt x="1376" y="102"/>
                    </a:lnTo>
                    <a:lnTo>
                      <a:pt x="1376" y="100"/>
                    </a:lnTo>
                    <a:lnTo>
                      <a:pt x="1376" y="98"/>
                    </a:lnTo>
                    <a:lnTo>
                      <a:pt x="1374" y="98"/>
                    </a:lnTo>
                    <a:lnTo>
                      <a:pt x="1370" y="96"/>
                    </a:lnTo>
                    <a:lnTo>
                      <a:pt x="1370" y="96"/>
                    </a:lnTo>
                    <a:lnTo>
                      <a:pt x="1362" y="94"/>
                    </a:lnTo>
                    <a:lnTo>
                      <a:pt x="1352" y="94"/>
                    </a:lnTo>
                    <a:lnTo>
                      <a:pt x="1344" y="96"/>
                    </a:lnTo>
                    <a:lnTo>
                      <a:pt x="1342" y="100"/>
                    </a:lnTo>
                    <a:lnTo>
                      <a:pt x="1340" y="102"/>
                    </a:lnTo>
                    <a:lnTo>
                      <a:pt x="1340" y="102"/>
                    </a:lnTo>
                    <a:lnTo>
                      <a:pt x="1340" y="108"/>
                    </a:lnTo>
                    <a:lnTo>
                      <a:pt x="1344" y="108"/>
                    </a:lnTo>
                    <a:lnTo>
                      <a:pt x="1352" y="108"/>
                    </a:lnTo>
                    <a:lnTo>
                      <a:pt x="1360" y="106"/>
                    </a:lnTo>
                    <a:lnTo>
                      <a:pt x="1360" y="106"/>
                    </a:lnTo>
                    <a:close/>
                    <a:moveTo>
                      <a:pt x="918" y="88"/>
                    </a:moveTo>
                    <a:lnTo>
                      <a:pt x="918" y="88"/>
                    </a:lnTo>
                    <a:lnTo>
                      <a:pt x="922" y="90"/>
                    </a:lnTo>
                    <a:lnTo>
                      <a:pt x="926" y="92"/>
                    </a:lnTo>
                    <a:lnTo>
                      <a:pt x="948" y="88"/>
                    </a:lnTo>
                    <a:lnTo>
                      <a:pt x="948" y="88"/>
                    </a:lnTo>
                    <a:lnTo>
                      <a:pt x="958" y="84"/>
                    </a:lnTo>
                    <a:lnTo>
                      <a:pt x="958" y="84"/>
                    </a:lnTo>
                    <a:lnTo>
                      <a:pt x="954" y="82"/>
                    </a:lnTo>
                    <a:lnTo>
                      <a:pt x="920" y="78"/>
                    </a:lnTo>
                    <a:lnTo>
                      <a:pt x="920" y="78"/>
                    </a:lnTo>
                    <a:lnTo>
                      <a:pt x="906" y="76"/>
                    </a:lnTo>
                    <a:lnTo>
                      <a:pt x="902" y="78"/>
                    </a:lnTo>
                    <a:lnTo>
                      <a:pt x="908" y="80"/>
                    </a:lnTo>
                    <a:lnTo>
                      <a:pt x="918" y="88"/>
                    </a:lnTo>
                    <a:lnTo>
                      <a:pt x="918" y="88"/>
                    </a:lnTo>
                    <a:close/>
                    <a:moveTo>
                      <a:pt x="910" y="44"/>
                    </a:moveTo>
                    <a:lnTo>
                      <a:pt x="910" y="44"/>
                    </a:lnTo>
                    <a:lnTo>
                      <a:pt x="912" y="46"/>
                    </a:lnTo>
                    <a:lnTo>
                      <a:pt x="914" y="48"/>
                    </a:lnTo>
                    <a:lnTo>
                      <a:pt x="914" y="54"/>
                    </a:lnTo>
                    <a:lnTo>
                      <a:pt x="916" y="56"/>
                    </a:lnTo>
                    <a:lnTo>
                      <a:pt x="918" y="56"/>
                    </a:lnTo>
                    <a:lnTo>
                      <a:pt x="922" y="58"/>
                    </a:lnTo>
                    <a:lnTo>
                      <a:pt x="930" y="56"/>
                    </a:lnTo>
                    <a:lnTo>
                      <a:pt x="930" y="56"/>
                    </a:lnTo>
                    <a:lnTo>
                      <a:pt x="936" y="54"/>
                    </a:lnTo>
                    <a:lnTo>
                      <a:pt x="938" y="52"/>
                    </a:lnTo>
                    <a:lnTo>
                      <a:pt x="936" y="50"/>
                    </a:lnTo>
                    <a:lnTo>
                      <a:pt x="928" y="46"/>
                    </a:lnTo>
                    <a:lnTo>
                      <a:pt x="928" y="46"/>
                    </a:lnTo>
                    <a:lnTo>
                      <a:pt x="924" y="44"/>
                    </a:lnTo>
                    <a:lnTo>
                      <a:pt x="920" y="38"/>
                    </a:lnTo>
                    <a:lnTo>
                      <a:pt x="916" y="34"/>
                    </a:lnTo>
                    <a:lnTo>
                      <a:pt x="906" y="30"/>
                    </a:lnTo>
                    <a:lnTo>
                      <a:pt x="906" y="30"/>
                    </a:lnTo>
                    <a:lnTo>
                      <a:pt x="896" y="30"/>
                    </a:lnTo>
                    <a:lnTo>
                      <a:pt x="894" y="30"/>
                    </a:lnTo>
                    <a:lnTo>
                      <a:pt x="896" y="32"/>
                    </a:lnTo>
                    <a:lnTo>
                      <a:pt x="902" y="38"/>
                    </a:lnTo>
                    <a:lnTo>
                      <a:pt x="910" y="44"/>
                    </a:lnTo>
                    <a:lnTo>
                      <a:pt x="910" y="44"/>
                    </a:lnTo>
                    <a:close/>
                    <a:moveTo>
                      <a:pt x="868" y="284"/>
                    </a:moveTo>
                    <a:lnTo>
                      <a:pt x="868" y="284"/>
                    </a:lnTo>
                    <a:lnTo>
                      <a:pt x="866" y="272"/>
                    </a:lnTo>
                    <a:lnTo>
                      <a:pt x="862" y="266"/>
                    </a:lnTo>
                    <a:lnTo>
                      <a:pt x="860" y="264"/>
                    </a:lnTo>
                    <a:lnTo>
                      <a:pt x="858" y="264"/>
                    </a:lnTo>
                    <a:lnTo>
                      <a:pt x="856" y="270"/>
                    </a:lnTo>
                    <a:lnTo>
                      <a:pt x="856" y="270"/>
                    </a:lnTo>
                    <a:lnTo>
                      <a:pt x="852" y="276"/>
                    </a:lnTo>
                    <a:lnTo>
                      <a:pt x="850" y="276"/>
                    </a:lnTo>
                    <a:lnTo>
                      <a:pt x="848" y="276"/>
                    </a:lnTo>
                    <a:lnTo>
                      <a:pt x="846" y="278"/>
                    </a:lnTo>
                    <a:lnTo>
                      <a:pt x="846" y="278"/>
                    </a:lnTo>
                    <a:lnTo>
                      <a:pt x="848" y="280"/>
                    </a:lnTo>
                    <a:lnTo>
                      <a:pt x="848" y="282"/>
                    </a:lnTo>
                    <a:lnTo>
                      <a:pt x="850" y="284"/>
                    </a:lnTo>
                    <a:lnTo>
                      <a:pt x="850" y="288"/>
                    </a:lnTo>
                    <a:lnTo>
                      <a:pt x="850" y="288"/>
                    </a:lnTo>
                    <a:lnTo>
                      <a:pt x="850" y="296"/>
                    </a:lnTo>
                    <a:lnTo>
                      <a:pt x="852" y="300"/>
                    </a:lnTo>
                    <a:lnTo>
                      <a:pt x="860" y="308"/>
                    </a:lnTo>
                    <a:lnTo>
                      <a:pt x="860" y="308"/>
                    </a:lnTo>
                    <a:lnTo>
                      <a:pt x="864" y="310"/>
                    </a:lnTo>
                    <a:lnTo>
                      <a:pt x="866" y="306"/>
                    </a:lnTo>
                    <a:lnTo>
                      <a:pt x="868" y="298"/>
                    </a:lnTo>
                    <a:lnTo>
                      <a:pt x="868" y="284"/>
                    </a:lnTo>
                    <a:lnTo>
                      <a:pt x="868" y="284"/>
                    </a:lnTo>
                    <a:close/>
                    <a:moveTo>
                      <a:pt x="852" y="306"/>
                    </a:moveTo>
                    <a:lnTo>
                      <a:pt x="852" y="306"/>
                    </a:lnTo>
                    <a:lnTo>
                      <a:pt x="848" y="302"/>
                    </a:lnTo>
                    <a:lnTo>
                      <a:pt x="846" y="298"/>
                    </a:lnTo>
                    <a:lnTo>
                      <a:pt x="844" y="296"/>
                    </a:lnTo>
                    <a:lnTo>
                      <a:pt x="844" y="296"/>
                    </a:lnTo>
                    <a:lnTo>
                      <a:pt x="844" y="296"/>
                    </a:lnTo>
                    <a:lnTo>
                      <a:pt x="844" y="302"/>
                    </a:lnTo>
                    <a:lnTo>
                      <a:pt x="846" y="304"/>
                    </a:lnTo>
                    <a:lnTo>
                      <a:pt x="846" y="304"/>
                    </a:lnTo>
                    <a:lnTo>
                      <a:pt x="852" y="310"/>
                    </a:lnTo>
                    <a:lnTo>
                      <a:pt x="858" y="318"/>
                    </a:lnTo>
                    <a:lnTo>
                      <a:pt x="858" y="318"/>
                    </a:lnTo>
                    <a:lnTo>
                      <a:pt x="858" y="318"/>
                    </a:lnTo>
                    <a:lnTo>
                      <a:pt x="858" y="314"/>
                    </a:lnTo>
                    <a:lnTo>
                      <a:pt x="856" y="310"/>
                    </a:lnTo>
                    <a:lnTo>
                      <a:pt x="852" y="306"/>
                    </a:lnTo>
                    <a:lnTo>
                      <a:pt x="852" y="306"/>
                    </a:lnTo>
                    <a:close/>
                    <a:moveTo>
                      <a:pt x="1028" y="396"/>
                    </a:moveTo>
                    <a:lnTo>
                      <a:pt x="1028" y="396"/>
                    </a:lnTo>
                    <a:lnTo>
                      <a:pt x="1032" y="394"/>
                    </a:lnTo>
                    <a:lnTo>
                      <a:pt x="1032" y="392"/>
                    </a:lnTo>
                    <a:lnTo>
                      <a:pt x="1036" y="380"/>
                    </a:lnTo>
                    <a:lnTo>
                      <a:pt x="1036" y="380"/>
                    </a:lnTo>
                    <a:lnTo>
                      <a:pt x="1040" y="372"/>
                    </a:lnTo>
                    <a:lnTo>
                      <a:pt x="1040" y="370"/>
                    </a:lnTo>
                    <a:lnTo>
                      <a:pt x="1036" y="368"/>
                    </a:lnTo>
                    <a:lnTo>
                      <a:pt x="1036" y="368"/>
                    </a:lnTo>
                    <a:lnTo>
                      <a:pt x="1034" y="366"/>
                    </a:lnTo>
                    <a:lnTo>
                      <a:pt x="1032" y="364"/>
                    </a:lnTo>
                    <a:lnTo>
                      <a:pt x="1032" y="362"/>
                    </a:lnTo>
                    <a:lnTo>
                      <a:pt x="1028" y="360"/>
                    </a:lnTo>
                    <a:lnTo>
                      <a:pt x="1028" y="360"/>
                    </a:lnTo>
                    <a:lnTo>
                      <a:pt x="1024" y="358"/>
                    </a:lnTo>
                    <a:lnTo>
                      <a:pt x="1018" y="360"/>
                    </a:lnTo>
                    <a:lnTo>
                      <a:pt x="1008" y="366"/>
                    </a:lnTo>
                    <a:lnTo>
                      <a:pt x="998" y="374"/>
                    </a:lnTo>
                    <a:lnTo>
                      <a:pt x="994" y="378"/>
                    </a:lnTo>
                    <a:lnTo>
                      <a:pt x="994" y="384"/>
                    </a:lnTo>
                    <a:lnTo>
                      <a:pt x="994" y="384"/>
                    </a:lnTo>
                    <a:lnTo>
                      <a:pt x="992" y="388"/>
                    </a:lnTo>
                    <a:lnTo>
                      <a:pt x="988" y="396"/>
                    </a:lnTo>
                    <a:lnTo>
                      <a:pt x="984" y="402"/>
                    </a:lnTo>
                    <a:lnTo>
                      <a:pt x="984" y="408"/>
                    </a:lnTo>
                    <a:lnTo>
                      <a:pt x="984" y="408"/>
                    </a:lnTo>
                    <a:lnTo>
                      <a:pt x="984" y="410"/>
                    </a:lnTo>
                    <a:lnTo>
                      <a:pt x="984" y="412"/>
                    </a:lnTo>
                    <a:lnTo>
                      <a:pt x="988" y="410"/>
                    </a:lnTo>
                    <a:lnTo>
                      <a:pt x="996" y="408"/>
                    </a:lnTo>
                    <a:lnTo>
                      <a:pt x="1000" y="408"/>
                    </a:lnTo>
                    <a:lnTo>
                      <a:pt x="1006" y="410"/>
                    </a:lnTo>
                    <a:lnTo>
                      <a:pt x="1006" y="410"/>
                    </a:lnTo>
                    <a:lnTo>
                      <a:pt x="1012" y="410"/>
                    </a:lnTo>
                    <a:lnTo>
                      <a:pt x="1016" y="410"/>
                    </a:lnTo>
                    <a:lnTo>
                      <a:pt x="1020" y="406"/>
                    </a:lnTo>
                    <a:lnTo>
                      <a:pt x="1024" y="400"/>
                    </a:lnTo>
                    <a:lnTo>
                      <a:pt x="1028" y="396"/>
                    </a:lnTo>
                    <a:lnTo>
                      <a:pt x="1028" y="396"/>
                    </a:lnTo>
                    <a:close/>
                    <a:moveTo>
                      <a:pt x="1032" y="410"/>
                    </a:moveTo>
                    <a:lnTo>
                      <a:pt x="1032" y="410"/>
                    </a:lnTo>
                    <a:lnTo>
                      <a:pt x="1036" y="410"/>
                    </a:lnTo>
                    <a:lnTo>
                      <a:pt x="1036" y="406"/>
                    </a:lnTo>
                    <a:lnTo>
                      <a:pt x="1034" y="402"/>
                    </a:lnTo>
                    <a:lnTo>
                      <a:pt x="1032" y="400"/>
                    </a:lnTo>
                    <a:lnTo>
                      <a:pt x="1032" y="400"/>
                    </a:lnTo>
                    <a:lnTo>
                      <a:pt x="1032" y="398"/>
                    </a:lnTo>
                    <a:lnTo>
                      <a:pt x="1030" y="398"/>
                    </a:lnTo>
                    <a:lnTo>
                      <a:pt x="1026" y="400"/>
                    </a:lnTo>
                    <a:lnTo>
                      <a:pt x="1024" y="404"/>
                    </a:lnTo>
                    <a:lnTo>
                      <a:pt x="1024" y="404"/>
                    </a:lnTo>
                    <a:lnTo>
                      <a:pt x="1024" y="408"/>
                    </a:lnTo>
                    <a:lnTo>
                      <a:pt x="1024" y="410"/>
                    </a:lnTo>
                    <a:lnTo>
                      <a:pt x="1032" y="410"/>
                    </a:lnTo>
                    <a:lnTo>
                      <a:pt x="1032" y="410"/>
                    </a:lnTo>
                    <a:close/>
                    <a:moveTo>
                      <a:pt x="1044" y="820"/>
                    </a:moveTo>
                    <a:lnTo>
                      <a:pt x="1044" y="820"/>
                    </a:lnTo>
                    <a:lnTo>
                      <a:pt x="1046" y="820"/>
                    </a:lnTo>
                    <a:lnTo>
                      <a:pt x="1050" y="820"/>
                    </a:lnTo>
                    <a:lnTo>
                      <a:pt x="1054" y="816"/>
                    </a:lnTo>
                    <a:lnTo>
                      <a:pt x="1056" y="812"/>
                    </a:lnTo>
                    <a:lnTo>
                      <a:pt x="1056" y="812"/>
                    </a:lnTo>
                    <a:lnTo>
                      <a:pt x="1060" y="812"/>
                    </a:lnTo>
                    <a:lnTo>
                      <a:pt x="1064" y="810"/>
                    </a:lnTo>
                    <a:lnTo>
                      <a:pt x="1068" y="808"/>
                    </a:lnTo>
                    <a:lnTo>
                      <a:pt x="1068" y="806"/>
                    </a:lnTo>
                    <a:lnTo>
                      <a:pt x="1066" y="804"/>
                    </a:lnTo>
                    <a:lnTo>
                      <a:pt x="1066" y="804"/>
                    </a:lnTo>
                    <a:lnTo>
                      <a:pt x="1064" y="802"/>
                    </a:lnTo>
                    <a:lnTo>
                      <a:pt x="1060" y="804"/>
                    </a:lnTo>
                    <a:lnTo>
                      <a:pt x="1052" y="808"/>
                    </a:lnTo>
                    <a:lnTo>
                      <a:pt x="1046" y="814"/>
                    </a:lnTo>
                    <a:lnTo>
                      <a:pt x="1044" y="818"/>
                    </a:lnTo>
                    <a:lnTo>
                      <a:pt x="1044" y="820"/>
                    </a:lnTo>
                    <a:lnTo>
                      <a:pt x="1044" y="820"/>
                    </a:lnTo>
                    <a:close/>
                    <a:moveTo>
                      <a:pt x="844" y="336"/>
                    </a:moveTo>
                    <a:lnTo>
                      <a:pt x="844" y="336"/>
                    </a:lnTo>
                    <a:lnTo>
                      <a:pt x="852" y="332"/>
                    </a:lnTo>
                    <a:lnTo>
                      <a:pt x="856" y="326"/>
                    </a:lnTo>
                    <a:lnTo>
                      <a:pt x="854" y="320"/>
                    </a:lnTo>
                    <a:lnTo>
                      <a:pt x="850" y="312"/>
                    </a:lnTo>
                    <a:lnTo>
                      <a:pt x="850" y="312"/>
                    </a:lnTo>
                    <a:lnTo>
                      <a:pt x="846" y="306"/>
                    </a:lnTo>
                    <a:lnTo>
                      <a:pt x="842" y="306"/>
                    </a:lnTo>
                    <a:lnTo>
                      <a:pt x="840" y="310"/>
                    </a:lnTo>
                    <a:lnTo>
                      <a:pt x="840" y="316"/>
                    </a:lnTo>
                    <a:lnTo>
                      <a:pt x="840" y="330"/>
                    </a:lnTo>
                    <a:lnTo>
                      <a:pt x="842" y="336"/>
                    </a:lnTo>
                    <a:lnTo>
                      <a:pt x="844" y="336"/>
                    </a:lnTo>
                    <a:lnTo>
                      <a:pt x="844" y="336"/>
                    </a:lnTo>
                    <a:close/>
                    <a:moveTo>
                      <a:pt x="794" y="292"/>
                    </a:moveTo>
                    <a:lnTo>
                      <a:pt x="794" y="292"/>
                    </a:lnTo>
                    <a:lnTo>
                      <a:pt x="800" y="276"/>
                    </a:lnTo>
                    <a:lnTo>
                      <a:pt x="804" y="264"/>
                    </a:lnTo>
                    <a:lnTo>
                      <a:pt x="806" y="256"/>
                    </a:lnTo>
                    <a:lnTo>
                      <a:pt x="806" y="256"/>
                    </a:lnTo>
                    <a:lnTo>
                      <a:pt x="804" y="256"/>
                    </a:lnTo>
                    <a:lnTo>
                      <a:pt x="804" y="256"/>
                    </a:lnTo>
                    <a:lnTo>
                      <a:pt x="798" y="264"/>
                    </a:lnTo>
                    <a:lnTo>
                      <a:pt x="794" y="278"/>
                    </a:lnTo>
                    <a:lnTo>
                      <a:pt x="794" y="292"/>
                    </a:lnTo>
                    <a:lnTo>
                      <a:pt x="794" y="292"/>
                    </a:lnTo>
                    <a:close/>
                    <a:moveTo>
                      <a:pt x="1118" y="446"/>
                    </a:moveTo>
                    <a:lnTo>
                      <a:pt x="1118" y="446"/>
                    </a:lnTo>
                    <a:lnTo>
                      <a:pt x="1122" y="448"/>
                    </a:lnTo>
                    <a:lnTo>
                      <a:pt x="1128" y="450"/>
                    </a:lnTo>
                    <a:lnTo>
                      <a:pt x="1142" y="448"/>
                    </a:lnTo>
                    <a:lnTo>
                      <a:pt x="1158" y="448"/>
                    </a:lnTo>
                    <a:lnTo>
                      <a:pt x="1166" y="450"/>
                    </a:lnTo>
                    <a:lnTo>
                      <a:pt x="1172" y="452"/>
                    </a:lnTo>
                    <a:lnTo>
                      <a:pt x="1172" y="452"/>
                    </a:lnTo>
                    <a:lnTo>
                      <a:pt x="1180" y="454"/>
                    </a:lnTo>
                    <a:lnTo>
                      <a:pt x="1186" y="454"/>
                    </a:lnTo>
                    <a:lnTo>
                      <a:pt x="1190" y="452"/>
                    </a:lnTo>
                    <a:lnTo>
                      <a:pt x="1194" y="450"/>
                    </a:lnTo>
                    <a:lnTo>
                      <a:pt x="1204" y="442"/>
                    </a:lnTo>
                    <a:lnTo>
                      <a:pt x="1208" y="440"/>
                    </a:lnTo>
                    <a:lnTo>
                      <a:pt x="1212" y="440"/>
                    </a:lnTo>
                    <a:lnTo>
                      <a:pt x="1212" y="440"/>
                    </a:lnTo>
                    <a:lnTo>
                      <a:pt x="1216" y="440"/>
                    </a:lnTo>
                    <a:lnTo>
                      <a:pt x="1218" y="438"/>
                    </a:lnTo>
                    <a:lnTo>
                      <a:pt x="1218" y="434"/>
                    </a:lnTo>
                    <a:lnTo>
                      <a:pt x="1218" y="430"/>
                    </a:lnTo>
                    <a:lnTo>
                      <a:pt x="1214" y="420"/>
                    </a:lnTo>
                    <a:lnTo>
                      <a:pt x="1206" y="414"/>
                    </a:lnTo>
                    <a:lnTo>
                      <a:pt x="1206" y="414"/>
                    </a:lnTo>
                    <a:lnTo>
                      <a:pt x="1200" y="410"/>
                    </a:lnTo>
                    <a:lnTo>
                      <a:pt x="1198" y="406"/>
                    </a:lnTo>
                    <a:lnTo>
                      <a:pt x="1200" y="406"/>
                    </a:lnTo>
                    <a:lnTo>
                      <a:pt x="1206" y="404"/>
                    </a:lnTo>
                    <a:lnTo>
                      <a:pt x="1218" y="402"/>
                    </a:lnTo>
                    <a:lnTo>
                      <a:pt x="1222" y="398"/>
                    </a:lnTo>
                    <a:lnTo>
                      <a:pt x="1222" y="394"/>
                    </a:lnTo>
                    <a:lnTo>
                      <a:pt x="1222" y="394"/>
                    </a:lnTo>
                    <a:lnTo>
                      <a:pt x="1222" y="392"/>
                    </a:lnTo>
                    <a:lnTo>
                      <a:pt x="1224" y="390"/>
                    </a:lnTo>
                    <a:lnTo>
                      <a:pt x="1230" y="388"/>
                    </a:lnTo>
                    <a:lnTo>
                      <a:pt x="1232" y="388"/>
                    </a:lnTo>
                    <a:lnTo>
                      <a:pt x="1232" y="384"/>
                    </a:lnTo>
                    <a:lnTo>
                      <a:pt x="1232" y="376"/>
                    </a:lnTo>
                    <a:lnTo>
                      <a:pt x="1228" y="364"/>
                    </a:lnTo>
                    <a:lnTo>
                      <a:pt x="1228" y="364"/>
                    </a:lnTo>
                    <a:lnTo>
                      <a:pt x="1234" y="372"/>
                    </a:lnTo>
                    <a:lnTo>
                      <a:pt x="1240" y="376"/>
                    </a:lnTo>
                    <a:lnTo>
                      <a:pt x="1246" y="378"/>
                    </a:lnTo>
                    <a:lnTo>
                      <a:pt x="1256" y="376"/>
                    </a:lnTo>
                    <a:lnTo>
                      <a:pt x="1256" y="376"/>
                    </a:lnTo>
                    <a:lnTo>
                      <a:pt x="1268" y="372"/>
                    </a:lnTo>
                    <a:lnTo>
                      <a:pt x="1272" y="374"/>
                    </a:lnTo>
                    <a:lnTo>
                      <a:pt x="1272" y="376"/>
                    </a:lnTo>
                    <a:lnTo>
                      <a:pt x="1274" y="378"/>
                    </a:lnTo>
                    <a:lnTo>
                      <a:pt x="1278" y="382"/>
                    </a:lnTo>
                    <a:lnTo>
                      <a:pt x="1284" y="384"/>
                    </a:lnTo>
                    <a:lnTo>
                      <a:pt x="1296" y="386"/>
                    </a:lnTo>
                    <a:lnTo>
                      <a:pt x="1296" y="386"/>
                    </a:lnTo>
                    <a:lnTo>
                      <a:pt x="1308" y="388"/>
                    </a:lnTo>
                    <a:lnTo>
                      <a:pt x="1316" y="392"/>
                    </a:lnTo>
                    <a:lnTo>
                      <a:pt x="1324" y="398"/>
                    </a:lnTo>
                    <a:lnTo>
                      <a:pt x="1330" y="406"/>
                    </a:lnTo>
                    <a:lnTo>
                      <a:pt x="1340" y="426"/>
                    </a:lnTo>
                    <a:lnTo>
                      <a:pt x="1348" y="438"/>
                    </a:lnTo>
                    <a:lnTo>
                      <a:pt x="1358" y="450"/>
                    </a:lnTo>
                    <a:lnTo>
                      <a:pt x="1358" y="450"/>
                    </a:lnTo>
                    <a:lnTo>
                      <a:pt x="1374" y="472"/>
                    </a:lnTo>
                    <a:lnTo>
                      <a:pt x="1380" y="480"/>
                    </a:lnTo>
                    <a:lnTo>
                      <a:pt x="1384" y="486"/>
                    </a:lnTo>
                    <a:lnTo>
                      <a:pt x="1392" y="488"/>
                    </a:lnTo>
                    <a:lnTo>
                      <a:pt x="1400" y="492"/>
                    </a:lnTo>
                    <a:lnTo>
                      <a:pt x="1432" y="498"/>
                    </a:lnTo>
                    <a:lnTo>
                      <a:pt x="1432" y="498"/>
                    </a:lnTo>
                    <a:lnTo>
                      <a:pt x="1450" y="502"/>
                    </a:lnTo>
                    <a:lnTo>
                      <a:pt x="1462" y="506"/>
                    </a:lnTo>
                    <a:lnTo>
                      <a:pt x="1470" y="510"/>
                    </a:lnTo>
                    <a:lnTo>
                      <a:pt x="1476" y="512"/>
                    </a:lnTo>
                    <a:lnTo>
                      <a:pt x="1482" y="518"/>
                    </a:lnTo>
                    <a:lnTo>
                      <a:pt x="1488" y="520"/>
                    </a:lnTo>
                    <a:lnTo>
                      <a:pt x="1492" y="520"/>
                    </a:lnTo>
                    <a:lnTo>
                      <a:pt x="1492" y="520"/>
                    </a:lnTo>
                    <a:lnTo>
                      <a:pt x="1500" y="520"/>
                    </a:lnTo>
                    <a:lnTo>
                      <a:pt x="1506" y="518"/>
                    </a:lnTo>
                    <a:lnTo>
                      <a:pt x="1512" y="514"/>
                    </a:lnTo>
                    <a:lnTo>
                      <a:pt x="1514" y="510"/>
                    </a:lnTo>
                    <a:lnTo>
                      <a:pt x="1514" y="506"/>
                    </a:lnTo>
                    <a:lnTo>
                      <a:pt x="1512" y="502"/>
                    </a:lnTo>
                    <a:lnTo>
                      <a:pt x="1508" y="498"/>
                    </a:lnTo>
                    <a:lnTo>
                      <a:pt x="1498" y="494"/>
                    </a:lnTo>
                    <a:lnTo>
                      <a:pt x="1498" y="494"/>
                    </a:lnTo>
                    <a:lnTo>
                      <a:pt x="1482" y="490"/>
                    </a:lnTo>
                    <a:lnTo>
                      <a:pt x="1474" y="484"/>
                    </a:lnTo>
                    <a:lnTo>
                      <a:pt x="1472" y="482"/>
                    </a:lnTo>
                    <a:lnTo>
                      <a:pt x="1472" y="480"/>
                    </a:lnTo>
                    <a:lnTo>
                      <a:pt x="1474" y="476"/>
                    </a:lnTo>
                    <a:lnTo>
                      <a:pt x="1478" y="472"/>
                    </a:lnTo>
                    <a:lnTo>
                      <a:pt x="1478" y="470"/>
                    </a:lnTo>
                    <a:lnTo>
                      <a:pt x="1476" y="468"/>
                    </a:lnTo>
                    <a:lnTo>
                      <a:pt x="1464" y="466"/>
                    </a:lnTo>
                    <a:lnTo>
                      <a:pt x="1464" y="466"/>
                    </a:lnTo>
                    <a:lnTo>
                      <a:pt x="1454" y="464"/>
                    </a:lnTo>
                    <a:lnTo>
                      <a:pt x="1450" y="462"/>
                    </a:lnTo>
                    <a:lnTo>
                      <a:pt x="1448" y="458"/>
                    </a:lnTo>
                    <a:lnTo>
                      <a:pt x="1448" y="454"/>
                    </a:lnTo>
                    <a:lnTo>
                      <a:pt x="1450" y="448"/>
                    </a:lnTo>
                    <a:lnTo>
                      <a:pt x="1454" y="442"/>
                    </a:lnTo>
                    <a:lnTo>
                      <a:pt x="1454" y="438"/>
                    </a:lnTo>
                    <a:lnTo>
                      <a:pt x="1448" y="438"/>
                    </a:lnTo>
                    <a:lnTo>
                      <a:pt x="1436" y="440"/>
                    </a:lnTo>
                    <a:lnTo>
                      <a:pt x="1436" y="440"/>
                    </a:lnTo>
                    <a:lnTo>
                      <a:pt x="1432" y="440"/>
                    </a:lnTo>
                    <a:lnTo>
                      <a:pt x="1428" y="440"/>
                    </a:lnTo>
                    <a:lnTo>
                      <a:pt x="1422" y="436"/>
                    </a:lnTo>
                    <a:lnTo>
                      <a:pt x="1416" y="428"/>
                    </a:lnTo>
                    <a:lnTo>
                      <a:pt x="1412" y="420"/>
                    </a:lnTo>
                    <a:lnTo>
                      <a:pt x="1408" y="400"/>
                    </a:lnTo>
                    <a:lnTo>
                      <a:pt x="1404" y="394"/>
                    </a:lnTo>
                    <a:lnTo>
                      <a:pt x="1400" y="390"/>
                    </a:lnTo>
                    <a:lnTo>
                      <a:pt x="1400" y="390"/>
                    </a:lnTo>
                    <a:lnTo>
                      <a:pt x="1394" y="386"/>
                    </a:lnTo>
                    <a:lnTo>
                      <a:pt x="1386" y="378"/>
                    </a:lnTo>
                    <a:lnTo>
                      <a:pt x="1370" y="360"/>
                    </a:lnTo>
                    <a:lnTo>
                      <a:pt x="1364" y="350"/>
                    </a:lnTo>
                    <a:lnTo>
                      <a:pt x="1358" y="340"/>
                    </a:lnTo>
                    <a:lnTo>
                      <a:pt x="1356" y="334"/>
                    </a:lnTo>
                    <a:lnTo>
                      <a:pt x="1356" y="332"/>
                    </a:lnTo>
                    <a:lnTo>
                      <a:pt x="1358" y="330"/>
                    </a:lnTo>
                    <a:lnTo>
                      <a:pt x="1358" y="330"/>
                    </a:lnTo>
                    <a:lnTo>
                      <a:pt x="1362" y="328"/>
                    </a:lnTo>
                    <a:lnTo>
                      <a:pt x="1366" y="326"/>
                    </a:lnTo>
                    <a:lnTo>
                      <a:pt x="1376" y="328"/>
                    </a:lnTo>
                    <a:lnTo>
                      <a:pt x="1388" y="328"/>
                    </a:lnTo>
                    <a:lnTo>
                      <a:pt x="1392" y="326"/>
                    </a:lnTo>
                    <a:lnTo>
                      <a:pt x="1394" y="324"/>
                    </a:lnTo>
                    <a:lnTo>
                      <a:pt x="1394" y="324"/>
                    </a:lnTo>
                    <a:lnTo>
                      <a:pt x="1396" y="320"/>
                    </a:lnTo>
                    <a:lnTo>
                      <a:pt x="1396" y="314"/>
                    </a:lnTo>
                    <a:lnTo>
                      <a:pt x="1390" y="302"/>
                    </a:lnTo>
                    <a:lnTo>
                      <a:pt x="1386" y="296"/>
                    </a:lnTo>
                    <a:lnTo>
                      <a:pt x="1380" y="292"/>
                    </a:lnTo>
                    <a:lnTo>
                      <a:pt x="1374" y="290"/>
                    </a:lnTo>
                    <a:lnTo>
                      <a:pt x="1370" y="290"/>
                    </a:lnTo>
                    <a:lnTo>
                      <a:pt x="1370" y="290"/>
                    </a:lnTo>
                    <a:lnTo>
                      <a:pt x="1364" y="290"/>
                    </a:lnTo>
                    <a:lnTo>
                      <a:pt x="1360" y="290"/>
                    </a:lnTo>
                    <a:lnTo>
                      <a:pt x="1354" y="284"/>
                    </a:lnTo>
                    <a:lnTo>
                      <a:pt x="1344" y="276"/>
                    </a:lnTo>
                    <a:lnTo>
                      <a:pt x="1338" y="272"/>
                    </a:lnTo>
                    <a:lnTo>
                      <a:pt x="1328" y="270"/>
                    </a:lnTo>
                    <a:lnTo>
                      <a:pt x="1328" y="270"/>
                    </a:lnTo>
                    <a:lnTo>
                      <a:pt x="1312" y="264"/>
                    </a:lnTo>
                    <a:lnTo>
                      <a:pt x="1310" y="262"/>
                    </a:lnTo>
                    <a:lnTo>
                      <a:pt x="1308" y="260"/>
                    </a:lnTo>
                    <a:lnTo>
                      <a:pt x="1310" y="256"/>
                    </a:lnTo>
                    <a:lnTo>
                      <a:pt x="1312" y="246"/>
                    </a:lnTo>
                    <a:lnTo>
                      <a:pt x="1312" y="246"/>
                    </a:lnTo>
                    <a:lnTo>
                      <a:pt x="1312" y="238"/>
                    </a:lnTo>
                    <a:lnTo>
                      <a:pt x="1306" y="230"/>
                    </a:lnTo>
                    <a:lnTo>
                      <a:pt x="1298" y="220"/>
                    </a:lnTo>
                    <a:lnTo>
                      <a:pt x="1288" y="210"/>
                    </a:lnTo>
                    <a:lnTo>
                      <a:pt x="1278" y="200"/>
                    </a:lnTo>
                    <a:lnTo>
                      <a:pt x="1266" y="192"/>
                    </a:lnTo>
                    <a:lnTo>
                      <a:pt x="1256" y="188"/>
                    </a:lnTo>
                    <a:lnTo>
                      <a:pt x="1248" y="186"/>
                    </a:lnTo>
                    <a:lnTo>
                      <a:pt x="1248" y="186"/>
                    </a:lnTo>
                    <a:lnTo>
                      <a:pt x="1242" y="186"/>
                    </a:lnTo>
                    <a:lnTo>
                      <a:pt x="1238" y="184"/>
                    </a:lnTo>
                    <a:lnTo>
                      <a:pt x="1230" y="178"/>
                    </a:lnTo>
                    <a:lnTo>
                      <a:pt x="1220" y="170"/>
                    </a:lnTo>
                    <a:lnTo>
                      <a:pt x="1214" y="166"/>
                    </a:lnTo>
                    <a:lnTo>
                      <a:pt x="1202" y="162"/>
                    </a:lnTo>
                    <a:lnTo>
                      <a:pt x="1202" y="162"/>
                    </a:lnTo>
                    <a:lnTo>
                      <a:pt x="1190" y="158"/>
                    </a:lnTo>
                    <a:lnTo>
                      <a:pt x="1174" y="152"/>
                    </a:lnTo>
                    <a:lnTo>
                      <a:pt x="1140" y="134"/>
                    </a:lnTo>
                    <a:lnTo>
                      <a:pt x="1106" y="120"/>
                    </a:lnTo>
                    <a:lnTo>
                      <a:pt x="1092" y="116"/>
                    </a:lnTo>
                    <a:lnTo>
                      <a:pt x="1078" y="116"/>
                    </a:lnTo>
                    <a:lnTo>
                      <a:pt x="1080" y="404"/>
                    </a:lnTo>
                    <a:lnTo>
                      <a:pt x="1080" y="404"/>
                    </a:lnTo>
                    <a:lnTo>
                      <a:pt x="1094" y="414"/>
                    </a:lnTo>
                    <a:lnTo>
                      <a:pt x="1104" y="426"/>
                    </a:lnTo>
                    <a:lnTo>
                      <a:pt x="1118" y="446"/>
                    </a:lnTo>
                    <a:lnTo>
                      <a:pt x="1118" y="446"/>
                    </a:lnTo>
                    <a:close/>
                    <a:moveTo>
                      <a:pt x="784" y="288"/>
                    </a:moveTo>
                    <a:lnTo>
                      <a:pt x="784" y="288"/>
                    </a:lnTo>
                    <a:lnTo>
                      <a:pt x="786" y="290"/>
                    </a:lnTo>
                    <a:lnTo>
                      <a:pt x="788" y="288"/>
                    </a:lnTo>
                    <a:lnTo>
                      <a:pt x="790" y="286"/>
                    </a:lnTo>
                    <a:lnTo>
                      <a:pt x="790" y="282"/>
                    </a:lnTo>
                    <a:lnTo>
                      <a:pt x="790" y="282"/>
                    </a:lnTo>
                    <a:lnTo>
                      <a:pt x="788" y="278"/>
                    </a:lnTo>
                    <a:lnTo>
                      <a:pt x="784" y="274"/>
                    </a:lnTo>
                    <a:lnTo>
                      <a:pt x="784" y="274"/>
                    </a:lnTo>
                    <a:lnTo>
                      <a:pt x="782" y="276"/>
                    </a:lnTo>
                    <a:lnTo>
                      <a:pt x="784" y="288"/>
                    </a:lnTo>
                    <a:lnTo>
                      <a:pt x="784" y="288"/>
                    </a:lnTo>
                    <a:close/>
                    <a:moveTo>
                      <a:pt x="1474" y="80"/>
                    </a:moveTo>
                    <a:lnTo>
                      <a:pt x="1474" y="80"/>
                    </a:lnTo>
                    <a:lnTo>
                      <a:pt x="1476" y="80"/>
                    </a:lnTo>
                    <a:lnTo>
                      <a:pt x="1476" y="78"/>
                    </a:lnTo>
                    <a:lnTo>
                      <a:pt x="1474" y="72"/>
                    </a:lnTo>
                    <a:lnTo>
                      <a:pt x="1468" y="68"/>
                    </a:lnTo>
                    <a:lnTo>
                      <a:pt x="1466" y="68"/>
                    </a:lnTo>
                    <a:lnTo>
                      <a:pt x="1464" y="68"/>
                    </a:lnTo>
                    <a:lnTo>
                      <a:pt x="1464" y="68"/>
                    </a:lnTo>
                    <a:lnTo>
                      <a:pt x="1464" y="72"/>
                    </a:lnTo>
                    <a:lnTo>
                      <a:pt x="1464" y="76"/>
                    </a:lnTo>
                    <a:lnTo>
                      <a:pt x="1468" y="78"/>
                    </a:lnTo>
                    <a:lnTo>
                      <a:pt x="1474" y="80"/>
                    </a:lnTo>
                    <a:lnTo>
                      <a:pt x="1474" y="80"/>
                    </a:lnTo>
                    <a:close/>
                    <a:moveTo>
                      <a:pt x="1436" y="292"/>
                    </a:moveTo>
                    <a:lnTo>
                      <a:pt x="1436" y="292"/>
                    </a:lnTo>
                    <a:lnTo>
                      <a:pt x="1442" y="296"/>
                    </a:lnTo>
                    <a:lnTo>
                      <a:pt x="1446" y="298"/>
                    </a:lnTo>
                    <a:lnTo>
                      <a:pt x="1448" y="298"/>
                    </a:lnTo>
                    <a:lnTo>
                      <a:pt x="1450" y="298"/>
                    </a:lnTo>
                    <a:lnTo>
                      <a:pt x="1452" y="296"/>
                    </a:lnTo>
                    <a:lnTo>
                      <a:pt x="1454" y="296"/>
                    </a:lnTo>
                    <a:lnTo>
                      <a:pt x="1458" y="298"/>
                    </a:lnTo>
                    <a:lnTo>
                      <a:pt x="1462" y="302"/>
                    </a:lnTo>
                    <a:lnTo>
                      <a:pt x="1462" y="302"/>
                    </a:lnTo>
                    <a:lnTo>
                      <a:pt x="1468" y="306"/>
                    </a:lnTo>
                    <a:lnTo>
                      <a:pt x="1478" y="308"/>
                    </a:lnTo>
                    <a:lnTo>
                      <a:pt x="1490" y="306"/>
                    </a:lnTo>
                    <a:lnTo>
                      <a:pt x="1502" y="302"/>
                    </a:lnTo>
                    <a:lnTo>
                      <a:pt x="1514" y="298"/>
                    </a:lnTo>
                    <a:lnTo>
                      <a:pt x="1524" y="292"/>
                    </a:lnTo>
                    <a:lnTo>
                      <a:pt x="1534" y="284"/>
                    </a:lnTo>
                    <a:lnTo>
                      <a:pt x="1538" y="278"/>
                    </a:lnTo>
                    <a:lnTo>
                      <a:pt x="1538" y="278"/>
                    </a:lnTo>
                    <a:lnTo>
                      <a:pt x="1542" y="272"/>
                    </a:lnTo>
                    <a:lnTo>
                      <a:pt x="1544" y="270"/>
                    </a:lnTo>
                    <a:lnTo>
                      <a:pt x="1548" y="270"/>
                    </a:lnTo>
                    <a:lnTo>
                      <a:pt x="1550" y="270"/>
                    </a:lnTo>
                    <a:lnTo>
                      <a:pt x="1556" y="272"/>
                    </a:lnTo>
                    <a:lnTo>
                      <a:pt x="1560" y="270"/>
                    </a:lnTo>
                    <a:lnTo>
                      <a:pt x="1566" y="268"/>
                    </a:lnTo>
                    <a:lnTo>
                      <a:pt x="1566" y="268"/>
                    </a:lnTo>
                    <a:lnTo>
                      <a:pt x="1568" y="264"/>
                    </a:lnTo>
                    <a:lnTo>
                      <a:pt x="1570" y="260"/>
                    </a:lnTo>
                    <a:lnTo>
                      <a:pt x="1566" y="252"/>
                    </a:lnTo>
                    <a:lnTo>
                      <a:pt x="1564" y="246"/>
                    </a:lnTo>
                    <a:lnTo>
                      <a:pt x="1564" y="244"/>
                    </a:lnTo>
                    <a:lnTo>
                      <a:pt x="1566" y="242"/>
                    </a:lnTo>
                    <a:lnTo>
                      <a:pt x="1566" y="242"/>
                    </a:lnTo>
                    <a:lnTo>
                      <a:pt x="1572" y="240"/>
                    </a:lnTo>
                    <a:lnTo>
                      <a:pt x="1574" y="238"/>
                    </a:lnTo>
                    <a:lnTo>
                      <a:pt x="1580" y="228"/>
                    </a:lnTo>
                    <a:lnTo>
                      <a:pt x="1580" y="216"/>
                    </a:lnTo>
                    <a:lnTo>
                      <a:pt x="1578" y="212"/>
                    </a:lnTo>
                    <a:lnTo>
                      <a:pt x="1576" y="208"/>
                    </a:lnTo>
                    <a:lnTo>
                      <a:pt x="1576" y="208"/>
                    </a:lnTo>
                    <a:lnTo>
                      <a:pt x="1572" y="202"/>
                    </a:lnTo>
                    <a:lnTo>
                      <a:pt x="1566" y="202"/>
                    </a:lnTo>
                    <a:lnTo>
                      <a:pt x="1548" y="202"/>
                    </a:lnTo>
                    <a:lnTo>
                      <a:pt x="1548" y="202"/>
                    </a:lnTo>
                    <a:lnTo>
                      <a:pt x="1546" y="204"/>
                    </a:lnTo>
                    <a:lnTo>
                      <a:pt x="1544" y="206"/>
                    </a:lnTo>
                    <a:lnTo>
                      <a:pt x="1542" y="210"/>
                    </a:lnTo>
                    <a:lnTo>
                      <a:pt x="1546" y="224"/>
                    </a:lnTo>
                    <a:lnTo>
                      <a:pt x="1550" y="236"/>
                    </a:lnTo>
                    <a:lnTo>
                      <a:pt x="1548" y="240"/>
                    </a:lnTo>
                    <a:lnTo>
                      <a:pt x="1542" y="240"/>
                    </a:lnTo>
                    <a:lnTo>
                      <a:pt x="1542" y="240"/>
                    </a:lnTo>
                    <a:lnTo>
                      <a:pt x="1536" y="238"/>
                    </a:lnTo>
                    <a:lnTo>
                      <a:pt x="1530" y="242"/>
                    </a:lnTo>
                    <a:lnTo>
                      <a:pt x="1526" y="248"/>
                    </a:lnTo>
                    <a:lnTo>
                      <a:pt x="1522" y="254"/>
                    </a:lnTo>
                    <a:lnTo>
                      <a:pt x="1518" y="262"/>
                    </a:lnTo>
                    <a:lnTo>
                      <a:pt x="1514" y="266"/>
                    </a:lnTo>
                    <a:lnTo>
                      <a:pt x="1510" y="268"/>
                    </a:lnTo>
                    <a:lnTo>
                      <a:pt x="1504" y="266"/>
                    </a:lnTo>
                    <a:lnTo>
                      <a:pt x="1504" y="266"/>
                    </a:lnTo>
                    <a:lnTo>
                      <a:pt x="1500" y="264"/>
                    </a:lnTo>
                    <a:lnTo>
                      <a:pt x="1498" y="264"/>
                    </a:lnTo>
                    <a:lnTo>
                      <a:pt x="1494" y="268"/>
                    </a:lnTo>
                    <a:lnTo>
                      <a:pt x="1490" y="270"/>
                    </a:lnTo>
                    <a:lnTo>
                      <a:pt x="1488" y="264"/>
                    </a:lnTo>
                    <a:lnTo>
                      <a:pt x="1488" y="264"/>
                    </a:lnTo>
                    <a:lnTo>
                      <a:pt x="1486" y="256"/>
                    </a:lnTo>
                    <a:lnTo>
                      <a:pt x="1488" y="250"/>
                    </a:lnTo>
                    <a:lnTo>
                      <a:pt x="1490" y="248"/>
                    </a:lnTo>
                    <a:lnTo>
                      <a:pt x="1490" y="244"/>
                    </a:lnTo>
                    <a:lnTo>
                      <a:pt x="1490" y="244"/>
                    </a:lnTo>
                    <a:lnTo>
                      <a:pt x="1488" y="242"/>
                    </a:lnTo>
                    <a:lnTo>
                      <a:pt x="1488" y="242"/>
                    </a:lnTo>
                    <a:lnTo>
                      <a:pt x="1484" y="244"/>
                    </a:lnTo>
                    <a:lnTo>
                      <a:pt x="1480" y="250"/>
                    </a:lnTo>
                    <a:lnTo>
                      <a:pt x="1480" y="262"/>
                    </a:lnTo>
                    <a:lnTo>
                      <a:pt x="1480" y="262"/>
                    </a:lnTo>
                    <a:lnTo>
                      <a:pt x="1478" y="266"/>
                    </a:lnTo>
                    <a:lnTo>
                      <a:pt x="1476" y="268"/>
                    </a:lnTo>
                    <a:lnTo>
                      <a:pt x="1470" y="270"/>
                    </a:lnTo>
                    <a:lnTo>
                      <a:pt x="1460" y="268"/>
                    </a:lnTo>
                    <a:lnTo>
                      <a:pt x="1448" y="266"/>
                    </a:lnTo>
                    <a:lnTo>
                      <a:pt x="1434" y="266"/>
                    </a:lnTo>
                    <a:lnTo>
                      <a:pt x="1424" y="264"/>
                    </a:lnTo>
                    <a:lnTo>
                      <a:pt x="1416" y="266"/>
                    </a:lnTo>
                    <a:lnTo>
                      <a:pt x="1414" y="268"/>
                    </a:lnTo>
                    <a:lnTo>
                      <a:pt x="1414" y="270"/>
                    </a:lnTo>
                    <a:lnTo>
                      <a:pt x="1414" y="270"/>
                    </a:lnTo>
                    <a:lnTo>
                      <a:pt x="1416" y="278"/>
                    </a:lnTo>
                    <a:lnTo>
                      <a:pt x="1420" y="280"/>
                    </a:lnTo>
                    <a:lnTo>
                      <a:pt x="1428" y="284"/>
                    </a:lnTo>
                    <a:lnTo>
                      <a:pt x="1436" y="292"/>
                    </a:lnTo>
                    <a:lnTo>
                      <a:pt x="1436" y="292"/>
                    </a:lnTo>
                    <a:close/>
                    <a:moveTo>
                      <a:pt x="1546" y="156"/>
                    </a:moveTo>
                    <a:lnTo>
                      <a:pt x="1546" y="156"/>
                    </a:lnTo>
                    <a:lnTo>
                      <a:pt x="1552" y="162"/>
                    </a:lnTo>
                    <a:lnTo>
                      <a:pt x="1562" y="170"/>
                    </a:lnTo>
                    <a:lnTo>
                      <a:pt x="1572" y="178"/>
                    </a:lnTo>
                    <a:lnTo>
                      <a:pt x="1582" y="190"/>
                    </a:lnTo>
                    <a:lnTo>
                      <a:pt x="1582" y="190"/>
                    </a:lnTo>
                    <a:lnTo>
                      <a:pt x="1586" y="196"/>
                    </a:lnTo>
                    <a:lnTo>
                      <a:pt x="1588" y="202"/>
                    </a:lnTo>
                    <a:lnTo>
                      <a:pt x="1590" y="210"/>
                    </a:lnTo>
                    <a:lnTo>
                      <a:pt x="1590" y="220"/>
                    </a:lnTo>
                    <a:lnTo>
                      <a:pt x="1592" y="224"/>
                    </a:lnTo>
                    <a:lnTo>
                      <a:pt x="1594" y="232"/>
                    </a:lnTo>
                    <a:lnTo>
                      <a:pt x="1594" y="232"/>
                    </a:lnTo>
                    <a:lnTo>
                      <a:pt x="1598" y="236"/>
                    </a:lnTo>
                    <a:lnTo>
                      <a:pt x="1602" y="234"/>
                    </a:lnTo>
                    <a:lnTo>
                      <a:pt x="1604" y="230"/>
                    </a:lnTo>
                    <a:lnTo>
                      <a:pt x="1608" y="222"/>
                    </a:lnTo>
                    <a:lnTo>
                      <a:pt x="1608" y="214"/>
                    </a:lnTo>
                    <a:lnTo>
                      <a:pt x="1608" y="206"/>
                    </a:lnTo>
                    <a:lnTo>
                      <a:pt x="1604" y="196"/>
                    </a:lnTo>
                    <a:lnTo>
                      <a:pt x="1596" y="190"/>
                    </a:lnTo>
                    <a:lnTo>
                      <a:pt x="1596" y="190"/>
                    </a:lnTo>
                    <a:lnTo>
                      <a:pt x="1582" y="178"/>
                    </a:lnTo>
                    <a:lnTo>
                      <a:pt x="1574" y="168"/>
                    </a:lnTo>
                    <a:lnTo>
                      <a:pt x="1566" y="160"/>
                    </a:lnTo>
                    <a:lnTo>
                      <a:pt x="1556" y="154"/>
                    </a:lnTo>
                    <a:lnTo>
                      <a:pt x="1556" y="154"/>
                    </a:lnTo>
                    <a:lnTo>
                      <a:pt x="1538" y="142"/>
                    </a:lnTo>
                    <a:lnTo>
                      <a:pt x="1526" y="132"/>
                    </a:lnTo>
                    <a:lnTo>
                      <a:pt x="1518" y="126"/>
                    </a:lnTo>
                    <a:lnTo>
                      <a:pt x="1516" y="126"/>
                    </a:lnTo>
                    <a:lnTo>
                      <a:pt x="1514" y="128"/>
                    </a:lnTo>
                    <a:lnTo>
                      <a:pt x="1514" y="128"/>
                    </a:lnTo>
                    <a:lnTo>
                      <a:pt x="1510" y="132"/>
                    </a:lnTo>
                    <a:lnTo>
                      <a:pt x="1508" y="134"/>
                    </a:lnTo>
                    <a:lnTo>
                      <a:pt x="1510" y="136"/>
                    </a:lnTo>
                    <a:lnTo>
                      <a:pt x="1516" y="138"/>
                    </a:lnTo>
                    <a:lnTo>
                      <a:pt x="1530" y="144"/>
                    </a:lnTo>
                    <a:lnTo>
                      <a:pt x="1538" y="150"/>
                    </a:lnTo>
                    <a:lnTo>
                      <a:pt x="1546" y="156"/>
                    </a:lnTo>
                    <a:lnTo>
                      <a:pt x="1546" y="156"/>
                    </a:lnTo>
                    <a:close/>
                    <a:moveTo>
                      <a:pt x="1500" y="128"/>
                    </a:moveTo>
                    <a:lnTo>
                      <a:pt x="1500" y="128"/>
                    </a:lnTo>
                    <a:lnTo>
                      <a:pt x="1502" y="126"/>
                    </a:lnTo>
                    <a:lnTo>
                      <a:pt x="1502" y="122"/>
                    </a:lnTo>
                    <a:lnTo>
                      <a:pt x="1496" y="116"/>
                    </a:lnTo>
                    <a:lnTo>
                      <a:pt x="1492" y="114"/>
                    </a:lnTo>
                    <a:lnTo>
                      <a:pt x="1490" y="114"/>
                    </a:lnTo>
                    <a:lnTo>
                      <a:pt x="1486" y="114"/>
                    </a:lnTo>
                    <a:lnTo>
                      <a:pt x="1484" y="118"/>
                    </a:lnTo>
                    <a:lnTo>
                      <a:pt x="1484" y="118"/>
                    </a:lnTo>
                    <a:lnTo>
                      <a:pt x="1484" y="120"/>
                    </a:lnTo>
                    <a:lnTo>
                      <a:pt x="1484" y="124"/>
                    </a:lnTo>
                    <a:lnTo>
                      <a:pt x="1488" y="128"/>
                    </a:lnTo>
                    <a:lnTo>
                      <a:pt x="1494" y="130"/>
                    </a:lnTo>
                    <a:lnTo>
                      <a:pt x="1498" y="130"/>
                    </a:lnTo>
                    <a:lnTo>
                      <a:pt x="1500" y="128"/>
                    </a:lnTo>
                    <a:lnTo>
                      <a:pt x="1500" y="128"/>
                    </a:lnTo>
                    <a:close/>
                    <a:moveTo>
                      <a:pt x="726" y="46"/>
                    </a:moveTo>
                    <a:lnTo>
                      <a:pt x="726" y="46"/>
                    </a:lnTo>
                    <a:lnTo>
                      <a:pt x="726" y="50"/>
                    </a:lnTo>
                    <a:lnTo>
                      <a:pt x="724" y="54"/>
                    </a:lnTo>
                    <a:lnTo>
                      <a:pt x="716" y="62"/>
                    </a:lnTo>
                    <a:lnTo>
                      <a:pt x="714" y="66"/>
                    </a:lnTo>
                    <a:lnTo>
                      <a:pt x="716" y="70"/>
                    </a:lnTo>
                    <a:lnTo>
                      <a:pt x="718" y="72"/>
                    </a:lnTo>
                    <a:lnTo>
                      <a:pt x="726" y="72"/>
                    </a:lnTo>
                    <a:lnTo>
                      <a:pt x="726" y="72"/>
                    </a:lnTo>
                    <a:lnTo>
                      <a:pt x="738" y="72"/>
                    </a:lnTo>
                    <a:lnTo>
                      <a:pt x="742" y="74"/>
                    </a:lnTo>
                    <a:lnTo>
                      <a:pt x="746" y="78"/>
                    </a:lnTo>
                    <a:lnTo>
                      <a:pt x="752" y="88"/>
                    </a:lnTo>
                    <a:lnTo>
                      <a:pt x="758" y="104"/>
                    </a:lnTo>
                    <a:lnTo>
                      <a:pt x="758" y="104"/>
                    </a:lnTo>
                    <a:lnTo>
                      <a:pt x="762" y="106"/>
                    </a:lnTo>
                    <a:lnTo>
                      <a:pt x="764" y="108"/>
                    </a:lnTo>
                    <a:lnTo>
                      <a:pt x="774" y="110"/>
                    </a:lnTo>
                    <a:lnTo>
                      <a:pt x="786" y="110"/>
                    </a:lnTo>
                    <a:lnTo>
                      <a:pt x="798" y="110"/>
                    </a:lnTo>
                    <a:lnTo>
                      <a:pt x="810" y="108"/>
                    </a:lnTo>
                    <a:lnTo>
                      <a:pt x="820" y="108"/>
                    </a:lnTo>
                    <a:lnTo>
                      <a:pt x="828" y="110"/>
                    </a:lnTo>
                    <a:lnTo>
                      <a:pt x="830" y="112"/>
                    </a:lnTo>
                    <a:lnTo>
                      <a:pt x="830" y="114"/>
                    </a:lnTo>
                    <a:lnTo>
                      <a:pt x="830" y="114"/>
                    </a:lnTo>
                    <a:lnTo>
                      <a:pt x="830" y="120"/>
                    </a:lnTo>
                    <a:lnTo>
                      <a:pt x="826" y="122"/>
                    </a:lnTo>
                    <a:lnTo>
                      <a:pt x="822" y="122"/>
                    </a:lnTo>
                    <a:lnTo>
                      <a:pt x="816" y="120"/>
                    </a:lnTo>
                    <a:lnTo>
                      <a:pt x="808" y="120"/>
                    </a:lnTo>
                    <a:lnTo>
                      <a:pt x="802" y="118"/>
                    </a:lnTo>
                    <a:lnTo>
                      <a:pt x="798" y="120"/>
                    </a:lnTo>
                    <a:lnTo>
                      <a:pt x="794" y="124"/>
                    </a:lnTo>
                    <a:lnTo>
                      <a:pt x="794" y="124"/>
                    </a:lnTo>
                    <a:lnTo>
                      <a:pt x="790" y="130"/>
                    </a:lnTo>
                    <a:lnTo>
                      <a:pt x="784" y="134"/>
                    </a:lnTo>
                    <a:lnTo>
                      <a:pt x="778" y="134"/>
                    </a:lnTo>
                    <a:lnTo>
                      <a:pt x="772" y="132"/>
                    </a:lnTo>
                    <a:lnTo>
                      <a:pt x="766" y="130"/>
                    </a:lnTo>
                    <a:lnTo>
                      <a:pt x="760" y="130"/>
                    </a:lnTo>
                    <a:lnTo>
                      <a:pt x="756" y="132"/>
                    </a:lnTo>
                    <a:lnTo>
                      <a:pt x="756" y="138"/>
                    </a:lnTo>
                    <a:lnTo>
                      <a:pt x="756" y="138"/>
                    </a:lnTo>
                    <a:lnTo>
                      <a:pt x="756" y="142"/>
                    </a:lnTo>
                    <a:lnTo>
                      <a:pt x="760" y="144"/>
                    </a:lnTo>
                    <a:lnTo>
                      <a:pt x="768" y="146"/>
                    </a:lnTo>
                    <a:lnTo>
                      <a:pt x="780" y="156"/>
                    </a:lnTo>
                    <a:lnTo>
                      <a:pt x="780" y="156"/>
                    </a:lnTo>
                    <a:lnTo>
                      <a:pt x="786" y="164"/>
                    </a:lnTo>
                    <a:lnTo>
                      <a:pt x="790" y="170"/>
                    </a:lnTo>
                    <a:lnTo>
                      <a:pt x="790" y="174"/>
                    </a:lnTo>
                    <a:lnTo>
                      <a:pt x="788" y="176"/>
                    </a:lnTo>
                    <a:lnTo>
                      <a:pt x="784" y="180"/>
                    </a:lnTo>
                    <a:lnTo>
                      <a:pt x="784" y="184"/>
                    </a:lnTo>
                    <a:lnTo>
                      <a:pt x="784" y="188"/>
                    </a:lnTo>
                    <a:lnTo>
                      <a:pt x="784" y="188"/>
                    </a:lnTo>
                    <a:lnTo>
                      <a:pt x="788" y="194"/>
                    </a:lnTo>
                    <a:lnTo>
                      <a:pt x="792" y="196"/>
                    </a:lnTo>
                    <a:lnTo>
                      <a:pt x="796" y="198"/>
                    </a:lnTo>
                    <a:lnTo>
                      <a:pt x="802" y="198"/>
                    </a:lnTo>
                    <a:lnTo>
                      <a:pt x="806" y="196"/>
                    </a:lnTo>
                    <a:lnTo>
                      <a:pt x="810" y="192"/>
                    </a:lnTo>
                    <a:lnTo>
                      <a:pt x="814" y="186"/>
                    </a:lnTo>
                    <a:lnTo>
                      <a:pt x="816" y="178"/>
                    </a:lnTo>
                    <a:lnTo>
                      <a:pt x="816" y="178"/>
                    </a:lnTo>
                    <a:lnTo>
                      <a:pt x="822" y="158"/>
                    </a:lnTo>
                    <a:lnTo>
                      <a:pt x="826" y="150"/>
                    </a:lnTo>
                    <a:lnTo>
                      <a:pt x="828" y="150"/>
                    </a:lnTo>
                    <a:lnTo>
                      <a:pt x="828" y="154"/>
                    </a:lnTo>
                    <a:lnTo>
                      <a:pt x="824" y="168"/>
                    </a:lnTo>
                    <a:lnTo>
                      <a:pt x="824" y="168"/>
                    </a:lnTo>
                    <a:lnTo>
                      <a:pt x="824" y="174"/>
                    </a:lnTo>
                    <a:lnTo>
                      <a:pt x="824" y="178"/>
                    </a:lnTo>
                    <a:lnTo>
                      <a:pt x="828" y="180"/>
                    </a:lnTo>
                    <a:lnTo>
                      <a:pt x="832" y="184"/>
                    </a:lnTo>
                    <a:lnTo>
                      <a:pt x="844" y="188"/>
                    </a:lnTo>
                    <a:lnTo>
                      <a:pt x="852" y="192"/>
                    </a:lnTo>
                    <a:lnTo>
                      <a:pt x="860" y="198"/>
                    </a:lnTo>
                    <a:lnTo>
                      <a:pt x="860" y="198"/>
                    </a:lnTo>
                    <a:lnTo>
                      <a:pt x="870" y="206"/>
                    </a:lnTo>
                    <a:lnTo>
                      <a:pt x="878" y="212"/>
                    </a:lnTo>
                    <a:lnTo>
                      <a:pt x="886" y="214"/>
                    </a:lnTo>
                    <a:lnTo>
                      <a:pt x="892" y="216"/>
                    </a:lnTo>
                    <a:lnTo>
                      <a:pt x="906" y="218"/>
                    </a:lnTo>
                    <a:lnTo>
                      <a:pt x="916" y="220"/>
                    </a:lnTo>
                    <a:lnTo>
                      <a:pt x="926" y="226"/>
                    </a:lnTo>
                    <a:lnTo>
                      <a:pt x="926" y="226"/>
                    </a:lnTo>
                    <a:lnTo>
                      <a:pt x="940" y="232"/>
                    </a:lnTo>
                    <a:lnTo>
                      <a:pt x="954" y="238"/>
                    </a:lnTo>
                    <a:lnTo>
                      <a:pt x="966" y="242"/>
                    </a:lnTo>
                    <a:lnTo>
                      <a:pt x="980" y="252"/>
                    </a:lnTo>
                    <a:lnTo>
                      <a:pt x="980" y="252"/>
                    </a:lnTo>
                    <a:lnTo>
                      <a:pt x="988" y="258"/>
                    </a:lnTo>
                    <a:lnTo>
                      <a:pt x="994" y="266"/>
                    </a:lnTo>
                    <a:lnTo>
                      <a:pt x="1004" y="284"/>
                    </a:lnTo>
                    <a:lnTo>
                      <a:pt x="1014" y="302"/>
                    </a:lnTo>
                    <a:lnTo>
                      <a:pt x="1024" y="318"/>
                    </a:lnTo>
                    <a:lnTo>
                      <a:pt x="1024" y="318"/>
                    </a:lnTo>
                    <a:lnTo>
                      <a:pt x="1028" y="324"/>
                    </a:lnTo>
                    <a:lnTo>
                      <a:pt x="1030" y="328"/>
                    </a:lnTo>
                    <a:lnTo>
                      <a:pt x="1028" y="330"/>
                    </a:lnTo>
                    <a:lnTo>
                      <a:pt x="1026" y="332"/>
                    </a:lnTo>
                    <a:lnTo>
                      <a:pt x="1022" y="336"/>
                    </a:lnTo>
                    <a:lnTo>
                      <a:pt x="1020" y="338"/>
                    </a:lnTo>
                    <a:lnTo>
                      <a:pt x="1020" y="344"/>
                    </a:lnTo>
                    <a:lnTo>
                      <a:pt x="1020" y="344"/>
                    </a:lnTo>
                    <a:lnTo>
                      <a:pt x="1024" y="350"/>
                    </a:lnTo>
                    <a:lnTo>
                      <a:pt x="1028" y="354"/>
                    </a:lnTo>
                    <a:lnTo>
                      <a:pt x="1036" y="360"/>
                    </a:lnTo>
                    <a:lnTo>
                      <a:pt x="1040" y="364"/>
                    </a:lnTo>
                    <a:lnTo>
                      <a:pt x="1044" y="368"/>
                    </a:lnTo>
                    <a:lnTo>
                      <a:pt x="1044" y="372"/>
                    </a:lnTo>
                    <a:lnTo>
                      <a:pt x="1040" y="380"/>
                    </a:lnTo>
                    <a:lnTo>
                      <a:pt x="1040" y="380"/>
                    </a:lnTo>
                    <a:lnTo>
                      <a:pt x="1036" y="394"/>
                    </a:lnTo>
                    <a:lnTo>
                      <a:pt x="1036" y="396"/>
                    </a:lnTo>
                    <a:lnTo>
                      <a:pt x="1038" y="398"/>
                    </a:lnTo>
                    <a:lnTo>
                      <a:pt x="1044" y="396"/>
                    </a:lnTo>
                    <a:lnTo>
                      <a:pt x="1046" y="396"/>
                    </a:lnTo>
                    <a:lnTo>
                      <a:pt x="1050" y="396"/>
                    </a:lnTo>
                    <a:lnTo>
                      <a:pt x="1050" y="396"/>
                    </a:lnTo>
                    <a:lnTo>
                      <a:pt x="1052" y="398"/>
                    </a:lnTo>
                    <a:lnTo>
                      <a:pt x="1054" y="398"/>
                    </a:lnTo>
                    <a:lnTo>
                      <a:pt x="1060" y="398"/>
                    </a:lnTo>
                    <a:lnTo>
                      <a:pt x="1068" y="398"/>
                    </a:lnTo>
                    <a:lnTo>
                      <a:pt x="1074" y="400"/>
                    </a:lnTo>
                    <a:lnTo>
                      <a:pt x="1080" y="404"/>
                    </a:lnTo>
                    <a:lnTo>
                      <a:pt x="1078" y="116"/>
                    </a:lnTo>
                    <a:lnTo>
                      <a:pt x="1078" y="116"/>
                    </a:lnTo>
                    <a:lnTo>
                      <a:pt x="1070" y="114"/>
                    </a:lnTo>
                    <a:lnTo>
                      <a:pt x="1060" y="110"/>
                    </a:lnTo>
                    <a:lnTo>
                      <a:pt x="1038" y="100"/>
                    </a:lnTo>
                    <a:lnTo>
                      <a:pt x="1002" y="76"/>
                    </a:lnTo>
                    <a:lnTo>
                      <a:pt x="1002" y="76"/>
                    </a:lnTo>
                    <a:lnTo>
                      <a:pt x="996" y="72"/>
                    </a:lnTo>
                    <a:lnTo>
                      <a:pt x="988" y="72"/>
                    </a:lnTo>
                    <a:lnTo>
                      <a:pt x="982" y="74"/>
                    </a:lnTo>
                    <a:lnTo>
                      <a:pt x="976" y="76"/>
                    </a:lnTo>
                    <a:lnTo>
                      <a:pt x="970" y="80"/>
                    </a:lnTo>
                    <a:lnTo>
                      <a:pt x="966" y="84"/>
                    </a:lnTo>
                    <a:lnTo>
                      <a:pt x="964" y="88"/>
                    </a:lnTo>
                    <a:lnTo>
                      <a:pt x="964" y="92"/>
                    </a:lnTo>
                    <a:lnTo>
                      <a:pt x="964" y="92"/>
                    </a:lnTo>
                    <a:lnTo>
                      <a:pt x="966" y="96"/>
                    </a:lnTo>
                    <a:lnTo>
                      <a:pt x="964" y="100"/>
                    </a:lnTo>
                    <a:lnTo>
                      <a:pt x="956" y="106"/>
                    </a:lnTo>
                    <a:lnTo>
                      <a:pt x="946" y="110"/>
                    </a:lnTo>
                    <a:lnTo>
                      <a:pt x="942" y="110"/>
                    </a:lnTo>
                    <a:lnTo>
                      <a:pt x="938" y="108"/>
                    </a:lnTo>
                    <a:lnTo>
                      <a:pt x="938" y="108"/>
                    </a:lnTo>
                    <a:lnTo>
                      <a:pt x="936" y="108"/>
                    </a:lnTo>
                    <a:lnTo>
                      <a:pt x="934" y="110"/>
                    </a:lnTo>
                    <a:lnTo>
                      <a:pt x="928" y="116"/>
                    </a:lnTo>
                    <a:lnTo>
                      <a:pt x="914" y="138"/>
                    </a:lnTo>
                    <a:lnTo>
                      <a:pt x="906" y="148"/>
                    </a:lnTo>
                    <a:lnTo>
                      <a:pt x="898" y="158"/>
                    </a:lnTo>
                    <a:lnTo>
                      <a:pt x="890" y="164"/>
                    </a:lnTo>
                    <a:lnTo>
                      <a:pt x="886" y="164"/>
                    </a:lnTo>
                    <a:lnTo>
                      <a:pt x="882" y="164"/>
                    </a:lnTo>
                    <a:lnTo>
                      <a:pt x="882" y="164"/>
                    </a:lnTo>
                    <a:lnTo>
                      <a:pt x="876" y="160"/>
                    </a:lnTo>
                    <a:lnTo>
                      <a:pt x="872" y="156"/>
                    </a:lnTo>
                    <a:lnTo>
                      <a:pt x="870" y="150"/>
                    </a:lnTo>
                    <a:lnTo>
                      <a:pt x="868" y="144"/>
                    </a:lnTo>
                    <a:lnTo>
                      <a:pt x="864" y="132"/>
                    </a:lnTo>
                    <a:lnTo>
                      <a:pt x="862" y="126"/>
                    </a:lnTo>
                    <a:lnTo>
                      <a:pt x="860" y="120"/>
                    </a:lnTo>
                    <a:lnTo>
                      <a:pt x="860" y="120"/>
                    </a:lnTo>
                    <a:lnTo>
                      <a:pt x="856" y="118"/>
                    </a:lnTo>
                    <a:lnTo>
                      <a:pt x="854" y="118"/>
                    </a:lnTo>
                    <a:lnTo>
                      <a:pt x="852" y="124"/>
                    </a:lnTo>
                    <a:lnTo>
                      <a:pt x="852" y="126"/>
                    </a:lnTo>
                    <a:lnTo>
                      <a:pt x="852" y="126"/>
                    </a:lnTo>
                    <a:lnTo>
                      <a:pt x="846" y="114"/>
                    </a:lnTo>
                    <a:lnTo>
                      <a:pt x="846" y="114"/>
                    </a:lnTo>
                    <a:lnTo>
                      <a:pt x="842" y="102"/>
                    </a:lnTo>
                    <a:lnTo>
                      <a:pt x="842" y="94"/>
                    </a:lnTo>
                    <a:lnTo>
                      <a:pt x="842" y="86"/>
                    </a:lnTo>
                    <a:lnTo>
                      <a:pt x="844" y="80"/>
                    </a:lnTo>
                    <a:lnTo>
                      <a:pt x="846" y="66"/>
                    </a:lnTo>
                    <a:lnTo>
                      <a:pt x="846" y="58"/>
                    </a:lnTo>
                    <a:lnTo>
                      <a:pt x="844" y="48"/>
                    </a:lnTo>
                    <a:lnTo>
                      <a:pt x="844" y="48"/>
                    </a:lnTo>
                    <a:lnTo>
                      <a:pt x="840" y="40"/>
                    </a:lnTo>
                    <a:lnTo>
                      <a:pt x="838" y="36"/>
                    </a:lnTo>
                    <a:lnTo>
                      <a:pt x="834" y="36"/>
                    </a:lnTo>
                    <a:lnTo>
                      <a:pt x="830" y="36"/>
                    </a:lnTo>
                    <a:lnTo>
                      <a:pt x="826" y="36"/>
                    </a:lnTo>
                    <a:lnTo>
                      <a:pt x="818" y="36"/>
                    </a:lnTo>
                    <a:lnTo>
                      <a:pt x="810" y="32"/>
                    </a:lnTo>
                    <a:lnTo>
                      <a:pt x="798" y="26"/>
                    </a:lnTo>
                    <a:lnTo>
                      <a:pt x="798" y="26"/>
                    </a:lnTo>
                    <a:lnTo>
                      <a:pt x="786" y="18"/>
                    </a:lnTo>
                    <a:lnTo>
                      <a:pt x="776" y="16"/>
                    </a:lnTo>
                    <a:lnTo>
                      <a:pt x="770" y="16"/>
                    </a:lnTo>
                    <a:lnTo>
                      <a:pt x="764" y="20"/>
                    </a:lnTo>
                    <a:lnTo>
                      <a:pt x="756" y="28"/>
                    </a:lnTo>
                    <a:lnTo>
                      <a:pt x="752" y="32"/>
                    </a:lnTo>
                    <a:lnTo>
                      <a:pt x="748" y="34"/>
                    </a:lnTo>
                    <a:lnTo>
                      <a:pt x="748" y="34"/>
                    </a:lnTo>
                    <a:lnTo>
                      <a:pt x="740" y="36"/>
                    </a:lnTo>
                    <a:lnTo>
                      <a:pt x="732" y="38"/>
                    </a:lnTo>
                    <a:lnTo>
                      <a:pt x="728" y="40"/>
                    </a:lnTo>
                    <a:lnTo>
                      <a:pt x="726" y="42"/>
                    </a:lnTo>
                    <a:lnTo>
                      <a:pt x="726" y="46"/>
                    </a:lnTo>
                    <a:lnTo>
                      <a:pt x="726" y="46"/>
                    </a:lnTo>
                    <a:close/>
                    <a:moveTo>
                      <a:pt x="1600" y="438"/>
                    </a:moveTo>
                    <a:lnTo>
                      <a:pt x="1600" y="438"/>
                    </a:lnTo>
                    <a:lnTo>
                      <a:pt x="1594" y="436"/>
                    </a:lnTo>
                    <a:lnTo>
                      <a:pt x="1588" y="434"/>
                    </a:lnTo>
                    <a:lnTo>
                      <a:pt x="1586" y="436"/>
                    </a:lnTo>
                    <a:lnTo>
                      <a:pt x="1588" y="438"/>
                    </a:lnTo>
                    <a:lnTo>
                      <a:pt x="1588" y="438"/>
                    </a:lnTo>
                    <a:lnTo>
                      <a:pt x="1590" y="442"/>
                    </a:lnTo>
                    <a:lnTo>
                      <a:pt x="1590" y="444"/>
                    </a:lnTo>
                    <a:lnTo>
                      <a:pt x="1592" y="446"/>
                    </a:lnTo>
                    <a:lnTo>
                      <a:pt x="1596" y="448"/>
                    </a:lnTo>
                    <a:lnTo>
                      <a:pt x="1596" y="448"/>
                    </a:lnTo>
                    <a:lnTo>
                      <a:pt x="1600" y="448"/>
                    </a:lnTo>
                    <a:lnTo>
                      <a:pt x="1604" y="446"/>
                    </a:lnTo>
                    <a:lnTo>
                      <a:pt x="1604" y="444"/>
                    </a:lnTo>
                    <a:lnTo>
                      <a:pt x="1600" y="438"/>
                    </a:lnTo>
                    <a:lnTo>
                      <a:pt x="1600" y="438"/>
                    </a:lnTo>
                    <a:close/>
                    <a:moveTo>
                      <a:pt x="1606" y="1248"/>
                    </a:moveTo>
                    <a:lnTo>
                      <a:pt x="1606" y="1248"/>
                    </a:lnTo>
                    <a:lnTo>
                      <a:pt x="1606" y="1252"/>
                    </a:lnTo>
                    <a:lnTo>
                      <a:pt x="1604" y="1260"/>
                    </a:lnTo>
                    <a:lnTo>
                      <a:pt x="1604" y="1268"/>
                    </a:lnTo>
                    <a:lnTo>
                      <a:pt x="1604" y="1272"/>
                    </a:lnTo>
                    <a:lnTo>
                      <a:pt x="1606" y="1274"/>
                    </a:lnTo>
                    <a:lnTo>
                      <a:pt x="1606" y="1274"/>
                    </a:lnTo>
                    <a:lnTo>
                      <a:pt x="1608" y="1274"/>
                    </a:lnTo>
                    <a:lnTo>
                      <a:pt x="1610" y="1270"/>
                    </a:lnTo>
                    <a:lnTo>
                      <a:pt x="1610" y="1260"/>
                    </a:lnTo>
                    <a:lnTo>
                      <a:pt x="1610" y="1260"/>
                    </a:lnTo>
                    <a:lnTo>
                      <a:pt x="1614" y="1250"/>
                    </a:lnTo>
                    <a:lnTo>
                      <a:pt x="1620" y="1240"/>
                    </a:lnTo>
                    <a:lnTo>
                      <a:pt x="1620" y="1240"/>
                    </a:lnTo>
                    <a:lnTo>
                      <a:pt x="1620" y="1236"/>
                    </a:lnTo>
                    <a:lnTo>
                      <a:pt x="1618" y="1232"/>
                    </a:lnTo>
                    <a:lnTo>
                      <a:pt x="1618" y="1228"/>
                    </a:lnTo>
                    <a:lnTo>
                      <a:pt x="1616" y="1224"/>
                    </a:lnTo>
                    <a:lnTo>
                      <a:pt x="1616" y="1224"/>
                    </a:lnTo>
                    <a:lnTo>
                      <a:pt x="1616" y="1220"/>
                    </a:lnTo>
                    <a:lnTo>
                      <a:pt x="1614" y="1220"/>
                    </a:lnTo>
                    <a:lnTo>
                      <a:pt x="1612" y="1224"/>
                    </a:lnTo>
                    <a:lnTo>
                      <a:pt x="1612" y="1230"/>
                    </a:lnTo>
                    <a:lnTo>
                      <a:pt x="1612" y="1230"/>
                    </a:lnTo>
                    <a:lnTo>
                      <a:pt x="1612" y="1234"/>
                    </a:lnTo>
                    <a:lnTo>
                      <a:pt x="1612" y="1236"/>
                    </a:lnTo>
                    <a:lnTo>
                      <a:pt x="1608" y="1240"/>
                    </a:lnTo>
                    <a:lnTo>
                      <a:pt x="1606" y="1244"/>
                    </a:lnTo>
                    <a:lnTo>
                      <a:pt x="1604" y="1246"/>
                    </a:lnTo>
                    <a:lnTo>
                      <a:pt x="1606" y="1248"/>
                    </a:lnTo>
                    <a:lnTo>
                      <a:pt x="1606" y="124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sp>
            <p:nvSpPr>
              <p:cNvPr id="109" name="Freeform 6152"/>
              <p:cNvSpPr>
                <a:spLocks/>
              </p:cNvSpPr>
              <p:nvPr/>
            </p:nvSpPr>
            <p:spPr bwMode="auto">
              <a:xfrm>
                <a:off x="4751495" y="3153578"/>
                <a:ext cx="1660" cy="3318"/>
              </a:xfrm>
              <a:custGeom>
                <a:avLst/>
                <a:gdLst>
                  <a:gd name="T0" fmla="*/ 2147483647 w 4"/>
                  <a:gd name="T1" fmla="*/ 2147483647 h 6"/>
                  <a:gd name="T2" fmla="*/ 2147483647 w 4"/>
                  <a:gd name="T3" fmla="*/ 2147483647 h 6"/>
                  <a:gd name="T4" fmla="*/ 2147483647 w 4"/>
                  <a:gd name="T5" fmla="*/ 2147483647 h 6"/>
                  <a:gd name="T6" fmla="*/ 0 w 4"/>
                  <a:gd name="T7" fmla="*/ 0 h 6"/>
                  <a:gd name="T8" fmla="*/ 2147483647 w 4"/>
                  <a:gd name="T9" fmla="*/ 2147483647 h 6"/>
                  <a:gd name="T10" fmla="*/ 2147483647 w 4"/>
                  <a:gd name="T11" fmla="*/ 2147483647 h 6"/>
                  <a:gd name="T12" fmla="*/ 2147483647 w 4"/>
                  <a:gd name="T13" fmla="*/ 2147483647 h 6"/>
                  <a:gd name="T14" fmla="*/ 2147483647 w 4"/>
                  <a:gd name="T15" fmla="*/ 2147483647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4" y="6"/>
                    </a:moveTo>
                    <a:lnTo>
                      <a:pt x="4" y="6"/>
                    </a:lnTo>
                    <a:lnTo>
                      <a:pt x="4" y="4"/>
                    </a:lnTo>
                    <a:lnTo>
                      <a:pt x="0" y="0"/>
                    </a:lnTo>
                    <a:lnTo>
                      <a:pt x="2" y="4"/>
                    </a:lnTo>
                    <a:lnTo>
                      <a:pt x="4"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10" name="Freeform 6153"/>
              <p:cNvSpPr>
                <a:spLocks noEditPoints="1"/>
              </p:cNvSpPr>
              <p:nvPr/>
            </p:nvSpPr>
            <p:spPr bwMode="auto">
              <a:xfrm>
                <a:off x="3608252" y="2972752"/>
                <a:ext cx="1589590" cy="2077008"/>
              </a:xfrm>
              <a:custGeom>
                <a:avLst/>
                <a:gdLst/>
                <a:ahLst/>
                <a:cxnLst>
                  <a:cxn ang="0">
                    <a:pos x="2626" y="2588"/>
                  </a:cxn>
                  <a:cxn ang="0">
                    <a:pos x="2478" y="2732"/>
                  </a:cxn>
                  <a:cxn ang="0">
                    <a:pos x="2470" y="2928"/>
                  </a:cxn>
                  <a:cxn ang="0">
                    <a:pos x="2514" y="3136"/>
                  </a:cxn>
                  <a:cxn ang="0">
                    <a:pos x="2698" y="2722"/>
                  </a:cxn>
                  <a:cxn ang="0">
                    <a:pos x="2736" y="2624"/>
                  </a:cxn>
                  <a:cxn ang="0">
                    <a:pos x="2676" y="1330"/>
                  </a:cxn>
                  <a:cxn ang="0">
                    <a:pos x="2484" y="1368"/>
                  </a:cxn>
                  <a:cxn ang="0">
                    <a:pos x="2416" y="1236"/>
                  </a:cxn>
                  <a:cxn ang="0">
                    <a:pos x="2338" y="1150"/>
                  </a:cxn>
                  <a:cxn ang="0">
                    <a:pos x="2260" y="998"/>
                  </a:cxn>
                  <a:cxn ang="0">
                    <a:pos x="2208" y="850"/>
                  </a:cxn>
                  <a:cxn ang="0">
                    <a:pos x="2132" y="716"/>
                  </a:cxn>
                  <a:cxn ang="0">
                    <a:pos x="2050" y="494"/>
                  </a:cxn>
                  <a:cxn ang="0">
                    <a:pos x="1990" y="314"/>
                  </a:cxn>
                  <a:cxn ang="0">
                    <a:pos x="1886" y="346"/>
                  </a:cxn>
                  <a:cxn ang="0">
                    <a:pos x="1718" y="308"/>
                  </a:cxn>
                  <a:cxn ang="0">
                    <a:pos x="1550" y="246"/>
                  </a:cxn>
                  <a:cxn ang="0">
                    <a:pos x="1376" y="328"/>
                  </a:cxn>
                  <a:cxn ang="0">
                    <a:pos x="1172" y="224"/>
                  </a:cxn>
                  <a:cxn ang="0">
                    <a:pos x="1152" y="110"/>
                  </a:cxn>
                  <a:cxn ang="0">
                    <a:pos x="1122" y="32"/>
                  </a:cxn>
                  <a:cxn ang="0">
                    <a:pos x="998" y="14"/>
                  </a:cxn>
                  <a:cxn ang="0">
                    <a:pos x="842" y="28"/>
                  </a:cxn>
                  <a:cxn ang="0">
                    <a:pos x="668" y="86"/>
                  </a:cxn>
                  <a:cxn ang="0">
                    <a:pos x="542" y="114"/>
                  </a:cxn>
                  <a:cxn ang="0">
                    <a:pos x="332" y="256"/>
                  </a:cxn>
                  <a:cxn ang="0">
                    <a:pos x="196" y="492"/>
                  </a:cxn>
                  <a:cxn ang="0">
                    <a:pos x="60" y="714"/>
                  </a:cxn>
                  <a:cxn ang="0">
                    <a:pos x="24" y="846"/>
                  </a:cxn>
                  <a:cxn ang="0">
                    <a:pos x="60" y="986"/>
                  </a:cxn>
                  <a:cxn ang="0">
                    <a:pos x="40" y="1222"/>
                  </a:cxn>
                  <a:cxn ang="0">
                    <a:pos x="54" y="1264"/>
                  </a:cxn>
                  <a:cxn ang="0">
                    <a:pos x="54" y="1300"/>
                  </a:cxn>
                  <a:cxn ang="0">
                    <a:pos x="86" y="1336"/>
                  </a:cxn>
                  <a:cxn ang="0">
                    <a:pos x="112" y="1360"/>
                  </a:cxn>
                  <a:cxn ang="0">
                    <a:pos x="168" y="1432"/>
                  </a:cxn>
                  <a:cxn ang="0">
                    <a:pos x="182" y="1482"/>
                  </a:cxn>
                  <a:cxn ang="0">
                    <a:pos x="270" y="1570"/>
                  </a:cxn>
                  <a:cxn ang="0">
                    <a:pos x="504" y="1632"/>
                  </a:cxn>
                  <a:cxn ang="0">
                    <a:pos x="648" y="1636"/>
                  </a:cxn>
                  <a:cxn ang="0">
                    <a:pos x="844" y="1564"/>
                  </a:cxn>
                  <a:cxn ang="0">
                    <a:pos x="996" y="1658"/>
                  </a:cxn>
                  <a:cxn ang="0">
                    <a:pos x="1088" y="1684"/>
                  </a:cxn>
                  <a:cxn ang="0">
                    <a:pos x="1082" y="1824"/>
                  </a:cxn>
                  <a:cxn ang="0">
                    <a:pos x="1104" y="1880"/>
                  </a:cxn>
                  <a:cxn ang="0">
                    <a:pos x="1088" y="1988"/>
                  </a:cxn>
                  <a:cxn ang="0">
                    <a:pos x="1208" y="2168"/>
                  </a:cxn>
                  <a:cxn ang="0">
                    <a:pos x="1256" y="2396"/>
                  </a:cxn>
                  <a:cxn ang="0">
                    <a:pos x="1176" y="2736"/>
                  </a:cxn>
                  <a:cxn ang="0">
                    <a:pos x="1334" y="3266"/>
                  </a:cxn>
                  <a:cxn ang="0">
                    <a:pos x="1424" y="3532"/>
                  </a:cxn>
                  <a:cxn ang="0">
                    <a:pos x="1472" y="3606"/>
                  </a:cxn>
                  <a:cxn ang="0">
                    <a:pos x="1590" y="3598"/>
                  </a:cxn>
                  <a:cxn ang="0">
                    <a:pos x="1740" y="3574"/>
                  </a:cxn>
                  <a:cxn ang="0">
                    <a:pos x="2018" y="3276"/>
                  </a:cxn>
                  <a:cxn ang="0">
                    <a:pos x="2134" y="3056"/>
                  </a:cxn>
                  <a:cxn ang="0">
                    <a:pos x="2108" y="2854"/>
                  </a:cxn>
                  <a:cxn ang="0">
                    <a:pos x="2336" y="2636"/>
                  </a:cxn>
                  <a:cxn ang="0">
                    <a:pos x="2324" y="2384"/>
                  </a:cxn>
                  <a:cxn ang="0">
                    <a:pos x="2282" y="2206"/>
                  </a:cxn>
                  <a:cxn ang="0">
                    <a:pos x="2350" y="1998"/>
                  </a:cxn>
                  <a:cxn ang="0">
                    <a:pos x="2646" y="1646"/>
                  </a:cxn>
                </a:cxnLst>
                <a:rect l="0" t="0" r="r" b="b"/>
                <a:pathLst>
                  <a:path w="2776" h="3628">
                    <a:moveTo>
                      <a:pt x="2710" y="2504"/>
                    </a:moveTo>
                    <a:lnTo>
                      <a:pt x="2710" y="2504"/>
                    </a:lnTo>
                    <a:lnTo>
                      <a:pt x="2706" y="2498"/>
                    </a:lnTo>
                    <a:lnTo>
                      <a:pt x="2702" y="2492"/>
                    </a:lnTo>
                    <a:lnTo>
                      <a:pt x="2698" y="2476"/>
                    </a:lnTo>
                    <a:lnTo>
                      <a:pt x="2696" y="2470"/>
                    </a:lnTo>
                    <a:lnTo>
                      <a:pt x="2692" y="2466"/>
                    </a:lnTo>
                    <a:lnTo>
                      <a:pt x="2690" y="2468"/>
                    </a:lnTo>
                    <a:lnTo>
                      <a:pt x="2684" y="2472"/>
                    </a:lnTo>
                    <a:lnTo>
                      <a:pt x="2684" y="2472"/>
                    </a:lnTo>
                    <a:lnTo>
                      <a:pt x="2680" y="2480"/>
                    </a:lnTo>
                    <a:lnTo>
                      <a:pt x="2678" y="2486"/>
                    </a:lnTo>
                    <a:lnTo>
                      <a:pt x="2676" y="2508"/>
                    </a:lnTo>
                    <a:lnTo>
                      <a:pt x="2676" y="2508"/>
                    </a:lnTo>
                    <a:lnTo>
                      <a:pt x="2674" y="2518"/>
                    </a:lnTo>
                    <a:lnTo>
                      <a:pt x="2672" y="2526"/>
                    </a:lnTo>
                    <a:lnTo>
                      <a:pt x="2668" y="2532"/>
                    </a:lnTo>
                    <a:lnTo>
                      <a:pt x="2664" y="2536"/>
                    </a:lnTo>
                    <a:lnTo>
                      <a:pt x="2656" y="2542"/>
                    </a:lnTo>
                    <a:lnTo>
                      <a:pt x="2648" y="2544"/>
                    </a:lnTo>
                    <a:lnTo>
                      <a:pt x="2634" y="2546"/>
                    </a:lnTo>
                    <a:lnTo>
                      <a:pt x="2632" y="2548"/>
                    </a:lnTo>
                    <a:lnTo>
                      <a:pt x="2632" y="2554"/>
                    </a:lnTo>
                    <a:lnTo>
                      <a:pt x="2632" y="2554"/>
                    </a:lnTo>
                    <a:lnTo>
                      <a:pt x="2638" y="2566"/>
                    </a:lnTo>
                    <a:lnTo>
                      <a:pt x="2636" y="2572"/>
                    </a:lnTo>
                    <a:lnTo>
                      <a:pt x="2636" y="2576"/>
                    </a:lnTo>
                    <a:lnTo>
                      <a:pt x="2626" y="2588"/>
                    </a:lnTo>
                    <a:lnTo>
                      <a:pt x="2606" y="2608"/>
                    </a:lnTo>
                    <a:lnTo>
                      <a:pt x="2606" y="2608"/>
                    </a:lnTo>
                    <a:lnTo>
                      <a:pt x="2596" y="2618"/>
                    </a:lnTo>
                    <a:lnTo>
                      <a:pt x="2588" y="2628"/>
                    </a:lnTo>
                    <a:lnTo>
                      <a:pt x="2578" y="2640"/>
                    </a:lnTo>
                    <a:lnTo>
                      <a:pt x="2572" y="2646"/>
                    </a:lnTo>
                    <a:lnTo>
                      <a:pt x="2564" y="2650"/>
                    </a:lnTo>
                    <a:lnTo>
                      <a:pt x="2554" y="2652"/>
                    </a:lnTo>
                    <a:lnTo>
                      <a:pt x="2538" y="2656"/>
                    </a:lnTo>
                    <a:lnTo>
                      <a:pt x="2538" y="2656"/>
                    </a:lnTo>
                    <a:lnTo>
                      <a:pt x="2530" y="2658"/>
                    </a:lnTo>
                    <a:lnTo>
                      <a:pt x="2526" y="2660"/>
                    </a:lnTo>
                    <a:lnTo>
                      <a:pt x="2522" y="2664"/>
                    </a:lnTo>
                    <a:lnTo>
                      <a:pt x="2520" y="2668"/>
                    </a:lnTo>
                    <a:lnTo>
                      <a:pt x="2516" y="2670"/>
                    </a:lnTo>
                    <a:lnTo>
                      <a:pt x="2512" y="2670"/>
                    </a:lnTo>
                    <a:lnTo>
                      <a:pt x="2506" y="2670"/>
                    </a:lnTo>
                    <a:lnTo>
                      <a:pt x="2506" y="2670"/>
                    </a:lnTo>
                    <a:lnTo>
                      <a:pt x="2500" y="2670"/>
                    </a:lnTo>
                    <a:lnTo>
                      <a:pt x="2496" y="2670"/>
                    </a:lnTo>
                    <a:lnTo>
                      <a:pt x="2496" y="2672"/>
                    </a:lnTo>
                    <a:lnTo>
                      <a:pt x="2496" y="2676"/>
                    </a:lnTo>
                    <a:lnTo>
                      <a:pt x="2494" y="2690"/>
                    </a:lnTo>
                    <a:lnTo>
                      <a:pt x="2492" y="2700"/>
                    </a:lnTo>
                    <a:lnTo>
                      <a:pt x="2486" y="2712"/>
                    </a:lnTo>
                    <a:lnTo>
                      <a:pt x="2486" y="2712"/>
                    </a:lnTo>
                    <a:lnTo>
                      <a:pt x="2480" y="2724"/>
                    </a:lnTo>
                    <a:lnTo>
                      <a:pt x="2478" y="2732"/>
                    </a:lnTo>
                    <a:lnTo>
                      <a:pt x="2478" y="2738"/>
                    </a:lnTo>
                    <a:lnTo>
                      <a:pt x="2478" y="2742"/>
                    </a:lnTo>
                    <a:lnTo>
                      <a:pt x="2482" y="2750"/>
                    </a:lnTo>
                    <a:lnTo>
                      <a:pt x="2482" y="2754"/>
                    </a:lnTo>
                    <a:lnTo>
                      <a:pt x="2482" y="2762"/>
                    </a:lnTo>
                    <a:lnTo>
                      <a:pt x="2482" y="2762"/>
                    </a:lnTo>
                    <a:lnTo>
                      <a:pt x="2480" y="2772"/>
                    </a:lnTo>
                    <a:lnTo>
                      <a:pt x="2480" y="2778"/>
                    </a:lnTo>
                    <a:lnTo>
                      <a:pt x="2484" y="2790"/>
                    </a:lnTo>
                    <a:lnTo>
                      <a:pt x="2488" y="2798"/>
                    </a:lnTo>
                    <a:lnTo>
                      <a:pt x="2488" y="2802"/>
                    </a:lnTo>
                    <a:lnTo>
                      <a:pt x="2488" y="2806"/>
                    </a:lnTo>
                    <a:lnTo>
                      <a:pt x="2488" y="2806"/>
                    </a:lnTo>
                    <a:lnTo>
                      <a:pt x="2488" y="2814"/>
                    </a:lnTo>
                    <a:lnTo>
                      <a:pt x="2490" y="2820"/>
                    </a:lnTo>
                    <a:lnTo>
                      <a:pt x="2494" y="2832"/>
                    </a:lnTo>
                    <a:lnTo>
                      <a:pt x="2498" y="2848"/>
                    </a:lnTo>
                    <a:lnTo>
                      <a:pt x="2498" y="2848"/>
                    </a:lnTo>
                    <a:lnTo>
                      <a:pt x="2498" y="2860"/>
                    </a:lnTo>
                    <a:lnTo>
                      <a:pt x="2496" y="2868"/>
                    </a:lnTo>
                    <a:lnTo>
                      <a:pt x="2492" y="2876"/>
                    </a:lnTo>
                    <a:lnTo>
                      <a:pt x="2488" y="2884"/>
                    </a:lnTo>
                    <a:lnTo>
                      <a:pt x="2480" y="2900"/>
                    </a:lnTo>
                    <a:lnTo>
                      <a:pt x="2476" y="2908"/>
                    </a:lnTo>
                    <a:lnTo>
                      <a:pt x="2474" y="2916"/>
                    </a:lnTo>
                    <a:lnTo>
                      <a:pt x="2474" y="2916"/>
                    </a:lnTo>
                    <a:lnTo>
                      <a:pt x="2472" y="2924"/>
                    </a:lnTo>
                    <a:lnTo>
                      <a:pt x="2470" y="2928"/>
                    </a:lnTo>
                    <a:lnTo>
                      <a:pt x="2466" y="2928"/>
                    </a:lnTo>
                    <a:lnTo>
                      <a:pt x="2464" y="2928"/>
                    </a:lnTo>
                    <a:lnTo>
                      <a:pt x="2462" y="2930"/>
                    </a:lnTo>
                    <a:lnTo>
                      <a:pt x="2458" y="2934"/>
                    </a:lnTo>
                    <a:lnTo>
                      <a:pt x="2454" y="2942"/>
                    </a:lnTo>
                    <a:lnTo>
                      <a:pt x="2450" y="2954"/>
                    </a:lnTo>
                    <a:lnTo>
                      <a:pt x="2450" y="2954"/>
                    </a:lnTo>
                    <a:lnTo>
                      <a:pt x="2448" y="2968"/>
                    </a:lnTo>
                    <a:lnTo>
                      <a:pt x="2446" y="2980"/>
                    </a:lnTo>
                    <a:lnTo>
                      <a:pt x="2448" y="2990"/>
                    </a:lnTo>
                    <a:lnTo>
                      <a:pt x="2448" y="2998"/>
                    </a:lnTo>
                    <a:lnTo>
                      <a:pt x="2456" y="3012"/>
                    </a:lnTo>
                    <a:lnTo>
                      <a:pt x="2464" y="3026"/>
                    </a:lnTo>
                    <a:lnTo>
                      <a:pt x="2464" y="3026"/>
                    </a:lnTo>
                    <a:lnTo>
                      <a:pt x="2466" y="3034"/>
                    </a:lnTo>
                    <a:lnTo>
                      <a:pt x="2466" y="3040"/>
                    </a:lnTo>
                    <a:lnTo>
                      <a:pt x="2466" y="3054"/>
                    </a:lnTo>
                    <a:lnTo>
                      <a:pt x="2464" y="3062"/>
                    </a:lnTo>
                    <a:lnTo>
                      <a:pt x="2466" y="3072"/>
                    </a:lnTo>
                    <a:lnTo>
                      <a:pt x="2468" y="3084"/>
                    </a:lnTo>
                    <a:lnTo>
                      <a:pt x="2474" y="3100"/>
                    </a:lnTo>
                    <a:lnTo>
                      <a:pt x="2474" y="3100"/>
                    </a:lnTo>
                    <a:lnTo>
                      <a:pt x="2480" y="3114"/>
                    </a:lnTo>
                    <a:lnTo>
                      <a:pt x="2486" y="3122"/>
                    </a:lnTo>
                    <a:lnTo>
                      <a:pt x="2492" y="3126"/>
                    </a:lnTo>
                    <a:lnTo>
                      <a:pt x="2498" y="3130"/>
                    </a:lnTo>
                    <a:lnTo>
                      <a:pt x="2510" y="3134"/>
                    </a:lnTo>
                    <a:lnTo>
                      <a:pt x="2514" y="3136"/>
                    </a:lnTo>
                    <a:lnTo>
                      <a:pt x="2520" y="3142"/>
                    </a:lnTo>
                    <a:lnTo>
                      <a:pt x="2520" y="3142"/>
                    </a:lnTo>
                    <a:lnTo>
                      <a:pt x="2522" y="3144"/>
                    </a:lnTo>
                    <a:lnTo>
                      <a:pt x="2526" y="3146"/>
                    </a:lnTo>
                    <a:lnTo>
                      <a:pt x="2534" y="3146"/>
                    </a:lnTo>
                    <a:lnTo>
                      <a:pt x="2544" y="3144"/>
                    </a:lnTo>
                    <a:lnTo>
                      <a:pt x="2554" y="3140"/>
                    </a:lnTo>
                    <a:lnTo>
                      <a:pt x="2574" y="3128"/>
                    </a:lnTo>
                    <a:lnTo>
                      <a:pt x="2584" y="3124"/>
                    </a:lnTo>
                    <a:lnTo>
                      <a:pt x="2594" y="3122"/>
                    </a:lnTo>
                    <a:lnTo>
                      <a:pt x="2594" y="3122"/>
                    </a:lnTo>
                    <a:lnTo>
                      <a:pt x="2598" y="3120"/>
                    </a:lnTo>
                    <a:lnTo>
                      <a:pt x="2602" y="3116"/>
                    </a:lnTo>
                    <a:lnTo>
                      <a:pt x="2610" y="3096"/>
                    </a:lnTo>
                    <a:lnTo>
                      <a:pt x="2620" y="3068"/>
                    </a:lnTo>
                    <a:lnTo>
                      <a:pt x="2628" y="3034"/>
                    </a:lnTo>
                    <a:lnTo>
                      <a:pt x="2648" y="2952"/>
                    </a:lnTo>
                    <a:lnTo>
                      <a:pt x="2668" y="2870"/>
                    </a:lnTo>
                    <a:lnTo>
                      <a:pt x="2668" y="2870"/>
                    </a:lnTo>
                    <a:lnTo>
                      <a:pt x="2682" y="2822"/>
                    </a:lnTo>
                    <a:lnTo>
                      <a:pt x="2694" y="2792"/>
                    </a:lnTo>
                    <a:lnTo>
                      <a:pt x="2696" y="2780"/>
                    </a:lnTo>
                    <a:lnTo>
                      <a:pt x="2700" y="2768"/>
                    </a:lnTo>
                    <a:lnTo>
                      <a:pt x="2700" y="2756"/>
                    </a:lnTo>
                    <a:lnTo>
                      <a:pt x="2698" y="2742"/>
                    </a:lnTo>
                    <a:lnTo>
                      <a:pt x="2698" y="2742"/>
                    </a:lnTo>
                    <a:lnTo>
                      <a:pt x="2698" y="2730"/>
                    </a:lnTo>
                    <a:lnTo>
                      <a:pt x="2698" y="2722"/>
                    </a:lnTo>
                    <a:lnTo>
                      <a:pt x="2700" y="2718"/>
                    </a:lnTo>
                    <a:lnTo>
                      <a:pt x="2704" y="2714"/>
                    </a:lnTo>
                    <a:lnTo>
                      <a:pt x="2710" y="2710"/>
                    </a:lnTo>
                    <a:lnTo>
                      <a:pt x="2712" y="2706"/>
                    </a:lnTo>
                    <a:lnTo>
                      <a:pt x="2710" y="2700"/>
                    </a:lnTo>
                    <a:lnTo>
                      <a:pt x="2710" y="2700"/>
                    </a:lnTo>
                    <a:lnTo>
                      <a:pt x="2710" y="2690"/>
                    </a:lnTo>
                    <a:lnTo>
                      <a:pt x="2712" y="2684"/>
                    </a:lnTo>
                    <a:lnTo>
                      <a:pt x="2712" y="2674"/>
                    </a:lnTo>
                    <a:lnTo>
                      <a:pt x="2712" y="2670"/>
                    </a:lnTo>
                    <a:lnTo>
                      <a:pt x="2710" y="2662"/>
                    </a:lnTo>
                    <a:lnTo>
                      <a:pt x="2710" y="2662"/>
                    </a:lnTo>
                    <a:lnTo>
                      <a:pt x="2706" y="2654"/>
                    </a:lnTo>
                    <a:lnTo>
                      <a:pt x="2706" y="2648"/>
                    </a:lnTo>
                    <a:lnTo>
                      <a:pt x="2706" y="2642"/>
                    </a:lnTo>
                    <a:lnTo>
                      <a:pt x="2708" y="2638"/>
                    </a:lnTo>
                    <a:lnTo>
                      <a:pt x="2710" y="2636"/>
                    </a:lnTo>
                    <a:lnTo>
                      <a:pt x="2714" y="2640"/>
                    </a:lnTo>
                    <a:lnTo>
                      <a:pt x="2718" y="2646"/>
                    </a:lnTo>
                    <a:lnTo>
                      <a:pt x="2722" y="2658"/>
                    </a:lnTo>
                    <a:lnTo>
                      <a:pt x="2722" y="2658"/>
                    </a:lnTo>
                    <a:lnTo>
                      <a:pt x="2724" y="2662"/>
                    </a:lnTo>
                    <a:lnTo>
                      <a:pt x="2728" y="2662"/>
                    </a:lnTo>
                    <a:lnTo>
                      <a:pt x="2732" y="2658"/>
                    </a:lnTo>
                    <a:lnTo>
                      <a:pt x="2734" y="2652"/>
                    </a:lnTo>
                    <a:lnTo>
                      <a:pt x="2736" y="2644"/>
                    </a:lnTo>
                    <a:lnTo>
                      <a:pt x="2738" y="2634"/>
                    </a:lnTo>
                    <a:lnTo>
                      <a:pt x="2736" y="2624"/>
                    </a:lnTo>
                    <a:lnTo>
                      <a:pt x="2734" y="2614"/>
                    </a:lnTo>
                    <a:lnTo>
                      <a:pt x="2734" y="2614"/>
                    </a:lnTo>
                    <a:lnTo>
                      <a:pt x="2732" y="2604"/>
                    </a:lnTo>
                    <a:lnTo>
                      <a:pt x="2730" y="2590"/>
                    </a:lnTo>
                    <a:lnTo>
                      <a:pt x="2724" y="2556"/>
                    </a:lnTo>
                    <a:lnTo>
                      <a:pt x="2720" y="2522"/>
                    </a:lnTo>
                    <a:lnTo>
                      <a:pt x="2716" y="2510"/>
                    </a:lnTo>
                    <a:lnTo>
                      <a:pt x="2710" y="2504"/>
                    </a:lnTo>
                    <a:lnTo>
                      <a:pt x="2710" y="2504"/>
                    </a:lnTo>
                    <a:close/>
                    <a:moveTo>
                      <a:pt x="2770" y="1364"/>
                    </a:moveTo>
                    <a:lnTo>
                      <a:pt x="2770" y="1364"/>
                    </a:lnTo>
                    <a:lnTo>
                      <a:pt x="2764" y="1352"/>
                    </a:lnTo>
                    <a:lnTo>
                      <a:pt x="2762" y="1342"/>
                    </a:lnTo>
                    <a:lnTo>
                      <a:pt x="2764" y="1332"/>
                    </a:lnTo>
                    <a:lnTo>
                      <a:pt x="2766" y="1322"/>
                    </a:lnTo>
                    <a:lnTo>
                      <a:pt x="2770" y="1316"/>
                    </a:lnTo>
                    <a:lnTo>
                      <a:pt x="2770" y="1308"/>
                    </a:lnTo>
                    <a:lnTo>
                      <a:pt x="2768" y="1304"/>
                    </a:lnTo>
                    <a:lnTo>
                      <a:pt x="2762" y="1300"/>
                    </a:lnTo>
                    <a:lnTo>
                      <a:pt x="2762" y="1300"/>
                    </a:lnTo>
                    <a:lnTo>
                      <a:pt x="2752" y="1300"/>
                    </a:lnTo>
                    <a:lnTo>
                      <a:pt x="2746" y="1302"/>
                    </a:lnTo>
                    <a:lnTo>
                      <a:pt x="2730" y="1314"/>
                    </a:lnTo>
                    <a:lnTo>
                      <a:pt x="2720" y="1320"/>
                    </a:lnTo>
                    <a:lnTo>
                      <a:pt x="2708" y="1326"/>
                    </a:lnTo>
                    <a:lnTo>
                      <a:pt x="2694" y="1330"/>
                    </a:lnTo>
                    <a:lnTo>
                      <a:pt x="2676" y="1330"/>
                    </a:lnTo>
                    <a:lnTo>
                      <a:pt x="2676" y="1330"/>
                    </a:lnTo>
                    <a:lnTo>
                      <a:pt x="2660" y="1332"/>
                    </a:lnTo>
                    <a:lnTo>
                      <a:pt x="2650" y="1332"/>
                    </a:lnTo>
                    <a:lnTo>
                      <a:pt x="2646" y="1334"/>
                    </a:lnTo>
                    <a:lnTo>
                      <a:pt x="2646" y="1336"/>
                    </a:lnTo>
                    <a:lnTo>
                      <a:pt x="2646" y="1338"/>
                    </a:lnTo>
                    <a:lnTo>
                      <a:pt x="2644" y="1340"/>
                    </a:lnTo>
                    <a:lnTo>
                      <a:pt x="2640" y="1340"/>
                    </a:lnTo>
                    <a:lnTo>
                      <a:pt x="2630" y="1340"/>
                    </a:lnTo>
                    <a:lnTo>
                      <a:pt x="2630" y="1340"/>
                    </a:lnTo>
                    <a:lnTo>
                      <a:pt x="2618" y="1340"/>
                    </a:lnTo>
                    <a:lnTo>
                      <a:pt x="2608" y="1342"/>
                    </a:lnTo>
                    <a:lnTo>
                      <a:pt x="2602" y="1346"/>
                    </a:lnTo>
                    <a:lnTo>
                      <a:pt x="2596" y="1352"/>
                    </a:lnTo>
                    <a:lnTo>
                      <a:pt x="2590" y="1356"/>
                    </a:lnTo>
                    <a:lnTo>
                      <a:pt x="2584" y="1360"/>
                    </a:lnTo>
                    <a:lnTo>
                      <a:pt x="2574" y="1360"/>
                    </a:lnTo>
                    <a:lnTo>
                      <a:pt x="2564" y="1358"/>
                    </a:lnTo>
                    <a:lnTo>
                      <a:pt x="2564" y="1358"/>
                    </a:lnTo>
                    <a:lnTo>
                      <a:pt x="2552" y="1356"/>
                    </a:lnTo>
                    <a:lnTo>
                      <a:pt x="2542" y="1356"/>
                    </a:lnTo>
                    <a:lnTo>
                      <a:pt x="2534" y="1360"/>
                    </a:lnTo>
                    <a:lnTo>
                      <a:pt x="2528" y="1366"/>
                    </a:lnTo>
                    <a:lnTo>
                      <a:pt x="2520" y="1370"/>
                    </a:lnTo>
                    <a:lnTo>
                      <a:pt x="2512" y="1374"/>
                    </a:lnTo>
                    <a:lnTo>
                      <a:pt x="2504" y="1376"/>
                    </a:lnTo>
                    <a:lnTo>
                      <a:pt x="2494" y="1374"/>
                    </a:lnTo>
                    <a:lnTo>
                      <a:pt x="2494" y="1374"/>
                    </a:lnTo>
                    <a:lnTo>
                      <a:pt x="2484" y="1368"/>
                    </a:lnTo>
                    <a:lnTo>
                      <a:pt x="2476" y="1362"/>
                    </a:lnTo>
                    <a:lnTo>
                      <a:pt x="2470" y="1356"/>
                    </a:lnTo>
                    <a:lnTo>
                      <a:pt x="2466" y="1350"/>
                    </a:lnTo>
                    <a:lnTo>
                      <a:pt x="2458" y="1334"/>
                    </a:lnTo>
                    <a:lnTo>
                      <a:pt x="2454" y="1328"/>
                    </a:lnTo>
                    <a:lnTo>
                      <a:pt x="2448" y="1320"/>
                    </a:lnTo>
                    <a:lnTo>
                      <a:pt x="2448" y="1320"/>
                    </a:lnTo>
                    <a:lnTo>
                      <a:pt x="2444" y="1318"/>
                    </a:lnTo>
                    <a:lnTo>
                      <a:pt x="2438" y="1316"/>
                    </a:lnTo>
                    <a:lnTo>
                      <a:pt x="2428" y="1316"/>
                    </a:lnTo>
                    <a:lnTo>
                      <a:pt x="2426" y="1316"/>
                    </a:lnTo>
                    <a:lnTo>
                      <a:pt x="2428" y="1314"/>
                    </a:lnTo>
                    <a:lnTo>
                      <a:pt x="2444" y="1302"/>
                    </a:lnTo>
                    <a:lnTo>
                      <a:pt x="2444" y="1302"/>
                    </a:lnTo>
                    <a:lnTo>
                      <a:pt x="2450" y="1298"/>
                    </a:lnTo>
                    <a:lnTo>
                      <a:pt x="2452" y="1294"/>
                    </a:lnTo>
                    <a:lnTo>
                      <a:pt x="2452" y="1288"/>
                    </a:lnTo>
                    <a:lnTo>
                      <a:pt x="2452" y="1284"/>
                    </a:lnTo>
                    <a:lnTo>
                      <a:pt x="2448" y="1272"/>
                    </a:lnTo>
                    <a:lnTo>
                      <a:pt x="2440" y="1260"/>
                    </a:lnTo>
                    <a:lnTo>
                      <a:pt x="2440" y="1260"/>
                    </a:lnTo>
                    <a:lnTo>
                      <a:pt x="2436" y="1256"/>
                    </a:lnTo>
                    <a:lnTo>
                      <a:pt x="2432" y="1254"/>
                    </a:lnTo>
                    <a:lnTo>
                      <a:pt x="2426" y="1252"/>
                    </a:lnTo>
                    <a:lnTo>
                      <a:pt x="2422" y="1244"/>
                    </a:lnTo>
                    <a:lnTo>
                      <a:pt x="2422" y="1244"/>
                    </a:lnTo>
                    <a:lnTo>
                      <a:pt x="2418" y="1238"/>
                    </a:lnTo>
                    <a:lnTo>
                      <a:pt x="2416" y="1236"/>
                    </a:lnTo>
                    <a:lnTo>
                      <a:pt x="2414" y="1232"/>
                    </a:lnTo>
                    <a:lnTo>
                      <a:pt x="2410" y="1224"/>
                    </a:lnTo>
                    <a:lnTo>
                      <a:pt x="2410" y="1224"/>
                    </a:lnTo>
                    <a:lnTo>
                      <a:pt x="2404" y="1214"/>
                    </a:lnTo>
                    <a:lnTo>
                      <a:pt x="2404" y="1214"/>
                    </a:lnTo>
                    <a:lnTo>
                      <a:pt x="2402" y="1214"/>
                    </a:lnTo>
                    <a:lnTo>
                      <a:pt x="2402" y="1216"/>
                    </a:lnTo>
                    <a:lnTo>
                      <a:pt x="2396" y="1208"/>
                    </a:lnTo>
                    <a:lnTo>
                      <a:pt x="2396" y="1208"/>
                    </a:lnTo>
                    <a:lnTo>
                      <a:pt x="2394" y="1204"/>
                    </a:lnTo>
                    <a:lnTo>
                      <a:pt x="2392" y="1202"/>
                    </a:lnTo>
                    <a:lnTo>
                      <a:pt x="2388" y="1202"/>
                    </a:lnTo>
                    <a:lnTo>
                      <a:pt x="2384" y="1202"/>
                    </a:lnTo>
                    <a:lnTo>
                      <a:pt x="2382" y="1198"/>
                    </a:lnTo>
                    <a:lnTo>
                      <a:pt x="2378" y="1192"/>
                    </a:lnTo>
                    <a:lnTo>
                      <a:pt x="2372" y="1182"/>
                    </a:lnTo>
                    <a:lnTo>
                      <a:pt x="2372" y="1182"/>
                    </a:lnTo>
                    <a:lnTo>
                      <a:pt x="2366" y="1172"/>
                    </a:lnTo>
                    <a:lnTo>
                      <a:pt x="2362" y="1166"/>
                    </a:lnTo>
                    <a:lnTo>
                      <a:pt x="2358" y="1164"/>
                    </a:lnTo>
                    <a:lnTo>
                      <a:pt x="2356" y="1164"/>
                    </a:lnTo>
                    <a:lnTo>
                      <a:pt x="2354" y="1166"/>
                    </a:lnTo>
                    <a:lnTo>
                      <a:pt x="2352" y="1166"/>
                    </a:lnTo>
                    <a:lnTo>
                      <a:pt x="2348" y="1162"/>
                    </a:lnTo>
                    <a:lnTo>
                      <a:pt x="2344" y="1156"/>
                    </a:lnTo>
                    <a:lnTo>
                      <a:pt x="2344" y="1156"/>
                    </a:lnTo>
                    <a:lnTo>
                      <a:pt x="2340" y="1150"/>
                    </a:lnTo>
                    <a:lnTo>
                      <a:pt x="2338" y="1150"/>
                    </a:lnTo>
                    <a:lnTo>
                      <a:pt x="2334" y="1150"/>
                    </a:lnTo>
                    <a:lnTo>
                      <a:pt x="2332" y="1152"/>
                    </a:lnTo>
                    <a:lnTo>
                      <a:pt x="2330" y="1152"/>
                    </a:lnTo>
                    <a:lnTo>
                      <a:pt x="2326" y="1150"/>
                    </a:lnTo>
                    <a:lnTo>
                      <a:pt x="2322" y="1144"/>
                    </a:lnTo>
                    <a:lnTo>
                      <a:pt x="2316" y="1132"/>
                    </a:lnTo>
                    <a:lnTo>
                      <a:pt x="2316" y="1132"/>
                    </a:lnTo>
                    <a:lnTo>
                      <a:pt x="2312" y="1124"/>
                    </a:lnTo>
                    <a:lnTo>
                      <a:pt x="2310" y="1122"/>
                    </a:lnTo>
                    <a:lnTo>
                      <a:pt x="2308" y="1124"/>
                    </a:lnTo>
                    <a:lnTo>
                      <a:pt x="2308" y="1128"/>
                    </a:lnTo>
                    <a:lnTo>
                      <a:pt x="2308" y="1140"/>
                    </a:lnTo>
                    <a:lnTo>
                      <a:pt x="2308" y="1144"/>
                    </a:lnTo>
                    <a:lnTo>
                      <a:pt x="2306" y="1146"/>
                    </a:lnTo>
                    <a:lnTo>
                      <a:pt x="2306" y="1146"/>
                    </a:lnTo>
                    <a:lnTo>
                      <a:pt x="2304" y="1142"/>
                    </a:lnTo>
                    <a:lnTo>
                      <a:pt x="2300" y="1136"/>
                    </a:lnTo>
                    <a:lnTo>
                      <a:pt x="2298" y="1126"/>
                    </a:lnTo>
                    <a:lnTo>
                      <a:pt x="2290" y="1110"/>
                    </a:lnTo>
                    <a:lnTo>
                      <a:pt x="2290" y="1110"/>
                    </a:lnTo>
                    <a:lnTo>
                      <a:pt x="2286" y="1100"/>
                    </a:lnTo>
                    <a:lnTo>
                      <a:pt x="2284" y="1086"/>
                    </a:lnTo>
                    <a:lnTo>
                      <a:pt x="2280" y="1058"/>
                    </a:lnTo>
                    <a:lnTo>
                      <a:pt x="2276" y="1042"/>
                    </a:lnTo>
                    <a:lnTo>
                      <a:pt x="2272" y="1026"/>
                    </a:lnTo>
                    <a:lnTo>
                      <a:pt x="2268" y="1012"/>
                    </a:lnTo>
                    <a:lnTo>
                      <a:pt x="2260" y="998"/>
                    </a:lnTo>
                    <a:lnTo>
                      <a:pt x="2260" y="998"/>
                    </a:lnTo>
                    <a:lnTo>
                      <a:pt x="2252" y="988"/>
                    </a:lnTo>
                    <a:lnTo>
                      <a:pt x="2248" y="984"/>
                    </a:lnTo>
                    <a:lnTo>
                      <a:pt x="2244" y="986"/>
                    </a:lnTo>
                    <a:lnTo>
                      <a:pt x="2244" y="986"/>
                    </a:lnTo>
                    <a:lnTo>
                      <a:pt x="2242" y="986"/>
                    </a:lnTo>
                    <a:lnTo>
                      <a:pt x="2240" y="984"/>
                    </a:lnTo>
                    <a:lnTo>
                      <a:pt x="2236" y="976"/>
                    </a:lnTo>
                    <a:lnTo>
                      <a:pt x="2230" y="968"/>
                    </a:lnTo>
                    <a:lnTo>
                      <a:pt x="2226" y="966"/>
                    </a:lnTo>
                    <a:lnTo>
                      <a:pt x="2222" y="966"/>
                    </a:lnTo>
                    <a:lnTo>
                      <a:pt x="2222" y="966"/>
                    </a:lnTo>
                    <a:lnTo>
                      <a:pt x="2220" y="966"/>
                    </a:lnTo>
                    <a:lnTo>
                      <a:pt x="2218" y="964"/>
                    </a:lnTo>
                    <a:lnTo>
                      <a:pt x="2212" y="956"/>
                    </a:lnTo>
                    <a:lnTo>
                      <a:pt x="2208" y="944"/>
                    </a:lnTo>
                    <a:lnTo>
                      <a:pt x="2206" y="928"/>
                    </a:lnTo>
                    <a:lnTo>
                      <a:pt x="2202" y="900"/>
                    </a:lnTo>
                    <a:lnTo>
                      <a:pt x="2200" y="890"/>
                    </a:lnTo>
                    <a:lnTo>
                      <a:pt x="2202" y="884"/>
                    </a:lnTo>
                    <a:lnTo>
                      <a:pt x="2202" y="884"/>
                    </a:lnTo>
                    <a:lnTo>
                      <a:pt x="2204" y="876"/>
                    </a:lnTo>
                    <a:lnTo>
                      <a:pt x="2204" y="870"/>
                    </a:lnTo>
                    <a:lnTo>
                      <a:pt x="2200" y="858"/>
                    </a:lnTo>
                    <a:lnTo>
                      <a:pt x="2198" y="850"/>
                    </a:lnTo>
                    <a:lnTo>
                      <a:pt x="2200" y="848"/>
                    </a:lnTo>
                    <a:lnTo>
                      <a:pt x="2204" y="850"/>
                    </a:lnTo>
                    <a:lnTo>
                      <a:pt x="2204" y="850"/>
                    </a:lnTo>
                    <a:lnTo>
                      <a:pt x="2208" y="850"/>
                    </a:lnTo>
                    <a:lnTo>
                      <a:pt x="2210" y="848"/>
                    </a:lnTo>
                    <a:lnTo>
                      <a:pt x="2204" y="842"/>
                    </a:lnTo>
                    <a:lnTo>
                      <a:pt x="2198" y="826"/>
                    </a:lnTo>
                    <a:lnTo>
                      <a:pt x="2194" y="816"/>
                    </a:lnTo>
                    <a:lnTo>
                      <a:pt x="2192" y="802"/>
                    </a:lnTo>
                    <a:lnTo>
                      <a:pt x="2192" y="802"/>
                    </a:lnTo>
                    <a:lnTo>
                      <a:pt x="2190" y="794"/>
                    </a:lnTo>
                    <a:lnTo>
                      <a:pt x="2188" y="790"/>
                    </a:lnTo>
                    <a:lnTo>
                      <a:pt x="2184" y="786"/>
                    </a:lnTo>
                    <a:lnTo>
                      <a:pt x="2176" y="784"/>
                    </a:lnTo>
                    <a:lnTo>
                      <a:pt x="2176" y="784"/>
                    </a:lnTo>
                    <a:lnTo>
                      <a:pt x="2174" y="782"/>
                    </a:lnTo>
                    <a:lnTo>
                      <a:pt x="2170" y="780"/>
                    </a:lnTo>
                    <a:lnTo>
                      <a:pt x="2166" y="772"/>
                    </a:lnTo>
                    <a:lnTo>
                      <a:pt x="2162" y="766"/>
                    </a:lnTo>
                    <a:lnTo>
                      <a:pt x="2160" y="764"/>
                    </a:lnTo>
                    <a:lnTo>
                      <a:pt x="2154" y="764"/>
                    </a:lnTo>
                    <a:lnTo>
                      <a:pt x="2154" y="764"/>
                    </a:lnTo>
                    <a:lnTo>
                      <a:pt x="2150" y="762"/>
                    </a:lnTo>
                    <a:lnTo>
                      <a:pt x="2146" y="758"/>
                    </a:lnTo>
                    <a:lnTo>
                      <a:pt x="2138" y="746"/>
                    </a:lnTo>
                    <a:lnTo>
                      <a:pt x="2138" y="746"/>
                    </a:lnTo>
                    <a:lnTo>
                      <a:pt x="2134" y="752"/>
                    </a:lnTo>
                    <a:lnTo>
                      <a:pt x="2134" y="752"/>
                    </a:lnTo>
                    <a:lnTo>
                      <a:pt x="2138" y="746"/>
                    </a:lnTo>
                    <a:lnTo>
                      <a:pt x="2138" y="746"/>
                    </a:lnTo>
                    <a:lnTo>
                      <a:pt x="2134" y="732"/>
                    </a:lnTo>
                    <a:lnTo>
                      <a:pt x="2132" y="716"/>
                    </a:lnTo>
                    <a:lnTo>
                      <a:pt x="2132" y="710"/>
                    </a:lnTo>
                    <a:lnTo>
                      <a:pt x="2134" y="706"/>
                    </a:lnTo>
                    <a:lnTo>
                      <a:pt x="2136" y="702"/>
                    </a:lnTo>
                    <a:lnTo>
                      <a:pt x="2142" y="702"/>
                    </a:lnTo>
                    <a:lnTo>
                      <a:pt x="2142" y="702"/>
                    </a:lnTo>
                    <a:lnTo>
                      <a:pt x="2144" y="702"/>
                    </a:lnTo>
                    <a:lnTo>
                      <a:pt x="2138" y="698"/>
                    </a:lnTo>
                    <a:lnTo>
                      <a:pt x="2134" y="692"/>
                    </a:lnTo>
                    <a:lnTo>
                      <a:pt x="2128" y="684"/>
                    </a:lnTo>
                    <a:lnTo>
                      <a:pt x="2120" y="674"/>
                    </a:lnTo>
                    <a:lnTo>
                      <a:pt x="2116" y="662"/>
                    </a:lnTo>
                    <a:lnTo>
                      <a:pt x="2116" y="662"/>
                    </a:lnTo>
                    <a:lnTo>
                      <a:pt x="2108" y="642"/>
                    </a:lnTo>
                    <a:lnTo>
                      <a:pt x="2098" y="624"/>
                    </a:lnTo>
                    <a:lnTo>
                      <a:pt x="2082" y="594"/>
                    </a:lnTo>
                    <a:lnTo>
                      <a:pt x="2072" y="572"/>
                    </a:lnTo>
                    <a:lnTo>
                      <a:pt x="2070" y="564"/>
                    </a:lnTo>
                    <a:lnTo>
                      <a:pt x="2070" y="556"/>
                    </a:lnTo>
                    <a:lnTo>
                      <a:pt x="2070" y="556"/>
                    </a:lnTo>
                    <a:lnTo>
                      <a:pt x="2070" y="550"/>
                    </a:lnTo>
                    <a:lnTo>
                      <a:pt x="2070" y="544"/>
                    </a:lnTo>
                    <a:lnTo>
                      <a:pt x="2064" y="534"/>
                    </a:lnTo>
                    <a:lnTo>
                      <a:pt x="2058" y="526"/>
                    </a:lnTo>
                    <a:lnTo>
                      <a:pt x="2056" y="520"/>
                    </a:lnTo>
                    <a:lnTo>
                      <a:pt x="2056" y="512"/>
                    </a:lnTo>
                    <a:lnTo>
                      <a:pt x="2056" y="512"/>
                    </a:lnTo>
                    <a:lnTo>
                      <a:pt x="2054" y="504"/>
                    </a:lnTo>
                    <a:lnTo>
                      <a:pt x="2050" y="494"/>
                    </a:lnTo>
                    <a:lnTo>
                      <a:pt x="2036" y="474"/>
                    </a:lnTo>
                    <a:lnTo>
                      <a:pt x="2022" y="452"/>
                    </a:lnTo>
                    <a:lnTo>
                      <a:pt x="2018" y="442"/>
                    </a:lnTo>
                    <a:lnTo>
                      <a:pt x="2016" y="434"/>
                    </a:lnTo>
                    <a:lnTo>
                      <a:pt x="2016" y="434"/>
                    </a:lnTo>
                    <a:lnTo>
                      <a:pt x="2016" y="426"/>
                    </a:lnTo>
                    <a:lnTo>
                      <a:pt x="2014" y="422"/>
                    </a:lnTo>
                    <a:lnTo>
                      <a:pt x="2010" y="416"/>
                    </a:lnTo>
                    <a:lnTo>
                      <a:pt x="2008" y="412"/>
                    </a:lnTo>
                    <a:lnTo>
                      <a:pt x="2008" y="408"/>
                    </a:lnTo>
                    <a:lnTo>
                      <a:pt x="2010" y="402"/>
                    </a:lnTo>
                    <a:lnTo>
                      <a:pt x="2014" y="394"/>
                    </a:lnTo>
                    <a:lnTo>
                      <a:pt x="2000" y="332"/>
                    </a:lnTo>
                    <a:lnTo>
                      <a:pt x="2000" y="332"/>
                    </a:lnTo>
                    <a:lnTo>
                      <a:pt x="1998" y="332"/>
                    </a:lnTo>
                    <a:lnTo>
                      <a:pt x="1996" y="328"/>
                    </a:lnTo>
                    <a:lnTo>
                      <a:pt x="1996" y="328"/>
                    </a:lnTo>
                    <a:lnTo>
                      <a:pt x="1992" y="326"/>
                    </a:lnTo>
                    <a:lnTo>
                      <a:pt x="1990" y="326"/>
                    </a:lnTo>
                    <a:lnTo>
                      <a:pt x="1986" y="326"/>
                    </a:lnTo>
                    <a:lnTo>
                      <a:pt x="1984" y="324"/>
                    </a:lnTo>
                    <a:lnTo>
                      <a:pt x="1984" y="324"/>
                    </a:lnTo>
                    <a:lnTo>
                      <a:pt x="1984" y="322"/>
                    </a:lnTo>
                    <a:lnTo>
                      <a:pt x="1984" y="320"/>
                    </a:lnTo>
                    <a:lnTo>
                      <a:pt x="1986" y="318"/>
                    </a:lnTo>
                    <a:lnTo>
                      <a:pt x="1988" y="316"/>
                    </a:lnTo>
                    <a:lnTo>
                      <a:pt x="1988" y="316"/>
                    </a:lnTo>
                    <a:lnTo>
                      <a:pt x="1990" y="314"/>
                    </a:lnTo>
                    <a:lnTo>
                      <a:pt x="1992" y="316"/>
                    </a:lnTo>
                    <a:lnTo>
                      <a:pt x="1998" y="320"/>
                    </a:lnTo>
                    <a:lnTo>
                      <a:pt x="1996" y="316"/>
                    </a:lnTo>
                    <a:lnTo>
                      <a:pt x="1996" y="316"/>
                    </a:lnTo>
                    <a:lnTo>
                      <a:pt x="1990" y="310"/>
                    </a:lnTo>
                    <a:lnTo>
                      <a:pt x="1990" y="310"/>
                    </a:lnTo>
                    <a:lnTo>
                      <a:pt x="1988" y="308"/>
                    </a:lnTo>
                    <a:lnTo>
                      <a:pt x="1986" y="308"/>
                    </a:lnTo>
                    <a:lnTo>
                      <a:pt x="1980" y="312"/>
                    </a:lnTo>
                    <a:lnTo>
                      <a:pt x="1980" y="312"/>
                    </a:lnTo>
                    <a:lnTo>
                      <a:pt x="1976" y="314"/>
                    </a:lnTo>
                    <a:lnTo>
                      <a:pt x="1974" y="314"/>
                    </a:lnTo>
                    <a:lnTo>
                      <a:pt x="1966" y="310"/>
                    </a:lnTo>
                    <a:lnTo>
                      <a:pt x="1958" y="306"/>
                    </a:lnTo>
                    <a:lnTo>
                      <a:pt x="1954" y="306"/>
                    </a:lnTo>
                    <a:lnTo>
                      <a:pt x="1948" y="308"/>
                    </a:lnTo>
                    <a:lnTo>
                      <a:pt x="1948" y="308"/>
                    </a:lnTo>
                    <a:lnTo>
                      <a:pt x="1938" y="312"/>
                    </a:lnTo>
                    <a:lnTo>
                      <a:pt x="1932" y="312"/>
                    </a:lnTo>
                    <a:lnTo>
                      <a:pt x="1928" y="312"/>
                    </a:lnTo>
                    <a:lnTo>
                      <a:pt x="1922" y="318"/>
                    </a:lnTo>
                    <a:lnTo>
                      <a:pt x="1922" y="318"/>
                    </a:lnTo>
                    <a:lnTo>
                      <a:pt x="1920" y="320"/>
                    </a:lnTo>
                    <a:lnTo>
                      <a:pt x="1916" y="322"/>
                    </a:lnTo>
                    <a:lnTo>
                      <a:pt x="1908" y="326"/>
                    </a:lnTo>
                    <a:lnTo>
                      <a:pt x="1892" y="340"/>
                    </a:lnTo>
                    <a:lnTo>
                      <a:pt x="1892" y="340"/>
                    </a:lnTo>
                    <a:lnTo>
                      <a:pt x="1886" y="346"/>
                    </a:lnTo>
                    <a:lnTo>
                      <a:pt x="1880" y="346"/>
                    </a:lnTo>
                    <a:lnTo>
                      <a:pt x="1874" y="346"/>
                    </a:lnTo>
                    <a:lnTo>
                      <a:pt x="1866" y="344"/>
                    </a:lnTo>
                    <a:lnTo>
                      <a:pt x="1854" y="336"/>
                    </a:lnTo>
                    <a:lnTo>
                      <a:pt x="1848" y="334"/>
                    </a:lnTo>
                    <a:lnTo>
                      <a:pt x="1844" y="334"/>
                    </a:lnTo>
                    <a:lnTo>
                      <a:pt x="1844" y="334"/>
                    </a:lnTo>
                    <a:lnTo>
                      <a:pt x="1836" y="332"/>
                    </a:lnTo>
                    <a:lnTo>
                      <a:pt x="1830" y="330"/>
                    </a:lnTo>
                    <a:lnTo>
                      <a:pt x="1826" y="326"/>
                    </a:lnTo>
                    <a:lnTo>
                      <a:pt x="1822" y="326"/>
                    </a:lnTo>
                    <a:lnTo>
                      <a:pt x="1818" y="326"/>
                    </a:lnTo>
                    <a:lnTo>
                      <a:pt x="1818" y="326"/>
                    </a:lnTo>
                    <a:lnTo>
                      <a:pt x="1812" y="326"/>
                    </a:lnTo>
                    <a:lnTo>
                      <a:pt x="1812" y="324"/>
                    </a:lnTo>
                    <a:lnTo>
                      <a:pt x="1808" y="322"/>
                    </a:lnTo>
                    <a:lnTo>
                      <a:pt x="1804" y="318"/>
                    </a:lnTo>
                    <a:lnTo>
                      <a:pt x="1794" y="314"/>
                    </a:lnTo>
                    <a:lnTo>
                      <a:pt x="1778" y="310"/>
                    </a:lnTo>
                    <a:lnTo>
                      <a:pt x="1778" y="310"/>
                    </a:lnTo>
                    <a:lnTo>
                      <a:pt x="1762" y="308"/>
                    </a:lnTo>
                    <a:lnTo>
                      <a:pt x="1750" y="306"/>
                    </a:lnTo>
                    <a:lnTo>
                      <a:pt x="1734" y="308"/>
                    </a:lnTo>
                    <a:lnTo>
                      <a:pt x="1724" y="310"/>
                    </a:lnTo>
                    <a:lnTo>
                      <a:pt x="1718" y="310"/>
                    </a:lnTo>
                    <a:lnTo>
                      <a:pt x="1718" y="310"/>
                    </a:lnTo>
                    <a:lnTo>
                      <a:pt x="1718" y="308"/>
                    </a:lnTo>
                    <a:lnTo>
                      <a:pt x="1718" y="308"/>
                    </a:lnTo>
                    <a:lnTo>
                      <a:pt x="1716" y="302"/>
                    </a:lnTo>
                    <a:lnTo>
                      <a:pt x="1714" y="292"/>
                    </a:lnTo>
                    <a:lnTo>
                      <a:pt x="1710" y="288"/>
                    </a:lnTo>
                    <a:lnTo>
                      <a:pt x="1706" y="286"/>
                    </a:lnTo>
                    <a:lnTo>
                      <a:pt x="1700" y="284"/>
                    </a:lnTo>
                    <a:lnTo>
                      <a:pt x="1692" y="284"/>
                    </a:lnTo>
                    <a:lnTo>
                      <a:pt x="1692" y="284"/>
                    </a:lnTo>
                    <a:lnTo>
                      <a:pt x="1678" y="284"/>
                    </a:lnTo>
                    <a:lnTo>
                      <a:pt x="1672" y="282"/>
                    </a:lnTo>
                    <a:lnTo>
                      <a:pt x="1666" y="280"/>
                    </a:lnTo>
                    <a:lnTo>
                      <a:pt x="1654" y="278"/>
                    </a:lnTo>
                    <a:lnTo>
                      <a:pt x="1654" y="278"/>
                    </a:lnTo>
                    <a:lnTo>
                      <a:pt x="1648" y="276"/>
                    </a:lnTo>
                    <a:lnTo>
                      <a:pt x="1644" y="274"/>
                    </a:lnTo>
                    <a:lnTo>
                      <a:pt x="1640" y="266"/>
                    </a:lnTo>
                    <a:lnTo>
                      <a:pt x="1638" y="262"/>
                    </a:lnTo>
                    <a:lnTo>
                      <a:pt x="1632" y="256"/>
                    </a:lnTo>
                    <a:lnTo>
                      <a:pt x="1624" y="250"/>
                    </a:lnTo>
                    <a:lnTo>
                      <a:pt x="1612" y="242"/>
                    </a:lnTo>
                    <a:lnTo>
                      <a:pt x="1612" y="242"/>
                    </a:lnTo>
                    <a:lnTo>
                      <a:pt x="1596" y="236"/>
                    </a:lnTo>
                    <a:lnTo>
                      <a:pt x="1584" y="236"/>
                    </a:lnTo>
                    <a:lnTo>
                      <a:pt x="1574" y="238"/>
                    </a:lnTo>
                    <a:lnTo>
                      <a:pt x="1568" y="242"/>
                    </a:lnTo>
                    <a:lnTo>
                      <a:pt x="1568" y="242"/>
                    </a:lnTo>
                    <a:lnTo>
                      <a:pt x="1564" y="244"/>
                    </a:lnTo>
                    <a:lnTo>
                      <a:pt x="1560" y="246"/>
                    </a:lnTo>
                    <a:lnTo>
                      <a:pt x="1550" y="246"/>
                    </a:lnTo>
                    <a:lnTo>
                      <a:pt x="1544" y="248"/>
                    </a:lnTo>
                    <a:lnTo>
                      <a:pt x="1536" y="252"/>
                    </a:lnTo>
                    <a:lnTo>
                      <a:pt x="1528" y="260"/>
                    </a:lnTo>
                    <a:lnTo>
                      <a:pt x="1516" y="274"/>
                    </a:lnTo>
                    <a:lnTo>
                      <a:pt x="1516" y="274"/>
                    </a:lnTo>
                    <a:lnTo>
                      <a:pt x="1510" y="284"/>
                    </a:lnTo>
                    <a:lnTo>
                      <a:pt x="1508" y="292"/>
                    </a:lnTo>
                    <a:lnTo>
                      <a:pt x="1508" y="302"/>
                    </a:lnTo>
                    <a:lnTo>
                      <a:pt x="1510" y="314"/>
                    </a:lnTo>
                    <a:lnTo>
                      <a:pt x="1512" y="324"/>
                    </a:lnTo>
                    <a:lnTo>
                      <a:pt x="1514" y="334"/>
                    </a:lnTo>
                    <a:lnTo>
                      <a:pt x="1512" y="344"/>
                    </a:lnTo>
                    <a:lnTo>
                      <a:pt x="1506" y="354"/>
                    </a:lnTo>
                    <a:lnTo>
                      <a:pt x="1506" y="354"/>
                    </a:lnTo>
                    <a:lnTo>
                      <a:pt x="1498" y="362"/>
                    </a:lnTo>
                    <a:lnTo>
                      <a:pt x="1492" y="368"/>
                    </a:lnTo>
                    <a:lnTo>
                      <a:pt x="1484" y="374"/>
                    </a:lnTo>
                    <a:lnTo>
                      <a:pt x="1478" y="376"/>
                    </a:lnTo>
                    <a:lnTo>
                      <a:pt x="1470" y="376"/>
                    </a:lnTo>
                    <a:lnTo>
                      <a:pt x="1464" y="374"/>
                    </a:lnTo>
                    <a:lnTo>
                      <a:pt x="1458" y="368"/>
                    </a:lnTo>
                    <a:lnTo>
                      <a:pt x="1452" y="362"/>
                    </a:lnTo>
                    <a:lnTo>
                      <a:pt x="1452" y="362"/>
                    </a:lnTo>
                    <a:lnTo>
                      <a:pt x="1446" y="356"/>
                    </a:lnTo>
                    <a:lnTo>
                      <a:pt x="1438" y="350"/>
                    </a:lnTo>
                    <a:lnTo>
                      <a:pt x="1418" y="338"/>
                    </a:lnTo>
                    <a:lnTo>
                      <a:pt x="1398" y="330"/>
                    </a:lnTo>
                    <a:lnTo>
                      <a:pt x="1376" y="328"/>
                    </a:lnTo>
                    <a:lnTo>
                      <a:pt x="1376" y="328"/>
                    </a:lnTo>
                    <a:lnTo>
                      <a:pt x="1358" y="326"/>
                    </a:lnTo>
                    <a:lnTo>
                      <a:pt x="1350" y="324"/>
                    </a:lnTo>
                    <a:lnTo>
                      <a:pt x="1344" y="320"/>
                    </a:lnTo>
                    <a:lnTo>
                      <a:pt x="1338" y="316"/>
                    </a:lnTo>
                    <a:lnTo>
                      <a:pt x="1334" y="310"/>
                    </a:lnTo>
                    <a:lnTo>
                      <a:pt x="1330" y="300"/>
                    </a:lnTo>
                    <a:lnTo>
                      <a:pt x="1326" y="288"/>
                    </a:lnTo>
                    <a:lnTo>
                      <a:pt x="1326" y="288"/>
                    </a:lnTo>
                    <a:lnTo>
                      <a:pt x="1324" y="276"/>
                    </a:lnTo>
                    <a:lnTo>
                      <a:pt x="1320" y="268"/>
                    </a:lnTo>
                    <a:lnTo>
                      <a:pt x="1314" y="262"/>
                    </a:lnTo>
                    <a:lnTo>
                      <a:pt x="1306" y="260"/>
                    </a:lnTo>
                    <a:lnTo>
                      <a:pt x="1294" y="258"/>
                    </a:lnTo>
                    <a:lnTo>
                      <a:pt x="1288" y="256"/>
                    </a:lnTo>
                    <a:lnTo>
                      <a:pt x="1284" y="254"/>
                    </a:lnTo>
                    <a:lnTo>
                      <a:pt x="1284" y="254"/>
                    </a:lnTo>
                    <a:lnTo>
                      <a:pt x="1272" y="248"/>
                    </a:lnTo>
                    <a:lnTo>
                      <a:pt x="1256" y="242"/>
                    </a:lnTo>
                    <a:lnTo>
                      <a:pt x="1238" y="240"/>
                    </a:lnTo>
                    <a:lnTo>
                      <a:pt x="1230" y="240"/>
                    </a:lnTo>
                    <a:lnTo>
                      <a:pt x="1224" y="240"/>
                    </a:lnTo>
                    <a:lnTo>
                      <a:pt x="1224" y="240"/>
                    </a:lnTo>
                    <a:lnTo>
                      <a:pt x="1216" y="242"/>
                    </a:lnTo>
                    <a:lnTo>
                      <a:pt x="1210" y="242"/>
                    </a:lnTo>
                    <a:lnTo>
                      <a:pt x="1196" y="236"/>
                    </a:lnTo>
                    <a:lnTo>
                      <a:pt x="1182" y="230"/>
                    </a:lnTo>
                    <a:lnTo>
                      <a:pt x="1172" y="224"/>
                    </a:lnTo>
                    <a:lnTo>
                      <a:pt x="1172" y="224"/>
                    </a:lnTo>
                    <a:lnTo>
                      <a:pt x="1160" y="218"/>
                    </a:lnTo>
                    <a:lnTo>
                      <a:pt x="1156" y="214"/>
                    </a:lnTo>
                    <a:lnTo>
                      <a:pt x="1154" y="206"/>
                    </a:lnTo>
                    <a:lnTo>
                      <a:pt x="1154" y="206"/>
                    </a:lnTo>
                    <a:lnTo>
                      <a:pt x="1152" y="198"/>
                    </a:lnTo>
                    <a:lnTo>
                      <a:pt x="1150" y="198"/>
                    </a:lnTo>
                    <a:lnTo>
                      <a:pt x="1148" y="198"/>
                    </a:lnTo>
                    <a:lnTo>
                      <a:pt x="1144" y="200"/>
                    </a:lnTo>
                    <a:lnTo>
                      <a:pt x="1142" y="200"/>
                    </a:lnTo>
                    <a:lnTo>
                      <a:pt x="1140" y="198"/>
                    </a:lnTo>
                    <a:lnTo>
                      <a:pt x="1140" y="198"/>
                    </a:lnTo>
                    <a:lnTo>
                      <a:pt x="1132" y="196"/>
                    </a:lnTo>
                    <a:lnTo>
                      <a:pt x="1124" y="194"/>
                    </a:lnTo>
                    <a:lnTo>
                      <a:pt x="1118" y="194"/>
                    </a:lnTo>
                    <a:lnTo>
                      <a:pt x="1114" y="190"/>
                    </a:lnTo>
                    <a:lnTo>
                      <a:pt x="1110" y="184"/>
                    </a:lnTo>
                    <a:lnTo>
                      <a:pt x="1108" y="176"/>
                    </a:lnTo>
                    <a:lnTo>
                      <a:pt x="1108" y="176"/>
                    </a:lnTo>
                    <a:lnTo>
                      <a:pt x="1110" y="170"/>
                    </a:lnTo>
                    <a:lnTo>
                      <a:pt x="1116" y="162"/>
                    </a:lnTo>
                    <a:lnTo>
                      <a:pt x="1134" y="144"/>
                    </a:lnTo>
                    <a:lnTo>
                      <a:pt x="1142" y="134"/>
                    </a:lnTo>
                    <a:lnTo>
                      <a:pt x="1150" y="124"/>
                    </a:lnTo>
                    <a:lnTo>
                      <a:pt x="1154" y="116"/>
                    </a:lnTo>
                    <a:lnTo>
                      <a:pt x="1154" y="114"/>
                    </a:lnTo>
                    <a:lnTo>
                      <a:pt x="1152" y="110"/>
                    </a:lnTo>
                    <a:lnTo>
                      <a:pt x="1152" y="110"/>
                    </a:lnTo>
                    <a:lnTo>
                      <a:pt x="1150" y="106"/>
                    </a:lnTo>
                    <a:lnTo>
                      <a:pt x="1148" y="102"/>
                    </a:lnTo>
                    <a:lnTo>
                      <a:pt x="1148" y="96"/>
                    </a:lnTo>
                    <a:lnTo>
                      <a:pt x="1148" y="92"/>
                    </a:lnTo>
                    <a:lnTo>
                      <a:pt x="1146" y="90"/>
                    </a:lnTo>
                    <a:lnTo>
                      <a:pt x="1142" y="86"/>
                    </a:lnTo>
                    <a:lnTo>
                      <a:pt x="1136" y="82"/>
                    </a:lnTo>
                    <a:lnTo>
                      <a:pt x="1136" y="82"/>
                    </a:lnTo>
                    <a:lnTo>
                      <a:pt x="1132" y="78"/>
                    </a:lnTo>
                    <a:lnTo>
                      <a:pt x="1128" y="74"/>
                    </a:lnTo>
                    <a:lnTo>
                      <a:pt x="1124" y="64"/>
                    </a:lnTo>
                    <a:lnTo>
                      <a:pt x="1124" y="60"/>
                    </a:lnTo>
                    <a:lnTo>
                      <a:pt x="1124" y="56"/>
                    </a:lnTo>
                    <a:lnTo>
                      <a:pt x="1126" y="52"/>
                    </a:lnTo>
                    <a:lnTo>
                      <a:pt x="1130" y="50"/>
                    </a:lnTo>
                    <a:lnTo>
                      <a:pt x="1130" y="50"/>
                    </a:lnTo>
                    <a:lnTo>
                      <a:pt x="1140" y="42"/>
                    </a:lnTo>
                    <a:lnTo>
                      <a:pt x="1148" y="34"/>
                    </a:lnTo>
                    <a:lnTo>
                      <a:pt x="1152" y="26"/>
                    </a:lnTo>
                    <a:lnTo>
                      <a:pt x="1152" y="20"/>
                    </a:lnTo>
                    <a:lnTo>
                      <a:pt x="1152" y="16"/>
                    </a:lnTo>
                    <a:lnTo>
                      <a:pt x="1152" y="16"/>
                    </a:lnTo>
                    <a:lnTo>
                      <a:pt x="1148" y="14"/>
                    </a:lnTo>
                    <a:lnTo>
                      <a:pt x="1146" y="16"/>
                    </a:lnTo>
                    <a:lnTo>
                      <a:pt x="1136" y="22"/>
                    </a:lnTo>
                    <a:lnTo>
                      <a:pt x="1128" y="30"/>
                    </a:lnTo>
                    <a:lnTo>
                      <a:pt x="1124" y="32"/>
                    </a:lnTo>
                    <a:lnTo>
                      <a:pt x="1122" y="32"/>
                    </a:lnTo>
                    <a:lnTo>
                      <a:pt x="1122" y="32"/>
                    </a:lnTo>
                    <a:lnTo>
                      <a:pt x="1120" y="30"/>
                    </a:lnTo>
                    <a:lnTo>
                      <a:pt x="1118" y="26"/>
                    </a:lnTo>
                    <a:lnTo>
                      <a:pt x="1118" y="18"/>
                    </a:lnTo>
                    <a:lnTo>
                      <a:pt x="1116" y="10"/>
                    </a:lnTo>
                    <a:lnTo>
                      <a:pt x="1112" y="6"/>
                    </a:lnTo>
                    <a:lnTo>
                      <a:pt x="1108" y="4"/>
                    </a:lnTo>
                    <a:lnTo>
                      <a:pt x="1108" y="4"/>
                    </a:lnTo>
                    <a:lnTo>
                      <a:pt x="1096" y="0"/>
                    </a:lnTo>
                    <a:lnTo>
                      <a:pt x="1088" y="2"/>
                    </a:lnTo>
                    <a:lnTo>
                      <a:pt x="1080" y="4"/>
                    </a:lnTo>
                    <a:lnTo>
                      <a:pt x="1074" y="6"/>
                    </a:lnTo>
                    <a:lnTo>
                      <a:pt x="1064" y="16"/>
                    </a:lnTo>
                    <a:lnTo>
                      <a:pt x="1058" y="22"/>
                    </a:lnTo>
                    <a:lnTo>
                      <a:pt x="1058" y="22"/>
                    </a:lnTo>
                    <a:lnTo>
                      <a:pt x="1052" y="22"/>
                    </a:lnTo>
                    <a:lnTo>
                      <a:pt x="1052" y="22"/>
                    </a:lnTo>
                    <a:lnTo>
                      <a:pt x="1040" y="22"/>
                    </a:lnTo>
                    <a:lnTo>
                      <a:pt x="1034" y="22"/>
                    </a:lnTo>
                    <a:lnTo>
                      <a:pt x="1026" y="24"/>
                    </a:lnTo>
                    <a:lnTo>
                      <a:pt x="1026" y="24"/>
                    </a:lnTo>
                    <a:lnTo>
                      <a:pt x="1022" y="28"/>
                    </a:lnTo>
                    <a:lnTo>
                      <a:pt x="1018" y="24"/>
                    </a:lnTo>
                    <a:lnTo>
                      <a:pt x="1014" y="20"/>
                    </a:lnTo>
                    <a:lnTo>
                      <a:pt x="1006" y="14"/>
                    </a:lnTo>
                    <a:lnTo>
                      <a:pt x="1006" y="14"/>
                    </a:lnTo>
                    <a:lnTo>
                      <a:pt x="1002" y="12"/>
                    </a:lnTo>
                    <a:lnTo>
                      <a:pt x="998" y="14"/>
                    </a:lnTo>
                    <a:lnTo>
                      <a:pt x="994" y="18"/>
                    </a:lnTo>
                    <a:lnTo>
                      <a:pt x="992" y="20"/>
                    </a:lnTo>
                    <a:lnTo>
                      <a:pt x="988" y="22"/>
                    </a:lnTo>
                    <a:lnTo>
                      <a:pt x="984" y="22"/>
                    </a:lnTo>
                    <a:lnTo>
                      <a:pt x="978" y="20"/>
                    </a:lnTo>
                    <a:lnTo>
                      <a:pt x="978" y="20"/>
                    </a:lnTo>
                    <a:lnTo>
                      <a:pt x="966" y="16"/>
                    </a:lnTo>
                    <a:lnTo>
                      <a:pt x="962" y="16"/>
                    </a:lnTo>
                    <a:lnTo>
                      <a:pt x="960" y="18"/>
                    </a:lnTo>
                    <a:lnTo>
                      <a:pt x="954" y="22"/>
                    </a:lnTo>
                    <a:lnTo>
                      <a:pt x="942" y="26"/>
                    </a:lnTo>
                    <a:lnTo>
                      <a:pt x="942" y="26"/>
                    </a:lnTo>
                    <a:lnTo>
                      <a:pt x="936" y="28"/>
                    </a:lnTo>
                    <a:lnTo>
                      <a:pt x="930" y="30"/>
                    </a:lnTo>
                    <a:lnTo>
                      <a:pt x="924" y="36"/>
                    </a:lnTo>
                    <a:lnTo>
                      <a:pt x="920" y="38"/>
                    </a:lnTo>
                    <a:lnTo>
                      <a:pt x="918" y="38"/>
                    </a:lnTo>
                    <a:lnTo>
                      <a:pt x="914" y="36"/>
                    </a:lnTo>
                    <a:lnTo>
                      <a:pt x="910" y="32"/>
                    </a:lnTo>
                    <a:lnTo>
                      <a:pt x="910" y="32"/>
                    </a:lnTo>
                    <a:lnTo>
                      <a:pt x="906" y="28"/>
                    </a:lnTo>
                    <a:lnTo>
                      <a:pt x="900" y="26"/>
                    </a:lnTo>
                    <a:lnTo>
                      <a:pt x="886" y="22"/>
                    </a:lnTo>
                    <a:lnTo>
                      <a:pt x="870" y="24"/>
                    </a:lnTo>
                    <a:lnTo>
                      <a:pt x="854" y="26"/>
                    </a:lnTo>
                    <a:lnTo>
                      <a:pt x="854" y="26"/>
                    </a:lnTo>
                    <a:lnTo>
                      <a:pt x="848" y="28"/>
                    </a:lnTo>
                    <a:lnTo>
                      <a:pt x="842" y="28"/>
                    </a:lnTo>
                    <a:lnTo>
                      <a:pt x="832" y="28"/>
                    </a:lnTo>
                    <a:lnTo>
                      <a:pt x="822" y="28"/>
                    </a:lnTo>
                    <a:lnTo>
                      <a:pt x="820" y="30"/>
                    </a:lnTo>
                    <a:lnTo>
                      <a:pt x="816" y="32"/>
                    </a:lnTo>
                    <a:lnTo>
                      <a:pt x="816" y="32"/>
                    </a:lnTo>
                    <a:lnTo>
                      <a:pt x="812" y="38"/>
                    </a:lnTo>
                    <a:lnTo>
                      <a:pt x="804" y="40"/>
                    </a:lnTo>
                    <a:lnTo>
                      <a:pt x="776" y="42"/>
                    </a:lnTo>
                    <a:lnTo>
                      <a:pt x="776" y="42"/>
                    </a:lnTo>
                    <a:lnTo>
                      <a:pt x="754" y="46"/>
                    </a:lnTo>
                    <a:lnTo>
                      <a:pt x="732" y="52"/>
                    </a:lnTo>
                    <a:lnTo>
                      <a:pt x="724" y="58"/>
                    </a:lnTo>
                    <a:lnTo>
                      <a:pt x="716" y="64"/>
                    </a:lnTo>
                    <a:lnTo>
                      <a:pt x="710" y="70"/>
                    </a:lnTo>
                    <a:lnTo>
                      <a:pt x="706" y="76"/>
                    </a:lnTo>
                    <a:lnTo>
                      <a:pt x="706" y="76"/>
                    </a:lnTo>
                    <a:lnTo>
                      <a:pt x="704" y="82"/>
                    </a:lnTo>
                    <a:lnTo>
                      <a:pt x="700" y="86"/>
                    </a:lnTo>
                    <a:lnTo>
                      <a:pt x="698" y="86"/>
                    </a:lnTo>
                    <a:lnTo>
                      <a:pt x="696" y="84"/>
                    </a:lnTo>
                    <a:lnTo>
                      <a:pt x="690" y="80"/>
                    </a:lnTo>
                    <a:lnTo>
                      <a:pt x="686" y="82"/>
                    </a:lnTo>
                    <a:lnTo>
                      <a:pt x="682" y="84"/>
                    </a:lnTo>
                    <a:lnTo>
                      <a:pt x="682" y="84"/>
                    </a:lnTo>
                    <a:lnTo>
                      <a:pt x="680" y="86"/>
                    </a:lnTo>
                    <a:lnTo>
                      <a:pt x="676" y="88"/>
                    </a:lnTo>
                    <a:lnTo>
                      <a:pt x="670" y="86"/>
                    </a:lnTo>
                    <a:lnTo>
                      <a:pt x="668" y="86"/>
                    </a:lnTo>
                    <a:lnTo>
                      <a:pt x="664" y="88"/>
                    </a:lnTo>
                    <a:lnTo>
                      <a:pt x="662" y="90"/>
                    </a:lnTo>
                    <a:lnTo>
                      <a:pt x="656" y="96"/>
                    </a:lnTo>
                    <a:lnTo>
                      <a:pt x="656" y="96"/>
                    </a:lnTo>
                    <a:lnTo>
                      <a:pt x="650" y="104"/>
                    </a:lnTo>
                    <a:lnTo>
                      <a:pt x="640" y="114"/>
                    </a:lnTo>
                    <a:lnTo>
                      <a:pt x="634" y="118"/>
                    </a:lnTo>
                    <a:lnTo>
                      <a:pt x="628" y="120"/>
                    </a:lnTo>
                    <a:lnTo>
                      <a:pt x="622" y="120"/>
                    </a:lnTo>
                    <a:lnTo>
                      <a:pt x="616" y="120"/>
                    </a:lnTo>
                    <a:lnTo>
                      <a:pt x="616" y="120"/>
                    </a:lnTo>
                    <a:lnTo>
                      <a:pt x="600" y="120"/>
                    </a:lnTo>
                    <a:lnTo>
                      <a:pt x="596" y="118"/>
                    </a:lnTo>
                    <a:lnTo>
                      <a:pt x="592" y="116"/>
                    </a:lnTo>
                    <a:lnTo>
                      <a:pt x="588" y="112"/>
                    </a:lnTo>
                    <a:lnTo>
                      <a:pt x="586" y="108"/>
                    </a:lnTo>
                    <a:lnTo>
                      <a:pt x="586" y="108"/>
                    </a:lnTo>
                    <a:lnTo>
                      <a:pt x="586" y="104"/>
                    </a:lnTo>
                    <a:lnTo>
                      <a:pt x="584" y="104"/>
                    </a:lnTo>
                    <a:lnTo>
                      <a:pt x="580" y="108"/>
                    </a:lnTo>
                    <a:lnTo>
                      <a:pt x="578" y="110"/>
                    </a:lnTo>
                    <a:lnTo>
                      <a:pt x="574" y="112"/>
                    </a:lnTo>
                    <a:lnTo>
                      <a:pt x="570" y="114"/>
                    </a:lnTo>
                    <a:lnTo>
                      <a:pt x="562" y="112"/>
                    </a:lnTo>
                    <a:lnTo>
                      <a:pt x="562" y="112"/>
                    </a:lnTo>
                    <a:lnTo>
                      <a:pt x="558" y="110"/>
                    </a:lnTo>
                    <a:lnTo>
                      <a:pt x="552" y="110"/>
                    </a:lnTo>
                    <a:lnTo>
                      <a:pt x="542" y="114"/>
                    </a:lnTo>
                    <a:lnTo>
                      <a:pt x="536" y="116"/>
                    </a:lnTo>
                    <a:lnTo>
                      <a:pt x="530" y="118"/>
                    </a:lnTo>
                    <a:lnTo>
                      <a:pt x="520" y="116"/>
                    </a:lnTo>
                    <a:lnTo>
                      <a:pt x="510" y="112"/>
                    </a:lnTo>
                    <a:lnTo>
                      <a:pt x="510" y="112"/>
                    </a:lnTo>
                    <a:lnTo>
                      <a:pt x="502" y="108"/>
                    </a:lnTo>
                    <a:lnTo>
                      <a:pt x="498" y="102"/>
                    </a:lnTo>
                    <a:lnTo>
                      <a:pt x="494" y="98"/>
                    </a:lnTo>
                    <a:lnTo>
                      <a:pt x="492" y="94"/>
                    </a:lnTo>
                    <a:lnTo>
                      <a:pt x="464" y="96"/>
                    </a:lnTo>
                    <a:lnTo>
                      <a:pt x="464" y="96"/>
                    </a:lnTo>
                    <a:lnTo>
                      <a:pt x="454" y="122"/>
                    </a:lnTo>
                    <a:lnTo>
                      <a:pt x="444" y="152"/>
                    </a:lnTo>
                    <a:lnTo>
                      <a:pt x="436" y="166"/>
                    </a:lnTo>
                    <a:lnTo>
                      <a:pt x="426" y="180"/>
                    </a:lnTo>
                    <a:lnTo>
                      <a:pt x="414" y="190"/>
                    </a:lnTo>
                    <a:lnTo>
                      <a:pt x="400" y="200"/>
                    </a:lnTo>
                    <a:lnTo>
                      <a:pt x="400" y="200"/>
                    </a:lnTo>
                    <a:lnTo>
                      <a:pt x="380" y="206"/>
                    </a:lnTo>
                    <a:lnTo>
                      <a:pt x="368" y="212"/>
                    </a:lnTo>
                    <a:lnTo>
                      <a:pt x="360" y="218"/>
                    </a:lnTo>
                    <a:lnTo>
                      <a:pt x="356" y="222"/>
                    </a:lnTo>
                    <a:lnTo>
                      <a:pt x="352" y="232"/>
                    </a:lnTo>
                    <a:lnTo>
                      <a:pt x="348" y="238"/>
                    </a:lnTo>
                    <a:lnTo>
                      <a:pt x="342" y="244"/>
                    </a:lnTo>
                    <a:lnTo>
                      <a:pt x="342" y="244"/>
                    </a:lnTo>
                    <a:lnTo>
                      <a:pt x="334" y="252"/>
                    </a:lnTo>
                    <a:lnTo>
                      <a:pt x="332" y="256"/>
                    </a:lnTo>
                    <a:lnTo>
                      <a:pt x="330" y="260"/>
                    </a:lnTo>
                    <a:lnTo>
                      <a:pt x="330" y="264"/>
                    </a:lnTo>
                    <a:lnTo>
                      <a:pt x="330" y="270"/>
                    </a:lnTo>
                    <a:lnTo>
                      <a:pt x="330" y="274"/>
                    </a:lnTo>
                    <a:lnTo>
                      <a:pt x="326" y="282"/>
                    </a:lnTo>
                    <a:lnTo>
                      <a:pt x="320" y="292"/>
                    </a:lnTo>
                    <a:lnTo>
                      <a:pt x="320" y="292"/>
                    </a:lnTo>
                    <a:lnTo>
                      <a:pt x="312" y="306"/>
                    </a:lnTo>
                    <a:lnTo>
                      <a:pt x="308" y="320"/>
                    </a:lnTo>
                    <a:lnTo>
                      <a:pt x="308" y="336"/>
                    </a:lnTo>
                    <a:lnTo>
                      <a:pt x="310" y="350"/>
                    </a:lnTo>
                    <a:lnTo>
                      <a:pt x="314" y="376"/>
                    </a:lnTo>
                    <a:lnTo>
                      <a:pt x="314" y="388"/>
                    </a:lnTo>
                    <a:lnTo>
                      <a:pt x="310" y="398"/>
                    </a:lnTo>
                    <a:lnTo>
                      <a:pt x="310" y="398"/>
                    </a:lnTo>
                    <a:lnTo>
                      <a:pt x="298" y="420"/>
                    </a:lnTo>
                    <a:lnTo>
                      <a:pt x="288" y="434"/>
                    </a:lnTo>
                    <a:lnTo>
                      <a:pt x="282" y="442"/>
                    </a:lnTo>
                    <a:lnTo>
                      <a:pt x="276" y="446"/>
                    </a:lnTo>
                    <a:lnTo>
                      <a:pt x="264" y="452"/>
                    </a:lnTo>
                    <a:lnTo>
                      <a:pt x="258" y="456"/>
                    </a:lnTo>
                    <a:lnTo>
                      <a:pt x="250" y="466"/>
                    </a:lnTo>
                    <a:lnTo>
                      <a:pt x="250" y="466"/>
                    </a:lnTo>
                    <a:lnTo>
                      <a:pt x="240" y="478"/>
                    </a:lnTo>
                    <a:lnTo>
                      <a:pt x="228" y="484"/>
                    </a:lnTo>
                    <a:lnTo>
                      <a:pt x="218" y="488"/>
                    </a:lnTo>
                    <a:lnTo>
                      <a:pt x="206" y="490"/>
                    </a:lnTo>
                    <a:lnTo>
                      <a:pt x="196" y="492"/>
                    </a:lnTo>
                    <a:lnTo>
                      <a:pt x="188" y="496"/>
                    </a:lnTo>
                    <a:lnTo>
                      <a:pt x="180" y="500"/>
                    </a:lnTo>
                    <a:lnTo>
                      <a:pt x="174" y="510"/>
                    </a:lnTo>
                    <a:lnTo>
                      <a:pt x="174" y="510"/>
                    </a:lnTo>
                    <a:lnTo>
                      <a:pt x="164" y="538"/>
                    </a:lnTo>
                    <a:lnTo>
                      <a:pt x="156" y="556"/>
                    </a:lnTo>
                    <a:lnTo>
                      <a:pt x="148" y="566"/>
                    </a:lnTo>
                    <a:lnTo>
                      <a:pt x="140" y="572"/>
                    </a:lnTo>
                    <a:lnTo>
                      <a:pt x="134" y="574"/>
                    </a:lnTo>
                    <a:lnTo>
                      <a:pt x="128" y="578"/>
                    </a:lnTo>
                    <a:lnTo>
                      <a:pt x="124" y="584"/>
                    </a:lnTo>
                    <a:lnTo>
                      <a:pt x="120" y="596"/>
                    </a:lnTo>
                    <a:lnTo>
                      <a:pt x="120" y="596"/>
                    </a:lnTo>
                    <a:lnTo>
                      <a:pt x="116" y="610"/>
                    </a:lnTo>
                    <a:lnTo>
                      <a:pt x="114" y="614"/>
                    </a:lnTo>
                    <a:lnTo>
                      <a:pt x="110" y="620"/>
                    </a:lnTo>
                    <a:lnTo>
                      <a:pt x="108" y="640"/>
                    </a:lnTo>
                    <a:lnTo>
                      <a:pt x="108" y="640"/>
                    </a:lnTo>
                    <a:lnTo>
                      <a:pt x="104" y="660"/>
                    </a:lnTo>
                    <a:lnTo>
                      <a:pt x="102" y="666"/>
                    </a:lnTo>
                    <a:lnTo>
                      <a:pt x="98" y="670"/>
                    </a:lnTo>
                    <a:lnTo>
                      <a:pt x="90" y="678"/>
                    </a:lnTo>
                    <a:lnTo>
                      <a:pt x="78" y="692"/>
                    </a:lnTo>
                    <a:lnTo>
                      <a:pt x="78" y="692"/>
                    </a:lnTo>
                    <a:lnTo>
                      <a:pt x="64" y="706"/>
                    </a:lnTo>
                    <a:lnTo>
                      <a:pt x="58" y="712"/>
                    </a:lnTo>
                    <a:lnTo>
                      <a:pt x="58" y="714"/>
                    </a:lnTo>
                    <a:lnTo>
                      <a:pt x="60" y="714"/>
                    </a:lnTo>
                    <a:lnTo>
                      <a:pt x="64" y="714"/>
                    </a:lnTo>
                    <a:lnTo>
                      <a:pt x="64" y="714"/>
                    </a:lnTo>
                    <a:lnTo>
                      <a:pt x="66" y="714"/>
                    </a:lnTo>
                    <a:lnTo>
                      <a:pt x="66" y="716"/>
                    </a:lnTo>
                    <a:lnTo>
                      <a:pt x="60" y="726"/>
                    </a:lnTo>
                    <a:lnTo>
                      <a:pt x="54" y="740"/>
                    </a:lnTo>
                    <a:lnTo>
                      <a:pt x="52" y="750"/>
                    </a:lnTo>
                    <a:lnTo>
                      <a:pt x="50" y="762"/>
                    </a:lnTo>
                    <a:lnTo>
                      <a:pt x="50" y="762"/>
                    </a:lnTo>
                    <a:lnTo>
                      <a:pt x="48" y="772"/>
                    </a:lnTo>
                    <a:lnTo>
                      <a:pt x="46" y="778"/>
                    </a:lnTo>
                    <a:lnTo>
                      <a:pt x="42" y="782"/>
                    </a:lnTo>
                    <a:lnTo>
                      <a:pt x="36" y="786"/>
                    </a:lnTo>
                    <a:lnTo>
                      <a:pt x="32" y="788"/>
                    </a:lnTo>
                    <a:lnTo>
                      <a:pt x="28" y="794"/>
                    </a:lnTo>
                    <a:lnTo>
                      <a:pt x="24" y="800"/>
                    </a:lnTo>
                    <a:lnTo>
                      <a:pt x="20" y="812"/>
                    </a:lnTo>
                    <a:lnTo>
                      <a:pt x="20" y="812"/>
                    </a:lnTo>
                    <a:lnTo>
                      <a:pt x="16" y="834"/>
                    </a:lnTo>
                    <a:lnTo>
                      <a:pt x="14" y="850"/>
                    </a:lnTo>
                    <a:lnTo>
                      <a:pt x="16" y="858"/>
                    </a:lnTo>
                    <a:lnTo>
                      <a:pt x="16" y="860"/>
                    </a:lnTo>
                    <a:lnTo>
                      <a:pt x="18" y="860"/>
                    </a:lnTo>
                    <a:lnTo>
                      <a:pt x="18" y="860"/>
                    </a:lnTo>
                    <a:lnTo>
                      <a:pt x="20" y="860"/>
                    </a:lnTo>
                    <a:lnTo>
                      <a:pt x="22" y="858"/>
                    </a:lnTo>
                    <a:lnTo>
                      <a:pt x="22" y="852"/>
                    </a:lnTo>
                    <a:lnTo>
                      <a:pt x="24" y="846"/>
                    </a:lnTo>
                    <a:lnTo>
                      <a:pt x="24" y="844"/>
                    </a:lnTo>
                    <a:lnTo>
                      <a:pt x="26" y="844"/>
                    </a:lnTo>
                    <a:lnTo>
                      <a:pt x="26" y="844"/>
                    </a:lnTo>
                    <a:lnTo>
                      <a:pt x="30" y="846"/>
                    </a:lnTo>
                    <a:lnTo>
                      <a:pt x="30" y="850"/>
                    </a:lnTo>
                    <a:lnTo>
                      <a:pt x="32" y="860"/>
                    </a:lnTo>
                    <a:lnTo>
                      <a:pt x="34" y="868"/>
                    </a:lnTo>
                    <a:lnTo>
                      <a:pt x="36" y="868"/>
                    </a:lnTo>
                    <a:lnTo>
                      <a:pt x="38" y="868"/>
                    </a:lnTo>
                    <a:lnTo>
                      <a:pt x="38" y="868"/>
                    </a:lnTo>
                    <a:lnTo>
                      <a:pt x="42" y="868"/>
                    </a:lnTo>
                    <a:lnTo>
                      <a:pt x="44" y="868"/>
                    </a:lnTo>
                    <a:lnTo>
                      <a:pt x="48" y="878"/>
                    </a:lnTo>
                    <a:lnTo>
                      <a:pt x="50" y="890"/>
                    </a:lnTo>
                    <a:lnTo>
                      <a:pt x="50" y="902"/>
                    </a:lnTo>
                    <a:lnTo>
                      <a:pt x="50" y="902"/>
                    </a:lnTo>
                    <a:lnTo>
                      <a:pt x="50" y="910"/>
                    </a:lnTo>
                    <a:lnTo>
                      <a:pt x="46" y="918"/>
                    </a:lnTo>
                    <a:lnTo>
                      <a:pt x="42" y="926"/>
                    </a:lnTo>
                    <a:lnTo>
                      <a:pt x="38" y="930"/>
                    </a:lnTo>
                    <a:lnTo>
                      <a:pt x="40" y="932"/>
                    </a:lnTo>
                    <a:lnTo>
                      <a:pt x="42" y="936"/>
                    </a:lnTo>
                    <a:lnTo>
                      <a:pt x="42" y="936"/>
                    </a:lnTo>
                    <a:lnTo>
                      <a:pt x="46" y="940"/>
                    </a:lnTo>
                    <a:lnTo>
                      <a:pt x="50" y="948"/>
                    </a:lnTo>
                    <a:lnTo>
                      <a:pt x="54" y="958"/>
                    </a:lnTo>
                    <a:lnTo>
                      <a:pt x="58" y="972"/>
                    </a:lnTo>
                    <a:lnTo>
                      <a:pt x="60" y="986"/>
                    </a:lnTo>
                    <a:lnTo>
                      <a:pt x="60" y="1002"/>
                    </a:lnTo>
                    <a:lnTo>
                      <a:pt x="58" y="1016"/>
                    </a:lnTo>
                    <a:lnTo>
                      <a:pt x="54" y="1030"/>
                    </a:lnTo>
                    <a:lnTo>
                      <a:pt x="54" y="1030"/>
                    </a:lnTo>
                    <a:lnTo>
                      <a:pt x="42" y="1066"/>
                    </a:lnTo>
                    <a:lnTo>
                      <a:pt x="40" y="1076"/>
                    </a:lnTo>
                    <a:lnTo>
                      <a:pt x="40" y="1086"/>
                    </a:lnTo>
                    <a:lnTo>
                      <a:pt x="40" y="1086"/>
                    </a:lnTo>
                    <a:lnTo>
                      <a:pt x="40" y="1102"/>
                    </a:lnTo>
                    <a:lnTo>
                      <a:pt x="34" y="1122"/>
                    </a:lnTo>
                    <a:lnTo>
                      <a:pt x="28" y="1132"/>
                    </a:lnTo>
                    <a:lnTo>
                      <a:pt x="22" y="1142"/>
                    </a:lnTo>
                    <a:lnTo>
                      <a:pt x="16" y="1150"/>
                    </a:lnTo>
                    <a:lnTo>
                      <a:pt x="6" y="1156"/>
                    </a:lnTo>
                    <a:lnTo>
                      <a:pt x="6" y="1156"/>
                    </a:lnTo>
                    <a:lnTo>
                      <a:pt x="2" y="1160"/>
                    </a:lnTo>
                    <a:lnTo>
                      <a:pt x="0" y="1162"/>
                    </a:lnTo>
                    <a:lnTo>
                      <a:pt x="2" y="1164"/>
                    </a:lnTo>
                    <a:lnTo>
                      <a:pt x="10" y="1164"/>
                    </a:lnTo>
                    <a:lnTo>
                      <a:pt x="10" y="1164"/>
                    </a:lnTo>
                    <a:lnTo>
                      <a:pt x="14" y="1164"/>
                    </a:lnTo>
                    <a:lnTo>
                      <a:pt x="16" y="1168"/>
                    </a:lnTo>
                    <a:lnTo>
                      <a:pt x="22" y="1184"/>
                    </a:lnTo>
                    <a:lnTo>
                      <a:pt x="30" y="1202"/>
                    </a:lnTo>
                    <a:lnTo>
                      <a:pt x="34" y="1210"/>
                    </a:lnTo>
                    <a:lnTo>
                      <a:pt x="38" y="1218"/>
                    </a:lnTo>
                    <a:lnTo>
                      <a:pt x="38" y="1218"/>
                    </a:lnTo>
                    <a:lnTo>
                      <a:pt x="40" y="1222"/>
                    </a:lnTo>
                    <a:lnTo>
                      <a:pt x="44" y="1224"/>
                    </a:lnTo>
                    <a:lnTo>
                      <a:pt x="46" y="1226"/>
                    </a:lnTo>
                    <a:lnTo>
                      <a:pt x="52" y="1226"/>
                    </a:lnTo>
                    <a:lnTo>
                      <a:pt x="64" y="1224"/>
                    </a:lnTo>
                    <a:lnTo>
                      <a:pt x="80" y="1224"/>
                    </a:lnTo>
                    <a:lnTo>
                      <a:pt x="80" y="1224"/>
                    </a:lnTo>
                    <a:lnTo>
                      <a:pt x="62" y="1228"/>
                    </a:lnTo>
                    <a:lnTo>
                      <a:pt x="50" y="1232"/>
                    </a:lnTo>
                    <a:lnTo>
                      <a:pt x="40" y="1232"/>
                    </a:lnTo>
                    <a:lnTo>
                      <a:pt x="38" y="1232"/>
                    </a:lnTo>
                    <a:lnTo>
                      <a:pt x="36" y="1228"/>
                    </a:lnTo>
                    <a:lnTo>
                      <a:pt x="36" y="1228"/>
                    </a:lnTo>
                    <a:lnTo>
                      <a:pt x="34" y="1226"/>
                    </a:lnTo>
                    <a:lnTo>
                      <a:pt x="32" y="1224"/>
                    </a:lnTo>
                    <a:lnTo>
                      <a:pt x="28" y="1228"/>
                    </a:lnTo>
                    <a:lnTo>
                      <a:pt x="26" y="1234"/>
                    </a:lnTo>
                    <a:lnTo>
                      <a:pt x="28" y="1242"/>
                    </a:lnTo>
                    <a:lnTo>
                      <a:pt x="28" y="1242"/>
                    </a:lnTo>
                    <a:lnTo>
                      <a:pt x="30" y="1252"/>
                    </a:lnTo>
                    <a:lnTo>
                      <a:pt x="30" y="1260"/>
                    </a:lnTo>
                    <a:lnTo>
                      <a:pt x="30" y="1264"/>
                    </a:lnTo>
                    <a:lnTo>
                      <a:pt x="32" y="1264"/>
                    </a:lnTo>
                    <a:lnTo>
                      <a:pt x="34" y="1264"/>
                    </a:lnTo>
                    <a:lnTo>
                      <a:pt x="34" y="1264"/>
                    </a:lnTo>
                    <a:lnTo>
                      <a:pt x="40" y="1262"/>
                    </a:lnTo>
                    <a:lnTo>
                      <a:pt x="44" y="1264"/>
                    </a:lnTo>
                    <a:lnTo>
                      <a:pt x="48" y="1266"/>
                    </a:lnTo>
                    <a:lnTo>
                      <a:pt x="54" y="1264"/>
                    </a:lnTo>
                    <a:lnTo>
                      <a:pt x="54" y="1264"/>
                    </a:lnTo>
                    <a:lnTo>
                      <a:pt x="60" y="1264"/>
                    </a:lnTo>
                    <a:lnTo>
                      <a:pt x="64" y="1264"/>
                    </a:lnTo>
                    <a:lnTo>
                      <a:pt x="70" y="1268"/>
                    </a:lnTo>
                    <a:lnTo>
                      <a:pt x="76" y="1268"/>
                    </a:lnTo>
                    <a:lnTo>
                      <a:pt x="76" y="1268"/>
                    </a:lnTo>
                    <a:lnTo>
                      <a:pt x="64" y="1270"/>
                    </a:lnTo>
                    <a:lnTo>
                      <a:pt x="54" y="1270"/>
                    </a:lnTo>
                    <a:lnTo>
                      <a:pt x="44" y="1268"/>
                    </a:lnTo>
                    <a:lnTo>
                      <a:pt x="38" y="1266"/>
                    </a:lnTo>
                    <a:lnTo>
                      <a:pt x="36" y="1268"/>
                    </a:lnTo>
                    <a:lnTo>
                      <a:pt x="32" y="1270"/>
                    </a:lnTo>
                    <a:lnTo>
                      <a:pt x="32" y="1270"/>
                    </a:lnTo>
                    <a:lnTo>
                      <a:pt x="30" y="1274"/>
                    </a:lnTo>
                    <a:lnTo>
                      <a:pt x="30" y="1276"/>
                    </a:lnTo>
                    <a:lnTo>
                      <a:pt x="34" y="1278"/>
                    </a:lnTo>
                    <a:lnTo>
                      <a:pt x="38" y="1282"/>
                    </a:lnTo>
                    <a:lnTo>
                      <a:pt x="38" y="1282"/>
                    </a:lnTo>
                    <a:lnTo>
                      <a:pt x="40" y="1286"/>
                    </a:lnTo>
                    <a:lnTo>
                      <a:pt x="42" y="1286"/>
                    </a:lnTo>
                    <a:lnTo>
                      <a:pt x="48" y="1284"/>
                    </a:lnTo>
                    <a:lnTo>
                      <a:pt x="52" y="1284"/>
                    </a:lnTo>
                    <a:lnTo>
                      <a:pt x="50" y="1290"/>
                    </a:lnTo>
                    <a:lnTo>
                      <a:pt x="50" y="1290"/>
                    </a:lnTo>
                    <a:lnTo>
                      <a:pt x="46" y="1296"/>
                    </a:lnTo>
                    <a:lnTo>
                      <a:pt x="48" y="1298"/>
                    </a:lnTo>
                    <a:lnTo>
                      <a:pt x="48" y="1300"/>
                    </a:lnTo>
                    <a:lnTo>
                      <a:pt x="54" y="1300"/>
                    </a:lnTo>
                    <a:lnTo>
                      <a:pt x="60" y="1300"/>
                    </a:lnTo>
                    <a:lnTo>
                      <a:pt x="60" y="1300"/>
                    </a:lnTo>
                    <a:lnTo>
                      <a:pt x="64" y="1298"/>
                    </a:lnTo>
                    <a:lnTo>
                      <a:pt x="64" y="1300"/>
                    </a:lnTo>
                    <a:lnTo>
                      <a:pt x="64" y="1306"/>
                    </a:lnTo>
                    <a:lnTo>
                      <a:pt x="64" y="1312"/>
                    </a:lnTo>
                    <a:lnTo>
                      <a:pt x="66" y="1312"/>
                    </a:lnTo>
                    <a:lnTo>
                      <a:pt x="70" y="1310"/>
                    </a:lnTo>
                    <a:lnTo>
                      <a:pt x="70" y="1310"/>
                    </a:lnTo>
                    <a:lnTo>
                      <a:pt x="78" y="1304"/>
                    </a:lnTo>
                    <a:lnTo>
                      <a:pt x="86" y="1300"/>
                    </a:lnTo>
                    <a:lnTo>
                      <a:pt x="88" y="1300"/>
                    </a:lnTo>
                    <a:lnTo>
                      <a:pt x="88" y="1302"/>
                    </a:lnTo>
                    <a:lnTo>
                      <a:pt x="82" y="1304"/>
                    </a:lnTo>
                    <a:lnTo>
                      <a:pt x="82" y="1304"/>
                    </a:lnTo>
                    <a:lnTo>
                      <a:pt x="80" y="1306"/>
                    </a:lnTo>
                    <a:lnTo>
                      <a:pt x="78" y="1308"/>
                    </a:lnTo>
                    <a:lnTo>
                      <a:pt x="80" y="1312"/>
                    </a:lnTo>
                    <a:lnTo>
                      <a:pt x="82" y="1318"/>
                    </a:lnTo>
                    <a:lnTo>
                      <a:pt x="84" y="1320"/>
                    </a:lnTo>
                    <a:lnTo>
                      <a:pt x="82" y="1324"/>
                    </a:lnTo>
                    <a:lnTo>
                      <a:pt x="82" y="1324"/>
                    </a:lnTo>
                    <a:lnTo>
                      <a:pt x="80" y="1328"/>
                    </a:lnTo>
                    <a:lnTo>
                      <a:pt x="82" y="1328"/>
                    </a:lnTo>
                    <a:lnTo>
                      <a:pt x="84" y="1328"/>
                    </a:lnTo>
                    <a:lnTo>
                      <a:pt x="86" y="1332"/>
                    </a:lnTo>
                    <a:lnTo>
                      <a:pt x="86" y="1332"/>
                    </a:lnTo>
                    <a:lnTo>
                      <a:pt x="86" y="1336"/>
                    </a:lnTo>
                    <a:lnTo>
                      <a:pt x="88" y="1336"/>
                    </a:lnTo>
                    <a:lnTo>
                      <a:pt x="90" y="1338"/>
                    </a:lnTo>
                    <a:lnTo>
                      <a:pt x="90" y="1342"/>
                    </a:lnTo>
                    <a:lnTo>
                      <a:pt x="90" y="1342"/>
                    </a:lnTo>
                    <a:lnTo>
                      <a:pt x="92" y="1346"/>
                    </a:lnTo>
                    <a:lnTo>
                      <a:pt x="94" y="1344"/>
                    </a:lnTo>
                    <a:lnTo>
                      <a:pt x="100" y="1336"/>
                    </a:lnTo>
                    <a:lnTo>
                      <a:pt x="100" y="1336"/>
                    </a:lnTo>
                    <a:lnTo>
                      <a:pt x="98" y="1344"/>
                    </a:lnTo>
                    <a:lnTo>
                      <a:pt x="100" y="1348"/>
                    </a:lnTo>
                    <a:lnTo>
                      <a:pt x="100" y="1348"/>
                    </a:lnTo>
                    <a:lnTo>
                      <a:pt x="98" y="1352"/>
                    </a:lnTo>
                    <a:lnTo>
                      <a:pt x="100" y="1356"/>
                    </a:lnTo>
                    <a:lnTo>
                      <a:pt x="100" y="1356"/>
                    </a:lnTo>
                    <a:lnTo>
                      <a:pt x="102" y="1356"/>
                    </a:lnTo>
                    <a:lnTo>
                      <a:pt x="102" y="1356"/>
                    </a:lnTo>
                    <a:lnTo>
                      <a:pt x="104" y="1352"/>
                    </a:lnTo>
                    <a:lnTo>
                      <a:pt x="108" y="1346"/>
                    </a:lnTo>
                    <a:lnTo>
                      <a:pt x="110" y="1344"/>
                    </a:lnTo>
                    <a:lnTo>
                      <a:pt x="114" y="1344"/>
                    </a:lnTo>
                    <a:lnTo>
                      <a:pt x="114" y="1344"/>
                    </a:lnTo>
                    <a:lnTo>
                      <a:pt x="116" y="1344"/>
                    </a:lnTo>
                    <a:lnTo>
                      <a:pt x="112" y="1346"/>
                    </a:lnTo>
                    <a:lnTo>
                      <a:pt x="110" y="1350"/>
                    </a:lnTo>
                    <a:lnTo>
                      <a:pt x="110" y="1354"/>
                    </a:lnTo>
                    <a:lnTo>
                      <a:pt x="110" y="1358"/>
                    </a:lnTo>
                    <a:lnTo>
                      <a:pt x="110" y="1358"/>
                    </a:lnTo>
                    <a:lnTo>
                      <a:pt x="112" y="1360"/>
                    </a:lnTo>
                    <a:lnTo>
                      <a:pt x="114" y="1360"/>
                    </a:lnTo>
                    <a:lnTo>
                      <a:pt x="118" y="1356"/>
                    </a:lnTo>
                    <a:lnTo>
                      <a:pt x="118" y="1354"/>
                    </a:lnTo>
                    <a:lnTo>
                      <a:pt x="118" y="1362"/>
                    </a:lnTo>
                    <a:lnTo>
                      <a:pt x="118" y="1362"/>
                    </a:lnTo>
                    <a:lnTo>
                      <a:pt x="118" y="1372"/>
                    </a:lnTo>
                    <a:lnTo>
                      <a:pt x="118" y="1372"/>
                    </a:lnTo>
                    <a:lnTo>
                      <a:pt x="120" y="1378"/>
                    </a:lnTo>
                    <a:lnTo>
                      <a:pt x="120" y="1378"/>
                    </a:lnTo>
                    <a:lnTo>
                      <a:pt x="124" y="1384"/>
                    </a:lnTo>
                    <a:lnTo>
                      <a:pt x="128" y="1386"/>
                    </a:lnTo>
                    <a:lnTo>
                      <a:pt x="134" y="1388"/>
                    </a:lnTo>
                    <a:lnTo>
                      <a:pt x="140" y="1392"/>
                    </a:lnTo>
                    <a:lnTo>
                      <a:pt x="140" y="1392"/>
                    </a:lnTo>
                    <a:lnTo>
                      <a:pt x="146" y="1398"/>
                    </a:lnTo>
                    <a:lnTo>
                      <a:pt x="154" y="1402"/>
                    </a:lnTo>
                    <a:lnTo>
                      <a:pt x="158" y="1404"/>
                    </a:lnTo>
                    <a:lnTo>
                      <a:pt x="158" y="1406"/>
                    </a:lnTo>
                    <a:lnTo>
                      <a:pt x="158" y="1408"/>
                    </a:lnTo>
                    <a:lnTo>
                      <a:pt x="158" y="1408"/>
                    </a:lnTo>
                    <a:lnTo>
                      <a:pt x="156" y="1414"/>
                    </a:lnTo>
                    <a:lnTo>
                      <a:pt x="154" y="1418"/>
                    </a:lnTo>
                    <a:lnTo>
                      <a:pt x="156" y="1420"/>
                    </a:lnTo>
                    <a:lnTo>
                      <a:pt x="162" y="1424"/>
                    </a:lnTo>
                    <a:lnTo>
                      <a:pt x="162" y="1424"/>
                    </a:lnTo>
                    <a:lnTo>
                      <a:pt x="166" y="1426"/>
                    </a:lnTo>
                    <a:lnTo>
                      <a:pt x="166" y="1430"/>
                    </a:lnTo>
                    <a:lnTo>
                      <a:pt x="168" y="1432"/>
                    </a:lnTo>
                    <a:lnTo>
                      <a:pt x="170" y="1434"/>
                    </a:lnTo>
                    <a:lnTo>
                      <a:pt x="170" y="1434"/>
                    </a:lnTo>
                    <a:lnTo>
                      <a:pt x="172" y="1436"/>
                    </a:lnTo>
                    <a:lnTo>
                      <a:pt x="170" y="1438"/>
                    </a:lnTo>
                    <a:lnTo>
                      <a:pt x="170" y="1440"/>
                    </a:lnTo>
                    <a:lnTo>
                      <a:pt x="170" y="1442"/>
                    </a:lnTo>
                    <a:lnTo>
                      <a:pt x="170" y="1442"/>
                    </a:lnTo>
                    <a:lnTo>
                      <a:pt x="176" y="1448"/>
                    </a:lnTo>
                    <a:lnTo>
                      <a:pt x="176" y="1450"/>
                    </a:lnTo>
                    <a:lnTo>
                      <a:pt x="174" y="1450"/>
                    </a:lnTo>
                    <a:lnTo>
                      <a:pt x="172" y="1452"/>
                    </a:lnTo>
                    <a:lnTo>
                      <a:pt x="170" y="1454"/>
                    </a:lnTo>
                    <a:lnTo>
                      <a:pt x="172" y="1458"/>
                    </a:lnTo>
                    <a:lnTo>
                      <a:pt x="172" y="1458"/>
                    </a:lnTo>
                    <a:lnTo>
                      <a:pt x="174" y="1462"/>
                    </a:lnTo>
                    <a:lnTo>
                      <a:pt x="176" y="1462"/>
                    </a:lnTo>
                    <a:lnTo>
                      <a:pt x="180" y="1462"/>
                    </a:lnTo>
                    <a:lnTo>
                      <a:pt x="186" y="1464"/>
                    </a:lnTo>
                    <a:lnTo>
                      <a:pt x="186" y="1464"/>
                    </a:lnTo>
                    <a:lnTo>
                      <a:pt x="182" y="1468"/>
                    </a:lnTo>
                    <a:lnTo>
                      <a:pt x="178" y="1470"/>
                    </a:lnTo>
                    <a:lnTo>
                      <a:pt x="172" y="1470"/>
                    </a:lnTo>
                    <a:lnTo>
                      <a:pt x="170" y="1468"/>
                    </a:lnTo>
                    <a:lnTo>
                      <a:pt x="170" y="1472"/>
                    </a:lnTo>
                    <a:lnTo>
                      <a:pt x="170" y="1472"/>
                    </a:lnTo>
                    <a:lnTo>
                      <a:pt x="174" y="1480"/>
                    </a:lnTo>
                    <a:lnTo>
                      <a:pt x="178" y="1482"/>
                    </a:lnTo>
                    <a:lnTo>
                      <a:pt x="182" y="1482"/>
                    </a:lnTo>
                    <a:lnTo>
                      <a:pt x="184" y="1486"/>
                    </a:lnTo>
                    <a:lnTo>
                      <a:pt x="184" y="1486"/>
                    </a:lnTo>
                    <a:lnTo>
                      <a:pt x="186" y="1492"/>
                    </a:lnTo>
                    <a:lnTo>
                      <a:pt x="184" y="1494"/>
                    </a:lnTo>
                    <a:lnTo>
                      <a:pt x="182" y="1496"/>
                    </a:lnTo>
                    <a:lnTo>
                      <a:pt x="182" y="1498"/>
                    </a:lnTo>
                    <a:lnTo>
                      <a:pt x="182" y="1498"/>
                    </a:lnTo>
                    <a:lnTo>
                      <a:pt x="186" y="1502"/>
                    </a:lnTo>
                    <a:lnTo>
                      <a:pt x="192" y="1504"/>
                    </a:lnTo>
                    <a:lnTo>
                      <a:pt x="196" y="1506"/>
                    </a:lnTo>
                    <a:lnTo>
                      <a:pt x="202" y="1510"/>
                    </a:lnTo>
                    <a:lnTo>
                      <a:pt x="202" y="1510"/>
                    </a:lnTo>
                    <a:lnTo>
                      <a:pt x="204" y="1512"/>
                    </a:lnTo>
                    <a:lnTo>
                      <a:pt x="204" y="1514"/>
                    </a:lnTo>
                    <a:lnTo>
                      <a:pt x="202" y="1518"/>
                    </a:lnTo>
                    <a:lnTo>
                      <a:pt x="200" y="1520"/>
                    </a:lnTo>
                    <a:lnTo>
                      <a:pt x="202" y="1520"/>
                    </a:lnTo>
                    <a:lnTo>
                      <a:pt x="208" y="1524"/>
                    </a:lnTo>
                    <a:lnTo>
                      <a:pt x="208" y="1524"/>
                    </a:lnTo>
                    <a:lnTo>
                      <a:pt x="228" y="1534"/>
                    </a:lnTo>
                    <a:lnTo>
                      <a:pt x="236" y="1538"/>
                    </a:lnTo>
                    <a:lnTo>
                      <a:pt x="242" y="1546"/>
                    </a:lnTo>
                    <a:lnTo>
                      <a:pt x="242" y="1546"/>
                    </a:lnTo>
                    <a:lnTo>
                      <a:pt x="246" y="1552"/>
                    </a:lnTo>
                    <a:lnTo>
                      <a:pt x="250" y="1556"/>
                    </a:lnTo>
                    <a:lnTo>
                      <a:pt x="260" y="1562"/>
                    </a:lnTo>
                    <a:lnTo>
                      <a:pt x="268" y="1566"/>
                    </a:lnTo>
                    <a:lnTo>
                      <a:pt x="270" y="1570"/>
                    </a:lnTo>
                    <a:lnTo>
                      <a:pt x="272" y="1574"/>
                    </a:lnTo>
                    <a:lnTo>
                      <a:pt x="272" y="1574"/>
                    </a:lnTo>
                    <a:lnTo>
                      <a:pt x="272" y="1576"/>
                    </a:lnTo>
                    <a:lnTo>
                      <a:pt x="274" y="1578"/>
                    </a:lnTo>
                    <a:lnTo>
                      <a:pt x="282" y="1582"/>
                    </a:lnTo>
                    <a:lnTo>
                      <a:pt x="294" y="1590"/>
                    </a:lnTo>
                    <a:lnTo>
                      <a:pt x="302" y="1596"/>
                    </a:lnTo>
                    <a:lnTo>
                      <a:pt x="310" y="1606"/>
                    </a:lnTo>
                    <a:lnTo>
                      <a:pt x="310" y="1606"/>
                    </a:lnTo>
                    <a:lnTo>
                      <a:pt x="328" y="1626"/>
                    </a:lnTo>
                    <a:lnTo>
                      <a:pt x="346" y="1644"/>
                    </a:lnTo>
                    <a:lnTo>
                      <a:pt x="364" y="1654"/>
                    </a:lnTo>
                    <a:lnTo>
                      <a:pt x="380" y="1660"/>
                    </a:lnTo>
                    <a:lnTo>
                      <a:pt x="380" y="1660"/>
                    </a:lnTo>
                    <a:lnTo>
                      <a:pt x="388" y="1664"/>
                    </a:lnTo>
                    <a:lnTo>
                      <a:pt x="392" y="1668"/>
                    </a:lnTo>
                    <a:lnTo>
                      <a:pt x="396" y="1670"/>
                    </a:lnTo>
                    <a:lnTo>
                      <a:pt x="402" y="1672"/>
                    </a:lnTo>
                    <a:lnTo>
                      <a:pt x="402" y="1672"/>
                    </a:lnTo>
                    <a:lnTo>
                      <a:pt x="408" y="1670"/>
                    </a:lnTo>
                    <a:lnTo>
                      <a:pt x="412" y="1666"/>
                    </a:lnTo>
                    <a:lnTo>
                      <a:pt x="422" y="1658"/>
                    </a:lnTo>
                    <a:lnTo>
                      <a:pt x="436" y="1648"/>
                    </a:lnTo>
                    <a:lnTo>
                      <a:pt x="448" y="1642"/>
                    </a:lnTo>
                    <a:lnTo>
                      <a:pt x="462" y="1638"/>
                    </a:lnTo>
                    <a:lnTo>
                      <a:pt x="462" y="1638"/>
                    </a:lnTo>
                    <a:lnTo>
                      <a:pt x="488" y="1634"/>
                    </a:lnTo>
                    <a:lnTo>
                      <a:pt x="504" y="1632"/>
                    </a:lnTo>
                    <a:lnTo>
                      <a:pt x="516" y="1632"/>
                    </a:lnTo>
                    <a:lnTo>
                      <a:pt x="530" y="1630"/>
                    </a:lnTo>
                    <a:lnTo>
                      <a:pt x="530" y="1630"/>
                    </a:lnTo>
                    <a:lnTo>
                      <a:pt x="540" y="1628"/>
                    </a:lnTo>
                    <a:lnTo>
                      <a:pt x="554" y="1630"/>
                    </a:lnTo>
                    <a:lnTo>
                      <a:pt x="554" y="1630"/>
                    </a:lnTo>
                    <a:lnTo>
                      <a:pt x="566" y="1630"/>
                    </a:lnTo>
                    <a:lnTo>
                      <a:pt x="572" y="1630"/>
                    </a:lnTo>
                    <a:lnTo>
                      <a:pt x="576" y="1630"/>
                    </a:lnTo>
                    <a:lnTo>
                      <a:pt x="580" y="1630"/>
                    </a:lnTo>
                    <a:lnTo>
                      <a:pt x="580" y="1630"/>
                    </a:lnTo>
                    <a:lnTo>
                      <a:pt x="590" y="1632"/>
                    </a:lnTo>
                    <a:lnTo>
                      <a:pt x="592" y="1632"/>
                    </a:lnTo>
                    <a:lnTo>
                      <a:pt x="590" y="1632"/>
                    </a:lnTo>
                    <a:lnTo>
                      <a:pt x="590" y="1632"/>
                    </a:lnTo>
                    <a:lnTo>
                      <a:pt x="582" y="1634"/>
                    </a:lnTo>
                    <a:lnTo>
                      <a:pt x="578" y="1634"/>
                    </a:lnTo>
                    <a:lnTo>
                      <a:pt x="576" y="1636"/>
                    </a:lnTo>
                    <a:lnTo>
                      <a:pt x="578" y="1636"/>
                    </a:lnTo>
                    <a:lnTo>
                      <a:pt x="578" y="1636"/>
                    </a:lnTo>
                    <a:lnTo>
                      <a:pt x="594" y="1640"/>
                    </a:lnTo>
                    <a:lnTo>
                      <a:pt x="606" y="1644"/>
                    </a:lnTo>
                    <a:lnTo>
                      <a:pt x="618" y="1650"/>
                    </a:lnTo>
                    <a:lnTo>
                      <a:pt x="618" y="1650"/>
                    </a:lnTo>
                    <a:lnTo>
                      <a:pt x="622" y="1652"/>
                    </a:lnTo>
                    <a:lnTo>
                      <a:pt x="626" y="1652"/>
                    </a:lnTo>
                    <a:lnTo>
                      <a:pt x="636" y="1644"/>
                    </a:lnTo>
                    <a:lnTo>
                      <a:pt x="648" y="1636"/>
                    </a:lnTo>
                    <a:lnTo>
                      <a:pt x="656" y="1632"/>
                    </a:lnTo>
                    <a:lnTo>
                      <a:pt x="664" y="1630"/>
                    </a:lnTo>
                    <a:lnTo>
                      <a:pt x="664" y="1630"/>
                    </a:lnTo>
                    <a:lnTo>
                      <a:pt x="674" y="1628"/>
                    </a:lnTo>
                    <a:lnTo>
                      <a:pt x="680" y="1624"/>
                    </a:lnTo>
                    <a:lnTo>
                      <a:pt x="690" y="1614"/>
                    </a:lnTo>
                    <a:lnTo>
                      <a:pt x="698" y="1610"/>
                    </a:lnTo>
                    <a:lnTo>
                      <a:pt x="706" y="1606"/>
                    </a:lnTo>
                    <a:lnTo>
                      <a:pt x="716" y="1602"/>
                    </a:lnTo>
                    <a:lnTo>
                      <a:pt x="730" y="1600"/>
                    </a:lnTo>
                    <a:lnTo>
                      <a:pt x="730" y="1600"/>
                    </a:lnTo>
                    <a:lnTo>
                      <a:pt x="742" y="1598"/>
                    </a:lnTo>
                    <a:lnTo>
                      <a:pt x="746" y="1596"/>
                    </a:lnTo>
                    <a:lnTo>
                      <a:pt x="746" y="1594"/>
                    </a:lnTo>
                    <a:lnTo>
                      <a:pt x="748" y="1590"/>
                    </a:lnTo>
                    <a:lnTo>
                      <a:pt x="754" y="1586"/>
                    </a:lnTo>
                    <a:lnTo>
                      <a:pt x="754" y="1586"/>
                    </a:lnTo>
                    <a:lnTo>
                      <a:pt x="760" y="1582"/>
                    </a:lnTo>
                    <a:lnTo>
                      <a:pt x="774" y="1578"/>
                    </a:lnTo>
                    <a:lnTo>
                      <a:pt x="774" y="1578"/>
                    </a:lnTo>
                    <a:lnTo>
                      <a:pt x="796" y="1574"/>
                    </a:lnTo>
                    <a:lnTo>
                      <a:pt x="814" y="1572"/>
                    </a:lnTo>
                    <a:lnTo>
                      <a:pt x="814" y="1572"/>
                    </a:lnTo>
                    <a:lnTo>
                      <a:pt x="832" y="1572"/>
                    </a:lnTo>
                    <a:lnTo>
                      <a:pt x="838" y="1570"/>
                    </a:lnTo>
                    <a:lnTo>
                      <a:pt x="840" y="1568"/>
                    </a:lnTo>
                    <a:lnTo>
                      <a:pt x="840" y="1568"/>
                    </a:lnTo>
                    <a:lnTo>
                      <a:pt x="844" y="1564"/>
                    </a:lnTo>
                    <a:lnTo>
                      <a:pt x="846" y="1566"/>
                    </a:lnTo>
                    <a:lnTo>
                      <a:pt x="850" y="1570"/>
                    </a:lnTo>
                    <a:lnTo>
                      <a:pt x="860" y="1570"/>
                    </a:lnTo>
                    <a:lnTo>
                      <a:pt x="860" y="1570"/>
                    </a:lnTo>
                    <a:lnTo>
                      <a:pt x="874" y="1570"/>
                    </a:lnTo>
                    <a:lnTo>
                      <a:pt x="884" y="1574"/>
                    </a:lnTo>
                    <a:lnTo>
                      <a:pt x="890" y="1578"/>
                    </a:lnTo>
                    <a:lnTo>
                      <a:pt x="896" y="1584"/>
                    </a:lnTo>
                    <a:lnTo>
                      <a:pt x="908" y="1600"/>
                    </a:lnTo>
                    <a:lnTo>
                      <a:pt x="908" y="1600"/>
                    </a:lnTo>
                    <a:lnTo>
                      <a:pt x="916" y="1616"/>
                    </a:lnTo>
                    <a:lnTo>
                      <a:pt x="924" y="1642"/>
                    </a:lnTo>
                    <a:lnTo>
                      <a:pt x="930" y="1654"/>
                    </a:lnTo>
                    <a:lnTo>
                      <a:pt x="936" y="1664"/>
                    </a:lnTo>
                    <a:lnTo>
                      <a:pt x="944" y="1670"/>
                    </a:lnTo>
                    <a:lnTo>
                      <a:pt x="948" y="1672"/>
                    </a:lnTo>
                    <a:lnTo>
                      <a:pt x="954" y="1672"/>
                    </a:lnTo>
                    <a:lnTo>
                      <a:pt x="954" y="1672"/>
                    </a:lnTo>
                    <a:lnTo>
                      <a:pt x="970" y="1672"/>
                    </a:lnTo>
                    <a:lnTo>
                      <a:pt x="976" y="1672"/>
                    </a:lnTo>
                    <a:lnTo>
                      <a:pt x="984" y="1670"/>
                    </a:lnTo>
                    <a:lnTo>
                      <a:pt x="984" y="1670"/>
                    </a:lnTo>
                    <a:lnTo>
                      <a:pt x="990" y="1668"/>
                    </a:lnTo>
                    <a:lnTo>
                      <a:pt x="992" y="1664"/>
                    </a:lnTo>
                    <a:lnTo>
                      <a:pt x="992" y="1662"/>
                    </a:lnTo>
                    <a:lnTo>
                      <a:pt x="992" y="1658"/>
                    </a:lnTo>
                    <a:lnTo>
                      <a:pt x="992" y="1656"/>
                    </a:lnTo>
                    <a:lnTo>
                      <a:pt x="996" y="1658"/>
                    </a:lnTo>
                    <a:lnTo>
                      <a:pt x="996" y="1658"/>
                    </a:lnTo>
                    <a:lnTo>
                      <a:pt x="1002" y="1660"/>
                    </a:lnTo>
                    <a:lnTo>
                      <a:pt x="1008" y="1662"/>
                    </a:lnTo>
                    <a:lnTo>
                      <a:pt x="1018" y="1662"/>
                    </a:lnTo>
                    <a:lnTo>
                      <a:pt x="1028" y="1662"/>
                    </a:lnTo>
                    <a:lnTo>
                      <a:pt x="1036" y="1660"/>
                    </a:lnTo>
                    <a:lnTo>
                      <a:pt x="1040" y="1656"/>
                    </a:lnTo>
                    <a:lnTo>
                      <a:pt x="1042" y="1654"/>
                    </a:lnTo>
                    <a:lnTo>
                      <a:pt x="1042" y="1650"/>
                    </a:lnTo>
                    <a:lnTo>
                      <a:pt x="1036" y="1640"/>
                    </a:lnTo>
                    <a:lnTo>
                      <a:pt x="1048" y="1650"/>
                    </a:lnTo>
                    <a:lnTo>
                      <a:pt x="1048" y="1650"/>
                    </a:lnTo>
                    <a:lnTo>
                      <a:pt x="1048" y="1658"/>
                    </a:lnTo>
                    <a:lnTo>
                      <a:pt x="1050" y="1662"/>
                    </a:lnTo>
                    <a:lnTo>
                      <a:pt x="1052" y="1662"/>
                    </a:lnTo>
                    <a:lnTo>
                      <a:pt x="1056" y="1662"/>
                    </a:lnTo>
                    <a:lnTo>
                      <a:pt x="1060" y="1660"/>
                    </a:lnTo>
                    <a:lnTo>
                      <a:pt x="1062" y="1662"/>
                    </a:lnTo>
                    <a:lnTo>
                      <a:pt x="1064" y="1666"/>
                    </a:lnTo>
                    <a:lnTo>
                      <a:pt x="1064" y="1666"/>
                    </a:lnTo>
                    <a:lnTo>
                      <a:pt x="1066" y="1682"/>
                    </a:lnTo>
                    <a:lnTo>
                      <a:pt x="1070" y="1684"/>
                    </a:lnTo>
                    <a:lnTo>
                      <a:pt x="1076" y="1688"/>
                    </a:lnTo>
                    <a:lnTo>
                      <a:pt x="1076" y="1688"/>
                    </a:lnTo>
                    <a:lnTo>
                      <a:pt x="1082" y="1690"/>
                    </a:lnTo>
                    <a:lnTo>
                      <a:pt x="1084" y="1690"/>
                    </a:lnTo>
                    <a:lnTo>
                      <a:pt x="1086" y="1686"/>
                    </a:lnTo>
                    <a:lnTo>
                      <a:pt x="1088" y="1684"/>
                    </a:lnTo>
                    <a:lnTo>
                      <a:pt x="1090" y="1684"/>
                    </a:lnTo>
                    <a:lnTo>
                      <a:pt x="1094" y="1684"/>
                    </a:lnTo>
                    <a:lnTo>
                      <a:pt x="1094" y="1684"/>
                    </a:lnTo>
                    <a:lnTo>
                      <a:pt x="1096" y="1688"/>
                    </a:lnTo>
                    <a:lnTo>
                      <a:pt x="1096" y="1690"/>
                    </a:lnTo>
                    <a:lnTo>
                      <a:pt x="1094" y="1694"/>
                    </a:lnTo>
                    <a:lnTo>
                      <a:pt x="1090" y="1698"/>
                    </a:lnTo>
                    <a:lnTo>
                      <a:pt x="1090" y="1700"/>
                    </a:lnTo>
                    <a:lnTo>
                      <a:pt x="1092" y="1704"/>
                    </a:lnTo>
                    <a:lnTo>
                      <a:pt x="1092" y="1704"/>
                    </a:lnTo>
                    <a:lnTo>
                      <a:pt x="1096" y="1708"/>
                    </a:lnTo>
                    <a:lnTo>
                      <a:pt x="1094" y="1708"/>
                    </a:lnTo>
                    <a:lnTo>
                      <a:pt x="1094" y="1712"/>
                    </a:lnTo>
                    <a:lnTo>
                      <a:pt x="1100" y="1718"/>
                    </a:lnTo>
                    <a:lnTo>
                      <a:pt x="1100" y="1718"/>
                    </a:lnTo>
                    <a:lnTo>
                      <a:pt x="1102" y="1724"/>
                    </a:lnTo>
                    <a:lnTo>
                      <a:pt x="1104" y="1730"/>
                    </a:lnTo>
                    <a:lnTo>
                      <a:pt x="1104" y="1742"/>
                    </a:lnTo>
                    <a:lnTo>
                      <a:pt x="1100" y="1756"/>
                    </a:lnTo>
                    <a:lnTo>
                      <a:pt x="1100" y="1770"/>
                    </a:lnTo>
                    <a:lnTo>
                      <a:pt x="1100" y="1770"/>
                    </a:lnTo>
                    <a:lnTo>
                      <a:pt x="1100" y="1782"/>
                    </a:lnTo>
                    <a:lnTo>
                      <a:pt x="1098" y="1790"/>
                    </a:lnTo>
                    <a:lnTo>
                      <a:pt x="1094" y="1798"/>
                    </a:lnTo>
                    <a:lnTo>
                      <a:pt x="1090" y="1804"/>
                    </a:lnTo>
                    <a:lnTo>
                      <a:pt x="1084" y="1814"/>
                    </a:lnTo>
                    <a:lnTo>
                      <a:pt x="1082" y="1820"/>
                    </a:lnTo>
                    <a:lnTo>
                      <a:pt x="1082" y="1824"/>
                    </a:lnTo>
                    <a:lnTo>
                      <a:pt x="1082" y="1824"/>
                    </a:lnTo>
                    <a:lnTo>
                      <a:pt x="1082" y="1828"/>
                    </a:lnTo>
                    <a:lnTo>
                      <a:pt x="1084" y="1828"/>
                    </a:lnTo>
                    <a:lnTo>
                      <a:pt x="1088" y="1828"/>
                    </a:lnTo>
                    <a:lnTo>
                      <a:pt x="1092" y="1828"/>
                    </a:lnTo>
                    <a:lnTo>
                      <a:pt x="1090" y="1834"/>
                    </a:lnTo>
                    <a:lnTo>
                      <a:pt x="1090" y="1834"/>
                    </a:lnTo>
                    <a:lnTo>
                      <a:pt x="1090" y="1838"/>
                    </a:lnTo>
                    <a:lnTo>
                      <a:pt x="1092" y="1844"/>
                    </a:lnTo>
                    <a:lnTo>
                      <a:pt x="1094" y="1848"/>
                    </a:lnTo>
                    <a:lnTo>
                      <a:pt x="1092" y="1852"/>
                    </a:lnTo>
                    <a:lnTo>
                      <a:pt x="1092" y="1852"/>
                    </a:lnTo>
                    <a:lnTo>
                      <a:pt x="1090" y="1852"/>
                    </a:lnTo>
                    <a:lnTo>
                      <a:pt x="1088" y="1850"/>
                    </a:lnTo>
                    <a:lnTo>
                      <a:pt x="1086" y="1848"/>
                    </a:lnTo>
                    <a:lnTo>
                      <a:pt x="1082" y="1852"/>
                    </a:lnTo>
                    <a:lnTo>
                      <a:pt x="1082" y="1852"/>
                    </a:lnTo>
                    <a:lnTo>
                      <a:pt x="1082" y="1854"/>
                    </a:lnTo>
                    <a:lnTo>
                      <a:pt x="1082" y="1858"/>
                    </a:lnTo>
                    <a:lnTo>
                      <a:pt x="1086" y="1864"/>
                    </a:lnTo>
                    <a:lnTo>
                      <a:pt x="1094" y="1868"/>
                    </a:lnTo>
                    <a:lnTo>
                      <a:pt x="1106" y="1872"/>
                    </a:lnTo>
                    <a:lnTo>
                      <a:pt x="1106" y="1872"/>
                    </a:lnTo>
                    <a:lnTo>
                      <a:pt x="1110" y="1872"/>
                    </a:lnTo>
                    <a:lnTo>
                      <a:pt x="1110" y="1874"/>
                    </a:lnTo>
                    <a:lnTo>
                      <a:pt x="1110" y="1876"/>
                    </a:lnTo>
                    <a:lnTo>
                      <a:pt x="1106" y="1878"/>
                    </a:lnTo>
                    <a:lnTo>
                      <a:pt x="1104" y="1880"/>
                    </a:lnTo>
                    <a:lnTo>
                      <a:pt x="1098" y="1880"/>
                    </a:lnTo>
                    <a:lnTo>
                      <a:pt x="1094" y="1878"/>
                    </a:lnTo>
                    <a:lnTo>
                      <a:pt x="1090" y="1874"/>
                    </a:lnTo>
                    <a:lnTo>
                      <a:pt x="1090" y="1874"/>
                    </a:lnTo>
                    <a:lnTo>
                      <a:pt x="1084" y="1868"/>
                    </a:lnTo>
                    <a:lnTo>
                      <a:pt x="1082" y="1866"/>
                    </a:lnTo>
                    <a:lnTo>
                      <a:pt x="1080" y="1866"/>
                    </a:lnTo>
                    <a:lnTo>
                      <a:pt x="1080" y="1872"/>
                    </a:lnTo>
                    <a:lnTo>
                      <a:pt x="1080" y="1882"/>
                    </a:lnTo>
                    <a:lnTo>
                      <a:pt x="1080" y="1882"/>
                    </a:lnTo>
                    <a:lnTo>
                      <a:pt x="1078" y="1898"/>
                    </a:lnTo>
                    <a:lnTo>
                      <a:pt x="1074" y="1910"/>
                    </a:lnTo>
                    <a:lnTo>
                      <a:pt x="1072" y="1914"/>
                    </a:lnTo>
                    <a:lnTo>
                      <a:pt x="1068" y="1918"/>
                    </a:lnTo>
                    <a:lnTo>
                      <a:pt x="1066" y="1918"/>
                    </a:lnTo>
                    <a:lnTo>
                      <a:pt x="1062" y="1914"/>
                    </a:lnTo>
                    <a:lnTo>
                      <a:pt x="1062" y="1914"/>
                    </a:lnTo>
                    <a:lnTo>
                      <a:pt x="1056" y="1910"/>
                    </a:lnTo>
                    <a:lnTo>
                      <a:pt x="1056" y="1910"/>
                    </a:lnTo>
                    <a:lnTo>
                      <a:pt x="1056" y="1912"/>
                    </a:lnTo>
                    <a:lnTo>
                      <a:pt x="1058" y="1922"/>
                    </a:lnTo>
                    <a:lnTo>
                      <a:pt x="1064" y="1936"/>
                    </a:lnTo>
                    <a:lnTo>
                      <a:pt x="1064" y="1936"/>
                    </a:lnTo>
                    <a:lnTo>
                      <a:pt x="1076" y="1964"/>
                    </a:lnTo>
                    <a:lnTo>
                      <a:pt x="1080" y="1974"/>
                    </a:lnTo>
                    <a:lnTo>
                      <a:pt x="1084" y="1982"/>
                    </a:lnTo>
                    <a:lnTo>
                      <a:pt x="1084" y="1982"/>
                    </a:lnTo>
                    <a:lnTo>
                      <a:pt x="1088" y="1988"/>
                    </a:lnTo>
                    <a:lnTo>
                      <a:pt x="1094" y="1996"/>
                    </a:lnTo>
                    <a:lnTo>
                      <a:pt x="1100" y="2006"/>
                    </a:lnTo>
                    <a:lnTo>
                      <a:pt x="1110" y="2018"/>
                    </a:lnTo>
                    <a:lnTo>
                      <a:pt x="1110" y="2018"/>
                    </a:lnTo>
                    <a:lnTo>
                      <a:pt x="1132" y="2042"/>
                    </a:lnTo>
                    <a:lnTo>
                      <a:pt x="1140" y="2052"/>
                    </a:lnTo>
                    <a:lnTo>
                      <a:pt x="1142" y="2058"/>
                    </a:lnTo>
                    <a:lnTo>
                      <a:pt x="1150" y="2070"/>
                    </a:lnTo>
                    <a:lnTo>
                      <a:pt x="1150" y="2070"/>
                    </a:lnTo>
                    <a:lnTo>
                      <a:pt x="1172" y="2092"/>
                    </a:lnTo>
                    <a:lnTo>
                      <a:pt x="1178" y="2100"/>
                    </a:lnTo>
                    <a:lnTo>
                      <a:pt x="1180" y="2110"/>
                    </a:lnTo>
                    <a:lnTo>
                      <a:pt x="1180" y="2110"/>
                    </a:lnTo>
                    <a:lnTo>
                      <a:pt x="1184" y="2118"/>
                    </a:lnTo>
                    <a:lnTo>
                      <a:pt x="1190" y="2128"/>
                    </a:lnTo>
                    <a:lnTo>
                      <a:pt x="1190" y="2128"/>
                    </a:lnTo>
                    <a:lnTo>
                      <a:pt x="1194" y="2136"/>
                    </a:lnTo>
                    <a:lnTo>
                      <a:pt x="1196" y="2142"/>
                    </a:lnTo>
                    <a:lnTo>
                      <a:pt x="1194" y="2148"/>
                    </a:lnTo>
                    <a:lnTo>
                      <a:pt x="1194" y="2148"/>
                    </a:lnTo>
                    <a:lnTo>
                      <a:pt x="1194" y="2156"/>
                    </a:lnTo>
                    <a:lnTo>
                      <a:pt x="1194" y="2158"/>
                    </a:lnTo>
                    <a:lnTo>
                      <a:pt x="1196" y="2160"/>
                    </a:lnTo>
                    <a:lnTo>
                      <a:pt x="1198" y="2164"/>
                    </a:lnTo>
                    <a:lnTo>
                      <a:pt x="1198" y="2164"/>
                    </a:lnTo>
                    <a:lnTo>
                      <a:pt x="1200" y="2168"/>
                    </a:lnTo>
                    <a:lnTo>
                      <a:pt x="1204" y="2170"/>
                    </a:lnTo>
                    <a:lnTo>
                      <a:pt x="1208" y="2168"/>
                    </a:lnTo>
                    <a:lnTo>
                      <a:pt x="1216" y="2164"/>
                    </a:lnTo>
                    <a:lnTo>
                      <a:pt x="1216" y="2164"/>
                    </a:lnTo>
                    <a:lnTo>
                      <a:pt x="1222" y="2162"/>
                    </a:lnTo>
                    <a:lnTo>
                      <a:pt x="1226" y="2162"/>
                    </a:lnTo>
                    <a:lnTo>
                      <a:pt x="1234" y="2162"/>
                    </a:lnTo>
                    <a:lnTo>
                      <a:pt x="1234" y="2162"/>
                    </a:lnTo>
                    <a:lnTo>
                      <a:pt x="1226" y="2168"/>
                    </a:lnTo>
                    <a:lnTo>
                      <a:pt x="1220" y="2172"/>
                    </a:lnTo>
                    <a:lnTo>
                      <a:pt x="1208" y="2174"/>
                    </a:lnTo>
                    <a:lnTo>
                      <a:pt x="1202" y="2176"/>
                    </a:lnTo>
                    <a:lnTo>
                      <a:pt x="1200" y="2178"/>
                    </a:lnTo>
                    <a:lnTo>
                      <a:pt x="1202" y="2182"/>
                    </a:lnTo>
                    <a:lnTo>
                      <a:pt x="1202" y="2182"/>
                    </a:lnTo>
                    <a:lnTo>
                      <a:pt x="1212" y="2202"/>
                    </a:lnTo>
                    <a:lnTo>
                      <a:pt x="1226" y="2240"/>
                    </a:lnTo>
                    <a:lnTo>
                      <a:pt x="1232" y="2260"/>
                    </a:lnTo>
                    <a:lnTo>
                      <a:pt x="1238" y="2278"/>
                    </a:lnTo>
                    <a:lnTo>
                      <a:pt x="1238" y="2294"/>
                    </a:lnTo>
                    <a:lnTo>
                      <a:pt x="1236" y="2300"/>
                    </a:lnTo>
                    <a:lnTo>
                      <a:pt x="1234" y="2306"/>
                    </a:lnTo>
                    <a:lnTo>
                      <a:pt x="1234" y="2306"/>
                    </a:lnTo>
                    <a:lnTo>
                      <a:pt x="1230" y="2314"/>
                    </a:lnTo>
                    <a:lnTo>
                      <a:pt x="1230" y="2324"/>
                    </a:lnTo>
                    <a:lnTo>
                      <a:pt x="1230" y="2336"/>
                    </a:lnTo>
                    <a:lnTo>
                      <a:pt x="1234" y="2346"/>
                    </a:lnTo>
                    <a:lnTo>
                      <a:pt x="1246" y="2372"/>
                    </a:lnTo>
                    <a:lnTo>
                      <a:pt x="1256" y="2396"/>
                    </a:lnTo>
                    <a:lnTo>
                      <a:pt x="1256" y="2396"/>
                    </a:lnTo>
                    <a:lnTo>
                      <a:pt x="1260" y="2408"/>
                    </a:lnTo>
                    <a:lnTo>
                      <a:pt x="1262" y="2422"/>
                    </a:lnTo>
                    <a:lnTo>
                      <a:pt x="1262" y="2436"/>
                    </a:lnTo>
                    <a:lnTo>
                      <a:pt x="1262" y="2450"/>
                    </a:lnTo>
                    <a:lnTo>
                      <a:pt x="1258" y="2464"/>
                    </a:lnTo>
                    <a:lnTo>
                      <a:pt x="1254" y="2476"/>
                    </a:lnTo>
                    <a:lnTo>
                      <a:pt x="1246" y="2486"/>
                    </a:lnTo>
                    <a:lnTo>
                      <a:pt x="1238" y="2494"/>
                    </a:lnTo>
                    <a:lnTo>
                      <a:pt x="1238" y="2494"/>
                    </a:lnTo>
                    <a:lnTo>
                      <a:pt x="1230" y="2502"/>
                    </a:lnTo>
                    <a:lnTo>
                      <a:pt x="1222" y="2510"/>
                    </a:lnTo>
                    <a:lnTo>
                      <a:pt x="1218" y="2518"/>
                    </a:lnTo>
                    <a:lnTo>
                      <a:pt x="1212" y="2528"/>
                    </a:lnTo>
                    <a:lnTo>
                      <a:pt x="1206" y="2548"/>
                    </a:lnTo>
                    <a:lnTo>
                      <a:pt x="1202" y="2570"/>
                    </a:lnTo>
                    <a:lnTo>
                      <a:pt x="1196" y="2610"/>
                    </a:lnTo>
                    <a:lnTo>
                      <a:pt x="1192" y="2626"/>
                    </a:lnTo>
                    <a:lnTo>
                      <a:pt x="1188" y="2640"/>
                    </a:lnTo>
                    <a:lnTo>
                      <a:pt x="1188" y="2640"/>
                    </a:lnTo>
                    <a:lnTo>
                      <a:pt x="1182" y="2652"/>
                    </a:lnTo>
                    <a:lnTo>
                      <a:pt x="1178" y="2662"/>
                    </a:lnTo>
                    <a:lnTo>
                      <a:pt x="1176" y="2670"/>
                    </a:lnTo>
                    <a:lnTo>
                      <a:pt x="1176" y="2680"/>
                    </a:lnTo>
                    <a:lnTo>
                      <a:pt x="1178" y="2700"/>
                    </a:lnTo>
                    <a:lnTo>
                      <a:pt x="1178" y="2712"/>
                    </a:lnTo>
                    <a:lnTo>
                      <a:pt x="1178" y="2726"/>
                    </a:lnTo>
                    <a:lnTo>
                      <a:pt x="1178" y="2726"/>
                    </a:lnTo>
                    <a:lnTo>
                      <a:pt x="1176" y="2736"/>
                    </a:lnTo>
                    <a:lnTo>
                      <a:pt x="1176" y="2746"/>
                    </a:lnTo>
                    <a:lnTo>
                      <a:pt x="1180" y="2764"/>
                    </a:lnTo>
                    <a:lnTo>
                      <a:pt x="1188" y="2784"/>
                    </a:lnTo>
                    <a:lnTo>
                      <a:pt x="1200" y="2804"/>
                    </a:lnTo>
                    <a:lnTo>
                      <a:pt x="1222" y="2850"/>
                    </a:lnTo>
                    <a:lnTo>
                      <a:pt x="1234" y="2876"/>
                    </a:lnTo>
                    <a:lnTo>
                      <a:pt x="1242" y="2904"/>
                    </a:lnTo>
                    <a:lnTo>
                      <a:pt x="1242" y="2904"/>
                    </a:lnTo>
                    <a:lnTo>
                      <a:pt x="1250" y="2930"/>
                    </a:lnTo>
                    <a:lnTo>
                      <a:pt x="1260" y="2946"/>
                    </a:lnTo>
                    <a:lnTo>
                      <a:pt x="1268" y="2958"/>
                    </a:lnTo>
                    <a:lnTo>
                      <a:pt x="1276" y="2966"/>
                    </a:lnTo>
                    <a:lnTo>
                      <a:pt x="1284" y="2976"/>
                    </a:lnTo>
                    <a:lnTo>
                      <a:pt x="1288" y="2990"/>
                    </a:lnTo>
                    <a:lnTo>
                      <a:pt x="1288" y="3008"/>
                    </a:lnTo>
                    <a:lnTo>
                      <a:pt x="1286" y="3038"/>
                    </a:lnTo>
                    <a:lnTo>
                      <a:pt x="1286" y="3038"/>
                    </a:lnTo>
                    <a:lnTo>
                      <a:pt x="1284" y="3052"/>
                    </a:lnTo>
                    <a:lnTo>
                      <a:pt x="1286" y="3070"/>
                    </a:lnTo>
                    <a:lnTo>
                      <a:pt x="1294" y="3112"/>
                    </a:lnTo>
                    <a:lnTo>
                      <a:pt x="1304" y="3156"/>
                    </a:lnTo>
                    <a:lnTo>
                      <a:pt x="1308" y="3178"/>
                    </a:lnTo>
                    <a:lnTo>
                      <a:pt x="1310" y="3200"/>
                    </a:lnTo>
                    <a:lnTo>
                      <a:pt x="1310" y="3200"/>
                    </a:lnTo>
                    <a:lnTo>
                      <a:pt x="1312" y="3220"/>
                    </a:lnTo>
                    <a:lnTo>
                      <a:pt x="1318" y="3238"/>
                    </a:lnTo>
                    <a:lnTo>
                      <a:pt x="1326" y="3254"/>
                    </a:lnTo>
                    <a:lnTo>
                      <a:pt x="1334" y="3266"/>
                    </a:lnTo>
                    <a:lnTo>
                      <a:pt x="1342" y="3278"/>
                    </a:lnTo>
                    <a:lnTo>
                      <a:pt x="1352" y="3286"/>
                    </a:lnTo>
                    <a:lnTo>
                      <a:pt x="1366" y="3302"/>
                    </a:lnTo>
                    <a:lnTo>
                      <a:pt x="1366" y="3302"/>
                    </a:lnTo>
                    <a:lnTo>
                      <a:pt x="1376" y="3316"/>
                    </a:lnTo>
                    <a:lnTo>
                      <a:pt x="1384" y="3330"/>
                    </a:lnTo>
                    <a:lnTo>
                      <a:pt x="1388" y="3344"/>
                    </a:lnTo>
                    <a:lnTo>
                      <a:pt x="1392" y="3358"/>
                    </a:lnTo>
                    <a:lnTo>
                      <a:pt x="1396" y="3374"/>
                    </a:lnTo>
                    <a:lnTo>
                      <a:pt x="1402" y="3392"/>
                    </a:lnTo>
                    <a:lnTo>
                      <a:pt x="1410" y="3414"/>
                    </a:lnTo>
                    <a:lnTo>
                      <a:pt x="1424" y="3436"/>
                    </a:lnTo>
                    <a:lnTo>
                      <a:pt x="1424" y="3436"/>
                    </a:lnTo>
                    <a:lnTo>
                      <a:pt x="1436" y="3458"/>
                    </a:lnTo>
                    <a:lnTo>
                      <a:pt x="1444" y="3474"/>
                    </a:lnTo>
                    <a:lnTo>
                      <a:pt x="1446" y="3490"/>
                    </a:lnTo>
                    <a:lnTo>
                      <a:pt x="1446" y="3502"/>
                    </a:lnTo>
                    <a:lnTo>
                      <a:pt x="1442" y="3510"/>
                    </a:lnTo>
                    <a:lnTo>
                      <a:pt x="1438" y="3516"/>
                    </a:lnTo>
                    <a:lnTo>
                      <a:pt x="1434" y="3518"/>
                    </a:lnTo>
                    <a:lnTo>
                      <a:pt x="1432" y="3518"/>
                    </a:lnTo>
                    <a:lnTo>
                      <a:pt x="1432" y="3518"/>
                    </a:lnTo>
                    <a:lnTo>
                      <a:pt x="1430" y="3516"/>
                    </a:lnTo>
                    <a:lnTo>
                      <a:pt x="1426" y="3518"/>
                    </a:lnTo>
                    <a:lnTo>
                      <a:pt x="1424" y="3518"/>
                    </a:lnTo>
                    <a:lnTo>
                      <a:pt x="1424" y="3522"/>
                    </a:lnTo>
                    <a:lnTo>
                      <a:pt x="1424" y="3526"/>
                    </a:lnTo>
                    <a:lnTo>
                      <a:pt x="1424" y="3532"/>
                    </a:lnTo>
                    <a:lnTo>
                      <a:pt x="1428" y="3538"/>
                    </a:lnTo>
                    <a:lnTo>
                      <a:pt x="1432" y="3546"/>
                    </a:lnTo>
                    <a:lnTo>
                      <a:pt x="1432" y="3546"/>
                    </a:lnTo>
                    <a:lnTo>
                      <a:pt x="1442" y="3558"/>
                    </a:lnTo>
                    <a:lnTo>
                      <a:pt x="1446" y="3568"/>
                    </a:lnTo>
                    <a:lnTo>
                      <a:pt x="1448" y="3574"/>
                    </a:lnTo>
                    <a:lnTo>
                      <a:pt x="1444" y="3580"/>
                    </a:lnTo>
                    <a:lnTo>
                      <a:pt x="1444" y="3580"/>
                    </a:lnTo>
                    <a:lnTo>
                      <a:pt x="1442" y="3582"/>
                    </a:lnTo>
                    <a:lnTo>
                      <a:pt x="1442" y="3588"/>
                    </a:lnTo>
                    <a:lnTo>
                      <a:pt x="1442" y="3596"/>
                    </a:lnTo>
                    <a:lnTo>
                      <a:pt x="1446" y="3602"/>
                    </a:lnTo>
                    <a:lnTo>
                      <a:pt x="1448" y="3602"/>
                    </a:lnTo>
                    <a:lnTo>
                      <a:pt x="1448" y="3598"/>
                    </a:lnTo>
                    <a:lnTo>
                      <a:pt x="1448" y="3598"/>
                    </a:lnTo>
                    <a:lnTo>
                      <a:pt x="1450" y="3594"/>
                    </a:lnTo>
                    <a:lnTo>
                      <a:pt x="1452" y="3590"/>
                    </a:lnTo>
                    <a:lnTo>
                      <a:pt x="1454" y="3588"/>
                    </a:lnTo>
                    <a:lnTo>
                      <a:pt x="1458" y="3588"/>
                    </a:lnTo>
                    <a:lnTo>
                      <a:pt x="1460" y="3588"/>
                    </a:lnTo>
                    <a:lnTo>
                      <a:pt x="1462" y="3590"/>
                    </a:lnTo>
                    <a:lnTo>
                      <a:pt x="1464" y="3592"/>
                    </a:lnTo>
                    <a:lnTo>
                      <a:pt x="1464" y="3596"/>
                    </a:lnTo>
                    <a:lnTo>
                      <a:pt x="1464" y="3596"/>
                    </a:lnTo>
                    <a:lnTo>
                      <a:pt x="1464" y="3602"/>
                    </a:lnTo>
                    <a:lnTo>
                      <a:pt x="1466" y="3604"/>
                    </a:lnTo>
                    <a:lnTo>
                      <a:pt x="1470" y="3606"/>
                    </a:lnTo>
                    <a:lnTo>
                      <a:pt x="1472" y="3606"/>
                    </a:lnTo>
                    <a:lnTo>
                      <a:pt x="1478" y="3606"/>
                    </a:lnTo>
                    <a:lnTo>
                      <a:pt x="1480" y="3608"/>
                    </a:lnTo>
                    <a:lnTo>
                      <a:pt x="1482" y="3612"/>
                    </a:lnTo>
                    <a:lnTo>
                      <a:pt x="1482" y="3612"/>
                    </a:lnTo>
                    <a:lnTo>
                      <a:pt x="1484" y="3618"/>
                    </a:lnTo>
                    <a:lnTo>
                      <a:pt x="1486" y="3620"/>
                    </a:lnTo>
                    <a:lnTo>
                      <a:pt x="1490" y="3620"/>
                    </a:lnTo>
                    <a:lnTo>
                      <a:pt x="1494" y="3624"/>
                    </a:lnTo>
                    <a:lnTo>
                      <a:pt x="1494" y="3624"/>
                    </a:lnTo>
                    <a:lnTo>
                      <a:pt x="1496" y="3628"/>
                    </a:lnTo>
                    <a:lnTo>
                      <a:pt x="1500" y="3626"/>
                    </a:lnTo>
                    <a:lnTo>
                      <a:pt x="1506" y="3626"/>
                    </a:lnTo>
                    <a:lnTo>
                      <a:pt x="1510" y="3626"/>
                    </a:lnTo>
                    <a:lnTo>
                      <a:pt x="1510" y="3626"/>
                    </a:lnTo>
                    <a:lnTo>
                      <a:pt x="1514" y="3628"/>
                    </a:lnTo>
                    <a:lnTo>
                      <a:pt x="1516" y="3626"/>
                    </a:lnTo>
                    <a:lnTo>
                      <a:pt x="1520" y="3620"/>
                    </a:lnTo>
                    <a:lnTo>
                      <a:pt x="1526" y="3612"/>
                    </a:lnTo>
                    <a:lnTo>
                      <a:pt x="1532" y="3610"/>
                    </a:lnTo>
                    <a:lnTo>
                      <a:pt x="1540" y="3608"/>
                    </a:lnTo>
                    <a:lnTo>
                      <a:pt x="1540" y="3608"/>
                    </a:lnTo>
                    <a:lnTo>
                      <a:pt x="1552" y="3606"/>
                    </a:lnTo>
                    <a:lnTo>
                      <a:pt x="1558" y="3608"/>
                    </a:lnTo>
                    <a:lnTo>
                      <a:pt x="1564" y="3608"/>
                    </a:lnTo>
                    <a:lnTo>
                      <a:pt x="1576" y="3604"/>
                    </a:lnTo>
                    <a:lnTo>
                      <a:pt x="1576" y="3604"/>
                    </a:lnTo>
                    <a:lnTo>
                      <a:pt x="1584" y="3602"/>
                    </a:lnTo>
                    <a:lnTo>
                      <a:pt x="1590" y="3598"/>
                    </a:lnTo>
                    <a:lnTo>
                      <a:pt x="1594" y="3592"/>
                    </a:lnTo>
                    <a:lnTo>
                      <a:pt x="1600" y="3586"/>
                    </a:lnTo>
                    <a:lnTo>
                      <a:pt x="1602" y="3586"/>
                    </a:lnTo>
                    <a:lnTo>
                      <a:pt x="1608" y="3584"/>
                    </a:lnTo>
                    <a:lnTo>
                      <a:pt x="1608" y="3584"/>
                    </a:lnTo>
                    <a:lnTo>
                      <a:pt x="1620" y="3584"/>
                    </a:lnTo>
                    <a:lnTo>
                      <a:pt x="1632" y="3588"/>
                    </a:lnTo>
                    <a:lnTo>
                      <a:pt x="1642" y="3590"/>
                    </a:lnTo>
                    <a:lnTo>
                      <a:pt x="1648" y="3590"/>
                    </a:lnTo>
                    <a:lnTo>
                      <a:pt x="1652" y="3586"/>
                    </a:lnTo>
                    <a:lnTo>
                      <a:pt x="1652" y="3586"/>
                    </a:lnTo>
                    <a:lnTo>
                      <a:pt x="1656" y="3586"/>
                    </a:lnTo>
                    <a:lnTo>
                      <a:pt x="1664" y="3586"/>
                    </a:lnTo>
                    <a:lnTo>
                      <a:pt x="1678" y="3592"/>
                    </a:lnTo>
                    <a:lnTo>
                      <a:pt x="1686" y="3594"/>
                    </a:lnTo>
                    <a:lnTo>
                      <a:pt x="1694" y="3594"/>
                    </a:lnTo>
                    <a:lnTo>
                      <a:pt x="1702" y="3594"/>
                    </a:lnTo>
                    <a:lnTo>
                      <a:pt x="1706" y="3590"/>
                    </a:lnTo>
                    <a:lnTo>
                      <a:pt x="1706" y="3590"/>
                    </a:lnTo>
                    <a:lnTo>
                      <a:pt x="1712" y="3584"/>
                    </a:lnTo>
                    <a:lnTo>
                      <a:pt x="1718" y="3582"/>
                    </a:lnTo>
                    <a:lnTo>
                      <a:pt x="1724" y="3584"/>
                    </a:lnTo>
                    <a:lnTo>
                      <a:pt x="1730" y="3584"/>
                    </a:lnTo>
                    <a:lnTo>
                      <a:pt x="1738" y="3586"/>
                    </a:lnTo>
                    <a:lnTo>
                      <a:pt x="1740" y="3584"/>
                    </a:lnTo>
                    <a:lnTo>
                      <a:pt x="1740" y="3580"/>
                    </a:lnTo>
                    <a:lnTo>
                      <a:pt x="1740" y="3580"/>
                    </a:lnTo>
                    <a:lnTo>
                      <a:pt x="1740" y="3574"/>
                    </a:lnTo>
                    <a:lnTo>
                      <a:pt x="1742" y="3572"/>
                    </a:lnTo>
                    <a:lnTo>
                      <a:pt x="1748" y="3572"/>
                    </a:lnTo>
                    <a:lnTo>
                      <a:pt x="1756" y="3572"/>
                    </a:lnTo>
                    <a:lnTo>
                      <a:pt x="1764" y="3572"/>
                    </a:lnTo>
                    <a:lnTo>
                      <a:pt x="1774" y="3570"/>
                    </a:lnTo>
                    <a:lnTo>
                      <a:pt x="1782" y="3568"/>
                    </a:lnTo>
                    <a:lnTo>
                      <a:pt x="1792" y="3562"/>
                    </a:lnTo>
                    <a:lnTo>
                      <a:pt x="1792" y="3562"/>
                    </a:lnTo>
                    <a:lnTo>
                      <a:pt x="1810" y="3550"/>
                    </a:lnTo>
                    <a:lnTo>
                      <a:pt x="1832" y="3532"/>
                    </a:lnTo>
                    <a:lnTo>
                      <a:pt x="1858" y="3506"/>
                    </a:lnTo>
                    <a:lnTo>
                      <a:pt x="1870" y="3490"/>
                    </a:lnTo>
                    <a:lnTo>
                      <a:pt x="1884" y="3472"/>
                    </a:lnTo>
                    <a:lnTo>
                      <a:pt x="1884" y="3472"/>
                    </a:lnTo>
                    <a:lnTo>
                      <a:pt x="1892" y="3462"/>
                    </a:lnTo>
                    <a:lnTo>
                      <a:pt x="1898" y="3456"/>
                    </a:lnTo>
                    <a:lnTo>
                      <a:pt x="1912" y="3442"/>
                    </a:lnTo>
                    <a:lnTo>
                      <a:pt x="1920" y="3432"/>
                    </a:lnTo>
                    <a:lnTo>
                      <a:pt x="1930" y="3418"/>
                    </a:lnTo>
                    <a:lnTo>
                      <a:pt x="1940" y="3398"/>
                    </a:lnTo>
                    <a:lnTo>
                      <a:pt x="1952" y="3372"/>
                    </a:lnTo>
                    <a:lnTo>
                      <a:pt x="1952" y="3372"/>
                    </a:lnTo>
                    <a:lnTo>
                      <a:pt x="1968" y="3344"/>
                    </a:lnTo>
                    <a:lnTo>
                      <a:pt x="1980" y="3324"/>
                    </a:lnTo>
                    <a:lnTo>
                      <a:pt x="1992" y="3314"/>
                    </a:lnTo>
                    <a:lnTo>
                      <a:pt x="2002" y="3304"/>
                    </a:lnTo>
                    <a:lnTo>
                      <a:pt x="2010" y="3294"/>
                    </a:lnTo>
                    <a:lnTo>
                      <a:pt x="2018" y="3276"/>
                    </a:lnTo>
                    <a:lnTo>
                      <a:pt x="2026" y="3250"/>
                    </a:lnTo>
                    <a:lnTo>
                      <a:pt x="2030" y="3210"/>
                    </a:lnTo>
                    <a:lnTo>
                      <a:pt x="2030" y="3210"/>
                    </a:lnTo>
                    <a:lnTo>
                      <a:pt x="2034" y="3182"/>
                    </a:lnTo>
                    <a:lnTo>
                      <a:pt x="2032" y="3176"/>
                    </a:lnTo>
                    <a:lnTo>
                      <a:pt x="2030" y="3176"/>
                    </a:lnTo>
                    <a:lnTo>
                      <a:pt x="2026" y="3176"/>
                    </a:lnTo>
                    <a:lnTo>
                      <a:pt x="2024" y="3176"/>
                    </a:lnTo>
                    <a:lnTo>
                      <a:pt x="2022" y="3170"/>
                    </a:lnTo>
                    <a:lnTo>
                      <a:pt x="2022" y="3170"/>
                    </a:lnTo>
                    <a:lnTo>
                      <a:pt x="2020" y="3164"/>
                    </a:lnTo>
                    <a:lnTo>
                      <a:pt x="2024" y="3156"/>
                    </a:lnTo>
                    <a:lnTo>
                      <a:pt x="2028" y="3148"/>
                    </a:lnTo>
                    <a:lnTo>
                      <a:pt x="2036" y="3140"/>
                    </a:lnTo>
                    <a:lnTo>
                      <a:pt x="2046" y="3132"/>
                    </a:lnTo>
                    <a:lnTo>
                      <a:pt x="2056" y="3126"/>
                    </a:lnTo>
                    <a:lnTo>
                      <a:pt x="2070" y="3118"/>
                    </a:lnTo>
                    <a:lnTo>
                      <a:pt x="2084" y="3114"/>
                    </a:lnTo>
                    <a:lnTo>
                      <a:pt x="2084" y="3114"/>
                    </a:lnTo>
                    <a:lnTo>
                      <a:pt x="2096" y="3108"/>
                    </a:lnTo>
                    <a:lnTo>
                      <a:pt x="2108" y="3100"/>
                    </a:lnTo>
                    <a:lnTo>
                      <a:pt x="2118" y="3094"/>
                    </a:lnTo>
                    <a:lnTo>
                      <a:pt x="2126" y="3086"/>
                    </a:lnTo>
                    <a:lnTo>
                      <a:pt x="2132" y="3078"/>
                    </a:lnTo>
                    <a:lnTo>
                      <a:pt x="2136" y="3070"/>
                    </a:lnTo>
                    <a:lnTo>
                      <a:pt x="2136" y="3062"/>
                    </a:lnTo>
                    <a:lnTo>
                      <a:pt x="2134" y="3056"/>
                    </a:lnTo>
                    <a:lnTo>
                      <a:pt x="2134" y="3056"/>
                    </a:lnTo>
                    <a:lnTo>
                      <a:pt x="2130" y="3050"/>
                    </a:lnTo>
                    <a:lnTo>
                      <a:pt x="2130" y="3044"/>
                    </a:lnTo>
                    <a:lnTo>
                      <a:pt x="2132" y="3034"/>
                    </a:lnTo>
                    <a:lnTo>
                      <a:pt x="2136" y="3016"/>
                    </a:lnTo>
                    <a:lnTo>
                      <a:pt x="2138" y="3006"/>
                    </a:lnTo>
                    <a:lnTo>
                      <a:pt x="2138" y="2990"/>
                    </a:lnTo>
                    <a:lnTo>
                      <a:pt x="2138" y="2990"/>
                    </a:lnTo>
                    <a:lnTo>
                      <a:pt x="2136" y="2972"/>
                    </a:lnTo>
                    <a:lnTo>
                      <a:pt x="2136" y="2970"/>
                    </a:lnTo>
                    <a:lnTo>
                      <a:pt x="2134" y="2972"/>
                    </a:lnTo>
                    <a:lnTo>
                      <a:pt x="2132" y="2974"/>
                    </a:lnTo>
                    <a:lnTo>
                      <a:pt x="2130" y="2974"/>
                    </a:lnTo>
                    <a:lnTo>
                      <a:pt x="2128" y="2972"/>
                    </a:lnTo>
                    <a:lnTo>
                      <a:pt x="2126" y="2962"/>
                    </a:lnTo>
                    <a:lnTo>
                      <a:pt x="2126" y="2962"/>
                    </a:lnTo>
                    <a:lnTo>
                      <a:pt x="2120" y="2934"/>
                    </a:lnTo>
                    <a:lnTo>
                      <a:pt x="2120" y="2920"/>
                    </a:lnTo>
                    <a:lnTo>
                      <a:pt x="2118" y="2910"/>
                    </a:lnTo>
                    <a:lnTo>
                      <a:pt x="2108" y="2896"/>
                    </a:lnTo>
                    <a:lnTo>
                      <a:pt x="2108" y="2896"/>
                    </a:lnTo>
                    <a:lnTo>
                      <a:pt x="2104" y="2890"/>
                    </a:lnTo>
                    <a:lnTo>
                      <a:pt x="2102" y="2886"/>
                    </a:lnTo>
                    <a:lnTo>
                      <a:pt x="2102" y="2878"/>
                    </a:lnTo>
                    <a:lnTo>
                      <a:pt x="2104" y="2870"/>
                    </a:lnTo>
                    <a:lnTo>
                      <a:pt x="2104" y="2860"/>
                    </a:lnTo>
                    <a:lnTo>
                      <a:pt x="2104" y="2860"/>
                    </a:lnTo>
                    <a:lnTo>
                      <a:pt x="2104" y="2854"/>
                    </a:lnTo>
                    <a:lnTo>
                      <a:pt x="2108" y="2854"/>
                    </a:lnTo>
                    <a:lnTo>
                      <a:pt x="2114" y="2852"/>
                    </a:lnTo>
                    <a:lnTo>
                      <a:pt x="2120" y="2848"/>
                    </a:lnTo>
                    <a:lnTo>
                      <a:pt x="2126" y="2842"/>
                    </a:lnTo>
                    <a:lnTo>
                      <a:pt x="2136" y="2832"/>
                    </a:lnTo>
                    <a:lnTo>
                      <a:pt x="2136" y="2832"/>
                    </a:lnTo>
                    <a:lnTo>
                      <a:pt x="2144" y="2822"/>
                    </a:lnTo>
                    <a:lnTo>
                      <a:pt x="2150" y="2816"/>
                    </a:lnTo>
                    <a:lnTo>
                      <a:pt x="2160" y="2812"/>
                    </a:lnTo>
                    <a:lnTo>
                      <a:pt x="2166" y="2808"/>
                    </a:lnTo>
                    <a:lnTo>
                      <a:pt x="2170" y="2804"/>
                    </a:lnTo>
                    <a:lnTo>
                      <a:pt x="2178" y="2794"/>
                    </a:lnTo>
                    <a:lnTo>
                      <a:pt x="2186" y="2780"/>
                    </a:lnTo>
                    <a:lnTo>
                      <a:pt x="2186" y="2780"/>
                    </a:lnTo>
                    <a:lnTo>
                      <a:pt x="2196" y="2764"/>
                    </a:lnTo>
                    <a:lnTo>
                      <a:pt x="2206" y="2750"/>
                    </a:lnTo>
                    <a:lnTo>
                      <a:pt x="2216" y="2740"/>
                    </a:lnTo>
                    <a:lnTo>
                      <a:pt x="2226" y="2734"/>
                    </a:lnTo>
                    <a:lnTo>
                      <a:pt x="2236" y="2728"/>
                    </a:lnTo>
                    <a:lnTo>
                      <a:pt x="2246" y="2724"/>
                    </a:lnTo>
                    <a:lnTo>
                      <a:pt x="2266" y="2718"/>
                    </a:lnTo>
                    <a:lnTo>
                      <a:pt x="2266" y="2718"/>
                    </a:lnTo>
                    <a:lnTo>
                      <a:pt x="2276" y="2714"/>
                    </a:lnTo>
                    <a:lnTo>
                      <a:pt x="2284" y="2708"/>
                    </a:lnTo>
                    <a:lnTo>
                      <a:pt x="2294" y="2700"/>
                    </a:lnTo>
                    <a:lnTo>
                      <a:pt x="2302" y="2690"/>
                    </a:lnTo>
                    <a:lnTo>
                      <a:pt x="2320" y="2666"/>
                    </a:lnTo>
                    <a:lnTo>
                      <a:pt x="2336" y="2636"/>
                    </a:lnTo>
                    <a:lnTo>
                      <a:pt x="2336" y="2636"/>
                    </a:lnTo>
                    <a:lnTo>
                      <a:pt x="2344" y="2622"/>
                    </a:lnTo>
                    <a:lnTo>
                      <a:pt x="2344" y="2620"/>
                    </a:lnTo>
                    <a:lnTo>
                      <a:pt x="2344" y="2616"/>
                    </a:lnTo>
                    <a:lnTo>
                      <a:pt x="2348" y="2606"/>
                    </a:lnTo>
                    <a:lnTo>
                      <a:pt x="2348" y="2606"/>
                    </a:lnTo>
                    <a:lnTo>
                      <a:pt x="2350" y="2598"/>
                    </a:lnTo>
                    <a:lnTo>
                      <a:pt x="2352" y="2594"/>
                    </a:lnTo>
                    <a:lnTo>
                      <a:pt x="2350" y="2590"/>
                    </a:lnTo>
                    <a:lnTo>
                      <a:pt x="2348" y="2586"/>
                    </a:lnTo>
                    <a:lnTo>
                      <a:pt x="2344" y="2582"/>
                    </a:lnTo>
                    <a:lnTo>
                      <a:pt x="2340" y="2576"/>
                    </a:lnTo>
                    <a:lnTo>
                      <a:pt x="2338" y="2566"/>
                    </a:lnTo>
                    <a:lnTo>
                      <a:pt x="2338" y="2552"/>
                    </a:lnTo>
                    <a:lnTo>
                      <a:pt x="2338" y="2552"/>
                    </a:lnTo>
                    <a:lnTo>
                      <a:pt x="2338" y="2500"/>
                    </a:lnTo>
                    <a:lnTo>
                      <a:pt x="2338" y="2478"/>
                    </a:lnTo>
                    <a:lnTo>
                      <a:pt x="2334" y="2454"/>
                    </a:lnTo>
                    <a:lnTo>
                      <a:pt x="2334" y="2454"/>
                    </a:lnTo>
                    <a:lnTo>
                      <a:pt x="2334" y="2440"/>
                    </a:lnTo>
                    <a:lnTo>
                      <a:pt x="2334" y="2432"/>
                    </a:lnTo>
                    <a:lnTo>
                      <a:pt x="2338" y="2426"/>
                    </a:lnTo>
                    <a:lnTo>
                      <a:pt x="2342" y="2424"/>
                    </a:lnTo>
                    <a:lnTo>
                      <a:pt x="2344" y="2420"/>
                    </a:lnTo>
                    <a:lnTo>
                      <a:pt x="2344" y="2414"/>
                    </a:lnTo>
                    <a:lnTo>
                      <a:pt x="2340" y="2406"/>
                    </a:lnTo>
                    <a:lnTo>
                      <a:pt x="2334" y="2394"/>
                    </a:lnTo>
                    <a:lnTo>
                      <a:pt x="2334" y="2394"/>
                    </a:lnTo>
                    <a:lnTo>
                      <a:pt x="2324" y="2384"/>
                    </a:lnTo>
                    <a:lnTo>
                      <a:pt x="2318" y="2380"/>
                    </a:lnTo>
                    <a:lnTo>
                      <a:pt x="2312" y="2376"/>
                    </a:lnTo>
                    <a:lnTo>
                      <a:pt x="2308" y="2368"/>
                    </a:lnTo>
                    <a:lnTo>
                      <a:pt x="2308" y="2368"/>
                    </a:lnTo>
                    <a:lnTo>
                      <a:pt x="2304" y="2358"/>
                    </a:lnTo>
                    <a:lnTo>
                      <a:pt x="2302" y="2348"/>
                    </a:lnTo>
                    <a:lnTo>
                      <a:pt x="2300" y="2334"/>
                    </a:lnTo>
                    <a:lnTo>
                      <a:pt x="2292" y="2310"/>
                    </a:lnTo>
                    <a:lnTo>
                      <a:pt x="2292" y="2310"/>
                    </a:lnTo>
                    <a:lnTo>
                      <a:pt x="2288" y="2298"/>
                    </a:lnTo>
                    <a:lnTo>
                      <a:pt x="2288" y="2290"/>
                    </a:lnTo>
                    <a:lnTo>
                      <a:pt x="2288" y="2286"/>
                    </a:lnTo>
                    <a:lnTo>
                      <a:pt x="2290" y="2280"/>
                    </a:lnTo>
                    <a:lnTo>
                      <a:pt x="2292" y="2278"/>
                    </a:lnTo>
                    <a:lnTo>
                      <a:pt x="2294" y="2274"/>
                    </a:lnTo>
                    <a:lnTo>
                      <a:pt x="2294" y="2268"/>
                    </a:lnTo>
                    <a:lnTo>
                      <a:pt x="2292" y="2258"/>
                    </a:lnTo>
                    <a:lnTo>
                      <a:pt x="2292" y="2258"/>
                    </a:lnTo>
                    <a:lnTo>
                      <a:pt x="2288" y="2248"/>
                    </a:lnTo>
                    <a:lnTo>
                      <a:pt x="2288" y="2240"/>
                    </a:lnTo>
                    <a:lnTo>
                      <a:pt x="2290" y="2236"/>
                    </a:lnTo>
                    <a:lnTo>
                      <a:pt x="2292" y="2232"/>
                    </a:lnTo>
                    <a:lnTo>
                      <a:pt x="2294" y="2230"/>
                    </a:lnTo>
                    <a:lnTo>
                      <a:pt x="2296" y="2228"/>
                    </a:lnTo>
                    <a:lnTo>
                      <a:pt x="2296" y="2226"/>
                    </a:lnTo>
                    <a:lnTo>
                      <a:pt x="2294" y="2220"/>
                    </a:lnTo>
                    <a:lnTo>
                      <a:pt x="2294" y="2220"/>
                    </a:lnTo>
                    <a:lnTo>
                      <a:pt x="2282" y="2206"/>
                    </a:lnTo>
                    <a:lnTo>
                      <a:pt x="2272" y="2192"/>
                    </a:lnTo>
                    <a:lnTo>
                      <a:pt x="2268" y="2184"/>
                    </a:lnTo>
                    <a:lnTo>
                      <a:pt x="2266" y="2174"/>
                    </a:lnTo>
                    <a:lnTo>
                      <a:pt x="2268" y="2164"/>
                    </a:lnTo>
                    <a:lnTo>
                      <a:pt x="2272" y="2150"/>
                    </a:lnTo>
                    <a:lnTo>
                      <a:pt x="2272" y="2150"/>
                    </a:lnTo>
                    <a:lnTo>
                      <a:pt x="2276" y="2138"/>
                    </a:lnTo>
                    <a:lnTo>
                      <a:pt x="2278" y="2130"/>
                    </a:lnTo>
                    <a:lnTo>
                      <a:pt x="2282" y="2122"/>
                    </a:lnTo>
                    <a:lnTo>
                      <a:pt x="2288" y="2108"/>
                    </a:lnTo>
                    <a:lnTo>
                      <a:pt x="2288" y="2108"/>
                    </a:lnTo>
                    <a:lnTo>
                      <a:pt x="2304" y="2084"/>
                    </a:lnTo>
                    <a:lnTo>
                      <a:pt x="2308" y="2074"/>
                    </a:lnTo>
                    <a:lnTo>
                      <a:pt x="2310" y="2058"/>
                    </a:lnTo>
                    <a:lnTo>
                      <a:pt x="2310" y="2058"/>
                    </a:lnTo>
                    <a:lnTo>
                      <a:pt x="2312" y="2052"/>
                    </a:lnTo>
                    <a:lnTo>
                      <a:pt x="2314" y="2048"/>
                    </a:lnTo>
                    <a:lnTo>
                      <a:pt x="2320" y="2046"/>
                    </a:lnTo>
                    <a:lnTo>
                      <a:pt x="2322" y="2044"/>
                    </a:lnTo>
                    <a:lnTo>
                      <a:pt x="2324" y="2042"/>
                    </a:lnTo>
                    <a:lnTo>
                      <a:pt x="2324" y="2036"/>
                    </a:lnTo>
                    <a:lnTo>
                      <a:pt x="2322" y="2026"/>
                    </a:lnTo>
                    <a:lnTo>
                      <a:pt x="2322" y="2026"/>
                    </a:lnTo>
                    <a:lnTo>
                      <a:pt x="2324" y="2016"/>
                    </a:lnTo>
                    <a:lnTo>
                      <a:pt x="2326" y="2008"/>
                    </a:lnTo>
                    <a:lnTo>
                      <a:pt x="2332" y="2004"/>
                    </a:lnTo>
                    <a:lnTo>
                      <a:pt x="2338" y="2002"/>
                    </a:lnTo>
                    <a:lnTo>
                      <a:pt x="2350" y="1998"/>
                    </a:lnTo>
                    <a:lnTo>
                      <a:pt x="2354" y="1994"/>
                    </a:lnTo>
                    <a:lnTo>
                      <a:pt x="2354" y="1988"/>
                    </a:lnTo>
                    <a:lnTo>
                      <a:pt x="2354" y="1988"/>
                    </a:lnTo>
                    <a:lnTo>
                      <a:pt x="2352" y="1980"/>
                    </a:lnTo>
                    <a:lnTo>
                      <a:pt x="2356" y="1980"/>
                    </a:lnTo>
                    <a:lnTo>
                      <a:pt x="2360" y="1980"/>
                    </a:lnTo>
                    <a:lnTo>
                      <a:pt x="2366" y="1978"/>
                    </a:lnTo>
                    <a:lnTo>
                      <a:pt x="2372" y="1972"/>
                    </a:lnTo>
                    <a:lnTo>
                      <a:pt x="2380" y="1962"/>
                    </a:lnTo>
                    <a:lnTo>
                      <a:pt x="2380" y="1962"/>
                    </a:lnTo>
                    <a:lnTo>
                      <a:pt x="2388" y="1950"/>
                    </a:lnTo>
                    <a:lnTo>
                      <a:pt x="2390" y="1944"/>
                    </a:lnTo>
                    <a:lnTo>
                      <a:pt x="2394" y="1932"/>
                    </a:lnTo>
                    <a:lnTo>
                      <a:pt x="2396" y="1926"/>
                    </a:lnTo>
                    <a:lnTo>
                      <a:pt x="2400" y="1918"/>
                    </a:lnTo>
                    <a:lnTo>
                      <a:pt x="2408" y="1908"/>
                    </a:lnTo>
                    <a:lnTo>
                      <a:pt x="2422" y="1892"/>
                    </a:lnTo>
                    <a:lnTo>
                      <a:pt x="2422" y="1892"/>
                    </a:lnTo>
                    <a:lnTo>
                      <a:pt x="2450" y="1860"/>
                    </a:lnTo>
                    <a:lnTo>
                      <a:pt x="2470" y="1836"/>
                    </a:lnTo>
                    <a:lnTo>
                      <a:pt x="2494" y="1812"/>
                    </a:lnTo>
                    <a:lnTo>
                      <a:pt x="2532" y="1780"/>
                    </a:lnTo>
                    <a:lnTo>
                      <a:pt x="2532" y="1780"/>
                    </a:lnTo>
                    <a:lnTo>
                      <a:pt x="2556" y="1760"/>
                    </a:lnTo>
                    <a:lnTo>
                      <a:pt x="2580" y="1736"/>
                    </a:lnTo>
                    <a:lnTo>
                      <a:pt x="2604" y="1710"/>
                    </a:lnTo>
                    <a:lnTo>
                      <a:pt x="2626" y="1680"/>
                    </a:lnTo>
                    <a:lnTo>
                      <a:pt x="2646" y="1646"/>
                    </a:lnTo>
                    <a:lnTo>
                      <a:pt x="2666" y="1610"/>
                    </a:lnTo>
                    <a:lnTo>
                      <a:pt x="2686" y="1570"/>
                    </a:lnTo>
                    <a:lnTo>
                      <a:pt x="2702" y="1526"/>
                    </a:lnTo>
                    <a:lnTo>
                      <a:pt x="2702" y="1526"/>
                    </a:lnTo>
                    <a:lnTo>
                      <a:pt x="2712" y="1502"/>
                    </a:lnTo>
                    <a:lnTo>
                      <a:pt x="2722" y="1482"/>
                    </a:lnTo>
                    <a:lnTo>
                      <a:pt x="2738" y="1452"/>
                    </a:lnTo>
                    <a:lnTo>
                      <a:pt x="2750" y="1426"/>
                    </a:lnTo>
                    <a:lnTo>
                      <a:pt x="2752" y="1416"/>
                    </a:lnTo>
                    <a:lnTo>
                      <a:pt x="2754" y="1404"/>
                    </a:lnTo>
                    <a:lnTo>
                      <a:pt x="2754" y="1404"/>
                    </a:lnTo>
                    <a:lnTo>
                      <a:pt x="2758" y="1388"/>
                    </a:lnTo>
                    <a:lnTo>
                      <a:pt x="2762" y="1378"/>
                    </a:lnTo>
                    <a:lnTo>
                      <a:pt x="2768" y="1376"/>
                    </a:lnTo>
                    <a:lnTo>
                      <a:pt x="2772" y="1376"/>
                    </a:lnTo>
                    <a:lnTo>
                      <a:pt x="2776" y="1376"/>
                    </a:lnTo>
                    <a:lnTo>
                      <a:pt x="2776" y="1376"/>
                    </a:lnTo>
                    <a:lnTo>
                      <a:pt x="2770" y="1364"/>
                    </a:lnTo>
                    <a:lnTo>
                      <a:pt x="2770" y="136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sp>
            <p:nvSpPr>
              <p:cNvPr id="111" name="Freeform 6155"/>
              <p:cNvSpPr>
                <a:spLocks noEditPoints="1"/>
              </p:cNvSpPr>
              <p:nvPr/>
            </p:nvSpPr>
            <p:spPr bwMode="auto">
              <a:xfrm>
                <a:off x="3769201" y="1348638"/>
                <a:ext cx="1621117" cy="2352394"/>
              </a:xfrm>
              <a:custGeom>
                <a:avLst/>
                <a:gdLst/>
                <a:ahLst/>
                <a:cxnLst>
                  <a:cxn ang="0">
                    <a:pos x="1252" y="182"/>
                  </a:cxn>
                  <a:cxn ang="0">
                    <a:pos x="1182" y="102"/>
                  </a:cxn>
                  <a:cxn ang="0">
                    <a:pos x="1170" y="832"/>
                  </a:cxn>
                  <a:cxn ang="0">
                    <a:pos x="1328" y="260"/>
                  </a:cxn>
                  <a:cxn ang="0">
                    <a:pos x="1116" y="888"/>
                  </a:cxn>
                  <a:cxn ang="0">
                    <a:pos x="1002" y="938"/>
                  </a:cxn>
                  <a:cxn ang="0">
                    <a:pos x="1078" y="890"/>
                  </a:cxn>
                  <a:cxn ang="0">
                    <a:pos x="1318" y="40"/>
                  </a:cxn>
                  <a:cxn ang="0">
                    <a:pos x="144" y="1644"/>
                  </a:cxn>
                  <a:cxn ang="0">
                    <a:pos x="70" y="1866"/>
                  </a:cxn>
                  <a:cxn ang="0">
                    <a:pos x="170" y="1652"/>
                  </a:cxn>
                  <a:cxn ang="0">
                    <a:pos x="188" y="1758"/>
                  </a:cxn>
                  <a:cxn ang="0">
                    <a:pos x="270" y="1632"/>
                  </a:cxn>
                  <a:cxn ang="0">
                    <a:pos x="204" y="1758"/>
                  </a:cxn>
                  <a:cxn ang="0">
                    <a:pos x="234" y="1954"/>
                  </a:cxn>
                  <a:cxn ang="0">
                    <a:pos x="316" y="2084"/>
                  </a:cxn>
                  <a:cxn ang="0">
                    <a:pos x="626" y="1382"/>
                  </a:cxn>
                  <a:cxn ang="0">
                    <a:pos x="354" y="1486"/>
                  </a:cxn>
                  <a:cxn ang="0">
                    <a:pos x="522" y="1136"/>
                  </a:cxn>
                  <a:cxn ang="0">
                    <a:pos x="180" y="1048"/>
                  </a:cxn>
                  <a:cxn ang="0">
                    <a:pos x="238" y="1920"/>
                  </a:cxn>
                  <a:cxn ang="0">
                    <a:pos x="908" y="1824"/>
                  </a:cxn>
                  <a:cxn ang="0">
                    <a:pos x="914" y="1826"/>
                  </a:cxn>
                  <a:cxn ang="0">
                    <a:pos x="1094" y="1700"/>
                  </a:cxn>
                  <a:cxn ang="0">
                    <a:pos x="632" y="1514"/>
                  </a:cxn>
                  <a:cxn ang="0">
                    <a:pos x="1324" y="1592"/>
                  </a:cxn>
                  <a:cxn ang="0">
                    <a:pos x="954" y="2790"/>
                  </a:cxn>
                  <a:cxn ang="0">
                    <a:pos x="1260" y="2818"/>
                  </a:cxn>
                  <a:cxn ang="0">
                    <a:pos x="1352" y="2902"/>
                  </a:cxn>
                  <a:cxn ang="0">
                    <a:pos x="2500" y="3468"/>
                  </a:cxn>
                  <a:cxn ang="0">
                    <a:pos x="2346" y="3260"/>
                  </a:cxn>
                  <a:cxn ang="0">
                    <a:pos x="2192" y="978"/>
                  </a:cxn>
                  <a:cxn ang="0">
                    <a:pos x="1910" y="896"/>
                  </a:cxn>
                  <a:cxn ang="0">
                    <a:pos x="1536" y="738"/>
                  </a:cxn>
                  <a:cxn ang="0">
                    <a:pos x="1350" y="810"/>
                  </a:cxn>
                  <a:cxn ang="0">
                    <a:pos x="1154" y="858"/>
                  </a:cxn>
                  <a:cxn ang="0">
                    <a:pos x="1036" y="1012"/>
                  </a:cxn>
                  <a:cxn ang="0">
                    <a:pos x="886" y="1194"/>
                  </a:cxn>
                  <a:cxn ang="0">
                    <a:pos x="704" y="1308"/>
                  </a:cxn>
                  <a:cxn ang="0">
                    <a:pos x="624" y="1436"/>
                  </a:cxn>
                  <a:cxn ang="0">
                    <a:pos x="760" y="1618"/>
                  </a:cxn>
                  <a:cxn ang="0">
                    <a:pos x="1070" y="1736"/>
                  </a:cxn>
                  <a:cxn ang="0">
                    <a:pos x="1148" y="1332"/>
                  </a:cxn>
                  <a:cxn ang="0">
                    <a:pos x="1290" y="1300"/>
                  </a:cxn>
                  <a:cxn ang="0">
                    <a:pos x="1552" y="1536"/>
                  </a:cxn>
                  <a:cxn ang="0">
                    <a:pos x="1180" y="1840"/>
                  </a:cxn>
                  <a:cxn ang="0">
                    <a:pos x="810" y="1824"/>
                  </a:cxn>
                  <a:cxn ang="0">
                    <a:pos x="766" y="1806"/>
                  </a:cxn>
                  <a:cxn ang="0">
                    <a:pos x="618" y="1946"/>
                  </a:cxn>
                  <a:cxn ang="0">
                    <a:pos x="292" y="2188"/>
                  </a:cxn>
                  <a:cxn ang="0">
                    <a:pos x="270" y="2496"/>
                  </a:cxn>
                  <a:cxn ang="0">
                    <a:pos x="284" y="2872"/>
                  </a:cxn>
                  <a:cxn ang="0">
                    <a:pos x="854" y="2536"/>
                  </a:cxn>
                  <a:cxn ang="0">
                    <a:pos x="990" y="2544"/>
                  </a:cxn>
                  <a:cxn ang="0">
                    <a:pos x="1240" y="2726"/>
                  </a:cxn>
                  <a:cxn ang="0">
                    <a:pos x="1394" y="2818"/>
                  </a:cxn>
                  <a:cxn ang="0">
                    <a:pos x="1532" y="2638"/>
                  </a:cxn>
                  <a:cxn ang="0">
                    <a:pos x="1772" y="2410"/>
                  </a:cxn>
                  <a:cxn ang="0">
                    <a:pos x="1912" y="2410"/>
                  </a:cxn>
                  <a:cxn ang="0">
                    <a:pos x="1538" y="2666"/>
                  </a:cxn>
                  <a:cxn ang="0">
                    <a:pos x="1642" y="2896"/>
                  </a:cxn>
                  <a:cxn ang="0">
                    <a:pos x="1818" y="3330"/>
                  </a:cxn>
                  <a:cxn ang="0">
                    <a:pos x="2248" y="4088"/>
                  </a:cxn>
                </a:cxnLst>
                <a:rect l="0" t="0" r="r" b="b"/>
                <a:pathLst>
                  <a:path w="2834" h="4108">
                    <a:moveTo>
                      <a:pt x="1216" y="808"/>
                    </a:moveTo>
                    <a:lnTo>
                      <a:pt x="1216" y="808"/>
                    </a:lnTo>
                    <a:lnTo>
                      <a:pt x="1216" y="806"/>
                    </a:lnTo>
                    <a:lnTo>
                      <a:pt x="1212" y="804"/>
                    </a:lnTo>
                    <a:lnTo>
                      <a:pt x="1208" y="804"/>
                    </a:lnTo>
                    <a:lnTo>
                      <a:pt x="1206" y="804"/>
                    </a:lnTo>
                    <a:lnTo>
                      <a:pt x="1206" y="804"/>
                    </a:lnTo>
                    <a:lnTo>
                      <a:pt x="1206" y="806"/>
                    </a:lnTo>
                    <a:lnTo>
                      <a:pt x="1210" y="808"/>
                    </a:lnTo>
                    <a:lnTo>
                      <a:pt x="1214" y="808"/>
                    </a:lnTo>
                    <a:lnTo>
                      <a:pt x="1216" y="808"/>
                    </a:lnTo>
                    <a:lnTo>
                      <a:pt x="1216" y="808"/>
                    </a:lnTo>
                    <a:close/>
                    <a:moveTo>
                      <a:pt x="1202" y="798"/>
                    </a:moveTo>
                    <a:lnTo>
                      <a:pt x="1202" y="798"/>
                    </a:lnTo>
                    <a:lnTo>
                      <a:pt x="1198" y="798"/>
                    </a:lnTo>
                    <a:lnTo>
                      <a:pt x="1194" y="802"/>
                    </a:lnTo>
                    <a:lnTo>
                      <a:pt x="1194" y="806"/>
                    </a:lnTo>
                    <a:lnTo>
                      <a:pt x="1194" y="806"/>
                    </a:lnTo>
                    <a:lnTo>
                      <a:pt x="1196" y="806"/>
                    </a:lnTo>
                    <a:lnTo>
                      <a:pt x="1196" y="806"/>
                    </a:lnTo>
                    <a:lnTo>
                      <a:pt x="1200" y="806"/>
                    </a:lnTo>
                    <a:lnTo>
                      <a:pt x="1202" y="802"/>
                    </a:lnTo>
                    <a:lnTo>
                      <a:pt x="1202" y="800"/>
                    </a:lnTo>
                    <a:lnTo>
                      <a:pt x="1202" y="798"/>
                    </a:lnTo>
                    <a:lnTo>
                      <a:pt x="1202" y="798"/>
                    </a:lnTo>
                    <a:close/>
                    <a:moveTo>
                      <a:pt x="1082" y="898"/>
                    </a:moveTo>
                    <a:lnTo>
                      <a:pt x="1082" y="898"/>
                    </a:lnTo>
                    <a:lnTo>
                      <a:pt x="1078" y="896"/>
                    </a:lnTo>
                    <a:lnTo>
                      <a:pt x="1074" y="900"/>
                    </a:lnTo>
                    <a:lnTo>
                      <a:pt x="1074" y="900"/>
                    </a:lnTo>
                    <a:lnTo>
                      <a:pt x="1072" y="902"/>
                    </a:lnTo>
                    <a:lnTo>
                      <a:pt x="1072" y="906"/>
                    </a:lnTo>
                    <a:lnTo>
                      <a:pt x="1072" y="910"/>
                    </a:lnTo>
                    <a:lnTo>
                      <a:pt x="1066" y="914"/>
                    </a:lnTo>
                    <a:lnTo>
                      <a:pt x="1066" y="914"/>
                    </a:lnTo>
                    <a:lnTo>
                      <a:pt x="1062" y="916"/>
                    </a:lnTo>
                    <a:lnTo>
                      <a:pt x="1064" y="914"/>
                    </a:lnTo>
                    <a:lnTo>
                      <a:pt x="1066" y="910"/>
                    </a:lnTo>
                    <a:lnTo>
                      <a:pt x="1064" y="908"/>
                    </a:lnTo>
                    <a:lnTo>
                      <a:pt x="1062" y="908"/>
                    </a:lnTo>
                    <a:lnTo>
                      <a:pt x="1062" y="908"/>
                    </a:lnTo>
                    <a:lnTo>
                      <a:pt x="1060" y="908"/>
                    </a:lnTo>
                    <a:lnTo>
                      <a:pt x="1060" y="906"/>
                    </a:lnTo>
                    <a:lnTo>
                      <a:pt x="1062" y="902"/>
                    </a:lnTo>
                    <a:lnTo>
                      <a:pt x="1066" y="896"/>
                    </a:lnTo>
                    <a:lnTo>
                      <a:pt x="1066" y="894"/>
                    </a:lnTo>
                    <a:lnTo>
                      <a:pt x="1064" y="892"/>
                    </a:lnTo>
                    <a:lnTo>
                      <a:pt x="1064" y="892"/>
                    </a:lnTo>
                    <a:lnTo>
                      <a:pt x="1058" y="892"/>
                    </a:lnTo>
                    <a:lnTo>
                      <a:pt x="1054" y="896"/>
                    </a:lnTo>
                    <a:lnTo>
                      <a:pt x="1048" y="900"/>
                    </a:lnTo>
                    <a:lnTo>
                      <a:pt x="1046" y="906"/>
                    </a:lnTo>
                    <a:lnTo>
                      <a:pt x="1046" y="906"/>
                    </a:lnTo>
                    <a:lnTo>
                      <a:pt x="1046" y="912"/>
                    </a:lnTo>
                    <a:lnTo>
                      <a:pt x="1046" y="916"/>
                    </a:lnTo>
                    <a:lnTo>
                      <a:pt x="1046" y="918"/>
                    </a:lnTo>
                    <a:lnTo>
                      <a:pt x="1042" y="920"/>
                    </a:lnTo>
                    <a:lnTo>
                      <a:pt x="1042" y="920"/>
                    </a:lnTo>
                    <a:lnTo>
                      <a:pt x="1036" y="922"/>
                    </a:lnTo>
                    <a:lnTo>
                      <a:pt x="1036" y="924"/>
                    </a:lnTo>
                    <a:lnTo>
                      <a:pt x="1036" y="928"/>
                    </a:lnTo>
                    <a:lnTo>
                      <a:pt x="1032" y="938"/>
                    </a:lnTo>
                    <a:lnTo>
                      <a:pt x="1032" y="938"/>
                    </a:lnTo>
                    <a:lnTo>
                      <a:pt x="1030" y="942"/>
                    </a:lnTo>
                    <a:lnTo>
                      <a:pt x="1034" y="940"/>
                    </a:lnTo>
                    <a:lnTo>
                      <a:pt x="1040" y="938"/>
                    </a:lnTo>
                    <a:lnTo>
                      <a:pt x="1044" y="938"/>
                    </a:lnTo>
                    <a:lnTo>
                      <a:pt x="1048" y="940"/>
                    </a:lnTo>
                    <a:lnTo>
                      <a:pt x="1048" y="940"/>
                    </a:lnTo>
                    <a:lnTo>
                      <a:pt x="1050" y="940"/>
                    </a:lnTo>
                    <a:lnTo>
                      <a:pt x="1052" y="940"/>
                    </a:lnTo>
                    <a:lnTo>
                      <a:pt x="1054" y="936"/>
                    </a:lnTo>
                    <a:lnTo>
                      <a:pt x="1056" y="934"/>
                    </a:lnTo>
                    <a:lnTo>
                      <a:pt x="1058" y="932"/>
                    </a:lnTo>
                    <a:lnTo>
                      <a:pt x="1060" y="934"/>
                    </a:lnTo>
                    <a:lnTo>
                      <a:pt x="1060" y="934"/>
                    </a:lnTo>
                    <a:lnTo>
                      <a:pt x="1062" y="936"/>
                    </a:lnTo>
                    <a:lnTo>
                      <a:pt x="1064" y="936"/>
                    </a:lnTo>
                    <a:lnTo>
                      <a:pt x="1068" y="930"/>
                    </a:lnTo>
                    <a:lnTo>
                      <a:pt x="1068" y="930"/>
                    </a:lnTo>
                    <a:lnTo>
                      <a:pt x="1070" y="926"/>
                    </a:lnTo>
                    <a:lnTo>
                      <a:pt x="1072" y="924"/>
                    </a:lnTo>
                    <a:lnTo>
                      <a:pt x="1076" y="920"/>
                    </a:lnTo>
                    <a:lnTo>
                      <a:pt x="1084" y="920"/>
                    </a:lnTo>
                    <a:lnTo>
                      <a:pt x="1084" y="920"/>
                    </a:lnTo>
                    <a:lnTo>
                      <a:pt x="1088" y="918"/>
                    </a:lnTo>
                    <a:lnTo>
                      <a:pt x="1090" y="916"/>
                    </a:lnTo>
                    <a:lnTo>
                      <a:pt x="1090" y="914"/>
                    </a:lnTo>
                    <a:lnTo>
                      <a:pt x="1090" y="910"/>
                    </a:lnTo>
                    <a:lnTo>
                      <a:pt x="1086" y="904"/>
                    </a:lnTo>
                    <a:lnTo>
                      <a:pt x="1082" y="898"/>
                    </a:lnTo>
                    <a:lnTo>
                      <a:pt x="1082" y="898"/>
                    </a:lnTo>
                    <a:close/>
                    <a:moveTo>
                      <a:pt x="1190" y="808"/>
                    </a:moveTo>
                    <a:lnTo>
                      <a:pt x="1190" y="808"/>
                    </a:lnTo>
                    <a:lnTo>
                      <a:pt x="1188" y="808"/>
                    </a:lnTo>
                    <a:lnTo>
                      <a:pt x="1186" y="808"/>
                    </a:lnTo>
                    <a:lnTo>
                      <a:pt x="1184" y="808"/>
                    </a:lnTo>
                    <a:lnTo>
                      <a:pt x="1182" y="808"/>
                    </a:lnTo>
                    <a:lnTo>
                      <a:pt x="1182" y="808"/>
                    </a:lnTo>
                    <a:lnTo>
                      <a:pt x="1180" y="808"/>
                    </a:lnTo>
                    <a:lnTo>
                      <a:pt x="1178" y="810"/>
                    </a:lnTo>
                    <a:lnTo>
                      <a:pt x="1176" y="814"/>
                    </a:lnTo>
                    <a:lnTo>
                      <a:pt x="1176" y="814"/>
                    </a:lnTo>
                    <a:lnTo>
                      <a:pt x="1178" y="814"/>
                    </a:lnTo>
                    <a:lnTo>
                      <a:pt x="1178" y="816"/>
                    </a:lnTo>
                    <a:lnTo>
                      <a:pt x="1184" y="814"/>
                    </a:lnTo>
                    <a:lnTo>
                      <a:pt x="1188" y="810"/>
                    </a:lnTo>
                    <a:lnTo>
                      <a:pt x="1190" y="808"/>
                    </a:lnTo>
                    <a:lnTo>
                      <a:pt x="1190" y="808"/>
                    </a:lnTo>
                    <a:close/>
                    <a:moveTo>
                      <a:pt x="1400" y="746"/>
                    </a:moveTo>
                    <a:lnTo>
                      <a:pt x="1400" y="746"/>
                    </a:lnTo>
                    <a:lnTo>
                      <a:pt x="1394" y="744"/>
                    </a:lnTo>
                    <a:lnTo>
                      <a:pt x="1390" y="744"/>
                    </a:lnTo>
                    <a:lnTo>
                      <a:pt x="1388" y="744"/>
                    </a:lnTo>
                    <a:lnTo>
                      <a:pt x="1390" y="748"/>
                    </a:lnTo>
                    <a:lnTo>
                      <a:pt x="1390" y="748"/>
                    </a:lnTo>
                    <a:lnTo>
                      <a:pt x="1394" y="750"/>
                    </a:lnTo>
                    <a:lnTo>
                      <a:pt x="1398" y="750"/>
                    </a:lnTo>
                    <a:lnTo>
                      <a:pt x="1400" y="748"/>
                    </a:lnTo>
                    <a:lnTo>
                      <a:pt x="1400" y="746"/>
                    </a:lnTo>
                    <a:lnTo>
                      <a:pt x="1400" y="746"/>
                    </a:lnTo>
                    <a:close/>
                    <a:moveTo>
                      <a:pt x="1252" y="182"/>
                    </a:moveTo>
                    <a:lnTo>
                      <a:pt x="1252" y="182"/>
                    </a:lnTo>
                    <a:lnTo>
                      <a:pt x="1256" y="186"/>
                    </a:lnTo>
                    <a:lnTo>
                      <a:pt x="1256" y="188"/>
                    </a:lnTo>
                    <a:lnTo>
                      <a:pt x="1258" y="190"/>
                    </a:lnTo>
                    <a:lnTo>
                      <a:pt x="1258" y="192"/>
                    </a:lnTo>
                    <a:lnTo>
                      <a:pt x="1262" y="192"/>
                    </a:lnTo>
                    <a:lnTo>
                      <a:pt x="1272" y="190"/>
                    </a:lnTo>
                    <a:lnTo>
                      <a:pt x="1272" y="190"/>
                    </a:lnTo>
                    <a:lnTo>
                      <a:pt x="1290" y="186"/>
                    </a:lnTo>
                    <a:lnTo>
                      <a:pt x="1306" y="186"/>
                    </a:lnTo>
                    <a:lnTo>
                      <a:pt x="1312" y="184"/>
                    </a:lnTo>
                    <a:lnTo>
                      <a:pt x="1316" y="182"/>
                    </a:lnTo>
                    <a:lnTo>
                      <a:pt x="1318" y="178"/>
                    </a:lnTo>
                    <a:lnTo>
                      <a:pt x="1318" y="172"/>
                    </a:lnTo>
                    <a:lnTo>
                      <a:pt x="1318" y="172"/>
                    </a:lnTo>
                    <a:lnTo>
                      <a:pt x="1316" y="166"/>
                    </a:lnTo>
                    <a:lnTo>
                      <a:pt x="1312" y="162"/>
                    </a:lnTo>
                    <a:lnTo>
                      <a:pt x="1306" y="160"/>
                    </a:lnTo>
                    <a:lnTo>
                      <a:pt x="1300" y="158"/>
                    </a:lnTo>
                    <a:lnTo>
                      <a:pt x="1284" y="158"/>
                    </a:lnTo>
                    <a:lnTo>
                      <a:pt x="1266" y="162"/>
                    </a:lnTo>
                    <a:lnTo>
                      <a:pt x="1266" y="162"/>
                    </a:lnTo>
                    <a:lnTo>
                      <a:pt x="1250" y="166"/>
                    </a:lnTo>
                    <a:lnTo>
                      <a:pt x="1238" y="168"/>
                    </a:lnTo>
                    <a:lnTo>
                      <a:pt x="1238" y="170"/>
                    </a:lnTo>
                    <a:lnTo>
                      <a:pt x="1238" y="174"/>
                    </a:lnTo>
                    <a:lnTo>
                      <a:pt x="1252" y="182"/>
                    </a:lnTo>
                    <a:lnTo>
                      <a:pt x="1252" y="182"/>
                    </a:lnTo>
                    <a:close/>
                    <a:moveTo>
                      <a:pt x="1236" y="808"/>
                    </a:moveTo>
                    <a:lnTo>
                      <a:pt x="1236" y="808"/>
                    </a:lnTo>
                    <a:lnTo>
                      <a:pt x="1238" y="806"/>
                    </a:lnTo>
                    <a:lnTo>
                      <a:pt x="1236" y="804"/>
                    </a:lnTo>
                    <a:lnTo>
                      <a:pt x="1228" y="802"/>
                    </a:lnTo>
                    <a:lnTo>
                      <a:pt x="1228" y="802"/>
                    </a:lnTo>
                    <a:lnTo>
                      <a:pt x="1224" y="798"/>
                    </a:lnTo>
                    <a:lnTo>
                      <a:pt x="1220" y="796"/>
                    </a:lnTo>
                    <a:lnTo>
                      <a:pt x="1216" y="794"/>
                    </a:lnTo>
                    <a:lnTo>
                      <a:pt x="1216" y="798"/>
                    </a:lnTo>
                    <a:lnTo>
                      <a:pt x="1216" y="798"/>
                    </a:lnTo>
                    <a:lnTo>
                      <a:pt x="1216" y="802"/>
                    </a:lnTo>
                    <a:lnTo>
                      <a:pt x="1220" y="806"/>
                    </a:lnTo>
                    <a:lnTo>
                      <a:pt x="1228" y="810"/>
                    </a:lnTo>
                    <a:lnTo>
                      <a:pt x="1236" y="808"/>
                    </a:lnTo>
                    <a:lnTo>
                      <a:pt x="1236" y="808"/>
                    </a:lnTo>
                    <a:close/>
                    <a:moveTo>
                      <a:pt x="902" y="108"/>
                    </a:moveTo>
                    <a:lnTo>
                      <a:pt x="902" y="108"/>
                    </a:lnTo>
                    <a:lnTo>
                      <a:pt x="902" y="114"/>
                    </a:lnTo>
                    <a:lnTo>
                      <a:pt x="904" y="120"/>
                    </a:lnTo>
                    <a:lnTo>
                      <a:pt x="906" y="124"/>
                    </a:lnTo>
                    <a:lnTo>
                      <a:pt x="910" y="126"/>
                    </a:lnTo>
                    <a:lnTo>
                      <a:pt x="912" y="128"/>
                    </a:lnTo>
                    <a:lnTo>
                      <a:pt x="910" y="128"/>
                    </a:lnTo>
                    <a:lnTo>
                      <a:pt x="900" y="130"/>
                    </a:lnTo>
                    <a:lnTo>
                      <a:pt x="900" y="130"/>
                    </a:lnTo>
                    <a:lnTo>
                      <a:pt x="886" y="130"/>
                    </a:lnTo>
                    <a:lnTo>
                      <a:pt x="884" y="132"/>
                    </a:lnTo>
                    <a:lnTo>
                      <a:pt x="886" y="136"/>
                    </a:lnTo>
                    <a:lnTo>
                      <a:pt x="898" y="148"/>
                    </a:lnTo>
                    <a:lnTo>
                      <a:pt x="922" y="172"/>
                    </a:lnTo>
                    <a:lnTo>
                      <a:pt x="922" y="172"/>
                    </a:lnTo>
                    <a:lnTo>
                      <a:pt x="936" y="184"/>
                    </a:lnTo>
                    <a:lnTo>
                      <a:pt x="948" y="192"/>
                    </a:lnTo>
                    <a:lnTo>
                      <a:pt x="960" y="194"/>
                    </a:lnTo>
                    <a:lnTo>
                      <a:pt x="970" y="192"/>
                    </a:lnTo>
                    <a:lnTo>
                      <a:pt x="980" y="188"/>
                    </a:lnTo>
                    <a:lnTo>
                      <a:pt x="990" y="182"/>
                    </a:lnTo>
                    <a:lnTo>
                      <a:pt x="1018" y="164"/>
                    </a:lnTo>
                    <a:lnTo>
                      <a:pt x="1018" y="164"/>
                    </a:lnTo>
                    <a:lnTo>
                      <a:pt x="1038" y="152"/>
                    </a:lnTo>
                    <a:lnTo>
                      <a:pt x="1040" y="152"/>
                    </a:lnTo>
                    <a:lnTo>
                      <a:pt x="1042" y="154"/>
                    </a:lnTo>
                    <a:lnTo>
                      <a:pt x="1042" y="158"/>
                    </a:lnTo>
                    <a:lnTo>
                      <a:pt x="1048" y="160"/>
                    </a:lnTo>
                    <a:lnTo>
                      <a:pt x="1056" y="164"/>
                    </a:lnTo>
                    <a:lnTo>
                      <a:pt x="1072" y="166"/>
                    </a:lnTo>
                    <a:lnTo>
                      <a:pt x="1072" y="166"/>
                    </a:lnTo>
                    <a:lnTo>
                      <a:pt x="1088" y="168"/>
                    </a:lnTo>
                    <a:lnTo>
                      <a:pt x="1096" y="170"/>
                    </a:lnTo>
                    <a:lnTo>
                      <a:pt x="1096" y="170"/>
                    </a:lnTo>
                    <a:lnTo>
                      <a:pt x="1094" y="172"/>
                    </a:lnTo>
                    <a:lnTo>
                      <a:pt x="1088" y="176"/>
                    </a:lnTo>
                    <a:lnTo>
                      <a:pt x="1058" y="186"/>
                    </a:lnTo>
                    <a:lnTo>
                      <a:pt x="1014" y="198"/>
                    </a:lnTo>
                    <a:lnTo>
                      <a:pt x="1014" y="198"/>
                    </a:lnTo>
                    <a:lnTo>
                      <a:pt x="994" y="206"/>
                    </a:lnTo>
                    <a:lnTo>
                      <a:pt x="980" y="210"/>
                    </a:lnTo>
                    <a:lnTo>
                      <a:pt x="972" y="216"/>
                    </a:lnTo>
                    <a:lnTo>
                      <a:pt x="970" y="218"/>
                    </a:lnTo>
                    <a:lnTo>
                      <a:pt x="970" y="220"/>
                    </a:lnTo>
                    <a:lnTo>
                      <a:pt x="976" y="222"/>
                    </a:lnTo>
                    <a:lnTo>
                      <a:pt x="988" y="224"/>
                    </a:lnTo>
                    <a:lnTo>
                      <a:pt x="1008" y="224"/>
                    </a:lnTo>
                    <a:lnTo>
                      <a:pt x="1034" y="222"/>
                    </a:lnTo>
                    <a:lnTo>
                      <a:pt x="1034" y="222"/>
                    </a:lnTo>
                    <a:lnTo>
                      <a:pt x="1058" y="220"/>
                    </a:lnTo>
                    <a:lnTo>
                      <a:pt x="1072" y="220"/>
                    </a:lnTo>
                    <a:lnTo>
                      <a:pt x="1074" y="222"/>
                    </a:lnTo>
                    <a:lnTo>
                      <a:pt x="1076" y="222"/>
                    </a:lnTo>
                    <a:lnTo>
                      <a:pt x="1072" y="226"/>
                    </a:lnTo>
                    <a:lnTo>
                      <a:pt x="1064" y="232"/>
                    </a:lnTo>
                    <a:lnTo>
                      <a:pt x="1050" y="236"/>
                    </a:lnTo>
                    <a:lnTo>
                      <a:pt x="1036" y="242"/>
                    </a:lnTo>
                    <a:lnTo>
                      <a:pt x="1018" y="244"/>
                    </a:lnTo>
                    <a:lnTo>
                      <a:pt x="1018" y="244"/>
                    </a:lnTo>
                    <a:lnTo>
                      <a:pt x="994" y="250"/>
                    </a:lnTo>
                    <a:lnTo>
                      <a:pt x="988" y="252"/>
                    </a:lnTo>
                    <a:lnTo>
                      <a:pt x="984" y="256"/>
                    </a:lnTo>
                    <a:lnTo>
                      <a:pt x="986" y="260"/>
                    </a:lnTo>
                    <a:lnTo>
                      <a:pt x="990" y="264"/>
                    </a:lnTo>
                    <a:lnTo>
                      <a:pt x="1014" y="274"/>
                    </a:lnTo>
                    <a:lnTo>
                      <a:pt x="1014" y="274"/>
                    </a:lnTo>
                    <a:lnTo>
                      <a:pt x="1028" y="280"/>
                    </a:lnTo>
                    <a:lnTo>
                      <a:pt x="1036" y="286"/>
                    </a:lnTo>
                    <a:lnTo>
                      <a:pt x="1048" y="296"/>
                    </a:lnTo>
                    <a:lnTo>
                      <a:pt x="1052" y="302"/>
                    </a:lnTo>
                    <a:lnTo>
                      <a:pt x="1060" y="308"/>
                    </a:lnTo>
                    <a:lnTo>
                      <a:pt x="1072" y="312"/>
                    </a:lnTo>
                    <a:lnTo>
                      <a:pt x="1090" y="318"/>
                    </a:lnTo>
                    <a:lnTo>
                      <a:pt x="1090" y="318"/>
                    </a:lnTo>
                    <a:lnTo>
                      <a:pt x="1098" y="320"/>
                    </a:lnTo>
                    <a:lnTo>
                      <a:pt x="1104" y="320"/>
                    </a:lnTo>
                    <a:lnTo>
                      <a:pt x="1110" y="318"/>
                    </a:lnTo>
                    <a:lnTo>
                      <a:pt x="1114" y="316"/>
                    </a:lnTo>
                    <a:lnTo>
                      <a:pt x="1116" y="312"/>
                    </a:lnTo>
                    <a:lnTo>
                      <a:pt x="1116" y="306"/>
                    </a:lnTo>
                    <a:lnTo>
                      <a:pt x="1118" y="294"/>
                    </a:lnTo>
                    <a:lnTo>
                      <a:pt x="1120" y="282"/>
                    </a:lnTo>
                    <a:lnTo>
                      <a:pt x="1124" y="268"/>
                    </a:lnTo>
                    <a:lnTo>
                      <a:pt x="1128" y="262"/>
                    </a:lnTo>
                    <a:lnTo>
                      <a:pt x="1132" y="256"/>
                    </a:lnTo>
                    <a:lnTo>
                      <a:pt x="1138" y="252"/>
                    </a:lnTo>
                    <a:lnTo>
                      <a:pt x="1146" y="248"/>
                    </a:lnTo>
                    <a:lnTo>
                      <a:pt x="1146" y="248"/>
                    </a:lnTo>
                    <a:lnTo>
                      <a:pt x="1160" y="242"/>
                    </a:lnTo>
                    <a:lnTo>
                      <a:pt x="1166" y="236"/>
                    </a:lnTo>
                    <a:lnTo>
                      <a:pt x="1166" y="230"/>
                    </a:lnTo>
                    <a:lnTo>
                      <a:pt x="1164" y="224"/>
                    </a:lnTo>
                    <a:lnTo>
                      <a:pt x="1162" y="218"/>
                    </a:lnTo>
                    <a:lnTo>
                      <a:pt x="1162" y="214"/>
                    </a:lnTo>
                    <a:lnTo>
                      <a:pt x="1162" y="212"/>
                    </a:lnTo>
                    <a:lnTo>
                      <a:pt x="1166" y="208"/>
                    </a:lnTo>
                    <a:lnTo>
                      <a:pt x="1176" y="204"/>
                    </a:lnTo>
                    <a:lnTo>
                      <a:pt x="1176" y="204"/>
                    </a:lnTo>
                    <a:lnTo>
                      <a:pt x="1182" y="202"/>
                    </a:lnTo>
                    <a:lnTo>
                      <a:pt x="1188" y="200"/>
                    </a:lnTo>
                    <a:lnTo>
                      <a:pt x="1190" y="196"/>
                    </a:lnTo>
                    <a:lnTo>
                      <a:pt x="1192" y="192"/>
                    </a:lnTo>
                    <a:lnTo>
                      <a:pt x="1194" y="186"/>
                    </a:lnTo>
                    <a:lnTo>
                      <a:pt x="1194" y="178"/>
                    </a:lnTo>
                    <a:lnTo>
                      <a:pt x="1196" y="170"/>
                    </a:lnTo>
                    <a:lnTo>
                      <a:pt x="1198" y="166"/>
                    </a:lnTo>
                    <a:lnTo>
                      <a:pt x="1202" y="164"/>
                    </a:lnTo>
                    <a:lnTo>
                      <a:pt x="1206" y="160"/>
                    </a:lnTo>
                    <a:lnTo>
                      <a:pt x="1212" y="158"/>
                    </a:lnTo>
                    <a:lnTo>
                      <a:pt x="1234" y="156"/>
                    </a:lnTo>
                    <a:lnTo>
                      <a:pt x="1234" y="156"/>
                    </a:lnTo>
                    <a:lnTo>
                      <a:pt x="1272" y="152"/>
                    </a:lnTo>
                    <a:lnTo>
                      <a:pt x="1284" y="148"/>
                    </a:lnTo>
                    <a:lnTo>
                      <a:pt x="1290" y="146"/>
                    </a:lnTo>
                    <a:lnTo>
                      <a:pt x="1290" y="144"/>
                    </a:lnTo>
                    <a:lnTo>
                      <a:pt x="1290" y="142"/>
                    </a:lnTo>
                    <a:lnTo>
                      <a:pt x="1284" y="138"/>
                    </a:lnTo>
                    <a:lnTo>
                      <a:pt x="1274" y="136"/>
                    </a:lnTo>
                    <a:lnTo>
                      <a:pt x="1260" y="130"/>
                    </a:lnTo>
                    <a:lnTo>
                      <a:pt x="1260" y="130"/>
                    </a:lnTo>
                    <a:lnTo>
                      <a:pt x="1244" y="126"/>
                    </a:lnTo>
                    <a:lnTo>
                      <a:pt x="1236" y="124"/>
                    </a:lnTo>
                    <a:lnTo>
                      <a:pt x="1226" y="118"/>
                    </a:lnTo>
                    <a:lnTo>
                      <a:pt x="1224" y="116"/>
                    </a:lnTo>
                    <a:lnTo>
                      <a:pt x="1220" y="114"/>
                    </a:lnTo>
                    <a:lnTo>
                      <a:pt x="1202" y="114"/>
                    </a:lnTo>
                    <a:lnTo>
                      <a:pt x="1202" y="114"/>
                    </a:lnTo>
                    <a:lnTo>
                      <a:pt x="1190" y="112"/>
                    </a:lnTo>
                    <a:lnTo>
                      <a:pt x="1186" y="110"/>
                    </a:lnTo>
                    <a:lnTo>
                      <a:pt x="1184" y="106"/>
                    </a:lnTo>
                    <a:lnTo>
                      <a:pt x="1182" y="102"/>
                    </a:lnTo>
                    <a:lnTo>
                      <a:pt x="1182" y="96"/>
                    </a:lnTo>
                    <a:lnTo>
                      <a:pt x="1182" y="90"/>
                    </a:lnTo>
                    <a:lnTo>
                      <a:pt x="1178" y="84"/>
                    </a:lnTo>
                    <a:lnTo>
                      <a:pt x="1170" y="78"/>
                    </a:lnTo>
                    <a:lnTo>
                      <a:pt x="1170" y="78"/>
                    </a:lnTo>
                    <a:lnTo>
                      <a:pt x="1162" y="74"/>
                    </a:lnTo>
                    <a:lnTo>
                      <a:pt x="1156" y="76"/>
                    </a:lnTo>
                    <a:lnTo>
                      <a:pt x="1152" y="82"/>
                    </a:lnTo>
                    <a:lnTo>
                      <a:pt x="1148" y="88"/>
                    </a:lnTo>
                    <a:lnTo>
                      <a:pt x="1144" y="96"/>
                    </a:lnTo>
                    <a:lnTo>
                      <a:pt x="1144" y="98"/>
                    </a:lnTo>
                    <a:lnTo>
                      <a:pt x="1142" y="94"/>
                    </a:lnTo>
                    <a:lnTo>
                      <a:pt x="1142" y="94"/>
                    </a:lnTo>
                    <a:lnTo>
                      <a:pt x="1140" y="84"/>
                    </a:lnTo>
                    <a:lnTo>
                      <a:pt x="1140" y="78"/>
                    </a:lnTo>
                    <a:lnTo>
                      <a:pt x="1142" y="74"/>
                    </a:lnTo>
                    <a:lnTo>
                      <a:pt x="1144" y="70"/>
                    </a:lnTo>
                    <a:lnTo>
                      <a:pt x="1150" y="66"/>
                    </a:lnTo>
                    <a:lnTo>
                      <a:pt x="1152" y="64"/>
                    </a:lnTo>
                    <a:lnTo>
                      <a:pt x="1152" y="64"/>
                    </a:lnTo>
                    <a:lnTo>
                      <a:pt x="1152" y="64"/>
                    </a:lnTo>
                    <a:lnTo>
                      <a:pt x="1132" y="54"/>
                    </a:lnTo>
                    <a:lnTo>
                      <a:pt x="1124" y="50"/>
                    </a:lnTo>
                    <a:lnTo>
                      <a:pt x="1108" y="50"/>
                    </a:lnTo>
                    <a:lnTo>
                      <a:pt x="1108" y="50"/>
                    </a:lnTo>
                    <a:lnTo>
                      <a:pt x="1100" y="50"/>
                    </a:lnTo>
                    <a:lnTo>
                      <a:pt x="1092" y="48"/>
                    </a:lnTo>
                    <a:lnTo>
                      <a:pt x="1084" y="42"/>
                    </a:lnTo>
                    <a:lnTo>
                      <a:pt x="1080" y="40"/>
                    </a:lnTo>
                    <a:lnTo>
                      <a:pt x="1076" y="40"/>
                    </a:lnTo>
                    <a:lnTo>
                      <a:pt x="1070" y="40"/>
                    </a:lnTo>
                    <a:lnTo>
                      <a:pt x="1062" y="44"/>
                    </a:lnTo>
                    <a:lnTo>
                      <a:pt x="1062" y="44"/>
                    </a:lnTo>
                    <a:lnTo>
                      <a:pt x="1058" y="48"/>
                    </a:lnTo>
                    <a:lnTo>
                      <a:pt x="1056" y="54"/>
                    </a:lnTo>
                    <a:lnTo>
                      <a:pt x="1054" y="58"/>
                    </a:lnTo>
                    <a:lnTo>
                      <a:pt x="1056" y="66"/>
                    </a:lnTo>
                    <a:lnTo>
                      <a:pt x="1060" y="80"/>
                    </a:lnTo>
                    <a:lnTo>
                      <a:pt x="1068" y="94"/>
                    </a:lnTo>
                    <a:lnTo>
                      <a:pt x="1084" y="120"/>
                    </a:lnTo>
                    <a:lnTo>
                      <a:pt x="1086" y="130"/>
                    </a:lnTo>
                    <a:lnTo>
                      <a:pt x="1086" y="132"/>
                    </a:lnTo>
                    <a:lnTo>
                      <a:pt x="1084" y="132"/>
                    </a:lnTo>
                    <a:lnTo>
                      <a:pt x="1084" y="132"/>
                    </a:lnTo>
                    <a:lnTo>
                      <a:pt x="1080" y="132"/>
                    </a:lnTo>
                    <a:lnTo>
                      <a:pt x="1076" y="130"/>
                    </a:lnTo>
                    <a:lnTo>
                      <a:pt x="1068" y="122"/>
                    </a:lnTo>
                    <a:lnTo>
                      <a:pt x="1048" y="96"/>
                    </a:lnTo>
                    <a:lnTo>
                      <a:pt x="1036" y="82"/>
                    </a:lnTo>
                    <a:lnTo>
                      <a:pt x="1026" y="72"/>
                    </a:lnTo>
                    <a:lnTo>
                      <a:pt x="1020" y="68"/>
                    </a:lnTo>
                    <a:lnTo>
                      <a:pt x="1014" y="66"/>
                    </a:lnTo>
                    <a:lnTo>
                      <a:pt x="1008" y="64"/>
                    </a:lnTo>
                    <a:lnTo>
                      <a:pt x="1004" y="66"/>
                    </a:lnTo>
                    <a:lnTo>
                      <a:pt x="1004" y="66"/>
                    </a:lnTo>
                    <a:lnTo>
                      <a:pt x="998" y="68"/>
                    </a:lnTo>
                    <a:lnTo>
                      <a:pt x="994" y="70"/>
                    </a:lnTo>
                    <a:lnTo>
                      <a:pt x="990" y="78"/>
                    </a:lnTo>
                    <a:lnTo>
                      <a:pt x="988" y="88"/>
                    </a:lnTo>
                    <a:lnTo>
                      <a:pt x="986" y="96"/>
                    </a:lnTo>
                    <a:lnTo>
                      <a:pt x="986" y="108"/>
                    </a:lnTo>
                    <a:lnTo>
                      <a:pt x="984" y="106"/>
                    </a:lnTo>
                    <a:lnTo>
                      <a:pt x="980" y="100"/>
                    </a:lnTo>
                    <a:lnTo>
                      <a:pt x="980" y="100"/>
                    </a:lnTo>
                    <a:lnTo>
                      <a:pt x="974" y="90"/>
                    </a:lnTo>
                    <a:lnTo>
                      <a:pt x="968" y="84"/>
                    </a:lnTo>
                    <a:lnTo>
                      <a:pt x="960" y="80"/>
                    </a:lnTo>
                    <a:lnTo>
                      <a:pt x="954" y="78"/>
                    </a:lnTo>
                    <a:lnTo>
                      <a:pt x="950" y="76"/>
                    </a:lnTo>
                    <a:lnTo>
                      <a:pt x="948" y="76"/>
                    </a:lnTo>
                    <a:lnTo>
                      <a:pt x="960" y="72"/>
                    </a:lnTo>
                    <a:lnTo>
                      <a:pt x="960" y="72"/>
                    </a:lnTo>
                    <a:lnTo>
                      <a:pt x="972" y="70"/>
                    </a:lnTo>
                    <a:lnTo>
                      <a:pt x="978" y="66"/>
                    </a:lnTo>
                    <a:lnTo>
                      <a:pt x="984" y="62"/>
                    </a:lnTo>
                    <a:lnTo>
                      <a:pt x="984" y="60"/>
                    </a:lnTo>
                    <a:lnTo>
                      <a:pt x="982" y="56"/>
                    </a:lnTo>
                    <a:lnTo>
                      <a:pt x="978" y="56"/>
                    </a:lnTo>
                    <a:lnTo>
                      <a:pt x="970" y="56"/>
                    </a:lnTo>
                    <a:lnTo>
                      <a:pt x="958" y="60"/>
                    </a:lnTo>
                    <a:lnTo>
                      <a:pt x="958" y="60"/>
                    </a:lnTo>
                    <a:lnTo>
                      <a:pt x="946" y="62"/>
                    </a:lnTo>
                    <a:lnTo>
                      <a:pt x="938" y="62"/>
                    </a:lnTo>
                    <a:lnTo>
                      <a:pt x="934" y="62"/>
                    </a:lnTo>
                    <a:lnTo>
                      <a:pt x="930" y="58"/>
                    </a:lnTo>
                    <a:lnTo>
                      <a:pt x="928" y="56"/>
                    </a:lnTo>
                    <a:lnTo>
                      <a:pt x="926" y="56"/>
                    </a:lnTo>
                    <a:lnTo>
                      <a:pt x="922" y="58"/>
                    </a:lnTo>
                    <a:lnTo>
                      <a:pt x="916" y="60"/>
                    </a:lnTo>
                    <a:lnTo>
                      <a:pt x="916" y="60"/>
                    </a:lnTo>
                    <a:lnTo>
                      <a:pt x="908" y="64"/>
                    </a:lnTo>
                    <a:lnTo>
                      <a:pt x="904" y="64"/>
                    </a:lnTo>
                    <a:lnTo>
                      <a:pt x="902" y="64"/>
                    </a:lnTo>
                    <a:lnTo>
                      <a:pt x="900" y="60"/>
                    </a:lnTo>
                    <a:lnTo>
                      <a:pt x="896" y="58"/>
                    </a:lnTo>
                    <a:lnTo>
                      <a:pt x="892" y="58"/>
                    </a:lnTo>
                    <a:lnTo>
                      <a:pt x="884" y="60"/>
                    </a:lnTo>
                    <a:lnTo>
                      <a:pt x="874" y="64"/>
                    </a:lnTo>
                    <a:lnTo>
                      <a:pt x="874" y="64"/>
                    </a:lnTo>
                    <a:lnTo>
                      <a:pt x="862" y="72"/>
                    </a:lnTo>
                    <a:lnTo>
                      <a:pt x="856" y="78"/>
                    </a:lnTo>
                    <a:lnTo>
                      <a:pt x="854" y="82"/>
                    </a:lnTo>
                    <a:lnTo>
                      <a:pt x="854" y="88"/>
                    </a:lnTo>
                    <a:lnTo>
                      <a:pt x="858" y="92"/>
                    </a:lnTo>
                    <a:lnTo>
                      <a:pt x="862" y="98"/>
                    </a:lnTo>
                    <a:lnTo>
                      <a:pt x="872" y="112"/>
                    </a:lnTo>
                    <a:lnTo>
                      <a:pt x="872" y="112"/>
                    </a:lnTo>
                    <a:lnTo>
                      <a:pt x="878" y="116"/>
                    </a:lnTo>
                    <a:lnTo>
                      <a:pt x="884" y="118"/>
                    </a:lnTo>
                    <a:lnTo>
                      <a:pt x="890" y="114"/>
                    </a:lnTo>
                    <a:lnTo>
                      <a:pt x="894" y="110"/>
                    </a:lnTo>
                    <a:lnTo>
                      <a:pt x="902" y="104"/>
                    </a:lnTo>
                    <a:lnTo>
                      <a:pt x="902" y="104"/>
                    </a:lnTo>
                    <a:lnTo>
                      <a:pt x="902" y="108"/>
                    </a:lnTo>
                    <a:lnTo>
                      <a:pt x="902" y="108"/>
                    </a:lnTo>
                    <a:close/>
                    <a:moveTo>
                      <a:pt x="1272" y="818"/>
                    </a:moveTo>
                    <a:lnTo>
                      <a:pt x="1272" y="818"/>
                    </a:lnTo>
                    <a:lnTo>
                      <a:pt x="1272" y="818"/>
                    </a:lnTo>
                    <a:lnTo>
                      <a:pt x="1272" y="816"/>
                    </a:lnTo>
                    <a:lnTo>
                      <a:pt x="1270" y="814"/>
                    </a:lnTo>
                    <a:lnTo>
                      <a:pt x="1266" y="812"/>
                    </a:lnTo>
                    <a:lnTo>
                      <a:pt x="1264" y="814"/>
                    </a:lnTo>
                    <a:lnTo>
                      <a:pt x="1264" y="814"/>
                    </a:lnTo>
                    <a:lnTo>
                      <a:pt x="1264" y="818"/>
                    </a:lnTo>
                    <a:lnTo>
                      <a:pt x="1264" y="820"/>
                    </a:lnTo>
                    <a:lnTo>
                      <a:pt x="1272" y="818"/>
                    </a:lnTo>
                    <a:lnTo>
                      <a:pt x="1272" y="818"/>
                    </a:lnTo>
                    <a:close/>
                    <a:moveTo>
                      <a:pt x="1168" y="848"/>
                    </a:moveTo>
                    <a:lnTo>
                      <a:pt x="1168" y="848"/>
                    </a:lnTo>
                    <a:lnTo>
                      <a:pt x="1176" y="848"/>
                    </a:lnTo>
                    <a:lnTo>
                      <a:pt x="1180" y="848"/>
                    </a:lnTo>
                    <a:lnTo>
                      <a:pt x="1182" y="844"/>
                    </a:lnTo>
                    <a:lnTo>
                      <a:pt x="1182" y="844"/>
                    </a:lnTo>
                    <a:lnTo>
                      <a:pt x="1184" y="840"/>
                    </a:lnTo>
                    <a:lnTo>
                      <a:pt x="1190" y="836"/>
                    </a:lnTo>
                    <a:lnTo>
                      <a:pt x="1192" y="834"/>
                    </a:lnTo>
                    <a:lnTo>
                      <a:pt x="1192" y="832"/>
                    </a:lnTo>
                    <a:lnTo>
                      <a:pt x="1192" y="830"/>
                    </a:lnTo>
                    <a:lnTo>
                      <a:pt x="1188" y="828"/>
                    </a:lnTo>
                    <a:lnTo>
                      <a:pt x="1188" y="828"/>
                    </a:lnTo>
                    <a:lnTo>
                      <a:pt x="1182" y="826"/>
                    </a:lnTo>
                    <a:lnTo>
                      <a:pt x="1180" y="826"/>
                    </a:lnTo>
                    <a:lnTo>
                      <a:pt x="1180" y="828"/>
                    </a:lnTo>
                    <a:lnTo>
                      <a:pt x="1176" y="830"/>
                    </a:lnTo>
                    <a:lnTo>
                      <a:pt x="1176" y="830"/>
                    </a:lnTo>
                    <a:lnTo>
                      <a:pt x="1174" y="830"/>
                    </a:lnTo>
                    <a:lnTo>
                      <a:pt x="1172" y="832"/>
                    </a:lnTo>
                    <a:lnTo>
                      <a:pt x="1172" y="832"/>
                    </a:lnTo>
                    <a:lnTo>
                      <a:pt x="1170" y="832"/>
                    </a:lnTo>
                    <a:lnTo>
                      <a:pt x="1170" y="832"/>
                    </a:lnTo>
                    <a:lnTo>
                      <a:pt x="1166" y="832"/>
                    </a:lnTo>
                    <a:lnTo>
                      <a:pt x="1164" y="832"/>
                    </a:lnTo>
                    <a:lnTo>
                      <a:pt x="1162" y="834"/>
                    </a:lnTo>
                    <a:lnTo>
                      <a:pt x="1162" y="838"/>
                    </a:lnTo>
                    <a:lnTo>
                      <a:pt x="1162" y="838"/>
                    </a:lnTo>
                    <a:lnTo>
                      <a:pt x="1160" y="842"/>
                    </a:lnTo>
                    <a:lnTo>
                      <a:pt x="1156" y="842"/>
                    </a:lnTo>
                    <a:lnTo>
                      <a:pt x="1154" y="842"/>
                    </a:lnTo>
                    <a:lnTo>
                      <a:pt x="1152" y="844"/>
                    </a:lnTo>
                    <a:lnTo>
                      <a:pt x="1152" y="844"/>
                    </a:lnTo>
                    <a:lnTo>
                      <a:pt x="1152" y="846"/>
                    </a:lnTo>
                    <a:lnTo>
                      <a:pt x="1154" y="848"/>
                    </a:lnTo>
                    <a:lnTo>
                      <a:pt x="1168" y="848"/>
                    </a:lnTo>
                    <a:lnTo>
                      <a:pt x="1168" y="848"/>
                    </a:lnTo>
                    <a:close/>
                    <a:moveTo>
                      <a:pt x="1214" y="822"/>
                    </a:moveTo>
                    <a:lnTo>
                      <a:pt x="1214" y="822"/>
                    </a:lnTo>
                    <a:lnTo>
                      <a:pt x="1218" y="816"/>
                    </a:lnTo>
                    <a:lnTo>
                      <a:pt x="1218" y="814"/>
                    </a:lnTo>
                    <a:lnTo>
                      <a:pt x="1216" y="814"/>
                    </a:lnTo>
                    <a:lnTo>
                      <a:pt x="1216" y="814"/>
                    </a:lnTo>
                    <a:lnTo>
                      <a:pt x="1212" y="812"/>
                    </a:lnTo>
                    <a:lnTo>
                      <a:pt x="1208" y="814"/>
                    </a:lnTo>
                    <a:lnTo>
                      <a:pt x="1206" y="814"/>
                    </a:lnTo>
                    <a:lnTo>
                      <a:pt x="1202" y="812"/>
                    </a:lnTo>
                    <a:lnTo>
                      <a:pt x="1202" y="812"/>
                    </a:lnTo>
                    <a:lnTo>
                      <a:pt x="1198" y="810"/>
                    </a:lnTo>
                    <a:lnTo>
                      <a:pt x="1198" y="810"/>
                    </a:lnTo>
                    <a:lnTo>
                      <a:pt x="1196" y="812"/>
                    </a:lnTo>
                    <a:lnTo>
                      <a:pt x="1192" y="814"/>
                    </a:lnTo>
                    <a:lnTo>
                      <a:pt x="1192" y="814"/>
                    </a:lnTo>
                    <a:lnTo>
                      <a:pt x="1190" y="814"/>
                    </a:lnTo>
                    <a:lnTo>
                      <a:pt x="1188" y="814"/>
                    </a:lnTo>
                    <a:lnTo>
                      <a:pt x="1188" y="816"/>
                    </a:lnTo>
                    <a:lnTo>
                      <a:pt x="1184" y="820"/>
                    </a:lnTo>
                    <a:lnTo>
                      <a:pt x="1184" y="820"/>
                    </a:lnTo>
                    <a:lnTo>
                      <a:pt x="1182" y="822"/>
                    </a:lnTo>
                    <a:lnTo>
                      <a:pt x="1184" y="824"/>
                    </a:lnTo>
                    <a:lnTo>
                      <a:pt x="1190" y="824"/>
                    </a:lnTo>
                    <a:lnTo>
                      <a:pt x="1196" y="828"/>
                    </a:lnTo>
                    <a:lnTo>
                      <a:pt x="1196" y="828"/>
                    </a:lnTo>
                    <a:lnTo>
                      <a:pt x="1200" y="830"/>
                    </a:lnTo>
                    <a:lnTo>
                      <a:pt x="1204" y="830"/>
                    </a:lnTo>
                    <a:lnTo>
                      <a:pt x="1214" y="822"/>
                    </a:lnTo>
                    <a:lnTo>
                      <a:pt x="1214" y="822"/>
                    </a:lnTo>
                    <a:close/>
                    <a:moveTo>
                      <a:pt x="1352" y="792"/>
                    </a:moveTo>
                    <a:lnTo>
                      <a:pt x="1352" y="792"/>
                    </a:lnTo>
                    <a:lnTo>
                      <a:pt x="1348" y="790"/>
                    </a:lnTo>
                    <a:lnTo>
                      <a:pt x="1344" y="788"/>
                    </a:lnTo>
                    <a:lnTo>
                      <a:pt x="1338" y="788"/>
                    </a:lnTo>
                    <a:lnTo>
                      <a:pt x="1330" y="790"/>
                    </a:lnTo>
                    <a:lnTo>
                      <a:pt x="1330" y="790"/>
                    </a:lnTo>
                    <a:lnTo>
                      <a:pt x="1328" y="792"/>
                    </a:lnTo>
                    <a:lnTo>
                      <a:pt x="1330" y="794"/>
                    </a:lnTo>
                    <a:lnTo>
                      <a:pt x="1340" y="798"/>
                    </a:lnTo>
                    <a:lnTo>
                      <a:pt x="1350" y="796"/>
                    </a:lnTo>
                    <a:lnTo>
                      <a:pt x="1352" y="796"/>
                    </a:lnTo>
                    <a:lnTo>
                      <a:pt x="1352" y="792"/>
                    </a:lnTo>
                    <a:lnTo>
                      <a:pt x="1352" y="792"/>
                    </a:lnTo>
                    <a:close/>
                    <a:moveTo>
                      <a:pt x="1326" y="780"/>
                    </a:moveTo>
                    <a:lnTo>
                      <a:pt x="1326" y="780"/>
                    </a:lnTo>
                    <a:lnTo>
                      <a:pt x="1330" y="778"/>
                    </a:lnTo>
                    <a:lnTo>
                      <a:pt x="1334" y="776"/>
                    </a:lnTo>
                    <a:lnTo>
                      <a:pt x="1338" y="776"/>
                    </a:lnTo>
                    <a:lnTo>
                      <a:pt x="1342" y="776"/>
                    </a:lnTo>
                    <a:lnTo>
                      <a:pt x="1342" y="776"/>
                    </a:lnTo>
                    <a:lnTo>
                      <a:pt x="1346" y="778"/>
                    </a:lnTo>
                    <a:lnTo>
                      <a:pt x="1350" y="776"/>
                    </a:lnTo>
                    <a:lnTo>
                      <a:pt x="1364" y="766"/>
                    </a:lnTo>
                    <a:lnTo>
                      <a:pt x="1364" y="766"/>
                    </a:lnTo>
                    <a:lnTo>
                      <a:pt x="1372" y="760"/>
                    </a:lnTo>
                    <a:lnTo>
                      <a:pt x="1372" y="758"/>
                    </a:lnTo>
                    <a:lnTo>
                      <a:pt x="1372" y="756"/>
                    </a:lnTo>
                    <a:lnTo>
                      <a:pt x="1368" y="756"/>
                    </a:lnTo>
                    <a:lnTo>
                      <a:pt x="1362" y="756"/>
                    </a:lnTo>
                    <a:lnTo>
                      <a:pt x="1362" y="756"/>
                    </a:lnTo>
                    <a:lnTo>
                      <a:pt x="1356" y="758"/>
                    </a:lnTo>
                    <a:lnTo>
                      <a:pt x="1358" y="760"/>
                    </a:lnTo>
                    <a:lnTo>
                      <a:pt x="1358" y="762"/>
                    </a:lnTo>
                    <a:lnTo>
                      <a:pt x="1356" y="764"/>
                    </a:lnTo>
                    <a:lnTo>
                      <a:pt x="1356" y="764"/>
                    </a:lnTo>
                    <a:lnTo>
                      <a:pt x="1350" y="762"/>
                    </a:lnTo>
                    <a:lnTo>
                      <a:pt x="1348" y="762"/>
                    </a:lnTo>
                    <a:lnTo>
                      <a:pt x="1346" y="762"/>
                    </a:lnTo>
                    <a:lnTo>
                      <a:pt x="1342" y="766"/>
                    </a:lnTo>
                    <a:lnTo>
                      <a:pt x="1342" y="766"/>
                    </a:lnTo>
                    <a:lnTo>
                      <a:pt x="1342" y="770"/>
                    </a:lnTo>
                    <a:lnTo>
                      <a:pt x="1340" y="768"/>
                    </a:lnTo>
                    <a:lnTo>
                      <a:pt x="1338" y="766"/>
                    </a:lnTo>
                    <a:lnTo>
                      <a:pt x="1332" y="766"/>
                    </a:lnTo>
                    <a:lnTo>
                      <a:pt x="1332" y="766"/>
                    </a:lnTo>
                    <a:lnTo>
                      <a:pt x="1318" y="770"/>
                    </a:lnTo>
                    <a:lnTo>
                      <a:pt x="1314" y="774"/>
                    </a:lnTo>
                    <a:lnTo>
                      <a:pt x="1318" y="776"/>
                    </a:lnTo>
                    <a:lnTo>
                      <a:pt x="1318" y="776"/>
                    </a:lnTo>
                    <a:lnTo>
                      <a:pt x="1320" y="776"/>
                    </a:lnTo>
                    <a:lnTo>
                      <a:pt x="1322" y="778"/>
                    </a:lnTo>
                    <a:lnTo>
                      <a:pt x="1320" y="780"/>
                    </a:lnTo>
                    <a:lnTo>
                      <a:pt x="1320" y="780"/>
                    </a:lnTo>
                    <a:lnTo>
                      <a:pt x="1326" y="780"/>
                    </a:lnTo>
                    <a:lnTo>
                      <a:pt x="1326" y="780"/>
                    </a:lnTo>
                    <a:close/>
                    <a:moveTo>
                      <a:pt x="1414" y="220"/>
                    </a:moveTo>
                    <a:lnTo>
                      <a:pt x="1414" y="220"/>
                    </a:lnTo>
                    <a:lnTo>
                      <a:pt x="1408" y="216"/>
                    </a:lnTo>
                    <a:lnTo>
                      <a:pt x="1402" y="216"/>
                    </a:lnTo>
                    <a:lnTo>
                      <a:pt x="1392" y="218"/>
                    </a:lnTo>
                    <a:lnTo>
                      <a:pt x="1388" y="220"/>
                    </a:lnTo>
                    <a:lnTo>
                      <a:pt x="1382" y="220"/>
                    </a:lnTo>
                    <a:lnTo>
                      <a:pt x="1374" y="218"/>
                    </a:lnTo>
                    <a:lnTo>
                      <a:pt x="1364" y="214"/>
                    </a:lnTo>
                    <a:lnTo>
                      <a:pt x="1364" y="214"/>
                    </a:lnTo>
                    <a:lnTo>
                      <a:pt x="1356" y="208"/>
                    </a:lnTo>
                    <a:lnTo>
                      <a:pt x="1354" y="204"/>
                    </a:lnTo>
                    <a:lnTo>
                      <a:pt x="1356" y="200"/>
                    </a:lnTo>
                    <a:lnTo>
                      <a:pt x="1360" y="198"/>
                    </a:lnTo>
                    <a:lnTo>
                      <a:pt x="1370" y="194"/>
                    </a:lnTo>
                    <a:lnTo>
                      <a:pt x="1370" y="192"/>
                    </a:lnTo>
                    <a:lnTo>
                      <a:pt x="1366" y="190"/>
                    </a:lnTo>
                    <a:lnTo>
                      <a:pt x="1366" y="190"/>
                    </a:lnTo>
                    <a:lnTo>
                      <a:pt x="1354" y="188"/>
                    </a:lnTo>
                    <a:lnTo>
                      <a:pt x="1336" y="188"/>
                    </a:lnTo>
                    <a:lnTo>
                      <a:pt x="1316" y="188"/>
                    </a:lnTo>
                    <a:lnTo>
                      <a:pt x="1296" y="190"/>
                    </a:lnTo>
                    <a:lnTo>
                      <a:pt x="1280" y="194"/>
                    </a:lnTo>
                    <a:lnTo>
                      <a:pt x="1274" y="196"/>
                    </a:lnTo>
                    <a:lnTo>
                      <a:pt x="1270" y="198"/>
                    </a:lnTo>
                    <a:lnTo>
                      <a:pt x="1270" y="202"/>
                    </a:lnTo>
                    <a:lnTo>
                      <a:pt x="1272" y="204"/>
                    </a:lnTo>
                    <a:lnTo>
                      <a:pt x="1276" y="208"/>
                    </a:lnTo>
                    <a:lnTo>
                      <a:pt x="1286" y="212"/>
                    </a:lnTo>
                    <a:lnTo>
                      <a:pt x="1286" y="212"/>
                    </a:lnTo>
                    <a:lnTo>
                      <a:pt x="1292" y="214"/>
                    </a:lnTo>
                    <a:lnTo>
                      <a:pt x="1292" y="216"/>
                    </a:lnTo>
                    <a:lnTo>
                      <a:pt x="1292" y="218"/>
                    </a:lnTo>
                    <a:lnTo>
                      <a:pt x="1286" y="224"/>
                    </a:lnTo>
                    <a:lnTo>
                      <a:pt x="1272" y="236"/>
                    </a:lnTo>
                    <a:lnTo>
                      <a:pt x="1272" y="236"/>
                    </a:lnTo>
                    <a:lnTo>
                      <a:pt x="1264" y="242"/>
                    </a:lnTo>
                    <a:lnTo>
                      <a:pt x="1262" y="246"/>
                    </a:lnTo>
                    <a:lnTo>
                      <a:pt x="1264" y="248"/>
                    </a:lnTo>
                    <a:lnTo>
                      <a:pt x="1270" y="250"/>
                    </a:lnTo>
                    <a:lnTo>
                      <a:pt x="1288" y="250"/>
                    </a:lnTo>
                    <a:lnTo>
                      <a:pt x="1314" y="246"/>
                    </a:lnTo>
                    <a:lnTo>
                      <a:pt x="1314" y="246"/>
                    </a:lnTo>
                    <a:lnTo>
                      <a:pt x="1324" y="248"/>
                    </a:lnTo>
                    <a:lnTo>
                      <a:pt x="1328" y="248"/>
                    </a:lnTo>
                    <a:lnTo>
                      <a:pt x="1328" y="250"/>
                    </a:lnTo>
                    <a:lnTo>
                      <a:pt x="1328" y="256"/>
                    </a:lnTo>
                    <a:lnTo>
                      <a:pt x="1328" y="260"/>
                    </a:lnTo>
                    <a:lnTo>
                      <a:pt x="1326" y="264"/>
                    </a:lnTo>
                    <a:lnTo>
                      <a:pt x="1326" y="266"/>
                    </a:lnTo>
                    <a:lnTo>
                      <a:pt x="1328" y="266"/>
                    </a:lnTo>
                    <a:lnTo>
                      <a:pt x="1336" y="266"/>
                    </a:lnTo>
                    <a:lnTo>
                      <a:pt x="1350" y="260"/>
                    </a:lnTo>
                    <a:lnTo>
                      <a:pt x="1350" y="260"/>
                    </a:lnTo>
                    <a:lnTo>
                      <a:pt x="1376" y="250"/>
                    </a:lnTo>
                    <a:lnTo>
                      <a:pt x="1402" y="238"/>
                    </a:lnTo>
                    <a:lnTo>
                      <a:pt x="1412" y="234"/>
                    </a:lnTo>
                    <a:lnTo>
                      <a:pt x="1418" y="228"/>
                    </a:lnTo>
                    <a:lnTo>
                      <a:pt x="1420" y="226"/>
                    </a:lnTo>
                    <a:lnTo>
                      <a:pt x="1420" y="224"/>
                    </a:lnTo>
                    <a:lnTo>
                      <a:pt x="1418" y="222"/>
                    </a:lnTo>
                    <a:lnTo>
                      <a:pt x="1414" y="220"/>
                    </a:lnTo>
                    <a:lnTo>
                      <a:pt x="1414" y="220"/>
                    </a:lnTo>
                    <a:close/>
                    <a:moveTo>
                      <a:pt x="1370" y="792"/>
                    </a:moveTo>
                    <a:lnTo>
                      <a:pt x="1370" y="792"/>
                    </a:lnTo>
                    <a:lnTo>
                      <a:pt x="1378" y="782"/>
                    </a:lnTo>
                    <a:lnTo>
                      <a:pt x="1380" y="776"/>
                    </a:lnTo>
                    <a:lnTo>
                      <a:pt x="1378" y="774"/>
                    </a:lnTo>
                    <a:lnTo>
                      <a:pt x="1376" y="772"/>
                    </a:lnTo>
                    <a:lnTo>
                      <a:pt x="1376" y="772"/>
                    </a:lnTo>
                    <a:lnTo>
                      <a:pt x="1372" y="770"/>
                    </a:lnTo>
                    <a:lnTo>
                      <a:pt x="1372" y="770"/>
                    </a:lnTo>
                    <a:lnTo>
                      <a:pt x="1370" y="774"/>
                    </a:lnTo>
                    <a:lnTo>
                      <a:pt x="1362" y="776"/>
                    </a:lnTo>
                    <a:lnTo>
                      <a:pt x="1362" y="776"/>
                    </a:lnTo>
                    <a:lnTo>
                      <a:pt x="1354" y="780"/>
                    </a:lnTo>
                    <a:lnTo>
                      <a:pt x="1350" y="784"/>
                    </a:lnTo>
                    <a:lnTo>
                      <a:pt x="1350" y="786"/>
                    </a:lnTo>
                    <a:lnTo>
                      <a:pt x="1350" y="788"/>
                    </a:lnTo>
                    <a:lnTo>
                      <a:pt x="1356" y="792"/>
                    </a:lnTo>
                    <a:lnTo>
                      <a:pt x="1356" y="792"/>
                    </a:lnTo>
                    <a:lnTo>
                      <a:pt x="1364" y="794"/>
                    </a:lnTo>
                    <a:lnTo>
                      <a:pt x="1366" y="794"/>
                    </a:lnTo>
                    <a:lnTo>
                      <a:pt x="1370" y="792"/>
                    </a:lnTo>
                    <a:lnTo>
                      <a:pt x="1370" y="792"/>
                    </a:lnTo>
                    <a:close/>
                    <a:moveTo>
                      <a:pt x="1388" y="762"/>
                    </a:moveTo>
                    <a:lnTo>
                      <a:pt x="1388" y="762"/>
                    </a:lnTo>
                    <a:lnTo>
                      <a:pt x="1384" y="762"/>
                    </a:lnTo>
                    <a:lnTo>
                      <a:pt x="1380" y="764"/>
                    </a:lnTo>
                    <a:lnTo>
                      <a:pt x="1380" y="766"/>
                    </a:lnTo>
                    <a:lnTo>
                      <a:pt x="1380" y="770"/>
                    </a:lnTo>
                    <a:lnTo>
                      <a:pt x="1384" y="776"/>
                    </a:lnTo>
                    <a:lnTo>
                      <a:pt x="1386" y="778"/>
                    </a:lnTo>
                    <a:lnTo>
                      <a:pt x="1388" y="778"/>
                    </a:lnTo>
                    <a:lnTo>
                      <a:pt x="1388" y="778"/>
                    </a:lnTo>
                    <a:lnTo>
                      <a:pt x="1394" y="776"/>
                    </a:lnTo>
                    <a:lnTo>
                      <a:pt x="1396" y="772"/>
                    </a:lnTo>
                    <a:lnTo>
                      <a:pt x="1396" y="770"/>
                    </a:lnTo>
                    <a:lnTo>
                      <a:pt x="1396" y="766"/>
                    </a:lnTo>
                    <a:lnTo>
                      <a:pt x="1392" y="764"/>
                    </a:lnTo>
                    <a:lnTo>
                      <a:pt x="1388" y="762"/>
                    </a:lnTo>
                    <a:lnTo>
                      <a:pt x="1388" y="762"/>
                    </a:lnTo>
                    <a:close/>
                    <a:moveTo>
                      <a:pt x="1264" y="804"/>
                    </a:moveTo>
                    <a:lnTo>
                      <a:pt x="1264" y="804"/>
                    </a:lnTo>
                    <a:lnTo>
                      <a:pt x="1264" y="800"/>
                    </a:lnTo>
                    <a:lnTo>
                      <a:pt x="1262" y="798"/>
                    </a:lnTo>
                    <a:lnTo>
                      <a:pt x="1258" y="798"/>
                    </a:lnTo>
                    <a:lnTo>
                      <a:pt x="1252" y="802"/>
                    </a:lnTo>
                    <a:lnTo>
                      <a:pt x="1252" y="802"/>
                    </a:lnTo>
                    <a:lnTo>
                      <a:pt x="1248" y="804"/>
                    </a:lnTo>
                    <a:lnTo>
                      <a:pt x="1248" y="808"/>
                    </a:lnTo>
                    <a:lnTo>
                      <a:pt x="1250" y="810"/>
                    </a:lnTo>
                    <a:lnTo>
                      <a:pt x="1254" y="812"/>
                    </a:lnTo>
                    <a:lnTo>
                      <a:pt x="1254" y="812"/>
                    </a:lnTo>
                    <a:lnTo>
                      <a:pt x="1260" y="814"/>
                    </a:lnTo>
                    <a:lnTo>
                      <a:pt x="1262" y="812"/>
                    </a:lnTo>
                    <a:lnTo>
                      <a:pt x="1264" y="804"/>
                    </a:lnTo>
                    <a:lnTo>
                      <a:pt x="1264" y="804"/>
                    </a:lnTo>
                    <a:close/>
                    <a:moveTo>
                      <a:pt x="1102" y="904"/>
                    </a:moveTo>
                    <a:lnTo>
                      <a:pt x="1102" y="904"/>
                    </a:lnTo>
                    <a:lnTo>
                      <a:pt x="1102" y="908"/>
                    </a:lnTo>
                    <a:lnTo>
                      <a:pt x="1104" y="908"/>
                    </a:lnTo>
                    <a:lnTo>
                      <a:pt x="1112" y="908"/>
                    </a:lnTo>
                    <a:lnTo>
                      <a:pt x="1112" y="908"/>
                    </a:lnTo>
                    <a:lnTo>
                      <a:pt x="1114" y="906"/>
                    </a:lnTo>
                    <a:lnTo>
                      <a:pt x="1114" y="906"/>
                    </a:lnTo>
                    <a:lnTo>
                      <a:pt x="1112" y="902"/>
                    </a:lnTo>
                    <a:lnTo>
                      <a:pt x="1106" y="902"/>
                    </a:lnTo>
                    <a:lnTo>
                      <a:pt x="1104" y="902"/>
                    </a:lnTo>
                    <a:lnTo>
                      <a:pt x="1102" y="904"/>
                    </a:lnTo>
                    <a:lnTo>
                      <a:pt x="1102" y="904"/>
                    </a:lnTo>
                    <a:close/>
                    <a:moveTo>
                      <a:pt x="1116" y="898"/>
                    </a:moveTo>
                    <a:lnTo>
                      <a:pt x="1116" y="898"/>
                    </a:lnTo>
                    <a:lnTo>
                      <a:pt x="1120" y="900"/>
                    </a:lnTo>
                    <a:lnTo>
                      <a:pt x="1122" y="898"/>
                    </a:lnTo>
                    <a:lnTo>
                      <a:pt x="1124" y="896"/>
                    </a:lnTo>
                    <a:lnTo>
                      <a:pt x="1124" y="894"/>
                    </a:lnTo>
                    <a:lnTo>
                      <a:pt x="1124" y="894"/>
                    </a:lnTo>
                    <a:lnTo>
                      <a:pt x="1120" y="892"/>
                    </a:lnTo>
                    <a:lnTo>
                      <a:pt x="1116" y="894"/>
                    </a:lnTo>
                    <a:lnTo>
                      <a:pt x="1114" y="896"/>
                    </a:lnTo>
                    <a:lnTo>
                      <a:pt x="1116" y="898"/>
                    </a:lnTo>
                    <a:lnTo>
                      <a:pt x="1116" y="898"/>
                    </a:lnTo>
                    <a:close/>
                    <a:moveTo>
                      <a:pt x="1150" y="850"/>
                    </a:moveTo>
                    <a:lnTo>
                      <a:pt x="1150" y="850"/>
                    </a:lnTo>
                    <a:lnTo>
                      <a:pt x="1148" y="850"/>
                    </a:lnTo>
                    <a:lnTo>
                      <a:pt x="1148" y="848"/>
                    </a:lnTo>
                    <a:lnTo>
                      <a:pt x="1146" y="846"/>
                    </a:lnTo>
                    <a:lnTo>
                      <a:pt x="1144" y="846"/>
                    </a:lnTo>
                    <a:lnTo>
                      <a:pt x="1144" y="846"/>
                    </a:lnTo>
                    <a:lnTo>
                      <a:pt x="1142" y="848"/>
                    </a:lnTo>
                    <a:lnTo>
                      <a:pt x="1140" y="846"/>
                    </a:lnTo>
                    <a:lnTo>
                      <a:pt x="1138" y="844"/>
                    </a:lnTo>
                    <a:lnTo>
                      <a:pt x="1136" y="846"/>
                    </a:lnTo>
                    <a:lnTo>
                      <a:pt x="1136" y="846"/>
                    </a:lnTo>
                    <a:lnTo>
                      <a:pt x="1136" y="848"/>
                    </a:lnTo>
                    <a:lnTo>
                      <a:pt x="1132" y="848"/>
                    </a:lnTo>
                    <a:lnTo>
                      <a:pt x="1130" y="846"/>
                    </a:lnTo>
                    <a:lnTo>
                      <a:pt x="1130" y="850"/>
                    </a:lnTo>
                    <a:lnTo>
                      <a:pt x="1130" y="850"/>
                    </a:lnTo>
                    <a:lnTo>
                      <a:pt x="1130" y="852"/>
                    </a:lnTo>
                    <a:lnTo>
                      <a:pt x="1128" y="850"/>
                    </a:lnTo>
                    <a:lnTo>
                      <a:pt x="1124" y="850"/>
                    </a:lnTo>
                    <a:lnTo>
                      <a:pt x="1120" y="850"/>
                    </a:lnTo>
                    <a:lnTo>
                      <a:pt x="1120" y="850"/>
                    </a:lnTo>
                    <a:lnTo>
                      <a:pt x="1118" y="854"/>
                    </a:lnTo>
                    <a:lnTo>
                      <a:pt x="1120" y="856"/>
                    </a:lnTo>
                    <a:lnTo>
                      <a:pt x="1124" y="856"/>
                    </a:lnTo>
                    <a:lnTo>
                      <a:pt x="1124" y="858"/>
                    </a:lnTo>
                    <a:lnTo>
                      <a:pt x="1124" y="858"/>
                    </a:lnTo>
                    <a:lnTo>
                      <a:pt x="1120" y="860"/>
                    </a:lnTo>
                    <a:lnTo>
                      <a:pt x="1114" y="860"/>
                    </a:lnTo>
                    <a:lnTo>
                      <a:pt x="1108" y="860"/>
                    </a:lnTo>
                    <a:lnTo>
                      <a:pt x="1108" y="862"/>
                    </a:lnTo>
                    <a:lnTo>
                      <a:pt x="1110" y="862"/>
                    </a:lnTo>
                    <a:lnTo>
                      <a:pt x="1110" y="862"/>
                    </a:lnTo>
                    <a:lnTo>
                      <a:pt x="1110" y="864"/>
                    </a:lnTo>
                    <a:lnTo>
                      <a:pt x="1108" y="866"/>
                    </a:lnTo>
                    <a:lnTo>
                      <a:pt x="1106" y="866"/>
                    </a:lnTo>
                    <a:lnTo>
                      <a:pt x="1108" y="868"/>
                    </a:lnTo>
                    <a:lnTo>
                      <a:pt x="1108" y="868"/>
                    </a:lnTo>
                    <a:lnTo>
                      <a:pt x="1110" y="870"/>
                    </a:lnTo>
                    <a:lnTo>
                      <a:pt x="1108" y="870"/>
                    </a:lnTo>
                    <a:lnTo>
                      <a:pt x="1108" y="872"/>
                    </a:lnTo>
                    <a:lnTo>
                      <a:pt x="1108" y="874"/>
                    </a:lnTo>
                    <a:lnTo>
                      <a:pt x="1108" y="874"/>
                    </a:lnTo>
                    <a:lnTo>
                      <a:pt x="1108" y="876"/>
                    </a:lnTo>
                    <a:lnTo>
                      <a:pt x="1108" y="878"/>
                    </a:lnTo>
                    <a:lnTo>
                      <a:pt x="1106" y="880"/>
                    </a:lnTo>
                    <a:lnTo>
                      <a:pt x="1104" y="882"/>
                    </a:lnTo>
                    <a:lnTo>
                      <a:pt x="1108" y="884"/>
                    </a:lnTo>
                    <a:lnTo>
                      <a:pt x="1108" y="884"/>
                    </a:lnTo>
                    <a:lnTo>
                      <a:pt x="1114" y="884"/>
                    </a:lnTo>
                    <a:lnTo>
                      <a:pt x="1114" y="886"/>
                    </a:lnTo>
                    <a:lnTo>
                      <a:pt x="1114" y="888"/>
                    </a:lnTo>
                    <a:lnTo>
                      <a:pt x="1116" y="888"/>
                    </a:lnTo>
                    <a:lnTo>
                      <a:pt x="1116" y="888"/>
                    </a:lnTo>
                    <a:lnTo>
                      <a:pt x="1120" y="884"/>
                    </a:lnTo>
                    <a:lnTo>
                      <a:pt x="1122" y="880"/>
                    </a:lnTo>
                    <a:lnTo>
                      <a:pt x="1126" y="876"/>
                    </a:lnTo>
                    <a:lnTo>
                      <a:pt x="1130" y="874"/>
                    </a:lnTo>
                    <a:lnTo>
                      <a:pt x="1130" y="874"/>
                    </a:lnTo>
                    <a:lnTo>
                      <a:pt x="1132" y="876"/>
                    </a:lnTo>
                    <a:lnTo>
                      <a:pt x="1132" y="878"/>
                    </a:lnTo>
                    <a:lnTo>
                      <a:pt x="1134" y="878"/>
                    </a:lnTo>
                    <a:lnTo>
                      <a:pt x="1142" y="878"/>
                    </a:lnTo>
                    <a:lnTo>
                      <a:pt x="1142" y="878"/>
                    </a:lnTo>
                    <a:lnTo>
                      <a:pt x="1146" y="876"/>
                    </a:lnTo>
                    <a:lnTo>
                      <a:pt x="1148" y="874"/>
                    </a:lnTo>
                    <a:lnTo>
                      <a:pt x="1146" y="870"/>
                    </a:lnTo>
                    <a:lnTo>
                      <a:pt x="1146" y="870"/>
                    </a:lnTo>
                    <a:lnTo>
                      <a:pt x="1146" y="866"/>
                    </a:lnTo>
                    <a:lnTo>
                      <a:pt x="1148" y="864"/>
                    </a:lnTo>
                    <a:lnTo>
                      <a:pt x="1150" y="862"/>
                    </a:lnTo>
                    <a:lnTo>
                      <a:pt x="1150" y="860"/>
                    </a:lnTo>
                    <a:lnTo>
                      <a:pt x="1150" y="860"/>
                    </a:lnTo>
                    <a:lnTo>
                      <a:pt x="1152" y="852"/>
                    </a:lnTo>
                    <a:lnTo>
                      <a:pt x="1152" y="850"/>
                    </a:lnTo>
                    <a:lnTo>
                      <a:pt x="1150" y="850"/>
                    </a:lnTo>
                    <a:lnTo>
                      <a:pt x="1150" y="850"/>
                    </a:lnTo>
                    <a:close/>
                    <a:moveTo>
                      <a:pt x="1254" y="830"/>
                    </a:moveTo>
                    <a:lnTo>
                      <a:pt x="1254" y="830"/>
                    </a:lnTo>
                    <a:lnTo>
                      <a:pt x="1260" y="826"/>
                    </a:lnTo>
                    <a:lnTo>
                      <a:pt x="1262" y="824"/>
                    </a:lnTo>
                    <a:lnTo>
                      <a:pt x="1260" y="820"/>
                    </a:lnTo>
                    <a:lnTo>
                      <a:pt x="1260" y="820"/>
                    </a:lnTo>
                    <a:lnTo>
                      <a:pt x="1258" y="822"/>
                    </a:lnTo>
                    <a:lnTo>
                      <a:pt x="1256" y="826"/>
                    </a:lnTo>
                    <a:lnTo>
                      <a:pt x="1254" y="830"/>
                    </a:lnTo>
                    <a:lnTo>
                      <a:pt x="1254" y="830"/>
                    </a:lnTo>
                    <a:lnTo>
                      <a:pt x="1254" y="830"/>
                    </a:lnTo>
                    <a:lnTo>
                      <a:pt x="1254" y="830"/>
                    </a:lnTo>
                    <a:close/>
                    <a:moveTo>
                      <a:pt x="1226" y="818"/>
                    </a:moveTo>
                    <a:lnTo>
                      <a:pt x="1226" y="818"/>
                    </a:lnTo>
                    <a:lnTo>
                      <a:pt x="1226" y="818"/>
                    </a:lnTo>
                    <a:lnTo>
                      <a:pt x="1222" y="818"/>
                    </a:lnTo>
                    <a:lnTo>
                      <a:pt x="1218" y="820"/>
                    </a:lnTo>
                    <a:lnTo>
                      <a:pt x="1214" y="826"/>
                    </a:lnTo>
                    <a:lnTo>
                      <a:pt x="1214" y="826"/>
                    </a:lnTo>
                    <a:lnTo>
                      <a:pt x="1214" y="826"/>
                    </a:lnTo>
                    <a:lnTo>
                      <a:pt x="1216" y="826"/>
                    </a:lnTo>
                    <a:lnTo>
                      <a:pt x="1220" y="824"/>
                    </a:lnTo>
                    <a:lnTo>
                      <a:pt x="1224" y="822"/>
                    </a:lnTo>
                    <a:lnTo>
                      <a:pt x="1226" y="818"/>
                    </a:lnTo>
                    <a:lnTo>
                      <a:pt x="1226" y="818"/>
                    </a:lnTo>
                    <a:close/>
                    <a:moveTo>
                      <a:pt x="1074" y="928"/>
                    </a:moveTo>
                    <a:lnTo>
                      <a:pt x="1074" y="928"/>
                    </a:lnTo>
                    <a:lnTo>
                      <a:pt x="1074" y="930"/>
                    </a:lnTo>
                    <a:lnTo>
                      <a:pt x="1074" y="932"/>
                    </a:lnTo>
                    <a:lnTo>
                      <a:pt x="1078" y="932"/>
                    </a:lnTo>
                    <a:lnTo>
                      <a:pt x="1082" y="930"/>
                    </a:lnTo>
                    <a:lnTo>
                      <a:pt x="1084" y="926"/>
                    </a:lnTo>
                    <a:lnTo>
                      <a:pt x="1084" y="926"/>
                    </a:lnTo>
                    <a:lnTo>
                      <a:pt x="1084" y="924"/>
                    </a:lnTo>
                    <a:lnTo>
                      <a:pt x="1080" y="924"/>
                    </a:lnTo>
                    <a:lnTo>
                      <a:pt x="1076" y="924"/>
                    </a:lnTo>
                    <a:lnTo>
                      <a:pt x="1074" y="928"/>
                    </a:lnTo>
                    <a:lnTo>
                      <a:pt x="1074" y="928"/>
                    </a:lnTo>
                    <a:close/>
                    <a:moveTo>
                      <a:pt x="772" y="1274"/>
                    </a:moveTo>
                    <a:lnTo>
                      <a:pt x="772" y="1274"/>
                    </a:lnTo>
                    <a:lnTo>
                      <a:pt x="784" y="1270"/>
                    </a:lnTo>
                    <a:lnTo>
                      <a:pt x="788" y="1270"/>
                    </a:lnTo>
                    <a:lnTo>
                      <a:pt x="790" y="1268"/>
                    </a:lnTo>
                    <a:lnTo>
                      <a:pt x="790" y="1268"/>
                    </a:lnTo>
                    <a:lnTo>
                      <a:pt x="790" y="1266"/>
                    </a:lnTo>
                    <a:lnTo>
                      <a:pt x="788" y="1264"/>
                    </a:lnTo>
                    <a:lnTo>
                      <a:pt x="786" y="1264"/>
                    </a:lnTo>
                    <a:lnTo>
                      <a:pt x="784" y="1262"/>
                    </a:lnTo>
                    <a:lnTo>
                      <a:pt x="784" y="1262"/>
                    </a:lnTo>
                    <a:lnTo>
                      <a:pt x="784" y="1260"/>
                    </a:lnTo>
                    <a:lnTo>
                      <a:pt x="784" y="1260"/>
                    </a:lnTo>
                    <a:lnTo>
                      <a:pt x="778" y="1262"/>
                    </a:lnTo>
                    <a:lnTo>
                      <a:pt x="768" y="1266"/>
                    </a:lnTo>
                    <a:lnTo>
                      <a:pt x="768" y="1266"/>
                    </a:lnTo>
                    <a:lnTo>
                      <a:pt x="760" y="1268"/>
                    </a:lnTo>
                    <a:lnTo>
                      <a:pt x="758" y="1270"/>
                    </a:lnTo>
                    <a:lnTo>
                      <a:pt x="756" y="1274"/>
                    </a:lnTo>
                    <a:lnTo>
                      <a:pt x="756" y="1274"/>
                    </a:lnTo>
                    <a:lnTo>
                      <a:pt x="758" y="1276"/>
                    </a:lnTo>
                    <a:lnTo>
                      <a:pt x="760" y="1276"/>
                    </a:lnTo>
                    <a:lnTo>
                      <a:pt x="772" y="1274"/>
                    </a:lnTo>
                    <a:lnTo>
                      <a:pt x="772" y="1274"/>
                    </a:lnTo>
                    <a:close/>
                    <a:moveTo>
                      <a:pt x="776" y="1258"/>
                    </a:moveTo>
                    <a:lnTo>
                      <a:pt x="776" y="1258"/>
                    </a:lnTo>
                    <a:lnTo>
                      <a:pt x="780" y="1256"/>
                    </a:lnTo>
                    <a:lnTo>
                      <a:pt x="778" y="1252"/>
                    </a:lnTo>
                    <a:lnTo>
                      <a:pt x="776" y="1250"/>
                    </a:lnTo>
                    <a:lnTo>
                      <a:pt x="774" y="1252"/>
                    </a:lnTo>
                    <a:lnTo>
                      <a:pt x="774" y="1252"/>
                    </a:lnTo>
                    <a:lnTo>
                      <a:pt x="772" y="1254"/>
                    </a:lnTo>
                    <a:lnTo>
                      <a:pt x="764" y="1256"/>
                    </a:lnTo>
                    <a:lnTo>
                      <a:pt x="760" y="1258"/>
                    </a:lnTo>
                    <a:lnTo>
                      <a:pt x="758" y="1258"/>
                    </a:lnTo>
                    <a:lnTo>
                      <a:pt x="758" y="1260"/>
                    </a:lnTo>
                    <a:lnTo>
                      <a:pt x="758" y="1260"/>
                    </a:lnTo>
                    <a:lnTo>
                      <a:pt x="764" y="1260"/>
                    </a:lnTo>
                    <a:lnTo>
                      <a:pt x="776" y="1258"/>
                    </a:lnTo>
                    <a:lnTo>
                      <a:pt x="776" y="1258"/>
                    </a:lnTo>
                    <a:close/>
                    <a:moveTo>
                      <a:pt x="892" y="180"/>
                    </a:moveTo>
                    <a:lnTo>
                      <a:pt x="892" y="180"/>
                    </a:lnTo>
                    <a:lnTo>
                      <a:pt x="904" y="186"/>
                    </a:lnTo>
                    <a:lnTo>
                      <a:pt x="912" y="188"/>
                    </a:lnTo>
                    <a:lnTo>
                      <a:pt x="912" y="188"/>
                    </a:lnTo>
                    <a:lnTo>
                      <a:pt x="912" y="186"/>
                    </a:lnTo>
                    <a:lnTo>
                      <a:pt x="910" y="182"/>
                    </a:lnTo>
                    <a:lnTo>
                      <a:pt x="906" y="176"/>
                    </a:lnTo>
                    <a:lnTo>
                      <a:pt x="900" y="170"/>
                    </a:lnTo>
                    <a:lnTo>
                      <a:pt x="894" y="164"/>
                    </a:lnTo>
                    <a:lnTo>
                      <a:pt x="888" y="164"/>
                    </a:lnTo>
                    <a:lnTo>
                      <a:pt x="888" y="164"/>
                    </a:lnTo>
                    <a:lnTo>
                      <a:pt x="882" y="162"/>
                    </a:lnTo>
                    <a:lnTo>
                      <a:pt x="878" y="158"/>
                    </a:lnTo>
                    <a:lnTo>
                      <a:pt x="870" y="144"/>
                    </a:lnTo>
                    <a:lnTo>
                      <a:pt x="866" y="138"/>
                    </a:lnTo>
                    <a:lnTo>
                      <a:pt x="860" y="134"/>
                    </a:lnTo>
                    <a:lnTo>
                      <a:pt x="856" y="132"/>
                    </a:lnTo>
                    <a:lnTo>
                      <a:pt x="850" y="132"/>
                    </a:lnTo>
                    <a:lnTo>
                      <a:pt x="850" y="132"/>
                    </a:lnTo>
                    <a:lnTo>
                      <a:pt x="846" y="136"/>
                    </a:lnTo>
                    <a:lnTo>
                      <a:pt x="846" y="142"/>
                    </a:lnTo>
                    <a:lnTo>
                      <a:pt x="860" y="164"/>
                    </a:lnTo>
                    <a:lnTo>
                      <a:pt x="860" y="164"/>
                    </a:lnTo>
                    <a:lnTo>
                      <a:pt x="866" y="174"/>
                    </a:lnTo>
                    <a:lnTo>
                      <a:pt x="868" y="174"/>
                    </a:lnTo>
                    <a:lnTo>
                      <a:pt x="870" y="174"/>
                    </a:lnTo>
                    <a:lnTo>
                      <a:pt x="872" y="172"/>
                    </a:lnTo>
                    <a:lnTo>
                      <a:pt x="876" y="172"/>
                    </a:lnTo>
                    <a:lnTo>
                      <a:pt x="884" y="174"/>
                    </a:lnTo>
                    <a:lnTo>
                      <a:pt x="892" y="180"/>
                    </a:lnTo>
                    <a:lnTo>
                      <a:pt x="892" y="180"/>
                    </a:lnTo>
                    <a:close/>
                    <a:moveTo>
                      <a:pt x="1006" y="948"/>
                    </a:moveTo>
                    <a:lnTo>
                      <a:pt x="1006" y="948"/>
                    </a:lnTo>
                    <a:lnTo>
                      <a:pt x="1016" y="944"/>
                    </a:lnTo>
                    <a:lnTo>
                      <a:pt x="1026" y="934"/>
                    </a:lnTo>
                    <a:lnTo>
                      <a:pt x="1026" y="934"/>
                    </a:lnTo>
                    <a:lnTo>
                      <a:pt x="1030" y="932"/>
                    </a:lnTo>
                    <a:lnTo>
                      <a:pt x="1030" y="930"/>
                    </a:lnTo>
                    <a:lnTo>
                      <a:pt x="1026" y="930"/>
                    </a:lnTo>
                    <a:lnTo>
                      <a:pt x="1026" y="930"/>
                    </a:lnTo>
                    <a:lnTo>
                      <a:pt x="1018" y="930"/>
                    </a:lnTo>
                    <a:lnTo>
                      <a:pt x="1008" y="932"/>
                    </a:lnTo>
                    <a:lnTo>
                      <a:pt x="1008" y="932"/>
                    </a:lnTo>
                    <a:lnTo>
                      <a:pt x="1004" y="934"/>
                    </a:lnTo>
                    <a:lnTo>
                      <a:pt x="1006" y="936"/>
                    </a:lnTo>
                    <a:lnTo>
                      <a:pt x="1006" y="938"/>
                    </a:lnTo>
                    <a:lnTo>
                      <a:pt x="1002" y="938"/>
                    </a:lnTo>
                    <a:lnTo>
                      <a:pt x="1002" y="938"/>
                    </a:lnTo>
                    <a:lnTo>
                      <a:pt x="998" y="938"/>
                    </a:lnTo>
                    <a:lnTo>
                      <a:pt x="998" y="940"/>
                    </a:lnTo>
                    <a:lnTo>
                      <a:pt x="1000" y="942"/>
                    </a:lnTo>
                    <a:lnTo>
                      <a:pt x="998" y="946"/>
                    </a:lnTo>
                    <a:lnTo>
                      <a:pt x="998" y="946"/>
                    </a:lnTo>
                    <a:lnTo>
                      <a:pt x="996" y="948"/>
                    </a:lnTo>
                    <a:lnTo>
                      <a:pt x="996" y="948"/>
                    </a:lnTo>
                    <a:lnTo>
                      <a:pt x="1000" y="948"/>
                    </a:lnTo>
                    <a:lnTo>
                      <a:pt x="1006" y="948"/>
                    </a:lnTo>
                    <a:lnTo>
                      <a:pt x="1006" y="948"/>
                    </a:lnTo>
                    <a:close/>
                    <a:moveTo>
                      <a:pt x="1028" y="900"/>
                    </a:moveTo>
                    <a:lnTo>
                      <a:pt x="1028" y="900"/>
                    </a:lnTo>
                    <a:lnTo>
                      <a:pt x="1024" y="900"/>
                    </a:lnTo>
                    <a:lnTo>
                      <a:pt x="1022" y="902"/>
                    </a:lnTo>
                    <a:lnTo>
                      <a:pt x="1022" y="904"/>
                    </a:lnTo>
                    <a:lnTo>
                      <a:pt x="1018" y="906"/>
                    </a:lnTo>
                    <a:lnTo>
                      <a:pt x="1018" y="906"/>
                    </a:lnTo>
                    <a:lnTo>
                      <a:pt x="1016" y="904"/>
                    </a:lnTo>
                    <a:lnTo>
                      <a:pt x="1014" y="902"/>
                    </a:lnTo>
                    <a:lnTo>
                      <a:pt x="1014" y="902"/>
                    </a:lnTo>
                    <a:lnTo>
                      <a:pt x="1012" y="902"/>
                    </a:lnTo>
                    <a:lnTo>
                      <a:pt x="1012" y="902"/>
                    </a:lnTo>
                    <a:lnTo>
                      <a:pt x="1010" y="904"/>
                    </a:lnTo>
                    <a:lnTo>
                      <a:pt x="1008" y="904"/>
                    </a:lnTo>
                    <a:lnTo>
                      <a:pt x="1006" y="904"/>
                    </a:lnTo>
                    <a:lnTo>
                      <a:pt x="1004" y="906"/>
                    </a:lnTo>
                    <a:lnTo>
                      <a:pt x="1004" y="906"/>
                    </a:lnTo>
                    <a:lnTo>
                      <a:pt x="1004" y="910"/>
                    </a:lnTo>
                    <a:lnTo>
                      <a:pt x="1002" y="912"/>
                    </a:lnTo>
                    <a:lnTo>
                      <a:pt x="1002" y="914"/>
                    </a:lnTo>
                    <a:lnTo>
                      <a:pt x="1004" y="916"/>
                    </a:lnTo>
                    <a:lnTo>
                      <a:pt x="1004" y="916"/>
                    </a:lnTo>
                    <a:lnTo>
                      <a:pt x="1008" y="918"/>
                    </a:lnTo>
                    <a:lnTo>
                      <a:pt x="1012" y="916"/>
                    </a:lnTo>
                    <a:lnTo>
                      <a:pt x="1016" y="914"/>
                    </a:lnTo>
                    <a:lnTo>
                      <a:pt x="1026" y="910"/>
                    </a:lnTo>
                    <a:lnTo>
                      <a:pt x="1026" y="910"/>
                    </a:lnTo>
                    <a:lnTo>
                      <a:pt x="1030" y="910"/>
                    </a:lnTo>
                    <a:lnTo>
                      <a:pt x="1026" y="914"/>
                    </a:lnTo>
                    <a:lnTo>
                      <a:pt x="1020" y="918"/>
                    </a:lnTo>
                    <a:lnTo>
                      <a:pt x="1020" y="918"/>
                    </a:lnTo>
                    <a:lnTo>
                      <a:pt x="1020" y="920"/>
                    </a:lnTo>
                    <a:lnTo>
                      <a:pt x="1020" y="920"/>
                    </a:lnTo>
                    <a:lnTo>
                      <a:pt x="1030" y="918"/>
                    </a:lnTo>
                    <a:lnTo>
                      <a:pt x="1040" y="916"/>
                    </a:lnTo>
                    <a:lnTo>
                      <a:pt x="1040" y="916"/>
                    </a:lnTo>
                    <a:lnTo>
                      <a:pt x="1042" y="914"/>
                    </a:lnTo>
                    <a:lnTo>
                      <a:pt x="1042" y="912"/>
                    </a:lnTo>
                    <a:lnTo>
                      <a:pt x="1042" y="910"/>
                    </a:lnTo>
                    <a:lnTo>
                      <a:pt x="1040" y="906"/>
                    </a:lnTo>
                    <a:lnTo>
                      <a:pt x="1040" y="904"/>
                    </a:lnTo>
                    <a:lnTo>
                      <a:pt x="1040" y="904"/>
                    </a:lnTo>
                    <a:lnTo>
                      <a:pt x="1040" y="904"/>
                    </a:lnTo>
                    <a:lnTo>
                      <a:pt x="1042" y="902"/>
                    </a:lnTo>
                    <a:lnTo>
                      <a:pt x="1042" y="900"/>
                    </a:lnTo>
                    <a:lnTo>
                      <a:pt x="1038" y="896"/>
                    </a:lnTo>
                    <a:lnTo>
                      <a:pt x="1034" y="890"/>
                    </a:lnTo>
                    <a:lnTo>
                      <a:pt x="1032" y="890"/>
                    </a:lnTo>
                    <a:lnTo>
                      <a:pt x="1030" y="890"/>
                    </a:lnTo>
                    <a:lnTo>
                      <a:pt x="1030" y="890"/>
                    </a:lnTo>
                    <a:lnTo>
                      <a:pt x="1028" y="890"/>
                    </a:lnTo>
                    <a:lnTo>
                      <a:pt x="1028" y="892"/>
                    </a:lnTo>
                    <a:lnTo>
                      <a:pt x="1030" y="896"/>
                    </a:lnTo>
                    <a:lnTo>
                      <a:pt x="1032" y="900"/>
                    </a:lnTo>
                    <a:lnTo>
                      <a:pt x="1028" y="900"/>
                    </a:lnTo>
                    <a:lnTo>
                      <a:pt x="1028" y="900"/>
                    </a:lnTo>
                    <a:close/>
                    <a:moveTo>
                      <a:pt x="996" y="942"/>
                    </a:moveTo>
                    <a:lnTo>
                      <a:pt x="996" y="942"/>
                    </a:lnTo>
                    <a:lnTo>
                      <a:pt x="996" y="940"/>
                    </a:lnTo>
                    <a:lnTo>
                      <a:pt x="994" y="938"/>
                    </a:lnTo>
                    <a:lnTo>
                      <a:pt x="990" y="938"/>
                    </a:lnTo>
                    <a:lnTo>
                      <a:pt x="988" y="938"/>
                    </a:lnTo>
                    <a:lnTo>
                      <a:pt x="988" y="938"/>
                    </a:lnTo>
                    <a:lnTo>
                      <a:pt x="990" y="940"/>
                    </a:lnTo>
                    <a:lnTo>
                      <a:pt x="992" y="942"/>
                    </a:lnTo>
                    <a:lnTo>
                      <a:pt x="994" y="942"/>
                    </a:lnTo>
                    <a:lnTo>
                      <a:pt x="996" y="942"/>
                    </a:lnTo>
                    <a:lnTo>
                      <a:pt x="996" y="942"/>
                    </a:lnTo>
                    <a:close/>
                    <a:moveTo>
                      <a:pt x="942" y="966"/>
                    </a:moveTo>
                    <a:lnTo>
                      <a:pt x="942" y="966"/>
                    </a:lnTo>
                    <a:lnTo>
                      <a:pt x="940" y="974"/>
                    </a:lnTo>
                    <a:lnTo>
                      <a:pt x="946" y="970"/>
                    </a:lnTo>
                    <a:lnTo>
                      <a:pt x="946" y="970"/>
                    </a:lnTo>
                    <a:lnTo>
                      <a:pt x="948" y="968"/>
                    </a:lnTo>
                    <a:lnTo>
                      <a:pt x="950" y="964"/>
                    </a:lnTo>
                    <a:lnTo>
                      <a:pt x="950" y="958"/>
                    </a:lnTo>
                    <a:lnTo>
                      <a:pt x="950" y="958"/>
                    </a:lnTo>
                    <a:lnTo>
                      <a:pt x="950" y="956"/>
                    </a:lnTo>
                    <a:lnTo>
                      <a:pt x="948" y="956"/>
                    </a:lnTo>
                    <a:lnTo>
                      <a:pt x="942" y="966"/>
                    </a:lnTo>
                    <a:lnTo>
                      <a:pt x="942" y="966"/>
                    </a:lnTo>
                    <a:close/>
                    <a:moveTo>
                      <a:pt x="970" y="956"/>
                    </a:moveTo>
                    <a:lnTo>
                      <a:pt x="970" y="956"/>
                    </a:lnTo>
                    <a:lnTo>
                      <a:pt x="972" y="956"/>
                    </a:lnTo>
                    <a:lnTo>
                      <a:pt x="974" y="956"/>
                    </a:lnTo>
                    <a:lnTo>
                      <a:pt x="976" y="956"/>
                    </a:lnTo>
                    <a:lnTo>
                      <a:pt x="976" y="956"/>
                    </a:lnTo>
                    <a:lnTo>
                      <a:pt x="978" y="954"/>
                    </a:lnTo>
                    <a:lnTo>
                      <a:pt x="982" y="952"/>
                    </a:lnTo>
                    <a:lnTo>
                      <a:pt x="984" y="950"/>
                    </a:lnTo>
                    <a:lnTo>
                      <a:pt x="988" y="946"/>
                    </a:lnTo>
                    <a:lnTo>
                      <a:pt x="988" y="946"/>
                    </a:lnTo>
                    <a:lnTo>
                      <a:pt x="992" y="946"/>
                    </a:lnTo>
                    <a:lnTo>
                      <a:pt x="990" y="944"/>
                    </a:lnTo>
                    <a:lnTo>
                      <a:pt x="980" y="942"/>
                    </a:lnTo>
                    <a:lnTo>
                      <a:pt x="980" y="942"/>
                    </a:lnTo>
                    <a:lnTo>
                      <a:pt x="976" y="940"/>
                    </a:lnTo>
                    <a:lnTo>
                      <a:pt x="972" y="942"/>
                    </a:lnTo>
                    <a:lnTo>
                      <a:pt x="970" y="944"/>
                    </a:lnTo>
                    <a:lnTo>
                      <a:pt x="966" y="948"/>
                    </a:lnTo>
                    <a:lnTo>
                      <a:pt x="966" y="948"/>
                    </a:lnTo>
                    <a:lnTo>
                      <a:pt x="966" y="952"/>
                    </a:lnTo>
                    <a:lnTo>
                      <a:pt x="966" y="954"/>
                    </a:lnTo>
                    <a:lnTo>
                      <a:pt x="966" y="954"/>
                    </a:lnTo>
                    <a:lnTo>
                      <a:pt x="964" y="956"/>
                    </a:lnTo>
                    <a:lnTo>
                      <a:pt x="966" y="958"/>
                    </a:lnTo>
                    <a:lnTo>
                      <a:pt x="968" y="958"/>
                    </a:lnTo>
                    <a:lnTo>
                      <a:pt x="970" y="956"/>
                    </a:lnTo>
                    <a:lnTo>
                      <a:pt x="970" y="956"/>
                    </a:lnTo>
                    <a:close/>
                    <a:moveTo>
                      <a:pt x="958" y="954"/>
                    </a:moveTo>
                    <a:lnTo>
                      <a:pt x="958" y="954"/>
                    </a:lnTo>
                    <a:lnTo>
                      <a:pt x="958" y="956"/>
                    </a:lnTo>
                    <a:lnTo>
                      <a:pt x="956" y="956"/>
                    </a:lnTo>
                    <a:lnTo>
                      <a:pt x="954" y="956"/>
                    </a:lnTo>
                    <a:lnTo>
                      <a:pt x="954" y="960"/>
                    </a:lnTo>
                    <a:lnTo>
                      <a:pt x="954" y="960"/>
                    </a:lnTo>
                    <a:lnTo>
                      <a:pt x="956" y="962"/>
                    </a:lnTo>
                    <a:lnTo>
                      <a:pt x="956" y="962"/>
                    </a:lnTo>
                    <a:lnTo>
                      <a:pt x="962" y="958"/>
                    </a:lnTo>
                    <a:lnTo>
                      <a:pt x="962" y="958"/>
                    </a:lnTo>
                    <a:lnTo>
                      <a:pt x="964" y="954"/>
                    </a:lnTo>
                    <a:lnTo>
                      <a:pt x="962" y="950"/>
                    </a:lnTo>
                    <a:lnTo>
                      <a:pt x="960" y="950"/>
                    </a:lnTo>
                    <a:lnTo>
                      <a:pt x="958" y="954"/>
                    </a:lnTo>
                    <a:lnTo>
                      <a:pt x="958" y="954"/>
                    </a:lnTo>
                    <a:close/>
                    <a:moveTo>
                      <a:pt x="1028" y="966"/>
                    </a:moveTo>
                    <a:lnTo>
                      <a:pt x="1028" y="966"/>
                    </a:lnTo>
                    <a:lnTo>
                      <a:pt x="1032" y="966"/>
                    </a:lnTo>
                    <a:lnTo>
                      <a:pt x="1034" y="964"/>
                    </a:lnTo>
                    <a:lnTo>
                      <a:pt x="1030" y="962"/>
                    </a:lnTo>
                    <a:lnTo>
                      <a:pt x="1030" y="962"/>
                    </a:lnTo>
                    <a:lnTo>
                      <a:pt x="1028" y="962"/>
                    </a:lnTo>
                    <a:lnTo>
                      <a:pt x="1026" y="964"/>
                    </a:lnTo>
                    <a:lnTo>
                      <a:pt x="1026" y="966"/>
                    </a:lnTo>
                    <a:lnTo>
                      <a:pt x="1028" y="966"/>
                    </a:lnTo>
                    <a:lnTo>
                      <a:pt x="1028" y="966"/>
                    </a:lnTo>
                    <a:close/>
                    <a:moveTo>
                      <a:pt x="1078" y="890"/>
                    </a:moveTo>
                    <a:lnTo>
                      <a:pt x="1078" y="890"/>
                    </a:lnTo>
                    <a:lnTo>
                      <a:pt x="1080" y="892"/>
                    </a:lnTo>
                    <a:lnTo>
                      <a:pt x="1082" y="894"/>
                    </a:lnTo>
                    <a:lnTo>
                      <a:pt x="1088" y="896"/>
                    </a:lnTo>
                    <a:lnTo>
                      <a:pt x="1092" y="896"/>
                    </a:lnTo>
                    <a:lnTo>
                      <a:pt x="1092" y="896"/>
                    </a:lnTo>
                    <a:lnTo>
                      <a:pt x="1092" y="894"/>
                    </a:lnTo>
                    <a:lnTo>
                      <a:pt x="1092" y="894"/>
                    </a:lnTo>
                    <a:lnTo>
                      <a:pt x="1088" y="892"/>
                    </a:lnTo>
                    <a:lnTo>
                      <a:pt x="1082" y="890"/>
                    </a:lnTo>
                    <a:lnTo>
                      <a:pt x="1078" y="890"/>
                    </a:lnTo>
                    <a:lnTo>
                      <a:pt x="1078" y="890"/>
                    </a:lnTo>
                    <a:close/>
                    <a:moveTo>
                      <a:pt x="1054" y="890"/>
                    </a:moveTo>
                    <a:lnTo>
                      <a:pt x="1054" y="890"/>
                    </a:lnTo>
                    <a:lnTo>
                      <a:pt x="1060" y="890"/>
                    </a:lnTo>
                    <a:lnTo>
                      <a:pt x="1062" y="888"/>
                    </a:lnTo>
                    <a:lnTo>
                      <a:pt x="1068" y="878"/>
                    </a:lnTo>
                    <a:lnTo>
                      <a:pt x="1068" y="878"/>
                    </a:lnTo>
                    <a:lnTo>
                      <a:pt x="1072" y="872"/>
                    </a:lnTo>
                    <a:lnTo>
                      <a:pt x="1074" y="868"/>
                    </a:lnTo>
                    <a:lnTo>
                      <a:pt x="1072" y="868"/>
                    </a:lnTo>
                    <a:lnTo>
                      <a:pt x="1066" y="870"/>
                    </a:lnTo>
                    <a:lnTo>
                      <a:pt x="1066" y="870"/>
                    </a:lnTo>
                    <a:lnTo>
                      <a:pt x="1054" y="878"/>
                    </a:lnTo>
                    <a:lnTo>
                      <a:pt x="1050" y="882"/>
                    </a:lnTo>
                    <a:lnTo>
                      <a:pt x="1046" y="890"/>
                    </a:lnTo>
                    <a:lnTo>
                      <a:pt x="1046" y="890"/>
                    </a:lnTo>
                    <a:lnTo>
                      <a:pt x="1044" y="894"/>
                    </a:lnTo>
                    <a:lnTo>
                      <a:pt x="1044" y="896"/>
                    </a:lnTo>
                    <a:lnTo>
                      <a:pt x="1046" y="898"/>
                    </a:lnTo>
                    <a:lnTo>
                      <a:pt x="1046" y="898"/>
                    </a:lnTo>
                    <a:lnTo>
                      <a:pt x="1048" y="898"/>
                    </a:lnTo>
                    <a:lnTo>
                      <a:pt x="1048" y="894"/>
                    </a:lnTo>
                    <a:lnTo>
                      <a:pt x="1050" y="892"/>
                    </a:lnTo>
                    <a:lnTo>
                      <a:pt x="1054" y="890"/>
                    </a:lnTo>
                    <a:lnTo>
                      <a:pt x="1054" y="890"/>
                    </a:lnTo>
                    <a:close/>
                    <a:moveTo>
                      <a:pt x="752" y="1276"/>
                    </a:moveTo>
                    <a:lnTo>
                      <a:pt x="752" y="1276"/>
                    </a:lnTo>
                    <a:lnTo>
                      <a:pt x="750" y="1274"/>
                    </a:lnTo>
                    <a:lnTo>
                      <a:pt x="742" y="1274"/>
                    </a:lnTo>
                    <a:lnTo>
                      <a:pt x="738" y="1276"/>
                    </a:lnTo>
                    <a:lnTo>
                      <a:pt x="736" y="1278"/>
                    </a:lnTo>
                    <a:lnTo>
                      <a:pt x="736" y="1278"/>
                    </a:lnTo>
                    <a:lnTo>
                      <a:pt x="736" y="1278"/>
                    </a:lnTo>
                    <a:lnTo>
                      <a:pt x="742" y="1282"/>
                    </a:lnTo>
                    <a:lnTo>
                      <a:pt x="748" y="1282"/>
                    </a:lnTo>
                    <a:lnTo>
                      <a:pt x="750" y="1278"/>
                    </a:lnTo>
                    <a:lnTo>
                      <a:pt x="752" y="1276"/>
                    </a:lnTo>
                    <a:lnTo>
                      <a:pt x="752" y="1276"/>
                    </a:lnTo>
                    <a:close/>
                    <a:moveTo>
                      <a:pt x="1156" y="42"/>
                    </a:moveTo>
                    <a:lnTo>
                      <a:pt x="1156" y="42"/>
                    </a:lnTo>
                    <a:lnTo>
                      <a:pt x="1164" y="44"/>
                    </a:lnTo>
                    <a:lnTo>
                      <a:pt x="1166" y="46"/>
                    </a:lnTo>
                    <a:lnTo>
                      <a:pt x="1164" y="48"/>
                    </a:lnTo>
                    <a:lnTo>
                      <a:pt x="1162" y="48"/>
                    </a:lnTo>
                    <a:lnTo>
                      <a:pt x="1160" y="50"/>
                    </a:lnTo>
                    <a:lnTo>
                      <a:pt x="1162" y="52"/>
                    </a:lnTo>
                    <a:lnTo>
                      <a:pt x="1166" y="56"/>
                    </a:lnTo>
                    <a:lnTo>
                      <a:pt x="1176" y="62"/>
                    </a:lnTo>
                    <a:lnTo>
                      <a:pt x="1176" y="62"/>
                    </a:lnTo>
                    <a:lnTo>
                      <a:pt x="1186" y="66"/>
                    </a:lnTo>
                    <a:lnTo>
                      <a:pt x="1194" y="68"/>
                    </a:lnTo>
                    <a:lnTo>
                      <a:pt x="1204" y="68"/>
                    </a:lnTo>
                    <a:lnTo>
                      <a:pt x="1214" y="66"/>
                    </a:lnTo>
                    <a:lnTo>
                      <a:pt x="1238" y="62"/>
                    </a:lnTo>
                    <a:lnTo>
                      <a:pt x="1252" y="60"/>
                    </a:lnTo>
                    <a:lnTo>
                      <a:pt x="1270" y="58"/>
                    </a:lnTo>
                    <a:lnTo>
                      <a:pt x="1270" y="58"/>
                    </a:lnTo>
                    <a:lnTo>
                      <a:pt x="1296" y="58"/>
                    </a:lnTo>
                    <a:lnTo>
                      <a:pt x="1298" y="60"/>
                    </a:lnTo>
                    <a:lnTo>
                      <a:pt x="1294" y="62"/>
                    </a:lnTo>
                    <a:lnTo>
                      <a:pt x="1274" y="66"/>
                    </a:lnTo>
                    <a:lnTo>
                      <a:pt x="1236" y="74"/>
                    </a:lnTo>
                    <a:lnTo>
                      <a:pt x="1236" y="74"/>
                    </a:lnTo>
                    <a:lnTo>
                      <a:pt x="1220" y="78"/>
                    </a:lnTo>
                    <a:lnTo>
                      <a:pt x="1216" y="80"/>
                    </a:lnTo>
                    <a:lnTo>
                      <a:pt x="1216" y="82"/>
                    </a:lnTo>
                    <a:lnTo>
                      <a:pt x="1216" y="84"/>
                    </a:lnTo>
                    <a:lnTo>
                      <a:pt x="1220" y="86"/>
                    </a:lnTo>
                    <a:lnTo>
                      <a:pt x="1232" y="88"/>
                    </a:lnTo>
                    <a:lnTo>
                      <a:pt x="1270" y="92"/>
                    </a:lnTo>
                    <a:lnTo>
                      <a:pt x="1308" y="94"/>
                    </a:lnTo>
                    <a:lnTo>
                      <a:pt x="1308" y="94"/>
                    </a:lnTo>
                    <a:lnTo>
                      <a:pt x="1324" y="96"/>
                    </a:lnTo>
                    <a:lnTo>
                      <a:pt x="1336" y="100"/>
                    </a:lnTo>
                    <a:lnTo>
                      <a:pt x="1360" y="110"/>
                    </a:lnTo>
                    <a:lnTo>
                      <a:pt x="1370" y="114"/>
                    </a:lnTo>
                    <a:lnTo>
                      <a:pt x="1380" y="114"/>
                    </a:lnTo>
                    <a:lnTo>
                      <a:pt x="1390" y="112"/>
                    </a:lnTo>
                    <a:lnTo>
                      <a:pt x="1402" y="106"/>
                    </a:lnTo>
                    <a:lnTo>
                      <a:pt x="1402" y="106"/>
                    </a:lnTo>
                    <a:lnTo>
                      <a:pt x="1412" y="98"/>
                    </a:lnTo>
                    <a:lnTo>
                      <a:pt x="1420" y="96"/>
                    </a:lnTo>
                    <a:lnTo>
                      <a:pt x="1424" y="94"/>
                    </a:lnTo>
                    <a:lnTo>
                      <a:pt x="1430" y="96"/>
                    </a:lnTo>
                    <a:lnTo>
                      <a:pt x="1438" y="98"/>
                    </a:lnTo>
                    <a:lnTo>
                      <a:pt x="1446" y="98"/>
                    </a:lnTo>
                    <a:lnTo>
                      <a:pt x="1456" y="96"/>
                    </a:lnTo>
                    <a:lnTo>
                      <a:pt x="1456" y="96"/>
                    </a:lnTo>
                    <a:lnTo>
                      <a:pt x="1464" y="92"/>
                    </a:lnTo>
                    <a:lnTo>
                      <a:pt x="1468" y="88"/>
                    </a:lnTo>
                    <a:lnTo>
                      <a:pt x="1468" y="84"/>
                    </a:lnTo>
                    <a:lnTo>
                      <a:pt x="1468" y="80"/>
                    </a:lnTo>
                    <a:lnTo>
                      <a:pt x="1470" y="76"/>
                    </a:lnTo>
                    <a:lnTo>
                      <a:pt x="1476" y="72"/>
                    </a:lnTo>
                    <a:lnTo>
                      <a:pt x="1488" y="66"/>
                    </a:lnTo>
                    <a:lnTo>
                      <a:pt x="1506" y="58"/>
                    </a:lnTo>
                    <a:lnTo>
                      <a:pt x="1506" y="58"/>
                    </a:lnTo>
                    <a:lnTo>
                      <a:pt x="1516" y="54"/>
                    </a:lnTo>
                    <a:lnTo>
                      <a:pt x="1522" y="48"/>
                    </a:lnTo>
                    <a:lnTo>
                      <a:pt x="1520" y="42"/>
                    </a:lnTo>
                    <a:lnTo>
                      <a:pt x="1516" y="38"/>
                    </a:lnTo>
                    <a:lnTo>
                      <a:pt x="1510" y="34"/>
                    </a:lnTo>
                    <a:lnTo>
                      <a:pt x="1502" y="30"/>
                    </a:lnTo>
                    <a:lnTo>
                      <a:pt x="1492" y="28"/>
                    </a:lnTo>
                    <a:lnTo>
                      <a:pt x="1484" y="28"/>
                    </a:lnTo>
                    <a:lnTo>
                      <a:pt x="1484" y="28"/>
                    </a:lnTo>
                    <a:lnTo>
                      <a:pt x="1468" y="28"/>
                    </a:lnTo>
                    <a:lnTo>
                      <a:pt x="1450" y="24"/>
                    </a:lnTo>
                    <a:lnTo>
                      <a:pt x="1430" y="18"/>
                    </a:lnTo>
                    <a:lnTo>
                      <a:pt x="1406" y="14"/>
                    </a:lnTo>
                    <a:lnTo>
                      <a:pt x="1406" y="14"/>
                    </a:lnTo>
                    <a:lnTo>
                      <a:pt x="1394" y="12"/>
                    </a:lnTo>
                    <a:lnTo>
                      <a:pt x="1388" y="14"/>
                    </a:lnTo>
                    <a:lnTo>
                      <a:pt x="1384" y="16"/>
                    </a:lnTo>
                    <a:lnTo>
                      <a:pt x="1382" y="20"/>
                    </a:lnTo>
                    <a:lnTo>
                      <a:pt x="1378" y="28"/>
                    </a:lnTo>
                    <a:lnTo>
                      <a:pt x="1374" y="30"/>
                    </a:lnTo>
                    <a:lnTo>
                      <a:pt x="1366" y="30"/>
                    </a:lnTo>
                    <a:lnTo>
                      <a:pt x="1366" y="30"/>
                    </a:lnTo>
                    <a:lnTo>
                      <a:pt x="1360" y="28"/>
                    </a:lnTo>
                    <a:lnTo>
                      <a:pt x="1358" y="24"/>
                    </a:lnTo>
                    <a:lnTo>
                      <a:pt x="1358" y="20"/>
                    </a:lnTo>
                    <a:lnTo>
                      <a:pt x="1360" y="16"/>
                    </a:lnTo>
                    <a:lnTo>
                      <a:pt x="1362" y="10"/>
                    </a:lnTo>
                    <a:lnTo>
                      <a:pt x="1362" y="6"/>
                    </a:lnTo>
                    <a:lnTo>
                      <a:pt x="1360" y="4"/>
                    </a:lnTo>
                    <a:lnTo>
                      <a:pt x="1360" y="4"/>
                    </a:lnTo>
                    <a:lnTo>
                      <a:pt x="1350" y="0"/>
                    </a:lnTo>
                    <a:lnTo>
                      <a:pt x="1344" y="0"/>
                    </a:lnTo>
                    <a:lnTo>
                      <a:pt x="1340" y="2"/>
                    </a:lnTo>
                    <a:lnTo>
                      <a:pt x="1334" y="4"/>
                    </a:lnTo>
                    <a:lnTo>
                      <a:pt x="1332" y="8"/>
                    </a:lnTo>
                    <a:lnTo>
                      <a:pt x="1328" y="14"/>
                    </a:lnTo>
                    <a:lnTo>
                      <a:pt x="1326" y="22"/>
                    </a:lnTo>
                    <a:lnTo>
                      <a:pt x="1326" y="22"/>
                    </a:lnTo>
                    <a:lnTo>
                      <a:pt x="1324" y="36"/>
                    </a:lnTo>
                    <a:lnTo>
                      <a:pt x="1322" y="40"/>
                    </a:lnTo>
                    <a:lnTo>
                      <a:pt x="1320" y="40"/>
                    </a:lnTo>
                    <a:lnTo>
                      <a:pt x="1318" y="40"/>
                    </a:lnTo>
                    <a:lnTo>
                      <a:pt x="1314" y="36"/>
                    </a:lnTo>
                    <a:lnTo>
                      <a:pt x="1306" y="24"/>
                    </a:lnTo>
                    <a:lnTo>
                      <a:pt x="1306" y="24"/>
                    </a:lnTo>
                    <a:lnTo>
                      <a:pt x="1300" y="20"/>
                    </a:lnTo>
                    <a:lnTo>
                      <a:pt x="1296" y="18"/>
                    </a:lnTo>
                    <a:lnTo>
                      <a:pt x="1292" y="18"/>
                    </a:lnTo>
                    <a:lnTo>
                      <a:pt x="1286" y="18"/>
                    </a:lnTo>
                    <a:lnTo>
                      <a:pt x="1278" y="20"/>
                    </a:lnTo>
                    <a:lnTo>
                      <a:pt x="1268" y="18"/>
                    </a:lnTo>
                    <a:lnTo>
                      <a:pt x="1252" y="16"/>
                    </a:lnTo>
                    <a:lnTo>
                      <a:pt x="1232" y="8"/>
                    </a:lnTo>
                    <a:lnTo>
                      <a:pt x="1232" y="8"/>
                    </a:lnTo>
                    <a:lnTo>
                      <a:pt x="1216" y="2"/>
                    </a:lnTo>
                    <a:lnTo>
                      <a:pt x="1208" y="2"/>
                    </a:lnTo>
                    <a:lnTo>
                      <a:pt x="1208" y="2"/>
                    </a:lnTo>
                    <a:lnTo>
                      <a:pt x="1208" y="4"/>
                    </a:lnTo>
                    <a:lnTo>
                      <a:pt x="1212" y="10"/>
                    </a:lnTo>
                    <a:lnTo>
                      <a:pt x="1216" y="16"/>
                    </a:lnTo>
                    <a:lnTo>
                      <a:pt x="1216" y="20"/>
                    </a:lnTo>
                    <a:lnTo>
                      <a:pt x="1216" y="22"/>
                    </a:lnTo>
                    <a:lnTo>
                      <a:pt x="1212" y="22"/>
                    </a:lnTo>
                    <a:lnTo>
                      <a:pt x="1200" y="16"/>
                    </a:lnTo>
                    <a:lnTo>
                      <a:pt x="1200" y="16"/>
                    </a:lnTo>
                    <a:lnTo>
                      <a:pt x="1188" y="12"/>
                    </a:lnTo>
                    <a:lnTo>
                      <a:pt x="1182" y="12"/>
                    </a:lnTo>
                    <a:lnTo>
                      <a:pt x="1184" y="14"/>
                    </a:lnTo>
                    <a:lnTo>
                      <a:pt x="1188" y="18"/>
                    </a:lnTo>
                    <a:lnTo>
                      <a:pt x="1192" y="24"/>
                    </a:lnTo>
                    <a:lnTo>
                      <a:pt x="1194" y="28"/>
                    </a:lnTo>
                    <a:lnTo>
                      <a:pt x="1194" y="30"/>
                    </a:lnTo>
                    <a:lnTo>
                      <a:pt x="1190" y="30"/>
                    </a:lnTo>
                    <a:lnTo>
                      <a:pt x="1180" y="28"/>
                    </a:lnTo>
                    <a:lnTo>
                      <a:pt x="1180" y="28"/>
                    </a:lnTo>
                    <a:lnTo>
                      <a:pt x="1166" y="26"/>
                    </a:lnTo>
                    <a:lnTo>
                      <a:pt x="1154" y="24"/>
                    </a:lnTo>
                    <a:lnTo>
                      <a:pt x="1148" y="24"/>
                    </a:lnTo>
                    <a:lnTo>
                      <a:pt x="1142" y="26"/>
                    </a:lnTo>
                    <a:lnTo>
                      <a:pt x="1142" y="30"/>
                    </a:lnTo>
                    <a:lnTo>
                      <a:pt x="1144" y="34"/>
                    </a:lnTo>
                    <a:lnTo>
                      <a:pt x="1148" y="38"/>
                    </a:lnTo>
                    <a:lnTo>
                      <a:pt x="1156" y="42"/>
                    </a:lnTo>
                    <a:lnTo>
                      <a:pt x="1156" y="42"/>
                    </a:lnTo>
                    <a:close/>
                    <a:moveTo>
                      <a:pt x="388" y="1446"/>
                    </a:moveTo>
                    <a:lnTo>
                      <a:pt x="388" y="1446"/>
                    </a:lnTo>
                    <a:lnTo>
                      <a:pt x="384" y="1448"/>
                    </a:lnTo>
                    <a:lnTo>
                      <a:pt x="384" y="1450"/>
                    </a:lnTo>
                    <a:lnTo>
                      <a:pt x="384" y="1452"/>
                    </a:lnTo>
                    <a:lnTo>
                      <a:pt x="386" y="1456"/>
                    </a:lnTo>
                    <a:lnTo>
                      <a:pt x="386" y="1456"/>
                    </a:lnTo>
                    <a:lnTo>
                      <a:pt x="388" y="1454"/>
                    </a:lnTo>
                    <a:lnTo>
                      <a:pt x="390" y="1452"/>
                    </a:lnTo>
                    <a:lnTo>
                      <a:pt x="390" y="1448"/>
                    </a:lnTo>
                    <a:lnTo>
                      <a:pt x="388" y="1446"/>
                    </a:lnTo>
                    <a:lnTo>
                      <a:pt x="388" y="1446"/>
                    </a:lnTo>
                    <a:close/>
                    <a:moveTo>
                      <a:pt x="164" y="1358"/>
                    </a:moveTo>
                    <a:lnTo>
                      <a:pt x="164" y="1358"/>
                    </a:lnTo>
                    <a:lnTo>
                      <a:pt x="164" y="1358"/>
                    </a:lnTo>
                    <a:lnTo>
                      <a:pt x="166" y="1356"/>
                    </a:lnTo>
                    <a:lnTo>
                      <a:pt x="168" y="1358"/>
                    </a:lnTo>
                    <a:lnTo>
                      <a:pt x="168" y="1358"/>
                    </a:lnTo>
                    <a:lnTo>
                      <a:pt x="170" y="1356"/>
                    </a:lnTo>
                    <a:lnTo>
                      <a:pt x="170" y="1356"/>
                    </a:lnTo>
                    <a:lnTo>
                      <a:pt x="172" y="1354"/>
                    </a:lnTo>
                    <a:lnTo>
                      <a:pt x="170" y="1354"/>
                    </a:lnTo>
                    <a:lnTo>
                      <a:pt x="168" y="1350"/>
                    </a:lnTo>
                    <a:lnTo>
                      <a:pt x="168" y="1350"/>
                    </a:lnTo>
                    <a:lnTo>
                      <a:pt x="164" y="1346"/>
                    </a:lnTo>
                    <a:lnTo>
                      <a:pt x="164" y="1346"/>
                    </a:lnTo>
                    <a:lnTo>
                      <a:pt x="164" y="1348"/>
                    </a:lnTo>
                    <a:lnTo>
                      <a:pt x="164" y="1348"/>
                    </a:lnTo>
                    <a:lnTo>
                      <a:pt x="164" y="1350"/>
                    </a:lnTo>
                    <a:lnTo>
                      <a:pt x="164" y="1352"/>
                    </a:lnTo>
                    <a:lnTo>
                      <a:pt x="164" y="1354"/>
                    </a:lnTo>
                    <a:lnTo>
                      <a:pt x="164" y="1358"/>
                    </a:lnTo>
                    <a:lnTo>
                      <a:pt x="164" y="1358"/>
                    </a:lnTo>
                    <a:close/>
                    <a:moveTo>
                      <a:pt x="148" y="1644"/>
                    </a:moveTo>
                    <a:lnTo>
                      <a:pt x="148" y="1644"/>
                    </a:lnTo>
                    <a:lnTo>
                      <a:pt x="150" y="1642"/>
                    </a:lnTo>
                    <a:lnTo>
                      <a:pt x="150" y="1642"/>
                    </a:lnTo>
                    <a:lnTo>
                      <a:pt x="150" y="1640"/>
                    </a:lnTo>
                    <a:lnTo>
                      <a:pt x="152" y="1636"/>
                    </a:lnTo>
                    <a:lnTo>
                      <a:pt x="152" y="1636"/>
                    </a:lnTo>
                    <a:lnTo>
                      <a:pt x="156" y="1634"/>
                    </a:lnTo>
                    <a:lnTo>
                      <a:pt x="160" y="1634"/>
                    </a:lnTo>
                    <a:lnTo>
                      <a:pt x="162" y="1634"/>
                    </a:lnTo>
                    <a:lnTo>
                      <a:pt x="162" y="1632"/>
                    </a:lnTo>
                    <a:lnTo>
                      <a:pt x="162" y="1632"/>
                    </a:lnTo>
                    <a:lnTo>
                      <a:pt x="162" y="1630"/>
                    </a:lnTo>
                    <a:lnTo>
                      <a:pt x="164" y="1630"/>
                    </a:lnTo>
                    <a:lnTo>
                      <a:pt x="166" y="1628"/>
                    </a:lnTo>
                    <a:lnTo>
                      <a:pt x="166" y="1626"/>
                    </a:lnTo>
                    <a:lnTo>
                      <a:pt x="166" y="1626"/>
                    </a:lnTo>
                    <a:lnTo>
                      <a:pt x="164" y="1624"/>
                    </a:lnTo>
                    <a:lnTo>
                      <a:pt x="164" y="1624"/>
                    </a:lnTo>
                    <a:lnTo>
                      <a:pt x="166" y="1622"/>
                    </a:lnTo>
                    <a:lnTo>
                      <a:pt x="164" y="1620"/>
                    </a:lnTo>
                    <a:lnTo>
                      <a:pt x="164" y="1620"/>
                    </a:lnTo>
                    <a:lnTo>
                      <a:pt x="166" y="1618"/>
                    </a:lnTo>
                    <a:lnTo>
                      <a:pt x="168" y="1618"/>
                    </a:lnTo>
                    <a:lnTo>
                      <a:pt x="170" y="1618"/>
                    </a:lnTo>
                    <a:lnTo>
                      <a:pt x="174" y="1616"/>
                    </a:lnTo>
                    <a:lnTo>
                      <a:pt x="174" y="1616"/>
                    </a:lnTo>
                    <a:lnTo>
                      <a:pt x="176" y="1614"/>
                    </a:lnTo>
                    <a:lnTo>
                      <a:pt x="172" y="1614"/>
                    </a:lnTo>
                    <a:lnTo>
                      <a:pt x="168" y="1614"/>
                    </a:lnTo>
                    <a:lnTo>
                      <a:pt x="168" y="1614"/>
                    </a:lnTo>
                    <a:lnTo>
                      <a:pt x="168" y="1614"/>
                    </a:lnTo>
                    <a:lnTo>
                      <a:pt x="168" y="1614"/>
                    </a:lnTo>
                    <a:lnTo>
                      <a:pt x="172" y="1610"/>
                    </a:lnTo>
                    <a:lnTo>
                      <a:pt x="174" y="1606"/>
                    </a:lnTo>
                    <a:lnTo>
                      <a:pt x="174" y="1600"/>
                    </a:lnTo>
                    <a:lnTo>
                      <a:pt x="172" y="1598"/>
                    </a:lnTo>
                    <a:lnTo>
                      <a:pt x="172" y="1598"/>
                    </a:lnTo>
                    <a:lnTo>
                      <a:pt x="170" y="1598"/>
                    </a:lnTo>
                    <a:lnTo>
                      <a:pt x="164" y="1602"/>
                    </a:lnTo>
                    <a:lnTo>
                      <a:pt x="158" y="1606"/>
                    </a:lnTo>
                    <a:lnTo>
                      <a:pt x="150" y="1610"/>
                    </a:lnTo>
                    <a:lnTo>
                      <a:pt x="150" y="1610"/>
                    </a:lnTo>
                    <a:lnTo>
                      <a:pt x="148" y="1612"/>
                    </a:lnTo>
                    <a:lnTo>
                      <a:pt x="148" y="1614"/>
                    </a:lnTo>
                    <a:lnTo>
                      <a:pt x="148" y="1616"/>
                    </a:lnTo>
                    <a:lnTo>
                      <a:pt x="148" y="1620"/>
                    </a:lnTo>
                    <a:lnTo>
                      <a:pt x="148" y="1620"/>
                    </a:lnTo>
                    <a:lnTo>
                      <a:pt x="146" y="1620"/>
                    </a:lnTo>
                    <a:lnTo>
                      <a:pt x="144" y="1618"/>
                    </a:lnTo>
                    <a:lnTo>
                      <a:pt x="142" y="1616"/>
                    </a:lnTo>
                    <a:lnTo>
                      <a:pt x="140" y="1616"/>
                    </a:lnTo>
                    <a:lnTo>
                      <a:pt x="140" y="1616"/>
                    </a:lnTo>
                    <a:lnTo>
                      <a:pt x="136" y="1622"/>
                    </a:lnTo>
                    <a:lnTo>
                      <a:pt x="136" y="1624"/>
                    </a:lnTo>
                    <a:lnTo>
                      <a:pt x="138" y="1628"/>
                    </a:lnTo>
                    <a:lnTo>
                      <a:pt x="138" y="1628"/>
                    </a:lnTo>
                    <a:lnTo>
                      <a:pt x="140" y="1630"/>
                    </a:lnTo>
                    <a:lnTo>
                      <a:pt x="140" y="1630"/>
                    </a:lnTo>
                    <a:lnTo>
                      <a:pt x="138" y="1632"/>
                    </a:lnTo>
                    <a:lnTo>
                      <a:pt x="138" y="1632"/>
                    </a:lnTo>
                    <a:lnTo>
                      <a:pt x="138" y="1632"/>
                    </a:lnTo>
                    <a:lnTo>
                      <a:pt x="144" y="1636"/>
                    </a:lnTo>
                    <a:lnTo>
                      <a:pt x="144" y="1636"/>
                    </a:lnTo>
                    <a:lnTo>
                      <a:pt x="146" y="1636"/>
                    </a:lnTo>
                    <a:lnTo>
                      <a:pt x="146" y="1636"/>
                    </a:lnTo>
                    <a:lnTo>
                      <a:pt x="142" y="1638"/>
                    </a:lnTo>
                    <a:lnTo>
                      <a:pt x="138" y="1642"/>
                    </a:lnTo>
                    <a:lnTo>
                      <a:pt x="136" y="1644"/>
                    </a:lnTo>
                    <a:lnTo>
                      <a:pt x="138" y="1646"/>
                    </a:lnTo>
                    <a:lnTo>
                      <a:pt x="138" y="1646"/>
                    </a:lnTo>
                    <a:lnTo>
                      <a:pt x="140" y="1648"/>
                    </a:lnTo>
                    <a:lnTo>
                      <a:pt x="142" y="1648"/>
                    </a:lnTo>
                    <a:lnTo>
                      <a:pt x="144" y="1644"/>
                    </a:lnTo>
                    <a:lnTo>
                      <a:pt x="148" y="1644"/>
                    </a:lnTo>
                    <a:lnTo>
                      <a:pt x="148" y="1644"/>
                    </a:lnTo>
                    <a:close/>
                    <a:moveTo>
                      <a:pt x="84" y="2020"/>
                    </a:moveTo>
                    <a:lnTo>
                      <a:pt x="84" y="2020"/>
                    </a:lnTo>
                    <a:lnTo>
                      <a:pt x="88" y="2008"/>
                    </a:lnTo>
                    <a:lnTo>
                      <a:pt x="90" y="2008"/>
                    </a:lnTo>
                    <a:lnTo>
                      <a:pt x="92" y="2012"/>
                    </a:lnTo>
                    <a:lnTo>
                      <a:pt x="92" y="2012"/>
                    </a:lnTo>
                    <a:lnTo>
                      <a:pt x="94" y="2014"/>
                    </a:lnTo>
                    <a:lnTo>
                      <a:pt x="96" y="2014"/>
                    </a:lnTo>
                    <a:lnTo>
                      <a:pt x="106" y="2008"/>
                    </a:lnTo>
                    <a:lnTo>
                      <a:pt x="120" y="2000"/>
                    </a:lnTo>
                    <a:lnTo>
                      <a:pt x="126" y="1996"/>
                    </a:lnTo>
                    <a:lnTo>
                      <a:pt x="132" y="1994"/>
                    </a:lnTo>
                    <a:lnTo>
                      <a:pt x="132" y="1994"/>
                    </a:lnTo>
                    <a:lnTo>
                      <a:pt x="142" y="1992"/>
                    </a:lnTo>
                    <a:lnTo>
                      <a:pt x="148" y="1990"/>
                    </a:lnTo>
                    <a:lnTo>
                      <a:pt x="152" y="1990"/>
                    </a:lnTo>
                    <a:lnTo>
                      <a:pt x="160" y="1990"/>
                    </a:lnTo>
                    <a:lnTo>
                      <a:pt x="160" y="1990"/>
                    </a:lnTo>
                    <a:lnTo>
                      <a:pt x="166" y="1992"/>
                    </a:lnTo>
                    <a:lnTo>
                      <a:pt x="168" y="1988"/>
                    </a:lnTo>
                    <a:lnTo>
                      <a:pt x="168" y="1980"/>
                    </a:lnTo>
                    <a:lnTo>
                      <a:pt x="168" y="1974"/>
                    </a:lnTo>
                    <a:lnTo>
                      <a:pt x="172" y="1966"/>
                    </a:lnTo>
                    <a:lnTo>
                      <a:pt x="172" y="1966"/>
                    </a:lnTo>
                    <a:lnTo>
                      <a:pt x="176" y="1958"/>
                    </a:lnTo>
                    <a:lnTo>
                      <a:pt x="178" y="1950"/>
                    </a:lnTo>
                    <a:lnTo>
                      <a:pt x="180" y="1934"/>
                    </a:lnTo>
                    <a:lnTo>
                      <a:pt x="178" y="1920"/>
                    </a:lnTo>
                    <a:lnTo>
                      <a:pt x="174" y="1906"/>
                    </a:lnTo>
                    <a:lnTo>
                      <a:pt x="174" y="1906"/>
                    </a:lnTo>
                    <a:lnTo>
                      <a:pt x="168" y="1888"/>
                    </a:lnTo>
                    <a:lnTo>
                      <a:pt x="166" y="1884"/>
                    </a:lnTo>
                    <a:lnTo>
                      <a:pt x="170" y="1884"/>
                    </a:lnTo>
                    <a:lnTo>
                      <a:pt x="170" y="1884"/>
                    </a:lnTo>
                    <a:lnTo>
                      <a:pt x="172" y="1882"/>
                    </a:lnTo>
                    <a:lnTo>
                      <a:pt x="172" y="1880"/>
                    </a:lnTo>
                    <a:lnTo>
                      <a:pt x="168" y="1874"/>
                    </a:lnTo>
                    <a:lnTo>
                      <a:pt x="168" y="1874"/>
                    </a:lnTo>
                    <a:lnTo>
                      <a:pt x="172" y="1874"/>
                    </a:lnTo>
                    <a:lnTo>
                      <a:pt x="176" y="1876"/>
                    </a:lnTo>
                    <a:lnTo>
                      <a:pt x="178" y="1878"/>
                    </a:lnTo>
                    <a:lnTo>
                      <a:pt x="178" y="1878"/>
                    </a:lnTo>
                    <a:lnTo>
                      <a:pt x="180" y="1878"/>
                    </a:lnTo>
                    <a:lnTo>
                      <a:pt x="186" y="1870"/>
                    </a:lnTo>
                    <a:lnTo>
                      <a:pt x="186" y="1870"/>
                    </a:lnTo>
                    <a:lnTo>
                      <a:pt x="190" y="1866"/>
                    </a:lnTo>
                    <a:lnTo>
                      <a:pt x="194" y="1866"/>
                    </a:lnTo>
                    <a:lnTo>
                      <a:pt x="196" y="1864"/>
                    </a:lnTo>
                    <a:lnTo>
                      <a:pt x="198" y="1862"/>
                    </a:lnTo>
                    <a:lnTo>
                      <a:pt x="198" y="1862"/>
                    </a:lnTo>
                    <a:lnTo>
                      <a:pt x="196" y="1858"/>
                    </a:lnTo>
                    <a:lnTo>
                      <a:pt x="194" y="1858"/>
                    </a:lnTo>
                    <a:lnTo>
                      <a:pt x="192" y="1858"/>
                    </a:lnTo>
                    <a:lnTo>
                      <a:pt x="192" y="1858"/>
                    </a:lnTo>
                    <a:lnTo>
                      <a:pt x="192" y="1858"/>
                    </a:lnTo>
                    <a:lnTo>
                      <a:pt x="194" y="1854"/>
                    </a:lnTo>
                    <a:lnTo>
                      <a:pt x="196" y="1850"/>
                    </a:lnTo>
                    <a:lnTo>
                      <a:pt x="196" y="1848"/>
                    </a:lnTo>
                    <a:lnTo>
                      <a:pt x="196" y="1850"/>
                    </a:lnTo>
                    <a:lnTo>
                      <a:pt x="196" y="1850"/>
                    </a:lnTo>
                    <a:lnTo>
                      <a:pt x="200" y="1858"/>
                    </a:lnTo>
                    <a:lnTo>
                      <a:pt x="202" y="1858"/>
                    </a:lnTo>
                    <a:lnTo>
                      <a:pt x="204" y="1856"/>
                    </a:lnTo>
                    <a:lnTo>
                      <a:pt x="204" y="1856"/>
                    </a:lnTo>
                    <a:lnTo>
                      <a:pt x="204" y="1850"/>
                    </a:lnTo>
                    <a:lnTo>
                      <a:pt x="202" y="1844"/>
                    </a:lnTo>
                    <a:lnTo>
                      <a:pt x="198" y="1840"/>
                    </a:lnTo>
                    <a:lnTo>
                      <a:pt x="196" y="1838"/>
                    </a:lnTo>
                    <a:lnTo>
                      <a:pt x="194" y="1838"/>
                    </a:lnTo>
                    <a:lnTo>
                      <a:pt x="194" y="1838"/>
                    </a:lnTo>
                    <a:lnTo>
                      <a:pt x="186" y="1840"/>
                    </a:lnTo>
                    <a:lnTo>
                      <a:pt x="184" y="1840"/>
                    </a:lnTo>
                    <a:lnTo>
                      <a:pt x="186" y="1838"/>
                    </a:lnTo>
                    <a:lnTo>
                      <a:pt x="186" y="1838"/>
                    </a:lnTo>
                    <a:lnTo>
                      <a:pt x="192" y="1834"/>
                    </a:lnTo>
                    <a:lnTo>
                      <a:pt x="194" y="1832"/>
                    </a:lnTo>
                    <a:lnTo>
                      <a:pt x="192" y="1828"/>
                    </a:lnTo>
                    <a:lnTo>
                      <a:pt x="190" y="1828"/>
                    </a:lnTo>
                    <a:lnTo>
                      <a:pt x="190" y="1828"/>
                    </a:lnTo>
                    <a:lnTo>
                      <a:pt x="186" y="1826"/>
                    </a:lnTo>
                    <a:lnTo>
                      <a:pt x="182" y="1820"/>
                    </a:lnTo>
                    <a:lnTo>
                      <a:pt x="176" y="1808"/>
                    </a:lnTo>
                    <a:lnTo>
                      <a:pt x="176" y="1808"/>
                    </a:lnTo>
                    <a:lnTo>
                      <a:pt x="174" y="1806"/>
                    </a:lnTo>
                    <a:lnTo>
                      <a:pt x="172" y="1804"/>
                    </a:lnTo>
                    <a:lnTo>
                      <a:pt x="164" y="1806"/>
                    </a:lnTo>
                    <a:lnTo>
                      <a:pt x="156" y="1808"/>
                    </a:lnTo>
                    <a:lnTo>
                      <a:pt x="148" y="1808"/>
                    </a:lnTo>
                    <a:lnTo>
                      <a:pt x="148" y="1808"/>
                    </a:lnTo>
                    <a:lnTo>
                      <a:pt x="142" y="1810"/>
                    </a:lnTo>
                    <a:lnTo>
                      <a:pt x="140" y="1812"/>
                    </a:lnTo>
                    <a:lnTo>
                      <a:pt x="138" y="1814"/>
                    </a:lnTo>
                    <a:lnTo>
                      <a:pt x="130" y="1816"/>
                    </a:lnTo>
                    <a:lnTo>
                      <a:pt x="130" y="1816"/>
                    </a:lnTo>
                    <a:lnTo>
                      <a:pt x="126" y="1818"/>
                    </a:lnTo>
                    <a:lnTo>
                      <a:pt x="124" y="1822"/>
                    </a:lnTo>
                    <a:lnTo>
                      <a:pt x="122" y="1828"/>
                    </a:lnTo>
                    <a:lnTo>
                      <a:pt x="120" y="1834"/>
                    </a:lnTo>
                    <a:lnTo>
                      <a:pt x="116" y="1836"/>
                    </a:lnTo>
                    <a:lnTo>
                      <a:pt x="112" y="1836"/>
                    </a:lnTo>
                    <a:lnTo>
                      <a:pt x="112" y="1836"/>
                    </a:lnTo>
                    <a:lnTo>
                      <a:pt x="116" y="1836"/>
                    </a:lnTo>
                    <a:lnTo>
                      <a:pt x="120" y="1832"/>
                    </a:lnTo>
                    <a:lnTo>
                      <a:pt x="122" y="1826"/>
                    </a:lnTo>
                    <a:lnTo>
                      <a:pt x="124" y="1818"/>
                    </a:lnTo>
                    <a:lnTo>
                      <a:pt x="128" y="1816"/>
                    </a:lnTo>
                    <a:lnTo>
                      <a:pt x="132" y="1814"/>
                    </a:lnTo>
                    <a:lnTo>
                      <a:pt x="132" y="1814"/>
                    </a:lnTo>
                    <a:lnTo>
                      <a:pt x="132" y="1810"/>
                    </a:lnTo>
                    <a:lnTo>
                      <a:pt x="134" y="1808"/>
                    </a:lnTo>
                    <a:lnTo>
                      <a:pt x="138" y="1806"/>
                    </a:lnTo>
                    <a:lnTo>
                      <a:pt x="140" y="1804"/>
                    </a:lnTo>
                    <a:lnTo>
                      <a:pt x="140" y="1804"/>
                    </a:lnTo>
                    <a:lnTo>
                      <a:pt x="134" y="1798"/>
                    </a:lnTo>
                    <a:lnTo>
                      <a:pt x="134" y="1798"/>
                    </a:lnTo>
                    <a:lnTo>
                      <a:pt x="130" y="1796"/>
                    </a:lnTo>
                    <a:lnTo>
                      <a:pt x="126" y="1796"/>
                    </a:lnTo>
                    <a:lnTo>
                      <a:pt x="124" y="1798"/>
                    </a:lnTo>
                    <a:lnTo>
                      <a:pt x="122" y="1800"/>
                    </a:lnTo>
                    <a:lnTo>
                      <a:pt x="118" y="1804"/>
                    </a:lnTo>
                    <a:lnTo>
                      <a:pt x="116" y="1804"/>
                    </a:lnTo>
                    <a:lnTo>
                      <a:pt x="112" y="1804"/>
                    </a:lnTo>
                    <a:lnTo>
                      <a:pt x="112" y="1804"/>
                    </a:lnTo>
                    <a:lnTo>
                      <a:pt x="104" y="1806"/>
                    </a:lnTo>
                    <a:lnTo>
                      <a:pt x="94" y="1810"/>
                    </a:lnTo>
                    <a:lnTo>
                      <a:pt x="86" y="1816"/>
                    </a:lnTo>
                    <a:lnTo>
                      <a:pt x="84" y="1820"/>
                    </a:lnTo>
                    <a:lnTo>
                      <a:pt x="84" y="1824"/>
                    </a:lnTo>
                    <a:lnTo>
                      <a:pt x="84" y="1824"/>
                    </a:lnTo>
                    <a:lnTo>
                      <a:pt x="84" y="1828"/>
                    </a:lnTo>
                    <a:lnTo>
                      <a:pt x="82" y="1830"/>
                    </a:lnTo>
                    <a:lnTo>
                      <a:pt x="76" y="1834"/>
                    </a:lnTo>
                    <a:lnTo>
                      <a:pt x="70" y="1836"/>
                    </a:lnTo>
                    <a:lnTo>
                      <a:pt x="68" y="1838"/>
                    </a:lnTo>
                    <a:lnTo>
                      <a:pt x="68" y="1840"/>
                    </a:lnTo>
                    <a:lnTo>
                      <a:pt x="68" y="1840"/>
                    </a:lnTo>
                    <a:lnTo>
                      <a:pt x="70" y="1842"/>
                    </a:lnTo>
                    <a:lnTo>
                      <a:pt x="76" y="1842"/>
                    </a:lnTo>
                    <a:lnTo>
                      <a:pt x="86" y="1842"/>
                    </a:lnTo>
                    <a:lnTo>
                      <a:pt x="94" y="1844"/>
                    </a:lnTo>
                    <a:lnTo>
                      <a:pt x="94" y="1846"/>
                    </a:lnTo>
                    <a:lnTo>
                      <a:pt x="90" y="1848"/>
                    </a:lnTo>
                    <a:lnTo>
                      <a:pt x="90" y="1848"/>
                    </a:lnTo>
                    <a:lnTo>
                      <a:pt x="82" y="1856"/>
                    </a:lnTo>
                    <a:lnTo>
                      <a:pt x="78" y="1862"/>
                    </a:lnTo>
                    <a:lnTo>
                      <a:pt x="74" y="1866"/>
                    </a:lnTo>
                    <a:lnTo>
                      <a:pt x="70" y="1866"/>
                    </a:lnTo>
                    <a:lnTo>
                      <a:pt x="70" y="1866"/>
                    </a:lnTo>
                    <a:lnTo>
                      <a:pt x="62" y="1864"/>
                    </a:lnTo>
                    <a:lnTo>
                      <a:pt x="58" y="1866"/>
                    </a:lnTo>
                    <a:lnTo>
                      <a:pt x="54" y="1866"/>
                    </a:lnTo>
                    <a:lnTo>
                      <a:pt x="48" y="1864"/>
                    </a:lnTo>
                    <a:lnTo>
                      <a:pt x="48" y="1864"/>
                    </a:lnTo>
                    <a:lnTo>
                      <a:pt x="40" y="1860"/>
                    </a:lnTo>
                    <a:lnTo>
                      <a:pt x="30" y="1860"/>
                    </a:lnTo>
                    <a:lnTo>
                      <a:pt x="22" y="1862"/>
                    </a:lnTo>
                    <a:lnTo>
                      <a:pt x="14" y="1868"/>
                    </a:lnTo>
                    <a:lnTo>
                      <a:pt x="14" y="1868"/>
                    </a:lnTo>
                    <a:lnTo>
                      <a:pt x="14" y="1870"/>
                    </a:lnTo>
                    <a:lnTo>
                      <a:pt x="14" y="1870"/>
                    </a:lnTo>
                    <a:lnTo>
                      <a:pt x="18" y="1870"/>
                    </a:lnTo>
                    <a:lnTo>
                      <a:pt x="20" y="1870"/>
                    </a:lnTo>
                    <a:lnTo>
                      <a:pt x="20" y="1872"/>
                    </a:lnTo>
                    <a:lnTo>
                      <a:pt x="20" y="1874"/>
                    </a:lnTo>
                    <a:lnTo>
                      <a:pt x="18" y="1878"/>
                    </a:lnTo>
                    <a:lnTo>
                      <a:pt x="18" y="1878"/>
                    </a:lnTo>
                    <a:lnTo>
                      <a:pt x="16" y="1884"/>
                    </a:lnTo>
                    <a:lnTo>
                      <a:pt x="18" y="1886"/>
                    </a:lnTo>
                    <a:lnTo>
                      <a:pt x="22" y="1888"/>
                    </a:lnTo>
                    <a:lnTo>
                      <a:pt x="28" y="1888"/>
                    </a:lnTo>
                    <a:lnTo>
                      <a:pt x="38" y="1888"/>
                    </a:lnTo>
                    <a:lnTo>
                      <a:pt x="38" y="1890"/>
                    </a:lnTo>
                    <a:lnTo>
                      <a:pt x="34" y="1892"/>
                    </a:lnTo>
                    <a:lnTo>
                      <a:pt x="34" y="1892"/>
                    </a:lnTo>
                    <a:lnTo>
                      <a:pt x="24" y="1898"/>
                    </a:lnTo>
                    <a:lnTo>
                      <a:pt x="22" y="1900"/>
                    </a:lnTo>
                    <a:lnTo>
                      <a:pt x="20" y="1904"/>
                    </a:lnTo>
                    <a:lnTo>
                      <a:pt x="16" y="1908"/>
                    </a:lnTo>
                    <a:lnTo>
                      <a:pt x="16" y="1908"/>
                    </a:lnTo>
                    <a:lnTo>
                      <a:pt x="14" y="1912"/>
                    </a:lnTo>
                    <a:lnTo>
                      <a:pt x="16" y="1914"/>
                    </a:lnTo>
                    <a:lnTo>
                      <a:pt x="24" y="1922"/>
                    </a:lnTo>
                    <a:lnTo>
                      <a:pt x="36" y="1928"/>
                    </a:lnTo>
                    <a:lnTo>
                      <a:pt x="40" y="1928"/>
                    </a:lnTo>
                    <a:lnTo>
                      <a:pt x="44" y="1928"/>
                    </a:lnTo>
                    <a:lnTo>
                      <a:pt x="44" y="1928"/>
                    </a:lnTo>
                    <a:lnTo>
                      <a:pt x="52" y="1926"/>
                    </a:lnTo>
                    <a:lnTo>
                      <a:pt x="58" y="1928"/>
                    </a:lnTo>
                    <a:lnTo>
                      <a:pt x="60" y="1928"/>
                    </a:lnTo>
                    <a:lnTo>
                      <a:pt x="60" y="1930"/>
                    </a:lnTo>
                    <a:lnTo>
                      <a:pt x="50" y="1934"/>
                    </a:lnTo>
                    <a:lnTo>
                      <a:pt x="50" y="1934"/>
                    </a:lnTo>
                    <a:lnTo>
                      <a:pt x="44" y="1936"/>
                    </a:lnTo>
                    <a:lnTo>
                      <a:pt x="42" y="1938"/>
                    </a:lnTo>
                    <a:lnTo>
                      <a:pt x="42" y="1940"/>
                    </a:lnTo>
                    <a:lnTo>
                      <a:pt x="42" y="1944"/>
                    </a:lnTo>
                    <a:lnTo>
                      <a:pt x="42" y="1948"/>
                    </a:lnTo>
                    <a:lnTo>
                      <a:pt x="40" y="1952"/>
                    </a:lnTo>
                    <a:lnTo>
                      <a:pt x="36" y="1956"/>
                    </a:lnTo>
                    <a:lnTo>
                      <a:pt x="28" y="1962"/>
                    </a:lnTo>
                    <a:lnTo>
                      <a:pt x="28" y="1962"/>
                    </a:lnTo>
                    <a:lnTo>
                      <a:pt x="22" y="1966"/>
                    </a:lnTo>
                    <a:lnTo>
                      <a:pt x="22" y="1968"/>
                    </a:lnTo>
                    <a:lnTo>
                      <a:pt x="26" y="1968"/>
                    </a:lnTo>
                    <a:lnTo>
                      <a:pt x="30" y="1968"/>
                    </a:lnTo>
                    <a:lnTo>
                      <a:pt x="58" y="1960"/>
                    </a:lnTo>
                    <a:lnTo>
                      <a:pt x="58" y="1960"/>
                    </a:lnTo>
                    <a:lnTo>
                      <a:pt x="64" y="1960"/>
                    </a:lnTo>
                    <a:lnTo>
                      <a:pt x="66" y="1960"/>
                    </a:lnTo>
                    <a:lnTo>
                      <a:pt x="66" y="1962"/>
                    </a:lnTo>
                    <a:lnTo>
                      <a:pt x="66" y="1964"/>
                    </a:lnTo>
                    <a:lnTo>
                      <a:pt x="62" y="1966"/>
                    </a:lnTo>
                    <a:lnTo>
                      <a:pt x="50" y="1968"/>
                    </a:lnTo>
                    <a:lnTo>
                      <a:pt x="50" y="1968"/>
                    </a:lnTo>
                    <a:lnTo>
                      <a:pt x="36" y="1970"/>
                    </a:lnTo>
                    <a:lnTo>
                      <a:pt x="28" y="1974"/>
                    </a:lnTo>
                    <a:lnTo>
                      <a:pt x="24" y="1978"/>
                    </a:lnTo>
                    <a:lnTo>
                      <a:pt x="26" y="1982"/>
                    </a:lnTo>
                    <a:lnTo>
                      <a:pt x="26" y="1982"/>
                    </a:lnTo>
                    <a:lnTo>
                      <a:pt x="28" y="1984"/>
                    </a:lnTo>
                    <a:lnTo>
                      <a:pt x="26" y="1986"/>
                    </a:lnTo>
                    <a:lnTo>
                      <a:pt x="22" y="1984"/>
                    </a:lnTo>
                    <a:lnTo>
                      <a:pt x="14" y="1984"/>
                    </a:lnTo>
                    <a:lnTo>
                      <a:pt x="10" y="1986"/>
                    </a:lnTo>
                    <a:lnTo>
                      <a:pt x="4" y="1988"/>
                    </a:lnTo>
                    <a:lnTo>
                      <a:pt x="4" y="1988"/>
                    </a:lnTo>
                    <a:lnTo>
                      <a:pt x="0" y="1994"/>
                    </a:lnTo>
                    <a:lnTo>
                      <a:pt x="0" y="1996"/>
                    </a:lnTo>
                    <a:lnTo>
                      <a:pt x="2" y="1996"/>
                    </a:lnTo>
                    <a:lnTo>
                      <a:pt x="6" y="1996"/>
                    </a:lnTo>
                    <a:lnTo>
                      <a:pt x="10" y="1996"/>
                    </a:lnTo>
                    <a:lnTo>
                      <a:pt x="14" y="1996"/>
                    </a:lnTo>
                    <a:lnTo>
                      <a:pt x="14" y="2000"/>
                    </a:lnTo>
                    <a:lnTo>
                      <a:pt x="10" y="2004"/>
                    </a:lnTo>
                    <a:lnTo>
                      <a:pt x="10" y="2004"/>
                    </a:lnTo>
                    <a:lnTo>
                      <a:pt x="6" y="2010"/>
                    </a:lnTo>
                    <a:lnTo>
                      <a:pt x="4" y="2012"/>
                    </a:lnTo>
                    <a:lnTo>
                      <a:pt x="8" y="2014"/>
                    </a:lnTo>
                    <a:lnTo>
                      <a:pt x="12" y="2016"/>
                    </a:lnTo>
                    <a:lnTo>
                      <a:pt x="18" y="2018"/>
                    </a:lnTo>
                    <a:lnTo>
                      <a:pt x="20" y="2020"/>
                    </a:lnTo>
                    <a:lnTo>
                      <a:pt x="16" y="2024"/>
                    </a:lnTo>
                    <a:lnTo>
                      <a:pt x="16" y="2024"/>
                    </a:lnTo>
                    <a:lnTo>
                      <a:pt x="14" y="2026"/>
                    </a:lnTo>
                    <a:lnTo>
                      <a:pt x="16" y="2026"/>
                    </a:lnTo>
                    <a:lnTo>
                      <a:pt x="28" y="2022"/>
                    </a:lnTo>
                    <a:lnTo>
                      <a:pt x="36" y="2020"/>
                    </a:lnTo>
                    <a:lnTo>
                      <a:pt x="36" y="2022"/>
                    </a:lnTo>
                    <a:lnTo>
                      <a:pt x="30" y="2026"/>
                    </a:lnTo>
                    <a:lnTo>
                      <a:pt x="30" y="2026"/>
                    </a:lnTo>
                    <a:lnTo>
                      <a:pt x="28" y="2030"/>
                    </a:lnTo>
                    <a:lnTo>
                      <a:pt x="28" y="2032"/>
                    </a:lnTo>
                    <a:lnTo>
                      <a:pt x="30" y="2034"/>
                    </a:lnTo>
                    <a:lnTo>
                      <a:pt x="38" y="2034"/>
                    </a:lnTo>
                    <a:lnTo>
                      <a:pt x="48" y="2032"/>
                    </a:lnTo>
                    <a:lnTo>
                      <a:pt x="70" y="2028"/>
                    </a:lnTo>
                    <a:lnTo>
                      <a:pt x="78" y="2024"/>
                    </a:lnTo>
                    <a:lnTo>
                      <a:pt x="84" y="2020"/>
                    </a:lnTo>
                    <a:lnTo>
                      <a:pt x="84" y="2020"/>
                    </a:lnTo>
                    <a:close/>
                    <a:moveTo>
                      <a:pt x="154" y="1672"/>
                    </a:moveTo>
                    <a:lnTo>
                      <a:pt x="154" y="1672"/>
                    </a:lnTo>
                    <a:lnTo>
                      <a:pt x="156" y="1672"/>
                    </a:lnTo>
                    <a:lnTo>
                      <a:pt x="156" y="1672"/>
                    </a:lnTo>
                    <a:lnTo>
                      <a:pt x="158" y="1670"/>
                    </a:lnTo>
                    <a:lnTo>
                      <a:pt x="162" y="1672"/>
                    </a:lnTo>
                    <a:lnTo>
                      <a:pt x="162" y="1672"/>
                    </a:lnTo>
                    <a:lnTo>
                      <a:pt x="162" y="1674"/>
                    </a:lnTo>
                    <a:lnTo>
                      <a:pt x="162" y="1676"/>
                    </a:lnTo>
                    <a:lnTo>
                      <a:pt x="162" y="1678"/>
                    </a:lnTo>
                    <a:lnTo>
                      <a:pt x="164" y="1682"/>
                    </a:lnTo>
                    <a:lnTo>
                      <a:pt x="164" y="1682"/>
                    </a:lnTo>
                    <a:lnTo>
                      <a:pt x="168" y="1684"/>
                    </a:lnTo>
                    <a:lnTo>
                      <a:pt x="170" y="1684"/>
                    </a:lnTo>
                    <a:lnTo>
                      <a:pt x="174" y="1682"/>
                    </a:lnTo>
                    <a:lnTo>
                      <a:pt x="180" y="1682"/>
                    </a:lnTo>
                    <a:lnTo>
                      <a:pt x="180" y="1682"/>
                    </a:lnTo>
                    <a:lnTo>
                      <a:pt x="182" y="1684"/>
                    </a:lnTo>
                    <a:lnTo>
                      <a:pt x="182" y="1684"/>
                    </a:lnTo>
                    <a:lnTo>
                      <a:pt x="182" y="1688"/>
                    </a:lnTo>
                    <a:lnTo>
                      <a:pt x="180" y="1692"/>
                    </a:lnTo>
                    <a:lnTo>
                      <a:pt x="180" y="1694"/>
                    </a:lnTo>
                    <a:lnTo>
                      <a:pt x="180" y="1694"/>
                    </a:lnTo>
                    <a:lnTo>
                      <a:pt x="182" y="1692"/>
                    </a:lnTo>
                    <a:lnTo>
                      <a:pt x="186" y="1688"/>
                    </a:lnTo>
                    <a:lnTo>
                      <a:pt x="192" y="1678"/>
                    </a:lnTo>
                    <a:lnTo>
                      <a:pt x="192" y="1678"/>
                    </a:lnTo>
                    <a:lnTo>
                      <a:pt x="192" y="1676"/>
                    </a:lnTo>
                    <a:lnTo>
                      <a:pt x="190" y="1676"/>
                    </a:lnTo>
                    <a:lnTo>
                      <a:pt x="184" y="1678"/>
                    </a:lnTo>
                    <a:lnTo>
                      <a:pt x="180" y="1676"/>
                    </a:lnTo>
                    <a:lnTo>
                      <a:pt x="180" y="1676"/>
                    </a:lnTo>
                    <a:lnTo>
                      <a:pt x="178" y="1674"/>
                    </a:lnTo>
                    <a:lnTo>
                      <a:pt x="176" y="1672"/>
                    </a:lnTo>
                    <a:lnTo>
                      <a:pt x="174" y="1662"/>
                    </a:lnTo>
                    <a:lnTo>
                      <a:pt x="172" y="1654"/>
                    </a:lnTo>
                    <a:lnTo>
                      <a:pt x="170" y="1652"/>
                    </a:lnTo>
                    <a:lnTo>
                      <a:pt x="168" y="1650"/>
                    </a:lnTo>
                    <a:lnTo>
                      <a:pt x="168" y="1650"/>
                    </a:lnTo>
                    <a:lnTo>
                      <a:pt x="166" y="1650"/>
                    </a:lnTo>
                    <a:lnTo>
                      <a:pt x="166" y="1652"/>
                    </a:lnTo>
                    <a:lnTo>
                      <a:pt x="166" y="1656"/>
                    </a:lnTo>
                    <a:lnTo>
                      <a:pt x="166" y="1662"/>
                    </a:lnTo>
                    <a:lnTo>
                      <a:pt x="166" y="1664"/>
                    </a:lnTo>
                    <a:lnTo>
                      <a:pt x="166" y="1664"/>
                    </a:lnTo>
                    <a:lnTo>
                      <a:pt x="162" y="1664"/>
                    </a:lnTo>
                    <a:lnTo>
                      <a:pt x="160" y="1660"/>
                    </a:lnTo>
                    <a:lnTo>
                      <a:pt x="158" y="1658"/>
                    </a:lnTo>
                    <a:lnTo>
                      <a:pt x="154" y="1656"/>
                    </a:lnTo>
                    <a:lnTo>
                      <a:pt x="154" y="1656"/>
                    </a:lnTo>
                    <a:lnTo>
                      <a:pt x="154" y="1658"/>
                    </a:lnTo>
                    <a:lnTo>
                      <a:pt x="154" y="1660"/>
                    </a:lnTo>
                    <a:lnTo>
                      <a:pt x="156" y="1664"/>
                    </a:lnTo>
                    <a:lnTo>
                      <a:pt x="156" y="1664"/>
                    </a:lnTo>
                    <a:lnTo>
                      <a:pt x="154" y="1666"/>
                    </a:lnTo>
                    <a:lnTo>
                      <a:pt x="150" y="1666"/>
                    </a:lnTo>
                    <a:lnTo>
                      <a:pt x="150" y="1668"/>
                    </a:lnTo>
                    <a:lnTo>
                      <a:pt x="154" y="1672"/>
                    </a:lnTo>
                    <a:lnTo>
                      <a:pt x="154" y="1672"/>
                    </a:lnTo>
                    <a:close/>
                    <a:moveTo>
                      <a:pt x="146" y="1346"/>
                    </a:moveTo>
                    <a:lnTo>
                      <a:pt x="146" y="1346"/>
                    </a:lnTo>
                    <a:lnTo>
                      <a:pt x="142" y="1346"/>
                    </a:lnTo>
                    <a:lnTo>
                      <a:pt x="144" y="1352"/>
                    </a:lnTo>
                    <a:lnTo>
                      <a:pt x="144" y="1352"/>
                    </a:lnTo>
                    <a:lnTo>
                      <a:pt x="148" y="1358"/>
                    </a:lnTo>
                    <a:lnTo>
                      <a:pt x="154" y="1362"/>
                    </a:lnTo>
                    <a:lnTo>
                      <a:pt x="154" y="1362"/>
                    </a:lnTo>
                    <a:lnTo>
                      <a:pt x="158" y="1364"/>
                    </a:lnTo>
                    <a:lnTo>
                      <a:pt x="160" y="1364"/>
                    </a:lnTo>
                    <a:lnTo>
                      <a:pt x="162" y="1362"/>
                    </a:lnTo>
                    <a:lnTo>
                      <a:pt x="160" y="1360"/>
                    </a:lnTo>
                    <a:lnTo>
                      <a:pt x="160" y="1360"/>
                    </a:lnTo>
                    <a:lnTo>
                      <a:pt x="158" y="1358"/>
                    </a:lnTo>
                    <a:lnTo>
                      <a:pt x="160" y="1358"/>
                    </a:lnTo>
                    <a:lnTo>
                      <a:pt x="160" y="1356"/>
                    </a:lnTo>
                    <a:lnTo>
                      <a:pt x="158" y="1356"/>
                    </a:lnTo>
                    <a:lnTo>
                      <a:pt x="158" y="1356"/>
                    </a:lnTo>
                    <a:lnTo>
                      <a:pt x="154" y="1354"/>
                    </a:lnTo>
                    <a:lnTo>
                      <a:pt x="154" y="1352"/>
                    </a:lnTo>
                    <a:lnTo>
                      <a:pt x="154" y="1350"/>
                    </a:lnTo>
                    <a:lnTo>
                      <a:pt x="152" y="1350"/>
                    </a:lnTo>
                    <a:lnTo>
                      <a:pt x="152" y="1350"/>
                    </a:lnTo>
                    <a:lnTo>
                      <a:pt x="148" y="1350"/>
                    </a:lnTo>
                    <a:lnTo>
                      <a:pt x="148" y="1348"/>
                    </a:lnTo>
                    <a:lnTo>
                      <a:pt x="148" y="1346"/>
                    </a:lnTo>
                    <a:lnTo>
                      <a:pt x="146" y="1346"/>
                    </a:lnTo>
                    <a:lnTo>
                      <a:pt x="146" y="1346"/>
                    </a:lnTo>
                    <a:close/>
                    <a:moveTo>
                      <a:pt x="166" y="1740"/>
                    </a:moveTo>
                    <a:lnTo>
                      <a:pt x="166" y="1740"/>
                    </a:lnTo>
                    <a:lnTo>
                      <a:pt x="166" y="1742"/>
                    </a:lnTo>
                    <a:lnTo>
                      <a:pt x="168" y="1742"/>
                    </a:lnTo>
                    <a:lnTo>
                      <a:pt x="174" y="1740"/>
                    </a:lnTo>
                    <a:lnTo>
                      <a:pt x="188" y="1736"/>
                    </a:lnTo>
                    <a:lnTo>
                      <a:pt x="188" y="1736"/>
                    </a:lnTo>
                    <a:lnTo>
                      <a:pt x="194" y="1734"/>
                    </a:lnTo>
                    <a:lnTo>
                      <a:pt x="192" y="1732"/>
                    </a:lnTo>
                    <a:lnTo>
                      <a:pt x="190" y="1728"/>
                    </a:lnTo>
                    <a:lnTo>
                      <a:pt x="184" y="1724"/>
                    </a:lnTo>
                    <a:lnTo>
                      <a:pt x="184" y="1724"/>
                    </a:lnTo>
                    <a:lnTo>
                      <a:pt x="178" y="1722"/>
                    </a:lnTo>
                    <a:lnTo>
                      <a:pt x="176" y="1718"/>
                    </a:lnTo>
                    <a:lnTo>
                      <a:pt x="174" y="1718"/>
                    </a:lnTo>
                    <a:lnTo>
                      <a:pt x="170" y="1720"/>
                    </a:lnTo>
                    <a:lnTo>
                      <a:pt x="170" y="1720"/>
                    </a:lnTo>
                    <a:lnTo>
                      <a:pt x="168" y="1722"/>
                    </a:lnTo>
                    <a:lnTo>
                      <a:pt x="166" y="1724"/>
                    </a:lnTo>
                    <a:lnTo>
                      <a:pt x="174" y="1728"/>
                    </a:lnTo>
                    <a:lnTo>
                      <a:pt x="174" y="1728"/>
                    </a:lnTo>
                    <a:lnTo>
                      <a:pt x="176" y="1730"/>
                    </a:lnTo>
                    <a:lnTo>
                      <a:pt x="174" y="1730"/>
                    </a:lnTo>
                    <a:lnTo>
                      <a:pt x="172" y="1732"/>
                    </a:lnTo>
                    <a:lnTo>
                      <a:pt x="172" y="1734"/>
                    </a:lnTo>
                    <a:lnTo>
                      <a:pt x="172" y="1734"/>
                    </a:lnTo>
                    <a:lnTo>
                      <a:pt x="172" y="1736"/>
                    </a:lnTo>
                    <a:lnTo>
                      <a:pt x="170" y="1736"/>
                    </a:lnTo>
                    <a:lnTo>
                      <a:pt x="168" y="1738"/>
                    </a:lnTo>
                    <a:lnTo>
                      <a:pt x="166" y="1740"/>
                    </a:lnTo>
                    <a:lnTo>
                      <a:pt x="166" y="1740"/>
                    </a:lnTo>
                    <a:close/>
                    <a:moveTo>
                      <a:pt x="362" y="2084"/>
                    </a:moveTo>
                    <a:lnTo>
                      <a:pt x="362" y="2084"/>
                    </a:lnTo>
                    <a:lnTo>
                      <a:pt x="370" y="2088"/>
                    </a:lnTo>
                    <a:lnTo>
                      <a:pt x="376" y="2088"/>
                    </a:lnTo>
                    <a:lnTo>
                      <a:pt x="380" y="2086"/>
                    </a:lnTo>
                    <a:lnTo>
                      <a:pt x="378" y="2082"/>
                    </a:lnTo>
                    <a:lnTo>
                      <a:pt x="378" y="2082"/>
                    </a:lnTo>
                    <a:lnTo>
                      <a:pt x="376" y="2080"/>
                    </a:lnTo>
                    <a:lnTo>
                      <a:pt x="372" y="2078"/>
                    </a:lnTo>
                    <a:lnTo>
                      <a:pt x="366" y="2080"/>
                    </a:lnTo>
                    <a:lnTo>
                      <a:pt x="362" y="2084"/>
                    </a:lnTo>
                    <a:lnTo>
                      <a:pt x="362" y="2084"/>
                    </a:lnTo>
                    <a:close/>
                    <a:moveTo>
                      <a:pt x="174" y="1354"/>
                    </a:moveTo>
                    <a:lnTo>
                      <a:pt x="174" y="1354"/>
                    </a:lnTo>
                    <a:lnTo>
                      <a:pt x="176" y="1352"/>
                    </a:lnTo>
                    <a:lnTo>
                      <a:pt x="176" y="1350"/>
                    </a:lnTo>
                    <a:lnTo>
                      <a:pt x="174" y="1348"/>
                    </a:lnTo>
                    <a:lnTo>
                      <a:pt x="174" y="1348"/>
                    </a:lnTo>
                    <a:lnTo>
                      <a:pt x="174" y="1350"/>
                    </a:lnTo>
                    <a:lnTo>
                      <a:pt x="172" y="1350"/>
                    </a:lnTo>
                    <a:lnTo>
                      <a:pt x="172" y="1352"/>
                    </a:lnTo>
                    <a:lnTo>
                      <a:pt x="174" y="1354"/>
                    </a:lnTo>
                    <a:lnTo>
                      <a:pt x="174" y="1354"/>
                    </a:lnTo>
                    <a:close/>
                    <a:moveTo>
                      <a:pt x="168" y="1784"/>
                    </a:moveTo>
                    <a:lnTo>
                      <a:pt x="168" y="1784"/>
                    </a:lnTo>
                    <a:lnTo>
                      <a:pt x="168" y="1784"/>
                    </a:lnTo>
                    <a:lnTo>
                      <a:pt x="170" y="1784"/>
                    </a:lnTo>
                    <a:lnTo>
                      <a:pt x="176" y="1780"/>
                    </a:lnTo>
                    <a:lnTo>
                      <a:pt x="176" y="1780"/>
                    </a:lnTo>
                    <a:lnTo>
                      <a:pt x="178" y="1776"/>
                    </a:lnTo>
                    <a:lnTo>
                      <a:pt x="178" y="1772"/>
                    </a:lnTo>
                    <a:lnTo>
                      <a:pt x="176" y="1768"/>
                    </a:lnTo>
                    <a:lnTo>
                      <a:pt x="176" y="1764"/>
                    </a:lnTo>
                    <a:lnTo>
                      <a:pt x="176" y="1764"/>
                    </a:lnTo>
                    <a:lnTo>
                      <a:pt x="176" y="1762"/>
                    </a:lnTo>
                    <a:lnTo>
                      <a:pt x="174" y="1762"/>
                    </a:lnTo>
                    <a:lnTo>
                      <a:pt x="172" y="1764"/>
                    </a:lnTo>
                    <a:lnTo>
                      <a:pt x="170" y="1766"/>
                    </a:lnTo>
                    <a:lnTo>
                      <a:pt x="168" y="1766"/>
                    </a:lnTo>
                    <a:lnTo>
                      <a:pt x="168" y="1766"/>
                    </a:lnTo>
                    <a:lnTo>
                      <a:pt x="168" y="1766"/>
                    </a:lnTo>
                    <a:lnTo>
                      <a:pt x="166" y="1764"/>
                    </a:lnTo>
                    <a:lnTo>
                      <a:pt x="166" y="1766"/>
                    </a:lnTo>
                    <a:lnTo>
                      <a:pt x="162" y="1768"/>
                    </a:lnTo>
                    <a:lnTo>
                      <a:pt x="158" y="1772"/>
                    </a:lnTo>
                    <a:lnTo>
                      <a:pt x="158" y="1774"/>
                    </a:lnTo>
                    <a:lnTo>
                      <a:pt x="160" y="1776"/>
                    </a:lnTo>
                    <a:lnTo>
                      <a:pt x="160" y="1776"/>
                    </a:lnTo>
                    <a:lnTo>
                      <a:pt x="162" y="1776"/>
                    </a:lnTo>
                    <a:lnTo>
                      <a:pt x="166" y="1774"/>
                    </a:lnTo>
                    <a:lnTo>
                      <a:pt x="168" y="1774"/>
                    </a:lnTo>
                    <a:lnTo>
                      <a:pt x="170" y="1776"/>
                    </a:lnTo>
                    <a:lnTo>
                      <a:pt x="170" y="1776"/>
                    </a:lnTo>
                    <a:lnTo>
                      <a:pt x="170" y="1778"/>
                    </a:lnTo>
                    <a:lnTo>
                      <a:pt x="168" y="1780"/>
                    </a:lnTo>
                    <a:lnTo>
                      <a:pt x="166" y="1782"/>
                    </a:lnTo>
                    <a:lnTo>
                      <a:pt x="168" y="1784"/>
                    </a:lnTo>
                    <a:lnTo>
                      <a:pt x="168" y="1784"/>
                    </a:lnTo>
                    <a:close/>
                    <a:moveTo>
                      <a:pt x="190" y="1748"/>
                    </a:moveTo>
                    <a:lnTo>
                      <a:pt x="190" y="1748"/>
                    </a:lnTo>
                    <a:lnTo>
                      <a:pt x="186" y="1752"/>
                    </a:lnTo>
                    <a:lnTo>
                      <a:pt x="182" y="1756"/>
                    </a:lnTo>
                    <a:lnTo>
                      <a:pt x="178" y="1762"/>
                    </a:lnTo>
                    <a:lnTo>
                      <a:pt x="178" y="1768"/>
                    </a:lnTo>
                    <a:lnTo>
                      <a:pt x="178" y="1768"/>
                    </a:lnTo>
                    <a:lnTo>
                      <a:pt x="180" y="1768"/>
                    </a:lnTo>
                    <a:lnTo>
                      <a:pt x="182" y="1766"/>
                    </a:lnTo>
                    <a:lnTo>
                      <a:pt x="188" y="1758"/>
                    </a:lnTo>
                    <a:lnTo>
                      <a:pt x="192" y="1750"/>
                    </a:lnTo>
                    <a:lnTo>
                      <a:pt x="192" y="1748"/>
                    </a:lnTo>
                    <a:lnTo>
                      <a:pt x="190" y="1748"/>
                    </a:lnTo>
                    <a:lnTo>
                      <a:pt x="190" y="1748"/>
                    </a:lnTo>
                    <a:close/>
                    <a:moveTo>
                      <a:pt x="700" y="1324"/>
                    </a:moveTo>
                    <a:lnTo>
                      <a:pt x="700" y="1324"/>
                    </a:lnTo>
                    <a:lnTo>
                      <a:pt x="698" y="1322"/>
                    </a:lnTo>
                    <a:lnTo>
                      <a:pt x="694" y="1322"/>
                    </a:lnTo>
                    <a:lnTo>
                      <a:pt x="690" y="1324"/>
                    </a:lnTo>
                    <a:lnTo>
                      <a:pt x="690" y="1326"/>
                    </a:lnTo>
                    <a:lnTo>
                      <a:pt x="690" y="1326"/>
                    </a:lnTo>
                    <a:lnTo>
                      <a:pt x="692" y="1326"/>
                    </a:lnTo>
                    <a:lnTo>
                      <a:pt x="696" y="1326"/>
                    </a:lnTo>
                    <a:lnTo>
                      <a:pt x="700" y="1326"/>
                    </a:lnTo>
                    <a:lnTo>
                      <a:pt x="700" y="1324"/>
                    </a:lnTo>
                    <a:lnTo>
                      <a:pt x="700" y="1324"/>
                    </a:lnTo>
                    <a:lnTo>
                      <a:pt x="700" y="1324"/>
                    </a:lnTo>
                    <a:close/>
                    <a:moveTo>
                      <a:pt x="494" y="1970"/>
                    </a:moveTo>
                    <a:lnTo>
                      <a:pt x="494" y="1970"/>
                    </a:lnTo>
                    <a:lnTo>
                      <a:pt x="492" y="1962"/>
                    </a:lnTo>
                    <a:lnTo>
                      <a:pt x="486" y="1954"/>
                    </a:lnTo>
                    <a:lnTo>
                      <a:pt x="478" y="1948"/>
                    </a:lnTo>
                    <a:lnTo>
                      <a:pt x="470" y="1944"/>
                    </a:lnTo>
                    <a:lnTo>
                      <a:pt x="460" y="1942"/>
                    </a:lnTo>
                    <a:lnTo>
                      <a:pt x="452" y="1942"/>
                    </a:lnTo>
                    <a:lnTo>
                      <a:pt x="446" y="1944"/>
                    </a:lnTo>
                    <a:lnTo>
                      <a:pt x="442" y="1948"/>
                    </a:lnTo>
                    <a:lnTo>
                      <a:pt x="442" y="1948"/>
                    </a:lnTo>
                    <a:lnTo>
                      <a:pt x="438" y="1954"/>
                    </a:lnTo>
                    <a:lnTo>
                      <a:pt x="434" y="1954"/>
                    </a:lnTo>
                    <a:lnTo>
                      <a:pt x="432" y="1952"/>
                    </a:lnTo>
                    <a:lnTo>
                      <a:pt x="428" y="1950"/>
                    </a:lnTo>
                    <a:lnTo>
                      <a:pt x="428" y="1950"/>
                    </a:lnTo>
                    <a:lnTo>
                      <a:pt x="424" y="1948"/>
                    </a:lnTo>
                    <a:lnTo>
                      <a:pt x="424" y="1946"/>
                    </a:lnTo>
                    <a:lnTo>
                      <a:pt x="428" y="1942"/>
                    </a:lnTo>
                    <a:lnTo>
                      <a:pt x="434" y="1938"/>
                    </a:lnTo>
                    <a:lnTo>
                      <a:pt x="434" y="1938"/>
                    </a:lnTo>
                    <a:lnTo>
                      <a:pt x="436" y="1936"/>
                    </a:lnTo>
                    <a:lnTo>
                      <a:pt x="438" y="1932"/>
                    </a:lnTo>
                    <a:lnTo>
                      <a:pt x="434" y="1924"/>
                    </a:lnTo>
                    <a:lnTo>
                      <a:pt x="428" y="1914"/>
                    </a:lnTo>
                    <a:lnTo>
                      <a:pt x="418" y="1906"/>
                    </a:lnTo>
                    <a:lnTo>
                      <a:pt x="418" y="1906"/>
                    </a:lnTo>
                    <a:lnTo>
                      <a:pt x="410" y="1902"/>
                    </a:lnTo>
                    <a:lnTo>
                      <a:pt x="408" y="1898"/>
                    </a:lnTo>
                    <a:lnTo>
                      <a:pt x="410" y="1898"/>
                    </a:lnTo>
                    <a:lnTo>
                      <a:pt x="418" y="1902"/>
                    </a:lnTo>
                    <a:lnTo>
                      <a:pt x="418" y="1902"/>
                    </a:lnTo>
                    <a:lnTo>
                      <a:pt x="424" y="1906"/>
                    </a:lnTo>
                    <a:lnTo>
                      <a:pt x="428" y="1906"/>
                    </a:lnTo>
                    <a:lnTo>
                      <a:pt x="430" y="1904"/>
                    </a:lnTo>
                    <a:lnTo>
                      <a:pt x="428" y="1902"/>
                    </a:lnTo>
                    <a:lnTo>
                      <a:pt x="422" y="1894"/>
                    </a:lnTo>
                    <a:lnTo>
                      <a:pt x="422" y="1894"/>
                    </a:lnTo>
                    <a:lnTo>
                      <a:pt x="418" y="1888"/>
                    </a:lnTo>
                    <a:lnTo>
                      <a:pt x="416" y="1884"/>
                    </a:lnTo>
                    <a:lnTo>
                      <a:pt x="416" y="1876"/>
                    </a:lnTo>
                    <a:lnTo>
                      <a:pt x="416" y="1872"/>
                    </a:lnTo>
                    <a:lnTo>
                      <a:pt x="416" y="1870"/>
                    </a:lnTo>
                    <a:lnTo>
                      <a:pt x="412" y="1868"/>
                    </a:lnTo>
                    <a:lnTo>
                      <a:pt x="412" y="1868"/>
                    </a:lnTo>
                    <a:lnTo>
                      <a:pt x="408" y="1866"/>
                    </a:lnTo>
                    <a:lnTo>
                      <a:pt x="406" y="1864"/>
                    </a:lnTo>
                    <a:lnTo>
                      <a:pt x="404" y="1858"/>
                    </a:lnTo>
                    <a:lnTo>
                      <a:pt x="400" y="1852"/>
                    </a:lnTo>
                    <a:lnTo>
                      <a:pt x="396" y="1850"/>
                    </a:lnTo>
                    <a:lnTo>
                      <a:pt x="390" y="1848"/>
                    </a:lnTo>
                    <a:lnTo>
                      <a:pt x="390" y="1848"/>
                    </a:lnTo>
                    <a:lnTo>
                      <a:pt x="380" y="1844"/>
                    </a:lnTo>
                    <a:lnTo>
                      <a:pt x="376" y="1842"/>
                    </a:lnTo>
                    <a:lnTo>
                      <a:pt x="372" y="1836"/>
                    </a:lnTo>
                    <a:lnTo>
                      <a:pt x="366" y="1822"/>
                    </a:lnTo>
                    <a:lnTo>
                      <a:pt x="366" y="1822"/>
                    </a:lnTo>
                    <a:lnTo>
                      <a:pt x="360" y="1806"/>
                    </a:lnTo>
                    <a:lnTo>
                      <a:pt x="358" y="1794"/>
                    </a:lnTo>
                    <a:lnTo>
                      <a:pt x="356" y="1786"/>
                    </a:lnTo>
                    <a:lnTo>
                      <a:pt x="354" y="1782"/>
                    </a:lnTo>
                    <a:lnTo>
                      <a:pt x="352" y="1780"/>
                    </a:lnTo>
                    <a:lnTo>
                      <a:pt x="352" y="1780"/>
                    </a:lnTo>
                    <a:lnTo>
                      <a:pt x="346" y="1774"/>
                    </a:lnTo>
                    <a:lnTo>
                      <a:pt x="342" y="1768"/>
                    </a:lnTo>
                    <a:lnTo>
                      <a:pt x="336" y="1762"/>
                    </a:lnTo>
                    <a:lnTo>
                      <a:pt x="322" y="1756"/>
                    </a:lnTo>
                    <a:lnTo>
                      <a:pt x="322" y="1756"/>
                    </a:lnTo>
                    <a:lnTo>
                      <a:pt x="314" y="1754"/>
                    </a:lnTo>
                    <a:lnTo>
                      <a:pt x="310" y="1754"/>
                    </a:lnTo>
                    <a:lnTo>
                      <a:pt x="308" y="1754"/>
                    </a:lnTo>
                    <a:lnTo>
                      <a:pt x="306" y="1756"/>
                    </a:lnTo>
                    <a:lnTo>
                      <a:pt x="302" y="1758"/>
                    </a:lnTo>
                    <a:lnTo>
                      <a:pt x="298" y="1760"/>
                    </a:lnTo>
                    <a:lnTo>
                      <a:pt x="290" y="1758"/>
                    </a:lnTo>
                    <a:lnTo>
                      <a:pt x="290" y="1758"/>
                    </a:lnTo>
                    <a:lnTo>
                      <a:pt x="286" y="1758"/>
                    </a:lnTo>
                    <a:lnTo>
                      <a:pt x="288" y="1756"/>
                    </a:lnTo>
                    <a:lnTo>
                      <a:pt x="294" y="1754"/>
                    </a:lnTo>
                    <a:lnTo>
                      <a:pt x="300" y="1748"/>
                    </a:lnTo>
                    <a:lnTo>
                      <a:pt x="300" y="1748"/>
                    </a:lnTo>
                    <a:lnTo>
                      <a:pt x="302" y="1746"/>
                    </a:lnTo>
                    <a:lnTo>
                      <a:pt x="304" y="1746"/>
                    </a:lnTo>
                    <a:lnTo>
                      <a:pt x="308" y="1746"/>
                    </a:lnTo>
                    <a:lnTo>
                      <a:pt x="316" y="1742"/>
                    </a:lnTo>
                    <a:lnTo>
                      <a:pt x="316" y="1742"/>
                    </a:lnTo>
                    <a:lnTo>
                      <a:pt x="318" y="1742"/>
                    </a:lnTo>
                    <a:lnTo>
                      <a:pt x="318" y="1740"/>
                    </a:lnTo>
                    <a:lnTo>
                      <a:pt x="316" y="1738"/>
                    </a:lnTo>
                    <a:lnTo>
                      <a:pt x="310" y="1736"/>
                    </a:lnTo>
                    <a:lnTo>
                      <a:pt x="308" y="1734"/>
                    </a:lnTo>
                    <a:lnTo>
                      <a:pt x="308" y="1734"/>
                    </a:lnTo>
                    <a:lnTo>
                      <a:pt x="308" y="1734"/>
                    </a:lnTo>
                    <a:lnTo>
                      <a:pt x="308" y="1730"/>
                    </a:lnTo>
                    <a:lnTo>
                      <a:pt x="304" y="1728"/>
                    </a:lnTo>
                    <a:lnTo>
                      <a:pt x="304" y="1726"/>
                    </a:lnTo>
                    <a:lnTo>
                      <a:pt x="306" y="1728"/>
                    </a:lnTo>
                    <a:lnTo>
                      <a:pt x="306" y="1728"/>
                    </a:lnTo>
                    <a:lnTo>
                      <a:pt x="312" y="1728"/>
                    </a:lnTo>
                    <a:lnTo>
                      <a:pt x="314" y="1728"/>
                    </a:lnTo>
                    <a:lnTo>
                      <a:pt x="318" y="1726"/>
                    </a:lnTo>
                    <a:lnTo>
                      <a:pt x="326" y="1716"/>
                    </a:lnTo>
                    <a:lnTo>
                      <a:pt x="334" y="1696"/>
                    </a:lnTo>
                    <a:lnTo>
                      <a:pt x="334" y="1696"/>
                    </a:lnTo>
                    <a:lnTo>
                      <a:pt x="342" y="1678"/>
                    </a:lnTo>
                    <a:lnTo>
                      <a:pt x="348" y="1668"/>
                    </a:lnTo>
                    <a:lnTo>
                      <a:pt x="350" y="1664"/>
                    </a:lnTo>
                    <a:lnTo>
                      <a:pt x="348" y="1656"/>
                    </a:lnTo>
                    <a:lnTo>
                      <a:pt x="348" y="1656"/>
                    </a:lnTo>
                    <a:lnTo>
                      <a:pt x="346" y="1652"/>
                    </a:lnTo>
                    <a:lnTo>
                      <a:pt x="342" y="1650"/>
                    </a:lnTo>
                    <a:lnTo>
                      <a:pt x="332" y="1650"/>
                    </a:lnTo>
                    <a:lnTo>
                      <a:pt x="320" y="1650"/>
                    </a:lnTo>
                    <a:lnTo>
                      <a:pt x="302" y="1650"/>
                    </a:lnTo>
                    <a:lnTo>
                      <a:pt x="302" y="1650"/>
                    </a:lnTo>
                    <a:lnTo>
                      <a:pt x="286" y="1650"/>
                    </a:lnTo>
                    <a:lnTo>
                      <a:pt x="274" y="1652"/>
                    </a:lnTo>
                    <a:lnTo>
                      <a:pt x="268" y="1656"/>
                    </a:lnTo>
                    <a:lnTo>
                      <a:pt x="262" y="1658"/>
                    </a:lnTo>
                    <a:lnTo>
                      <a:pt x="262" y="1658"/>
                    </a:lnTo>
                    <a:lnTo>
                      <a:pt x="258" y="1658"/>
                    </a:lnTo>
                    <a:lnTo>
                      <a:pt x="258" y="1654"/>
                    </a:lnTo>
                    <a:lnTo>
                      <a:pt x="268" y="1644"/>
                    </a:lnTo>
                    <a:lnTo>
                      <a:pt x="268" y="1644"/>
                    </a:lnTo>
                    <a:lnTo>
                      <a:pt x="270" y="1642"/>
                    </a:lnTo>
                    <a:lnTo>
                      <a:pt x="268" y="1642"/>
                    </a:lnTo>
                    <a:lnTo>
                      <a:pt x="264" y="1642"/>
                    </a:lnTo>
                    <a:lnTo>
                      <a:pt x="258" y="1642"/>
                    </a:lnTo>
                    <a:lnTo>
                      <a:pt x="258" y="1642"/>
                    </a:lnTo>
                    <a:lnTo>
                      <a:pt x="260" y="1640"/>
                    </a:lnTo>
                    <a:lnTo>
                      <a:pt x="260" y="1640"/>
                    </a:lnTo>
                    <a:lnTo>
                      <a:pt x="270" y="1632"/>
                    </a:lnTo>
                    <a:lnTo>
                      <a:pt x="284" y="1620"/>
                    </a:lnTo>
                    <a:lnTo>
                      <a:pt x="296" y="1608"/>
                    </a:lnTo>
                    <a:lnTo>
                      <a:pt x="300" y="1604"/>
                    </a:lnTo>
                    <a:lnTo>
                      <a:pt x="300" y="1600"/>
                    </a:lnTo>
                    <a:lnTo>
                      <a:pt x="300" y="1600"/>
                    </a:lnTo>
                    <a:lnTo>
                      <a:pt x="298" y="1598"/>
                    </a:lnTo>
                    <a:lnTo>
                      <a:pt x="298" y="1596"/>
                    </a:lnTo>
                    <a:lnTo>
                      <a:pt x="300" y="1592"/>
                    </a:lnTo>
                    <a:lnTo>
                      <a:pt x="300" y="1590"/>
                    </a:lnTo>
                    <a:lnTo>
                      <a:pt x="300" y="1590"/>
                    </a:lnTo>
                    <a:lnTo>
                      <a:pt x="292" y="1588"/>
                    </a:lnTo>
                    <a:lnTo>
                      <a:pt x="292" y="1588"/>
                    </a:lnTo>
                    <a:lnTo>
                      <a:pt x="286" y="1588"/>
                    </a:lnTo>
                    <a:lnTo>
                      <a:pt x="284" y="1590"/>
                    </a:lnTo>
                    <a:lnTo>
                      <a:pt x="284" y="1592"/>
                    </a:lnTo>
                    <a:lnTo>
                      <a:pt x="280" y="1592"/>
                    </a:lnTo>
                    <a:lnTo>
                      <a:pt x="280" y="1592"/>
                    </a:lnTo>
                    <a:lnTo>
                      <a:pt x="272" y="1592"/>
                    </a:lnTo>
                    <a:lnTo>
                      <a:pt x="262" y="1594"/>
                    </a:lnTo>
                    <a:lnTo>
                      <a:pt x="254" y="1596"/>
                    </a:lnTo>
                    <a:lnTo>
                      <a:pt x="246" y="1596"/>
                    </a:lnTo>
                    <a:lnTo>
                      <a:pt x="246" y="1596"/>
                    </a:lnTo>
                    <a:lnTo>
                      <a:pt x="242" y="1594"/>
                    </a:lnTo>
                    <a:lnTo>
                      <a:pt x="238" y="1596"/>
                    </a:lnTo>
                    <a:lnTo>
                      <a:pt x="236" y="1596"/>
                    </a:lnTo>
                    <a:lnTo>
                      <a:pt x="232" y="1594"/>
                    </a:lnTo>
                    <a:lnTo>
                      <a:pt x="232" y="1594"/>
                    </a:lnTo>
                    <a:lnTo>
                      <a:pt x="226" y="1592"/>
                    </a:lnTo>
                    <a:lnTo>
                      <a:pt x="222" y="1590"/>
                    </a:lnTo>
                    <a:lnTo>
                      <a:pt x="218" y="1594"/>
                    </a:lnTo>
                    <a:lnTo>
                      <a:pt x="218" y="1600"/>
                    </a:lnTo>
                    <a:lnTo>
                      <a:pt x="218" y="1600"/>
                    </a:lnTo>
                    <a:lnTo>
                      <a:pt x="218" y="1602"/>
                    </a:lnTo>
                    <a:lnTo>
                      <a:pt x="218" y="1604"/>
                    </a:lnTo>
                    <a:lnTo>
                      <a:pt x="214" y="1606"/>
                    </a:lnTo>
                    <a:lnTo>
                      <a:pt x="212" y="1606"/>
                    </a:lnTo>
                    <a:lnTo>
                      <a:pt x="216" y="1612"/>
                    </a:lnTo>
                    <a:lnTo>
                      <a:pt x="216" y="1612"/>
                    </a:lnTo>
                    <a:lnTo>
                      <a:pt x="218" y="1616"/>
                    </a:lnTo>
                    <a:lnTo>
                      <a:pt x="218" y="1616"/>
                    </a:lnTo>
                    <a:lnTo>
                      <a:pt x="212" y="1616"/>
                    </a:lnTo>
                    <a:lnTo>
                      <a:pt x="206" y="1614"/>
                    </a:lnTo>
                    <a:lnTo>
                      <a:pt x="206" y="1614"/>
                    </a:lnTo>
                    <a:lnTo>
                      <a:pt x="206" y="1618"/>
                    </a:lnTo>
                    <a:lnTo>
                      <a:pt x="206" y="1618"/>
                    </a:lnTo>
                    <a:lnTo>
                      <a:pt x="210" y="1622"/>
                    </a:lnTo>
                    <a:lnTo>
                      <a:pt x="210" y="1624"/>
                    </a:lnTo>
                    <a:lnTo>
                      <a:pt x="210" y="1626"/>
                    </a:lnTo>
                    <a:lnTo>
                      <a:pt x="208" y="1626"/>
                    </a:lnTo>
                    <a:lnTo>
                      <a:pt x="204" y="1626"/>
                    </a:lnTo>
                    <a:lnTo>
                      <a:pt x="202" y="1626"/>
                    </a:lnTo>
                    <a:lnTo>
                      <a:pt x="204" y="1628"/>
                    </a:lnTo>
                    <a:lnTo>
                      <a:pt x="204" y="1628"/>
                    </a:lnTo>
                    <a:lnTo>
                      <a:pt x="206" y="1632"/>
                    </a:lnTo>
                    <a:lnTo>
                      <a:pt x="206" y="1636"/>
                    </a:lnTo>
                    <a:lnTo>
                      <a:pt x="206" y="1638"/>
                    </a:lnTo>
                    <a:lnTo>
                      <a:pt x="202" y="1638"/>
                    </a:lnTo>
                    <a:lnTo>
                      <a:pt x="202" y="1638"/>
                    </a:lnTo>
                    <a:lnTo>
                      <a:pt x="190" y="1638"/>
                    </a:lnTo>
                    <a:lnTo>
                      <a:pt x="188" y="1640"/>
                    </a:lnTo>
                    <a:lnTo>
                      <a:pt x="188" y="1646"/>
                    </a:lnTo>
                    <a:lnTo>
                      <a:pt x="188" y="1646"/>
                    </a:lnTo>
                    <a:lnTo>
                      <a:pt x="190" y="1650"/>
                    </a:lnTo>
                    <a:lnTo>
                      <a:pt x="190" y="1654"/>
                    </a:lnTo>
                    <a:lnTo>
                      <a:pt x="188" y="1660"/>
                    </a:lnTo>
                    <a:lnTo>
                      <a:pt x="188" y="1668"/>
                    </a:lnTo>
                    <a:lnTo>
                      <a:pt x="188" y="1668"/>
                    </a:lnTo>
                    <a:lnTo>
                      <a:pt x="188" y="1672"/>
                    </a:lnTo>
                    <a:lnTo>
                      <a:pt x="190" y="1674"/>
                    </a:lnTo>
                    <a:lnTo>
                      <a:pt x="194" y="1674"/>
                    </a:lnTo>
                    <a:lnTo>
                      <a:pt x="196" y="1676"/>
                    </a:lnTo>
                    <a:lnTo>
                      <a:pt x="194" y="1682"/>
                    </a:lnTo>
                    <a:lnTo>
                      <a:pt x="194" y="1682"/>
                    </a:lnTo>
                    <a:lnTo>
                      <a:pt x="192" y="1686"/>
                    </a:lnTo>
                    <a:lnTo>
                      <a:pt x="190" y="1690"/>
                    </a:lnTo>
                    <a:lnTo>
                      <a:pt x="188" y="1690"/>
                    </a:lnTo>
                    <a:lnTo>
                      <a:pt x="190" y="1692"/>
                    </a:lnTo>
                    <a:lnTo>
                      <a:pt x="190" y="1692"/>
                    </a:lnTo>
                    <a:lnTo>
                      <a:pt x="190" y="1694"/>
                    </a:lnTo>
                    <a:lnTo>
                      <a:pt x="190" y="1696"/>
                    </a:lnTo>
                    <a:lnTo>
                      <a:pt x="186" y="1698"/>
                    </a:lnTo>
                    <a:lnTo>
                      <a:pt x="184" y="1700"/>
                    </a:lnTo>
                    <a:lnTo>
                      <a:pt x="188" y="1702"/>
                    </a:lnTo>
                    <a:lnTo>
                      <a:pt x="188" y="1702"/>
                    </a:lnTo>
                    <a:lnTo>
                      <a:pt x="188" y="1704"/>
                    </a:lnTo>
                    <a:lnTo>
                      <a:pt x="186" y="1706"/>
                    </a:lnTo>
                    <a:lnTo>
                      <a:pt x="182" y="1708"/>
                    </a:lnTo>
                    <a:lnTo>
                      <a:pt x="178" y="1708"/>
                    </a:lnTo>
                    <a:lnTo>
                      <a:pt x="178" y="1708"/>
                    </a:lnTo>
                    <a:lnTo>
                      <a:pt x="174" y="1708"/>
                    </a:lnTo>
                    <a:lnTo>
                      <a:pt x="172" y="1710"/>
                    </a:lnTo>
                    <a:lnTo>
                      <a:pt x="172" y="1712"/>
                    </a:lnTo>
                    <a:lnTo>
                      <a:pt x="174" y="1714"/>
                    </a:lnTo>
                    <a:lnTo>
                      <a:pt x="182" y="1714"/>
                    </a:lnTo>
                    <a:lnTo>
                      <a:pt x="182" y="1714"/>
                    </a:lnTo>
                    <a:lnTo>
                      <a:pt x="190" y="1712"/>
                    </a:lnTo>
                    <a:lnTo>
                      <a:pt x="192" y="1714"/>
                    </a:lnTo>
                    <a:lnTo>
                      <a:pt x="184" y="1716"/>
                    </a:lnTo>
                    <a:lnTo>
                      <a:pt x="184" y="1716"/>
                    </a:lnTo>
                    <a:lnTo>
                      <a:pt x="180" y="1718"/>
                    </a:lnTo>
                    <a:lnTo>
                      <a:pt x="180" y="1720"/>
                    </a:lnTo>
                    <a:lnTo>
                      <a:pt x="184" y="1722"/>
                    </a:lnTo>
                    <a:lnTo>
                      <a:pt x="188" y="1722"/>
                    </a:lnTo>
                    <a:lnTo>
                      <a:pt x="188" y="1722"/>
                    </a:lnTo>
                    <a:lnTo>
                      <a:pt x="190" y="1722"/>
                    </a:lnTo>
                    <a:lnTo>
                      <a:pt x="192" y="1724"/>
                    </a:lnTo>
                    <a:lnTo>
                      <a:pt x="196" y="1724"/>
                    </a:lnTo>
                    <a:lnTo>
                      <a:pt x="200" y="1720"/>
                    </a:lnTo>
                    <a:lnTo>
                      <a:pt x="200" y="1720"/>
                    </a:lnTo>
                    <a:lnTo>
                      <a:pt x="208" y="1714"/>
                    </a:lnTo>
                    <a:lnTo>
                      <a:pt x="206" y="1720"/>
                    </a:lnTo>
                    <a:lnTo>
                      <a:pt x="206" y="1720"/>
                    </a:lnTo>
                    <a:lnTo>
                      <a:pt x="202" y="1726"/>
                    </a:lnTo>
                    <a:lnTo>
                      <a:pt x="202" y="1730"/>
                    </a:lnTo>
                    <a:lnTo>
                      <a:pt x="202" y="1734"/>
                    </a:lnTo>
                    <a:lnTo>
                      <a:pt x="198" y="1738"/>
                    </a:lnTo>
                    <a:lnTo>
                      <a:pt x="198" y="1738"/>
                    </a:lnTo>
                    <a:lnTo>
                      <a:pt x="196" y="1740"/>
                    </a:lnTo>
                    <a:lnTo>
                      <a:pt x="196" y="1744"/>
                    </a:lnTo>
                    <a:lnTo>
                      <a:pt x="198" y="1748"/>
                    </a:lnTo>
                    <a:lnTo>
                      <a:pt x="194" y="1754"/>
                    </a:lnTo>
                    <a:lnTo>
                      <a:pt x="194" y="1754"/>
                    </a:lnTo>
                    <a:lnTo>
                      <a:pt x="192" y="1758"/>
                    </a:lnTo>
                    <a:lnTo>
                      <a:pt x="192" y="1762"/>
                    </a:lnTo>
                    <a:lnTo>
                      <a:pt x="194" y="1764"/>
                    </a:lnTo>
                    <a:lnTo>
                      <a:pt x="194" y="1768"/>
                    </a:lnTo>
                    <a:lnTo>
                      <a:pt x="194" y="1768"/>
                    </a:lnTo>
                    <a:lnTo>
                      <a:pt x="194" y="1772"/>
                    </a:lnTo>
                    <a:lnTo>
                      <a:pt x="194" y="1774"/>
                    </a:lnTo>
                    <a:lnTo>
                      <a:pt x="200" y="1770"/>
                    </a:lnTo>
                    <a:lnTo>
                      <a:pt x="200" y="1770"/>
                    </a:lnTo>
                    <a:lnTo>
                      <a:pt x="198" y="1774"/>
                    </a:lnTo>
                    <a:lnTo>
                      <a:pt x="194" y="1784"/>
                    </a:lnTo>
                    <a:lnTo>
                      <a:pt x="188" y="1794"/>
                    </a:lnTo>
                    <a:lnTo>
                      <a:pt x="188" y="1800"/>
                    </a:lnTo>
                    <a:lnTo>
                      <a:pt x="192" y="1802"/>
                    </a:lnTo>
                    <a:lnTo>
                      <a:pt x="192" y="1802"/>
                    </a:lnTo>
                    <a:lnTo>
                      <a:pt x="194" y="1802"/>
                    </a:lnTo>
                    <a:lnTo>
                      <a:pt x="196" y="1800"/>
                    </a:lnTo>
                    <a:lnTo>
                      <a:pt x="198" y="1792"/>
                    </a:lnTo>
                    <a:lnTo>
                      <a:pt x="202" y="1780"/>
                    </a:lnTo>
                    <a:lnTo>
                      <a:pt x="204" y="1776"/>
                    </a:lnTo>
                    <a:lnTo>
                      <a:pt x="206" y="1772"/>
                    </a:lnTo>
                    <a:lnTo>
                      <a:pt x="206" y="1772"/>
                    </a:lnTo>
                    <a:lnTo>
                      <a:pt x="208" y="1770"/>
                    </a:lnTo>
                    <a:lnTo>
                      <a:pt x="208" y="1768"/>
                    </a:lnTo>
                    <a:lnTo>
                      <a:pt x="204" y="1764"/>
                    </a:lnTo>
                    <a:lnTo>
                      <a:pt x="202" y="1760"/>
                    </a:lnTo>
                    <a:lnTo>
                      <a:pt x="204" y="1758"/>
                    </a:lnTo>
                    <a:lnTo>
                      <a:pt x="206" y="1756"/>
                    </a:lnTo>
                    <a:lnTo>
                      <a:pt x="206" y="1756"/>
                    </a:lnTo>
                    <a:lnTo>
                      <a:pt x="210" y="1754"/>
                    </a:lnTo>
                    <a:lnTo>
                      <a:pt x="208" y="1756"/>
                    </a:lnTo>
                    <a:lnTo>
                      <a:pt x="208" y="1762"/>
                    </a:lnTo>
                    <a:lnTo>
                      <a:pt x="208" y="1764"/>
                    </a:lnTo>
                    <a:lnTo>
                      <a:pt x="210" y="1766"/>
                    </a:lnTo>
                    <a:lnTo>
                      <a:pt x="210" y="1766"/>
                    </a:lnTo>
                    <a:lnTo>
                      <a:pt x="214" y="1766"/>
                    </a:lnTo>
                    <a:lnTo>
                      <a:pt x="216" y="1764"/>
                    </a:lnTo>
                    <a:lnTo>
                      <a:pt x="216" y="1762"/>
                    </a:lnTo>
                    <a:lnTo>
                      <a:pt x="220" y="1764"/>
                    </a:lnTo>
                    <a:lnTo>
                      <a:pt x="220" y="1764"/>
                    </a:lnTo>
                    <a:lnTo>
                      <a:pt x="222" y="1764"/>
                    </a:lnTo>
                    <a:lnTo>
                      <a:pt x="222" y="1764"/>
                    </a:lnTo>
                    <a:lnTo>
                      <a:pt x="224" y="1758"/>
                    </a:lnTo>
                    <a:lnTo>
                      <a:pt x="224" y="1756"/>
                    </a:lnTo>
                    <a:lnTo>
                      <a:pt x="228" y="1756"/>
                    </a:lnTo>
                    <a:lnTo>
                      <a:pt x="232" y="1758"/>
                    </a:lnTo>
                    <a:lnTo>
                      <a:pt x="238" y="1762"/>
                    </a:lnTo>
                    <a:lnTo>
                      <a:pt x="238" y="1762"/>
                    </a:lnTo>
                    <a:lnTo>
                      <a:pt x="230" y="1764"/>
                    </a:lnTo>
                    <a:lnTo>
                      <a:pt x="224" y="1766"/>
                    </a:lnTo>
                    <a:lnTo>
                      <a:pt x="224" y="1768"/>
                    </a:lnTo>
                    <a:lnTo>
                      <a:pt x="224" y="1772"/>
                    </a:lnTo>
                    <a:lnTo>
                      <a:pt x="230" y="1780"/>
                    </a:lnTo>
                    <a:lnTo>
                      <a:pt x="230" y="1780"/>
                    </a:lnTo>
                    <a:lnTo>
                      <a:pt x="234" y="1786"/>
                    </a:lnTo>
                    <a:lnTo>
                      <a:pt x="234" y="1790"/>
                    </a:lnTo>
                    <a:lnTo>
                      <a:pt x="234" y="1794"/>
                    </a:lnTo>
                    <a:lnTo>
                      <a:pt x="230" y="1798"/>
                    </a:lnTo>
                    <a:lnTo>
                      <a:pt x="224" y="1806"/>
                    </a:lnTo>
                    <a:lnTo>
                      <a:pt x="222" y="1810"/>
                    </a:lnTo>
                    <a:lnTo>
                      <a:pt x="220" y="1816"/>
                    </a:lnTo>
                    <a:lnTo>
                      <a:pt x="220" y="1816"/>
                    </a:lnTo>
                    <a:lnTo>
                      <a:pt x="222" y="1822"/>
                    </a:lnTo>
                    <a:lnTo>
                      <a:pt x="220" y="1822"/>
                    </a:lnTo>
                    <a:lnTo>
                      <a:pt x="216" y="1818"/>
                    </a:lnTo>
                    <a:lnTo>
                      <a:pt x="216" y="1818"/>
                    </a:lnTo>
                    <a:lnTo>
                      <a:pt x="214" y="1820"/>
                    </a:lnTo>
                    <a:lnTo>
                      <a:pt x="214" y="1820"/>
                    </a:lnTo>
                    <a:lnTo>
                      <a:pt x="214" y="1822"/>
                    </a:lnTo>
                    <a:lnTo>
                      <a:pt x="214" y="1826"/>
                    </a:lnTo>
                    <a:lnTo>
                      <a:pt x="220" y="1834"/>
                    </a:lnTo>
                    <a:lnTo>
                      <a:pt x="224" y="1840"/>
                    </a:lnTo>
                    <a:lnTo>
                      <a:pt x="224" y="1838"/>
                    </a:lnTo>
                    <a:lnTo>
                      <a:pt x="224" y="1836"/>
                    </a:lnTo>
                    <a:lnTo>
                      <a:pt x="224" y="1836"/>
                    </a:lnTo>
                    <a:lnTo>
                      <a:pt x="222" y="1830"/>
                    </a:lnTo>
                    <a:lnTo>
                      <a:pt x="224" y="1828"/>
                    </a:lnTo>
                    <a:lnTo>
                      <a:pt x="224" y="1828"/>
                    </a:lnTo>
                    <a:lnTo>
                      <a:pt x="228" y="1828"/>
                    </a:lnTo>
                    <a:lnTo>
                      <a:pt x="234" y="1832"/>
                    </a:lnTo>
                    <a:lnTo>
                      <a:pt x="240" y="1838"/>
                    </a:lnTo>
                    <a:lnTo>
                      <a:pt x="240" y="1838"/>
                    </a:lnTo>
                    <a:lnTo>
                      <a:pt x="244" y="1840"/>
                    </a:lnTo>
                    <a:lnTo>
                      <a:pt x="246" y="1838"/>
                    </a:lnTo>
                    <a:lnTo>
                      <a:pt x="246" y="1834"/>
                    </a:lnTo>
                    <a:lnTo>
                      <a:pt x="246" y="1828"/>
                    </a:lnTo>
                    <a:lnTo>
                      <a:pt x="246" y="1828"/>
                    </a:lnTo>
                    <a:lnTo>
                      <a:pt x="246" y="1826"/>
                    </a:lnTo>
                    <a:lnTo>
                      <a:pt x="246" y="1828"/>
                    </a:lnTo>
                    <a:lnTo>
                      <a:pt x="252" y="1830"/>
                    </a:lnTo>
                    <a:lnTo>
                      <a:pt x="260" y="1834"/>
                    </a:lnTo>
                    <a:lnTo>
                      <a:pt x="264" y="1834"/>
                    </a:lnTo>
                    <a:lnTo>
                      <a:pt x="266" y="1830"/>
                    </a:lnTo>
                    <a:lnTo>
                      <a:pt x="266" y="1830"/>
                    </a:lnTo>
                    <a:lnTo>
                      <a:pt x="270" y="1826"/>
                    </a:lnTo>
                    <a:lnTo>
                      <a:pt x="274" y="1826"/>
                    </a:lnTo>
                    <a:lnTo>
                      <a:pt x="276" y="1828"/>
                    </a:lnTo>
                    <a:lnTo>
                      <a:pt x="278" y="1824"/>
                    </a:lnTo>
                    <a:lnTo>
                      <a:pt x="278" y="1824"/>
                    </a:lnTo>
                    <a:lnTo>
                      <a:pt x="282" y="1822"/>
                    </a:lnTo>
                    <a:lnTo>
                      <a:pt x="286" y="1820"/>
                    </a:lnTo>
                    <a:lnTo>
                      <a:pt x="292" y="1820"/>
                    </a:lnTo>
                    <a:lnTo>
                      <a:pt x="292" y="1822"/>
                    </a:lnTo>
                    <a:lnTo>
                      <a:pt x="292" y="1822"/>
                    </a:lnTo>
                    <a:lnTo>
                      <a:pt x="292" y="1822"/>
                    </a:lnTo>
                    <a:lnTo>
                      <a:pt x="288" y="1826"/>
                    </a:lnTo>
                    <a:lnTo>
                      <a:pt x="280" y="1838"/>
                    </a:lnTo>
                    <a:lnTo>
                      <a:pt x="280" y="1838"/>
                    </a:lnTo>
                    <a:lnTo>
                      <a:pt x="276" y="1844"/>
                    </a:lnTo>
                    <a:lnTo>
                      <a:pt x="276" y="1850"/>
                    </a:lnTo>
                    <a:lnTo>
                      <a:pt x="276" y="1854"/>
                    </a:lnTo>
                    <a:lnTo>
                      <a:pt x="278" y="1858"/>
                    </a:lnTo>
                    <a:lnTo>
                      <a:pt x="286" y="1866"/>
                    </a:lnTo>
                    <a:lnTo>
                      <a:pt x="292" y="1872"/>
                    </a:lnTo>
                    <a:lnTo>
                      <a:pt x="292" y="1872"/>
                    </a:lnTo>
                    <a:lnTo>
                      <a:pt x="294" y="1876"/>
                    </a:lnTo>
                    <a:lnTo>
                      <a:pt x="296" y="1874"/>
                    </a:lnTo>
                    <a:lnTo>
                      <a:pt x="300" y="1872"/>
                    </a:lnTo>
                    <a:lnTo>
                      <a:pt x="302" y="1870"/>
                    </a:lnTo>
                    <a:lnTo>
                      <a:pt x="304" y="1870"/>
                    </a:lnTo>
                    <a:lnTo>
                      <a:pt x="304" y="1870"/>
                    </a:lnTo>
                    <a:lnTo>
                      <a:pt x="308" y="1870"/>
                    </a:lnTo>
                    <a:lnTo>
                      <a:pt x="308" y="1872"/>
                    </a:lnTo>
                    <a:lnTo>
                      <a:pt x="308" y="1874"/>
                    </a:lnTo>
                    <a:lnTo>
                      <a:pt x="306" y="1878"/>
                    </a:lnTo>
                    <a:lnTo>
                      <a:pt x="306" y="1880"/>
                    </a:lnTo>
                    <a:lnTo>
                      <a:pt x="306" y="1882"/>
                    </a:lnTo>
                    <a:lnTo>
                      <a:pt x="306" y="1882"/>
                    </a:lnTo>
                    <a:lnTo>
                      <a:pt x="308" y="1882"/>
                    </a:lnTo>
                    <a:lnTo>
                      <a:pt x="306" y="1884"/>
                    </a:lnTo>
                    <a:lnTo>
                      <a:pt x="300" y="1888"/>
                    </a:lnTo>
                    <a:lnTo>
                      <a:pt x="298" y="1890"/>
                    </a:lnTo>
                    <a:lnTo>
                      <a:pt x="298" y="1892"/>
                    </a:lnTo>
                    <a:lnTo>
                      <a:pt x="298" y="1894"/>
                    </a:lnTo>
                    <a:lnTo>
                      <a:pt x="302" y="1896"/>
                    </a:lnTo>
                    <a:lnTo>
                      <a:pt x="302" y="1896"/>
                    </a:lnTo>
                    <a:lnTo>
                      <a:pt x="304" y="1898"/>
                    </a:lnTo>
                    <a:lnTo>
                      <a:pt x="304" y="1898"/>
                    </a:lnTo>
                    <a:lnTo>
                      <a:pt x="302" y="1900"/>
                    </a:lnTo>
                    <a:lnTo>
                      <a:pt x="300" y="1902"/>
                    </a:lnTo>
                    <a:lnTo>
                      <a:pt x="300" y="1906"/>
                    </a:lnTo>
                    <a:lnTo>
                      <a:pt x="300" y="1910"/>
                    </a:lnTo>
                    <a:lnTo>
                      <a:pt x="302" y="1916"/>
                    </a:lnTo>
                    <a:lnTo>
                      <a:pt x="302" y="1916"/>
                    </a:lnTo>
                    <a:lnTo>
                      <a:pt x="308" y="1924"/>
                    </a:lnTo>
                    <a:lnTo>
                      <a:pt x="304" y="1922"/>
                    </a:lnTo>
                    <a:lnTo>
                      <a:pt x="304" y="1922"/>
                    </a:lnTo>
                    <a:lnTo>
                      <a:pt x="300" y="1918"/>
                    </a:lnTo>
                    <a:lnTo>
                      <a:pt x="296" y="1916"/>
                    </a:lnTo>
                    <a:lnTo>
                      <a:pt x="294" y="1918"/>
                    </a:lnTo>
                    <a:lnTo>
                      <a:pt x="296" y="1922"/>
                    </a:lnTo>
                    <a:lnTo>
                      <a:pt x="296" y="1922"/>
                    </a:lnTo>
                    <a:lnTo>
                      <a:pt x="298" y="1926"/>
                    </a:lnTo>
                    <a:lnTo>
                      <a:pt x="294" y="1924"/>
                    </a:lnTo>
                    <a:lnTo>
                      <a:pt x="290" y="1922"/>
                    </a:lnTo>
                    <a:lnTo>
                      <a:pt x="286" y="1922"/>
                    </a:lnTo>
                    <a:lnTo>
                      <a:pt x="282" y="1922"/>
                    </a:lnTo>
                    <a:lnTo>
                      <a:pt x="282" y="1922"/>
                    </a:lnTo>
                    <a:lnTo>
                      <a:pt x="276" y="1924"/>
                    </a:lnTo>
                    <a:lnTo>
                      <a:pt x="272" y="1924"/>
                    </a:lnTo>
                    <a:lnTo>
                      <a:pt x="270" y="1922"/>
                    </a:lnTo>
                    <a:lnTo>
                      <a:pt x="266" y="1924"/>
                    </a:lnTo>
                    <a:lnTo>
                      <a:pt x="266" y="1924"/>
                    </a:lnTo>
                    <a:lnTo>
                      <a:pt x="264" y="1926"/>
                    </a:lnTo>
                    <a:lnTo>
                      <a:pt x="260" y="1926"/>
                    </a:lnTo>
                    <a:lnTo>
                      <a:pt x="256" y="1928"/>
                    </a:lnTo>
                    <a:lnTo>
                      <a:pt x="252" y="1932"/>
                    </a:lnTo>
                    <a:lnTo>
                      <a:pt x="252" y="1932"/>
                    </a:lnTo>
                    <a:lnTo>
                      <a:pt x="246" y="1940"/>
                    </a:lnTo>
                    <a:lnTo>
                      <a:pt x="240" y="1944"/>
                    </a:lnTo>
                    <a:lnTo>
                      <a:pt x="236" y="1946"/>
                    </a:lnTo>
                    <a:lnTo>
                      <a:pt x="232" y="1950"/>
                    </a:lnTo>
                    <a:lnTo>
                      <a:pt x="232" y="1950"/>
                    </a:lnTo>
                    <a:lnTo>
                      <a:pt x="230" y="1956"/>
                    </a:lnTo>
                    <a:lnTo>
                      <a:pt x="230" y="1956"/>
                    </a:lnTo>
                    <a:lnTo>
                      <a:pt x="234" y="1954"/>
                    </a:lnTo>
                    <a:lnTo>
                      <a:pt x="238" y="1954"/>
                    </a:lnTo>
                    <a:lnTo>
                      <a:pt x="238" y="1954"/>
                    </a:lnTo>
                    <a:lnTo>
                      <a:pt x="240" y="1954"/>
                    </a:lnTo>
                    <a:lnTo>
                      <a:pt x="244" y="1952"/>
                    </a:lnTo>
                    <a:lnTo>
                      <a:pt x="252" y="1948"/>
                    </a:lnTo>
                    <a:lnTo>
                      <a:pt x="256" y="1946"/>
                    </a:lnTo>
                    <a:lnTo>
                      <a:pt x="258" y="1946"/>
                    </a:lnTo>
                    <a:lnTo>
                      <a:pt x="256" y="1948"/>
                    </a:lnTo>
                    <a:lnTo>
                      <a:pt x="256" y="1948"/>
                    </a:lnTo>
                    <a:lnTo>
                      <a:pt x="256" y="1954"/>
                    </a:lnTo>
                    <a:lnTo>
                      <a:pt x="258" y="1954"/>
                    </a:lnTo>
                    <a:lnTo>
                      <a:pt x="260" y="1956"/>
                    </a:lnTo>
                    <a:lnTo>
                      <a:pt x="258" y="1960"/>
                    </a:lnTo>
                    <a:lnTo>
                      <a:pt x="258" y="1960"/>
                    </a:lnTo>
                    <a:lnTo>
                      <a:pt x="256" y="1964"/>
                    </a:lnTo>
                    <a:lnTo>
                      <a:pt x="256" y="1968"/>
                    </a:lnTo>
                    <a:lnTo>
                      <a:pt x="258" y="1974"/>
                    </a:lnTo>
                    <a:lnTo>
                      <a:pt x="258" y="1978"/>
                    </a:lnTo>
                    <a:lnTo>
                      <a:pt x="256" y="1982"/>
                    </a:lnTo>
                    <a:lnTo>
                      <a:pt x="252" y="1986"/>
                    </a:lnTo>
                    <a:lnTo>
                      <a:pt x="246" y="1990"/>
                    </a:lnTo>
                    <a:lnTo>
                      <a:pt x="246" y="1990"/>
                    </a:lnTo>
                    <a:lnTo>
                      <a:pt x="232" y="1998"/>
                    </a:lnTo>
                    <a:lnTo>
                      <a:pt x="222" y="2000"/>
                    </a:lnTo>
                    <a:lnTo>
                      <a:pt x="216" y="2000"/>
                    </a:lnTo>
                    <a:lnTo>
                      <a:pt x="210" y="2006"/>
                    </a:lnTo>
                    <a:lnTo>
                      <a:pt x="210" y="2006"/>
                    </a:lnTo>
                    <a:lnTo>
                      <a:pt x="208" y="2008"/>
                    </a:lnTo>
                    <a:lnTo>
                      <a:pt x="208" y="2010"/>
                    </a:lnTo>
                    <a:lnTo>
                      <a:pt x="212" y="2012"/>
                    </a:lnTo>
                    <a:lnTo>
                      <a:pt x="216" y="2012"/>
                    </a:lnTo>
                    <a:lnTo>
                      <a:pt x="216" y="2014"/>
                    </a:lnTo>
                    <a:lnTo>
                      <a:pt x="214" y="2016"/>
                    </a:lnTo>
                    <a:lnTo>
                      <a:pt x="214" y="2016"/>
                    </a:lnTo>
                    <a:lnTo>
                      <a:pt x="214" y="2020"/>
                    </a:lnTo>
                    <a:lnTo>
                      <a:pt x="216" y="2024"/>
                    </a:lnTo>
                    <a:lnTo>
                      <a:pt x="224" y="2024"/>
                    </a:lnTo>
                    <a:lnTo>
                      <a:pt x="232" y="2022"/>
                    </a:lnTo>
                    <a:lnTo>
                      <a:pt x="232" y="2022"/>
                    </a:lnTo>
                    <a:lnTo>
                      <a:pt x="240" y="2018"/>
                    </a:lnTo>
                    <a:lnTo>
                      <a:pt x="246" y="2018"/>
                    </a:lnTo>
                    <a:lnTo>
                      <a:pt x="250" y="2022"/>
                    </a:lnTo>
                    <a:lnTo>
                      <a:pt x="250" y="2026"/>
                    </a:lnTo>
                    <a:lnTo>
                      <a:pt x="250" y="2026"/>
                    </a:lnTo>
                    <a:lnTo>
                      <a:pt x="248" y="2028"/>
                    </a:lnTo>
                    <a:lnTo>
                      <a:pt x="250" y="2030"/>
                    </a:lnTo>
                    <a:lnTo>
                      <a:pt x="256" y="2028"/>
                    </a:lnTo>
                    <a:lnTo>
                      <a:pt x="260" y="2028"/>
                    </a:lnTo>
                    <a:lnTo>
                      <a:pt x="264" y="2028"/>
                    </a:lnTo>
                    <a:lnTo>
                      <a:pt x="270" y="2030"/>
                    </a:lnTo>
                    <a:lnTo>
                      <a:pt x="274" y="2034"/>
                    </a:lnTo>
                    <a:lnTo>
                      <a:pt x="274" y="2034"/>
                    </a:lnTo>
                    <a:lnTo>
                      <a:pt x="280" y="2038"/>
                    </a:lnTo>
                    <a:lnTo>
                      <a:pt x="284" y="2040"/>
                    </a:lnTo>
                    <a:lnTo>
                      <a:pt x="288" y="2040"/>
                    </a:lnTo>
                    <a:lnTo>
                      <a:pt x="292" y="2038"/>
                    </a:lnTo>
                    <a:lnTo>
                      <a:pt x="298" y="2032"/>
                    </a:lnTo>
                    <a:lnTo>
                      <a:pt x="302" y="2030"/>
                    </a:lnTo>
                    <a:lnTo>
                      <a:pt x="304" y="2028"/>
                    </a:lnTo>
                    <a:lnTo>
                      <a:pt x="304" y="2028"/>
                    </a:lnTo>
                    <a:lnTo>
                      <a:pt x="310" y="2026"/>
                    </a:lnTo>
                    <a:lnTo>
                      <a:pt x="314" y="2024"/>
                    </a:lnTo>
                    <a:lnTo>
                      <a:pt x="320" y="2020"/>
                    </a:lnTo>
                    <a:lnTo>
                      <a:pt x="326" y="2016"/>
                    </a:lnTo>
                    <a:lnTo>
                      <a:pt x="326" y="2016"/>
                    </a:lnTo>
                    <a:lnTo>
                      <a:pt x="322" y="2022"/>
                    </a:lnTo>
                    <a:lnTo>
                      <a:pt x="318" y="2026"/>
                    </a:lnTo>
                    <a:lnTo>
                      <a:pt x="318" y="2026"/>
                    </a:lnTo>
                    <a:lnTo>
                      <a:pt x="312" y="2032"/>
                    </a:lnTo>
                    <a:lnTo>
                      <a:pt x="306" y="2036"/>
                    </a:lnTo>
                    <a:lnTo>
                      <a:pt x="304" y="2044"/>
                    </a:lnTo>
                    <a:lnTo>
                      <a:pt x="302" y="2048"/>
                    </a:lnTo>
                    <a:lnTo>
                      <a:pt x="294" y="2050"/>
                    </a:lnTo>
                    <a:lnTo>
                      <a:pt x="294" y="2050"/>
                    </a:lnTo>
                    <a:lnTo>
                      <a:pt x="284" y="2050"/>
                    </a:lnTo>
                    <a:lnTo>
                      <a:pt x="280" y="2050"/>
                    </a:lnTo>
                    <a:lnTo>
                      <a:pt x="274" y="2048"/>
                    </a:lnTo>
                    <a:lnTo>
                      <a:pt x="262" y="2048"/>
                    </a:lnTo>
                    <a:lnTo>
                      <a:pt x="262" y="2048"/>
                    </a:lnTo>
                    <a:lnTo>
                      <a:pt x="256" y="2048"/>
                    </a:lnTo>
                    <a:lnTo>
                      <a:pt x="252" y="2050"/>
                    </a:lnTo>
                    <a:lnTo>
                      <a:pt x="252" y="2052"/>
                    </a:lnTo>
                    <a:lnTo>
                      <a:pt x="252" y="2054"/>
                    </a:lnTo>
                    <a:lnTo>
                      <a:pt x="252" y="2058"/>
                    </a:lnTo>
                    <a:lnTo>
                      <a:pt x="250" y="2058"/>
                    </a:lnTo>
                    <a:lnTo>
                      <a:pt x="246" y="2060"/>
                    </a:lnTo>
                    <a:lnTo>
                      <a:pt x="246" y="2060"/>
                    </a:lnTo>
                    <a:lnTo>
                      <a:pt x="242" y="2060"/>
                    </a:lnTo>
                    <a:lnTo>
                      <a:pt x="238" y="2062"/>
                    </a:lnTo>
                    <a:lnTo>
                      <a:pt x="238" y="2066"/>
                    </a:lnTo>
                    <a:lnTo>
                      <a:pt x="238" y="2070"/>
                    </a:lnTo>
                    <a:lnTo>
                      <a:pt x="238" y="2074"/>
                    </a:lnTo>
                    <a:lnTo>
                      <a:pt x="236" y="2076"/>
                    </a:lnTo>
                    <a:lnTo>
                      <a:pt x="236" y="2076"/>
                    </a:lnTo>
                    <a:lnTo>
                      <a:pt x="232" y="2078"/>
                    </a:lnTo>
                    <a:lnTo>
                      <a:pt x="230" y="2082"/>
                    </a:lnTo>
                    <a:lnTo>
                      <a:pt x="230" y="2084"/>
                    </a:lnTo>
                    <a:lnTo>
                      <a:pt x="226" y="2086"/>
                    </a:lnTo>
                    <a:lnTo>
                      <a:pt x="226" y="2086"/>
                    </a:lnTo>
                    <a:lnTo>
                      <a:pt x="220" y="2092"/>
                    </a:lnTo>
                    <a:lnTo>
                      <a:pt x="214" y="2100"/>
                    </a:lnTo>
                    <a:lnTo>
                      <a:pt x="210" y="2106"/>
                    </a:lnTo>
                    <a:lnTo>
                      <a:pt x="206" y="2106"/>
                    </a:lnTo>
                    <a:lnTo>
                      <a:pt x="202" y="2108"/>
                    </a:lnTo>
                    <a:lnTo>
                      <a:pt x="202" y="2108"/>
                    </a:lnTo>
                    <a:lnTo>
                      <a:pt x="198" y="2108"/>
                    </a:lnTo>
                    <a:lnTo>
                      <a:pt x="194" y="2108"/>
                    </a:lnTo>
                    <a:lnTo>
                      <a:pt x="192" y="2112"/>
                    </a:lnTo>
                    <a:lnTo>
                      <a:pt x="192" y="2114"/>
                    </a:lnTo>
                    <a:lnTo>
                      <a:pt x="192" y="2118"/>
                    </a:lnTo>
                    <a:lnTo>
                      <a:pt x="194" y="2118"/>
                    </a:lnTo>
                    <a:lnTo>
                      <a:pt x="196" y="2118"/>
                    </a:lnTo>
                    <a:lnTo>
                      <a:pt x="196" y="2118"/>
                    </a:lnTo>
                    <a:lnTo>
                      <a:pt x="200" y="2116"/>
                    </a:lnTo>
                    <a:lnTo>
                      <a:pt x="202" y="2116"/>
                    </a:lnTo>
                    <a:lnTo>
                      <a:pt x="206" y="2118"/>
                    </a:lnTo>
                    <a:lnTo>
                      <a:pt x="210" y="2122"/>
                    </a:lnTo>
                    <a:lnTo>
                      <a:pt x="212" y="2122"/>
                    </a:lnTo>
                    <a:lnTo>
                      <a:pt x="214" y="2122"/>
                    </a:lnTo>
                    <a:lnTo>
                      <a:pt x="214" y="2122"/>
                    </a:lnTo>
                    <a:lnTo>
                      <a:pt x="216" y="2120"/>
                    </a:lnTo>
                    <a:lnTo>
                      <a:pt x="216" y="2118"/>
                    </a:lnTo>
                    <a:lnTo>
                      <a:pt x="218" y="2116"/>
                    </a:lnTo>
                    <a:lnTo>
                      <a:pt x="222" y="2112"/>
                    </a:lnTo>
                    <a:lnTo>
                      <a:pt x="222" y="2112"/>
                    </a:lnTo>
                    <a:lnTo>
                      <a:pt x="226" y="2110"/>
                    </a:lnTo>
                    <a:lnTo>
                      <a:pt x="230" y="2106"/>
                    </a:lnTo>
                    <a:lnTo>
                      <a:pt x="234" y="2102"/>
                    </a:lnTo>
                    <a:lnTo>
                      <a:pt x="244" y="2100"/>
                    </a:lnTo>
                    <a:lnTo>
                      <a:pt x="244" y="2100"/>
                    </a:lnTo>
                    <a:lnTo>
                      <a:pt x="252" y="2100"/>
                    </a:lnTo>
                    <a:lnTo>
                      <a:pt x="258" y="2102"/>
                    </a:lnTo>
                    <a:lnTo>
                      <a:pt x="270" y="2108"/>
                    </a:lnTo>
                    <a:lnTo>
                      <a:pt x="270" y="2108"/>
                    </a:lnTo>
                    <a:lnTo>
                      <a:pt x="274" y="2110"/>
                    </a:lnTo>
                    <a:lnTo>
                      <a:pt x="276" y="2108"/>
                    </a:lnTo>
                    <a:lnTo>
                      <a:pt x="280" y="2098"/>
                    </a:lnTo>
                    <a:lnTo>
                      <a:pt x="282" y="2088"/>
                    </a:lnTo>
                    <a:lnTo>
                      <a:pt x="284" y="2086"/>
                    </a:lnTo>
                    <a:lnTo>
                      <a:pt x="286" y="2084"/>
                    </a:lnTo>
                    <a:lnTo>
                      <a:pt x="286" y="2084"/>
                    </a:lnTo>
                    <a:lnTo>
                      <a:pt x="288" y="2086"/>
                    </a:lnTo>
                    <a:lnTo>
                      <a:pt x="290" y="2084"/>
                    </a:lnTo>
                    <a:lnTo>
                      <a:pt x="298" y="2080"/>
                    </a:lnTo>
                    <a:lnTo>
                      <a:pt x="302" y="2078"/>
                    </a:lnTo>
                    <a:lnTo>
                      <a:pt x="306" y="2078"/>
                    </a:lnTo>
                    <a:lnTo>
                      <a:pt x="312" y="2080"/>
                    </a:lnTo>
                    <a:lnTo>
                      <a:pt x="316" y="2084"/>
                    </a:lnTo>
                    <a:lnTo>
                      <a:pt x="316" y="2084"/>
                    </a:lnTo>
                    <a:lnTo>
                      <a:pt x="322" y="2088"/>
                    </a:lnTo>
                    <a:lnTo>
                      <a:pt x="324" y="2088"/>
                    </a:lnTo>
                    <a:lnTo>
                      <a:pt x="324" y="2088"/>
                    </a:lnTo>
                    <a:lnTo>
                      <a:pt x="328" y="2086"/>
                    </a:lnTo>
                    <a:lnTo>
                      <a:pt x="330" y="2086"/>
                    </a:lnTo>
                    <a:lnTo>
                      <a:pt x="334" y="2086"/>
                    </a:lnTo>
                    <a:lnTo>
                      <a:pt x="334" y="2086"/>
                    </a:lnTo>
                    <a:lnTo>
                      <a:pt x="342" y="2086"/>
                    </a:lnTo>
                    <a:lnTo>
                      <a:pt x="344" y="2084"/>
                    </a:lnTo>
                    <a:lnTo>
                      <a:pt x="346" y="2082"/>
                    </a:lnTo>
                    <a:lnTo>
                      <a:pt x="356" y="2078"/>
                    </a:lnTo>
                    <a:lnTo>
                      <a:pt x="356" y="2078"/>
                    </a:lnTo>
                    <a:lnTo>
                      <a:pt x="366" y="2076"/>
                    </a:lnTo>
                    <a:lnTo>
                      <a:pt x="368" y="2074"/>
                    </a:lnTo>
                    <a:lnTo>
                      <a:pt x="368" y="2072"/>
                    </a:lnTo>
                    <a:lnTo>
                      <a:pt x="374" y="2074"/>
                    </a:lnTo>
                    <a:lnTo>
                      <a:pt x="374" y="2074"/>
                    </a:lnTo>
                    <a:lnTo>
                      <a:pt x="380" y="2076"/>
                    </a:lnTo>
                    <a:lnTo>
                      <a:pt x="382" y="2076"/>
                    </a:lnTo>
                    <a:lnTo>
                      <a:pt x="384" y="2074"/>
                    </a:lnTo>
                    <a:lnTo>
                      <a:pt x="386" y="2076"/>
                    </a:lnTo>
                    <a:lnTo>
                      <a:pt x="386" y="2076"/>
                    </a:lnTo>
                    <a:lnTo>
                      <a:pt x="388" y="2078"/>
                    </a:lnTo>
                    <a:lnTo>
                      <a:pt x="392" y="2078"/>
                    </a:lnTo>
                    <a:lnTo>
                      <a:pt x="400" y="2074"/>
                    </a:lnTo>
                    <a:lnTo>
                      <a:pt x="410" y="2072"/>
                    </a:lnTo>
                    <a:lnTo>
                      <a:pt x="416" y="2074"/>
                    </a:lnTo>
                    <a:lnTo>
                      <a:pt x="422" y="2074"/>
                    </a:lnTo>
                    <a:lnTo>
                      <a:pt x="422" y="2074"/>
                    </a:lnTo>
                    <a:lnTo>
                      <a:pt x="428" y="2076"/>
                    </a:lnTo>
                    <a:lnTo>
                      <a:pt x="432" y="2076"/>
                    </a:lnTo>
                    <a:lnTo>
                      <a:pt x="440" y="2074"/>
                    </a:lnTo>
                    <a:lnTo>
                      <a:pt x="448" y="2070"/>
                    </a:lnTo>
                    <a:lnTo>
                      <a:pt x="456" y="2068"/>
                    </a:lnTo>
                    <a:lnTo>
                      <a:pt x="456" y="2068"/>
                    </a:lnTo>
                    <a:lnTo>
                      <a:pt x="460" y="2068"/>
                    </a:lnTo>
                    <a:lnTo>
                      <a:pt x="462" y="2064"/>
                    </a:lnTo>
                    <a:lnTo>
                      <a:pt x="464" y="2060"/>
                    </a:lnTo>
                    <a:lnTo>
                      <a:pt x="470" y="2056"/>
                    </a:lnTo>
                    <a:lnTo>
                      <a:pt x="470" y="2056"/>
                    </a:lnTo>
                    <a:lnTo>
                      <a:pt x="478" y="2052"/>
                    </a:lnTo>
                    <a:lnTo>
                      <a:pt x="480" y="2048"/>
                    </a:lnTo>
                    <a:lnTo>
                      <a:pt x="480" y="2044"/>
                    </a:lnTo>
                    <a:lnTo>
                      <a:pt x="480" y="2040"/>
                    </a:lnTo>
                    <a:lnTo>
                      <a:pt x="480" y="2040"/>
                    </a:lnTo>
                    <a:lnTo>
                      <a:pt x="480" y="2038"/>
                    </a:lnTo>
                    <a:lnTo>
                      <a:pt x="478" y="2038"/>
                    </a:lnTo>
                    <a:lnTo>
                      <a:pt x="472" y="2038"/>
                    </a:lnTo>
                    <a:lnTo>
                      <a:pt x="462" y="2040"/>
                    </a:lnTo>
                    <a:lnTo>
                      <a:pt x="456" y="2040"/>
                    </a:lnTo>
                    <a:lnTo>
                      <a:pt x="456" y="2040"/>
                    </a:lnTo>
                    <a:lnTo>
                      <a:pt x="450" y="2038"/>
                    </a:lnTo>
                    <a:lnTo>
                      <a:pt x="448" y="2036"/>
                    </a:lnTo>
                    <a:lnTo>
                      <a:pt x="450" y="2036"/>
                    </a:lnTo>
                    <a:lnTo>
                      <a:pt x="446" y="2034"/>
                    </a:lnTo>
                    <a:lnTo>
                      <a:pt x="446" y="2034"/>
                    </a:lnTo>
                    <a:lnTo>
                      <a:pt x="444" y="2032"/>
                    </a:lnTo>
                    <a:lnTo>
                      <a:pt x="444" y="2032"/>
                    </a:lnTo>
                    <a:lnTo>
                      <a:pt x="448" y="2030"/>
                    </a:lnTo>
                    <a:lnTo>
                      <a:pt x="456" y="2030"/>
                    </a:lnTo>
                    <a:lnTo>
                      <a:pt x="458" y="2028"/>
                    </a:lnTo>
                    <a:lnTo>
                      <a:pt x="460" y="2026"/>
                    </a:lnTo>
                    <a:lnTo>
                      <a:pt x="460" y="2026"/>
                    </a:lnTo>
                    <a:lnTo>
                      <a:pt x="460" y="2020"/>
                    </a:lnTo>
                    <a:lnTo>
                      <a:pt x="458" y="2020"/>
                    </a:lnTo>
                    <a:lnTo>
                      <a:pt x="456" y="2020"/>
                    </a:lnTo>
                    <a:lnTo>
                      <a:pt x="458" y="2016"/>
                    </a:lnTo>
                    <a:lnTo>
                      <a:pt x="458" y="2016"/>
                    </a:lnTo>
                    <a:lnTo>
                      <a:pt x="462" y="2014"/>
                    </a:lnTo>
                    <a:lnTo>
                      <a:pt x="464" y="2014"/>
                    </a:lnTo>
                    <a:lnTo>
                      <a:pt x="472" y="2014"/>
                    </a:lnTo>
                    <a:lnTo>
                      <a:pt x="476" y="2014"/>
                    </a:lnTo>
                    <a:lnTo>
                      <a:pt x="476" y="2012"/>
                    </a:lnTo>
                    <a:lnTo>
                      <a:pt x="474" y="2010"/>
                    </a:lnTo>
                    <a:lnTo>
                      <a:pt x="474" y="2010"/>
                    </a:lnTo>
                    <a:lnTo>
                      <a:pt x="474" y="2008"/>
                    </a:lnTo>
                    <a:lnTo>
                      <a:pt x="474" y="2006"/>
                    </a:lnTo>
                    <a:lnTo>
                      <a:pt x="482" y="2000"/>
                    </a:lnTo>
                    <a:lnTo>
                      <a:pt x="486" y="1996"/>
                    </a:lnTo>
                    <a:lnTo>
                      <a:pt x="490" y="1990"/>
                    </a:lnTo>
                    <a:lnTo>
                      <a:pt x="494" y="1982"/>
                    </a:lnTo>
                    <a:lnTo>
                      <a:pt x="494" y="1970"/>
                    </a:lnTo>
                    <a:lnTo>
                      <a:pt x="494" y="1970"/>
                    </a:lnTo>
                    <a:close/>
                    <a:moveTo>
                      <a:pt x="662" y="1344"/>
                    </a:moveTo>
                    <a:lnTo>
                      <a:pt x="662" y="1344"/>
                    </a:lnTo>
                    <a:lnTo>
                      <a:pt x="660" y="1344"/>
                    </a:lnTo>
                    <a:lnTo>
                      <a:pt x="656" y="1346"/>
                    </a:lnTo>
                    <a:lnTo>
                      <a:pt x="656" y="1350"/>
                    </a:lnTo>
                    <a:lnTo>
                      <a:pt x="656" y="1354"/>
                    </a:lnTo>
                    <a:lnTo>
                      <a:pt x="656" y="1354"/>
                    </a:lnTo>
                    <a:lnTo>
                      <a:pt x="660" y="1354"/>
                    </a:lnTo>
                    <a:lnTo>
                      <a:pt x="662" y="1352"/>
                    </a:lnTo>
                    <a:lnTo>
                      <a:pt x="664" y="1348"/>
                    </a:lnTo>
                    <a:lnTo>
                      <a:pt x="664" y="1346"/>
                    </a:lnTo>
                    <a:lnTo>
                      <a:pt x="662" y="1344"/>
                    </a:lnTo>
                    <a:lnTo>
                      <a:pt x="662" y="1344"/>
                    </a:lnTo>
                    <a:close/>
                    <a:moveTo>
                      <a:pt x="652" y="1354"/>
                    </a:moveTo>
                    <a:lnTo>
                      <a:pt x="652" y="1354"/>
                    </a:lnTo>
                    <a:lnTo>
                      <a:pt x="650" y="1352"/>
                    </a:lnTo>
                    <a:lnTo>
                      <a:pt x="648" y="1352"/>
                    </a:lnTo>
                    <a:lnTo>
                      <a:pt x="646" y="1352"/>
                    </a:lnTo>
                    <a:lnTo>
                      <a:pt x="644" y="1356"/>
                    </a:lnTo>
                    <a:lnTo>
                      <a:pt x="644" y="1356"/>
                    </a:lnTo>
                    <a:lnTo>
                      <a:pt x="646" y="1358"/>
                    </a:lnTo>
                    <a:lnTo>
                      <a:pt x="648" y="1358"/>
                    </a:lnTo>
                    <a:lnTo>
                      <a:pt x="652" y="1356"/>
                    </a:lnTo>
                    <a:lnTo>
                      <a:pt x="652" y="1354"/>
                    </a:lnTo>
                    <a:lnTo>
                      <a:pt x="652" y="1354"/>
                    </a:lnTo>
                    <a:close/>
                    <a:moveTo>
                      <a:pt x="150" y="1398"/>
                    </a:moveTo>
                    <a:lnTo>
                      <a:pt x="150" y="1398"/>
                    </a:lnTo>
                    <a:lnTo>
                      <a:pt x="148" y="1396"/>
                    </a:lnTo>
                    <a:lnTo>
                      <a:pt x="148" y="1396"/>
                    </a:lnTo>
                    <a:lnTo>
                      <a:pt x="146" y="1394"/>
                    </a:lnTo>
                    <a:lnTo>
                      <a:pt x="146" y="1396"/>
                    </a:lnTo>
                    <a:lnTo>
                      <a:pt x="146" y="1396"/>
                    </a:lnTo>
                    <a:lnTo>
                      <a:pt x="144" y="1398"/>
                    </a:lnTo>
                    <a:lnTo>
                      <a:pt x="146" y="1402"/>
                    </a:lnTo>
                    <a:lnTo>
                      <a:pt x="152" y="1410"/>
                    </a:lnTo>
                    <a:lnTo>
                      <a:pt x="152" y="1410"/>
                    </a:lnTo>
                    <a:lnTo>
                      <a:pt x="154" y="1412"/>
                    </a:lnTo>
                    <a:lnTo>
                      <a:pt x="156" y="1412"/>
                    </a:lnTo>
                    <a:lnTo>
                      <a:pt x="158" y="1412"/>
                    </a:lnTo>
                    <a:lnTo>
                      <a:pt x="156" y="1410"/>
                    </a:lnTo>
                    <a:lnTo>
                      <a:pt x="156" y="1410"/>
                    </a:lnTo>
                    <a:lnTo>
                      <a:pt x="154" y="1404"/>
                    </a:lnTo>
                    <a:lnTo>
                      <a:pt x="154" y="1400"/>
                    </a:lnTo>
                    <a:lnTo>
                      <a:pt x="150" y="1398"/>
                    </a:lnTo>
                    <a:lnTo>
                      <a:pt x="150" y="1398"/>
                    </a:lnTo>
                    <a:close/>
                    <a:moveTo>
                      <a:pt x="732" y="1304"/>
                    </a:moveTo>
                    <a:lnTo>
                      <a:pt x="732" y="1304"/>
                    </a:lnTo>
                    <a:lnTo>
                      <a:pt x="734" y="1302"/>
                    </a:lnTo>
                    <a:lnTo>
                      <a:pt x="732" y="1300"/>
                    </a:lnTo>
                    <a:lnTo>
                      <a:pt x="730" y="1298"/>
                    </a:lnTo>
                    <a:lnTo>
                      <a:pt x="728" y="1300"/>
                    </a:lnTo>
                    <a:lnTo>
                      <a:pt x="728" y="1300"/>
                    </a:lnTo>
                    <a:lnTo>
                      <a:pt x="726" y="1302"/>
                    </a:lnTo>
                    <a:lnTo>
                      <a:pt x="724" y="1302"/>
                    </a:lnTo>
                    <a:lnTo>
                      <a:pt x="722" y="1300"/>
                    </a:lnTo>
                    <a:lnTo>
                      <a:pt x="720" y="1302"/>
                    </a:lnTo>
                    <a:lnTo>
                      <a:pt x="720" y="1302"/>
                    </a:lnTo>
                    <a:lnTo>
                      <a:pt x="720" y="1304"/>
                    </a:lnTo>
                    <a:lnTo>
                      <a:pt x="720" y="1304"/>
                    </a:lnTo>
                    <a:lnTo>
                      <a:pt x="724" y="1306"/>
                    </a:lnTo>
                    <a:lnTo>
                      <a:pt x="732" y="1304"/>
                    </a:lnTo>
                    <a:lnTo>
                      <a:pt x="732" y="1304"/>
                    </a:lnTo>
                    <a:close/>
                    <a:moveTo>
                      <a:pt x="618" y="1384"/>
                    </a:moveTo>
                    <a:lnTo>
                      <a:pt x="618" y="1384"/>
                    </a:lnTo>
                    <a:lnTo>
                      <a:pt x="622" y="1384"/>
                    </a:lnTo>
                    <a:lnTo>
                      <a:pt x="626" y="1382"/>
                    </a:lnTo>
                    <a:lnTo>
                      <a:pt x="628" y="1380"/>
                    </a:lnTo>
                    <a:lnTo>
                      <a:pt x="628" y="1378"/>
                    </a:lnTo>
                    <a:lnTo>
                      <a:pt x="628" y="1378"/>
                    </a:lnTo>
                    <a:lnTo>
                      <a:pt x="622" y="1378"/>
                    </a:lnTo>
                    <a:lnTo>
                      <a:pt x="618" y="1378"/>
                    </a:lnTo>
                    <a:lnTo>
                      <a:pt x="616" y="1380"/>
                    </a:lnTo>
                    <a:lnTo>
                      <a:pt x="618" y="1384"/>
                    </a:lnTo>
                    <a:lnTo>
                      <a:pt x="618" y="1384"/>
                    </a:lnTo>
                    <a:close/>
                    <a:moveTo>
                      <a:pt x="620" y="1456"/>
                    </a:moveTo>
                    <a:lnTo>
                      <a:pt x="620" y="1456"/>
                    </a:lnTo>
                    <a:lnTo>
                      <a:pt x="616" y="1454"/>
                    </a:lnTo>
                    <a:lnTo>
                      <a:pt x="618" y="1456"/>
                    </a:lnTo>
                    <a:lnTo>
                      <a:pt x="622" y="1462"/>
                    </a:lnTo>
                    <a:lnTo>
                      <a:pt x="624" y="1462"/>
                    </a:lnTo>
                    <a:lnTo>
                      <a:pt x="624" y="1462"/>
                    </a:lnTo>
                    <a:lnTo>
                      <a:pt x="626" y="1464"/>
                    </a:lnTo>
                    <a:lnTo>
                      <a:pt x="624" y="1462"/>
                    </a:lnTo>
                    <a:lnTo>
                      <a:pt x="622" y="1458"/>
                    </a:lnTo>
                    <a:lnTo>
                      <a:pt x="620" y="1456"/>
                    </a:lnTo>
                    <a:lnTo>
                      <a:pt x="620" y="1456"/>
                    </a:lnTo>
                    <a:close/>
                    <a:moveTo>
                      <a:pt x="630" y="1474"/>
                    </a:moveTo>
                    <a:lnTo>
                      <a:pt x="630" y="1474"/>
                    </a:lnTo>
                    <a:lnTo>
                      <a:pt x="626" y="1468"/>
                    </a:lnTo>
                    <a:lnTo>
                      <a:pt x="622" y="1466"/>
                    </a:lnTo>
                    <a:lnTo>
                      <a:pt x="622" y="1466"/>
                    </a:lnTo>
                    <a:lnTo>
                      <a:pt x="622" y="1468"/>
                    </a:lnTo>
                    <a:lnTo>
                      <a:pt x="622" y="1468"/>
                    </a:lnTo>
                    <a:lnTo>
                      <a:pt x="626" y="1474"/>
                    </a:lnTo>
                    <a:lnTo>
                      <a:pt x="628" y="1476"/>
                    </a:lnTo>
                    <a:lnTo>
                      <a:pt x="630" y="1474"/>
                    </a:lnTo>
                    <a:lnTo>
                      <a:pt x="630" y="1474"/>
                    </a:lnTo>
                    <a:close/>
                    <a:moveTo>
                      <a:pt x="624" y="1490"/>
                    </a:moveTo>
                    <a:lnTo>
                      <a:pt x="624" y="1490"/>
                    </a:lnTo>
                    <a:lnTo>
                      <a:pt x="626" y="1490"/>
                    </a:lnTo>
                    <a:lnTo>
                      <a:pt x="626" y="1490"/>
                    </a:lnTo>
                    <a:lnTo>
                      <a:pt x="626" y="1486"/>
                    </a:lnTo>
                    <a:lnTo>
                      <a:pt x="624" y="1476"/>
                    </a:lnTo>
                    <a:lnTo>
                      <a:pt x="624" y="1476"/>
                    </a:lnTo>
                    <a:lnTo>
                      <a:pt x="622" y="1474"/>
                    </a:lnTo>
                    <a:lnTo>
                      <a:pt x="622" y="1476"/>
                    </a:lnTo>
                    <a:lnTo>
                      <a:pt x="622" y="1480"/>
                    </a:lnTo>
                    <a:lnTo>
                      <a:pt x="622" y="1486"/>
                    </a:lnTo>
                    <a:lnTo>
                      <a:pt x="622" y="1490"/>
                    </a:lnTo>
                    <a:lnTo>
                      <a:pt x="624" y="1490"/>
                    </a:lnTo>
                    <a:lnTo>
                      <a:pt x="624" y="1490"/>
                    </a:lnTo>
                    <a:close/>
                    <a:moveTo>
                      <a:pt x="302" y="1578"/>
                    </a:moveTo>
                    <a:lnTo>
                      <a:pt x="302" y="1578"/>
                    </a:lnTo>
                    <a:lnTo>
                      <a:pt x="300" y="1580"/>
                    </a:lnTo>
                    <a:lnTo>
                      <a:pt x="300" y="1582"/>
                    </a:lnTo>
                    <a:lnTo>
                      <a:pt x="302" y="1582"/>
                    </a:lnTo>
                    <a:lnTo>
                      <a:pt x="304" y="1584"/>
                    </a:lnTo>
                    <a:lnTo>
                      <a:pt x="304" y="1584"/>
                    </a:lnTo>
                    <a:lnTo>
                      <a:pt x="306" y="1582"/>
                    </a:lnTo>
                    <a:lnTo>
                      <a:pt x="306" y="1580"/>
                    </a:lnTo>
                    <a:lnTo>
                      <a:pt x="304" y="1578"/>
                    </a:lnTo>
                    <a:lnTo>
                      <a:pt x="302" y="1578"/>
                    </a:lnTo>
                    <a:lnTo>
                      <a:pt x="302" y="1578"/>
                    </a:lnTo>
                    <a:close/>
                    <a:moveTo>
                      <a:pt x="160" y="1386"/>
                    </a:moveTo>
                    <a:lnTo>
                      <a:pt x="160" y="1386"/>
                    </a:lnTo>
                    <a:lnTo>
                      <a:pt x="158" y="1382"/>
                    </a:lnTo>
                    <a:lnTo>
                      <a:pt x="154" y="1378"/>
                    </a:lnTo>
                    <a:lnTo>
                      <a:pt x="150" y="1378"/>
                    </a:lnTo>
                    <a:lnTo>
                      <a:pt x="148" y="1378"/>
                    </a:lnTo>
                    <a:lnTo>
                      <a:pt x="148" y="1380"/>
                    </a:lnTo>
                    <a:lnTo>
                      <a:pt x="148" y="1380"/>
                    </a:lnTo>
                    <a:lnTo>
                      <a:pt x="148" y="1382"/>
                    </a:lnTo>
                    <a:lnTo>
                      <a:pt x="152" y="1384"/>
                    </a:lnTo>
                    <a:lnTo>
                      <a:pt x="152" y="1384"/>
                    </a:lnTo>
                    <a:lnTo>
                      <a:pt x="156" y="1386"/>
                    </a:lnTo>
                    <a:lnTo>
                      <a:pt x="160" y="1386"/>
                    </a:lnTo>
                    <a:lnTo>
                      <a:pt x="160" y="1386"/>
                    </a:lnTo>
                    <a:close/>
                    <a:moveTo>
                      <a:pt x="320" y="1546"/>
                    </a:moveTo>
                    <a:lnTo>
                      <a:pt x="320" y="1546"/>
                    </a:lnTo>
                    <a:lnTo>
                      <a:pt x="318" y="1546"/>
                    </a:lnTo>
                    <a:lnTo>
                      <a:pt x="316" y="1546"/>
                    </a:lnTo>
                    <a:lnTo>
                      <a:pt x="314" y="1548"/>
                    </a:lnTo>
                    <a:lnTo>
                      <a:pt x="312" y="1552"/>
                    </a:lnTo>
                    <a:lnTo>
                      <a:pt x="312" y="1552"/>
                    </a:lnTo>
                    <a:lnTo>
                      <a:pt x="312" y="1552"/>
                    </a:lnTo>
                    <a:lnTo>
                      <a:pt x="314" y="1552"/>
                    </a:lnTo>
                    <a:lnTo>
                      <a:pt x="318" y="1552"/>
                    </a:lnTo>
                    <a:lnTo>
                      <a:pt x="318" y="1552"/>
                    </a:lnTo>
                    <a:lnTo>
                      <a:pt x="318" y="1550"/>
                    </a:lnTo>
                    <a:lnTo>
                      <a:pt x="320" y="1548"/>
                    </a:lnTo>
                    <a:lnTo>
                      <a:pt x="322" y="1546"/>
                    </a:lnTo>
                    <a:lnTo>
                      <a:pt x="320" y="1546"/>
                    </a:lnTo>
                    <a:lnTo>
                      <a:pt x="320" y="1546"/>
                    </a:lnTo>
                    <a:close/>
                    <a:moveTo>
                      <a:pt x="354" y="1486"/>
                    </a:moveTo>
                    <a:lnTo>
                      <a:pt x="354" y="1486"/>
                    </a:lnTo>
                    <a:lnTo>
                      <a:pt x="356" y="1488"/>
                    </a:lnTo>
                    <a:lnTo>
                      <a:pt x="356" y="1490"/>
                    </a:lnTo>
                    <a:lnTo>
                      <a:pt x="358" y="1488"/>
                    </a:lnTo>
                    <a:lnTo>
                      <a:pt x="362" y="1490"/>
                    </a:lnTo>
                    <a:lnTo>
                      <a:pt x="362" y="1490"/>
                    </a:lnTo>
                    <a:lnTo>
                      <a:pt x="364" y="1492"/>
                    </a:lnTo>
                    <a:lnTo>
                      <a:pt x="364" y="1490"/>
                    </a:lnTo>
                    <a:lnTo>
                      <a:pt x="366" y="1488"/>
                    </a:lnTo>
                    <a:lnTo>
                      <a:pt x="370" y="1490"/>
                    </a:lnTo>
                    <a:lnTo>
                      <a:pt x="370" y="1490"/>
                    </a:lnTo>
                    <a:lnTo>
                      <a:pt x="372" y="1492"/>
                    </a:lnTo>
                    <a:lnTo>
                      <a:pt x="372" y="1494"/>
                    </a:lnTo>
                    <a:lnTo>
                      <a:pt x="370" y="1500"/>
                    </a:lnTo>
                    <a:lnTo>
                      <a:pt x="368" y="1506"/>
                    </a:lnTo>
                    <a:lnTo>
                      <a:pt x="368" y="1508"/>
                    </a:lnTo>
                    <a:lnTo>
                      <a:pt x="370" y="1512"/>
                    </a:lnTo>
                    <a:lnTo>
                      <a:pt x="370" y="1512"/>
                    </a:lnTo>
                    <a:lnTo>
                      <a:pt x="372" y="1512"/>
                    </a:lnTo>
                    <a:lnTo>
                      <a:pt x="372" y="1510"/>
                    </a:lnTo>
                    <a:lnTo>
                      <a:pt x="374" y="1502"/>
                    </a:lnTo>
                    <a:lnTo>
                      <a:pt x="374" y="1502"/>
                    </a:lnTo>
                    <a:lnTo>
                      <a:pt x="376" y="1496"/>
                    </a:lnTo>
                    <a:lnTo>
                      <a:pt x="374" y="1490"/>
                    </a:lnTo>
                    <a:lnTo>
                      <a:pt x="374" y="1490"/>
                    </a:lnTo>
                    <a:lnTo>
                      <a:pt x="374" y="1488"/>
                    </a:lnTo>
                    <a:lnTo>
                      <a:pt x="376" y="1484"/>
                    </a:lnTo>
                    <a:lnTo>
                      <a:pt x="380" y="1476"/>
                    </a:lnTo>
                    <a:lnTo>
                      <a:pt x="380" y="1476"/>
                    </a:lnTo>
                    <a:lnTo>
                      <a:pt x="380" y="1472"/>
                    </a:lnTo>
                    <a:lnTo>
                      <a:pt x="378" y="1474"/>
                    </a:lnTo>
                    <a:lnTo>
                      <a:pt x="376" y="1476"/>
                    </a:lnTo>
                    <a:lnTo>
                      <a:pt x="376" y="1476"/>
                    </a:lnTo>
                    <a:lnTo>
                      <a:pt x="376" y="1474"/>
                    </a:lnTo>
                    <a:lnTo>
                      <a:pt x="376" y="1474"/>
                    </a:lnTo>
                    <a:lnTo>
                      <a:pt x="376" y="1472"/>
                    </a:lnTo>
                    <a:lnTo>
                      <a:pt x="374" y="1470"/>
                    </a:lnTo>
                    <a:lnTo>
                      <a:pt x="372" y="1470"/>
                    </a:lnTo>
                    <a:lnTo>
                      <a:pt x="372" y="1472"/>
                    </a:lnTo>
                    <a:lnTo>
                      <a:pt x="372" y="1472"/>
                    </a:lnTo>
                    <a:lnTo>
                      <a:pt x="370" y="1474"/>
                    </a:lnTo>
                    <a:lnTo>
                      <a:pt x="370" y="1472"/>
                    </a:lnTo>
                    <a:lnTo>
                      <a:pt x="370" y="1462"/>
                    </a:lnTo>
                    <a:lnTo>
                      <a:pt x="370" y="1462"/>
                    </a:lnTo>
                    <a:lnTo>
                      <a:pt x="370" y="1460"/>
                    </a:lnTo>
                    <a:lnTo>
                      <a:pt x="368" y="1460"/>
                    </a:lnTo>
                    <a:lnTo>
                      <a:pt x="364" y="1464"/>
                    </a:lnTo>
                    <a:lnTo>
                      <a:pt x="358" y="1468"/>
                    </a:lnTo>
                    <a:lnTo>
                      <a:pt x="358" y="1470"/>
                    </a:lnTo>
                    <a:lnTo>
                      <a:pt x="358" y="1470"/>
                    </a:lnTo>
                    <a:lnTo>
                      <a:pt x="358" y="1470"/>
                    </a:lnTo>
                    <a:lnTo>
                      <a:pt x="364" y="1474"/>
                    </a:lnTo>
                    <a:lnTo>
                      <a:pt x="368" y="1476"/>
                    </a:lnTo>
                    <a:lnTo>
                      <a:pt x="368" y="1480"/>
                    </a:lnTo>
                    <a:lnTo>
                      <a:pt x="368" y="1480"/>
                    </a:lnTo>
                    <a:lnTo>
                      <a:pt x="366" y="1482"/>
                    </a:lnTo>
                    <a:lnTo>
                      <a:pt x="360" y="1482"/>
                    </a:lnTo>
                    <a:lnTo>
                      <a:pt x="356" y="1482"/>
                    </a:lnTo>
                    <a:lnTo>
                      <a:pt x="356" y="1484"/>
                    </a:lnTo>
                    <a:lnTo>
                      <a:pt x="354" y="1486"/>
                    </a:lnTo>
                    <a:lnTo>
                      <a:pt x="354" y="1486"/>
                    </a:lnTo>
                    <a:close/>
                    <a:moveTo>
                      <a:pt x="312" y="1560"/>
                    </a:moveTo>
                    <a:lnTo>
                      <a:pt x="312" y="1560"/>
                    </a:lnTo>
                    <a:lnTo>
                      <a:pt x="312" y="1562"/>
                    </a:lnTo>
                    <a:lnTo>
                      <a:pt x="314" y="1562"/>
                    </a:lnTo>
                    <a:lnTo>
                      <a:pt x="318" y="1560"/>
                    </a:lnTo>
                    <a:lnTo>
                      <a:pt x="318" y="1560"/>
                    </a:lnTo>
                    <a:lnTo>
                      <a:pt x="316" y="1558"/>
                    </a:lnTo>
                    <a:lnTo>
                      <a:pt x="314" y="1556"/>
                    </a:lnTo>
                    <a:lnTo>
                      <a:pt x="312" y="1560"/>
                    </a:lnTo>
                    <a:lnTo>
                      <a:pt x="312" y="1560"/>
                    </a:lnTo>
                    <a:close/>
                    <a:moveTo>
                      <a:pt x="744" y="1294"/>
                    </a:moveTo>
                    <a:lnTo>
                      <a:pt x="744" y="1294"/>
                    </a:lnTo>
                    <a:lnTo>
                      <a:pt x="746" y="1296"/>
                    </a:lnTo>
                    <a:lnTo>
                      <a:pt x="748" y="1296"/>
                    </a:lnTo>
                    <a:lnTo>
                      <a:pt x="750" y="1294"/>
                    </a:lnTo>
                    <a:lnTo>
                      <a:pt x="752" y="1292"/>
                    </a:lnTo>
                    <a:lnTo>
                      <a:pt x="752" y="1292"/>
                    </a:lnTo>
                    <a:lnTo>
                      <a:pt x="748" y="1288"/>
                    </a:lnTo>
                    <a:lnTo>
                      <a:pt x="746" y="1288"/>
                    </a:lnTo>
                    <a:lnTo>
                      <a:pt x="744" y="1290"/>
                    </a:lnTo>
                    <a:lnTo>
                      <a:pt x="744" y="1294"/>
                    </a:lnTo>
                    <a:lnTo>
                      <a:pt x="744" y="1294"/>
                    </a:lnTo>
                    <a:close/>
                    <a:moveTo>
                      <a:pt x="380" y="1462"/>
                    </a:moveTo>
                    <a:lnTo>
                      <a:pt x="380" y="1462"/>
                    </a:lnTo>
                    <a:lnTo>
                      <a:pt x="382" y="1460"/>
                    </a:lnTo>
                    <a:lnTo>
                      <a:pt x="382" y="1456"/>
                    </a:lnTo>
                    <a:lnTo>
                      <a:pt x="382" y="1454"/>
                    </a:lnTo>
                    <a:lnTo>
                      <a:pt x="380" y="1454"/>
                    </a:lnTo>
                    <a:lnTo>
                      <a:pt x="380" y="1454"/>
                    </a:lnTo>
                    <a:lnTo>
                      <a:pt x="378" y="1454"/>
                    </a:lnTo>
                    <a:lnTo>
                      <a:pt x="378" y="1456"/>
                    </a:lnTo>
                    <a:lnTo>
                      <a:pt x="376" y="1460"/>
                    </a:lnTo>
                    <a:lnTo>
                      <a:pt x="376" y="1460"/>
                    </a:lnTo>
                    <a:lnTo>
                      <a:pt x="374" y="1462"/>
                    </a:lnTo>
                    <a:lnTo>
                      <a:pt x="376" y="1468"/>
                    </a:lnTo>
                    <a:lnTo>
                      <a:pt x="376" y="1468"/>
                    </a:lnTo>
                    <a:lnTo>
                      <a:pt x="378" y="1468"/>
                    </a:lnTo>
                    <a:lnTo>
                      <a:pt x="378" y="1466"/>
                    </a:lnTo>
                    <a:lnTo>
                      <a:pt x="380" y="1464"/>
                    </a:lnTo>
                    <a:lnTo>
                      <a:pt x="380" y="1462"/>
                    </a:lnTo>
                    <a:lnTo>
                      <a:pt x="380" y="1462"/>
                    </a:lnTo>
                    <a:close/>
                    <a:moveTo>
                      <a:pt x="134" y="1090"/>
                    </a:moveTo>
                    <a:lnTo>
                      <a:pt x="134" y="1090"/>
                    </a:lnTo>
                    <a:lnTo>
                      <a:pt x="148" y="1086"/>
                    </a:lnTo>
                    <a:lnTo>
                      <a:pt x="158" y="1086"/>
                    </a:lnTo>
                    <a:lnTo>
                      <a:pt x="190" y="1088"/>
                    </a:lnTo>
                    <a:lnTo>
                      <a:pt x="190" y="1088"/>
                    </a:lnTo>
                    <a:lnTo>
                      <a:pt x="200" y="1088"/>
                    </a:lnTo>
                    <a:lnTo>
                      <a:pt x="202" y="1090"/>
                    </a:lnTo>
                    <a:lnTo>
                      <a:pt x="202" y="1092"/>
                    </a:lnTo>
                    <a:lnTo>
                      <a:pt x="198" y="1094"/>
                    </a:lnTo>
                    <a:lnTo>
                      <a:pt x="186" y="1100"/>
                    </a:lnTo>
                    <a:lnTo>
                      <a:pt x="182" y="1104"/>
                    </a:lnTo>
                    <a:lnTo>
                      <a:pt x="180" y="1108"/>
                    </a:lnTo>
                    <a:lnTo>
                      <a:pt x="180" y="1108"/>
                    </a:lnTo>
                    <a:lnTo>
                      <a:pt x="182" y="1110"/>
                    </a:lnTo>
                    <a:lnTo>
                      <a:pt x="186" y="1112"/>
                    </a:lnTo>
                    <a:lnTo>
                      <a:pt x="196" y="1112"/>
                    </a:lnTo>
                    <a:lnTo>
                      <a:pt x="204" y="1114"/>
                    </a:lnTo>
                    <a:lnTo>
                      <a:pt x="204" y="1114"/>
                    </a:lnTo>
                    <a:lnTo>
                      <a:pt x="198" y="1118"/>
                    </a:lnTo>
                    <a:lnTo>
                      <a:pt x="198" y="1118"/>
                    </a:lnTo>
                    <a:lnTo>
                      <a:pt x="190" y="1120"/>
                    </a:lnTo>
                    <a:lnTo>
                      <a:pt x="182" y="1120"/>
                    </a:lnTo>
                    <a:lnTo>
                      <a:pt x="174" y="1118"/>
                    </a:lnTo>
                    <a:lnTo>
                      <a:pt x="166" y="1116"/>
                    </a:lnTo>
                    <a:lnTo>
                      <a:pt x="162" y="1116"/>
                    </a:lnTo>
                    <a:lnTo>
                      <a:pt x="156" y="1120"/>
                    </a:lnTo>
                    <a:lnTo>
                      <a:pt x="156" y="1120"/>
                    </a:lnTo>
                    <a:lnTo>
                      <a:pt x="150" y="1122"/>
                    </a:lnTo>
                    <a:lnTo>
                      <a:pt x="144" y="1124"/>
                    </a:lnTo>
                    <a:lnTo>
                      <a:pt x="132" y="1124"/>
                    </a:lnTo>
                    <a:lnTo>
                      <a:pt x="122" y="1126"/>
                    </a:lnTo>
                    <a:lnTo>
                      <a:pt x="120" y="1130"/>
                    </a:lnTo>
                    <a:lnTo>
                      <a:pt x="120" y="1132"/>
                    </a:lnTo>
                    <a:lnTo>
                      <a:pt x="120" y="1132"/>
                    </a:lnTo>
                    <a:lnTo>
                      <a:pt x="122" y="1136"/>
                    </a:lnTo>
                    <a:lnTo>
                      <a:pt x="124" y="1138"/>
                    </a:lnTo>
                    <a:lnTo>
                      <a:pt x="134" y="1136"/>
                    </a:lnTo>
                    <a:lnTo>
                      <a:pt x="152" y="1134"/>
                    </a:lnTo>
                    <a:lnTo>
                      <a:pt x="162" y="1134"/>
                    </a:lnTo>
                    <a:lnTo>
                      <a:pt x="174" y="1136"/>
                    </a:lnTo>
                    <a:lnTo>
                      <a:pt x="174" y="1136"/>
                    </a:lnTo>
                    <a:lnTo>
                      <a:pt x="180" y="1138"/>
                    </a:lnTo>
                    <a:lnTo>
                      <a:pt x="184" y="1140"/>
                    </a:lnTo>
                    <a:lnTo>
                      <a:pt x="186" y="1142"/>
                    </a:lnTo>
                    <a:lnTo>
                      <a:pt x="186" y="1146"/>
                    </a:lnTo>
                    <a:lnTo>
                      <a:pt x="186" y="1152"/>
                    </a:lnTo>
                    <a:lnTo>
                      <a:pt x="188" y="1154"/>
                    </a:lnTo>
                    <a:lnTo>
                      <a:pt x="190" y="1156"/>
                    </a:lnTo>
                    <a:lnTo>
                      <a:pt x="190" y="1156"/>
                    </a:lnTo>
                    <a:lnTo>
                      <a:pt x="198" y="1160"/>
                    </a:lnTo>
                    <a:lnTo>
                      <a:pt x="202" y="1166"/>
                    </a:lnTo>
                    <a:lnTo>
                      <a:pt x="202" y="1174"/>
                    </a:lnTo>
                    <a:lnTo>
                      <a:pt x="198" y="1184"/>
                    </a:lnTo>
                    <a:lnTo>
                      <a:pt x="198" y="1184"/>
                    </a:lnTo>
                    <a:lnTo>
                      <a:pt x="196" y="1186"/>
                    </a:lnTo>
                    <a:lnTo>
                      <a:pt x="190" y="1186"/>
                    </a:lnTo>
                    <a:lnTo>
                      <a:pt x="180" y="1184"/>
                    </a:lnTo>
                    <a:lnTo>
                      <a:pt x="172" y="1184"/>
                    </a:lnTo>
                    <a:lnTo>
                      <a:pt x="170" y="1186"/>
                    </a:lnTo>
                    <a:lnTo>
                      <a:pt x="170" y="1190"/>
                    </a:lnTo>
                    <a:lnTo>
                      <a:pt x="170" y="1190"/>
                    </a:lnTo>
                    <a:lnTo>
                      <a:pt x="172" y="1196"/>
                    </a:lnTo>
                    <a:lnTo>
                      <a:pt x="174" y="1198"/>
                    </a:lnTo>
                    <a:lnTo>
                      <a:pt x="176" y="1200"/>
                    </a:lnTo>
                    <a:lnTo>
                      <a:pt x="182" y="1202"/>
                    </a:lnTo>
                    <a:lnTo>
                      <a:pt x="196" y="1202"/>
                    </a:lnTo>
                    <a:lnTo>
                      <a:pt x="220" y="1200"/>
                    </a:lnTo>
                    <a:lnTo>
                      <a:pt x="220" y="1200"/>
                    </a:lnTo>
                    <a:lnTo>
                      <a:pt x="232" y="1200"/>
                    </a:lnTo>
                    <a:lnTo>
                      <a:pt x="242" y="1202"/>
                    </a:lnTo>
                    <a:lnTo>
                      <a:pt x="252" y="1206"/>
                    </a:lnTo>
                    <a:lnTo>
                      <a:pt x="260" y="1208"/>
                    </a:lnTo>
                    <a:lnTo>
                      <a:pt x="274" y="1216"/>
                    </a:lnTo>
                    <a:lnTo>
                      <a:pt x="282" y="1218"/>
                    </a:lnTo>
                    <a:lnTo>
                      <a:pt x="292" y="1220"/>
                    </a:lnTo>
                    <a:lnTo>
                      <a:pt x="292" y="1220"/>
                    </a:lnTo>
                    <a:lnTo>
                      <a:pt x="300" y="1220"/>
                    </a:lnTo>
                    <a:lnTo>
                      <a:pt x="308" y="1224"/>
                    </a:lnTo>
                    <a:lnTo>
                      <a:pt x="318" y="1228"/>
                    </a:lnTo>
                    <a:lnTo>
                      <a:pt x="322" y="1230"/>
                    </a:lnTo>
                    <a:lnTo>
                      <a:pt x="328" y="1232"/>
                    </a:lnTo>
                    <a:lnTo>
                      <a:pt x="336" y="1232"/>
                    </a:lnTo>
                    <a:lnTo>
                      <a:pt x="346" y="1230"/>
                    </a:lnTo>
                    <a:lnTo>
                      <a:pt x="346" y="1230"/>
                    </a:lnTo>
                    <a:lnTo>
                      <a:pt x="356" y="1226"/>
                    </a:lnTo>
                    <a:lnTo>
                      <a:pt x="362" y="1222"/>
                    </a:lnTo>
                    <a:lnTo>
                      <a:pt x="368" y="1214"/>
                    </a:lnTo>
                    <a:lnTo>
                      <a:pt x="370" y="1210"/>
                    </a:lnTo>
                    <a:lnTo>
                      <a:pt x="374" y="1206"/>
                    </a:lnTo>
                    <a:lnTo>
                      <a:pt x="380" y="1206"/>
                    </a:lnTo>
                    <a:lnTo>
                      <a:pt x="388" y="1206"/>
                    </a:lnTo>
                    <a:lnTo>
                      <a:pt x="388" y="1206"/>
                    </a:lnTo>
                    <a:lnTo>
                      <a:pt x="396" y="1204"/>
                    </a:lnTo>
                    <a:lnTo>
                      <a:pt x="404" y="1204"/>
                    </a:lnTo>
                    <a:lnTo>
                      <a:pt x="418" y="1198"/>
                    </a:lnTo>
                    <a:lnTo>
                      <a:pt x="452" y="1176"/>
                    </a:lnTo>
                    <a:lnTo>
                      <a:pt x="452" y="1176"/>
                    </a:lnTo>
                    <a:lnTo>
                      <a:pt x="462" y="1172"/>
                    </a:lnTo>
                    <a:lnTo>
                      <a:pt x="470" y="1170"/>
                    </a:lnTo>
                    <a:lnTo>
                      <a:pt x="484" y="1168"/>
                    </a:lnTo>
                    <a:lnTo>
                      <a:pt x="488" y="1166"/>
                    </a:lnTo>
                    <a:lnTo>
                      <a:pt x="494" y="1164"/>
                    </a:lnTo>
                    <a:lnTo>
                      <a:pt x="500" y="1160"/>
                    </a:lnTo>
                    <a:lnTo>
                      <a:pt x="504" y="1154"/>
                    </a:lnTo>
                    <a:lnTo>
                      <a:pt x="504" y="1154"/>
                    </a:lnTo>
                    <a:lnTo>
                      <a:pt x="514" y="1142"/>
                    </a:lnTo>
                    <a:lnTo>
                      <a:pt x="522" y="1136"/>
                    </a:lnTo>
                    <a:lnTo>
                      <a:pt x="528" y="1134"/>
                    </a:lnTo>
                    <a:lnTo>
                      <a:pt x="534" y="1126"/>
                    </a:lnTo>
                    <a:lnTo>
                      <a:pt x="534" y="1126"/>
                    </a:lnTo>
                    <a:lnTo>
                      <a:pt x="540" y="1112"/>
                    </a:lnTo>
                    <a:lnTo>
                      <a:pt x="542" y="1104"/>
                    </a:lnTo>
                    <a:lnTo>
                      <a:pt x="542" y="1098"/>
                    </a:lnTo>
                    <a:lnTo>
                      <a:pt x="542" y="1090"/>
                    </a:lnTo>
                    <a:lnTo>
                      <a:pt x="538" y="1086"/>
                    </a:lnTo>
                    <a:lnTo>
                      <a:pt x="532" y="1082"/>
                    </a:lnTo>
                    <a:lnTo>
                      <a:pt x="526" y="1080"/>
                    </a:lnTo>
                    <a:lnTo>
                      <a:pt x="526" y="1080"/>
                    </a:lnTo>
                    <a:lnTo>
                      <a:pt x="518" y="1078"/>
                    </a:lnTo>
                    <a:lnTo>
                      <a:pt x="514" y="1076"/>
                    </a:lnTo>
                    <a:lnTo>
                      <a:pt x="510" y="1072"/>
                    </a:lnTo>
                    <a:lnTo>
                      <a:pt x="506" y="1068"/>
                    </a:lnTo>
                    <a:lnTo>
                      <a:pt x="502" y="1066"/>
                    </a:lnTo>
                    <a:lnTo>
                      <a:pt x="496" y="1068"/>
                    </a:lnTo>
                    <a:lnTo>
                      <a:pt x="496" y="1068"/>
                    </a:lnTo>
                    <a:lnTo>
                      <a:pt x="494" y="1066"/>
                    </a:lnTo>
                    <a:lnTo>
                      <a:pt x="492" y="1064"/>
                    </a:lnTo>
                    <a:lnTo>
                      <a:pt x="496" y="1058"/>
                    </a:lnTo>
                    <a:lnTo>
                      <a:pt x="496" y="1058"/>
                    </a:lnTo>
                    <a:lnTo>
                      <a:pt x="500" y="1052"/>
                    </a:lnTo>
                    <a:lnTo>
                      <a:pt x="500" y="1048"/>
                    </a:lnTo>
                    <a:lnTo>
                      <a:pt x="496" y="1046"/>
                    </a:lnTo>
                    <a:lnTo>
                      <a:pt x="492" y="1046"/>
                    </a:lnTo>
                    <a:lnTo>
                      <a:pt x="486" y="1044"/>
                    </a:lnTo>
                    <a:lnTo>
                      <a:pt x="484" y="1044"/>
                    </a:lnTo>
                    <a:lnTo>
                      <a:pt x="484" y="1040"/>
                    </a:lnTo>
                    <a:lnTo>
                      <a:pt x="488" y="1036"/>
                    </a:lnTo>
                    <a:lnTo>
                      <a:pt x="488" y="1036"/>
                    </a:lnTo>
                    <a:lnTo>
                      <a:pt x="500" y="1028"/>
                    </a:lnTo>
                    <a:lnTo>
                      <a:pt x="500" y="1024"/>
                    </a:lnTo>
                    <a:lnTo>
                      <a:pt x="500" y="1022"/>
                    </a:lnTo>
                    <a:lnTo>
                      <a:pt x="494" y="1022"/>
                    </a:lnTo>
                    <a:lnTo>
                      <a:pt x="484" y="1026"/>
                    </a:lnTo>
                    <a:lnTo>
                      <a:pt x="484" y="1026"/>
                    </a:lnTo>
                    <a:lnTo>
                      <a:pt x="474" y="1032"/>
                    </a:lnTo>
                    <a:lnTo>
                      <a:pt x="466" y="1036"/>
                    </a:lnTo>
                    <a:lnTo>
                      <a:pt x="462" y="1036"/>
                    </a:lnTo>
                    <a:lnTo>
                      <a:pt x="460" y="1034"/>
                    </a:lnTo>
                    <a:lnTo>
                      <a:pt x="456" y="1028"/>
                    </a:lnTo>
                    <a:lnTo>
                      <a:pt x="450" y="1020"/>
                    </a:lnTo>
                    <a:lnTo>
                      <a:pt x="450" y="1020"/>
                    </a:lnTo>
                    <a:lnTo>
                      <a:pt x="446" y="1016"/>
                    </a:lnTo>
                    <a:lnTo>
                      <a:pt x="442" y="1012"/>
                    </a:lnTo>
                    <a:lnTo>
                      <a:pt x="436" y="1012"/>
                    </a:lnTo>
                    <a:lnTo>
                      <a:pt x="430" y="1012"/>
                    </a:lnTo>
                    <a:lnTo>
                      <a:pt x="424" y="1014"/>
                    </a:lnTo>
                    <a:lnTo>
                      <a:pt x="420" y="1018"/>
                    </a:lnTo>
                    <a:lnTo>
                      <a:pt x="418" y="1022"/>
                    </a:lnTo>
                    <a:lnTo>
                      <a:pt x="420" y="1026"/>
                    </a:lnTo>
                    <a:lnTo>
                      <a:pt x="420" y="1026"/>
                    </a:lnTo>
                    <a:lnTo>
                      <a:pt x="424" y="1034"/>
                    </a:lnTo>
                    <a:lnTo>
                      <a:pt x="424" y="1038"/>
                    </a:lnTo>
                    <a:lnTo>
                      <a:pt x="424" y="1040"/>
                    </a:lnTo>
                    <a:lnTo>
                      <a:pt x="420" y="1042"/>
                    </a:lnTo>
                    <a:lnTo>
                      <a:pt x="418" y="1042"/>
                    </a:lnTo>
                    <a:lnTo>
                      <a:pt x="406" y="1038"/>
                    </a:lnTo>
                    <a:lnTo>
                      <a:pt x="406" y="1038"/>
                    </a:lnTo>
                    <a:lnTo>
                      <a:pt x="402" y="1036"/>
                    </a:lnTo>
                    <a:lnTo>
                      <a:pt x="396" y="1038"/>
                    </a:lnTo>
                    <a:lnTo>
                      <a:pt x="390" y="1046"/>
                    </a:lnTo>
                    <a:lnTo>
                      <a:pt x="386" y="1050"/>
                    </a:lnTo>
                    <a:lnTo>
                      <a:pt x="382" y="1052"/>
                    </a:lnTo>
                    <a:lnTo>
                      <a:pt x="378" y="1052"/>
                    </a:lnTo>
                    <a:lnTo>
                      <a:pt x="374" y="1048"/>
                    </a:lnTo>
                    <a:lnTo>
                      <a:pt x="374" y="1048"/>
                    </a:lnTo>
                    <a:lnTo>
                      <a:pt x="362" y="1038"/>
                    </a:lnTo>
                    <a:lnTo>
                      <a:pt x="358" y="1038"/>
                    </a:lnTo>
                    <a:lnTo>
                      <a:pt x="356" y="1038"/>
                    </a:lnTo>
                    <a:lnTo>
                      <a:pt x="354" y="1038"/>
                    </a:lnTo>
                    <a:lnTo>
                      <a:pt x="352" y="1042"/>
                    </a:lnTo>
                    <a:lnTo>
                      <a:pt x="352" y="1052"/>
                    </a:lnTo>
                    <a:lnTo>
                      <a:pt x="352" y="1052"/>
                    </a:lnTo>
                    <a:lnTo>
                      <a:pt x="352" y="1056"/>
                    </a:lnTo>
                    <a:lnTo>
                      <a:pt x="350" y="1058"/>
                    </a:lnTo>
                    <a:lnTo>
                      <a:pt x="350" y="1060"/>
                    </a:lnTo>
                    <a:lnTo>
                      <a:pt x="346" y="1058"/>
                    </a:lnTo>
                    <a:lnTo>
                      <a:pt x="342" y="1052"/>
                    </a:lnTo>
                    <a:lnTo>
                      <a:pt x="338" y="1042"/>
                    </a:lnTo>
                    <a:lnTo>
                      <a:pt x="338" y="1042"/>
                    </a:lnTo>
                    <a:lnTo>
                      <a:pt x="336" y="1038"/>
                    </a:lnTo>
                    <a:lnTo>
                      <a:pt x="330" y="1036"/>
                    </a:lnTo>
                    <a:lnTo>
                      <a:pt x="326" y="1036"/>
                    </a:lnTo>
                    <a:lnTo>
                      <a:pt x="320" y="1038"/>
                    </a:lnTo>
                    <a:lnTo>
                      <a:pt x="314" y="1042"/>
                    </a:lnTo>
                    <a:lnTo>
                      <a:pt x="308" y="1048"/>
                    </a:lnTo>
                    <a:lnTo>
                      <a:pt x="306" y="1054"/>
                    </a:lnTo>
                    <a:lnTo>
                      <a:pt x="306" y="1060"/>
                    </a:lnTo>
                    <a:lnTo>
                      <a:pt x="306" y="1060"/>
                    </a:lnTo>
                    <a:lnTo>
                      <a:pt x="304" y="1070"/>
                    </a:lnTo>
                    <a:lnTo>
                      <a:pt x="304" y="1072"/>
                    </a:lnTo>
                    <a:lnTo>
                      <a:pt x="302" y="1072"/>
                    </a:lnTo>
                    <a:lnTo>
                      <a:pt x="294" y="1066"/>
                    </a:lnTo>
                    <a:lnTo>
                      <a:pt x="286" y="1052"/>
                    </a:lnTo>
                    <a:lnTo>
                      <a:pt x="286" y="1052"/>
                    </a:lnTo>
                    <a:lnTo>
                      <a:pt x="280" y="1044"/>
                    </a:lnTo>
                    <a:lnTo>
                      <a:pt x="276" y="1042"/>
                    </a:lnTo>
                    <a:lnTo>
                      <a:pt x="272" y="1040"/>
                    </a:lnTo>
                    <a:lnTo>
                      <a:pt x="268" y="1042"/>
                    </a:lnTo>
                    <a:lnTo>
                      <a:pt x="266" y="1046"/>
                    </a:lnTo>
                    <a:lnTo>
                      <a:pt x="266" y="1052"/>
                    </a:lnTo>
                    <a:lnTo>
                      <a:pt x="266" y="1056"/>
                    </a:lnTo>
                    <a:lnTo>
                      <a:pt x="268" y="1062"/>
                    </a:lnTo>
                    <a:lnTo>
                      <a:pt x="268" y="1062"/>
                    </a:lnTo>
                    <a:lnTo>
                      <a:pt x="270" y="1074"/>
                    </a:lnTo>
                    <a:lnTo>
                      <a:pt x="270" y="1078"/>
                    </a:lnTo>
                    <a:lnTo>
                      <a:pt x="270" y="1080"/>
                    </a:lnTo>
                    <a:lnTo>
                      <a:pt x="266" y="1082"/>
                    </a:lnTo>
                    <a:lnTo>
                      <a:pt x="264" y="1082"/>
                    </a:lnTo>
                    <a:lnTo>
                      <a:pt x="260" y="1080"/>
                    </a:lnTo>
                    <a:lnTo>
                      <a:pt x="256" y="1074"/>
                    </a:lnTo>
                    <a:lnTo>
                      <a:pt x="256" y="1074"/>
                    </a:lnTo>
                    <a:lnTo>
                      <a:pt x="252" y="1070"/>
                    </a:lnTo>
                    <a:lnTo>
                      <a:pt x="248" y="1072"/>
                    </a:lnTo>
                    <a:lnTo>
                      <a:pt x="246" y="1076"/>
                    </a:lnTo>
                    <a:lnTo>
                      <a:pt x="242" y="1082"/>
                    </a:lnTo>
                    <a:lnTo>
                      <a:pt x="240" y="1088"/>
                    </a:lnTo>
                    <a:lnTo>
                      <a:pt x="236" y="1090"/>
                    </a:lnTo>
                    <a:lnTo>
                      <a:pt x="234" y="1092"/>
                    </a:lnTo>
                    <a:lnTo>
                      <a:pt x="232" y="1090"/>
                    </a:lnTo>
                    <a:lnTo>
                      <a:pt x="228" y="1084"/>
                    </a:lnTo>
                    <a:lnTo>
                      <a:pt x="228" y="1084"/>
                    </a:lnTo>
                    <a:lnTo>
                      <a:pt x="226" y="1076"/>
                    </a:lnTo>
                    <a:lnTo>
                      <a:pt x="226" y="1070"/>
                    </a:lnTo>
                    <a:lnTo>
                      <a:pt x="228" y="1060"/>
                    </a:lnTo>
                    <a:lnTo>
                      <a:pt x="228" y="1058"/>
                    </a:lnTo>
                    <a:lnTo>
                      <a:pt x="228" y="1054"/>
                    </a:lnTo>
                    <a:lnTo>
                      <a:pt x="224" y="1050"/>
                    </a:lnTo>
                    <a:lnTo>
                      <a:pt x="216" y="1046"/>
                    </a:lnTo>
                    <a:lnTo>
                      <a:pt x="216" y="1046"/>
                    </a:lnTo>
                    <a:lnTo>
                      <a:pt x="204" y="1036"/>
                    </a:lnTo>
                    <a:lnTo>
                      <a:pt x="200" y="1030"/>
                    </a:lnTo>
                    <a:lnTo>
                      <a:pt x="194" y="1026"/>
                    </a:lnTo>
                    <a:lnTo>
                      <a:pt x="184" y="1020"/>
                    </a:lnTo>
                    <a:lnTo>
                      <a:pt x="184" y="1020"/>
                    </a:lnTo>
                    <a:lnTo>
                      <a:pt x="174" y="1018"/>
                    </a:lnTo>
                    <a:lnTo>
                      <a:pt x="168" y="1018"/>
                    </a:lnTo>
                    <a:lnTo>
                      <a:pt x="162" y="1018"/>
                    </a:lnTo>
                    <a:lnTo>
                      <a:pt x="158" y="1020"/>
                    </a:lnTo>
                    <a:lnTo>
                      <a:pt x="154" y="1024"/>
                    </a:lnTo>
                    <a:lnTo>
                      <a:pt x="152" y="1026"/>
                    </a:lnTo>
                    <a:lnTo>
                      <a:pt x="152" y="1030"/>
                    </a:lnTo>
                    <a:lnTo>
                      <a:pt x="154" y="1032"/>
                    </a:lnTo>
                    <a:lnTo>
                      <a:pt x="154" y="1032"/>
                    </a:lnTo>
                    <a:lnTo>
                      <a:pt x="162" y="1038"/>
                    </a:lnTo>
                    <a:lnTo>
                      <a:pt x="170" y="1042"/>
                    </a:lnTo>
                    <a:lnTo>
                      <a:pt x="180" y="1048"/>
                    </a:lnTo>
                    <a:lnTo>
                      <a:pt x="186" y="1054"/>
                    </a:lnTo>
                    <a:lnTo>
                      <a:pt x="186" y="1054"/>
                    </a:lnTo>
                    <a:lnTo>
                      <a:pt x="188" y="1058"/>
                    </a:lnTo>
                    <a:lnTo>
                      <a:pt x="186" y="1058"/>
                    </a:lnTo>
                    <a:lnTo>
                      <a:pt x="178" y="1056"/>
                    </a:lnTo>
                    <a:lnTo>
                      <a:pt x="166" y="1048"/>
                    </a:lnTo>
                    <a:lnTo>
                      <a:pt x="154" y="1040"/>
                    </a:lnTo>
                    <a:lnTo>
                      <a:pt x="154" y="1040"/>
                    </a:lnTo>
                    <a:lnTo>
                      <a:pt x="148" y="1038"/>
                    </a:lnTo>
                    <a:lnTo>
                      <a:pt x="144" y="1036"/>
                    </a:lnTo>
                    <a:lnTo>
                      <a:pt x="140" y="1038"/>
                    </a:lnTo>
                    <a:lnTo>
                      <a:pt x="136" y="1040"/>
                    </a:lnTo>
                    <a:lnTo>
                      <a:pt x="130" y="1048"/>
                    </a:lnTo>
                    <a:lnTo>
                      <a:pt x="128" y="1058"/>
                    </a:lnTo>
                    <a:lnTo>
                      <a:pt x="128" y="1058"/>
                    </a:lnTo>
                    <a:lnTo>
                      <a:pt x="128" y="1064"/>
                    </a:lnTo>
                    <a:lnTo>
                      <a:pt x="126" y="1066"/>
                    </a:lnTo>
                    <a:lnTo>
                      <a:pt x="122" y="1068"/>
                    </a:lnTo>
                    <a:lnTo>
                      <a:pt x="118" y="1068"/>
                    </a:lnTo>
                    <a:lnTo>
                      <a:pt x="116" y="1070"/>
                    </a:lnTo>
                    <a:lnTo>
                      <a:pt x="116" y="1074"/>
                    </a:lnTo>
                    <a:lnTo>
                      <a:pt x="116" y="1074"/>
                    </a:lnTo>
                    <a:lnTo>
                      <a:pt x="114" y="1080"/>
                    </a:lnTo>
                    <a:lnTo>
                      <a:pt x="112" y="1080"/>
                    </a:lnTo>
                    <a:lnTo>
                      <a:pt x="106" y="1078"/>
                    </a:lnTo>
                    <a:lnTo>
                      <a:pt x="102" y="1078"/>
                    </a:lnTo>
                    <a:lnTo>
                      <a:pt x="98" y="1080"/>
                    </a:lnTo>
                    <a:lnTo>
                      <a:pt x="98" y="1080"/>
                    </a:lnTo>
                    <a:lnTo>
                      <a:pt x="96" y="1082"/>
                    </a:lnTo>
                    <a:lnTo>
                      <a:pt x="96" y="1084"/>
                    </a:lnTo>
                    <a:lnTo>
                      <a:pt x="100" y="1086"/>
                    </a:lnTo>
                    <a:lnTo>
                      <a:pt x="104" y="1090"/>
                    </a:lnTo>
                    <a:lnTo>
                      <a:pt x="118" y="1092"/>
                    </a:lnTo>
                    <a:lnTo>
                      <a:pt x="126" y="1092"/>
                    </a:lnTo>
                    <a:lnTo>
                      <a:pt x="134" y="1090"/>
                    </a:lnTo>
                    <a:lnTo>
                      <a:pt x="134" y="1090"/>
                    </a:lnTo>
                    <a:close/>
                    <a:moveTo>
                      <a:pt x="306" y="1550"/>
                    </a:moveTo>
                    <a:lnTo>
                      <a:pt x="306" y="1550"/>
                    </a:lnTo>
                    <a:lnTo>
                      <a:pt x="304" y="1546"/>
                    </a:lnTo>
                    <a:lnTo>
                      <a:pt x="302" y="1544"/>
                    </a:lnTo>
                    <a:lnTo>
                      <a:pt x="300" y="1544"/>
                    </a:lnTo>
                    <a:lnTo>
                      <a:pt x="300" y="1544"/>
                    </a:lnTo>
                    <a:lnTo>
                      <a:pt x="300" y="1546"/>
                    </a:lnTo>
                    <a:lnTo>
                      <a:pt x="302" y="1548"/>
                    </a:lnTo>
                    <a:lnTo>
                      <a:pt x="306" y="1550"/>
                    </a:lnTo>
                    <a:lnTo>
                      <a:pt x="306" y="1550"/>
                    </a:lnTo>
                    <a:close/>
                    <a:moveTo>
                      <a:pt x="294" y="1582"/>
                    </a:moveTo>
                    <a:lnTo>
                      <a:pt x="294" y="1582"/>
                    </a:lnTo>
                    <a:lnTo>
                      <a:pt x="294" y="1582"/>
                    </a:lnTo>
                    <a:lnTo>
                      <a:pt x="296" y="1580"/>
                    </a:lnTo>
                    <a:lnTo>
                      <a:pt x="294" y="1576"/>
                    </a:lnTo>
                    <a:lnTo>
                      <a:pt x="290" y="1572"/>
                    </a:lnTo>
                    <a:lnTo>
                      <a:pt x="288" y="1572"/>
                    </a:lnTo>
                    <a:lnTo>
                      <a:pt x="288" y="1572"/>
                    </a:lnTo>
                    <a:lnTo>
                      <a:pt x="286" y="1574"/>
                    </a:lnTo>
                    <a:lnTo>
                      <a:pt x="286" y="1576"/>
                    </a:lnTo>
                    <a:lnTo>
                      <a:pt x="290" y="1580"/>
                    </a:lnTo>
                    <a:lnTo>
                      <a:pt x="294" y="1582"/>
                    </a:lnTo>
                    <a:lnTo>
                      <a:pt x="294" y="1582"/>
                    </a:lnTo>
                    <a:close/>
                    <a:moveTo>
                      <a:pt x="134" y="1350"/>
                    </a:moveTo>
                    <a:lnTo>
                      <a:pt x="134" y="1350"/>
                    </a:lnTo>
                    <a:lnTo>
                      <a:pt x="134" y="1354"/>
                    </a:lnTo>
                    <a:lnTo>
                      <a:pt x="134" y="1354"/>
                    </a:lnTo>
                    <a:lnTo>
                      <a:pt x="134" y="1356"/>
                    </a:lnTo>
                    <a:lnTo>
                      <a:pt x="138" y="1360"/>
                    </a:lnTo>
                    <a:lnTo>
                      <a:pt x="138" y="1360"/>
                    </a:lnTo>
                    <a:lnTo>
                      <a:pt x="140" y="1362"/>
                    </a:lnTo>
                    <a:lnTo>
                      <a:pt x="140" y="1362"/>
                    </a:lnTo>
                    <a:lnTo>
                      <a:pt x="144" y="1364"/>
                    </a:lnTo>
                    <a:lnTo>
                      <a:pt x="150" y="1372"/>
                    </a:lnTo>
                    <a:lnTo>
                      <a:pt x="150" y="1372"/>
                    </a:lnTo>
                    <a:lnTo>
                      <a:pt x="154" y="1374"/>
                    </a:lnTo>
                    <a:lnTo>
                      <a:pt x="154" y="1374"/>
                    </a:lnTo>
                    <a:lnTo>
                      <a:pt x="154" y="1370"/>
                    </a:lnTo>
                    <a:lnTo>
                      <a:pt x="152" y="1364"/>
                    </a:lnTo>
                    <a:lnTo>
                      <a:pt x="152" y="1364"/>
                    </a:lnTo>
                    <a:lnTo>
                      <a:pt x="148" y="1360"/>
                    </a:lnTo>
                    <a:lnTo>
                      <a:pt x="146" y="1358"/>
                    </a:lnTo>
                    <a:lnTo>
                      <a:pt x="144" y="1358"/>
                    </a:lnTo>
                    <a:lnTo>
                      <a:pt x="142" y="1354"/>
                    </a:lnTo>
                    <a:lnTo>
                      <a:pt x="142" y="1354"/>
                    </a:lnTo>
                    <a:lnTo>
                      <a:pt x="140" y="1350"/>
                    </a:lnTo>
                    <a:lnTo>
                      <a:pt x="136" y="1348"/>
                    </a:lnTo>
                    <a:lnTo>
                      <a:pt x="134" y="1348"/>
                    </a:lnTo>
                    <a:lnTo>
                      <a:pt x="134" y="1350"/>
                    </a:lnTo>
                    <a:lnTo>
                      <a:pt x="134" y="1350"/>
                    </a:lnTo>
                    <a:close/>
                    <a:moveTo>
                      <a:pt x="138" y="1658"/>
                    </a:moveTo>
                    <a:lnTo>
                      <a:pt x="138" y="1658"/>
                    </a:lnTo>
                    <a:lnTo>
                      <a:pt x="140" y="1652"/>
                    </a:lnTo>
                    <a:lnTo>
                      <a:pt x="138" y="1650"/>
                    </a:lnTo>
                    <a:lnTo>
                      <a:pt x="136" y="1650"/>
                    </a:lnTo>
                    <a:lnTo>
                      <a:pt x="132" y="1652"/>
                    </a:lnTo>
                    <a:lnTo>
                      <a:pt x="132" y="1652"/>
                    </a:lnTo>
                    <a:lnTo>
                      <a:pt x="128" y="1652"/>
                    </a:lnTo>
                    <a:lnTo>
                      <a:pt x="124" y="1652"/>
                    </a:lnTo>
                    <a:lnTo>
                      <a:pt x="122" y="1654"/>
                    </a:lnTo>
                    <a:lnTo>
                      <a:pt x="122" y="1654"/>
                    </a:lnTo>
                    <a:lnTo>
                      <a:pt x="120" y="1656"/>
                    </a:lnTo>
                    <a:lnTo>
                      <a:pt x="122" y="1656"/>
                    </a:lnTo>
                    <a:lnTo>
                      <a:pt x="126" y="1660"/>
                    </a:lnTo>
                    <a:lnTo>
                      <a:pt x="134" y="1660"/>
                    </a:lnTo>
                    <a:lnTo>
                      <a:pt x="136" y="1660"/>
                    </a:lnTo>
                    <a:lnTo>
                      <a:pt x="138" y="1658"/>
                    </a:lnTo>
                    <a:lnTo>
                      <a:pt x="138" y="1658"/>
                    </a:lnTo>
                    <a:close/>
                    <a:moveTo>
                      <a:pt x="124" y="1360"/>
                    </a:moveTo>
                    <a:lnTo>
                      <a:pt x="124" y="1360"/>
                    </a:lnTo>
                    <a:lnTo>
                      <a:pt x="122" y="1360"/>
                    </a:lnTo>
                    <a:lnTo>
                      <a:pt x="124" y="1362"/>
                    </a:lnTo>
                    <a:lnTo>
                      <a:pt x="132" y="1368"/>
                    </a:lnTo>
                    <a:lnTo>
                      <a:pt x="132" y="1368"/>
                    </a:lnTo>
                    <a:lnTo>
                      <a:pt x="134" y="1370"/>
                    </a:lnTo>
                    <a:lnTo>
                      <a:pt x="138" y="1368"/>
                    </a:lnTo>
                    <a:lnTo>
                      <a:pt x="138" y="1366"/>
                    </a:lnTo>
                    <a:lnTo>
                      <a:pt x="136" y="1362"/>
                    </a:lnTo>
                    <a:lnTo>
                      <a:pt x="136" y="1362"/>
                    </a:lnTo>
                    <a:lnTo>
                      <a:pt x="132" y="1358"/>
                    </a:lnTo>
                    <a:lnTo>
                      <a:pt x="130" y="1358"/>
                    </a:lnTo>
                    <a:lnTo>
                      <a:pt x="124" y="1360"/>
                    </a:lnTo>
                    <a:lnTo>
                      <a:pt x="124" y="1360"/>
                    </a:lnTo>
                    <a:close/>
                    <a:moveTo>
                      <a:pt x="162" y="1352"/>
                    </a:moveTo>
                    <a:lnTo>
                      <a:pt x="162" y="1352"/>
                    </a:lnTo>
                    <a:lnTo>
                      <a:pt x="162" y="1348"/>
                    </a:lnTo>
                    <a:lnTo>
                      <a:pt x="160" y="1344"/>
                    </a:lnTo>
                    <a:lnTo>
                      <a:pt x="160" y="1344"/>
                    </a:lnTo>
                    <a:lnTo>
                      <a:pt x="160" y="1350"/>
                    </a:lnTo>
                    <a:lnTo>
                      <a:pt x="160" y="1352"/>
                    </a:lnTo>
                    <a:lnTo>
                      <a:pt x="162" y="1352"/>
                    </a:lnTo>
                    <a:lnTo>
                      <a:pt x="162" y="1352"/>
                    </a:lnTo>
                    <a:close/>
                    <a:moveTo>
                      <a:pt x="128" y="1670"/>
                    </a:moveTo>
                    <a:lnTo>
                      <a:pt x="128" y="1670"/>
                    </a:lnTo>
                    <a:lnTo>
                      <a:pt x="126" y="1670"/>
                    </a:lnTo>
                    <a:lnTo>
                      <a:pt x="124" y="1672"/>
                    </a:lnTo>
                    <a:lnTo>
                      <a:pt x="122" y="1678"/>
                    </a:lnTo>
                    <a:lnTo>
                      <a:pt x="124" y="1686"/>
                    </a:lnTo>
                    <a:lnTo>
                      <a:pt x="126" y="1688"/>
                    </a:lnTo>
                    <a:lnTo>
                      <a:pt x="128" y="1688"/>
                    </a:lnTo>
                    <a:lnTo>
                      <a:pt x="128" y="1688"/>
                    </a:lnTo>
                    <a:lnTo>
                      <a:pt x="130" y="1688"/>
                    </a:lnTo>
                    <a:lnTo>
                      <a:pt x="130" y="1684"/>
                    </a:lnTo>
                    <a:lnTo>
                      <a:pt x="128" y="1682"/>
                    </a:lnTo>
                    <a:lnTo>
                      <a:pt x="128" y="1680"/>
                    </a:lnTo>
                    <a:lnTo>
                      <a:pt x="128" y="1680"/>
                    </a:lnTo>
                    <a:lnTo>
                      <a:pt x="130" y="1678"/>
                    </a:lnTo>
                    <a:lnTo>
                      <a:pt x="132" y="1674"/>
                    </a:lnTo>
                    <a:lnTo>
                      <a:pt x="130" y="1672"/>
                    </a:lnTo>
                    <a:lnTo>
                      <a:pt x="128" y="1670"/>
                    </a:lnTo>
                    <a:lnTo>
                      <a:pt x="128" y="1670"/>
                    </a:lnTo>
                    <a:close/>
                    <a:moveTo>
                      <a:pt x="238" y="1920"/>
                    </a:moveTo>
                    <a:lnTo>
                      <a:pt x="238" y="1920"/>
                    </a:lnTo>
                    <a:lnTo>
                      <a:pt x="236" y="1924"/>
                    </a:lnTo>
                    <a:lnTo>
                      <a:pt x="238" y="1926"/>
                    </a:lnTo>
                    <a:lnTo>
                      <a:pt x="240" y="1930"/>
                    </a:lnTo>
                    <a:lnTo>
                      <a:pt x="246" y="1930"/>
                    </a:lnTo>
                    <a:lnTo>
                      <a:pt x="248" y="1930"/>
                    </a:lnTo>
                    <a:lnTo>
                      <a:pt x="252" y="1926"/>
                    </a:lnTo>
                    <a:lnTo>
                      <a:pt x="252" y="1926"/>
                    </a:lnTo>
                    <a:lnTo>
                      <a:pt x="252" y="1924"/>
                    </a:lnTo>
                    <a:lnTo>
                      <a:pt x="254" y="1920"/>
                    </a:lnTo>
                    <a:lnTo>
                      <a:pt x="252" y="1918"/>
                    </a:lnTo>
                    <a:lnTo>
                      <a:pt x="250" y="1916"/>
                    </a:lnTo>
                    <a:lnTo>
                      <a:pt x="248" y="1914"/>
                    </a:lnTo>
                    <a:lnTo>
                      <a:pt x="244" y="1916"/>
                    </a:lnTo>
                    <a:lnTo>
                      <a:pt x="240" y="1916"/>
                    </a:lnTo>
                    <a:lnTo>
                      <a:pt x="238" y="1920"/>
                    </a:lnTo>
                    <a:lnTo>
                      <a:pt x="238" y="1920"/>
                    </a:lnTo>
                    <a:close/>
                    <a:moveTo>
                      <a:pt x="232" y="1878"/>
                    </a:moveTo>
                    <a:lnTo>
                      <a:pt x="232" y="1878"/>
                    </a:lnTo>
                    <a:lnTo>
                      <a:pt x="236" y="1878"/>
                    </a:lnTo>
                    <a:lnTo>
                      <a:pt x="240" y="1876"/>
                    </a:lnTo>
                    <a:lnTo>
                      <a:pt x="246" y="1870"/>
                    </a:lnTo>
                    <a:lnTo>
                      <a:pt x="248" y="1862"/>
                    </a:lnTo>
                    <a:lnTo>
                      <a:pt x="246" y="1858"/>
                    </a:lnTo>
                    <a:lnTo>
                      <a:pt x="244" y="1856"/>
                    </a:lnTo>
                    <a:lnTo>
                      <a:pt x="244" y="1856"/>
                    </a:lnTo>
                    <a:lnTo>
                      <a:pt x="240" y="1858"/>
                    </a:lnTo>
                    <a:lnTo>
                      <a:pt x="234" y="1866"/>
                    </a:lnTo>
                    <a:lnTo>
                      <a:pt x="230" y="1874"/>
                    </a:lnTo>
                    <a:lnTo>
                      <a:pt x="230" y="1876"/>
                    </a:lnTo>
                    <a:lnTo>
                      <a:pt x="232" y="1878"/>
                    </a:lnTo>
                    <a:lnTo>
                      <a:pt x="232" y="1878"/>
                    </a:lnTo>
                    <a:close/>
                    <a:moveTo>
                      <a:pt x="290" y="1568"/>
                    </a:moveTo>
                    <a:lnTo>
                      <a:pt x="290" y="1568"/>
                    </a:lnTo>
                    <a:lnTo>
                      <a:pt x="294" y="1572"/>
                    </a:lnTo>
                    <a:lnTo>
                      <a:pt x="298" y="1572"/>
                    </a:lnTo>
                    <a:lnTo>
                      <a:pt x="302" y="1572"/>
                    </a:lnTo>
                    <a:lnTo>
                      <a:pt x="304" y="1572"/>
                    </a:lnTo>
                    <a:lnTo>
                      <a:pt x="304" y="1572"/>
                    </a:lnTo>
                    <a:lnTo>
                      <a:pt x="306" y="1574"/>
                    </a:lnTo>
                    <a:lnTo>
                      <a:pt x="310" y="1574"/>
                    </a:lnTo>
                    <a:lnTo>
                      <a:pt x="312" y="1572"/>
                    </a:lnTo>
                    <a:lnTo>
                      <a:pt x="312" y="1570"/>
                    </a:lnTo>
                    <a:lnTo>
                      <a:pt x="312" y="1570"/>
                    </a:lnTo>
                    <a:lnTo>
                      <a:pt x="310" y="1568"/>
                    </a:lnTo>
                    <a:lnTo>
                      <a:pt x="310" y="1570"/>
                    </a:lnTo>
                    <a:lnTo>
                      <a:pt x="308" y="1570"/>
                    </a:lnTo>
                    <a:lnTo>
                      <a:pt x="308" y="1568"/>
                    </a:lnTo>
                    <a:lnTo>
                      <a:pt x="308" y="1568"/>
                    </a:lnTo>
                    <a:lnTo>
                      <a:pt x="304" y="1566"/>
                    </a:lnTo>
                    <a:lnTo>
                      <a:pt x="302" y="1566"/>
                    </a:lnTo>
                    <a:lnTo>
                      <a:pt x="300" y="1566"/>
                    </a:lnTo>
                    <a:lnTo>
                      <a:pt x="300" y="1564"/>
                    </a:lnTo>
                    <a:lnTo>
                      <a:pt x="300" y="1564"/>
                    </a:lnTo>
                    <a:lnTo>
                      <a:pt x="302" y="1560"/>
                    </a:lnTo>
                    <a:lnTo>
                      <a:pt x="300" y="1560"/>
                    </a:lnTo>
                    <a:lnTo>
                      <a:pt x="296" y="1556"/>
                    </a:lnTo>
                    <a:lnTo>
                      <a:pt x="296" y="1556"/>
                    </a:lnTo>
                    <a:lnTo>
                      <a:pt x="292" y="1556"/>
                    </a:lnTo>
                    <a:lnTo>
                      <a:pt x="290" y="1560"/>
                    </a:lnTo>
                    <a:lnTo>
                      <a:pt x="288" y="1564"/>
                    </a:lnTo>
                    <a:lnTo>
                      <a:pt x="290" y="1568"/>
                    </a:lnTo>
                    <a:lnTo>
                      <a:pt x="290" y="1568"/>
                    </a:lnTo>
                    <a:close/>
                    <a:moveTo>
                      <a:pt x="208" y="1778"/>
                    </a:moveTo>
                    <a:lnTo>
                      <a:pt x="208" y="1778"/>
                    </a:lnTo>
                    <a:lnTo>
                      <a:pt x="206" y="1784"/>
                    </a:lnTo>
                    <a:lnTo>
                      <a:pt x="206" y="1788"/>
                    </a:lnTo>
                    <a:lnTo>
                      <a:pt x="210" y="1792"/>
                    </a:lnTo>
                    <a:lnTo>
                      <a:pt x="214" y="1792"/>
                    </a:lnTo>
                    <a:lnTo>
                      <a:pt x="214" y="1792"/>
                    </a:lnTo>
                    <a:lnTo>
                      <a:pt x="216" y="1792"/>
                    </a:lnTo>
                    <a:lnTo>
                      <a:pt x="218" y="1788"/>
                    </a:lnTo>
                    <a:lnTo>
                      <a:pt x="216" y="1782"/>
                    </a:lnTo>
                    <a:lnTo>
                      <a:pt x="212" y="1776"/>
                    </a:lnTo>
                    <a:lnTo>
                      <a:pt x="210" y="1776"/>
                    </a:lnTo>
                    <a:lnTo>
                      <a:pt x="208" y="1778"/>
                    </a:lnTo>
                    <a:lnTo>
                      <a:pt x="208" y="1778"/>
                    </a:lnTo>
                    <a:close/>
                    <a:moveTo>
                      <a:pt x="618" y="1434"/>
                    </a:moveTo>
                    <a:lnTo>
                      <a:pt x="618" y="1434"/>
                    </a:lnTo>
                    <a:lnTo>
                      <a:pt x="620" y="1434"/>
                    </a:lnTo>
                    <a:lnTo>
                      <a:pt x="622" y="1430"/>
                    </a:lnTo>
                    <a:lnTo>
                      <a:pt x="622" y="1428"/>
                    </a:lnTo>
                    <a:lnTo>
                      <a:pt x="620" y="1426"/>
                    </a:lnTo>
                    <a:lnTo>
                      <a:pt x="620" y="1426"/>
                    </a:lnTo>
                    <a:lnTo>
                      <a:pt x="616" y="1430"/>
                    </a:lnTo>
                    <a:lnTo>
                      <a:pt x="616" y="1432"/>
                    </a:lnTo>
                    <a:lnTo>
                      <a:pt x="618" y="1434"/>
                    </a:lnTo>
                    <a:lnTo>
                      <a:pt x="618" y="1434"/>
                    </a:lnTo>
                    <a:close/>
                    <a:moveTo>
                      <a:pt x="882" y="1770"/>
                    </a:moveTo>
                    <a:lnTo>
                      <a:pt x="882" y="1770"/>
                    </a:lnTo>
                    <a:lnTo>
                      <a:pt x="876" y="1774"/>
                    </a:lnTo>
                    <a:lnTo>
                      <a:pt x="870" y="1774"/>
                    </a:lnTo>
                    <a:lnTo>
                      <a:pt x="866" y="1772"/>
                    </a:lnTo>
                    <a:lnTo>
                      <a:pt x="860" y="1774"/>
                    </a:lnTo>
                    <a:lnTo>
                      <a:pt x="860" y="1774"/>
                    </a:lnTo>
                    <a:lnTo>
                      <a:pt x="860" y="1774"/>
                    </a:lnTo>
                    <a:lnTo>
                      <a:pt x="860" y="1776"/>
                    </a:lnTo>
                    <a:lnTo>
                      <a:pt x="864" y="1778"/>
                    </a:lnTo>
                    <a:lnTo>
                      <a:pt x="870" y="1782"/>
                    </a:lnTo>
                    <a:lnTo>
                      <a:pt x="870" y="1784"/>
                    </a:lnTo>
                    <a:lnTo>
                      <a:pt x="870" y="1786"/>
                    </a:lnTo>
                    <a:lnTo>
                      <a:pt x="870" y="1786"/>
                    </a:lnTo>
                    <a:lnTo>
                      <a:pt x="870" y="1788"/>
                    </a:lnTo>
                    <a:lnTo>
                      <a:pt x="872" y="1790"/>
                    </a:lnTo>
                    <a:lnTo>
                      <a:pt x="874" y="1792"/>
                    </a:lnTo>
                    <a:lnTo>
                      <a:pt x="872" y="1796"/>
                    </a:lnTo>
                    <a:lnTo>
                      <a:pt x="872" y="1796"/>
                    </a:lnTo>
                    <a:lnTo>
                      <a:pt x="870" y="1798"/>
                    </a:lnTo>
                    <a:lnTo>
                      <a:pt x="872" y="1800"/>
                    </a:lnTo>
                    <a:lnTo>
                      <a:pt x="874" y="1800"/>
                    </a:lnTo>
                    <a:lnTo>
                      <a:pt x="876" y="1804"/>
                    </a:lnTo>
                    <a:lnTo>
                      <a:pt x="876" y="1804"/>
                    </a:lnTo>
                    <a:lnTo>
                      <a:pt x="876" y="1806"/>
                    </a:lnTo>
                    <a:lnTo>
                      <a:pt x="878" y="1806"/>
                    </a:lnTo>
                    <a:lnTo>
                      <a:pt x="882" y="1806"/>
                    </a:lnTo>
                    <a:lnTo>
                      <a:pt x="886" y="1806"/>
                    </a:lnTo>
                    <a:lnTo>
                      <a:pt x="886" y="1806"/>
                    </a:lnTo>
                    <a:lnTo>
                      <a:pt x="888" y="1808"/>
                    </a:lnTo>
                    <a:lnTo>
                      <a:pt x="892" y="1806"/>
                    </a:lnTo>
                    <a:lnTo>
                      <a:pt x="894" y="1808"/>
                    </a:lnTo>
                    <a:lnTo>
                      <a:pt x="896" y="1810"/>
                    </a:lnTo>
                    <a:lnTo>
                      <a:pt x="896" y="1810"/>
                    </a:lnTo>
                    <a:lnTo>
                      <a:pt x="896" y="1814"/>
                    </a:lnTo>
                    <a:lnTo>
                      <a:pt x="894" y="1814"/>
                    </a:lnTo>
                    <a:lnTo>
                      <a:pt x="892" y="1814"/>
                    </a:lnTo>
                    <a:lnTo>
                      <a:pt x="890" y="1816"/>
                    </a:lnTo>
                    <a:lnTo>
                      <a:pt x="890" y="1816"/>
                    </a:lnTo>
                    <a:lnTo>
                      <a:pt x="892" y="1816"/>
                    </a:lnTo>
                    <a:lnTo>
                      <a:pt x="894" y="1818"/>
                    </a:lnTo>
                    <a:lnTo>
                      <a:pt x="898" y="1820"/>
                    </a:lnTo>
                    <a:lnTo>
                      <a:pt x="898" y="1822"/>
                    </a:lnTo>
                    <a:lnTo>
                      <a:pt x="898" y="1822"/>
                    </a:lnTo>
                    <a:lnTo>
                      <a:pt x="896" y="1824"/>
                    </a:lnTo>
                    <a:lnTo>
                      <a:pt x="896" y="1826"/>
                    </a:lnTo>
                    <a:lnTo>
                      <a:pt x="900" y="1832"/>
                    </a:lnTo>
                    <a:lnTo>
                      <a:pt x="900" y="1832"/>
                    </a:lnTo>
                    <a:lnTo>
                      <a:pt x="902" y="1836"/>
                    </a:lnTo>
                    <a:lnTo>
                      <a:pt x="904" y="1840"/>
                    </a:lnTo>
                    <a:lnTo>
                      <a:pt x="904" y="1844"/>
                    </a:lnTo>
                    <a:lnTo>
                      <a:pt x="906" y="1846"/>
                    </a:lnTo>
                    <a:lnTo>
                      <a:pt x="906" y="1846"/>
                    </a:lnTo>
                    <a:lnTo>
                      <a:pt x="906" y="1848"/>
                    </a:lnTo>
                    <a:lnTo>
                      <a:pt x="908" y="1848"/>
                    </a:lnTo>
                    <a:lnTo>
                      <a:pt x="908" y="1844"/>
                    </a:lnTo>
                    <a:lnTo>
                      <a:pt x="908" y="1838"/>
                    </a:lnTo>
                    <a:lnTo>
                      <a:pt x="910" y="1834"/>
                    </a:lnTo>
                    <a:lnTo>
                      <a:pt x="910" y="1834"/>
                    </a:lnTo>
                    <a:lnTo>
                      <a:pt x="912" y="1832"/>
                    </a:lnTo>
                    <a:lnTo>
                      <a:pt x="912" y="1828"/>
                    </a:lnTo>
                    <a:lnTo>
                      <a:pt x="908" y="1824"/>
                    </a:lnTo>
                    <a:lnTo>
                      <a:pt x="908" y="1824"/>
                    </a:lnTo>
                    <a:lnTo>
                      <a:pt x="902" y="1822"/>
                    </a:lnTo>
                    <a:lnTo>
                      <a:pt x="904" y="1822"/>
                    </a:lnTo>
                    <a:lnTo>
                      <a:pt x="906" y="1820"/>
                    </a:lnTo>
                    <a:lnTo>
                      <a:pt x="906" y="1820"/>
                    </a:lnTo>
                    <a:lnTo>
                      <a:pt x="910" y="1820"/>
                    </a:lnTo>
                    <a:lnTo>
                      <a:pt x="912" y="1818"/>
                    </a:lnTo>
                    <a:lnTo>
                      <a:pt x="912" y="1816"/>
                    </a:lnTo>
                    <a:lnTo>
                      <a:pt x="912" y="1812"/>
                    </a:lnTo>
                    <a:lnTo>
                      <a:pt x="912" y="1812"/>
                    </a:lnTo>
                    <a:lnTo>
                      <a:pt x="912" y="1810"/>
                    </a:lnTo>
                    <a:lnTo>
                      <a:pt x="912" y="1808"/>
                    </a:lnTo>
                    <a:lnTo>
                      <a:pt x="918" y="1804"/>
                    </a:lnTo>
                    <a:lnTo>
                      <a:pt x="918" y="1804"/>
                    </a:lnTo>
                    <a:lnTo>
                      <a:pt x="924" y="1802"/>
                    </a:lnTo>
                    <a:lnTo>
                      <a:pt x="926" y="1800"/>
                    </a:lnTo>
                    <a:lnTo>
                      <a:pt x="924" y="1798"/>
                    </a:lnTo>
                    <a:lnTo>
                      <a:pt x="918" y="1794"/>
                    </a:lnTo>
                    <a:lnTo>
                      <a:pt x="918" y="1794"/>
                    </a:lnTo>
                    <a:lnTo>
                      <a:pt x="914" y="1790"/>
                    </a:lnTo>
                    <a:lnTo>
                      <a:pt x="914" y="1788"/>
                    </a:lnTo>
                    <a:lnTo>
                      <a:pt x="916" y="1784"/>
                    </a:lnTo>
                    <a:lnTo>
                      <a:pt x="922" y="1782"/>
                    </a:lnTo>
                    <a:lnTo>
                      <a:pt x="922" y="1782"/>
                    </a:lnTo>
                    <a:lnTo>
                      <a:pt x="926" y="1782"/>
                    </a:lnTo>
                    <a:lnTo>
                      <a:pt x="928" y="1778"/>
                    </a:lnTo>
                    <a:lnTo>
                      <a:pt x="928" y="1772"/>
                    </a:lnTo>
                    <a:lnTo>
                      <a:pt x="928" y="1764"/>
                    </a:lnTo>
                    <a:lnTo>
                      <a:pt x="930" y="1758"/>
                    </a:lnTo>
                    <a:lnTo>
                      <a:pt x="930" y="1758"/>
                    </a:lnTo>
                    <a:lnTo>
                      <a:pt x="932" y="1754"/>
                    </a:lnTo>
                    <a:lnTo>
                      <a:pt x="930" y="1752"/>
                    </a:lnTo>
                    <a:lnTo>
                      <a:pt x="920" y="1750"/>
                    </a:lnTo>
                    <a:lnTo>
                      <a:pt x="920" y="1750"/>
                    </a:lnTo>
                    <a:lnTo>
                      <a:pt x="914" y="1750"/>
                    </a:lnTo>
                    <a:lnTo>
                      <a:pt x="908" y="1752"/>
                    </a:lnTo>
                    <a:lnTo>
                      <a:pt x="904" y="1756"/>
                    </a:lnTo>
                    <a:lnTo>
                      <a:pt x="902" y="1760"/>
                    </a:lnTo>
                    <a:lnTo>
                      <a:pt x="902" y="1760"/>
                    </a:lnTo>
                    <a:lnTo>
                      <a:pt x="904" y="1762"/>
                    </a:lnTo>
                    <a:lnTo>
                      <a:pt x="904" y="1764"/>
                    </a:lnTo>
                    <a:lnTo>
                      <a:pt x="900" y="1772"/>
                    </a:lnTo>
                    <a:lnTo>
                      <a:pt x="900" y="1772"/>
                    </a:lnTo>
                    <a:lnTo>
                      <a:pt x="898" y="1776"/>
                    </a:lnTo>
                    <a:lnTo>
                      <a:pt x="898" y="1776"/>
                    </a:lnTo>
                    <a:lnTo>
                      <a:pt x="896" y="1774"/>
                    </a:lnTo>
                    <a:lnTo>
                      <a:pt x="896" y="1770"/>
                    </a:lnTo>
                    <a:lnTo>
                      <a:pt x="896" y="1770"/>
                    </a:lnTo>
                    <a:lnTo>
                      <a:pt x="898" y="1762"/>
                    </a:lnTo>
                    <a:lnTo>
                      <a:pt x="896" y="1760"/>
                    </a:lnTo>
                    <a:lnTo>
                      <a:pt x="894" y="1760"/>
                    </a:lnTo>
                    <a:lnTo>
                      <a:pt x="894" y="1760"/>
                    </a:lnTo>
                    <a:lnTo>
                      <a:pt x="890" y="1760"/>
                    </a:lnTo>
                    <a:lnTo>
                      <a:pt x="884" y="1758"/>
                    </a:lnTo>
                    <a:lnTo>
                      <a:pt x="880" y="1758"/>
                    </a:lnTo>
                    <a:lnTo>
                      <a:pt x="876" y="1758"/>
                    </a:lnTo>
                    <a:lnTo>
                      <a:pt x="876" y="1758"/>
                    </a:lnTo>
                    <a:lnTo>
                      <a:pt x="876" y="1758"/>
                    </a:lnTo>
                    <a:lnTo>
                      <a:pt x="878" y="1760"/>
                    </a:lnTo>
                    <a:lnTo>
                      <a:pt x="882" y="1762"/>
                    </a:lnTo>
                    <a:lnTo>
                      <a:pt x="886" y="1764"/>
                    </a:lnTo>
                    <a:lnTo>
                      <a:pt x="884" y="1768"/>
                    </a:lnTo>
                    <a:lnTo>
                      <a:pt x="882" y="1770"/>
                    </a:lnTo>
                    <a:lnTo>
                      <a:pt x="882" y="1770"/>
                    </a:lnTo>
                    <a:close/>
                    <a:moveTo>
                      <a:pt x="850" y="1762"/>
                    </a:moveTo>
                    <a:lnTo>
                      <a:pt x="850" y="1762"/>
                    </a:lnTo>
                    <a:lnTo>
                      <a:pt x="848" y="1760"/>
                    </a:lnTo>
                    <a:lnTo>
                      <a:pt x="848" y="1760"/>
                    </a:lnTo>
                    <a:lnTo>
                      <a:pt x="846" y="1764"/>
                    </a:lnTo>
                    <a:lnTo>
                      <a:pt x="848" y="1768"/>
                    </a:lnTo>
                    <a:lnTo>
                      <a:pt x="848" y="1772"/>
                    </a:lnTo>
                    <a:lnTo>
                      <a:pt x="848" y="1772"/>
                    </a:lnTo>
                    <a:lnTo>
                      <a:pt x="850" y="1772"/>
                    </a:lnTo>
                    <a:lnTo>
                      <a:pt x="850" y="1770"/>
                    </a:lnTo>
                    <a:lnTo>
                      <a:pt x="852" y="1766"/>
                    </a:lnTo>
                    <a:lnTo>
                      <a:pt x="850" y="1762"/>
                    </a:lnTo>
                    <a:lnTo>
                      <a:pt x="850" y="1762"/>
                    </a:lnTo>
                    <a:close/>
                    <a:moveTo>
                      <a:pt x="834" y="1814"/>
                    </a:moveTo>
                    <a:lnTo>
                      <a:pt x="834" y="1814"/>
                    </a:lnTo>
                    <a:lnTo>
                      <a:pt x="846" y="1816"/>
                    </a:lnTo>
                    <a:lnTo>
                      <a:pt x="852" y="1814"/>
                    </a:lnTo>
                    <a:lnTo>
                      <a:pt x="856" y="1812"/>
                    </a:lnTo>
                    <a:lnTo>
                      <a:pt x="856" y="1812"/>
                    </a:lnTo>
                    <a:lnTo>
                      <a:pt x="858" y="1808"/>
                    </a:lnTo>
                    <a:lnTo>
                      <a:pt x="858" y="1806"/>
                    </a:lnTo>
                    <a:lnTo>
                      <a:pt x="858" y="1800"/>
                    </a:lnTo>
                    <a:lnTo>
                      <a:pt x="856" y="1794"/>
                    </a:lnTo>
                    <a:lnTo>
                      <a:pt x="856" y="1790"/>
                    </a:lnTo>
                    <a:lnTo>
                      <a:pt x="856" y="1790"/>
                    </a:lnTo>
                    <a:lnTo>
                      <a:pt x="856" y="1788"/>
                    </a:lnTo>
                    <a:lnTo>
                      <a:pt x="852" y="1784"/>
                    </a:lnTo>
                    <a:lnTo>
                      <a:pt x="850" y="1782"/>
                    </a:lnTo>
                    <a:lnTo>
                      <a:pt x="850" y="1784"/>
                    </a:lnTo>
                    <a:lnTo>
                      <a:pt x="850" y="1784"/>
                    </a:lnTo>
                    <a:lnTo>
                      <a:pt x="848" y="1786"/>
                    </a:lnTo>
                    <a:lnTo>
                      <a:pt x="848" y="1786"/>
                    </a:lnTo>
                    <a:lnTo>
                      <a:pt x="840" y="1782"/>
                    </a:lnTo>
                    <a:lnTo>
                      <a:pt x="840" y="1782"/>
                    </a:lnTo>
                    <a:lnTo>
                      <a:pt x="836" y="1782"/>
                    </a:lnTo>
                    <a:lnTo>
                      <a:pt x="830" y="1784"/>
                    </a:lnTo>
                    <a:lnTo>
                      <a:pt x="824" y="1786"/>
                    </a:lnTo>
                    <a:lnTo>
                      <a:pt x="818" y="1786"/>
                    </a:lnTo>
                    <a:lnTo>
                      <a:pt x="818" y="1786"/>
                    </a:lnTo>
                    <a:lnTo>
                      <a:pt x="816" y="1786"/>
                    </a:lnTo>
                    <a:lnTo>
                      <a:pt x="814" y="1788"/>
                    </a:lnTo>
                    <a:lnTo>
                      <a:pt x="814" y="1790"/>
                    </a:lnTo>
                    <a:lnTo>
                      <a:pt x="816" y="1792"/>
                    </a:lnTo>
                    <a:lnTo>
                      <a:pt x="816" y="1792"/>
                    </a:lnTo>
                    <a:lnTo>
                      <a:pt x="820" y="1798"/>
                    </a:lnTo>
                    <a:lnTo>
                      <a:pt x="824" y="1806"/>
                    </a:lnTo>
                    <a:lnTo>
                      <a:pt x="824" y="1806"/>
                    </a:lnTo>
                    <a:lnTo>
                      <a:pt x="824" y="1810"/>
                    </a:lnTo>
                    <a:lnTo>
                      <a:pt x="826" y="1808"/>
                    </a:lnTo>
                    <a:lnTo>
                      <a:pt x="828" y="1808"/>
                    </a:lnTo>
                    <a:lnTo>
                      <a:pt x="830" y="1808"/>
                    </a:lnTo>
                    <a:lnTo>
                      <a:pt x="830" y="1808"/>
                    </a:lnTo>
                    <a:lnTo>
                      <a:pt x="830" y="1810"/>
                    </a:lnTo>
                    <a:lnTo>
                      <a:pt x="830" y="1812"/>
                    </a:lnTo>
                    <a:lnTo>
                      <a:pt x="830" y="1814"/>
                    </a:lnTo>
                    <a:lnTo>
                      <a:pt x="834" y="1814"/>
                    </a:lnTo>
                    <a:lnTo>
                      <a:pt x="834" y="1814"/>
                    </a:lnTo>
                    <a:close/>
                    <a:moveTo>
                      <a:pt x="898" y="1832"/>
                    </a:moveTo>
                    <a:lnTo>
                      <a:pt x="898" y="1832"/>
                    </a:lnTo>
                    <a:lnTo>
                      <a:pt x="894" y="1826"/>
                    </a:lnTo>
                    <a:lnTo>
                      <a:pt x="892" y="1826"/>
                    </a:lnTo>
                    <a:lnTo>
                      <a:pt x="890" y="1828"/>
                    </a:lnTo>
                    <a:lnTo>
                      <a:pt x="890" y="1828"/>
                    </a:lnTo>
                    <a:lnTo>
                      <a:pt x="890" y="1830"/>
                    </a:lnTo>
                    <a:lnTo>
                      <a:pt x="888" y="1830"/>
                    </a:lnTo>
                    <a:lnTo>
                      <a:pt x="878" y="1824"/>
                    </a:lnTo>
                    <a:lnTo>
                      <a:pt x="878" y="1824"/>
                    </a:lnTo>
                    <a:lnTo>
                      <a:pt x="872" y="1822"/>
                    </a:lnTo>
                    <a:lnTo>
                      <a:pt x="868" y="1822"/>
                    </a:lnTo>
                    <a:lnTo>
                      <a:pt x="866" y="1826"/>
                    </a:lnTo>
                    <a:lnTo>
                      <a:pt x="866" y="1830"/>
                    </a:lnTo>
                    <a:lnTo>
                      <a:pt x="866" y="1830"/>
                    </a:lnTo>
                    <a:lnTo>
                      <a:pt x="870" y="1834"/>
                    </a:lnTo>
                    <a:lnTo>
                      <a:pt x="876" y="1838"/>
                    </a:lnTo>
                    <a:lnTo>
                      <a:pt x="886" y="1840"/>
                    </a:lnTo>
                    <a:lnTo>
                      <a:pt x="894" y="1842"/>
                    </a:lnTo>
                    <a:lnTo>
                      <a:pt x="894" y="1842"/>
                    </a:lnTo>
                    <a:lnTo>
                      <a:pt x="898" y="1842"/>
                    </a:lnTo>
                    <a:lnTo>
                      <a:pt x="900" y="1840"/>
                    </a:lnTo>
                    <a:lnTo>
                      <a:pt x="898" y="1832"/>
                    </a:lnTo>
                    <a:lnTo>
                      <a:pt x="898" y="1832"/>
                    </a:lnTo>
                    <a:close/>
                    <a:moveTo>
                      <a:pt x="914" y="1822"/>
                    </a:moveTo>
                    <a:lnTo>
                      <a:pt x="914" y="1822"/>
                    </a:lnTo>
                    <a:lnTo>
                      <a:pt x="912" y="1824"/>
                    </a:lnTo>
                    <a:lnTo>
                      <a:pt x="914" y="1826"/>
                    </a:lnTo>
                    <a:lnTo>
                      <a:pt x="918" y="1824"/>
                    </a:lnTo>
                    <a:lnTo>
                      <a:pt x="924" y="1820"/>
                    </a:lnTo>
                    <a:lnTo>
                      <a:pt x="926" y="1820"/>
                    </a:lnTo>
                    <a:lnTo>
                      <a:pt x="926" y="1818"/>
                    </a:lnTo>
                    <a:lnTo>
                      <a:pt x="926" y="1818"/>
                    </a:lnTo>
                    <a:lnTo>
                      <a:pt x="922" y="1816"/>
                    </a:lnTo>
                    <a:lnTo>
                      <a:pt x="918" y="1816"/>
                    </a:lnTo>
                    <a:lnTo>
                      <a:pt x="914" y="1822"/>
                    </a:lnTo>
                    <a:lnTo>
                      <a:pt x="914" y="1822"/>
                    </a:lnTo>
                    <a:close/>
                    <a:moveTo>
                      <a:pt x="868" y="1848"/>
                    </a:moveTo>
                    <a:lnTo>
                      <a:pt x="868" y="1848"/>
                    </a:lnTo>
                    <a:lnTo>
                      <a:pt x="866" y="1850"/>
                    </a:lnTo>
                    <a:lnTo>
                      <a:pt x="868" y="1852"/>
                    </a:lnTo>
                    <a:lnTo>
                      <a:pt x="872" y="1854"/>
                    </a:lnTo>
                    <a:lnTo>
                      <a:pt x="876" y="1854"/>
                    </a:lnTo>
                    <a:lnTo>
                      <a:pt x="880" y="1854"/>
                    </a:lnTo>
                    <a:lnTo>
                      <a:pt x="880" y="1854"/>
                    </a:lnTo>
                    <a:lnTo>
                      <a:pt x="878" y="1852"/>
                    </a:lnTo>
                    <a:lnTo>
                      <a:pt x="876" y="1848"/>
                    </a:lnTo>
                    <a:lnTo>
                      <a:pt x="872" y="1848"/>
                    </a:lnTo>
                    <a:lnTo>
                      <a:pt x="868" y="1848"/>
                    </a:lnTo>
                    <a:lnTo>
                      <a:pt x="868" y="1848"/>
                    </a:lnTo>
                    <a:close/>
                    <a:moveTo>
                      <a:pt x="1030" y="1820"/>
                    </a:moveTo>
                    <a:lnTo>
                      <a:pt x="1030" y="1820"/>
                    </a:lnTo>
                    <a:lnTo>
                      <a:pt x="1032" y="1818"/>
                    </a:lnTo>
                    <a:lnTo>
                      <a:pt x="1034" y="1814"/>
                    </a:lnTo>
                    <a:lnTo>
                      <a:pt x="1032" y="1810"/>
                    </a:lnTo>
                    <a:lnTo>
                      <a:pt x="1030" y="1808"/>
                    </a:lnTo>
                    <a:lnTo>
                      <a:pt x="1022" y="1802"/>
                    </a:lnTo>
                    <a:lnTo>
                      <a:pt x="1018" y="1800"/>
                    </a:lnTo>
                    <a:lnTo>
                      <a:pt x="1016" y="1802"/>
                    </a:lnTo>
                    <a:lnTo>
                      <a:pt x="1016" y="1802"/>
                    </a:lnTo>
                    <a:lnTo>
                      <a:pt x="1014" y="1806"/>
                    </a:lnTo>
                    <a:lnTo>
                      <a:pt x="1016" y="1812"/>
                    </a:lnTo>
                    <a:lnTo>
                      <a:pt x="1022" y="1818"/>
                    </a:lnTo>
                    <a:lnTo>
                      <a:pt x="1026" y="1820"/>
                    </a:lnTo>
                    <a:lnTo>
                      <a:pt x="1030" y="1820"/>
                    </a:lnTo>
                    <a:lnTo>
                      <a:pt x="1030" y="1820"/>
                    </a:lnTo>
                    <a:close/>
                    <a:moveTo>
                      <a:pt x="952" y="1846"/>
                    </a:moveTo>
                    <a:lnTo>
                      <a:pt x="952" y="1846"/>
                    </a:lnTo>
                    <a:lnTo>
                      <a:pt x="952" y="1848"/>
                    </a:lnTo>
                    <a:lnTo>
                      <a:pt x="954" y="1850"/>
                    </a:lnTo>
                    <a:lnTo>
                      <a:pt x="954" y="1854"/>
                    </a:lnTo>
                    <a:lnTo>
                      <a:pt x="954" y="1856"/>
                    </a:lnTo>
                    <a:lnTo>
                      <a:pt x="954" y="1856"/>
                    </a:lnTo>
                    <a:lnTo>
                      <a:pt x="952" y="1858"/>
                    </a:lnTo>
                    <a:lnTo>
                      <a:pt x="952" y="1860"/>
                    </a:lnTo>
                    <a:lnTo>
                      <a:pt x="960" y="1866"/>
                    </a:lnTo>
                    <a:lnTo>
                      <a:pt x="960" y="1866"/>
                    </a:lnTo>
                    <a:lnTo>
                      <a:pt x="962" y="1866"/>
                    </a:lnTo>
                    <a:lnTo>
                      <a:pt x="964" y="1866"/>
                    </a:lnTo>
                    <a:lnTo>
                      <a:pt x="964" y="1866"/>
                    </a:lnTo>
                    <a:lnTo>
                      <a:pt x="964" y="1864"/>
                    </a:lnTo>
                    <a:lnTo>
                      <a:pt x="964" y="1864"/>
                    </a:lnTo>
                    <a:lnTo>
                      <a:pt x="964" y="1862"/>
                    </a:lnTo>
                    <a:lnTo>
                      <a:pt x="966" y="1860"/>
                    </a:lnTo>
                    <a:lnTo>
                      <a:pt x="968" y="1858"/>
                    </a:lnTo>
                    <a:lnTo>
                      <a:pt x="972" y="1862"/>
                    </a:lnTo>
                    <a:lnTo>
                      <a:pt x="972" y="1862"/>
                    </a:lnTo>
                    <a:lnTo>
                      <a:pt x="976" y="1864"/>
                    </a:lnTo>
                    <a:lnTo>
                      <a:pt x="976" y="1862"/>
                    </a:lnTo>
                    <a:lnTo>
                      <a:pt x="976" y="1860"/>
                    </a:lnTo>
                    <a:lnTo>
                      <a:pt x="972" y="1858"/>
                    </a:lnTo>
                    <a:lnTo>
                      <a:pt x="972" y="1858"/>
                    </a:lnTo>
                    <a:lnTo>
                      <a:pt x="972" y="1856"/>
                    </a:lnTo>
                    <a:lnTo>
                      <a:pt x="972" y="1854"/>
                    </a:lnTo>
                    <a:lnTo>
                      <a:pt x="974" y="1850"/>
                    </a:lnTo>
                    <a:lnTo>
                      <a:pt x="974" y="1846"/>
                    </a:lnTo>
                    <a:lnTo>
                      <a:pt x="972" y="1846"/>
                    </a:lnTo>
                    <a:lnTo>
                      <a:pt x="970" y="1844"/>
                    </a:lnTo>
                    <a:lnTo>
                      <a:pt x="970" y="1844"/>
                    </a:lnTo>
                    <a:lnTo>
                      <a:pt x="966" y="1842"/>
                    </a:lnTo>
                    <a:lnTo>
                      <a:pt x="964" y="1840"/>
                    </a:lnTo>
                    <a:lnTo>
                      <a:pt x="960" y="1838"/>
                    </a:lnTo>
                    <a:lnTo>
                      <a:pt x="956" y="1840"/>
                    </a:lnTo>
                    <a:lnTo>
                      <a:pt x="956" y="1840"/>
                    </a:lnTo>
                    <a:lnTo>
                      <a:pt x="954" y="1842"/>
                    </a:lnTo>
                    <a:lnTo>
                      <a:pt x="954" y="1842"/>
                    </a:lnTo>
                    <a:lnTo>
                      <a:pt x="958" y="1844"/>
                    </a:lnTo>
                    <a:lnTo>
                      <a:pt x="964" y="1846"/>
                    </a:lnTo>
                    <a:lnTo>
                      <a:pt x="966" y="1848"/>
                    </a:lnTo>
                    <a:lnTo>
                      <a:pt x="966" y="1848"/>
                    </a:lnTo>
                    <a:lnTo>
                      <a:pt x="964" y="1850"/>
                    </a:lnTo>
                    <a:lnTo>
                      <a:pt x="960" y="1850"/>
                    </a:lnTo>
                    <a:lnTo>
                      <a:pt x="952" y="1846"/>
                    </a:lnTo>
                    <a:lnTo>
                      <a:pt x="952" y="1846"/>
                    </a:lnTo>
                    <a:close/>
                    <a:moveTo>
                      <a:pt x="862" y="1678"/>
                    </a:moveTo>
                    <a:lnTo>
                      <a:pt x="862" y="1678"/>
                    </a:lnTo>
                    <a:lnTo>
                      <a:pt x="862" y="1678"/>
                    </a:lnTo>
                    <a:lnTo>
                      <a:pt x="864" y="1678"/>
                    </a:lnTo>
                    <a:lnTo>
                      <a:pt x="868" y="1678"/>
                    </a:lnTo>
                    <a:lnTo>
                      <a:pt x="872" y="1674"/>
                    </a:lnTo>
                    <a:lnTo>
                      <a:pt x="872" y="1674"/>
                    </a:lnTo>
                    <a:lnTo>
                      <a:pt x="872" y="1674"/>
                    </a:lnTo>
                    <a:lnTo>
                      <a:pt x="872" y="1672"/>
                    </a:lnTo>
                    <a:lnTo>
                      <a:pt x="868" y="1672"/>
                    </a:lnTo>
                    <a:lnTo>
                      <a:pt x="864" y="1674"/>
                    </a:lnTo>
                    <a:lnTo>
                      <a:pt x="862" y="1678"/>
                    </a:lnTo>
                    <a:lnTo>
                      <a:pt x="862" y="1678"/>
                    </a:lnTo>
                    <a:close/>
                    <a:moveTo>
                      <a:pt x="860" y="1816"/>
                    </a:moveTo>
                    <a:lnTo>
                      <a:pt x="860" y="1816"/>
                    </a:lnTo>
                    <a:lnTo>
                      <a:pt x="860" y="1814"/>
                    </a:lnTo>
                    <a:lnTo>
                      <a:pt x="860" y="1812"/>
                    </a:lnTo>
                    <a:lnTo>
                      <a:pt x="858" y="1814"/>
                    </a:lnTo>
                    <a:lnTo>
                      <a:pt x="856" y="1818"/>
                    </a:lnTo>
                    <a:lnTo>
                      <a:pt x="856" y="1818"/>
                    </a:lnTo>
                    <a:lnTo>
                      <a:pt x="850" y="1826"/>
                    </a:lnTo>
                    <a:lnTo>
                      <a:pt x="848" y="1830"/>
                    </a:lnTo>
                    <a:lnTo>
                      <a:pt x="848" y="1834"/>
                    </a:lnTo>
                    <a:lnTo>
                      <a:pt x="848" y="1834"/>
                    </a:lnTo>
                    <a:lnTo>
                      <a:pt x="850" y="1836"/>
                    </a:lnTo>
                    <a:lnTo>
                      <a:pt x="852" y="1836"/>
                    </a:lnTo>
                    <a:lnTo>
                      <a:pt x="854" y="1830"/>
                    </a:lnTo>
                    <a:lnTo>
                      <a:pt x="860" y="1816"/>
                    </a:lnTo>
                    <a:lnTo>
                      <a:pt x="860" y="1816"/>
                    </a:lnTo>
                    <a:close/>
                    <a:moveTo>
                      <a:pt x="1100" y="2508"/>
                    </a:moveTo>
                    <a:lnTo>
                      <a:pt x="1100" y="2508"/>
                    </a:lnTo>
                    <a:lnTo>
                      <a:pt x="1102" y="2508"/>
                    </a:lnTo>
                    <a:lnTo>
                      <a:pt x="1100" y="2506"/>
                    </a:lnTo>
                    <a:lnTo>
                      <a:pt x="1094" y="2504"/>
                    </a:lnTo>
                    <a:lnTo>
                      <a:pt x="1086" y="2504"/>
                    </a:lnTo>
                    <a:lnTo>
                      <a:pt x="1084" y="2504"/>
                    </a:lnTo>
                    <a:lnTo>
                      <a:pt x="1084" y="2506"/>
                    </a:lnTo>
                    <a:lnTo>
                      <a:pt x="1084" y="2506"/>
                    </a:lnTo>
                    <a:lnTo>
                      <a:pt x="1086" y="2508"/>
                    </a:lnTo>
                    <a:lnTo>
                      <a:pt x="1092" y="2510"/>
                    </a:lnTo>
                    <a:lnTo>
                      <a:pt x="1096" y="2510"/>
                    </a:lnTo>
                    <a:lnTo>
                      <a:pt x="1100" y="2508"/>
                    </a:lnTo>
                    <a:lnTo>
                      <a:pt x="1100" y="2508"/>
                    </a:lnTo>
                    <a:close/>
                    <a:moveTo>
                      <a:pt x="1092" y="2518"/>
                    </a:moveTo>
                    <a:lnTo>
                      <a:pt x="1092" y="2518"/>
                    </a:lnTo>
                    <a:lnTo>
                      <a:pt x="1108" y="2520"/>
                    </a:lnTo>
                    <a:lnTo>
                      <a:pt x="1110" y="2518"/>
                    </a:lnTo>
                    <a:lnTo>
                      <a:pt x="1108" y="2516"/>
                    </a:lnTo>
                    <a:lnTo>
                      <a:pt x="1108" y="2516"/>
                    </a:lnTo>
                    <a:lnTo>
                      <a:pt x="1100" y="2514"/>
                    </a:lnTo>
                    <a:lnTo>
                      <a:pt x="1086" y="2514"/>
                    </a:lnTo>
                    <a:lnTo>
                      <a:pt x="1086" y="2514"/>
                    </a:lnTo>
                    <a:lnTo>
                      <a:pt x="1084" y="2514"/>
                    </a:lnTo>
                    <a:lnTo>
                      <a:pt x="1082" y="2516"/>
                    </a:lnTo>
                    <a:lnTo>
                      <a:pt x="1092" y="2518"/>
                    </a:lnTo>
                    <a:lnTo>
                      <a:pt x="1092" y="2518"/>
                    </a:lnTo>
                    <a:close/>
                    <a:moveTo>
                      <a:pt x="1108" y="1672"/>
                    </a:moveTo>
                    <a:lnTo>
                      <a:pt x="1108" y="1672"/>
                    </a:lnTo>
                    <a:lnTo>
                      <a:pt x="1106" y="1672"/>
                    </a:lnTo>
                    <a:lnTo>
                      <a:pt x="1104" y="1674"/>
                    </a:lnTo>
                    <a:lnTo>
                      <a:pt x="1102" y="1682"/>
                    </a:lnTo>
                    <a:lnTo>
                      <a:pt x="1100" y="1692"/>
                    </a:lnTo>
                    <a:lnTo>
                      <a:pt x="1094" y="1700"/>
                    </a:lnTo>
                    <a:lnTo>
                      <a:pt x="1094" y="1700"/>
                    </a:lnTo>
                    <a:lnTo>
                      <a:pt x="1090" y="1710"/>
                    </a:lnTo>
                    <a:lnTo>
                      <a:pt x="1086" y="1722"/>
                    </a:lnTo>
                    <a:lnTo>
                      <a:pt x="1084" y="1734"/>
                    </a:lnTo>
                    <a:lnTo>
                      <a:pt x="1084" y="1740"/>
                    </a:lnTo>
                    <a:lnTo>
                      <a:pt x="1086" y="1744"/>
                    </a:lnTo>
                    <a:lnTo>
                      <a:pt x="1086" y="1744"/>
                    </a:lnTo>
                    <a:lnTo>
                      <a:pt x="1090" y="1734"/>
                    </a:lnTo>
                    <a:lnTo>
                      <a:pt x="1100" y="1708"/>
                    </a:lnTo>
                    <a:lnTo>
                      <a:pt x="1108" y="1684"/>
                    </a:lnTo>
                    <a:lnTo>
                      <a:pt x="1110" y="1676"/>
                    </a:lnTo>
                    <a:lnTo>
                      <a:pt x="1110" y="1674"/>
                    </a:lnTo>
                    <a:lnTo>
                      <a:pt x="1108" y="1672"/>
                    </a:lnTo>
                    <a:lnTo>
                      <a:pt x="1108" y="1672"/>
                    </a:lnTo>
                    <a:close/>
                    <a:moveTo>
                      <a:pt x="1804" y="2938"/>
                    </a:moveTo>
                    <a:lnTo>
                      <a:pt x="1804" y="2938"/>
                    </a:lnTo>
                    <a:lnTo>
                      <a:pt x="1810" y="2932"/>
                    </a:lnTo>
                    <a:lnTo>
                      <a:pt x="1812" y="2928"/>
                    </a:lnTo>
                    <a:lnTo>
                      <a:pt x="1812" y="2928"/>
                    </a:lnTo>
                    <a:lnTo>
                      <a:pt x="1808" y="2930"/>
                    </a:lnTo>
                    <a:lnTo>
                      <a:pt x="1808" y="2930"/>
                    </a:lnTo>
                    <a:lnTo>
                      <a:pt x="1800" y="2934"/>
                    </a:lnTo>
                    <a:lnTo>
                      <a:pt x="1790" y="2940"/>
                    </a:lnTo>
                    <a:lnTo>
                      <a:pt x="1776" y="2946"/>
                    </a:lnTo>
                    <a:lnTo>
                      <a:pt x="1768" y="2946"/>
                    </a:lnTo>
                    <a:lnTo>
                      <a:pt x="1760" y="2944"/>
                    </a:lnTo>
                    <a:lnTo>
                      <a:pt x="1760" y="2944"/>
                    </a:lnTo>
                    <a:lnTo>
                      <a:pt x="1754" y="2944"/>
                    </a:lnTo>
                    <a:lnTo>
                      <a:pt x="1750" y="2944"/>
                    </a:lnTo>
                    <a:lnTo>
                      <a:pt x="1748" y="2946"/>
                    </a:lnTo>
                    <a:lnTo>
                      <a:pt x="1748" y="2948"/>
                    </a:lnTo>
                    <a:lnTo>
                      <a:pt x="1748" y="2954"/>
                    </a:lnTo>
                    <a:lnTo>
                      <a:pt x="1746" y="2954"/>
                    </a:lnTo>
                    <a:lnTo>
                      <a:pt x="1742" y="2954"/>
                    </a:lnTo>
                    <a:lnTo>
                      <a:pt x="1742" y="2954"/>
                    </a:lnTo>
                    <a:lnTo>
                      <a:pt x="1736" y="2954"/>
                    </a:lnTo>
                    <a:lnTo>
                      <a:pt x="1732" y="2958"/>
                    </a:lnTo>
                    <a:lnTo>
                      <a:pt x="1730" y="2960"/>
                    </a:lnTo>
                    <a:lnTo>
                      <a:pt x="1726" y="2960"/>
                    </a:lnTo>
                    <a:lnTo>
                      <a:pt x="1726" y="2960"/>
                    </a:lnTo>
                    <a:lnTo>
                      <a:pt x="1722" y="2960"/>
                    </a:lnTo>
                    <a:lnTo>
                      <a:pt x="1722" y="2962"/>
                    </a:lnTo>
                    <a:lnTo>
                      <a:pt x="1726" y="2974"/>
                    </a:lnTo>
                    <a:lnTo>
                      <a:pt x="1726" y="2974"/>
                    </a:lnTo>
                    <a:lnTo>
                      <a:pt x="1728" y="2978"/>
                    </a:lnTo>
                    <a:lnTo>
                      <a:pt x="1732" y="2980"/>
                    </a:lnTo>
                    <a:lnTo>
                      <a:pt x="1736" y="2982"/>
                    </a:lnTo>
                    <a:lnTo>
                      <a:pt x="1742" y="2982"/>
                    </a:lnTo>
                    <a:lnTo>
                      <a:pt x="1742" y="2982"/>
                    </a:lnTo>
                    <a:lnTo>
                      <a:pt x="1748" y="2982"/>
                    </a:lnTo>
                    <a:lnTo>
                      <a:pt x="1750" y="2984"/>
                    </a:lnTo>
                    <a:lnTo>
                      <a:pt x="1752" y="2986"/>
                    </a:lnTo>
                    <a:lnTo>
                      <a:pt x="1754" y="2984"/>
                    </a:lnTo>
                    <a:lnTo>
                      <a:pt x="1754" y="2984"/>
                    </a:lnTo>
                    <a:lnTo>
                      <a:pt x="1754" y="2982"/>
                    </a:lnTo>
                    <a:lnTo>
                      <a:pt x="1756" y="2980"/>
                    </a:lnTo>
                    <a:lnTo>
                      <a:pt x="1764" y="2978"/>
                    </a:lnTo>
                    <a:lnTo>
                      <a:pt x="1770" y="2976"/>
                    </a:lnTo>
                    <a:lnTo>
                      <a:pt x="1774" y="2974"/>
                    </a:lnTo>
                    <a:lnTo>
                      <a:pt x="1776" y="2970"/>
                    </a:lnTo>
                    <a:lnTo>
                      <a:pt x="1776" y="2970"/>
                    </a:lnTo>
                    <a:lnTo>
                      <a:pt x="1780" y="2966"/>
                    </a:lnTo>
                    <a:lnTo>
                      <a:pt x="1782" y="2964"/>
                    </a:lnTo>
                    <a:lnTo>
                      <a:pt x="1790" y="2964"/>
                    </a:lnTo>
                    <a:lnTo>
                      <a:pt x="1794" y="2964"/>
                    </a:lnTo>
                    <a:lnTo>
                      <a:pt x="1796" y="2962"/>
                    </a:lnTo>
                    <a:lnTo>
                      <a:pt x="1794" y="2960"/>
                    </a:lnTo>
                    <a:lnTo>
                      <a:pt x="1794" y="2960"/>
                    </a:lnTo>
                    <a:lnTo>
                      <a:pt x="1790" y="2954"/>
                    </a:lnTo>
                    <a:lnTo>
                      <a:pt x="1790" y="2950"/>
                    </a:lnTo>
                    <a:lnTo>
                      <a:pt x="1796" y="2944"/>
                    </a:lnTo>
                    <a:lnTo>
                      <a:pt x="1804" y="2938"/>
                    </a:lnTo>
                    <a:lnTo>
                      <a:pt x="1804" y="2938"/>
                    </a:lnTo>
                    <a:close/>
                    <a:moveTo>
                      <a:pt x="1538" y="2902"/>
                    </a:moveTo>
                    <a:lnTo>
                      <a:pt x="1538" y="2902"/>
                    </a:lnTo>
                    <a:lnTo>
                      <a:pt x="1540" y="2906"/>
                    </a:lnTo>
                    <a:lnTo>
                      <a:pt x="1538" y="2910"/>
                    </a:lnTo>
                    <a:lnTo>
                      <a:pt x="1538" y="2914"/>
                    </a:lnTo>
                    <a:lnTo>
                      <a:pt x="1542" y="2918"/>
                    </a:lnTo>
                    <a:lnTo>
                      <a:pt x="1542" y="2918"/>
                    </a:lnTo>
                    <a:lnTo>
                      <a:pt x="1544" y="2918"/>
                    </a:lnTo>
                    <a:lnTo>
                      <a:pt x="1548" y="2914"/>
                    </a:lnTo>
                    <a:lnTo>
                      <a:pt x="1554" y="2904"/>
                    </a:lnTo>
                    <a:lnTo>
                      <a:pt x="1558" y="2894"/>
                    </a:lnTo>
                    <a:lnTo>
                      <a:pt x="1560" y="2888"/>
                    </a:lnTo>
                    <a:lnTo>
                      <a:pt x="1560" y="2886"/>
                    </a:lnTo>
                    <a:lnTo>
                      <a:pt x="1560" y="2886"/>
                    </a:lnTo>
                    <a:lnTo>
                      <a:pt x="1558" y="2886"/>
                    </a:lnTo>
                    <a:lnTo>
                      <a:pt x="1554" y="2886"/>
                    </a:lnTo>
                    <a:lnTo>
                      <a:pt x="1546" y="2892"/>
                    </a:lnTo>
                    <a:lnTo>
                      <a:pt x="1540" y="2898"/>
                    </a:lnTo>
                    <a:lnTo>
                      <a:pt x="1538" y="2900"/>
                    </a:lnTo>
                    <a:lnTo>
                      <a:pt x="1538" y="2902"/>
                    </a:lnTo>
                    <a:lnTo>
                      <a:pt x="1538" y="2902"/>
                    </a:lnTo>
                    <a:close/>
                    <a:moveTo>
                      <a:pt x="644" y="1508"/>
                    </a:moveTo>
                    <a:lnTo>
                      <a:pt x="644" y="1508"/>
                    </a:lnTo>
                    <a:lnTo>
                      <a:pt x="646" y="1510"/>
                    </a:lnTo>
                    <a:lnTo>
                      <a:pt x="648" y="1508"/>
                    </a:lnTo>
                    <a:lnTo>
                      <a:pt x="650" y="1500"/>
                    </a:lnTo>
                    <a:lnTo>
                      <a:pt x="650" y="1500"/>
                    </a:lnTo>
                    <a:lnTo>
                      <a:pt x="650" y="1498"/>
                    </a:lnTo>
                    <a:lnTo>
                      <a:pt x="650" y="1498"/>
                    </a:lnTo>
                    <a:lnTo>
                      <a:pt x="646" y="1498"/>
                    </a:lnTo>
                    <a:lnTo>
                      <a:pt x="640" y="1500"/>
                    </a:lnTo>
                    <a:lnTo>
                      <a:pt x="636" y="1504"/>
                    </a:lnTo>
                    <a:lnTo>
                      <a:pt x="636" y="1504"/>
                    </a:lnTo>
                    <a:lnTo>
                      <a:pt x="634" y="1510"/>
                    </a:lnTo>
                    <a:lnTo>
                      <a:pt x="636" y="1514"/>
                    </a:lnTo>
                    <a:lnTo>
                      <a:pt x="638" y="1516"/>
                    </a:lnTo>
                    <a:lnTo>
                      <a:pt x="642" y="1518"/>
                    </a:lnTo>
                    <a:lnTo>
                      <a:pt x="642" y="1518"/>
                    </a:lnTo>
                    <a:lnTo>
                      <a:pt x="644" y="1516"/>
                    </a:lnTo>
                    <a:lnTo>
                      <a:pt x="644" y="1514"/>
                    </a:lnTo>
                    <a:lnTo>
                      <a:pt x="642" y="1508"/>
                    </a:lnTo>
                    <a:lnTo>
                      <a:pt x="642" y="1508"/>
                    </a:lnTo>
                    <a:lnTo>
                      <a:pt x="640" y="1506"/>
                    </a:lnTo>
                    <a:lnTo>
                      <a:pt x="640" y="1506"/>
                    </a:lnTo>
                    <a:lnTo>
                      <a:pt x="644" y="1508"/>
                    </a:lnTo>
                    <a:lnTo>
                      <a:pt x="644" y="1508"/>
                    </a:lnTo>
                    <a:close/>
                    <a:moveTo>
                      <a:pt x="632" y="1558"/>
                    </a:moveTo>
                    <a:lnTo>
                      <a:pt x="632" y="1558"/>
                    </a:lnTo>
                    <a:lnTo>
                      <a:pt x="632" y="1558"/>
                    </a:lnTo>
                    <a:lnTo>
                      <a:pt x="634" y="1556"/>
                    </a:lnTo>
                    <a:lnTo>
                      <a:pt x="634" y="1554"/>
                    </a:lnTo>
                    <a:lnTo>
                      <a:pt x="634" y="1548"/>
                    </a:lnTo>
                    <a:lnTo>
                      <a:pt x="630" y="1544"/>
                    </a:lnTo>
                    <a:lnTo>
                      <a:pt x="630" y="1544"/>
                    </a:lnTo>
                    <a:lnTo>
                      <a:pt x="630" y="1546"/>
                    </a:lnTo>
                    <a:lnTo>
                      <a:pt x="630" y="1546"/>
                    </a:lnTo>
                    <a:lnTo>
                      <a:pt x="630" y="1554"/>
                    </a:lnTo>
                    <a:lnTo>
                      <a:pt x="630" y="1558"/>
                    </a:lnTo>
                    <a:lnTo>
                      <a:pt x="632" y="1558"/>
                    </a:lnTo>
                    <a:lnTo>
                      <a:pt x="632" y="1558"/>
                    </a:lnTo>
                    <a:close/>
                    <a:moveTo>
                      <a:pt x="628" y="1528"/>
                    </a:moveTo>
                    <a:lnTo>
                      <a:pt x="628" y="1528"/>
                    </a:lnTo>
                    <a:lnTo>
                      <a:pt x="628" y="1528"/>
                    </a:lnTo>
                    <a:lnTo>
                      <a:pt x="630" y="1528"/>
                    </a:lnTo>
                    <a:lnTo>
                      <a:pt x="630" y="1526"/>
                    </a:lnTo>
                    <a:lnTo>
                      <a:pt x="632" y="1522"/>
                    </a:lnTo>
                    <a:lnTo>
                      <a:pt x="632" y="1520"/>
                    </a:lnTo>
                    <a:lnTo>
                      <a:pt x="632" y="1520"/>
                    </a:lnTo>
                    <a:lnTo>
                      <a:pt x="634" y="1520"/>
                    </a:lnTo>
                    <a:lnTo>
                      <a:pt x="634" y="1522"/>
                    </a:lnTo>
                    <a:lnTo>
                      <a:pt x="636" y="1522"/>
                    </a:lnTo>
                    <a:lnTo>
                      <a:pt x="638" y="1522"/>
                    </a:lnTo>
                    <a:lnTo>
                      <a:pt x="638" y="1522"/>
                    </a:lnTo>
                    <a:lnTo>
                      <a:pt x="638" y="1520"/>
                    </a:lnTo>
                    <a:lnTo>
                      <a:pt x="636" y="1518"/>
                    </a:lnTo>
                    <a:lnTo>
                      <a:pt x="632" y="1514"/>
                    </a:lnTo>
                    <a:lnTo>
                      <a:pt x="632" y="1514"/>
                    </a:lnTo>
                    <a:lnTo>
                      <a:pt x="628" y="1512"/>
                    </a:lnTo>
                    <a:lnTo>
                      <a:pt x="628" y="1516"/>
                    </a:lnTo>
                    <a:lnTo>
                      <a:pt x="628" y="1528"/>
                    </a:lnTo>
                    <a:lnTo>
                      <a:pt x="628" y="1528"/>
                    </a:lnTo>
                    <a:close/>
                    <a:moveTo>
                      <a:pt x="1186" y="1636"/>
                    </a:moveTo>
                    <a:lnTo>
                      <a:pt x="1186" y="1636"/>
                    </a:lnTo>
                    <a:lnTo>
                      <a:pt x="1180" y="1640"/>
                    </a:lnTo>
                    <a:lnTo>
                      <a:pt x="1176" y="1638"/>
                    </a:lnTo>
                    <a:lnTo>
                      <a:pt x="1174" y="1638"/>
                    </a:lnTo>
                    <a:lnTo>
                      <a:pt x="1164" y="1646"/>
                    </a:lnTo>
                    <a:lnTo>
                      <a:pt x="1164" y="1646"/>
                    </a:lnTo>
                    <a:lnTo>
                      <a:pt x="1156" y="1656"/>
                    </a:lnTo>
                    <a:lnTo>
                      <a:pt x="1150" y="1666"/>
                    </a:lnTo>
                    <a:lnTo>
                      <a:pt x="1150" y="1676"/>
                    </a:lnTo>
                    <a:lnTo>
                      <a:pt x="1154" y="1682"/>
                    </a:lnTo>
                    <a:lnTo>
                      <a:pt x="1154" y="1682"/>
                    </a:lnTo>
                    <a:lnTo>
                      <a:pt x="1154" y="1686"/>
                    </a:lnTo>
                    <a:lnTo>
                      <a:pt x="1154" y="1690"/>
                    </a:lnTo>
                    <a:lnTo>
                      <a:pt x="1154" y="1696"/>
                    </a:lnTo>
                    <a:lnTo>
                      <a:pt x="1154" y="1700"/>
                    </a:lnTo>
                    <a:lnTo>
                      <a:pt x="1154" y="1700"/>
                    </a:lnTo>
                    <a:lnTo>
                      <a:pt x="1158" y="1700"/>
                    </a:lnTo>
                    <a:lnTo>
                      <a:pt x="1158" y="1700"/>
                    </a:lnTo>
                    <a:lnTo>
                      <a:pt x="1162" y="1696"/>
                    </a:lnTo>
                    <a:lnTo>
                      <a:pt x="1166" y="1690"/>
                    </a:lnTo>
                    <a:lnTo>
                      <a:pt x="1170" y="1682"/>
                    </a:lnTo>
                    <a:lnTo>
                      <a:pt x="1178" y="1674"/>
                    </a:lnTo>
                    <a:lnTo>
                      <a:pt x="1178" y="1674"/>
                    </a:lnTo>
                    <a:lnTo>
                      <a:pt x="1182" y="1670"/>
                    </a:lnTo>
                    <a:lnTo>
                      <a:pt x="1184" y="1666"/>
                    </a:lnTo>
                    <a:lnTo>
                      <a:pt x="1182" y="1662"/>
                    </a:lnTo>
                    <a:lnTo>
                      <a:pt x="1180" y="1658"/>
                    </a:lnTo>
                    <a:lnTo>
                      <a:pt x="1180" y="1656"/>
                    </a:lnTo>
                    <a:lnTo>
                      <a:pt x="1182" y="1652"/>
                    </a:lnTo>
                    <a:lnTo>
                      <a:pt x="1186" y="1646"/>
                    </a:lnTo>
                    <a:lnTo>
                      <a:pt x="1186" y="1646"/>
                    </a:lnTo>
                    <a:lnTo>
                      <a:pt x="1194" y="1638"/>
                    </a:lnTo>
                    <a:lnTo>
                      <a:pt x="1198" y="1632"/>
                    </a:lnTo>
                    <a:lnTo>
                      <a:pt x="1196" y="1630"/>
                    </a:lnTo>
                    <a:lnTo>
                      <a:pt x="1194" y="1632"/>
                    </a:lnTo>
                    <a:lnTo>
                      <a:pt x="1186" y="1636"/>
                    </a:lnTo>
                    <a:lnTo>
                      <a:pt x="1186" y="1636"/>
                    </a:lnTo>
                    <a:close/>
                    <a:moveTo>
                      <a:pt x="1058" y="962"/>
                    </a:moveTo>
                    <a:lnTo>
                      <a:pt x="1058" y="962"/>
                    </a:lnTo>
                    <a:lnTo>
                      <a:pt x="1050" y="960"/>
                    </a:lnTo>
                    <a:lnTo>
                      <a:pt x="1048" y="962"/>
                    </a:lnTo>
                    <a:lnTo>
                      <a:pt x="1046" y="964"/>
                    </a:lnTo>
                    <a:lnTo>
                      <a:pt x="1046" y="964"/>
                    </a:lnTo>
                    <a:lnTo>
                      <a:pt x="1048" y="964"/>
                    </a:lnTo>
                    <a:lnTo>
                      <a:pt x="1054" y="964"/>
                    </a:lnTo>
                    <a:lnTo>
                      <a:pt x="1058" y="962"/>
                    </a:lnTo>
                    <a:lnTo>
                      <a:pt x="1058" y="962"/>
                    </a:lnTo>
                    <a:lnTo>
                      <a:pt x="1058" y="962"/>
                    </a:lnTo>
                    <a:lnTo>
                      <a:pt x="1058" y="962"/>
                    </a:lnTo>
                    <a:close/>
                    <a:moveTo>
                      <a:pt x="1366" y="1568"/>
                    </a:moveTo>
                    <a:lnTo>
                      <a:pt x="1366" y="1568"/>
                    </a:lnTo>
                    <a:lnTo>
                      <a:pt x="1364" y="1566"/>
                    </a:lnTo>
                    <a:lnTo>
                      <a:pt x="1360" y="1564"/>
                    </a:lnTo>
                    <a:lnTo>
                      <a:pt x="1356" y="1564"/>
                    </a:lnTo>
                    <a:lnTo>
                      <a:pt x="1354" y="1566"/>
                    </a:lnTo>
                    <a:lnTo>
                      <a:pt x="1354" y="1566"/>
                    </a:lnTo>
                    <a:lnTo>
                      <a:pt x="1356" y="1568"/>
                    </a:lnTo>
                    <a:lnTo>
                      <a:pt x="1360" y="1570"/>
                    </a:lnTo>
                    <a:lnTo>
                      <a:pt x="1364" y="1570"/>
                    </a:lnTo>
                    <a:lnTo>
                      <a:pt x="1366" y="1568"/>
                    </a:lnTo>
                    <a:lnTo>
                      <a:pt x="1366" y="1568"/>
                    </a:lnTo>
                    <a:close/>
                    <a:moveTo>
                      <a:pt x="1332" y="1588"/>
                    </a:moveTo>
                    <a:lnTo>
                      <a:pt x="1332" y="1588"/>
                    </a:lnTo>
                    <a:lnTo>
                      <a:pt x="1336" y="1586"/>
                    </a:lnTo>
                    <a:lnTo>
                      <a:pt x="1338" y="1584"/>
                    </a:lnTo>
                    <a:lnTo>
                      <a:pt x="1338" y="1582"/>
                    </a:lnTo>
                    <a:lnTo>
                      <a:pt x="1342" y="1580"/>
                    </a:lnTo>
                    <a:lnTo>
                      <a:pt x="1342" y="1580"/>
                    </a:lnTo>
                    <a:lnTo>
                      <a:pt x="1344" y="1582"/>
                    </a:lnTo>
                    <a:lnTo>
                      <a:pt x="1346" y="1580"/>
                    </a:lnTo>
                    <a:lnTo>
                      <a:pt x="1346" y="1578"/>
                    </a:lnTo>
                    <a:lnTo>
                      <a:pt x="1348" y="1578"/>
                    </a:lnTo>
                    <a:lnTo>
                      <a:pt x="1348" y="1578"/>
                    </a:lnTo>
                    <a:lnTo>
                      <a:pt x="1350" y="1578"/>
                    </a:lnTo>
                    <a:lnTo>
                      <a:pt x="1352" y="1576"/>
                    </a:lnTo>
                    <a:lnTo>
                      <a:pt x="1350" y="1574"/>
                    </a:lnTo>
                    <a:lnTo>
                      <a:pt x="1346" y="1570"/>
                    </a:lnTo>
                    <a:lnTo>
                      <a:pt x="1346" y="1570"/>
                    </a:lnTo>
                    <a:lnTo>
                      <a:pt x="1336" y="1562"/>
                    </a:lnTo>
                    <a:lnTo>
                      <a:pt x="1334" y="1562"/>
                    </a:lnTo>
                    <a:lnTo>
                      <a:pt x="1330" y="1566"/>
                    </a:lnTo>
                    <a:lnTo>
                      <a:pt x="1330" y="1566"/>
                    </a:lnTo>
                    <a:lnTo>
                      <a:pt x="1326" y="1568"/>
                    </a:lnTo>
                    <a:lnTo>
                      <a:pt x="1320" y="1570"/>
                    </a:lnTo>
                    <a:lnTo>
                      <a:pt x="1316" y="1570"/>
                    </a:lnTo>
                    <a:lnTo>
                      <a:pt x="1312" y="1570"/>
                    </a:lnTo>
                    <a:lnTo>
                      <a:pt x="1312" y="1570"/>
                    </a:lnTo>
                    <a:lnTo>
                      <a:pt x="1310" y="1572"/>
                    </a:lnTo>
                    <a:lnTo>
                      <a:pt x="1312" y="1574"/>
                    </a:lnTo>
                    <a:lnTo>
                      <a:pt x="1322" y="1574"/>
                    </a:lnTo>
                    <a:lnTo>
                      <a:pt x="1322" y="1574"/>
                    </a:lnTo>
                    <a:lnTo>
                      <a:pt x="1324" y="1574"/>
                    </a:lnTo>
                    <a:lnTo>
                      <a:pt x="1326" y="1576"/>
                    </a:lnTo>
                    <a:lnTo>
                      <a:pt x="1326" y="1580"/>
                    </a:lnTo>
                    <a:lnTo>
                      <a:pt x="1328" y="1584"/>
                    </a:lnTo>
                    <a:lnTo>
                      <a:pt x="1330" y="1586"/>
                    </a:lnTo>
                    <a:lnTo>
                      <a:pt x="1332" y="1588"/>
                    </a:lnTo>
                    <a:lnTo>
                      <a:pt x="1332" y="1588"/>
                    </a:lnTo>
                    <a:close/>
                    <a:moveTo>
                      <a:pt x="1306" y="1608"/>
                    </a:moveTo>
                    <a:lnTo>
                      <a:pt x="1306" y="1608"/>
                    </a:lnTo>
                    <a:lnTo>
                      <a:pt x="1304" y="1610"/>
                    </a:lnTo>
                    <a:lnTo>
                      <a:pt x="1302" y="1612"/>
                    </a:lnTo>
                    <a:lnTo>
                      <a:pt x="1304" y="1616"/>
                    </a:lnTo>
                    <a:lnTo>
                      <a:pt x="1310" y="1618"/>
                    </a:lnTo>
                    <a:lnTo>
                      <a:pt x="1310" y="1618"/>
                    </a:lnTo>
                    <a:lnTo>
                      <a:pt x="1316" y="1622"/>
                    </a:lnTo>
                    <a:lnTo>
                      <a:pt x="1316" y="1624"/>
                    </a:lnTo>
                    <a:lnTo>
                      <a:pt x="1312" y="1628"/>
                    </a:lnTo>
                    <a:lnTo>
                      <a:pt x="1312" y="1628"/>
                    </a:lnTo>
                    <a:lnTo>
                      <a:pt x="1308" y="1630"/>
                    </a:lnTo>
                    <a:lnTo>
                      <a:pt x="1308" y="1634"/>
                    </a:lnTo>
                    <a:lnTo>
                      <a:pt x="1308" y="1636"/>
                    </a:lnTo>
                    <a:lnTo>
                      <a:pt x="1314" y="1636"/>
                    </a:lnTo>
                    <a:lnTo>
                      <a:pt x="1314" y="1636"/>
                    </a:lnTo>
                    <a:lnTo>
                      <a:pt x="1316" y="1634"/>
                    </a:lnTo>
                    <a:lnTo>
                      <a:pt x="1318" y="1630"/>
                    </a:lnTo>
                    <a:lnTo>
                      <a:pt x="1318" y="1630"/>
                    </a:lnTo>
                    <a:lnTo>
                      <a:pt x="1322" y="1620"/>
                    </a:lnTo>
                    <a:lnTo>
                      <a:pt x="1326" y="1618"/>
                    </a:lnTo>
                    <a:lnTo>
                      <a:pt x="1328" y="1616"/>
                    </a:lnTo>
                    <a:lnTo>
                      <a:pt x="1330" y="1616"/>
                    </a:lnTo>
                    <a:lnTo>
                      <a:pt x="1330" y="1616"/>
                    </a:lnTo>
                    <a:lnTo>
                      <a:pt x="1334" y="1618"/>
                    </a:lnTo>
                    <a:lnTo>
                      <a:pt x="1340" y="1614"/>
                    </a:lnTo>
                    <a:lnTo>
                      <a:pt x="1348" y="1610"/>
                    </a:lnTo>
                    <a:lnTo>
                      <a:pt x="1352" y="1604"/>
                    </a:lnTo>
                    <a:lnTo>
                      <a:pt x="1352" y="1604"/>
                    </a:lnTo>
                    <a:lnTo>
                      <a:pt x="1356" y="1602"/>
                    </a:lnTo>
                    <a:lnTo>
                      <a:pt x="1358" y="1602"/>
                    </a:lnTo>
                    <a:lnTo>
                      <a:pt x="1358" y="1604"/>
                    </a:lnTo>
                    <a:lnTo>
                      <a:pt x="1362" y="1604"/>
                    </a:lnTo>
                    <a:lnTo>
                      <a:pt x="1362" y="1604"/>
                    </a:lnTo>
                    <a:lnTo>
                      <a:pt x="1364" y="1602"/>
                    </a:lnTo>
                    <a:lnTo>
                      <a:pt x="1362" y="1602"/>
                    </a:lnTo>
                    <a:lnTo>
                      <a:pt x="1354" y="1596"/>
                    </a:lnTo>
                    <a:lnTo>
                      <a:pt x="1354" y="1596"/>
                    </a:lnTo>
                    <a:lnTo>
                      <a:pt x="1348" y="1594"/>
                    </a:lnTo>
                    <a:lnTo>
                      <a:pt x="1342" y="1594"/>
                    </a:lnTo>
                    <a:lnTo>
                      <a:pt x="1338" y="1594"/>
                    </a:lnTo>
                    <a:lnTo>
                      <a:pt x="1334" y="1592"/>
                    </a:lnTo>
                    <a:lnTo>
                      <a:pt x="1334" y="1592"/>
                    </a:lnTo>
                    <a:lnTo>
                      <a:pt x="1330" y="1590"/>
                    </a:lnTo>
                    <a:lnTo>
                      <a:pt x="1324" y="1592"/>
                    </a:lnTo>
                    <a:lnTo>
                      <a:pt x="1318" y="1594"/>
                    </a:lnTo>
                    <a:lnTo>
                      <a:pt x="1314" y="1600"/>
                    </a:lnTo>
                    <a:lnTo>
                      <a:pt x="1314" y="1600"/>
                    </a:lnTo>
                    <a:lnTo>
                      <a:pt x="1312" y="1602"/>
                    </a:lnTo>
                    <a:lnTo>
                      <a:pt x="1310" y="1602"/>
                    </a:lnTo>
                    <a:lnTo>
                      <a:pt x="1308" y="1598"/>
                    </a:lnTo>
                    <a:lnTo>
                      <a:pt x="1304" y="1598"/>
                    </a:lnTo>
                    <a:lnTo>
                      <a:pt x="1304" y="1598"/>
                    </a:lnTo>
                    <a:lnTo>
                      <a:pt x="1304" y="1598"/>
                    </a:lnTo>
                    <a:lnTo>
                      <a:pt x="1304" y="1600"/>
                    </a:lnTo>
                    <a:lnTo>
                      <a:pt x="1306" y="1604"/>
                    </a:lnTo>
                    <a:lnTo>
                      <a:pt x="1308" y="1606"/>
                    </a:lnTo>
                    <a:lnTo>
                      <a:pt x="1308" y="1608"/>
                    </a:lnTo>
                    <a:lnTo>
                      <a:pt x="1306" y="1608"/>
                    </a:lnTo>
                    <a:lnTo>
                      <a:pt x="1306" y="1608"/>
                    </a:lnTo>
                    <a:close/>
                    <a:moveTo>
                      <a:pt x="1364" y="1596"/>
                    </a:moveTo>
                    <a:lnTo>
                      <a:pt x="1364" y="1596"/>
                    </a:lnTo>
                    <a:lnTo>
                      <a:pt x="1364" y="1592"/>
                    </a:lnTo>
                    <a:lnTo>
                      <a:pt x="1360" y="1590"/>
                    </a:lnTo>
                    <a:lnTo>
                      <a:pt x="1356" y="1588"/>
                    </a:lnTo>
                    <a:lnTo>
                      <a:pt x="1354" y="1588"/>
                    </a:lnTo>
                    <a:lnTo>
                      <a:pt x="1354" y="1588"/>
                    </a:lnTo>
                    <a:lnTo>
                      <a:pt x="1354" y="1592"/>
                    </a:lnTo>
                    <a:lnTo>
                      <a:pt x="1356" y="1596"/>
                    </a:lnTo>
                    <a:lnTo>
                      <a:pt x="1360" y="1598"/>
                    </a:lnTo>
                    <a:lnTo>
                      <a:pt x="1364" y="1596"/>
                    </a:lnTo>
                    <a:lnTo>
                      <a:pt x="1364" y="1596"/>
                    </a:lnTo>
                    <a:close/>
                    <a:moveTo>
                      <a:pt x="1102" y="2532"/>
                    </a:moveTo>
                    <a:lnTo>
                      <a:pt x="1102" y="2532"/>
                    </a:lnTo>
                    <a:lnTo>
                      <a:pt x="1110" y="2530"/>
                    </a:lnTo>
                    <a:lnTo>
                      <a:pt x="1112" y="2530"/>
                    </a:lnTo>
                    <a:lnTo>
                      <a:pt x="1110" y="2528"/>
                    </a:lnTo>
                    <a:lnTo>
                      <a:pt x="1110" y="2528"/>
                    </a:lnTo>
                    <a:lnTo>
                      <a:pt x="1098" y="2526"/>
                    </a:lnTo>
                    <a:lnTo>
                      <a:pt x="1092" y="2528"/>
                    </a:lnTo>
                    <a:lnTo>
                      <a:pt x="1092" y="2528"/>
                    </a:lnTo>
                    <a:lnTo>
                      <a:pt x="1094" y="2530"/>
                    </a:lnTo>
                    <a:lnTo>
                      <a:pt x="1094" y="2530"/>
                    </a:lnTo>
                    <a:lnTo>
                      <a:pt x="1096" y="2532"/>
                    </a:lnTo>
                    <a:lnTo>
                      <a:pt x="1102" y="2532"/>
                    </a:lnTo>
                    <a:lnTo>
                      <a:pt x="1102" y="2532"/>
                    </a:lnTo>
                    <a:close/>
                    <a:moveTo>
                      <a:pt x="470" y="2754"/>
                    </a:moveTo>
                    <a:lnTo>
                      <a:pt x="470" y="2754"/>
                    </a:lnTo>
                    <a:lnTo>
                      <a:pt x="472" y="2756"/>
                    </a:lnTo>
                    <a:lnTo>
                      <a:pt x="476" y="2756"/>
                    </a:lnTo>
                    <a:lnTo>
                      <a:pt x="482" y="2752"/>
                    </a:lnTo>
                    <a:lnTo>
                      <a:pt x="486" y="2746"/>
                    </a:lnTo>
                    <a:lnTo>
                      <a:pt x="486" y="2744"/>
                    </a:lnTo>
                    <a:lnTo>
                      <a:pt x="484" y="2740"/>
                    </a:lnTo>
                    <a:lnTo>
                      <a:pt x="484" y="2740"/>
                    </a:lnTo>
                    <a:lnTo>
                      <a:pt x="482" y="2740"/>
                    </a:lnTo>
                    <a:lnTo>
                      <a:pt x="480" y="2740"/>
                    </a:lnTo>
                    <a:lnTo>
                      <a:pt x="474" y="2744"/>
                    </a:lnTo>
                    <a:lnTo>
                      <a:pt x="470" y="2750"/>
                    </a:lnTo>
                    <a:lnTo>
                      <a:pt x="470" y="2752"/>
                    </a:lnTo>
                    <a:lnTo>
                      <a:pt x="470" y="2754"/>
                    </a:lnTo>
                    <a:lnTo>
                      <a:pt x="470" y="2754"/>
                    </a:lnTo>
                    <a:close/>
                    <a:moveTo>
                      <a:pt x="808" y="2632"/>
                    </a:moveTo>
                    <a:lnTo>
                      <a:pt x="808" y="2632"/>
                    </a:lnTo>
                    <a:lnTo>
                      <a:pt x="804" y="2628"/>
                    </a:lnTo>
                    <a:lnTo>
                      <a:pt x="802" y="2626"/>
                    </a:lnTo>
                    <a:lnTo>
                      <a:pt x="798" y="2624"/>
                    </a:lnTo>
                    <a:lnTo>
                      <a:pt x="794" y="2626"/>
                    </a:lnTo>
                    <a:lnTo>
                      <a:pt x="790" y="2628"/>
                    </a:lnTo>
                    <a:lnTo>
                      <a:pt x="776" y="2638"/>
                    </a:lnTo>
                    <a:lnTo>
                      <a:pt x="776" y="2638"/>
                    </a:lnTo>
                    <a:lnTo>
                      <a:pt x="768" y="2644"/>
                    </a:lnTo>
                    <a:lnTo>
                      <a:pt x="762" y="2646"/>
                    </a:lnTo>
                    <a:lnTo>
                      <a:pt x="758" y="2644"/>
                    </a:lnTo>
                    <a:lnTo>
                      <a:pt x="756" y="2642"/>
                    </a:lnTo>
                    <a:lnTo>
                      <a:pt x="752" y="2640"/>
                    </a:lnTo>
                    <a:lnTo>
                      <a:pt x="752" y="2640"/>
                    </a:lnTo>
                    <a:lnTo>
                      <a:pt x="750" y="2650"/>
                    </a:lnTo>
                    <a:lnTo>
                      <a:pt x="750" y="2650"/>
                    </a:lnTo>
                    <a:lnTo>
                      <a:pt x="752" y="2654"/>
                    </a:lnTo>
                    <a:lnTo>
                      <a:pt x="752" y="2658"/>
                    </a:lnTo>
                    <a:lnTo>
                      <a:pt x="756" y="2664"/>
                    </a:lnTo>
                    <a:lnTo>
                      <a:pt x="760" y="2672"/>
                    </a:lnTo>
                    <a:lnTo>
                      <a:pt x="762" y="2678"/>
                    </a:lnTo>
                    <a:lnTo>
                      <a:pt x="762" y="2686"/>
                    </a:lnTo>
                    <a:lnTo>
                      <a:pt x="762" y="2686"/>
                    </a:lnTo>
                    <a:lnTo>
                      <a:pt x="762" y="2694"/>
                    </a:lnTo>
                    <a:lnTo>
                      <a:pt x="764" y="2698"/>
                    </a:lnTo>
                    <a:lnTo>
                      <a:pt x="764" y="2702"/>
                    </a:lnTo>
                    <a:lnTo>
                      <a:pt x="762" y="2714"/>
                    </a:lnTo>
                    <a:lnTo>
                      <a:pt x="762" y="2714"/>
                    </a:lnTo>
                    <a:lnTo>
                      <a:pt x="760" y="2728"/>
                    </a:lnTo>
                    <a:lnTo>
                      <a:pt x="764" y="2742"/>
                    </a:lnTo>
                    <a:lnTo>
                      <a:pt x="766" y="2746"/>
                    </a:lnTo>
                    <a:lnTo>
                      <a:pt x="770" y="2750"/>
                    </a:lnTo>
                    <a:lnTo>
                      <a:pt x="774" y="2752"/>
                    </a:lnTo>
                    <a:lnTo>
                      <a:pt x="778" y="2752"/>
                    </a:lnTo>
                    <a:lnTo>
                      <a:pt x="778" y="2752"/>
                    </a:lnTo>
                    <a:lnTo>
                      <a:pt x="782" y="2752"/>
                    </a:lnTo>
                    <a:lnTo>
                      <a:pt x="784" y="2748"/>
                    </a:lnTo>
                    <a:lnTo>
                      <a:pt x="788" y="2742"/>
                    </a:lnTo>
                    <a:lnTo>
                      <a:pt x="790" y="2738"/>
                    </a:lnTo>
                    <a:lnTo>
                      <a:pt x="792" y="2736"/>
                    </a:lnTo>
                    <a:lnTo>
                      <a:pt x="796" y="2738"/>
                    </a:lnTo>
                    <a:lnTo>
                      <a:pt x="796" y="2738"/>
                    </a:lnTo>
                    <a:lnTo>
                      <a:pt x="802" y="2740"/>
                    </a:lnTo>
                    <a:lnTo>
                      <a:pt x="806" y="2740"/>
                    </a:lnTo>
                    <a:lnTo>
                      <a:pt x="808" y="2736"/>
                    </a:lnTo>
                    <a:lnTo>
                      <a:pt x="810" y="2726"/>
                    </a:lnTo>
                    <a:lnTo>
                      <a:pt x="814" y="2708"/>
                    </a:lnTo>
                    <a:lnTo>
                      <a:pt x="814" y="2708"/>
                    </a:lnTo>
                    <a:lnTo>
                      <a:pt x="816" y="2698"/>
                    </a:lnTo>
                    <a:lnTo>
                      <a:pt x="814" y="2690"/>
                    </a:lnTo>
                    <a:lnTo>
                      <a:pt x="812" y="2682"/>
                    </a:lnTo>
                    <a:lnTo>
                      <a:pt x="810" y="2678"/>
                    </a:lnTo>
                    <a:lnTo>
                      <a:pt x="814" y="2672"/>
                    </a:lnTo>
                    <a:lnTo>
                      <a:pt x="814" y="2672"/>
                    </a:lnTo>
                    <a:lnTo>
                      <a:pt x="818" y="2668"/>
                    </a:lnTo>
                    <a:lnTo>
                      <a:pt x="818" y="2662"/>
                    </a:lnTo>
                    <a:lnTo>
                      <a:pt x="818" y="2652"/>
                    </a:lnTo>
                    <a:lnTo>
                      <a:pt x="814" y="2642"/>
                    </a:lnTo>
                    <a:lnTo>
                      <a:pt x="808" y="2632"/>
                    </a:lnTo>
                    <a:lnTo>
                      <a:pt x="808" y="2632"/>
                    </a:lnTo>
                    <a:close/>
                    <a:moveTo>
                      <a:pt x="576" y="2694"/>
                    </a:moveTo>
                    <a:lnTo>
                      <a:pt x="576" y="2694"/>
                    </a:lnTo>
                    <a:lnTo>
                      <a:pt x="578" y="2696"/>
                    </a:lnTo>
                    <a:lnTo>
                      <a:pt x="580" y="2696"/>
                    </a:lnTo>
                    <a:lnTo>
                      <a:pt x="584" y="2696"/>
                    </a:lnTo>
                    <a:lnTo>
                      <a:pt x="588" y="2698"/>
                    </a:lnTo>
                    <a:lnTo>
                      <a:pt x="588" y="2698"/>
                    </a:lnTo>
                    <a:lnTo>
                      <a:pt x="592" y="2702"/>
                    </a:lnTo>
                    <a:lnTo>
                      <a:pt x="594" y="2700"/>
                    </a:lnTo>
                    <a:lnTo>
                      <a:pt x="596" y="2698"/>
                    </a:lnTo>
                    <a:lnTo>
                      <a:pt x="594" y="2692"/>
                    </a:lnTo>
                    <a:lnTo>
                      <a:pt x="594" y="2692"/>
                    </a:lnTo>
                    <a:lnTo>
                      <a:pt x="594" y="2690"/>
                    </a:lnTo>
                    <a:lnTo>
                      <a:pt x="590" y="2688"/>
                    </a:lnTo>
                    <a:lnTo>
                      <a:pt x="584" y="2686"/>
                    </a:lnTo>
                    <a:lnTo>
                      <a:pt x="578" y="2688"/>
                    </a:lnTo>
                    <a:lnTo>
                      <a:pt x="576" y="2690"/>
                    </a:lnTo>
                    <a:lnTo>
                      <a:pt x="576" y="2694"/>
                    </a:lnTo>
                    <a:lnTo>
                      <a:pt x="576" y="2694"/>
                    </a:lnTo>
                    <a:close/>
                    <a:moveTo>
                      <a:pt x="1022" y="2792"/>
                    </a:moveTo>
                    <a:lnTo>
                      <a:pt x="1022" y="2792"/>
                    </a:lnTo>
                    <a:lnTo>
                      <a:pt x="1016" y="2792"/>
                    </a:lnTo>
                    <a:lnTo>
                      <a:pt x="1010" y="2794"/>
                    </a:lnTo>
                    <a:lnTo>
                      <a:pt x="998" y="2800"/>
                    </a:lnTo>
                    <a:lnTo>
                      <a:pt x="990" y="2802"/>
                    </a:lnTo>
                    <a:lnTo>
                      <a:pt x="982" y="2802"/>
                    </a:lnTo>
                    <a:lnTo>
                      <a:pt x="974" y="2800"/>
                    </a:lnTo>
                    <a:lnTo>
                      <a:pt x="966" y="2796"/>
                    </a:lnTo>
                    <a:lnTo>
                      <a:pt x="966" y="2796"/>
                    </a:lnTo>
                    <a:lnTo>
                      <a:pt x="960" y="2790"/>
                    </a:lnTo>
                    <a:lnTo>
                      <a:pt x="954" y="2790"/>
                    </a:lnTo>
                    <a:lnTo>
                      <a:pt x="950" y="2792"/>
                    </a:lnTo>
                    <a:lnTo>
                      <a:pt x="948" y="2794"/>
                    </a:lnTo>
                    <a:lnTo>
                      <a:pt x="944" y="2800"/>
                    </a:lnTo>
                    <a:lnTo>
                      <a:pt x="942" y="2800"/>
                    </a:lnTo>
                    <a:lnTo>
                      <a:pt x="938" y="2794"/>
                    </a:lnTo>
                    <a:lnTo>
                      <a:pt x="938" y="2794"/>
                    </a:lnTo>
                    <a:lnTo>
                      <a:pt x="936" y="2794"/>
                    </a:lnTo>
                    <a:lnTo>
                      <a:pt x="934" y="2792"/>
                    </a:lnTo>
                    <a:lnTo>
                      <a:pt x="930" y="2796"/>
                    </a:lnTo>
                    <a:lnTo>
                      <a:pt x="926" y="2802"/>
                    </a:lnTo>
                    <a:lnTo>
                      <a:pt x="924" y="2814"/>
                    </a:lnTo>
                    <a:lnTo>
                      <a:pt x="924" y="2814"/>
                    </a:lnTo>
                    <a:lnTo>
                      <a:pt x="926" y="2820"/>
                    </a:lnTo>
                    <a:lnTo>
                      <a:pt x="930" y="2822"/>
                    </a:lnTo>
                    <a:lnTo>
                      <a:pt x="944" y="2828"/>
                    </a:lnTo>
                    <a:lnTo>
                      <a:pt x="944" y="2828"/>
                    </a:lnTo>
                    <a:lnTo>
                      <a:pt x="954" y="2832"/>
                    </a:lnTo>
                    <a:lnTo>
                      <a:pt x="966" y="2840"/>
                    </a:lnTo>
                    <a:lnTo>
                      <a:pt x="976" y="2848"/>
                    </a:lnTo>
                    <a:lnTo>
                      <a:pt x="982" y="2850"/>
                    </a:lnTo>
                    <a:lnTo>
                      <a:pt x="986" y="2850"/>
                    </a:lnTo>
                    <a:lnTo>
                      <a:pt x="986" y="2850"/>
                    </a:lnTo>
                    <a:lnTo>
                      <a:pt x="994" y="2852"/>
                    </a:lnTo>
                    <a:lnTo>
                      <a:pt x="1000" y="2858"/>
                    </a:lnTo>
                    <a:lnTo>
                      <a:pt x="1008" y="2864"/>
                    </a:lnTo>
                    <a:lnTo>
                      <a:pt x="1016" y="2870"/>
                    </a:lnTo>
                    <a:lnTo>
                      <a:pt x="1016" y="2870"/>
                    </a:lnTo>
                    <a:lnTo>
                      <a:pt x="1030" y="2874"/>
                    </a:lnTo>
                    <a:lnTo>
                      <a:pt x="1032" y="2874"/>
                    </a:lnTo>
                    <a:lnTo>
                      <a:pt x="1032" y="2870"/>
                    </a:lnTo>
                    <a:lnTo>
                      <a:pt x="1032" y="2870"/>
                    </a:lnTo>
                    <a:lnTo>
                      <a:pt x="1034" y="2862"/>
                    </a:lnTo>
                    <a:lnTo>
                      <a:pt x="1036" y="2852"/>
                    </a:lnTo>
                    <a:lnTo>
                      <a:pt x="1036" y="2844"/>
                    </a:lnTo>
                    <a:lnTo>
                      <a:pt x="1034" y="2840"/>
                    </a:lnTo>
                    <a:lnTo>
                      <a:pt x="1032" y="2838"/>
                    </a:lnTo>
                    <a:lnTo>
                      <a:pt x="1032" y="2838"/>
                    </a:lnTo>
                    <a:lnTo>
                      <a:pt x="1030" y="2834"/>
                    </a:lnTo>
                    <a:lnTo>
                      <a:pt x="1030" y="2828"/>
                    </a:lnTo>
                    <a:lnTo>
                      <a:pt x="1036" y="2814"/>
                    </a:lnTo>
                    <a:lnTo>
                      <a:pt x="1050" y="2788"/>
                    </a:lnTo>
                    <a:lnTo>
                      <a:pt x="1050" y="2788"/>
                    </a:lnTo>
                    <a:lnTo>
                      <a:pt x="1052" y="2786"/>
                    </a:lnTo>
                    <a:lnTo>
                      <a:pt x="1050" y="2784"/>
                    </a:lnTo>
                    <a:lnTo>
                      <a:pt x="1042" y="2788"/>
                    </a:lnTo>
                    <a:lnTo>
                      <a:pt x="1032" y="2792"/>
                    </a:lnTo>
                    <a:lnTo>
                      <a:pt x="1026" y="2792"/>
                    </a:lnTo>
                    <a:lnTo>
                      <a:pt x="1022" y="2792"/>
                    </a:lnTo>
                    <a:lnTo>
                      <a:pt x="1022" y="2792"/>
                    </a:lnTo>
                    <a:close/>
                    <a:moveTo>
                      <a:pt x="802" y="2526"/>
                    </a:moveTo>
                    <a:lnTo>
                      <a:pt x="802" y="2526"/>
                    </a:lnTo>
                    <a:lnTo>
                      <a:pt x="800" y="2524"/>
                    </a:lnTo>
                    <a:lnTo>
                      <a:pt x="800" y="2526"/>
                    </a:lnTo>
                    <a:lnTo>
                      <a:pt x="798" y="2534"/>
                    </a:lnTo>
                    <a:lnTo>
                      <a:pt x="798" y="2540"/>
                    </a:lnTo>
                    <a:lnTo>
                      <a:pt x="798" y="2542"/>
                    </a:lnTo>
                    <a:lnTo>
                      <a:pt x="794" y="2542"/>
                    </a:lnTo>
                    <a:lnTo>
                      <a:pt x="794" y="2542"/>
                    </a:lnTo>
                    <a:lnTo>
                      <a:pt x="790" y="2542"/>
                    </a:lnTo>
                    <a:lnTo>
                      <a:pt x="788" y="2542"/>
                    </a:lnTo>
                    <a:lnTo>
                      <a:pt x="782" y="2546"/>
                    </a:lnTo>
                    <a:lnTo>
                      <a:pt x="778" y="2548"/>
                    </a:lnTo>
                    <a:lnTo>
                      <a:pt x="774" y="2550"/>
                    </a:lnTo>
                    <a:lnTo>
                      <a:pt x="774" y="2550"/>
                    </a:lnTo>
                    <a:lnTo>
                      <a:pt x="772" y="2550"/>
                    </a:lnTo>
                    <a:lnTo>
                      <a:pt x="772" y="2554"/>
                    </a:lnTo>
                    <a:lnTo>
                      <a:pt x="770" y="2568"/>
                    </a:lnTo>
                    <a:lnTo>
                      <a:pt x="770" y="2580"/>
                    </a:lnTo>
                    <a:lnTo>
                      <a:pt x="770" y="2584"/>
                    </a:lnTo>
                    <a:lnTo>
                      <a:pt x="772" y="2586"/>
                    </a:lnTo>
                    <a:lnTo>
                      <a:pt x="772" y="2586"/>
                    </a:lnTo>
                    <a:lnTo>
                      <a:pt x="776" y="2586"/>
                    </a:lnTo>
                    <a:lnTo>
                      <a:pt x="776" y="2588"/>
                    </a:lnTo>
                    <a:lnTo>
                      <a:pt x="774" y="2592"/>
                    </a:lnTo>
                    <a:lnTo>
                      <a:pt x="774" y="2592"/>
                    </a:lnTo>
                    <a:lnTo>
                      <a:pt x="772" y="2594"/>
                    </a:lnTo>
                    <a:lnTo>
                      <a:pt x="772" y="2596"/>
                    </a:lnTo>
                    <a:lnTo>
                      <a:pt x="778" y="2596"/>
                    </a:lnTo>
                    <a:lnTo>
                      <a:pt x="778" y="2596"/>
                    </a:lnTo>
                    <a:lnTo>
                      <a:pt x="780" y="2598"/>
                    </a:lnTo>
                    <a:lnTo>
                      <a:pt x="780" y="2598"/>
                    </a:lnTo>
                    <a:lnTo>
                      <a:pt x="778" y="2602"/>
                    </a:lnTo>
                    <a:lnTo>
                      <a:pt x="776" y="2604"/>
                    </a:lnTo>
                    <a:lnTo>
                      <a:pt x="776" y="2606"/>
                    </a:lnTo>
                    <a:lnTo>
                      <a:pt x="778" y="2608"/>
                    </a:lnTo>
                    <a:lnTo>
                      <a:pt x="778" y="2608"/>
                    </a:lnTo>
                    <a:lnTo>
                      <a:pt x="786" y="2612"/>
                    </a:lnTo>
                    <a:lnTo>
                      <a:pt x="788" y="2614"/>
                    </a:lnTo>
                    <a:lnTo>
                      <a:pt x="790" y="2616"/>
                    </a:lnTo>
                    <a:lnTo>
                      <a:pt x="792" y="2616"/>
                    </a:lnTo>
                    <a:lnTo>
                      <a:pt x="792" y="2616"/>
                    </a:lnTo>
                    <a:lnTo>
                      <a:pt x="794" y="2616"/>
                    </a:lnTo>
                    <a:lnTo>
                      <a:pt x="794" y="2612"/>
                    </a:lnTo>
                    <a:lnTo>
                      <a:pt x="794" y="2610"/>
                    </a:lnTo>
                    <a:lnTo>
                      <a:pt x="796" y="2606"/>
                    </a:lnTo>
                    <a:lnTo>
                      <a:pt x="796" y="2606"/>
                    </a:lnTo>
                    <a:lnTo>
                      <a:pt x="800" y="2604"/>
                    </a:lnTo>
                    <a:lnTo>
                      <a:pt x="800" y="2600"/>
                    </a:lnTo>
                    <a:lnTo>
                      <a:pt x="802" y="2588"/>
                    </a:lnTo>
                    <a:lnTo>
                      <a:pt x="802" y="2588"/>
                    </a:lnTo>
                    <a:lnTo>
                      <a:pt x="802" y="2582"/>
                    </a:lnTo>
                    <a:lnTo>
                      <a:pt x="804" y="2578"/>
                    </a:lnTo>
                    <a:lnTo>
                      <a:pt x="808" y="2574"/>
                    </a:lnTo>
                    <a:lnTo>
                      <a:pt x="808" y="2562"/>
                    </a:lnTo>
                    <a:lnTo>
                      <a:pt x="808" y="2562"/>
                    </a:lnTo>
                    <a:lnTo>
                      <a:pt x="806" y="2552"/>
                    </a:lnTo>
                    <a:lnTo>
                      <a:pt x="804" y="2546"/>
                    </a:lnTo>
                    <a:lnTo>
                      <a:pt x="804" y="2544"/>
                    </a:lnTo>
                    <a:lnTo>
                      <a:pt x="804" y="2540"/>
                    </a:lnTo>
                    <a:lnTo>
                      <a:pt x="804" y="2540"/>
                    </a:lnTo>
                    <a:lnTo>
                      <a:pt x="804" y="2530"/>
                    </a:lnTo>
                    <a:lnTo>
                      <a:pt x="804" y="2528"/>
                    </a:lnTo>
                    <a:lnTo>
                      <a:pt x="802" y="2526"/>
                    </a:lnTo>
                    <a:lnTo>
                      <a:pt x="802" y="2526"/>
                    </a:lnTo>
                    <a:close/>
                    <a:moveTo>
                      <a:pt x="550" y="2700"/>
                    </a:moveTo>
                    <a:lnTo>
                      <a:pt x="550" y="2700"/>
                    </a:lnTo>
                    <a:lnTo>
                      <a:pt x="548" y="2696"/>
                    </a:lnTo>
                    <a:lnTo>
                      <a:pt x="544" y="2696"/>
                    </a:lnTo>
                    <a:lnTo>
                      <a:pt x="538" y="2698"/>
                    </a:lnTo>
                    <a:lnTo>
                      <a:pt x="532" y="2702"/>
                    </a:lnTo>
                    <a:lnTo>
                      <a:pt x="520" y="2712"/>
                    </a:lnTo>
                    <a:lnTo>
                      <a:pt x="518" y="2716"/>
                    </a:lnTo>
                    <a:lnTo>
                      <a:pt x="520" y="2718"/>
                    </a:lnTo>
                    <a:lnTo>
                      <a:pt x="520" y="2718"/>
                    </a:lnTo>
                    <a:lnTo>
                      <a:pt x="520" y="2720"/>
                    </a:lnTo>
                    <a:lnTo>
                      <a:pt x="526" y="2718"/>
                    </a:lnTo>
                    <a:lnTo>
                      <a:pt x="526" y="2718"/>
                    </a:lnTo>
                    <a:lnTo>
                      <a:pt x="530" y="2718"/>
                    </a:lnTo>
                    <a:lnTo>
                      <a:pt x="532" y="2720"/>
                    </a:lnTo>
                    <a:lnTo>
                      <a:pt x="536" y="2726"/>
                    </a:lnTo>
                    <a:lnTo>
                      <a:pt x="542" y="2730"/>
                    </a:lnTo>
                    <a:lnTo>
                      <a:pt x="542" y="2730"/>
                    </a:lnTo>
                    <a:lnTo>
                      <a:pt x="546" y="2732"/>
                    </a:lnTo>
                    <a:lnTo>
                      <a:pt x="548" y="2732"/>
                    </a:lnTo>
                    <a:lnTo>
                      <a:pt x="554" y="2726"/>
                    </a:lnTo>
                    <a:lnTo>
                      <a:pt x="562" y="2708"/>
                    </a:lnTo>
                    <a:lnTo>
                      <a:pt x="562" y="2708"/>
                    </a:lnTo>
                    <a:lnTo>
                      <a:pt x="564" y="2706"/>
                    </a:lnTo>
                    <a:lnTo>
                      <a:pt x="564" y="2704"/>
                    </a:lnTo>
                    <a:lnTo>
                      <a:pt x="558" y="2704"/>
                    </a:lnTo>
                    <a:lnTo>
                      <a:pt x="552" y="2706"/>
                    </a:lnTo>
                    <a:lnTo>
                      <a:pt x="550" y="2704"/>
                    </a:lnTo>
                    <a:lnTo>
                      <a:pt x="550" y="2700"/>
                    </a:lnTo>
                    <a:lnTo>
                      <a:pt x="550" y="2700"/>
                    </a:lnTo>
                    <a:close/>
                    <a:moveTo>
                      <a:pt x="1254" y="2806"/>
                    </a:moveTo>
                    <a:lnTo>
                      <a:pt x="1254" y="2806"/>
                    </a:lnTo>
                    <a:lnTo>
                      <a:pt x="1252" y="2810"/>
                    </a:lnTo>
                    <a:lnTo>
                      <a:pt x="1254" y="2814"/>
                    </a:lnTo>
                    <a:lnTo>
                      <a:pt x="1260" y="2818"/>
                    </a:lnTo>
                    <a:lnTo>
                      <a:pt x="1264" y="2820"/>
                    </a:lnTo>
                    <a:lnTo>
                      <a:pt x="1264" y="2820"/>
                    </a:lnTo>
                    <a:lnTo>
                      <a:pt x="1266" y="2818"/>
                    </a:lnTo>
                    <a:lnTo>
                      <a:pt x="1266" y="2816"/>
                    </a:lnTo>
                    <a:lnTo>
                      <a:pt x="1264" y="2812"/>
                    </a:lnTo>
                    <a:lnTo>
                      <a:pt x="1258" y="2808"/>
                    </a:lnTo>
                    <a:lnTo>
                      <a:pt x="1254" y="2806"/>
                    </a:lnTo>
                    <a:lnTo>
                      <a:pt x="1254" y="2806"/>
                    </a:lnTo>
                    <a:close/>
                    <a:moveTo>
                      <a:pt x="1410" y="2874"/>
                    </a:moveTo>
                    <a:lnTo>
                      <a:pt x="1410" y="2874"/>
                    </a:lnTo>
                    <a:lnTo>
                      <a:pt x="1412" y="2870"/>
                    </a:lnTo>
                    <a:lnTo>
                      <a:pt x="1410" y="2868"/>
                    </a:lnTo>
                    <a:lnTo>
                      <a:pt x="1408" y="2868"/>
                    </a:lnTo>
                    <a:lnTo>
                      <a:pt x="1402" y="2870"/>
                    </a:lnTo>
                    <a:lnTo>
                      <a:pt x="1402" y="2872"/>
                    </a:lnTo>
                    <a:lnTo>
                      <a:pt x="1402" y="2872"/>
                    </a:lnTo>
                    <a:lnTo>
                      <a:pt x="1400" y="2874"/>
                    </a:lnTo>
                    <a:lnTo>
                      <a:pt x="1402" y="2876"/>
                    </a:lnTo>
                    <a:lnTo>
                      <a:pt x="1406" y="2876"/>
                    </a:lnTo>
                    <a:lnTo>
                      <a:pt x="1410" y="2874"/>
                    </a:lnTo>
                    <a:lnTo>
                      <a:pt x="1410" y="2874"/>
                    </a:lnTo>
                    <a:close/>
                    <a:moveTo>
                      <a:pt x="1214" y="2706"/>
                    </a:moveTo>
                    <a:lnTo>
                      <a:pt x="1214" y="2706"/>
                    </a:lnTo>
                    <a:lnTo>
                      <a:pt x="1214" y="2712"/>
                    </a:lnTo>
                    <a:lnTo>
                      <a:pt x="1218" y="2718"/>
                    </a:lnTo>
                    <a:lnTo>
                      <a:pt x="1224" y="2722"/>
                    </a:lnTo>
                    <a:lnTo>
                      <a:pt x="1230" y="2726"/>
                    </a:lnTo>
                    <a:lnTo>
                      <a:pt x="1230" y="2726"/>
                    </a:lnTo>
                    <a:lnTo>
                      <a:pt x="1232" y="2726"/>
                    </a:lnTo>
                    <a:lnTo>
                      <a:pt x="1230" y="2724"/>
                    </a:lnTo>
                    <a:lnTo>
                      <a:pt x="1228" y="2720"/>
                    </a:lnTo>
                    <a:lnTo>
                      <a:pt x="1224" y="2714"/>
                    </a:lnTo>
                    <a:lnTo>
                      <a:pt x="1222" y="2708"/>
                    </a:lnTo>
                    <a:lnTo>
                      <a:pt x="1222" y="2708"/>
                    </a:lnTo>
                    <a:lnTo>
                      <a:pt x="1222" y="2704"/>
                    </a:lnTo>
                    <a:lnTo>
                      <a:pt x="1218" y="2702"/>
                    </a:lnTo>
                    <a:lnTo>
                      <a:pt x="1216" y="2702"/>
                    </a:lnTo>
                    <a:lnTo>
                      <a:pt x="1214" y="2706"/>
                    </a:lnTo>
                    <a:lnTo>
                      <a:pt x="1214" y="2706"/>
                    </a:lnTo>
                    <a:close/>
                    <a:moveTo>
                      <a:pt x="1468" y="2954"/>
                    </a:moveTo>
                    <a:lnTo>
                      <a:pt x="1468" y="2954"/>
                    </a:lnTo>
                    <a:lnTo>
                      <a:pt x="1464" y="2956"/>
                    </a:lnTo>
                    <a:lnTo>
                      <a:pt x="1462" y="2956"/>
                    </a:lnTo>
                    <a:lnTo>
                      <a:pt x="1460" y="2952"/>
                    </a:lnTo>
                    <a:lnTo>
                      <a:pt x="1460" y="2948"/>
                    </a:lnTo>
                    <a:lnTo>
                      <a:pt x="1456" y="2946"/>
                    </a:lnTo>
                    <a:lnTo>
                      <a:pt x="1452" y="2946"/>
                    </a:lnTo>
                    <a:lnTo>
                      <a:pt x="1452" y="2946"/>
                    </a:lnTo>
                    <a:lnTo>
                      <a:pt x="1446" y="2948"/>
                    </a:lnTo>
                    <a:lnTo>
                      <a:pt x="1442" y="2946"/>
                    </a:lnTo>
                    <a:lnTo>
                      <a:pt x="1434" y="2944"/>
                    </a:lnTo>
                    <a:lnTo>
                      <a:pt x="1424" y="2942"/>
                    </a:lnTo>
                    <a:lnTo>
                      <a:pt x="1418" y="2942"/>
                    </a:lnTo>
                    <a:lnTo>
                      <a:pt x="1410" y="2944"/>
                    </a:lnTo>
                    <a:lnTo>
                      <a:pt x="1410" y="2944"/>
                    </a:lnTo>
                    <a:lnTo>
                      <a:pt x="1406" y="2944"/>
                    </a:lnTo>
                    <a:lnTo>
                      <a:pt x="1402" y="2942"/>
                    </a:lnTo>
                    <a:lnTo>
                      <a:pt x="1398" y="2938"/>
                    </a:lnTo>
                    <a:lnTo>
                      <a:pt x="1396" y="2934"/>
                    </a:lnTo>
                    <a:lnTo>
                      <a:pt x="1394" y="2932"/>
                    </a:lnTo>
                    <a:lnTo>
                      <a:pt x="1392" y="2934"/>
                    </a:lnTo>
                    <a:lnTo>
                      <a:pt x="1392" y="2934"/>
                    </a:lnTo>
                    <a:lnTo>
                      <a:pt x="1390" y="2934"/>
                    </a:lnTo>
                    <a:lnTo>
                      <a:pt x="1386" y="2934"/>
                    </a:lnTo>
                    <a:lnTo>
                      <a:pt x="1382" y="2932"/>
                    </a:lnTo>
                    <a:lnTo>
                      <a:pt x="1380" y="2928"/>
                    </a:lnTo>
                    <a:lnTo>
                      <a:pt x="1378" y="2928"/>
                    </a:lnTo>
                    <a:lnTo>
                      <a:pt x="1378" y="2930"/>
                    </a:lnTo>
                    <a:lnTo>
                      <a:pt x="1378" y="2930"/>
                    </a:lnTo>
                    <a:lnTo>
                      <a:pt x="1376" y="2934"/>
                    </a:lnTo>
                    <a:lnTo>
                      <a:pt x="1374" y="2936"/>
                    </a:lnTo>
                    <a:lnTo>
                      <a:pt x="1372" y="2938"/>
                    </a:lnTo>
                    <a:lnTo>
                      <a:pt x="1372" y="2946"/>
                    </a:lnTo>
                    <a:lnTo>
                      <a:pt x="1372" y="2946"/>
                    </a:lnTo>
                    <a:lnTo>
                      <a:pt x="1372" y="2950"/>
                    </a:lnTo>
                    <a:lnTo>
                      <a:pt x="1376" y="2952"/>
                    </a:lnTo>
                    <a:lnTo>
                      <a:pt x="1388" y="2952"/>
                    </a:lnTo>
                    <a:lnTo>
                      <a:pt x="1402" y="2954"/>
                    </a:lnTo>
                    <a:lnTo>
                      <a:pt x="1410" y="2958"/>
                    </a:lnTo>
                    <a:lnTo>
                      <a:pt x="1418" y="2962"/>
                    </a:lnTo>
                    <a:lnTo>
                      <a:pt x="1418" y="2962"/>
                    </a:lnTo>
                    <a:lnTo>
                      <a:pt x="1422" y="2964"/>
                    </a:lnTo>
                    <a:lnTo>
                      <a:pt x="1428" y="2966"/>
                    </a:lnTo>
                    <a:lnTo>
                      <a:pt x="1440" y="2966"/>
                    </a:lnTo>
                    <a:lnTo>
                      <a:pt x="1452" y="2964"/>
                    </a:lnTo>
                    <a:lnTo>
                      <a:pt x="1468" y="2964"/>
                    </a:lnTo>
                    <a:lnTo>
                      <a:pt x="1468" y="2964"/>
                    </a:lnTo>
                    <a:lnTo>
                      <a:pt x="1476" y="2962"/>
                    </a:lnTo>
                    <a:lnTo>
                      <a:pt x="1480" y="2960"/>
                    </a:lnTo>
                    <a:lnTo>
                      <a:pt x="1482" y="2958"/>
                    </a:lnTo>
                    <a:lnTo>
                      <a:pt x="1484" y="2954"/>
                    </a:lnTo>
                    <a:lnTo>
                      <a:pt x="1482" y="2952"/>
                    </a:lnTo>
                    <a:lnTo>
                      <a:pt x="1478" y="2950"/>
                    </a:lnTo>
                    <a:lnTo>
                      <a:pt x="1474" y="2950"/>
                    </a:lnTo>
                    <a:lnTo>
                      <a:pt x="1468" y="2954"/>
                    </a:lnTo>
                    <a:lnTo>
                      <a:pt x="1468" y="2954"/>
                    </a:lnTo>
                    <a:close/>
                    <a:moveTo>
                      <a:pt x="1518" y="2942"/>
                    </a:moveTo>
                    <a:lnTo>
                      <a:pt x="1518" y="2942"/>
                    </a:lnTo>
                    <a:lnTo>
                      <a:pt x="1520" y="2940"/>
                    </a:lnTo>
                    <a:lnTo>
                      <a:pt x="1520" y="2938"/>
                    </a:lnTo>
                    <a:lnTo>
                      <a:pt x="1518" y="2926"/>
                    </a:lnTo>
                    <a:lnTo>
                      <a:pt x="1518" y="2926"/>
                    </a:lnTo>
                    <a:lnTo>
                      <a:pt x="1516" y="2924"/>
                    </a:lnTo>
                    <a:lnTo>
                      <a:pt x="1516" y="2926"/>
                    </a:lnTo>
                    <a:lnTo>
                      <a:pt x="1514" y="2932"/>
                    </a:lnTo>
                    <a:lnTo>
                      <a:pt x="1514" y="2938"/>
                    </a:lnTo>
                    <a:lnTo>
                      <a:pt x="1516" y="2940"/>
                    </a:lnTo>
                    <a:lnTo>
                      <a:pt x="1518" y="2942"/>
                    </a:lnTo>
                    <a:lnTo>
                      <a:pt x="1518" y="2942"/>
                    </a:lnTo>
                    <a:close/>
                    <a:moveTo>
                      <a:pt x="1252" y="2768"/>
                    </a:moveTo>
                    <a:lnTo>
                      <a:pt x="1252" y="2768"/>
                    </a:lnTo>
                    <a:lnTo>
                      <a:pt x="1254" y="2768"/>
                    </a:lnTo>
                    <a:lnTo>
                      <a:pt x="1256" y="2766"/>
                    </a:lnTo>
                    <a:lnTo>
                      <a:pt x="1256" y="2764"/>
                    </a:lnTo>
                    <a:lnTo>
                      <a:pt x="1254" y="2760"/>
                    </a:lnTo>
                    <a:lnTo>
                      <a:pt x="1254" y="2760"/>
                    </a:lnTo>
                    <a:lnTo>
                      <a:pt x="1254" y="2758"/>
                    </a:lnTo>
                    <a:lnTo>
                      <a:pt x="1252" y="2758"/>
                    </a:lnTo>
                    <a:lnTo>
                      <a:pt x="1250" y="2762"/>
                    </a:lnTo>
                    <a:lnTo>
                      <a:pt x="1248" y="2766"/>
                    </a:lnTo>
                    <a:lnTo>
                      <a:pt x="1250" y="2768"/>
                    </a:lnTo>
                    <a:lnTo>
                      <a:pt x="1252" y="2768"/>
                    </a:lnTo>
                    <a:lnTo>
                      <a:pt x="1252" y="2768"/>
                    </a:lnTo>
                    <a:close/>
                    <a:moveTo>
                      <a:pt x="1256" y="2790"/>
                    </a:moveTo>
                    <a:lnTo>
                      <a:pt x="1256" y="2790"/>
                    </a:lnTo>
                    <a:lnTo>
                      <a:pt x="1254" y="2786"/>
                    </a:lnTo>
                    <a:lnTo>
                      <a:pt x="1252" y="2782"/>
                    </a:lnTo>
                    <a:lnTo>
                      <a:pt x="1252" y="2780"/>
                    </a:lnTo>
                    <a:lnTo>
                      <a:pt x="1250" y="2780"/>
                    </a:lnTo>
                    <a:lnTo>
                      <a:pt x="1250" y="2780"/>
                    </a:lnTo>
                    <a:lnTo>
                      <a:pt x="1248" y="2782"/>
                    </a:lnTo>
                    <a:lnTo>
                      <a:pt x="1244" y="2782"/>
                    </a:lnTo>
                    <a:lnTo>
                      <a:pt x="1242" y="2784"/>
                    </a:lnTo>
                    <a:lnTo>
                      <a:pt x="1242" y="2790"/>
                    </a:lnTo>
                    <a:lnTo>
                      <a:pt x="1242" y="2790"/>
                    </a:lnTo>
                    <a:lnTo>
                      <a:pt x="1244" y="2794"/>
                    </a:lnTo>
                    <a:lnTo>
                      <a:pt x="1246" y="2794"/>
                    </a:lnTo>
                    <a:lnTo>
                      <a:pt x="1250" y="2794"/>
                    </a:lnTo>
                    <a:lnTo>
                      <a:pt x="1256" y="2796"/>
                    </a:lnTo>
                    <a:lnTo>
                      <a:pt x="1256" y="2796"/>
                    </a:lnTo>
                    <a:lnTo>
                      <a:pt x="1260" y="2798"/>
                    </a:lnTo>
                    <a:lnTo>
                      <a:pt x="1260" y="2798"/>
                    </a:lnTo>
                    <a:lnTo>
                      <a:pt x="1260" y="2794"/>
                    </a:lnTo>
                    <a:lnTo>
                      <a:pt x="1256" y="2790"/>
                    </a:lnTo>
                    <a:lnTo>
                      <a:pt x="1256" y="2790"/>
                    </a:lnTo>
                    <a:close/>
                    <a:moveTo>
                      <a:pt x="1348" y="2902"/>
                    </a:moveTo>
                    <a:lnTo>
                      <a:pt x="1348" y="2902"/>
                    </a:lnTo>
                    <a:lnTo>
                      <a:pt x="1352" y="2904"/>
                    </a:lnTo>
                    <a:lnTo>
                      <a:pt x="1352" y="2902"/>
                    </a:lnTo>
                    <a:lnTo>
                      <a:pt x="1352" y="2898"/>
                    </a:lnTo>
                    <a:lnTo>
                      <a:pt x="1350" y="2892"/>
                    </a:lnTo>
                    <a:lnTo>
                      <a:pt x="1350" y="2892"/>
                    </a:lnTo>
                    <a:lnTo>
                      <a:pt x="1346" y="2890"/>
                    </a:lnTo>
                    <a:lnTo>
                      <a:pt x="1344" y="2892"/>
                    </a:lnTo>
                    <a:lnTo>
                      <a:pt x="1346" y="2896"/>
                    </a:lnTo>
                    <a:lnTo>
                      <a:pt x="1348" y="2902"/>
                    </a:lnTo>
                    <a:lnTo>
                      <a:pt x="1348" y="2902"/>
                    </a:lnTo>
                    <a:close/>
                    <a:moveTo>
                      <a:pt x="1448" y="2860"/>
                    </a:moveTo>
                    <a:lnTo>
                      <a:pt x="1448" y="2860"/>
                    </a:lnTo>
                    <a:lnTo>
                      <a:pt x="1450" y="2860"/>
                    </a:lnTo>
                    <a:lnTo>
                      <a:pt x="1452" y="2860"/>
                    </a:lnTo>
                    <a:lnTo>
                      <a:pt x="1454" y="2854"/>
                    </a:lnTo>
                    <a:lnTo>
                      <a:pt x="1452" y="2848"/>
                    </a:lnTo>
                    <a:lnTo>
                      <a:pt x="1452" y="2846"/>
                    </a:lnTo>
                    <a:lnTo>
                      <a:pt x="1448" y="2846"/>
                    </a:lnTo>
                    <a:lnTo>
                      <a:pt x="1448" y="2846"/>
                    </a:lnTo>
                    <a:lnTo>
                      <a:pt x="1446" y="2850"/>
                    </a:lnTo>
                    <a:lnTo>
                      <a:pt x="1444" y="2852"/>
                    </a:lnTo>
                    <a:lnTo>
                      <a:pt x="1446" y="2856"/>
                    </a:lnTo>
                    <a:lnTo>
                      <a:pt x="1448" y="2860"/>
                    </a:lnTo>
                    <a:lnTo>
                      <a:pt x="1448" y="2860"/>
                    </a:lnTo>
                    <a:close/>
                    <a:moveTo>
                      <a:pt x="1440" y="2848"/>
                    </a:moveTo>
                    <a:lnTo>
                      <a:pt x="1440" y="2848"/>
                    </a:lnTo>
                    <a:lnTo>
                      <a:pt x="1438" y="2848"/>
                    </a:lnTo>
                    <a:lnTo>
                      <a:pt x="1434" y="2850"/>
                    </a:lnTo>
                    <a:lnTo>
                      <a:pt x="1434" y="2854"/>
                    </a:lnTo>
                    <a:lnTo>
                      <a:pt x="1436" y="2856"/>
                    </a:lnTo>
                    <a:lnTo>
                      <a:pt x="1436" y="2856"/>
                    </a:lnTo>
                    <a:lnTo>
                      <a:pt x="1438" y="2856"/>
                    </a:lnTo>
                    <a:lnTo>
                      <a:pt x="1440" y="2854"/>
                    </a:lnTo>
                    <a:lnTo>
                      <a:pt x="1440" y="2850"/>
                    </a:lnTo>
                    <a:lnTo>
                      <a:pt x="1440" y="2848"/>
                    </a:lnTo>
                    <a:lnTo>
                      <a:pt x="1440" y="2848"/>
                    </a:lnTo>
                    <a:close/>
                    <a:moveTo>
                      <a:pt x="2822" y="3608"/>
                    </a:moveTo>
                    <a:lnTo>
                      <a:pt x="2822" y="3608"/>
                    </a:lnTo>
                    <a:lnTo>
                      <a:pt x="2818" y="3606"/>
                    </a:lnTo>
                    <a:lnTo>
                      <a:pt x="2814" y="3598"/>
                    </a:lnTo>
                    <a:lnTo>
                      <a:pt x="2802" y="3578"/>
                    </a:lnTo>
                    <a:lnTo>
                      <a:pt x="2798" y="3570"/>
                    </a:lnTo>
                    <a:lnTo>
                      <a:pt x="2792" y="3562"/>
                    </a:lnTo>
                    <a:lnTo>
                      <a:pt x="2786" y="3558"/>
                    </a:lnTo>
                    <a:lnTo>
                      <a:pt x="2782" y="3556"/>
                    </a:lnTo>
                    <a:lnTo>
                      <a:pt x="2780" y="3558"/>
                    </a:lnTo>
                    <a:lnTo>
                      <a:pt x="2780" y="3558"/>
                    </a:lnTo>
                    <a:lnTo>
                      <a:pt x="2776" y="3558"/>
                    </a:lnTo>
                    <a:lnTo>
                      <a:pt x="2774" y="3558"/>
                    </a:lnTo>
                    <a:lnTo>
                      <a:pt x="2768" y="3554"/>
                    </a:lnTo>
                    <a:lnTo>
                      <a:pt x="2762" y="3550"/>
                    </a:lnTo>
                    <a:lnTo>
                      <a:pt x="2756" y="3548"/>
                    </a:lnTo>
                    <a:lnTo>
                      <a:pt x="2746" y="3546"/>
                    </a:lnTo>
                    <a:lnTo>
                      <a:pt x="2746" y="3546"/>
                    </a:lnTo>
                    <a:lnTo>
                      <a:pt x="2738" y="3544"/>
                    </a:lnTo>
                    <a:lnTo>
                      <a:pt x="2728" y="3540"/>
                    </a:lnTo>
                    <a:lnTo>
                      <a:pt x="2720" y="3532"/>
                    </a:lnTo>
                    <a:lnTo>
                      <a:pt x="2712" y="3524"/>
                    </a:lnTo>
                    <a:lnTo>
                      <a:pt x="2706" y="3516"/>
                    </a:lnTo>
                    <a:lnTo>
                      <a:pt x="2700" y="3506"/>
                    </a:lnTo>
                    <a:lnTo>
                      <a:pt x="2696" y="3496"/>
                    </a:lnTo>
                    <a:lnTo>
                      <a:pt x="2694" y="3488"/>
                    </a:lnTo>
                    <a:lnTo>
                      <a:pt x="2694" y="3488"/>
                    </a:lnTo>
                    <a:lnTo>
                      <a:pt x="2694" y="3464"/>
                    </a:lnTo>
                    <a:lnTo>
                      <a:pt x="2694" y="3458"/>
                    </a:lnTo>
                    <a:lnTo>
                      <a:pt x="2692" y="3454"/>
                    </a:lnTo>
                    <a:lnTo>
                      <a:pt x="2692" y="3454"/>
                    </a:lnTo>
                    <a:lnTo>
                      <a:pt x="2692" y="3448"/>
                    </a:lnTo>
                    <a:lnTo>
                      <a:pt x="2694" y="3442"/>
                    </a:lnTo>
                    <a:lnTo>
                      <a:pt x="2696" y="3438"/>
                    </a:lnTo>
                    <a:lnTo>
                      <a:pt x="2696" y="3434"/>
                    </a:lnTo>
                    <a:lnTo>
                      <a:pt x="2696" y="3434"/>
                    </a:lnTo>
                    <a:lnTo>
                      <a:pt x="2696" y="3430"/>
                    </a:lnTo>
                    <a:lnTo>
                      <a:pt x="2698" y="3422"/>
                    </a:lnTo>
                    <a:lnTo>
                      <a:pt x="2700" y="3418"/>
                    </a:lnTo>
                    <a:lnTo>
                      <a:pt x="2698" y="3416"/>
                    </a:lnTo>
                    <a:lnTo>
                      <a:pt x="2696" y="3414"/>
                    </a:lnTo>
                    <a:lnTo>
                      <a:pt x="2696" y="3414"/>
                    </a:lnTo>
                    <a:lnTo>
                      <a:pt x="2694" y="3416"/>
                    </a:lnTo>
                    <a:lnTo>
                      <a:pt x="2692" y="3416"/>
                    </a:lnTo>
                    <a:lnTo>
                      <a:pt x="2692" y="3420"/>
                    </a:lnTo>
                    <a:lnTo>
                      <a:pt x="2694" y="3424"/>
                    </a:lnTo>
                    <a:lnTo>
                      <a:pt x="2692" y="3424"/>
                    </a:lnTo>
                    <a:lnTo>
                      <a:pt x="2692" y="3424"/>
                    </a:lnTo>
                    <a:lnTo>
                      <a:pt x="2692" y="3424"/>
                    </a:lnTo>
                    <a:lnTo>
                      <a:pt x="2688" y="3422"/>
                    </a:lnTo>
                    <a:lnTo>
                      <a:pt x="2686" y="3422"/>
                    </a:lnTo>
                    <a:lnTo>
                      <a:pt x="2684" y="3432"/>
                    </a:lnTo>
                    <a:lnTo>
                      <a:pt x="2684" y="3432"/>
                    </a:lnTo>
                    <a:lnTo>
                      <a:pt x="2680" y="3444"/>
                    </a:lnTo>
                    <a:lnTo>
                      <a:pt x="2678" y="3444"/>
                    </a:lnTo>
                    <a:lnTo>
                      <a:pt x="2678" y="3444"/>
                    </a:lnTo>
                    <a:lnTo>
                      <a:pt x="2676" y="3444"/>
                    </a:lnTo>
                    <a:lnTo>
                      <a:pt x="2674" y="3444"/>
                    </a:lnTo>
                    <a:lnTo>
                      <a:pt x="2670" y="3452"/>
                    </a:lnTo>
                    <a:lnTo>
                      <a:pt x="2670" y="3452"/>
                    </a:lnTo>
                    <a:lnTo>
                      <a:pt x="2666" y="3458"/>
                    </a:lnTo>
                    <a:lnTo>
                      <a:pt x="2660" y="3462"/>
                    </a:lnTo>
                    <a:lnTo>
                      <a:pt x="2654" y="3468"/>
                    </a:lnTo>
                    <a:lnTo>
                      <a:pt x="2646" y="3476"/>
                    </a:lnTo>
                    <a:lnTo>
                      <a:pt x="2646" y="3476"/>
                    </a:lnTo>
                    <a:lnTo>
                      <a:pt x="2638" y="3488"/>
                    </a:lnTo>
                    <a:lnTo>
                      <a:pt x="2628" y="3496"/>
                    </a:lnTo>
                    <a:lnTo>
                      <a:pt x="2614" y="3508"/>
                    </a:lnTo>
                    <a:lnTo>
                      <a:pt x="2614" y="3508"/>
                    </a:lnTo>
                    <a:lnTo>
                      <a:pt x="2616" y="3510"/>
                    </a:lnTo>
                    <a:lnTo>
                      <a:pt x="2618" y="3512"/>
                    </a:lnTo>
                    <a:lnTo>
                      <a:pt x="2618" y="3516"/>
                    </a:lnTo>
                    <a:lnTo>
                      <a:pt x="2614" y="3524"/>
                    </a:lnTo>
                    <a:lnTo>
                      <a:pt x="2614" y="3524"/>
                    </a:lnTo>
                    <a:lnTo>
                      <a:pt x="2606" y="3530"/>
                    </a:lnTo>
                    <a:lnTo>
                      <a:pt x="2598" y="3532"/>
                    </a:lnTo>
                    <a:lnTo>
                      <a:pt x="2588" y="3534"/>
                    </a:lnTo>
                    <a:lnTo>
                      <a:pt x="2578" y="3532"/>
                    </a:lnTo>
                    <a:lnTo>
                      <a:pt x="2558" y="3528"/>
                    </a:lnTo>
                    <a:lnTo>
                      <a:pt x="2546" y="3528"/>
                    </a:lnTo>
                    <a:lnTo>
                      <a:pt x="2538" y="3532"/>
                    </a:lnTo>
                    <a:lnTo>
                      <a:pt x="2538" y="3532"/>
                    </a:lnTo>
                    <a:lnTo>
                      <a:pt x="2522" y="3538"/>
                    </a:lnTo>
                    <a:lnTo>
                      <a:pt x="2514" y="3538"/>
                    </a:lnTo>
                    <a:lnTo>
                      <a:pt x="2512" y="3538"/>
                    </a:lnTo>
                    <a:lnTo>
                      <a:pt x="2510" y="3536"/>
                    </a:lnTo>
                    <a:lnTo>
                      <a:pt x="2510" y="3528"/>
                    </a:lnTo>
                    <a:lnTo>
                      <a:pt x="2510" y="3528"/>
                    </a:lnTo>
                    <a:lnTo>
                      <a:pt x="2510" y="3522"/>
                    </a:lnTo>
                    <a:lnTo>
                      <a:pt x="2506" y="3522"/>
                    </a:lnTo>
                    <a:lnTo>
                      <a:pt x="2502" y="3522"/>
                    </a:lnTo>
                    <a:lnTo>
                      <a:pt x="2496" y="3522"/>
                    </a:lnTo>
                    <a:lnTo>
                      <a:pt x="2496" y="3522"/>
                    </a:lnTo>
                    <a:lnTo>
                      <a:pt x="2492" y="3520"/>
                    </a:lnTo>
                    <a:lnTo>
                      <a:pt x="2490" y="3518"/>
                    </a:lnTo>
                    <a:lnTo>
                      <a:pt x="2492" y="3514"/>
                    </a:lnTo>
                    <a:lnTo>
                      <a:pt x="2496" y="3510"/>
                    </a:lnTo>
                    <a:lnTo>
                      <a:pt x="2496" y="3506"/>
                    </a:lnTo>
                    <a:lnTo>
                      <a:pt x="2496" y="3506"/>
                    </a:lnTo>
                    <a:lnTo>
                      <a:pt x="2496" y="3506"/>
                    </a:lnTo>
                    <a:lnTo>
                      <a:pt x="2492" y="3508"/>
                    </a:lnTo>
                    <a:lnTo>
                      <a:pt x="2490" y="3508"/>
                    </a:lnTo>
                    <a:lnTo>
                      <a:pt x="2488" y="3508"/>
                    </a:lnTo>
                    <a:lnTo>
                      <a:pt x="2488" y="3508"/>
                    </a:lnTo>
                    <a:lnTo>
                      <a:pt x="2486" y="3506"/>
                    </a:lnTo>
                    <a:lnTo>
                      <a:pt x="2488" y="3504"/>
                    </a:lnTo>
                    <a:lnTo>
                      <a:pt x="2490" y="3504"/>
                    </a:lnTo>
                    <a:lnTo>
                      <a:pt x="2490" y="3504"/>
                    </a:lnTo>
                    <a:lnTo>
                      <a:pt x="2494" y="3504"/>
                    </a:lnTo>
                    <a:lnTo>
                      <a:pt x="2496" y="3502"/>
                    </a:lnTo>
                    <a:lnTo>
                      <a:pt x="2498" y="3496"/>
                    </a:lnTo>
                    <a:lnTo>
                      <a:pt x="2502" y="3480"/>
                    </a:lnTo>
                    <a:lnTo>
                      <a:pt x="2502" y="3480"/>
                    </a:lnTo>
                    <a:lnTo>
                      <a:pt x="2502" y="3474"/>
                    </a:lnTo>
                    <a:lnTo>
                      <a:pt x="2500" y="3468"/>
                    </a:lnTo>
                    <a:lnTo>
                      <a:pt x="2496" y="3462"/>
                    </a:lnTo>
                    <a:lnTo>
                      <a:pt x="2496" y="3458"/>
                    </a:lnTo>
                    <a:lnTo>
                      <a:pt x="2498" y="3454"/>
                    </a:lnTo>
                    <a:lnTo>
                      <a:pt x="2498" y="3454"/>
                    </a:lnTo>
                    <a:lnTo>
                      <a:pt x="2500" y="3448"/>
                    </a:lnTo>
                    <a:lnTo>
                      <a:pt x="2498" y="3440"/>
                    </a:lnTo>
                    <a:lnTo>
                      <a:pt x="2494" y="3434"/>
                    </a:lnTo>
                    <a:lnTo>
                      <a:pt x="2490" y="3428"/>
                    </a:lnTo>
                    <a:lnTo>
                      <a:pt x="2490" y="3428"/>
                    </a:lnTo>
                    <a:lnTo>
                      <a:pt x="2486" y="3426"/>
                    </a:lnTo>
                    <a:lnTo>
                      <a:pt x="2484" y="3426"/>
                    </a:lnTo>
                    <a:lnTo>
                      <a:pt x="2480" y="3430"/>
                    </a:lnTo>
                    <a:lnTo>
                      <a:pt x="2476" y="3444"/>
                    </a:lnTo>
                    <a:lnTo>
                      <a:pt x="2476" y="3444"/>
                    </a:lnTo>
                    <a:lnTo>
                      <a:pt x="2470" y="3456"/>
                    </a:lnTo>
                    <a:lnTo>
                      <a:pt x="2470" y="3466"/>
                    </a:lnTo>
                    <a:lnTo>
                      <a:pt x="2468" y="3498"/>
                    </a:lnTo>
                    <a:lnTo>
                      <a:pt x="2468" y="3498"/>
                    </a:lnTo>
                    <a:lnTo>
                      <a:pt x="2464" y="3486"/>
                    </a:lnTo>
                    <a:lnTo>
                      <a:pt x="2460" y="3478"/>
                    </a:lnTo>
                    <a:lnTo>
                      <a:pt x="2458" y="3468"/>
                    </a:lnTo>
                    <a:lnTo>
                      <a:pt x="2452" y="3462"/>
                    </a:lnTo>
                    <a:lnTo>
                      <a:pt x="2452" y="3462"/>
                    </a:lnTo>
                    <a:lnTo>
                      <a:pt x="2448" y="3456"/>
                    </a:lnTo>
                    <a:lnTo>
                      <a:pt x="2448" y="3454"/>
                    </a:lnTo>
                    <a:lnTo>
                      <a:pt x="2448" y="3450"/>
                    </a:lnTo>
                    <a:lnTo>
                      <a:pt x="2444" y="3444"/>
                    </a:lnTo>
                    <a:lnTo>
                      <a:pt x="2444" y="3444"/>
                    </a:lnTo>
                    <a:lnTo>
                      <a:pt x="2442" y="3438"/>
                    </a:lnTo>
                    <a:lnTo>
                      <a:pt x="2442" y="3434"/>
                    </a:lnTo>
                    <a:lnTo>
                      <a:pt x="2442" y="3428"/>
                    </a:lnTo>
                    <a:lnTo>
                      <a:pt x="2444" y="3420"/>
                    </a:lnTo>
                    <a:lnTo>
                      <a:pt x="2442" y="3414"/>
                    </a:lnTo>
                    <a:lnTo>
                      <a:pt x="2440" y="3408"/>
                    </a:lnTo>
                    <a:lnTo>
                      <a:pt x="2440" y="3408"/>
                    </a:lnTo>
                    <a:lnTo>
                      <a:pt x="2438" y="3402"/>
                    </a:lnTo>
                    <a:lnTo>
                      <a:pt x="2438" y="3400"/>
                    </a:lnTo>
                    <a:lnTo>
                      <a:pt x="2442" y="3400"/>
                    </a:lnTo>
                    <a:lnTo>
                      <a:pt x="2442" y="3400"/>
                    </a:lnTo>
                    <a:lnTo>
                      <a:pt x="2444" y="3404"/>
                    </a:lnTo>
                    <a:lnTo>
                      <a:pt x="2444" y="3404"/>
                    </a:lnTo>
                    <a:lnTo>
                      <a:pt x="2444" y="3404"/>
                    </a:lnTo>
                    <a:lnTo>
                      <a:pt x="2448" y="3404"/>
                    </a:lnTo>
                    <a:lnTo>
                      <a:pt x="2448" y="3406"/>
                    </a:lnTo>
                    <a:lnTo>
                      <a:pt x="2446" y="3408"/>
                    </a:lnTo>
                    <a:lnTo>
                      <a:pt x="2446" y="3408"/>
                    </a:lnTo>
                    <a:lnTo>
                      <a:pt x="2444" y="3410"/>
                    </a:lnTo>
                    <a:lnTo>
                      <a:pt x="2448" y="3410"/>
                    </a:lnTo>
                    <a:lnTo>
                      <a:pt x="2448" y="3410"/>
                    </a:lnTo>
                    <a:lnTo>
                      <a:pt x="2450" y="3412"/>
                    </a:lnTo>
                    <a:lnTo>
                      <a:pt x="2448" y="3414"/>
                    </a:lnTo>
                    <a:lnTo>
                      <a:pt x="2448" y="3414"/>
                    </a:lnTo>
                    <a:lnTo>
                      <a:pt x="2450" y="3416"/>
                    </a:lnTo>
                    <a:lnTo>
                      <a:pt x="2450" y="3416"/>
                    </a:lnTo>
                    <a:lnTo>
                      <a:pt x="2454" y="3420"/>
                    </a:lnTo>
                    <a:lnTo>
                      <a:pt x="2456" y="3422"/>
                    </a:lnTo>
                    <a:lnTo>
                      <a:pt x="2458" y="3422"/>
                    </a:lnTo>
                    <a:lnTo>
                      <a:pt x="2458" y="3422"/>
                    </a:lnTo>
                    <a:lnTo>
                      <a:pt x="2458" y="3422"/>
                    </a:lnTo>
                    <a:lnTo>
                      <a:pt x="2460" y="3422"/>
                    </a:lnTo>
                    <a:lnTo>
                      <a:pt x="2460" y="3420"/>
                    </a:lnTo>
                    <a:lnTo>
                      <a:pt x="2460" y="3418"/>
                    </a:lnTo>
                    <a:lnTo>
                      <a:pt x="2462" y="3416"/>
                    </a:lnTo>
                    <a:lnTo>
                      <a:pt x="2462" y="3416"/>
                    </a:lnTo>
                    <a:lnTo>
                      <a:pt x="2464" y="3412"/>
                    </a:lnTo>
                    <a:lnTo>
                      <a:pt x="2466" y="3406"/>
                    </a:lnTo>
                    <a:lnTo>
                      <a:pt x="2466" y="3406"/>
                    </a:lnTo>
                    <a:lnTo>
                      <a:pt x="2466" y="3402"/>
                    </a:lnTo>
                    <a:lnTo>
                      <a:pt x="2468" y="3400"/>
                    </a:lnTo>
                    <a:lnTo>
                      <a:pt x="2468" y="3400"/>
                    </a:lnTo>
                    <a:lnTo>
                      <a:pt x="2468" y="3402"/>
                    </a:lnTo>
                    <a:lnTo>
                      <a:pt x="2468" y="3402"/>
                    </a:lnTo>
                    <a:lnTo>
                      <a:pt x="2474" y="3404"/>
                    </a:lnTo>
                    <a:lnTo>
                      <a:pt x="2476" y="3404"/>
                    </a:lnTo>
                    <a:lnTo>
                      <a:pt x="2476" y="3404"/>
                    </a:lnTo>
                    <a:lnTo>
                      <a:pt x="2476" y="3402"/>
                    </a:lnTo>
                    <a:lnTo>
                      <a:pt x="2478" y="3402"/>
                    </a:lnTo>
                    <a:lnTo>
                      <a:pt x="2478" y="3402"/>
                    </a:lnTo>
                    <a:lnTo>
                      <a:pt x="2480" y="3400"/>
                    </a:lnTo>
                    <a:lnTo>
                      <a:pt x="2480" y="3398"/>
                    </a:lnTo>
                    <a:lnTo>
                      <a:pt x="2480" y="3398"/>
                    </a:lnTo>
                    <a:lnTo>
                      <a:pt x="2482" y="3396"/>
                    </a:lnTo>
                    <a:lnTo>
                      <a:pt x="2482" y="3394"/>
                    </a:lnTo>
                    <a:lnTo>
                      <a:pt x="2482" y="3392"/>
                    </a:lnTo>
                    <a:lnTo>
                      <a:pt x="2482" y="3392"/>
                    </a:lnTo>
                    <a:lnTo>
                      <a:pt x="2482" y="3388"/>
                    </a:lnTo>
                    <a:lnTo>
                      <a:pt x="2480" y="3386"/>
                    </a:lnTo>
                    <a:lnTo>
                      <a:pt x="2480" y="3386"/>
                    </a:lnTo>
                    <a:lnTo>
                      <a:pt x="2482" y="3384"/>
                    </a:lnTo>
                    <a:lnTo>
                      <a:pt x="2480" y="3384"/>
                    </a:lnTo>
                    <a:lnTo>
                      <a:pt x="2480" y="3384"/>
                    </a:lnTo>
                    <a:lnTo>
                      <a:pt x="2478" y="3384"/>
                    </a:lnTo>
                    <a:lnTo>
                      <a:pt x="2478" y="3386"/>
                    </a:lnTo>
                    <a:lnTo>
                      <a:pt x="2478" y="3386"/>
                    </a:lnTo>
                    <a:lnTo>
                      <a:pt x="2476" y="3388"/>
                    </a:lnTo>
                    <a:lnTo>
                      <a:pt x="2476" y="3388"/>
                    </a:lnTo>
                    <a:lnTo>
                      <a:pt x="2472" y="3388"/>
                    </a:lnTo>
                    <a:lnTo>
                      <a:pt x="2470" y="3388"/>
                    </a:lnTo>
                    <a:lnTo>
                      <a:pt x="2470" y="3388"/>
                    </a:lnTo>
                    <a:lnTo>
                      <a:pt x="2468" y="3382"/>
                    </a:lnTo>
                    <a:lnTo>
                      <a:pt x="2466" y="3378"/>
                    </a:lnTo>
                    <a:lnTo>
                      <a:pt x="2466" y="3378"/>
                    </a:lnTo>
                    <a:lnTo>
                      <a:pt x="2468" y="3374"/>
                    </a:lnTo>
                    <a:lnTo>
                      <a:pt x="2468" y="3372"/>
                    </a:lnTo>
                    <a:lnTo>
                      <a:pt x="2466" y="3370"/>
                    </a:lnTo>
                    <a:lnTo>
                      <a:pt x="2466" y="3370"/>
                    </a:lnTo>
                    <a:lnTo>
                      <a:pt x="2464" y="3370"/>
                    </a:lnTo>
                    <a:lnTo>
                      <a:pt x="2464" y="3370"/>
                    </a:lnTo>
                    <a:lnTo>
                      <a:pt x="2464" y="3374"/>
                    </a:lnTo>
                    <a:lnTo>
                      <a:pt x="2462" y="3378"/>
                    </a:lnTo>
                    <a:lnTo>
                      <a:pt x="2462" y="3380"/>
                    </a:lnTo>
                    <a:lnTo>
                      <a:pt x="2460" y="3380"/>
                    </a:lnTo>
                    <a:lnTo>
                      <a:pt x="2460" y="3380"/>
                    </a:lnTo>
                    <a:lnTo>
                      <a:pt x="2456" y="3380"/>
                    </a:lnTo>
                    <a:lnTo>
                      <a:pt x="2452" y="3382"/>
                    </a:lnTo>
                    <a:lnTo>
                      <a:pt x="2450" y="3384"/>
                    </a:lnTo>
                    <a:lnTo>
                      <a:pt x="2446" y="3384"/>
                    </a:lnTo>
                    <a:lnTo>
                      <a:pt x="2446" y="3384"/>
                    </a:lnTo>
                    <a:lnTo>
                      <a:pt x="2444" y="3384"/>
                    </a:lnTo>
                    <a:lnTo>
                      <a:pt x="2444" y="3388"/>
                    </a:lnTo>
                    <a:lnTo>
                      <a:pt x="2442" y="3394"/>
                    </a:lnTo>
                    <a:lnTo>
                      <a:pt x="2442" y="3394"/>
                    </a:lnTo>
                    <a:lnTo>
                      <a:pt x="2434" y="3388"/>
                    </a:lnTo>
                    <a:lnTo>
                      <a:pt x="2422" y="3378"/>
                    </a:lnTo>
                    <a:lnTo>
                      <a:pt x="2414" y="3368"/>
                    </a:lnTo>
                    <a:lnTo>
                      <a:pt x="2410" y="3364"/>
                    </a:lnTo>
                    <a:lnTo>
                      <a:pt x="2410" y="3358"/>
                    </a:lnTo>
                    <a:lnTo>
                      <a:pt x="2410" y="3358"/>
                    </a:lnTo>
                    <a:lnTo>
                      <a:pt x="2410" y="3354"/>
                    </a:lnTo>
                    <a:lnTo>
                      <a:pt x="2408" y="3352"/>
                    </a:lnTo>
                    <a:lnTo>
                      <a:pt x="2402" y="3350"/>
                    </a:lnTo>
                    <a:lnTo>
                      <a:pt x="2394" y="3350"/>
                    </a:lnTo>
                    <a:lnTo>
                      <a:pt x="2392" y="3348"/>
                    </a:lnTo>
                    <a:lnTo>
                      <a:pt x="2392" y="3344"/>
                    </a:lnTo>
                    <a:lnTo>
                      <a:pt x="2392" y="3344"/>
                    </a:lnTo>
                    <a:lnTo>
                      <a:pt x="2390" y="3338"/>
                    </a:lnTo>
                    <a:lnTo>
                      <a:pt x="2386" y="3330"/>
                    </a:lnTo>
                    <a:lnTo>
                      <a:pt x="2382" y="3320"/>
                    </a:lnTo>
                    <a:lnTo>
                      <a:pt x="2376" y="3302"/>
                    </a:lnTo>
                    <a:lnTo>
                      <a:pt x="2376" y="3302"/>
                    </a:lnTo>
                    <a:lnTo>
                      <a:pt x="2370" y="3290"/>
                    </a:lnTo>
                    <a:lnTo>
                      <a:pt x="2366" y="3284"/>
                    </a:lnTo>
                    <a:lnTo>
                      <a:pt x="2364" y="3280"/>
                    </a:lnTo>
                    <a:lnTo>
                      <a:pt x="2362" y="3270"/>
                    </a:lnTo>
                    <a:lnTo>
                      <a:pt x="2362" y="3270"/>
                    </a:lnTo>
                    <a:lnTo>
                      <a:pt x="2360" y="3266"/>
                    </a:lnTo>
                    <a:lnTo>
                      <a:pt x="2358" y="3264"/>
                    </a:lnTo>
                    <a:lnTo>
                      <a:pt x="2352" y="3262"/>
                    </a:lnTo>
                    <a:lnTo>
                      <a:pt x="2346" y="3260"/>
                    </a:lnTo>
                    <a:lnTo>
                      <a:pt x="2346" y="3258"/>
                    </a:lnTo>
                    <a:lnTo>
                      <a:pt x="2346" y="3254"/>
                    </a:lnTo>
                    <a:lnTo>
                      <a:pt x="2346" y="3254"/>
                    </a:lnTo>
                    <a:lnTo>
                      <a:pt x="2350" y="3250"/>
                    </a:lnTo>
                    <a:lnTo>
                      <a:pt x="2354" y="3248"/>
                    </a:lnTo>
                    <a:lnTo>
                      <a:pt x="2360" y="3250"/>
                    </a:lnTo>
                    <a:lnTo>
                      <a:pt x="2362" y="3248"/>
                    </a:lnTo>
                    <a:lnTo>
                      <a:pt x="2362" y="3246"/>
                    </a:lnTo>
                    <a:lnTo>
                      <a:pt x="2354" y="3228"/>
                    </a:lnTo>
                    <a:lnTo>
                      <a:pt x="2354" y="3228"/>
                    </a:lnTo>
                    <a:lnTo>
                      <a:pt x="2354" y="3224"/>
                    </a:lnTo>
                    <a:lnTo>
                      <a:pt x="2356" y="3224"/>
                    </a:lnTo>
                    <a:lnTo>
                      <a:pt x="2364" y="3226"/>
                    </a:lnTo>
                    <a:lnTo>
                      <a:pt x="2372" y="3230"/>
                    </a:lnTo>
                    <a:lnTo>
                      <a:pt x="2376" y="3232"/>
                    </a:lnTo>
                    <a:lnTo>
                      <a:pt x="2378" y="3230"/>
                    </a:lnTo>
                    <a:lnTo>
                      <a:pt x="2378" y="3230"/>
                    </a:lnTo>
                    <a:lnTo>
                      <a:pt x="2384" y="3226"/>
                    </a:lnTo>
                    <a:lnTo>
                      <a:pt x="2390" y="3226"/>
                    </a:lnTo>
                    <a:lnTo>
                      <a:pt x="2392" y="3224"/>
                    </a:lnTo>
                    <a:lnTo>
                      <a:pt x="2394" y="3216"/>
                    </a:lnTo>
                    <a:lnTo>
                      <a:pt x="2394" y="3216"/>
                    </a:lnTo>
                    <a:lnTo>
                      <a:pt x="2396" y="3212"/>
                    </a:lnTo>
                    <a:lnTo>
                      <a:pt x="2398" y="3212"/>
                    </a:lnTo>
                    <a:lnTo>
                      <a:pt x="2406" y="3218"/>
                    </a:lnTo>
                    <a:lnTo>
                      <a:pt x="2412" y="3222"/>
                    </a:lnTo>
                    <a:lnTo>
                      <a:pt x="2416" y="3224"/>
                    </a:lnTo>
                    <a:lnTo>
                      <a:pt x="2424" y="3224"/>
                    </a:lnTo>
                    <a:lnTo>
                      <a:pt x="2430" y="3222"/>
                    </a:lnTo>
                    <a:lnTo>
                      <a:pt x="2430" y="3222"/>
                    </a:lnTo>
                    <a:lnTo>
                      <a:pt x="2436" y="3218"/>
                    </a:lnTo>
                    <a:lnTo>
                      <a:pt x="2438" y="3218"/>
                    </a:lnTo>
                    <a:lnTo>
                      <a:pt x="2440" y="3220"/>
                    </a:lnTo>
                    <a:lnTo>
                      <a:pt x="2442" y="3222"/>
                    </a:lnTo>
                    <a:lnTo>
                      <a:pt x="2444" y="3232"/>
                    </a:lnTo>
                    <a:lnTo>
                      <a:pt x="2448" y="3238"/>
                    </a:lnTo>
                    <a:lnTo>
                      <a:pt x="2452" y="3244"/>
                    </a:lnTo>
                    <a:lnTo>
                      <a:pt x="2452" y="3220"/>
                    </a:lnTo>
                    <a:lnTo>
                      <a:pt x="2414" y="3146"/>
                    </a:lnTo>
                    <a:lnTo>
                      <a:pt x="2378" y="3050"/>
                    </a:lnTo>
                    <a:lnTo>
                      <a:pt x="2372" y="3006"/>
                    </a:lnTo>
                    <a:lnTo>
                      <a:pt x="2378" y="2910"/>
                    </a:lnTo>
                    <a:lnTo>
                      <a:pt x="2378" y="2868"/>
                    </a:lnTo>
                    <a:lnTo>
                      <a:pt x="2392" y="2778"/>
                    </a:lnTo>
                    <a:lnTo>
                      <a:pt x="2392" y="2778"/>
                    </a:lnTo>
                    <a:lnTo>
                      <a:pt x="2386" y="2780"/>
                    </a:lnTo>
                    <a:lnTo>
                      <a:pt x="2382" y="2780"/>
                    </a:lnTo>
                    <a:lnTo>
                      <a:pt x="2380" y="2778"/>
                    </a:lnTo>
                    <a:lnTo>
                      <a:pt x="2380" y="2776"/>
                    </a:lnTo>
                    <a:lnTo>
                      <a:pt x="2378" y="2770"/>
                    </a:lnTo>
                    <a:lnTo>
                      <a:pt x="2376" y="2768"/>
                    </a:lnTo>
                    <a:lnTo>
                      <a:pt x="2374" y="2768"/>
                    </a:lnTo>
                    <a:lnTo>
                      <a:pt x="2374" y="2768"/>
                    </a:lnTo>
                    <a:lnTo>
                      <a:pt x="2376" y="2768"/>
                    </a:lnTo>
                    <a:lnTo>
                      <a:pt x="2378" y="2770"/>
                    </a:lnTo>
                    <a:lnTo>
                      <a:pt x="2380" y="2776"/>
                    </a:lnTo>
                    <a:lnTo>
                      <a:pt x="2380" y="2778"/>
                    </a:lnTo>
                    <a:lnTo>
                      <a:pt x="2382" y="2780"/>
                    </a:lnTo>
                    <a:lnTo>
                      <a:pt x="2386" y="2780"/>
                    </a:lnTo>
                    <a:lnTo>
                      <a:pt x="2392" y="2778"/>
                    </a:lnTo>
                    <a:lnTo>
                      <a:pt x="2392" y="2778"/>
                    </a:lnTo>
                    <a:lnTo>
                      <a:pt x="2390" y="2764"/>
                    </a:lnTo>
                    <a:lnTo>
                      <a:pt x="2394" y="2746"/>
                    </a:lnTo>
                    <a:lnTo>
                      <a:pt x="2390" y="2726"/>
                    </a:lnTo>
                    <a:lnTo>
                      <a:pt x="2386" y="2674"/>
                    </a:lnTo>
                    <a:lnTo>
                      <a:pt x="2384" y="2658"/>
                    </a:lnTo>
                    <a:lnTo>
                      <a:pt x="2386" y="2626"/>
                    </a:lnTo>
                    <a:lnTo>
                      <a:pt x="2360" y="2586"/>
                    </a:lnTo>
                    <a:lnTo>
                      <a:pt x="2336" y="2534"/>
                    </a:lnTo>
                    <a:lnTo>
                      <a:pt x="2284" y="2470"/>
                    </a:lnTo>
                    <a:lnTo>
                      <a:pt x="2274" y="2434"/>
                    </a:lnTo>
                    <a:lnTo>
                      <a:pt x="2302" y="2390"/>
                    </a:lnTo>
                    <a:lnTo>
                      <a:pt x="2334" y="2368"/>
                    </a:lnTo>
                    <a:lnTo>
                      <a:pt x="2352" y="2336"/>
                    </a:lnTo>
                    <a:lnTo>
                      <a:pt x="2346" y="2304"/>
                    </a:lnTo>
                    <a:lnTo>
                      <a:pt x="2318" y="2270"/>
                    </a:lnTo>
                    <a:lnTo>
                      <a:pt x="2280" y="2246"/>
                    </a:lnTo>
                    <a:lnTo>
                      <a:pt x="2264" y="2186"/>
                    </a:lnTo>
                    <a:lnTo>
                      <a:pt x="2274" y="2140"/>
                    </a:lnTo>
                    <a:lnTo>
                      <a:pt x="2274" y="2140"/>
                    </a:lnTo>
                    <a:lnTo>
                      <a:pt x="2288" y="2090"/>
                    </a:lnTo>
                    <a:lnTo>
                      <a:pt x="2288" y="2090"/>
                    </a:lnTo>
                    <a:lnTo>
                      <a:pt x="2290" y="2086"/>
                    </a:lnTo>
                    <a:lnTo>
                      <a:pt x="2296" y="2086"/>
                    </a:lnTo>
                    <a:lnTo>
                      <a:pt x="2308" y="2088"/>
                    </a:lnTo>
                    <a:lnTo>
                      <a:pt x="2328" y="2096"/>
                    </a:lnTo>
                    <a:lnTo>
                      <a:pt x="2370" y="2082"/>
                    </a:lnTo>
                    <a:lnTo>
                      <a:pt x="2376" y="2058"/>
                    </a:lnTo>
                    <a:lnTo>
                      <a:pt x="2440" y="2024"/>
                    </a:lnTo>
                    <a:lnTo>
                      <a:pt x="2384" y="1780"/>
                    </a:lnTo>
                    <a:lnTo>
                      <a:pt x="2264" y="1588"/>
                    </a:lnTo>
                    <a:lnTo>
                      <a:pt x="2204" y="1444"/>
                    </a:lnTo>
                    <a:lnTo>
                      <a:pt x="2204" y="1264"/>
                    </a:lnTo>
                    <a:lnTo>
                      <a:pt x="2204" y="1264"/>
                    </a:lnTo>
                    <a:lnTo>
                      <a:pt x="2212" y="1228"/>
                    </a:lnTo>
                    <a:lnTo>
                      <a:pt x="2224" y="1194"/>
                    </a:lnTo>
                    <a:lnTo>
                      <a:pt x="2232" y="1174"/>
                    </a:lnTo>
                    <a:lnTo>
                      <a:pt x="2240" y="1156"/>
                    </a:lnTo>
                    <a:lnTo>
                      <a:pt x="2240" y="1156"/>
                    </a:lnTo>
                    <a:lnTo>
                      <a:pt x="2248" y="1138"/>
                    </a:lnTo>
                    <a:lnTo>
                      <a:pt x="2258" y="1112"/>
                    </a:lnTo>
                    <a:lnTo>
                      <a:pt x="2282" y="1046"/>
                    </a:lnTo>
                    <a:lnTo>
                      <a:pt x="2282" y="1046"/>
                    </a:lnTo>
                    <a:lnTo>
                      <a:pt x="2276" y="1048"/>
                    </a:lnTo>
                    <a:lnTo>
                      <a:pt x="2274" y="1046"/>
                    </a:lnTo>
                    <a:lnTo>
                      <a:pt x="2270" y="1038"/>
                    </a:lnTo>
                    <a:lnTo>
                      <a:pt x="2266" y="1032"/>
                    </a:lnTo>
                    <a:lnTo>
                      <a:pt x="2262" y="1026"/>
                    </a:lnTo>
                    <a:lnTo>
                      <a:pt x="2256" y="1018"/>
                    </a:lnTo>
                    <a:lnTo>
                      <a:pt x="2246" y="1014"/>
                    </a:lnTo>
                    <a:lnTo>
                      <a:pt x="2246" y="1014"/>
                    </a:lnTo>
                    <a:lnTo>
                      <a:pt x="2236" y="1006"/>
                    </a:lnTo>
                    <a:lnTo>
                      <a:pt x="2234" y="1004"/>
                    </a:lnTo>
                    <a:lnTo>
                      <a:pt x="2232" y="1000"/>
                    </a:lnTo>
                    <a:lnTo>
                      <a:pt x="2234" y="998"/>
                    </a:lnTo>
                    <a:lnTo>
                      <a:pt x="2234" y="994"/>
                    </a:lnTo>
                    <a:lnTo>
                      <a:pt x="2242" y="988"/>
                    </a:lnTo>
                    <a:lnTo>
                      <a:pt x="2250" y="982"/>
                    </a:lnTo>
                    <a:lnTo>
                      <a:pt x="2262" y="978"/>
                    </a:lnTo>
                    <a:lnTo>
                      <a:pt x="2274" y="974"/>
                    </a:lnTo>
                    <a:lnTo>
                      <a:pt x="2286" y="974"/>
                    </a:lnTo>
                    <a:lnTo>
                      <a:pt x="2286" y="974"/>
                    </a:lnTo>
                    <a:lnTo>
                      <a:pt x="2292" y="974"/>
                    </a:lnTo>
                    <a:lnTo>
                      <a:pt x="2296" y="972"/>
                    </a:lnTo>
                    <a:lnTo>
                      <a:pt x="2298" y="968"/>
                    </a:lnTo>
                    <a:lnTo>
                      <a:pt x="2300" y="966"/>
                    </a:lnTo>
                    <a:lnTo>
                      <a:pt x="2298" y="956"/>
                    </a:lnTo>
                    <a:lnTo>
                      <a:pt x="2294" y="946"/>
                    </a:lnTo>
                    <a:lnTo>
                      <a:pt x="2284" y="936"/>
                    </a:lnTo>
                    <a:lnTo>
                      <a:pt x="2272" y="928"/>
                    </a:lnTo>
                    <a:lnTo>
                      <a:pt x="2258" y="922"/>
                    </a:lnTo>
                    <a:lnTo>
                      <a:pt x="2250" y="922"/>
                    </a:lnTo>
                    <a:lnTo>
                      <a:pt x="2242" y="920"/>
                    </a:lnTo>
                    <a:lnTo>
                      <a:pt x="2242" y="920"/>
                    </a:lnTo>
                    <a:lnTo>
                      <a:pt x="2224" y="920"/>
                    </a:lnTo>
                    <a:lnTo>
                      <a:pt x="2208" y="918"/>
                    </a:lnTo>
                    <a:lnTo>
                      <a:pt x="2182" y="912"/>
                    </a:lnTo>
                    <a:lnTo>
                      <a:pt x="2174" y="912"/>
                    </a:lnTo>
                    <a:lnTo>
                      <a:pt x="2172" y="912"/>
                    </a:lnTo>
                    <a:lnTo>
                      <a:pt x="2172" y="914"/>
                    </a:lnTo>
                    <a:lnTo>
                      <a:pt x="2174" y="918"/>
                    </a:lnTo>
                    <a:lnTo>
                      <a:pt x="2186" y="928"/>
                    </a:lnTo>
                    <a:lnTo>
                      <a:pt x="2186" y="928"/>
                    </a:lnTo>
                    <a:lnTo>
                      <a:pt x="2192" y="934"/>
                    </a:lnTo>
                    <a:lnTo>
                      <a:pt x="2196" y="942"/>
                    </a:lnTo>
                    <a:lnTo>
                      <a:pt x="2198" y="948"/>
                    </a:lnTo>
                    <a:lnTo>
                      <a:pt x="2200" y="954"/>
                    </a:lnTo>
                    <a:lnTo>
                      <a:pt x="2196" y="966"/>
                    </a:lnTo>
                    <a:lnTo>
                      <a:pt x="2192" y="978"/>
                    </a:lnTo>
                    <a:lnTo>
                      <a:pt x="2188" y="990"/>
                    </a:lnTo>
                    <a:lnTo>
                      <a:pt x="2186" y="1000"/>
                    </a:lnTo>
                    <a:lnTo>
                      <a:pt x="2186" y="1006"/>
                    </a:lnTo>
                    <a:lnTo>
                      <a:pt x="2188" y="1012"/>
                    </a:lnTo>
                    <a:lnTo>
                      <a:pt x="2194" y="1016"/>
                    </a:lnTo>
                    <a:lnTo>
                      <a:pt x="2200" y="1022"/>
                    </a:lnTo>
                    <a:lnTo>
                      <a:pt x="2200" y="1022"/>
                    </a:lnTo>
                    <a:lnTo>
                      <a:pt x="2212" y="1032"/>
                    </a:lnTo>
                    <a:lnTo>
                      <a:pt x="2216" y="1036"/>
                    </a:lnTo>
                    <a:lnTo>
                      <a:pt x="2218" y="1040"/>
                    </a:lnTo>
                    <a:lnTo>
                      <a:pt x="2216" y="1046"/>
                    </a:lnTo>
                    <a:lnTo>
                      <a:pt x="2214" y="1054"/>
                    </a:lnTo>
                    <a:lnTo>
                      <a:pt x="2208" y="1062"/>
                    </a:lnTo>
                    <a:lnTo>
                      <a:pt x="2204" y="1072"/>
                    </a:lnTo>
                    <a:lnTo>
                      <a:pt x="2200" y="1084"/>
                    </a:lnTo>
                    <a:lnTo>
                      <a:pt x="2202" y="1098"/>
                    </a:lnTo>
                    <a:lnTo>
                      <a:pt x="2202" y="1098"/>
                    </a:lnTo>
                    <a:lnTo>
                      <a:pt x="2202" y="1106"/>
                    </a:lnTo>
                    <a:lnTo>
                      <a:pt x="2202" y="1106"/>
                    </a:lnTo>
                    <a:lnTo>
                      <a:pt x="2200" y="1104"/>
                    </a:lnTo>
                    <a:lnTo>
                      <a:pt x="2192" y="1096"/>
                    </a:lnTo>
                    <a:lnTo>
                      <a:pt x="2180" y="1084"/>
                    </a:lnTo>
                    <a:lnTo>
                      <a:pt x="2166" y="1072"/>
                    </a:lnTo>
                    <a:lnTo>
                      <a:pt x="2156" y="1068"/>
                    </a:lnTo>
                    <a:lnTo>
                      <a:pt x="2148" y="1066"/>
                    </a:lnTo>
                    <a:lnTo>
                      <a:pt x="2136" y="1064"/>
                    </a:lnTo>
                    <a:lnTo>
                      <a:pt x="2126" y="1066"/>
                    </a:lnTo>
                    <a:lnTo>
                      <a:pt x="2114" y="1070"/>
                    </a:lnTo>
                    <a:lnTo>
                      <a:pt x="2102" y="1076"/>
                    </a:lnTo>
                    <a:lnTo>
                      <a:pt x="2102" y="1076"/>
                    </a:lnTo>
                    <a:lnTo>
                      <a:pt x="2078" y="1092"/>
                    </a:lnTo>
                    <a:lnTo>
                      <a:pt x="2056" y="1104"/>
                    </a:lnTo>
                    <a:lnTo>
                      <a:pt x="2040" y="1114"/>
                    </a:lnTo>
                    <a:lnTo>
                      <a:pt x="2028" y="1122"/>
                    </a:lnTo>
                    <a:lnTo>
                      <a:pt x="2022" y="1130"/>
                    </a:lnTo>
                    <a:lnTo>
                      <a:pt x="2020" y="1134"/>
                    </a:lnTo>
                    <a:lnTo>
                      <a:pt x="2022" y="1140"/>
                    </a:lnTo>
                    <a:lnTo>
                      <a:pt x="2026" y="1150"/>
                    </a:lnTo>
                    <a:lnTo>
                      <a:pt x="2040" y="1166"/>
                    </a:lnTo>
                    <a:lnTo>
                      <a:pt x="2040" y="1166"/>
                    </a:lnTo>
                    <a:lnTo>
                      <a:pt x="2052" y="1180"/>
                    </a:lnTo>
                    <a:lnTo>
                      <a:pt x="2054" y="1186"/>
                    </a:lnTo>
                    <a:lnTo>
                      <a:pt x="2054" y="1192"/>
                    </a:lnTo>
                    <a:lnTo>
                      <a:pt x="2054" y="1196"/>
                    </a:lnTo>
                    <a:lnTo>
                      <a:pt x="2050" y="1198"/>
                    </a:lnTo>
                    <a:lnTo>
                      <a:pt x="2046" y="1200"/>
                    </a:lnTo>
                    <a:lnTo>
                      <a:pt x="2040" y="1202"/>
                    </a:lnTo>
                    <a:lnTo>
                      <a:pt x="2026" y="1202"/>
                    </a:lnTo>
                    <a:lnTo>
                      <a:pt x="2006" y="1198"/>
                    </a:lnTo>
                    <a:lnTo>
                      <a:pt x="1984" y="1190"/>
                    </a:lnTo>
                    <a:lnTo>
                      <a:pt x="1958" y="1180"/>
                    </a:lnTo>
                    <a:lnTo>
                      <a:pt x="1958" y="1180"/>
                    </a:lnTo>
                    <a:lnTo>
                      <a:pt x="1934" y="1170"/>
                    </a:lnTo>
                    <a:lnTo>
                      <a:pt x="1916" y="1164"/>
                    </a:lnTo>
                    <a:lnTo>
                      <a:pt x="1900" y="1162"/>
                    </a:lnTo>
                    <a:lnTo>
                      <a:pt x="1892" y="1164"/>
                    </a:lnTo>
                    <a:lnTo>
                      <a:pt x="1888" y="1166"/>
                    </a:lnTo>
                    <a:lnTo>
                      <a:pt x="1886" y="1170"/>
                    </a:lnTo>
                    <a:lnTo>
                      <a:pt x="1886" y="1176"/>
                    </a:lnTo>
                    <a:lnTo>
                      <a:pt x="1892" y="1186"/>
                    </a:lnTo>
                    <a:lnTo>
                      <a:pt x="1900" y="1196"/>
                    </a:lnTo>
                    <a:lnTo>
                      <a:pt x="1900" y="1196"/>
                    </a:lnTo>
                    <a:lnTo>
                      <a:pt x="1912" y="1206"/>
                    </a:lnTo>
                    <a:lnTo>
                      <a:pt x="1924" y="1214"/>
                    </a:lnTo>
                    <a:lnTo>
                      <a:pt x="1946" y="1222"/>
                    </a:lnTo>
                    <a:lnTo>
                      <a:pt x="1954" y="1226"/>
                    </a:lnTo>
                    <a:lnTo>
                      <a:pt x="1956" y="1228"/>
                    </a:lnTo>
                    <a:lnTo>
                      <a:pt x="1956" y="1232"/>
                    </a:lnTo>
                    <a:lnTo>
                      <a:pt x="1952" y="1238"/>
                    </a:lnTo>
                    <a:lnTo>
                      <a:pt x="1940" y="1246"/>
                    </a:lnTo>
                    <a:lnTo>
                      <a:pt x="1940" y="1246"/>
                    </a:lnTo>
                    <a:lnTo>
                      <a:pt x="1926" y="1252"/>
                    </a:lnTo>
                    <a:lnTo>
                      <a:pt x="1920" y="1252"/>
                    </a:lnTo>
                    <a:lnTo>
                      <a:pt x="1916" y="1252"/>
                    </a:lnTo>
                    <a:lnTo>
                      <a:pt x="1908" y="1248"/>
                    </a:lnTo>
                    <a:lnTo>
                      <a:pt x="1902" y="1240"/>
                    </a:lnTo>
                    <a:lnTo>
                      <a:pt x="1894" y="1232"/>
                    </a:lnTo>
                    <a:lnTo>
                      <a:pt x="1886" y="1224"/>
                    </a:lnTo>
                    <a:lnTo>
                      <a:pt x="1874" y="1216"/>
                    </a:lnTo>
                    <a:lnTo>
                      <a:pt x="1868" y="1212"/>
                    </a:lnTo>
                    <a:lnTo>
                      <a:pt x="1858" y="1210"/>
                    </a:lnTo>
                    <a:lnTo>
                      <a:pt x="1858" y="1210"/>
                    </a:lnTo>
                    <a:lnTo>
                      <a:pt x="1844" y="1206"/>
                    </a:lnTo>
                    <a:lnTo>
                      <a:pt x="1836" y="1202"/>
                    </a:lnTo>
                    <a:lnTo>
                      <a:pt x="1832" y="1196"/>
                    </a:lnTo>
                    <a:lnTo>
                      <a:pt x="1832" y="1188"/>
                    </a:lnTo>
                    <a:lnTo>
                      <a:pt x="1832" y="1182"/>
                    </a:lnTo>
                    <a:lnTo>
                      <a:pt x="1830" y="1174"/>
                    </a:lnTo>
                    <a:lnTo>
                      <a:pt x="1826" y="1164"/>
                    </a:lnTo>
                    <a:lnTo>
                      <a:pt x="1818" y="1156"/>
                    </a:lnTo>
                    <a:lnTo>
                      <a:pt x="1818" y="1156"/>
                    </a:lnTo>
                    <a:lnTo>
                      <a:pt x="1814" y="1152"/>
                    </a:lnTo>
                    <a:lnTo>
                      <a:pt x="1812" y="1148"/>
                    </a:lnTo>
                    <a:lnTo>
                      <a:pt x="1812" y="1144"/>
                    </a:lnTo>
                    <a:lnTo>
                      <a:pt x="1812" y="1140"/>
                    </a:lnTo>
                    <a:lnTo>
                      <a:pt x="1816" y="1134"/>
                    </a:lnTo>
                    <a:lnTo>
                      <a:pt x="1822" y="1128"/>
                    </a:lnTo>
                    <a:lnTo>
                      <a:pt x="1826" y="1122"/>
                    </a:lnTo>
                    <a:lnTo>
                      <a:pt x="1830" y="1114"/>
                    </a:lnTo>
                    <a:lnTo>
                      <a:pt x="1828" y="1110"/>
                    </a:lnTo>
                    <a:lnTo>
                      <a:pt x="1826" y="1106"/>
                    </a:lnTo>
                    <a:lnTo>
                      <a:pt x="1822" y="1100"/>
                    </a:lnTo>
                    <a:lnTo>
                      <a:pt x="1816" y="1096"/>
                    </a:lnTo>
                    <a:lnTo>
                      <a:pt x="1816" y="1096"/>
                    </a:lnTo>
                    <a:lnTo>
                      <a:pt x="1800" y="1084"/>
                    </a:lnTo>
                    <a:lnTo>
                      <a:pt x="1784" y="1076"/>
                    </a:lnTo>
                    <a:lnTo>
                      <a:pt x="1758" y="1060"/>
                    </a:lnTo>
                    <a:lnTo>
                      <a:pt x="1746" y="1054"/>
                    </a:lnTo>
                    <a:lnTo>
                      <a:pt x="1738" y="1046"/>
                    </a:lnTo>
                    <a:lnTo>
                      <a:pt x="1730" y="1036"/>
                    </a:lnTo>
                    <a:lnTo>
                      <a:pt x="1726" y="1026"/>
                    </a:lnTo>
                    <a:lnTo>
                      <a:pt x="1726" y="1026"/>
                    </a:lnTo>
                    <a:lnTo>
                      <a:pt x="1724" y="1018"/>
                    </a:lnTo>
                    <a:lnTo>
                      <a:pt x="1726" y="1016"/>
                    </a:lnTo>
                    <a:lnTo>
                      <a:pt x="1736" y="1026"/>
                    </a:lnTo>
                    <a:lnTo>
                      <a:pt x="1746" y="1036"/>
                    </a:lnTo>
                    <a:lnTo>
                      <a:pt x="1762" y="1044"/>
                    </a:lnTo>
                    <a:lnTo>
                      <a:pt x="1782" y="1054"/>
                    </a:lnTo>
                    <a:lnTo>
                      <a:pt x="1808" y="1060"/>
                    </a:lnTo>
                    <a:lnTo>
                      <a:pt x="1808" y="1060"/>
                    </a:lnTo>
                    <a:lnTo>
                      <a:pt x="1836" y="1066"/>
                    </a:lnTo>
                    <a:lnTo>
                      <a:pt x="1864" y="1074"/>
                    </a:lnTo>
                    <a:lnTo>
                      <a:pt x="1920" y="1092"/>
                    </a:lnTo>
                    <a:lnTo>
                      <a:pt x="1948" y="1098"/>
                    </a:lnTo>
                    <a:lnTo>
                      <a:pt x="1962" y="1100"/>
                    </a:lnTo>
                    <a:lnTo>
                      <a:pt x="1976" y="1100"/>
                    </a:lnTo>
                    <a:lnTo>
                      <a:pt x="1990" y="1098"/>
                    </a:lnTo>
                    <a:lnTo>
                      <a:pt x="2002" y="1096"/>
                    </a:lnTo>
                    <a:lnTo>
                      <a:pt x="2016" y="1092"/>
                    </a:lnTo>
                    <a:lnTo>
                      <a:pt x="2030" y="1084"/>
                    </a:lnTo>
                    <a:lnTo>
                      <a:pt x="2030" y="1084"/>
                    </a:lnTo>
                    <a:lnTo>
                      <a:pt x="2052" y="1070"/>
                    </a:lnTo>
                    <a:lnTo>
                      <a:pt x="2072" y="1056"/>
                    </a:lnTo>
                    <a:lnTo>
                      <a:pt x="2084" y="1042"/>
                    </a:lnTo>
                    <a:lnTo>
                      <a:pt x="2090" y="1036"/>
                    </a:lnTo>
                    <a:lnTo>
                      <a:pt x="2092" y="1030"/>
                    </a:lnTo>
                    <a:lnTo>
                      <a:pt x="2094" y="1022"/>
                    </a:lnTo>
                    <a:lnTo>
                      <a:pt x="2092" y="1016"/>
                    </a:lnTo>
                    <a:lnTo>
                      <a:pt x="2090" y="1010"/>
                    </a:lnTo>
                    <a:lnTo>
                      <a:pt x="2086" y="1002"/>
                    </a:lnTo>
                    <a:lnTo>
                      <a:pt x="2080" y="994"/>
                    </a:lnTo>
                    <a:lnTo>
                      <a:pt x="2072" y="988"/>
                    </a:lnTo>
                    <a:lnTo>
                      <a:pt x="2050" y="970"/>
                    </a:lnTo>
                    <a:lnTo>
                      <a:pt x="2050" y="970"/>
                    </a:lnTo>
                    <a:lnTo>
                      <a:pt x="2010" y="946"/>
                    </a:lnTo>
                    <a:lnTo>
                      <a:pt x="1982" y="934"/>
                    </a:lnTo>
                    <a:lnTo>
                      <a:pt x="1954" y="920"/>
                    </a:lnTo>
                    <a:lnTo>
                      <a:pt x="1910" y="896"/>
                    </a:lnTo>
                    <a:lnTo>
                      <a:pt x="1910" y="896"/>
                    </a:lnTo>
                    <a:lnTo>
                      <a:pt x="1884" y="882"/>
                    </a:lnTo>
                    <a:lnTo>
                      <a:pt x="1868" y="874"/>
                    </a:lnTo>
                    <a:lnTo>
                      <a:pt x="1854" y="870"/>
                    </a:lnTo>
                    <a:lnTo>
                      <a:pt x="1844" y="870"/>
                    </a:lnTo>
                    <a:lnTo>
                      <a:pt x="1834" y="872"/>
                    </a:lnTo>
                    <a:lnTo>
                      <a:pt x="1822" y="872"/>
                    </a:lnTo>
                    <a:lnTo>
                      <a:pt x="1808" y="870"/>
                    </a:lnTo>
                    <a:lnTo>
                      <a:pt x="1786" y="866"/>
                    </a:lnTo>
                    <a:lnTo>
                      <a:pt x="1786" y="866"/>
                    </a:lnTo>
                    <a:lnTo>
                      <a:pt x="1768" y="858"/>
                    </a:lnTo>
                    <a:lnTo>
                      <a:pt x="1758" y="852"/>
                    </a:lnTo>
                    <a:lnTo>
                      <a:pt x="1756" y="850"/>
                    </a:lnTo>
                    <a:lnTo>
                      <a:pt x="1756" y="846"/>
                    </a:lnTo>
                    <a:lnTo>
                      <a:pt x="1758" y="844"/>
                    </a:lnTo>
                    <a:lnTo>
                      <a:pt x="1758" y="840"/>
                    </a:lnTo>
                    <a:lnTo>
                      <a:pt x="1752" y="834"/>
                    </a:lnTo>
                    <a:lnTo>
                      <a:pt x="1740" y="828"/>
                    </a:lnTo>
                    <a:lnTo>
                      <a:pt x="1740" y="828"/>
                    </a:lnTo>
                    <a:lnTo>
                      <a:pt x="1726" y="824"/>
                    </a:lnTo>
                    <a:lnTo>
                      <a:pt x="1718" y="824"/>
                    </a:lnTo>
                    <a:lnTo>
                      <a:pt x="1712" y="826"/>
                    </a:lnTo>
                    <a:lnTo>
                      <a:pt x="1710" y="830"/>
                    </a:lnTo>
                    <a:lnTo>
                      <a:pt x="1706" y="834"/>
                    </a:lnTo>
                    <a:lnTo>
                      <a:pt x="1698" y="838"/>
                    </a:lnTo>
                    <a:lnTo>
                      <a:pt x="1686" y="838"/>
                    </a:lnTo>
                    <a:lnTo>
                      <a:pt x="1666" y="834"/>
                    </a:lnTo>
                    <a:lnTo>
                      <a:pt x="1666" y="834"/>
                    </a:lnTo>
                    <a:lnTo>
                      <a:pt x="1658" y="832"/>
                    </a:lnTo>
                    <a:lnTo>
                      <a:pt x="1652" y="832"/>
                    </a:lnTo>
                    <a:lnTo>
                      <a:pt x="1648" y="832"/>
                    </a:lnTo>
                    <a:lnTo>
                      <a:pt x="1644" y="828"/>
                    </a:lnTo>
                    <a:lnTo>
                      <a:pt x="1644" y="828"/>
                    </a:lnTo>
                    <a:lnTo>
                      <a:pt x="1640" y="828"/>
                    </a:lnTo>
                    <a:lnTo>
                      <a:pt x="1638" y="830"/>
                    </a:lnTo>
                    <a:lnTo>
                      <a:pt x="1636" y="834"/>
                    </a:lnTo>
                    <a:lnTo>
                      <a:pt x="1630" y="836"/>
                    </a:lnTo>
                    <a:lnTo>
                      <a:pt x="1630" y="836"/>
                    </a:lnTo>
                    <a:lnTo>
                      <a:pt x="1620" y="838"/>
                    </a:lnTo>
                    <a:lnTo>
                      <a:pt x="1618" y="838"/>
                    </a:lnTo>
                    <a:lnTo>
                      <a:pt x="1618" y="834"/>
                    </a:lnTo>
                    <a:lnTo>
                      <a:pt x="1618" y="834"/>
                    </a:lnTo>
                    <a:lnTo>
                      <a:pt x="1622" y="830"/>
                    </a:lnTo>
                    <a:lnTo>
                      <a:pt x="1622" y="826"/>
                    </a:lnTo>
                    <a:lnTo>
                      <a:pt x="1620" y="822"/>
                    </a:lnTo>
                    <a:lnTo>
                      <a:pt x="1618" y="820"/>
                    </a:lnTo>
                    <a:lnTo>
                      <a:pt x="1614" y="818"/>
                    </a:lnTo>
                    <a:lnTo>
                      <a:pt x="1608" y="818"/>
                    </a:lnTo>
                    <a:lnTo>
                      <a:pt x="1608" y="818"/>
                    </a:lnTo>
                    <a:lnTo>
                      <a:pt x="1598" y="816"/>
                    </a:lnTo>
                    <a:lnTo>
                      <a:pt x="1590" y="814"/>
                    </a:lnTo>
                    <a:lnTo>
                      <a:pt x="1586" y="812"/>
                    </a:lnTo>
                    <a:lnTo>
                      <a:pt x="1580" y="810"/>
                    </a:lnTo>
                    <a:lnTo>
                      <a:pt x="1580" y="810"/>
                    </a:lnTo>
                    <a:lnTo>
                      <a:pt x="1576" y="810"/>
                    </a:lnTo>
                    <a:lnTo>
                      <a:pt x="1580" y="808"/>
                    </a:lnTo>
                    <a:lnTo>
                      <a:pt x="1592" y="808"/>
                    </a:lnTo>
                    <a:lnTo>
                      <a:pt x="1612" y="812"/>
                    </a:lnTo>
                    <a:lnTo>
                      <a:pt x="1612" y="812"/>
                    </a:lnTo>
                    <a:lnTo>
                      <a:pt x="1624" y="812"/>
                    </a:lnTo>
                    <a:lnTo>
                      <a:pt x="1634" y="812"/>
                    </a:lnTo>
                    <a:lnTo>
                      <a:pt x="1640" y="810"/>
                    </a:lnTo>
                    <a:lnTo>
                      <a:pt x="1646" y="808"/>
                    </a:lnTo>
                    <a:lnTo>
                      <a:pt x="1654" y="800"/>
                    </a:lnTo>
                    <a:lnTo>
                      <a:pt x="1658" y="800"/>
                    </a:lnTo>
                    <a:lnTo>
                      <a:pt x="1662" y="800"/>
                    </a:lnTo>
                    <a:lnTo>
                      <a:pt x="1662" y="800"/>
                    </a:lnTo>
                    <a:lnTo>
                      <a:pt x="1668" y="800"/>
                    </a:lnTo>
                    <a:lnTo>
                      <a:pt x="1672" y="798"/>
                    </a:lnTo>
                    <a:lnTo>
                      <a:pt x="1674" y="796"/>
                    </a:lnTo>
                    <a:lnTo>
                      <a:pt x="1676" y="794"/>
                    </a:lnTo>
                    <a:lnTo>
                      <a:pt x="1676" y="790"/>
                    </a:lnTo>
                    <a:lnTo>
                      <a:pt x="1674" y="788"/>
                    </a:lnTo>
                    <a:lnTo>
                      <a:pt x="1672" y="786"/>
                    </a:lnTo>
                    <a:lnTo>
                      <a:pt x="1668" y="786"/>
                    </a:lnTo>
                    <a:lnTo>
                      <a:pt x="1668" y="786"/>
                    </a:lnTo>
                    <a:lnTo>
                      <a:pt x="1660" y="786"/>
                    </a:lnTo>
                    <a:lnTo>
                      <a:pt x="1658" y="782"/>
                    </a:lnTo>
                    <a:lnTo>
                      <a:pt x="1656" y="780"/>
                    </a:lnTo>
                    <a:lnTo>
                      <a:pt x="1650" y="778"/>
                    </a:lnTo>
                    <a:lnTo>
                      <a:pt x="1650" y="778"/>
                    </a:lnTo>
                    <a:lnTo>
                      <a:pt x="1648" y="776"/>
                    </a:lnTo>
                    <a:lnTo>
                      <a:pt x="1644" y="774"/>
                    </a:lnTo>
                    <a:lnTo>
                      <a:pt x="1640" y="770"/>
                    </a:lnTo>
                    <a:lnTo>
                      <a:pt x="1636" y="766"/>
                    </a:lnTo>
                    <a:lnTo>
                      <a:pt x="1634" y="766"/>
                    </a:lnTo>
                    <a:lnTo>
                      <a:pt x="1630" y="768"/>
                    </a:lnTo>
                    <a:lnTo>
                      <a:pt x="1630" y="768"/>
                    </a:lnTo>
                    <a:lnTo>
                      <a:pt x="1624" y="768"/>
                    </a:lnTo>
                    <a:lnTo>
                      <a:pt x="1624" y="766"/>
                    </a:lnTo>
                    <a:lnTo>
                      <a:pt x="1620" y="764"/>
                    </a:lnTo>
                    <a:lnTo>
                      <a:pt x="1614" y="766"/>
                    </a:lnTo>
                    <a:lnTo>
                      <a:pt x="1614" y="766"/>
                    </a:lnTo>
                    <a:lnTo>
                      <a:pt x="1606" y="768"/>
                    </a:lnTo>
                    <a:lnTo>
                      <a:pt x="1606" y="764"/>
                    </a:lnTo>
                    <a:lnTo>
                      <a:pt x="1606" y="762"/>
                    </a:lnTo>
                    <a:lnTo>
                      <a:pt x="1606" y="760"/>
                    </a:lnTo>
                    <a:lnTo>
                      <a:pt x="1602" y="758"/>
                    </a:lnTo>
                    <a:lnTo>
                      <a:pt x="1596" y="756"/>
                    </a:lnTo>
                    <a:lnTo>
                      <a:pt x="1596" y="756"/>
                    </a:lnTo>
                    <a:lnTo>
                      <a:pt x="1588" y="754"/>
                    </a:lnTo>
                    <a:lnTo>
                      <a:pt x="1582" y="754"/>
                    </a:lnTo>
                    <a:lnTo>
                      <a:pt x="1578" y="758"/>
                    </a:lnTo>
                    <a:lnTo>
                      <a:pt x="1574" y="760"/>
                    </a:lnTo>
                    <a:lnTo>
                      <a:pt x="1572" y="766"/>
                    </a:lnTo>
                    <a:lnTo>
                      <a:pt x="1570" y="770"/>
                    </a:lnTo>
                    <a:lnTo>
                      <a:pt x="1570" y="780"/>
                    </a:lnTo>
                    <a:lnTo>
                      <a:pt x="1570" y="780"/>
                    </a:lnTo>
                    <a:lnTo>
                      <a:pt x="1572" y="786"/>
                    </a:lnTo>
                    <a:lnTo>
                      <a:pt x="1568" y="786"/>
                    </a:lnTo>
                    <a:lnTo>
                      <a:pt x="1564" y="782"/>
                    </a:lnTo>
                    <a:lnTo>
                      <a:pt x="1560" y="782"/>
                    </a:lnTo>
                    <a:lnTo>
                      <a:pt x="1558" y="782"/>
                    </a:lnTo>
                    <a:lnTo>
                      <a:pt x="1558" y="782"/>
                    </a:lnTo>
                    <a:lnTo>
                      <a:pt x="1550" y="784"/>
                    </a:lnTo>
                    <a:lnTo>
                      <a:pt x="1548" y="784"/>
                    </a:lnTo>
                    <a:lnTo>
                      <a:pt x="1548" y="782"/>
                    </a:lnTo>
                    <a:lnTo>
                      <a:pt x="1554" y="778"/>
                    </a:lnTo>
                    <a:lnTo>
                      <a:pt x="1554" y="778"/>
                    </a:lnTo>
                    <a:lnTo>
                      <a:pt x="1560" y="772"/>
                    </a:lnTo>
                    <a:lnTo>
                      <a:pt x="1564" y="768"/>
                    </a:lnTo>
                    <a:lnTo>
                      <a:pt x="1564" y="766"/>
                    </a:lnTo>
                    <a:lnTo>
                      <a:pt x="1562" y="766"/>
                    </a:lnTo>
                    <a:lnTo>
                      <a:pt x="1562" y="766"/>
                    </a:lnTo>
                    <a:lnTo>
                      <a:pt x="1556" y="766"/>
                    </a:lnTo>
                    <a:lnTo>
                      <a:pt x="1554" y="766"/>
                    </a:lnTo>
                    <a:lnTo>
                      <a:pt x="1554" y="762"/>
                    </a:lnTo>
                    <a:lnTo>
                      <a:pt x="1554" y="762"/>
                    </a:lnTo>
                    <a:lnTo>
                      <a:pt x="1558" y="758"/>
                    </a:lnTo>
                    <a:lnTo>
                      <a:pt x="1564" y="756"/>
                    </a:lnTo>
                    <a:lnTo>
                      <a:pt x="1572" y="752"/>
                    </a:lnTo>
                    <a:lnTo>
                      <a:pt x="1574" y="750"/>
                    </a:lnTo>
                    <a:lnTo>
                      <a:pt x="1574" y="748"/>
                    </a:lnTo>
                    <a:lnTo>
                      <a:pt x="1574" y="748"/>
                    </a:lnTo>
                    <a:lnTo>
                      <a:pt x="1572" y="746"/>
                    </a:lnTo>
                    <a:lnTo>
                      <a:pt x="1570" y="746"/>
                    </a:lnTo>
                    <a:lnTo>
                      <a:pt x="1566" y="746"/>
                    </a:lnTo>
                    <a:lnTo>
                      <a:pt x="1562" y="746"/>
                    </a:lnTo>
                    <a:lnTo>
                      <a:pt x="1560" y="746"/>
                    </a:lnTo>
                    <a:lnTo>
                      <a:pt x="1560" y="742"/>
                    </a:lnTo>
                    <a:lnTo>
                      <a:pt x="1560" y="742"/>
                    </a:lnTo>
                    <a:lnTo>
                      <a:pt x="1560" y="740"/>
                    </a:lnTo>
                    <a:lnTo>
                      <a:pt x="1558" y="740"/>
                    </a:lnTo>
                    <a:lnTo>
                      <a:pt x="1554" y="740"/>
                    </a:lnTo>
                    <a:lnTo>
                      <a:pt x="1548" y="742"/>
                    </a:lnTo>
                    <a:lnTo>
                      <a:pt x="1544" y="742"/>
                    </a:lnTo>
                    <a:lnTo>
                      <a:pt x="1540" y="740"/>
                    </a:lnTo>
                    <a:lnTo>
                      <a:pt x="1540" y="740"/>
                    </a:lnTo>
                    <a:lnTo>
                      <a:pt x="1538" y="738"/>
                    </a:lnTo>
                    <a:lnTo>
                      <a:pt x="1536" y="738"/>
                    </a:lnTo>
                    <a:lnTo>
                      <a:pt x="1534" y="740"/>
                    </a:lnTo>
                    <a:lnTo>
                      <a:pt x="1532" y="744"/>
                    </a:lnTo>
                    <a:lnTo>
                      <a:pt x="1530" y="744"/>
                    </a:lnTo>
                    <a:lnTo>
                      <a:pt x="1528" y="744"/>
                    </a:lnTo>
                    <a:lnTo>
                      <a:pt x="1528" y="744"/>
                    </a:lnTo>
                    <a:lnTo>
                      <a:pt x="1524" y="742"/>
                    </a:lnTo>
                    <a:lnTo>
                      <a:pt x="1522" y="744"/>
                    </a:lnTo>
                    <a:lnTo>
                      <a:pt x="1518" y="746"/>
                    </a:lnTo>
                    <a:lnTo>
                      <a:pt x="1518" y="750"/>
                    </a:lnTo>
                    <a:lnTo>
                      <a:pt x="1518" y="752"/>
                    </a:lnTo>
                    <a:lnTo>
                      <a:pt x="1520" y="752"/>
                    </a:lnTo>
                    <a:lnTo>
                      <a:pt x="1524" y="754"/>
                    </a:lnTo>
                    <a:lnTo>
                      <a:pt x="1524" y="754"/>
                    </a:lnTo>
                    <a:lnTo>
                      <a:pt x="1530" y="754"/>
                    </a:lnTo>
                    <a:lnTo>
                      <a:pt x="1528" y="756"/>
                    </a:lnTo>
                    <a:lnTo>
                      <a:pt x="1522" y="760"/>
                    </a:lnTo>
                    <a:lnTo>
                      <a:pt x="1522" y="760"/>
                    </a:lnTo>
                    <a:lnTo>
                      <a:pt x="1522" y="762"/>
                    </a:lnTo>
                    <a:lnTo>
                      <a:pt x="1520" y="764"/>
                    </a:lnTo>
                    <a:lnTo>
                      <a:pt x="1516" y="766"/>
                    </a:lnTo>
                    <a:lnTo>
                      <a:pt x="1516" y="768"/>
                    </a:lnTo>
                    <a:lnTo>
                      <a:pt x="1516" y="768"/>
                    </a:lnTo>
                    <a:lnTo>
                      <a:pt x="1514" y="772"/>
                    </a:lnTo>
                    <a:lnTo>
                      <a:pt x="1512" y="772"/>
                    </a:lnTo>
                    <a:lnTo>
                      <a:pt x="1510" y="774"/>
                    </a:lnTo>
                    <a:lnTo>
                      <a:pt x="1510" y="780"/>
                    </a:lnTo>
                    <a:lnTo>
                      <a:pt x="1510" y="780"/>
                    </a:lnTo>
                    <a:lnTo>
                      <a:pt x="1510" y="782"/>
                    </a:lnTo>
                    <a:lnTo>
                      <a:pt x="1510" y="784"/>
                    </a:lnTo>
                    <a:lnTo>
                      <a:pt x="1504" y="786"/>
                    </a:lnTo>
                    <a:lnTo>
                      <a:pt x="1496" y="790"/>
                    </a:lnTo>
                    <a:lnTo>
                      <a:pt x="1496" y="790"/>
                    </a:lnTo>
                    <a:lnTo>
                      <a:pt x="1492" y="792"/>
                    </a:lnTo>
                    <a:lnTo>
                      <a:pt x="1490" y="790"/>
                    </a:lnTo>
                    <a:lnTo>
                      <a:pt x="1492" y="784"/>
                    </a:lnTo>
                    <a:lnTo>
                      <a:pt x="1494" y="776"/>
                    </a:lnTo>
                    <a:lnTo>
                      <a:pt x="1496" y="770"/>
                    </a:lnTo>
                    <a:lnTo>
                      <a:pt x="1496" y="770"/>
                    </a:lnTo>
                    <a:lnTo>
                      <a:pt x="1496" y="766"/>
                    </a:lnTo>
                    <a:lnTo>
                      <a:pt x="1498" y="760"/>
                    </a:lnTo>
                    <a:lnTo>
                      <a:pt x="1500" y="754"/>
                    </a:lnTo>
                    <a:lnTo>
                      <a:pt x="1498" y="750"/>
                    </a:lnTo>
                    <a:lnTo>
                      <a:pt x="1498" y="750"/>
                    </a:lnTo>
                    <a:lnTo>
                      <a:pt x="1498" y="750"/>
                    </a:lnTo>
                    <a:lnTo>
                      <a:pt x="1494" y="750"/>
                    </a:lnTo>
                    <a:lnTo>
                      <a:pt x="1490" y="752"/>
                    </a:lnTo>
                    <a:lnTo>
                      <a:pt x="1480" y="762"/>
                    </a:lnTo>
                    <a:lnTo>
                      <a:pt x="1456" y="784"/>
                    </a:lnTo>
                    <a:lnTo>
                      <a:pt x="1456" y="784"/>
                    </a:lnTo>
                    <a:lnTo>
                      <a:pt x="1450" y="790"/>
                    </a:lnTo>
                    <a:lnTo>
                      <a:pt x="1450" y="794"/>
                    </a:lnTo>
                    <a:lnTo>
                      <a:pt x="1450" y="798"/>
                    </a:lnTo>
                    <a:lnTo>
                      <a:pt x="1446" y="804"/>
                    </a:lnTo>
                    <a:lnTo>
                      <a:pt x="1446" y="804"/>
                    </a:lnTo>
                    <a:lnTo>
                      <a:pt x="1440" y="810"/>
                    </a:lnTo>
                    <a:lnTo>
                      <a:pt x="1436" y="810"/>
                    </a:lnTo>
                    <a:lnTo>
                      <a:pt x="1434" y="810"/>
                    </a:lnTo>
                    <a:lnTo>
                      <a:pt x="1432" y="810"/>
                    </a:lnTo>
                    <a:lnTo>
                      <a:pt x="1432" y="810"/>
                    </a:lnTo>
                    <a:lnTo>
                      <a:pt x="1428" y="812"/>
                    </a:lnTo>
                    <a:lnTo>
                      <a:pt x="1426" y="812"/>
                    </a:lnTo>
                    <a:lnTo>
                      <a:pt x="1428" y="808"/>
                    </a:lnTo>
                    <a:lnTo>
                      <a:pt x="1432" y="802"/>
                    </a:lnTo>
                    <a:lnTo>
                      <a:pt x="1432" y="802"/>
                    </a:lnTo>
                    <a:lnTo>
                      <a:pt x="1436" y="798"/>
                    </a:lnTo>
                    <a:lnTo>
                      <a:pt x="1436" y="794"/>
                    </a:lnTo>
                    <a:lnTo>
                      <a:pt x="1436" y="792"/>
                    </a:lnTo>
                    <a:lnTo>
                      <a:pt x="1438" y="790"/>
                    </a:lnTo>
                    <a:lnTo>
                      <a:pt x="1438" y="790"/>
                    </a:lnTo>
                    <a:lnTo>
                      <a:pt x="1442" y="784"/>
                    </a:lnTo>
                    <a:lnTo>
                      <a:pt x="1440" y="782"/>
                    </a:lnTo>
                    <a:lnTo>
                      <a:pt x="1440" y="782"/>
                    </a:lnTo>
                    <a:lnTo>
                      <a:pt x="1440" y="778"/>
                    </a:lnTo>
                    <a:lnTo>
                      <a:pt x="1448" y="770"/>
                    </a:lnTo>
                    <a:lnTo>
                      <a:pt x="1448" y="770"/>
                    </a:lnTo>
                    <a:lnTo>
                      <a:pt x="1466" y="756"/>
                    </a:lnTo>
                    <a:lnTo>
                      <a:pt x="1466" y="754"/>
                    </a:lnTo>
                    <a:lnTo>
                      <a:pt x="1466" y="754"/>
                    </a:lnTo>
                    <a:lnTo>
                      <a:pt x="1458" y="754"/>
                    </a:lnTo>
                    <a:lnTo>
                      <a:pt x="1458" y="754"/>
                    </a:lnTo>
                    <a:lnTo>
                      <a:pt x="1454" y="752"/>
                    </a:lnTo>
                    <a:lnTo>
                      <a:pt x="1450" y="752"/>
                    </a:lnTo>
                    <a:lnTo>
                      <a:pt x="1446" y="748"/>
                    </a:lnTo>
                    <a:lnTo>
                      <a:pt x="1446" y="746"/>
                    </a:lnTo>
                    <a:lnTo>
                      <a:pt x="1444" y="752"/>
                    </a:lnTo>
                    <a:lnTo>
                      <a:pt x="1444" y="752"/>
                    </a:lnTo>
                    <a:lnTo>
                      <a:pt x="1442" y="758"/>
                    </a:lnTo>
                    <a:lnTo>
                      <a:pt x="1442" y="760"/>
                    </a:lnTo>
                    <a:lnTo>
                      <a:pt x="1440" y="758"/>
                    </a:lnTo>
                    <a:lnTo>
                      <a:pt x="1438" y="754"/>
                    </a:lnTo>
                    <a:lnTo>
                      <a:pt x="1434" y="750"/>
                    </a:lnTo>
                    <a:lnTo>
                      <a:pt x="1434" y="750"/>
                    </a:lnTo>
                    <a:lnTo>
                      <a:pt x="1430" y="748"/>
                    </a:lnTo>
                    <a:lnTo>
                      <a:pt x="1426" y="750"/>
                    </a:lnTo>
                    <a:lnTo>
                      <a:pt x="1424" y="750"/>
                    </a:lnTo>
                    <a:lnTo>
                      <a:pt x="1420" y="748"/>
                    </a:lnTo>
                    <a:lnTo>
                      <a:pt x="1420" y="748"/>
                    </a:lnTo>
                    <a:lnTo>
                      <a:pt x="1418" y="746"/>
                    </a:lnTo>
                    <a:lnTo>
                      <a:pt x="1414" y="746"/>
                    </a:lnTo>
                    <a:lnTo>
                      <a:pt x="1412" y="748"/>
                    </a:lnTo>
                    <a:lnTo>
                      <a:pt x="1414" y="752"/>
                    </a:lnTo>
                    <a:lnTo>
                      <a:pt x="1414" y="752"/>
                    </a:lnTo>
                    <a:lnTo>
                      <a:pt x="1416" y="754"/>
                    </a:lnTo>
                    <a:lnTo>
                      <a:pt x="1416" y="758"/>
                    </a:lnTo>
                    <a:lnTo>
                      <a:pt x="1414" y="760"/>
                    </a:lnTo>
                    <a:lnTo>
                      <a:pt x="1408" y="758"/>
                    </a:lnTo>
                    <a:lnTo>
                      <a:pt x="1408" y="758"/>
                    </a:lnTo>
                    <a:lnTo>
                      <a:pt x="1402" y="754"/>
                    </a:lnTo>
                    <a:lnTo>
                      <a:pt x="1400" y="756"/>
                    </a:lnTo>
                    <a:lnTo>
                      <a:pt x="1402" y="760"/>
                    </a:lnTo>
                    <a:lnTo>
                      <a:pt x="1410" y="764"/>
                    </a:lnTo>
                    <a:lnTo>
                      <a:pt x="1410" y="764"/>
                    </a:lnTo>
                    <a:lnTo>
                      <a:pt x="1418" y="768"/>
                    </a:lnTo>
                    <a:lnTo>
                      <a:pt x="1422" y="770"/>
                    </a:lnTo>
                    <a:lnTo>
                      <a:pt x="1418" y="772"/>
                    </a:lnTo>
                    <a:lnTo>
                      <a:pt x="1410" y="770"/>
                    </a:lnTo>
                    <a:lnTo>
                      <a:pt x="1410" y="770"/>
                    </a:lnTo>
                    <a:lnTo>
                      <a:pt x="1404" y="768"/>
                    </a:lnTo>
                    <a:lnTo>
                      <a:pt x="1402" y="768"/>
                    </a:lnTo>
                    <a:lnTo>
                      <a:pt x="1402" y="770"/>
                    </a:lnTo>
                    <a:lnTo>
                      <a:pt x="1400" y="774"/>
                    </a:lnTo>
                    <a:lnTo>
                      <a:pt x="1396" y="778"/>
                    </a:lnTo>
                    <a:lnTo>
                      <a:pt x="1388" y="782"/>
                    </a:lnTo>
                    <a:lnTo>
                      <a:pt x="1388" y="782"/>
                    </a:lnTo>
                    <a:lnTo>
                      <a:pt x="1376" y="790"/>
                    </a:lnTo>
                    <a:lnTo>
                      <a:pt x="1372" y="792"/>
                    </a:lnTo>
                    <a:lnTo>
                      <a:pt x="1372" y="794"/>
                    </a:lnTo>
                    <a:lnTo>
                      <a:pt x="1366" y="798"/>
                    </a:lnTo>
                    <a:lnTo>
                      <a:pt x="1366" y="798"/>
                    </a:lnTo>
                    <a:lnTo>
                      <a:pt x="1362" y="800"/>
                    </a:lnTo>
                    <a:lnTo>
                      <a:pt x="1360" y="802"/>
                    </a:lnTo>
                    <a:lnTo>
                      <a:pt x="1360" y="804"/>
                    </a:lnTo>
                    <a:lnTo>
                      <a:pt x="1360" y="804"/>
                    </a:lnTo>
                    <a:lnTo>
                      <a:pt x="1362" y="808"/>
                    </a:lnTo>
                    <a:lnTo>
                      <a:pt x="1362" y="808"/>
                    </a:lnTo>
                    <a:lnTo>
                      <a:pt x="1360" y="810"/>
                    </a:lnTo>
                    <a:lnTo>
                      <a:pt x="1360" y="810"/>
                    </a:lnTo>
                    <a:lnTo>
                      <a:pt x="1358" y="810"/>
                    </a:lnTo>
                    <a:lnTo>
                      <a:pt x="1358" y="812"/>
                    </a:lnTo>
                    <a:lnTo>
                      <a:pt x="1362" y="816"/>
                    </a:lnTo>
                    <a:lnTo>
                      <a:pt x="1368" y="818"/>
                    </a:lnTo>
                    <a:lnTo>
                      <a:pt x="1370" y="818"/>
                    </a:lnTo>
                    <a:lnTo>
                      <a:pt x="1368" y="818"/>
                    </a:lnTo>
                    <a:lnTo>
                      <a:pt x="1368" y="818"/>
                    </a:lnTo>
                    <a:lnTo>
                      <a:pt x="1362" y="818"/>
                    </a:lnTo>
                    <a:lnTo>
                      <a:pt x="1356" y="818"/>
                    </a:lnTo>
                    <a:lnTo>
                      <a:pt x="1350" y="816"/>
                    </a:lnTo>
                    <a:lnTo>
                      <a:pt x="1350" y="814"/>
                    </a:lnTo>
                    <a:lnTo>
                      <a:pt x="1350" y="810"/>
                    </a:lnTo>
                    <a:lnTo>
                      <a:pt x="1350" y="810"/>
                    </a:lnTo>
                    <a:lnTo>
                      <a:pt x="1350" y="806"/>
                    </a:lnTo>
                    <a:lnTo>
                      <a:pt x="1350" y="804"/>
                    </a:lnTo>
                    <a:lnTo>
                      <a:pt x="1342" y="802"/>
                    </a:lnTo>
                    <a:lnTo>
                      <a:pt x="1334" y="800"/>
                    </a:lnTo>
                    <a:lnTo>
                      <a:pt x="1326" y="800"/>
                    </a:lnTo>
                    <a:lnTo>
                      <a:pt x="1326" y="800"/>
                    </a:lnTo>
                    <a:lnTo>
                      <a:pt x="1324" y="798"/>
                    </a:lnTo>
                    <a:lnTo>
                      <a:pt x="1322" y="798"/>
                    </a:lnTo>
                    <a:lnTo>
                      <a:pt x="1320" y="796"/>
                    </a:lnTo>
                    <a:lnTo>
                      <a:pt x="1318" y="798"/>
                    </a:lnTo>
                    <a:lnTo>
                      <a:pt x="1318" y="798"/>
                    </a:lnTo>
                    <a:lnTo>
                      <a:pt x="1312" y="796"/>
                    </a:lnTo>
                    <a:lnTo>
                      <a:pt x="1308" y="794"/>
                    </a:lnTo>
                    <a:lnTo>
                      <a:pt x="1306" y="794"/>
                    </a:lnTo>
                    <a:lnTo>
                      <a:pt x="1306" y="796"/>
                    </a:lnTo>
                    <a:lnTo>
                      <a:pt x="1304" y="802"/>
                    </a:lnTo>
                    <a:lnTo>
                      <a:pt x="1304" y="802"/>
                    </a:lnTo>
                    <a:lnTo>
                      <a:pt x="1302" y="808"/>
                    </a:lnTo>
                    <a:lnTo>
                      <a:pt x="1300" y="802"/>
                    </a:lnTo>
                    <a:lnTo>
                      <a:pt x="1298" y="800"/>
                    </a:lnTo>
                    <a:lnTo>
                      <a:pt x="1294" y="796"/>
                    </a:lnTo>
                    <a:lnTo>
                      <a:pt x="1290" y="796"/>
                    </a:lnTo>
                    <a:lnTo>
                      <a:pt x="1284" y="798"/>
                    </a:lnTo>
                    <a:lnTo>
                      <a:pt x="1284" y="798"/>
                    </a:lnTo>
                    <a:lnTo>
                      <a:pt x="1278" y="802"/>
                    </a:lnTo>
                    <a:lnTo>
                      <a:pt x="1280" y="804"/>
                    </a:lnTo>
                    <a:lnTo>
                      <a:pt x="1280" y="804"/>
                    </a:lnTo>
                    <a:lnTo>
                      <a:pt x="1286" y="806"/>
                    </a:lnTo>
                    <a:lnTo>
                      <a:pt x="1288" y="808"/>
                    </a:lnTo>
                    <a:lnTo>
                      <a:pt x="1288" y="808"/>
                    </a:lnTo>
                    <a:lnTo>
                      <a:pt x="1288" y="808"/>
                    </a:lnTo>
                    <a:lnTo>
                      <a:pt x="1290" y="810"/>
                    </a:lnTo>
                    <a:lnTo>
                      <a:pt x="1294" y="812"/>
                    </a:lnTo>
                    <a:lnTo>
                      <a:pt x="1298" y="812"/>
                    </a:lnTo>
                    <a:lnTo>
                      <a:pt x="1302" y="814"/>
                    </a:lnTo>
                    <a:lnTo>
                      <a:pt x="1302" y="814"/>
                    </a:lnTo>
                    <a:lnTo>
                      <a:pt x="1304" y="816"/>
                    </a:lnTo>
                    <a:lnTo>
                      <a:pt x="1308" y="816"/>
                    </a:lnTo>
                    <a:lnTo>
                      <a:pt x="1310" y="818"/>
                    </a:lnTo>
                    <a:lnTo>
                      <a:pt x="1308" y="820"/>
                    </a:lnTo>
                    <a:lnTo>
                      <a:pt x="1308" y="820"/>
                    </a:lnTo>
                    <a:lnTo>
                      <a:pt x="1306" y="822"/>
                    </a:lnTo>
                    <a:lnTo>
                      <a:pt x="1306" y="824"/>
                    </a:lnTo>
                    <a:lnTo>
                      <a:pt x="1312" y="832"/>
                    </a:lnTo>
                    <a:lnTo>
                      <a:pt x="1312" y="832"/>
                    </a:lnTo>
                    <a:lnTo>
                      <a:pt x="1314" y="836"/>
                    </a:lnTo>
                    <a:lnTo>
                      <a:pt x="1312" y="836"/>
                    </a:lnTo>
                    <a:lnTo>
                      <a:pt x="1296" y="824"/>
                    </a:lnTo>
                    <a:lnTo>
                      <a:pt x="1296" y="824"/>
                    </a:lnTo>
                    <a:lnTo>
                      <a:pt x="1286" y="818"/>
                    </a:lnTo>
                    <a:lnTo>
                      <a:pt x="1280" y="816"/>
                    </a:lnTo>
                    <a:lnTo>
                      <a:pt x="1278" y="818"/>
                    </a:lnTo>
                    <a:lnTo>
                      <a:pt x="1278" y="822"/>
                    </a:lnTo>
                    <a:lnTo>
                      <a:pt x="1278" y="822"/>
                    </a:lnTo>
                    <a:lnTo>
                      <a:pt x="1280" y="822"/>
                    </a:lnTo>
                    <a:lnTo>
                      <a:pt x="1280" y="824"/>
                    </a:lnTo>
                    <a:lnTo>
                      <a:pt x="1276" y="826"/>
                    </a:lnTo>
                    <a:lnTo>
                      <a:pt x="1274" y="826"/>
                    </a:lnTo>
                    <a:lnTo>
                      <a:pt x="1272" y="826"/>
                    </a:lnTo>
                    <a:lnTo>
                      <a:pt x="1272" y="824"/>
                    </a:lnTo>
                    <a:lnTo>
                      <a:pt x="1272" y="824"/>
                    </a:lnTo>
                    <a:lnTo>
                      <a:pt x="1274" y="822"/>
                    </a:lnTo>
                    <a:lnTo>
                      <a:pt x="1272" y="822"/>
                    </a:lnTo>
                    <a:lnTo>
                      <a:pt x="1266" y="824"/>
                    </a:lnTo>
                    <a:lnTo>
                      <a:pt x="1252" y="834"/>
                    </a:lnTo>
                    <a:lnTo>
                      <a:pt x="1252" y="834"/>
                    </a:lnTo>
                    <a:lnTo>
                      <a:pt x="1252" y="836"/>
                    </a:lnTo>
                    <a:lnTo>
                      <a:pt x="1250" y="838"/>
                    </a:lnTo>
                    <a:lnTo>
                      <a:pt x="1248" y="846"/>
                    </a:lnTo>
                    <a:lnTo>
                      <a:pt x="1246" y="850"/>
                    </a:lnTo>
                    <a:lnTo>
                      <a:pt x="1244" y="856"/>
                    </a:lnTo>
                    <a:lnTo>
                      <a:pt x="1238" y="862"/>
                    </a:lnTo>
                    <a:lnTo>
                      <a:pt x="1228" y="868"/>
                    </a:lnTo>
                    <a:lnTo>
                      <a:pt x="1228" y="868"/>
                    </a:lnTo>
                    <a:lnTo>
                      <a:pt x="1238" y="856"/>
                    </a:lnTo>
                    <a:lnTo>
                      <a:pt x="1242" y="844"/>
                    </a:lnTo>
                    <a:lnTo>
                      <a:pt x="1244" y="832"/>
                    </a:lnTo>
                    <a:lnTo>
                      <a:pt x="1244" y="824"/>
                    </a:lnTo>
                    <a:lnTo>
                      <a:pt x="1244" y="824"/>
                    </a:lnTo>
                    <a:lnTo>
                      <a:pt x="1242" y="820"/>
                    </a:lnTo>
                    <a:lnTo>
                      <a:pt x="1240" y="822"/>
                    </a:lnTo>
                    <a:lnTo>
                      <a:pt x="1238" y="824"/>
                    </a:lnTo>
                    <a:lnTo>
                      <a:pt x="1236" y="826"/>
                    </a:lnTo>
                    <a:lnTo>
                      <a:pt x="1236" y="824"/>
                    </a:lnTo>
                    <a:lnTo>
                      <a:pt x="1236" y="824"/>
                    </a:lnTo>
                    <a:lnTo>
                      <a:pt x="1232" y="822"/>
                    </a:lnTo>
                    <a:lnTo>
                      <a:pt x="1230" y="822"/>
                    </a:lnTo>
                    <a:lnTo>
                      <a:pt x="1224" y="834"/>
                    </a:lnTo>
                    <a:lnTo>
                      <a:pt x="1224" y="834"/>
                    </a:lnTo>
                    <a:lnTo>
                      <a:pt x="1222" y="840"/>
                    </a:lnTo>
                    <a:lnTo>
                      <a:pt x="1222" y="842"/>
                    </a:lnTo>
                    <a:lnTo>
                      <a:pt x="1222" y="844"/>
                    </a:lnTo>
                    <a:lnTo>
                      <a:pt x="1220" y="846"/>
                    </a:lnTo>
                    <a:lnTo>
                      <a:pt x="1220" y="846"/>
                    </a:lnTo>
                    <a:lnTo>
                      <a:pt x="1216" y="848"/>
                    </a:lnTo>
                    <a:lnTo>
                      <a:pt x="1214" y="848"/>
                    </a:lnTo>
                    <a:lnTo>
                      <a:pt x="1214" y="846"/>
                    </a:lnTo>
                    <a:lnTo>
                      <a:pt x="1216" y="840"/>
                    </a:lnTo>
                    <a:lnTo>
                      <a:pt x="1216" y="840"/>
                    </a:lnTo>
                    <a:lnTo>
                      <a:pt x="1218" y="836"/>
                    </a:lnTo>
                    <a:lnTo>
                      <a:pt x="1216" y="832"/>
                    </a:lnTo>
                    <a:lnTo>
                      <a:pt x="1214" y="830"/>
                    </a:lnTo>
                    <a:lnTo>
                      <a:pt x="1212" y="830"/>
                    </a:lnTo>
                    <a:lnTo>
                      <a:pt x="1204" y="832"/>
                    </a:lnTo>
                    <a:lnTo>
                      <a:pt x="1198" y="836"/>
                    </a:lnTo>
                    <a:lnTo>
                      <a:pt x="1198" y="836"/>
                    </a:lnTo>
                    <a:lnTo>
                      <a:pt x="1186" y="844"/>
                    </a:lnTo>
                    <a:lnTo>
                      <a:pt x="1184" y="846"/>
                    </a:lnTo>
                    <a:lnTo>
                      <a:pt x="1184" y="846"/>
                    </a:lnTo>
                    <a:lnTo>
                      <a:pt x="1188" y="848"/>
                    </a:lnTo>
                    <a:lnTo>
                      <a:pt x="1188" y="850"/>
                    </a:lnTo>
                    <a:lnTo>
                      <a:pt x="1188" y="854"/>
                    </a:lnTo>
                    <a:lnTo>
                      <a:pt x="1188" y="854"/>
                    </a:lnTo>
                    <a:lnTo>
                      <a:pt x="1188" y="856"/>
                    </a:lnTo>
                    <a:lnTo>
                      <a:pt x="1190" y="858"/>
                    </a:lnTo>
                    <a:lnTo>
                      <a:pt x="1196" y="860"/>
                    </a:lnTo>
                    <a:lnTo>
                      <a:pt x="1200" y="862"/>
                    </a:lnTo>
                    <a:lnTo>
                      <a:pt x="1204" y="864"/>
                    </a:lnTo>
                    <a:lnTo>
                      <a:pt x="1208" y="868"/>
                    </a:lnTo>
                    <a:lnTo>
                      <a:pt x="1210" y="876"/>
                    </a:lnTo>
                    <a:lnTo>
                      <a:pt x="1210" y="876"/>
                    </a:lnTo>
                    <a:lnTo>
                      <a:pt x="1200" y="872"/>
                    </a:lnTo>
                    <a:lnTo>
                      <a:pt x="1198" y="870"/>
                    </a:lnTo>
                    <a:lnTo>
                      <a:pt x="1200" y="868"/>
                    </a:lnTo>
                    <a:lnTo>
                      <a:pt x="1202" y="868"/>
                    </a:lnTo>
                    <a:lnTo>
                      <a:pt x="1196" y="864"/>
                    </a:lnTo>
                    <a:lnTo>
                      <a:pt x="1196" y="864"/>
                    </a:lnTo>
                    <a:lnTo>
                      <a:pt x="1190" y="862"/>
                    </a:lnTo>
                    <a:lnTo>
                      <a:pt x="1186" y="860"/>
                    </a:lnTo>
                    <a:lnTo>
                      <a:pt x="1182" y="854"/>
                    </a:lnTo>
                    <a:lnTo>
                      <a:pt x="1180" y="852"/>
                    </a:lnTo>
                    <a:lnTo>
                      <a:pt x="1174" y="852"/>
                    </a:lnTo>
                    <a:lnTo>
                      <a:pt x="1174" y="852"/>
                    </a:lnTo>
                    <a:lnTo>
                      <a:pt x="1166" y="854"/>
                    </a:lnTo>
                    <a:lnTo>
                      <a:pt x="1166" y="854"/>
                    </a:lnTo>
                    <a:lnTo>
                      <a:pt x="1166" y="856"/>
                    </a:lnTo>
                    <a:lnTo>
                      <a:pt x="1174" y="862"/>
                    </a:lnTo>
                    <a:lnTo>
                      <a:pt x="1174" y="862"/>
                    </a:lnTo>
                    <a:lnTo>
                      <a:pt x="1178" y="866"/>
                    </a:lnTo>
                    <a:lnTo>
                      <a:pt x="1176" y="868"/>
                    </a:lnTo>
                    <a:lnTo>
                      <a:pt x="1172" y="868"/>
                    </a:lnTo>
                    <a:lnTo>
                      <a:pt x="1168" y="862"/>
                    </a:lnTo>
                    <a:lnTo>
                      <a:pt x="1168" y="862"/>
                    </a:lnTo>
                    <a:lnTo>
                      <a:pt x="1158" y="854"/>
                    </a:lnTo>
                    <a:lnTo>
                      <a:pt x="1154" y="854"/>
                    </a:lnTo>
                    <a:lnTo>
                      <a:pt x="1154" y="854"/>
                    </a:lnTo>
                    <a:lnTo>
                      <a:pt x="1154" y="858"/>
                    </a:lnTo>
                    <a:lnTo>
                      <a:pt x="1154" y="858"/>
                    </a:lnTo>
                    <a:lnTo>
                      <a:pt x="1154" y="860"/>
                    </a:lnTo>
                    <a:lnTo>
                      <a:pt x="1154" y="862"/>
                    </a:lnTo>
                    <a:lnTo>
                      <a:pt x="1152" y="864"/>
                    </a:lnTo>
                    <a:lnTo>
                      <a:pt x="1150" y="868"/>
                    </a:lnTo>
                    <a:lnTo>
                      <a:pt x="1150" y="872"/>
                    </a:lnTo>
                    <a:lnTo>
                      <a:pt x="1150" y="872"/>
                    </a:lnTo>
                    <a:lnTo>
                      <a:pt x="1152" y="876"/>
                    </a:lnTo>
                    <a:lnTo>
                      <a:pt x="1152" y="878"/>
                    </a:lnTo>
                    <a:lnTo>
                      <a:pt x="1146" y="880"/>
                    </a:lnTo>
                    <a:lnTo>
                      <a:pt x="1138" y="884"/>
                    </a:lnTo>
                    <a:lnTo>
                      <a:pt x="1134" y="886"/>
                    </a:lnTo>
                    <a:lnTo>
                      <a:pt x="1130" y="888"/>
                    </a:lnTo>
                    <a:lnTo>
                      <a:pt x="1130" y="888"/>
                    </a:lnTo>
                    <a:lnTo>
                      <a:pt x="1128" y="892"/>
                    </a:lnTo>
                    <a:lnTo>
                      <a:pt x="1128" y="894"/>
                    </a:lnTo>
                    <a:lnTo>
                      <a:pt x="1134" y="896"/>
                    </a:lnTo>
                    <a:lnTo>
                      <a:pt x="1138" y="898"/>
                    </a:lnTo>
                    <a:lnTo>
                      <a:pt x="1132" y="900"/>
                    </a:lnTo>
                    <a:lnTo>
                      <a:pt x="1132" y="900"/>
                    </a:lnTo>
                    <a:lnTo>
                      <a:pt x="1122" y="902"/>
                    </a:lnTo>
                    <a:lnTo>
                      <a:pt x="1120" y="906"/>
                    </a:lnTo>
                    <a:lnTo>
                      <a:pt x="1118" y="908"/>
                    </a:lnTo>
                    <a:lnTo>
                      <a:pt x="1114" y="912"/>
                    </a:lnTo>
                    <a:lnTo>
                      <a:pt x="1114" y="912"/>
                    </a:lnTo>
                    <a:lnTo>
                      <a:pt x="1108" y="912"/>
                    </a:lnTo>
                    <a:lnTo>
                      <a:pt x="1102" y="912"/>
                    </a:lnTo>
                    <a:lnTo>
                      <a:pt x="1096" y="916"/>
                    </a:lnTo>
                    <a:lnTo>
                      <a:pt x="1090" y="924"/>
                    </a:lnTo>
                    <a:lnTo>
                      <a:pt x="1090" y="924"/>
                    </a:lnTo>
                    <a:lnTo>
                      <a:pt x="1088" y="928"/>
                    </a:lnTo>
                    <a:lnTo>
                      <a:pt x="1088" y="930"/>
                    </a:lnTo>
                    <a:lnTo>
                      <a:pt x="1092" y="930"/>
                    </a:lnTo>
                    <a:lnTo>
                      <a:pt x="1096" y="928"/>
                    </a:lnTo>
                    <a:lnTo>
                      <a:pt x="1106" y="926"/>
                    </a:lnTo>
                    <a:lnTo>
                      <a:pt x="1108" y="926"/>
                    </a:lnTo>
                    <a:lnTo>
                      <a:pt x="1108" y="926"/>
                    </a:lnTo>
                    <a:lnTo>
                      <a:pt x="1108" y="926"/>
                    </a:lnTo>
                    <a:lnTo>
                      <a:pt x="1108" y="930"/>
                    </a:lnTo>
                    <a:lnTo>
                      <a:pt x="1112" y="930"/>
                    </a:lnTo>
                    <a:lnTo>
                      <a:pt x="1124" y="924"/>
                    </a:lnTo>
                    <a:lnTo>
                      <a:pt x="1124" y="924"/>
                    </a:lnTo>
                    <a:lnTo>
                      <a:pt x="1128" y="924"/>
                    </a:lnTo>
                    <a:lnTo>
                      <a:pt x="1130" y="924"/>
                    </a:lnTo>
                    <a:lnTo>
                      <a:pt x="1128" y="928"/>
                    </a:lnTo>
                    <a:lnTo>
                      <a:pt x="1120" y="932"/>
                    </a:lnTo>
                    <a:lnTo>
                      <a:pt x="1110" y="936"/>
                    </a:lnTo>
                    <a:lnTo>
                      <a:pt x="1110" y="936"/>
                    </a:lnTo>
                    <a:lnTo>
                      <a:pt x="1102" y="936"/>
                    </a:lnTo>
                    <a:lnTo>
                      <a:pt x="1100" y="936"/>
                    </a:lnTo>
                    <a:lnTo>
                      <a:pt x="1096" y="934"/>
                    </a:lnTo>
                    <a:lnTo>
                      <a:pt x="1088" y="934"/>
                    </a:lnTo>
                    <a:lnTo>
                      <a:pt x="1088" y="934"/>
                    </a:lnTo>
                    <a:lnTo>
                      <a:pt x="1078" y="936"/>
                    </a:lnTo>
                    <a:lnTo>
                      <a:pt x="1072" y="938"/>
                    </a:lnTo>
                    <a:lnTo>
                      <a:pt x="1070" y="940"/>
                    </a:lnTo>
                    <a:lnTo>
                      <a:pt x="1074" y="942"/>
                    </a:lnTo>
                    <a:lnTo>
                      <a:pt x="1074" y="942"/>
                    </a:lnTo>
                    <a:lnTo>
                      <a:pt x="1076" y="944"/>
                    </a:lnTo>
                    <a:lnTo>
                      <a:pt x="1076" y="946"/>
                    </a:lnTo>
                    <a:lnTo>
                      <a:pt x="1076" y="946"/>
                    </a:lnTo>
                    <a:lnTo>
                      <a:pt x="1080" y="948"/>
                    </a:lnTo>
                    <a:lnTo>
                      <a:pt x="1080" y="948"/>
                    </a:lnTo>
                    <a:lnTo>
                      <a:pt x="1086" y="948"/>
                    </a:lnTo>
                    <a:lnTo>
                      <a:pt x="1084" y="952"/>
                    </a:lnTo>
                    <a:lnTo>
                      <a:pt x="1080" y="958"/>
                    </a:lnTo>
                    <a:lnTo>
                      <a:pt x="1078" y="960"/>
                    </a:lnTo>
                    <a:lnTo>
                      <a:pt x="1076" y="964"/>
                    </a:lnTo>
                    <a:lnTo>
                      <a:pt x="1076" y="964"/>
                    </a:lnTo>
                    <a:lnTo>
                      <a:pt x="1076" y="968"/>
                    </a:lnTo>
                    <a:lnTo>
                      <a:pt x="1074" y="966"/>
                    </a:lnTo>
                    <a:lnTo>
                      <a:pt x="1070" y="960"/>
                    </a:lnTo>
                    <a:lnTo>
                      <a:pt x="1070" y="954"/>
                    </a:lnTo>
                    <a:lnTo>
                      <a:pt x="1070" y="954"/>
                    </a:lnTo>
                    <a:lnTo>
                      <a:pt x="1070" y="948"/>
                    </a:lnTo>
                    <a:lnTo>
                      <a:pt x="1068" y="944"/>
                    </a:lnTo>
                    <a:lnTo>
                      <a:pt x="1066" y="944"/>
                    </a:lnTo>
                    <a:lnTo>
                      <a:pt x="1064" y="948"/>
                    </a:lnTo>
                    <a:lnTo>
                      <a:pt x="1064" y="948"/>
                    </a:lnTo>
                    <a:lnTo>
                      <a:pt x="1060" y="954"/>
                    </a:lnTo>
                    <a:lnTo>
                      <a:pt x="1058" y="954"/>
                    </a:lnTo>
                    <a:lnTo>
                      <a:pt x="1056" y="954"/>
                    </a:lnTo>
                    <a:lnTo>
                      <a:pt x="1056" y="952"/>
                    </a:lnTo>
                    <a:lnTo>
                      <a:pt x="1056" y="952"/>
                    </a:lnTo>
                    <a:lnTo>
                      <a:pt x="1052" y="950"/>
                    </a:lnTo>
                    <a:lnTo>
                      <a:pt x="1046" y="952"/>
                    </a:lnTo>
                    <a:lnTo>
                      <a:pt x="1042" y="956"/>
                    </a:lnTo>
                    <a:lnTo>
                      <a:pt x="1040" y="956"/>
                    </a:lnTo>
                    <a:lnTo>
                      <a:pt x="1040" y="958"/>
                    </a:lnTo>
                    <a:lnTo>
                      <a:pt x="1040" y="958"/>
                    </a:lnTo>
                    <a:lnTo>
                      <a:pt x="1042" y="960"/>
                    </a:lnTo>
                    <a:lnTo>
                      <a:pt x="1044" y="960"/>
                    </a:lnTo>
                    <a:lnTo>
                      <a:pt x="1048" y="958"/>
                    </a:lnTo>
                    <a:lnTo>
                      <a:pt x="1054" y="958"/>
                    </a:lnTo>
                    <a:lnTo>
                      <a:pt x="1054" y="958"/>
                    </a:lnTo>
                    <a:lnTo>
                      <a:pt x="1062" y="960"/>
                    </a:lnTo>
                    <a:lnTo>
                      <a:pt x="1064" y="962"/>
                    </a:lnTo>
                    <a:lnTo>
                      <a:pt x="1064" y="964"/>
                    </a:lnTo>
                    <a:lnTo>
                      <a:pt x="1060" y="966"/>
                    </a:lnTo>
                    <a:lnTo>
                      <a:pt x="1060" y="966"/>
                    </a:lnTo>
                    <a:lnTo>
                      <a:pt x="1050" y="966"/>
                    </a:lnTo>
                    <a:lnTo>
                      <a:pt x="1032" y="970"/>
                    </a:lnTo>
                    <a:lnTo>
                      <a:pt x="1020" y="974"/>
                    </a:lnTo>
                    <a:lnTo>
                      <a:pt x="1018" y="976"/>
                    </a:lnTo>
                    <a:lnTo>
                      <a:pt x="1020" y="978"/>
                    </a:lnTo>
                    <a:lnTo>
                      <a:pt x="1020" y="978"/>
                    </a:lnTo>
                    <a:lnTo>
                      <a:pt x="1022" y="980"/>
                    </a:lnTo>
                    <a:lnTo>
                      <a:pt x="1022" y="980"/>
                    </a:lnTo>
                    <a:lnTo>
                      <a:pt x="1018" y="984"/>
                    </a:lnTo>
                    <a:lnTo>
                      <a:pt x="1016" y="986"/>
                    </a:lnTo>
                    <a:lnTo>
                      <a:pt x="1020" y="988"/>
                    </a:lnTo>
                    <a:lnTo>
                      <a:pt x="1020" y="988"/>
                    </a:lnTo>
                    <a:lnTo>
                      <a:pt x="1026" y="988"/>
                    </a:lnTo>
                    <a:lnTo>
                      <a:pt x="1030" y="986"/>
                    </a:lnTo>
                    <a:lnTo>
                      <a:pt x="1036" y="980"/>
                    </a:lnTo>
                    <a:lnTo>
                      <a:pt x="1042" y="976"/>
                    </a:lnTo>
                    <a:lnTo>
                      <a:pt x="1046" y="976"/>
                    </a:lnTo>
                    <a:lnTo>
                      <a:pt x="1052" y="976"/>
                    </a:lnTo>
                    <a:lnTo>
                      <a:pt x="1052" y="976"/>
                    </a:lnTo>
                    <a:lnTo>
                      <a:pt x="1060" y="980"/>
                    </a:lnTo>
                    <a:lnTo>
                      <a:pt x="1058" y="980"/>
                    </a:lnTo>
                    <a:lnTo>
                      <a:pt x="1050" y="980"/>
                    </a:lnTo>
                    <a:lnTo>
                      <a:pt x="1040" y="982"/>
                    </a:lnTo>
                    <a:lnTo>
                      <a:pt x="1040" y="982"/>
                    </a:lnTo>
                    <a:lnTo>
                      <a:pt x="1034" y="986"/>
                    </a:lnTo>
                    <a:lnTo>
                      <a:pt x="1034" y="988"/>
                    </a:lnTo>
                    <a:lnTo>
                      <a:pt x="1036" y="990"/>
                    </a:lnTo>
                    <a:lnTo>
                      <a:pt x="1034" y="990"/>
                    </a:lnTo>
                    <a:lnTo>
                      <a:pt x="1026" y="992"/>
                    </a:lnTo>
                    <a:lnTo>
                      <a:pt x="1026" y="992"/>
                    </a:lnTo>
                    <a:lnTo>
                      <a:pt x="1016" y="996"/>
                    </a:lnTo>
                    <a:lnTo>
                      <a:pt x="1016" y="996"/>
                    </a:lnTo>
                    <a:lnTo>
                      <a:pt x="1016" y="998"/>
                    </a:lnTo>
                    <a:lnTo>
                      <a:pt x="1020" y="1002"/>
                    </a:lnTo>
                    <a:lnTo>
                      <a:pt x="1022" y="1002"/>
                    </a:lnTo>
                    <a:lnTo>
                      <a:pt x="1022" y="1004"/>
                    </a:lnTo>
                    <a:lnTo>
                      <a:pt x="1022" y="1004"/>
                    </a:lnTo>
                    <a:lnTo>
                      <a:pt x="1020" y="1006"/>
                    </a:lnTo>
                    <a:lnTo>
                      <a:pt x="1016" y="1004"/>
                    </a:lnTo>
                    <a:lnTo>
                      <a:pt x="1014" y="1002"/>
                    </a:lnTo>
                    <a:lnTo>
                      <a:pt x="1010" y="1004"/>
                    </a:lnTo>
                    <a:lnTo>
                      <a:pt x="1010" y="1004"/>
                    </a:lnTo>
                    <a:lnTo>
                      <a:pt x="1004" y="1012"/>
                    </a:lnTo>
                    <a:lnTo>
                      <a:pt x="1004" y="1012"/>
                    </a:lnTo>
                    <a:lnTo>
                      <a:pt x="1008" y="1014"/>
                    </a:lnTo>
                    <a:lnTo>
                      <a:pt x="1008" y="1014"/>
                    </a:lnTo>
                    <a:lnTo>
                      <a:pt x="1012" y="1014"/>
                    </a:lnTo>
                    <a:lnTo>
                      <a:pt x="1016" y="1012"/>
                    </a:lnTo>
                    <a:lnTo>
                      <a:pt x="1024" y="1012"/>
                    </a:lnTo>
                    <a:lnTo>
                      <a:pt x="1036" y="1012"/>
                    </a:lnTo>
                    <a:lnTo>
                      <a:pt x="1036" y="1012"/>
                    </a:lnTo>
                    <a:lnTo>
                      <a:pt x="1050" y="1016"/>
                    </a:lnTo>
                    <a:lnTo>
                      <a:pt x="1048" y="1016"/>
                    </a:lnTo>
                    <a:lnTo>
                      <a:pt x="1046" y="1018"/>
                    </a:lnTo>
                    <a:lnTo>
                      <a:pt x="1046" y="1022"/>
                    </a:lnTo>
                    <a:lnTo>
                      <a:pt x="1046" y="1022"/>
                    </a:lnTo>
                    <a:lnTo>
                      <a:pt x="1046" y="1024"/>
                    </a:lnTo>
                    <a:lnTo>
                      <a:pt x="1044" y="1022"/>
                    </a:lnTo>
                    <a:lnTo>
                      <a:pt x="1038" y="1018"/>
                    </a:lnTo>
                    <a:lnTo>
                      <a:pt x="1034" y="1016"/>
                    </a:lnTo>
                    <a:lnTo>
                      <a:pt x="1028" y="1016"/>
                    </a:lnTo>
                    <a:lnTo>
                      <a:pt x="1028" y="1016"/>
                    </a:lnTo>
                    <a:lnTo>
                      <a:pt x="1020" y="1016"/>
                    </a:lnTo>
                    <a:lnTo>
                      <a:pt x="1014" y="1018"/>
                    </a:lnTo>
                    <a:lnTo>
                      <a:pt x="1008" y="1020"/>
                    </a:lnTo>
                    <a:lnTo>
                      <a:pt x="1002" y="1020"/>
                    </a:lnTo>
                    <a:lnTo>
                      <a:pt x="1002" y="1020"/>
                    </a:lnTo>
                    <a:lnTo>
                      <a:pt x="998" y="1020"/>
                    </a:lnTo>
                    <a:lnTo>
                      <a:pt x="996" y="1020"/>
                    </a:lnTo>
                    <a:lnTo>
                      <a:pt x="994" y="1022"/>
                    </a:lnTo>
                    <a:lnTo>
                      <a:pt x="990" y="1022"/>
                    </a:lnTo>
                    <a:lnTo>
                      <a:pt x="990" y="1022"/>
                    </a:lnTo>
                    <a:lnTo>
                      <a:pt x="988" y="1024"/>
                    </a:lnTo>
                    <a:lnTo>
                      <a:pt x="988" y="1026"/>
                    </a:lnTo>
                    <a:lnTo>
                      <a:pt x="988" y="1028"/>
                    </a:lnTo>
                    <a:lnTo>
                      <a:pt x="988" y="1030"/>
                    </a:lnTo>
                    <a:lnTo>
                      <a:pt x="986" y="1032"/>
                    </a:lnTo>
                    <a:lnTo>
                      <a:pt x="982" y="1034"/>
                    </a:lnTo>
                    <a:lnTo>
                      <a:pt x="976" y="1034"/>
                    </a:lnTo>
                    <a:lnTo>
                      <a:pt x="976" y="1034"/>
                    </a:lnTo>
                    <a:lnTo>
                      <a:pt x="968" y="1036"/>
                    </a:lnTo>
                    <a:lnTo>
                      <a:pt x="970" y="1038"/>
                    </a:lnTo>
                    <a:lnTo>
                      <a:pt x="974" y="1042"/>
                    </a:lnTo>
                    <a:lnTo>
                      <a:pt x="974" y="1044"/>
                    </a:lnTo>
                    <a:lnTo>
                      <a:pt x="972" y="1046"/>
                    </a:lnTo>
                    <a:lnTo>
                      <a:pt x="972" y="1046"/>
                    </a:lnTo>
                    <a:lnTo>
                      <a:pt x="966" y="1050"/>
                    </a:lnTo>
                    <a:lnTo>
                      <a:pt x="964" y="1050"/>
                    </a:lnTo>
                    <a:lnTo>
                      <a:pt x="962" y="1050"/>
                    </a:lnTo>
                    <a:lnTo>
                      <a:pt x="956" y="1052"/>
                    </a:lnTo>
                    <a:lnTo>
                      <a:pt x="956" y="1052"/>
                    </a:lnTo>
                    <a:lnTo>
                      <a:pt x="954" y="1056"/>
                    </a:lnTo>
                    <a:lnTo>
                      <a:pt x="956" y="1058"/>
                    </a:lnTo>
                    <a:lnTo>
                      <a:pt x="958" y="1058"/>
                    </a:lnTo>
                    <a:lnTo>
                      <a:pt x="958" y="1060"/>
                    </a:lnTo>
                    <a:lnTo>
                      <a:pt x="958" y="1060"/>
                    </a:lnTo>
                    <a:lnTo>
                      <a:pt x="954" y="1062"/>
                    </a:lnTo>
                    <a:lnTo>
                      <a:pt x="954" y="1064"/>
                    </a:lnTo>
                    <a:lnTo>
                      <a:pt x="956" y="1066"/>
                    </a:lnTo>
                    <a:lnTo>
                      <a:pt x="954" y="1064"/>
                    </a:lnTo>
                    <a:lnTo>
                      <a:pt x="954" y="1064"/>
                    </a:lnTo>
                    <a:lnTo>
                      <a:pt x="950" y="1064"/>
                    </a:lnTo>
                    <a:lnTo>
                      <a:pt x="946" y="1064"/>
                    </a:lnTo>
                    <a:lnTo>
                      <a:pt x="946" y="1066"/>
                    </a:lnTo>
                    <a:lnTo>
                      <a:pt x="948" y="1068"/>
                    </a:lnTo>
                    <a:lnTo>
                      <a:pt x="948" y="1068"/>
                    </a:lnTo>
                    <a:lnTo>
                      <a:pt x="950" y="1070"/>
                    </a:lnTo>
                    <a:lnTo>
                      <a:pt x="950" y="1072"/>
                    </a:lnTo>
                    <a:lnTo>
                      <a:pt x="948" y="1076"/>
                    </a:lnTo>
                    <a:lnTo>
                      <a:pt x="948" y="1080"/>
                    </a:lnTo>
                    <a:lnTo>
                      <a:pt x="954" y="1080"/>
                    </a:lnTo>
                    <a:lnTo>
                      <a:pt x="954" y="1080"/>
                    </a:lnTo>
                    <a:lnTo>
                      <a:pt x="958" y="1080"/>
                    </a:lnTo>
                    <a:lnTo>
                      <a:pt x="954" y="1082"/>
                    </a:lnTo>
                    <a:lnTo>
                      <a:pt x="948" y="1084"/>
                    </a:lnTo>
                    <a:lnTo>
                      <a:pt x="946" y="1086"/>
                    </a:lnTo>
                    <a:lnTo>
                      <a:pt x="946" y="1086"/>
                    </a:lnTo>
                    <a:lnTo>
                      <a:pt x="946" y="1086"/>
                    </a:lnTo>
                    <a:lnTo>
                      <a:pt x="954" y="1086"/>
                    </a:lnTo>
                    <a:lnTo>
                      <a:pt x="964" y="1084"/>
                    </a:lnTo>
                    <a:lnTo>
                      <a:pt x="988" y="1078"/>
                    </a:lnTo>
                    <a:lnTo>
                      <a:pt x="988" y="1078"/>
                    </a:lnTo>
                    <a:lnTo>
                      <a:pt x="994" y="1078"/>
                    </a:lnTo>
                    <a:lnTo>
                      <a:pt x="990" y="1080"/>
                    </a:lnTo>
                    <a:lnTo>
                      <a:pt x="982" y="1084"/>
                    </a:lnTo>
                    <a:lnTo>
                      <a:pt x="972" y="1086"/>
                    </a:lnTo>
                    <a:lnTo>
                      <a:pt x="972" y="1086"/>
                    </a:lnTo>
                    <a:lnTo>
                      <a:pt x="954" y="1090"/>
                    </a:lnTo>
                    <a:lnTo>
                      <a:pt x="946" y="1092"/>
                    </a:lnTo>
                    <a:lnTo>
                      <a:pt x="936" y="1094"/>
                    </a:lnTo>
                    <a:lnTo>
                      <a:pt x="936" y="1094"/>
                    </a:lnTo>
                    <a:lnTo>
                      <a:pt x="932" y="1096"/>
                    </a:lnTo>
                    <a:lnTo>
                      <a:pt x="936" y="1096"/>
                    </a:lnTo>
                    <a:lnTo>
                      <a:pt x="942" y="1098"/>
                    </a:lnTo>
                    <a:lnTo>
                      <a:pt x="944" y="1098"/>
                    </a:lnTo>
                    <a:lnTo>
                      <a:pt x="946" y="1100"/>
                    </a:lnTo>
                    <a:lnTo>
                      <a:pt x="946" y="1100"/>
                    </a:lnTo>
                    <a:lnTo>
                      <a:pt x="944" y="1104"/>
                    </a:lnTo>
                    <a:lnTo>
                      <a:pt x="940" y="1106"/>
                    </a:lnTo>
                    <a:lnTo>
                      <a:pt x="934" y="1108"/>
                    </a:lnTo>
                    <a:lnTo>
                      <a:pt x="932" y="1114"/>
                    </a:lnTo>
                    <a:lnTo>
                      <a:pt x="932" y="1114"/>
                    </a:lnTo>
                    <a:lnTo>
                      <a:pt x="930" y="1118"/>
                    </a:lnTo>
                    <a:lnTo>
                      <a:pt x="928" y="1120"/>
                    </a:lnTo>
                    <a:lnTo>
                      <a:pt x="924" y="1122"/>
                    </a:lnTo>
                    <a:lnTo>
                      <a:pt x="920" y="1122"/>
                    </a:lnTo>
                    <a:lnTo>
                      <a:pt x="920" y="1128"/>
                    </a:lnTo>
                    <a:lnTo>
                      <a:pt x="920" y="1128"/>
                    </a:lnTo>
                    <a:lnTo>
                      <a:pt x="922" y="1132"/>
                    </a:lnTo>
                    <a:lnTo>
                      <a:pt x="924" y="1134"/>
                    </a:lnTo>
                    <a:lnTo>
                      <a:pt x="926" y="1134"/>
                    </a:lnTo>
                    <a:lnTo>
                      <a:pt x="928" y="1138"/>
                    </a:lnTo>
                    <a:lnTo>
                      <a:pt x="928" y="1138"/>
                    </a:lnTo>
                    <a:lnTo>
                      <a:pt x="928" y="1140"/>
                    </a:lnTo>
                    <a:lnTo>
                      <a:pt x="928" y="1142"/>
                    </a:lnTo>
                    <a:lnTo>
                      <a:pt x="922" y="1146"/>
                    </a:lnTo>
                    <a:lnTo>
                      <a:pt x="918" y="1150"/>
                    </a:lnTo>
                    <a:lnTo>
                      <a:pt x="918" y="1152"/>
                    </a:lnTo>
                    <a:lnTo>
                      <a:pt x="920" y="1152"/>
                    </a:lnTo>
                    <a:lnTo>
                      <a:pt x="920" y="1152"/>
                    </a:lnTo>
                    <a:lnTo>
                      <a:pt x="922" y="1156"/>
                    </a:lnTo>
                    <a:lnTo>
                      <a:pt x="922" y="1160"/>
                    </a:lnTo>
                    <a:lnTo>
                      <a:pt x="918" y="1164"/>
                    </a:lnTo>
                    <a:lnTo>
                      <a:pt x="910" y="1166"/>
                    </a:lnTo>
                    <a:lnTo>
                      <a:pt x="910" y="1166"/>
                    </a:lnTo>
                    <a:lnTo>
                      <a:pt x="904" y="1168"/>
                    </a:lnTo>
                    <a:lnTo>
                      <a:pt x="900" y="1168"/>
                    </a:lnTo>
                    <a:lnTo>
                      <a:pt x="898" y="1170"/>
                    </a:lnTo>
                    <a:lnTo>
                      <a:pt x="892" y="1172"/>
                    </a:lnTo>
                    <a:lnTo>
                      <a:pt x="892" y="1172"/>
                    </a:lnTo>
                    <a:lnTo>
                      <a:pt x="888" y="1174"/>
                    </a:lnTo>
                    <a:lnTo>
                      <a:pt x="884" y="1174"/>
                    </a:lnTo>
                    <a:lnTo>
                      <a:pt x="880" y="1176"/>
                    </a:lnTo>
                    <a:lnTo>
                      <a:pt x="876" y="1176"/>
                    </a:lnTo>
                    <a:lnTo>
                      <a:pt x="876" y="1176"/>
                    </a:lnTo>
                    <a:lnTo>
                      <a:pt x="866" y="1176"/>
                    </a:lnTo>
                    <a:lnTo>
                      <a:pt x="862" y="1176"/>
                    </a:lnTo>
                    <a:lnTo>
                      <a:pt x="860" y="1178"/>
                    </a:lnTo>
                    <a:lnTo>
                      <a:pt x="860" y="1178"/>
                    </a:lnTo>
                    <a:lnTo>
                      <a:pt x="860" y="1180"/>
                    </a:lnTo>
                    <a:lnTo>
                      <a:pt x="864" y="1180"/>
                    </a:lnTo>
                    <a:lnTo>
                      <a:pt x="868" y="1180"/>
                    </a:lnTo>
                    <a:lnTo>
                      <a:pt x="876" y="1180"/>
                    </a:lnTo>
                    <a:lnTo>
                      <a:pt x="876" y="1180"/>
                    </a:lnTo>
                    <a:lnTo>
                      <a:pt x="878" y="1182"/>
                    </a:lnTo>
                    <a:lnTo>
                      <a:pt x="880" y="1184"/>
                    </a:lnTo>
                    <a:lnTo>
                      <a:pt x="878" y="1186"/>
                    </a:lnTo>
                    <a:lnTo>
                      <a:pt x="878" y="1188"/>
                    </a:lnTo>
                    <a:lnTo>
                      <a:pt x="878" y="1188"/>
                    </a:lnTo>
                    <a:lnTo>
                      <a:pt x="886" y="1184"/>
                    </a:lnTo>
                    <a:lnTo>
                      <a:pt x="886" y="1184"/>
                    </a:lnTo>
                    <a:lnTo>
                      <a:pt x="892" y="1182"/>
                    </a:lnTo>
                    <a:lnTo>
                      <a:pt x="892" y="1184"/>
                    </a:lnTo>
                    <a:lnTo>
                      <a:pt x="890" y="1186"/>
                    </a:lnTo>
                    <a:lnTo>
                      <a:pt x="886" y="1190"/>
                    </a:lnTo>
                    <a:lnTo>
                      <a:pt x="886" y="1190"/>
                    </a:lnTo>
                    <a:lnTo>
                      <a:pt x="884" y="1190"/>
                    </a:lnTo>
                    <a:lnTo>
                      <a:pt x="882" y="1192"/>
                    </a:lnTo>
                    <a:lnTo>
                      <a:pt x="886" y="1194"/>
                    </a:lnTo>
                    <a:lnTo>
                      <a:pt x="890" y="1196"/>
                    </a:lnTo>
                    <a:lnTo>
                      <a:pt x="890" y="1198"/>
                    </a:lnTo>
                    <a:lnTo>
                      <a:pt x="890" y="1200"/>
                    </a:lnTo>
                    <a:lnTo>
                      <a:pt x="890" y="1200"/>
                    </a:lnTo>
                    <a:lnTo>
                      <a:pt x="886" y="1204"/>
                    </a:lnTo>
                    <a:lnTo>
                      <a:pt x="886" y="1206"/>
                    </a:lnTo>
                    <a:lnTo>
                      <a:pt x="884" y="1208"/>
                    </a:lnTo>
                    <a:lnTo>
                      <a:pt x="878" y="1208"/>
                    </a:lnTo>
                    <a:lnTo>
                      <a:pt x="878" y="1208"/>
                    </a:lnTo>
                    <a:lnTo>
                      <a:pt x="874" y="1208"/>
                    </a:lnTo>
                    <a:lnTo>
                      <a:pt x="872" y="1208"/>
                    </a:lnTo>
                    <a:lnTo>
                      <a:pt x="870" y="1204"/>
                    </a:lnTo>
                    <a:lnTo>
                      <a:pt x="868" y="1198"/>
                    </a:lnTo>
                    <a:lnTo>
                      <a:pt x="866" y="1198"/>
                    </a:lnTo>
                    <a:lnTo>
                      <a:pt x="864" y="1198"/>
                    </a:lnTo>
                    <a:lnTo>
                      <a:pt x="864" y="1198"/>
                    </a:lnTo>
                    <a:lnTo>
                      <a:pt x="862" y="1198"/>
                    </a:lnTo>
                    <a:lnTo>
                      <a:pt x="862" y="1200"/>
                    </a:lnTo>
                    <a:lnTo>
                      <a:pt x="862" y="1202"/>
                    </a:lnTo>
                    <a:lnTo>
                      <a:pt x="860" y="1204"/>
                    </a:lnTo>
                    <a:lnTo>
                      <a:pt x="860" y="1204"/>
                    </a:lnTo>
                    <a:lnTo>
                      <a:pt x="852" y="1204"/>
                    </a:lnTo>
                    <a:lnTo>
                      <a:pt x="848" y="1208"/>
                    </a:lnTo>
                    <a:lnTo>
                      <a:pt x="846" y="1210"/>
                    </a:lnTo>
                    <a:lnTo>
                      <a:pt x="846" y="1214"/>
                    </a:lnTo>
                    <a:lnTo>
                      <a:pt x="846" y="1214"/>
                    </a:lnTo>
                    <a:lnTo>
                      <a:pt x="846" y="1216"/>
                    </a:lnTo>
                    <a:lnTo>
                      <a:pt x="844" y="1218"/>
                    </a:lnTo>
                    <a:lnTo>
                      <a:pt x="840" y="1220"/>
                    </a:lnTo>
                    <a:lnTo>
                      <a:pt x="834" y="1222"/>
                    </a:lnTo>
                    <a:lnTo>
                      <a:pt x="832" y="1224"/>
                    </a:lnTo>
                    <a:lnTo>
                      <a:pt x="830" y="1228"/>
                    </a:lnTo>
                    <a:lnTo>
                      <a:pt x="830" y="1228"/>
                    </a:lnTo>
                    <a:lnTo>
                      <a:pt x="828" y="1234"/>
                    </a:lnTo>
                    <a:lnTo>
                      <a:pt x="824" y="1240"/>
                    </a:lnTo>
                    <a:lnTo>
                      <a:pt x="818" y="1246"/>
                    </a:lnTo>
                    <a:lnTo>
                      <a:pt x="812" y="1250"/>
                    </a:lnTo>
                    <a:lnTo>
                      <a:pt x="808" y="1252"/>
                    </a:lnTo>
                    <a:lnTo>
                      <a:pt x="806" y="1256"/>
                    </a:lnTo>
                    <a:lnTo>
                      <a:pt x="806" y="1256"/>
                    </a:lnTo>
                    <a:lnTo>
                      <a:pt x="806" y="1258"/>
                    </a:lnTo>
                    <a:lnTo>
                      <a:pt x="806" y="1260"/>
                    </a:lnTo>
                    <a:lnTo>
                      <a:pt x="810" y="1260"/>
                    </a:lnTo>
                    <a:lnTo>
                      <a:pt x="816" y="1258"/>
                    </a:lnTo>
                    <a:lnTo>
                      <a:pt x="816" y="1258"/>
                    </a:lnTo>
                    <a:lnTo>
                      <a:pt x="818" y="1258"/>
                    </a:lnTo>
                    <a:lnTo>
                      <a:pt x="818" y="1258"/>
                    </a:lnTo>
                    <a:lnTo>
                      <a:pt x="818" y="1262"/>
                    </a:lnTo>
                    <a:lnTo>
                      <a:pt x="820" y="1262"/>
                    </a:lnTo>
                    <a:lnTo>
                      <a:pt x="822" y="1264"/>
                    </a:lnTo>
                    <a:lnTo>
                      <a:pt x="822" y="1268"/>
                    </a:lnTo>
                    <a:lnTo>
                      <a:pt x="822" y="1268"/>
                    </a:lnTo>
                    <a:lnTo>
                      <a:pt x="824" y="1270"/>
                    </a:lnTo>
                    <a:lnTo>
                      <a:pt x="826" y="1270"/>
                    </a:lnTo>
                    <a:lnTo>
                      <a:pt x="834" y="1270"/>
                    </a:lnTo>
                    <a:lnTo>
                      <a:pt x="848" y="1264"/>
                    </a:lnTo>
                    <a:lnTo>
                      <a:pt x="862" y="1254"/>
                    </a:lnTo>
                    <a:lnTo>
                      <a:pt x="862" y="1254"/>
                    </a:lnTo>
                    <a:lnTo>
                      <a:pt x="868" y="1250"/>
                    </a:lnTo>
                    <a:lnTo>
                      <a:pt x="868" y="1246"/>
                    </a:lnTo>
                    <a:lnTo>
                      <a:pt x="868" y="1246"/>
                    </a:lnTo>
                    <a:lnTo>
                      <a:pt x="864" y="1244"/>
                    </a:lnTo>
                    <a:lnTo>
                      <a:pt x="858" y="1244"/>
                    </a:lnTo>
                    <a:lnTo>
                      <a:pt x="858" y="1244"/>
                    </a:lnTo>
                    <a:lnTo>
                      <a:pt x="862" y="1242"/>
                    </a:lnTo>
                    <a:lnTo>
                      <a:pt x="862" y="1242"/>
                    </a:lnTo>
                    <a:lnTo>
                      <a:pt x="870" y="1238"/>
                    </a:lnTo>
                    <a:lnTo>
                      <a:pt x="874" y="1236"/>
                    </a:lnTo>
                    <a:lnTo>
                      <a:pt x="876" y="1234"/>
                    </a:lnTo>
                    <a:lnTo>
                      <a:pt x="880" y="1236"/>
                    </a:lnTo>
                    <a:lnTo>
                      <a:pt x="880" y="1236"/>
                    </a:lnTo>
                    <a:lnTo>
                      <a:pt x="884" y="1236"/>
                    </a:lnTo>
                    <a:lnTo>
                      <a:pt x="884" y="1238"/>
                    </a:lnTo>
                    <a:lnTo>
                      <a:pt x="878" y="1240"/>
                    </a:lnTo>
                    <a:lnTo>
                      <a:pt x="874" y="1242"/>
                    </a:lnTo>
                    <a:lnTo>
                      <a:pt x="872" y="1244"/>
                    </a:lnTo>
                    <a:lnTo>
                      <a:pt x="874" y="1246"/>
                    </a:lnTo>
                    <a:lnTo>
                      <a:pt x="880" y="1248"/>
                    </a:lnTo>
                    <a:lnTo>
                      <a:pt x="880" y="1248"/>
                    </a:lnTo>
                    <a:lnTo>
                      <a:pt x="884" y="1250"/>
                    </a:lnTo>
                    <a:lnTo>
                      <a:pt x="880" y="1254"/>
                    </a:lnTo>
                    <a:lnTo>
                      <a:pt x="860" y="1262"/>
                    </a:lnTo>
                    <a:lnTo>
                      <a:pt x="860" y="1262"/>
                    </a:lnTo>
                    <a:lnTo>
                      <a:pt x="854" y="1266"/>
                    </a:lnTo>
                    <a:lnTo>
                      <a:pt x="854" y="1266"/>
                    </a:lnTo>
                    <a:lnTo>
                      <a:pt x="854" y="1266"/>
                    </a:lnTo>
                    <a:lnTo>
                      <a:pt x="858" y="1268"/>
                    </a:lnTo>
                    <a:lnTo>
                      <a:pt x="858" y="1268"/>
                    </a:lnTo>
                    <a:lnTo>
                      <a:pt x="856" y="1268"/>
                    </a:lnTo>
                    <a:lnTo>
                      <a:pt x="856" y="1268"/>
                    </a:lnTo>
                    <a:lnTo>
                      <a:pt x="856" y="1270"/>
                    </a:lnTo>
                    <a:lnTo>
                      <a:pt x="856" y="1272"/>
                    </a:lnTo>
                    <a:lnTo>
                      <a:pt x="858" y="1272"/>
                    </a:lnTo>
                    <a:lnTo>
                      <a:pt x="862" y="1274"/>
                    </a:lnTo>
                    <a:lnTo>
                      <a:pt x="860" y="1276"/>
                    </a:lnTo>
                    <a:lnTo>
                      <a:pt x="860" y="1276"/>
                    </a:lnTo>
                    <a:lnTo>
                      <a:pt x="856" y="1276"/>
                    </a:lnTo>
                    <a:lnTo>
                      <a:pt x="852" y="1276"/>
                    </a:lnTo>
                    <a:lnTo>
                      <a:pt x="844" y="1276"/>
                    </a:lnTo>
                    <a:lnTo>
                      <a:pt x="836" y="1276"/>
                    </a:lnTo>
                    <a:lnTo>
                      <a:pt x="830" y="1276"/>
                    </a:lnTo>
                    <a:lnTo>
                      <a:pt x="826" y="1280"/>
                    </a:lnTo>
                    <a:lnTo>
                      <a:pt x="826" y="1280"/>
                    </a:lnTo>
                    <a:lnTo>
                      <a:pt x="822" y="1282"/>
                    </a:lnTo>
                    <a:lnTo>
                      <a:pt x="822" y="1282"/>
                    </a:lnTo>
                    <a:lnTo>
                      <a:pt x="822" y="1276"/>
                    </a:lnTo>
                    <a:lnTo>
                      <a:pt x="818" y="1268"/>
                    </a:lnTo>
                    <a:lnTo>
                      <a:pt x="818" y="1268"/>
                    </a:lnTo>
                    <a:lnTo>
                      <a:pt x="814" y="1262"/>
                    </a:lnTo>
                    <a:lnTo>
                      <a:pt x="810" y="1262"/>
                    </a:lnTo>
                    <a:lnTo>
                      <a:pt x="806" y="1266"/>
                    </a:lnTo>
                    <a:lnTo>
                      <a:pt x="798" y="1268"/>
                    </a:lnTo>
                    <a:lnTo>
                      <a:pt x="798" y="1268"/>
                    </a:lnTo>
                    <a:lnTo>
                      <a:pt x="796" y="1268"/>
                    </a:lnTo>
                    <a:lnTo>
                      <a:pt x="794" y="1270"/>
                    </a:lnTo>
                    <a:lnTo>
                      <a:pt x="792" y="1274"/>
                    </a:lnTo>
                    <a:lnTo>
                      <a:pt x="792" y="1276"/>
                    </a:lnTo>
                    <a:lnTo>
                      <a:pt x="790" y="1274"/>
                    </a:lnTo>
                    <a:lnTo>
                      <a:pt x="790" y="1274"/>
                    </a:lnTo>
                    <a:lnTo>
                      <a:pt x="784" y="1274"/>
                    </a:lnTo>
                    <a:lnTo>
                      <a:pt x="778" y="1274"/>
                    </a:lnTo>
                    <a:lnTo>
                      <a:pt x="762" y="1280"/>
                    </a:lnTo>
                    <a:lnTo>
                      <a:pt x="762" y="1280"/>
                    </a:lnTo>
                    <a:lnTo>
                      <a:pt x="760" y="1282"/>
                    </a:lnTo>
                    <a:lnTo>
                      <a:pt x="760" y="1284"/>
                    </a:lnTo>
                    <a:lnTo>
                      <a:pt x="766" y="1288"/>
                    </a:lnTo>
                    <a:lnTo>
                      <a:pt x="768" y="1290"/>
                    </a:lnTo>
                    <a:lnTo>
                      <a:pt x="768" y="1292"/>
                    </a:lnTo>
                    <a:lnTo>
                      <a:pt x="766" y="1294"/>
                    </a:lnTo>
                    <a:lnTo>
                      <a:pt x="760" y="1294"/>
                    </a:lnTo>
                    <a:lnTo>
                      <a:pt x="760" y="1294"/>
                    </a:lnTo>
                    <a:lnTo>
                      <a:pt x="754" y="1296"/>
                    </a:lnTo>
                    <a:lnTo>
                      <a:pt x="752" y="1298"/>
                    </a:lnTo>
                    <a:lnTo>
                      <a:pt x="752" y="1298"/>
                    </a:lnTo>
                    <a:lnTo>
                      <a:pt x="752" y="1300"/>
                    </a:lnTo>
                    <a:lnTo>
                      <a:pt x="756" y="1302"/>
                    </a:lnTo>
                    <a:lnTo>
                      <a:pt x="746" y="1300"/>
                    </a:lnTo>
                    <a:lnTo>
                      <a:pt x="746" y="1300"/>
                    </a:lnTo>
                    <a:lnTo>
                      <a:pt x="738" y="1298"/>
                    </a:lnTo>
                    <a:lnTo>
                      <a:pt x="742" y="1300"/>
                    </a:lnTo>
                    <a:lnTo>
                      <a:pt x="744" y="1304"/>
                    </a:lnTo>
                    <a:lnTo>
                      <a:pt x="744" y="1306"/>
                    </a:lnTo>
                    <a:lnTo>
                      <a:pt x="740" y="1308"/>
                    </a:lnTo>
                    <a:lnTo>
                      <a:pt x="740" y="1308"/>
                    </a:lnTo>
                    <a:lnTo>
                      <a:pt x="728" y="1308"/>
                    </a:lnTo>
                    <a:lnTo>
                      <a:pt x="716" y="1308"/>
                    </a:lnTo>
                    <a:lnTo>
                      <a:pt x="708" y="1306"/>
                    </a:lnTo>
                    <a:lnTo>
                      <a:pt x="704" y="1308"/>
                    </a:lnTo>
                    <a:lnTo>
                      <a:pt x="704" y="1308"/>
                    </a:lnTo>
                    <a:lnTo>
                      <a:pt x="702" y="1310"/>
                    </a:lnTo>
                    <a:lnTo>
                      <a:pt x="702" y="1316"/>
                    </a:lnTo>
                    <a:lnTo>
                      <a:pt x="704" y="1318"/>
                    </a:lnTo>
                    <a:lnTo>
                      <a:pt x="708" y="1320"/>
                    </a:lnTo>
                    <a:lnTo>
                      <a:pt x="712" y="1320"/>
                    </a:lnTo>
                    <a:lnTo>
                      <a:pt x="718" y="1320"/>
                    </a:lnTo>
                    <a:lnTo>
                      <a:pt x="718" y="1320"/>
                    </a:lnTo>
                    <a:lnTo>
                      <a:pt x="726" y="1318"/>
                    </a:lnTo>
                    <a:lnTo>
                      <a:pt x="724" y="1320"/>
                    </a:lnTo>
                    <a:lnTo>
                      <a:pt x="720" y="1324"/>
                    </a:lnTo>
                    <a:lnTo>
                      <a:pt x="720" y="1328"/>
                    </a:lnTo>
                    <a:lnTo>
                      <a:pt x="722" y="1332"/>
                    </a:lnTo>
                    <a:lnTo>
                      <a:pt x="722" y="1332"/>
                    </a:lnTo>
                    <a:lnTo>
                      <a:pt x="724" y="1334"/>
                    </a:lnTo>
                    <a:lnTo>
                      <a:pt x="718" y="1332"/>
                    </a:lnTo>
                    <a:lnTo>
                      <a:pt x="704" y="1328"/>
                    </a:lnTo>
                    <a:lnTo>
                      <a:pt x="696" y="1328"/>
                    </a:lnTo>
                    <a:lnTo>
                      <a:pt x="686" y="1330"/>
                    </a:lnTo>
                    <a:lnTo>
                      <a:pt x="686" y="1330"/>
                    </a:lnTo>
                    <a:lnTo>
                      <a:pt x="678" y="1334"/>
                    </a:lnTo>
                    <a:lnTo>
                      <a:pt x="676" y="1336"/>
                    </a:lnTo>
                    <a:lnTo>
                      <a:pt x="678" y="1336"/>
                    </a:lnTo>
                    <a:lnTo>
                      <a:pt x="682" y="1338"/>
                    </a:lnTo>
                    <a:lnTo>
                      <a:pt x="694" y="1340"/>
                    </a:lnTo>
                    <a:lnTo>
                      <a:pt x="698" y="1342"/>
                    </a:lnTo>
                    <a:lnTo>
                      <a:pt x="702" y="1344"/>
                    </a:lnTo>
                    <a:lnTo>
                      <a:pt x="702" y="1344"/>
                    </a:lnTo>
                    <a:lnTo>
                      <a:pt x="704" y="1348"/>
                    </a:lnTo>
                    <a:lnTo>
                      <a:pt x="700" y="1346"/>
                    </a:lnTo>
                    <a:lnTo>
                      <a:pt x="696" y="1344"/>
                    </a:lnTo>
                    <a:lnTo>
                      <a:pt x="692" y="1344"/>
                    </a:lnTo>
                    <a:lnTo>
                      <a:pt x="684" y="1344"/>
                    </a:lnTo>
                    <a:lnTo>
                      <a:pt x="676" y="1346"/>
                    </a:lnTo>
                    <a:lnTo>
                      <a:pt x="676" y="1346"/>
                    </a:lnTo>
                    <a:lnTo>
                      <a:pt x="668" y="1350"/>
                    </a:lnTo>
                    <a:lnTo>
                      <a:pt x="664" y="1354"/>
                    </a:lnTo>
                    <a:lnTo>
                      <a:pt x="662" y="1356"/>
                    </a:lnTo>
                    <a:lnTo>
                      <a:pt x="662" y="1358"/>
                    </a:lnTo>
                    <a:lnTo>
                      <a:pt x="664" y="1358"/>
                    </a:lnTo>
                    <a:lnTo>
                      <a:pt x="658" y="1358"/>
                    </a:lnTo>
                    <a:lnTo>
                      <a:pt x="658" y="1358"/>
                    </a:lnTo>
                    <a:lnTo>
                      <a:pt x="654" y="1358"/>
                    </a:lnTo>
                    <a:lnTo>
                      <a:pt x="652" y="1358"/>
                    </a:lnTo>
                    <a:lnTo>
                      <a:pt x="652" y="1360"/>
                    </a:lnTo>
                    <a:lnTo>
                      <a:pt x="654" y="1362"/>
                    </a:lnTo>
                    <a:lnTo>
                      <a:pt x="652" y="1364"/>
                    </a:lnTo>
                    <a:lnTo>
                      <a:pt x="646" y="1362"/>
                    </a:lnTo>
                    <a:lnTo>
                      <a:pt x="646" y="1362"/>
                    </a:lnTo>
                    <a:lnTo>
                      <a:pt x="628" y="1360"/>
                    </a:lnTo>
                    <a:lnTo>
                      <a:pt x="628" y="1360"/>
                    </a:lnTo>
                    <a:lnTo>
                      <a:pt x="628" y="1362"/>
                    </a:lnTo>
                    <a:lnTo>
                      <a:pt x="632" y="1366"/>
                    </a:lnTo>
                    <a:lnTo>
                      <a:pt x="632" y="1366"/>
                    </a:lnTo>
                    <a:lnTo>
                      <a:pt x="632" y="1368"/>
                    </a:lnTo>
                    <a:lnTo>
                      <a:pt x="632" y="1368"/>
                    </a:lnTo>
                    <a:lnTo>
                      <a:pt x="626" y="1370"/>
                    </a:lnTo>
                    <a:lnTo>
                      <a:pt x="622" y="1370"/>
                    </a:lnTo>
                    <a:lnTo>
                      <a:pt x="622" y="1370"/>
                    </a:lnTo>
                    <a:lnTo>
                      <a:pt x="624" y="1372"/>
                    </a:lnTo>
                    <a:lnTo>
                      <a:pt x="624" y="1372"/>
                    </a:lnTo>
                    <a:lnTo>
                      <a:pt x="628" y="1374"/>
                    </a:lnTo>
                    <a:lnTo>
                      <a:pt x="632" y="1376"/>
                    </a:lnTo>
                    <a:lnTo>
                      <a:pt x="644" y="1376"/>
                    </a:lnTo>
                    <a:lnTo>
                      <a:pt x="660" y="1378"/>
                    </a:lnTo>
                    <a:lnTo>
                      <a:pt x="666" y="1378"/>
                    </a:lnTo>
                    <a:lnTo>
                      <a:pt x="674" y="1382"/>
                    </a:lnTo>
                    <a:lnTo>
                      <a:pt x="674" y="1382"/>
                    </a:lnTo>
                    <a:lnTo>
                      <a:pt x="682" y="1386"/>
                    </a:lnTo>
                    <a:lnTo>
                      <a:pt x="680" y="1386"/>
                    </a:lnTo>
                    <a:lnTo>
                      <a:pt x="672" y="1384"/>
                    </a:lnTo>
                    <a:lnTo>
                      <a:pt x="668" y="1384"/>
                    </a:lnTo>
                    <a:lnTo>
                      <a:pt x="664" y="1386"/>
                    </a:lnTo>
                    <a:lnTo>
                      <a:pt x="664" y="1386"/>
                    </a:lnTo>
                    <a:lnTo>
                      <a:pt x="662" y="1386"/>
                    </a:lnTo>
                    <a:lnTo>
                      <a:pt x="660" y="1386"/>
                    </a:lnTo>
                    <a:lnTo>
                      <a:pt x="654" y="1382"/>
                    </a:lnTo>
                    <a:lnTo>
                      <a:pt x="648" y="1380"/>
                    </a:lnTo>
                    <a:lnTo>
                      <a:pt x="644" y="1378"/>
                    </a:lnTo>
                    <a:lnTo>
                      <a:pt x="638" y="1380"/>
                    </a:lnTo>
                    <a:lnTo>
                      <a:pt x="630" y="1384"/>
                    </a:lnTo>
                    <a:lnTo>
                      <a:pt x="630" y="1384"/>
                    </a:lnTo>
                    <a:lnTo>
                      <a:pt x="624" y="1390"/>
                    </a:lnTo>
                    <a:lnTo>
                      <a:pt x="622" y="1394"/>
                    </a:lnTo>
                    <a:lnTo>
                      <a:pt x="624" y="1396"/>
                    </a:lnTo>
                    <a:lnTo>
                      <a:pt x="626" y="1398"/>
                    </a:lnTo>
                    <a:lnTo>
                      <a:pt x="632" y="1404"/>
                    </a:lnTo>
                    <a:lnTo>
                      <a:pt x="632" y="1404"/>
                    </a:lnTo>
                    <a:lnTo>
                      <a:pt x="628" y="1406"/>
                    </a:lnTo>
                    <a:lnTo>
                      <a:pt x="628" y="1406"/>
                    </a:lnTo>
                    <a:lnTo>
                      <a:pt x="622" y="1410"/>
                    </a:lnTo>
                    <a:lnTo>
                      <a:pt x="622" y="1412"/>
                    </a:lnTo>
                    <a:lnTo>
                      <a:pt x="624" y="1412"/>
                    </a:lnTo>
                    <a:lnTo>
                      <a:pt x="628" y="1416"/>
                    </a:lnTo>
                    <a:lnTo>
                      <a:pt x="628" y="1416"/>
                    </a:lnTo>
                    <a:lnTo>
                      <a:pt x="626" y="1418"/>
                    </a:lnTo>
                    <a:lnTo>
                      <a:pt x="626" y="1418"/>
                    </a:lnTo>
                    <a:lnTo>
                      <a:pt x="626" y="1420"/>
                    </a:lnTo>
                    <a:lnTo>
                      <a:pt x="624" y="1424"/>
                    </a:lnTo>
                    <a:lnTo>
                      <a:pt x="626" y="1426"/>
                    </a:lnTo>
                    <a:lnTo>
                      <a:pt x="628" y="1428"/>
                    </a:lnTo>
                    <a:lnTo>
                      <a:pt x="632" y="1430"/>
                    </a:lnTo>
                    <a:lnTo>
                      <a:pt x="636" y="1430"/>
                    </a:lnTo>
                    <a:lnTo>
                      <a:pt x="642" y="1430"/>
                    </a:lnTo>
                    <a:lnTo>
                      <a:pt x="648" y="1428"/>
                    </a:lnTo>
                    <a:lnTo>
                      <a:pt x="648" y="1428"/>
                    </a:lnTo>
                    <a:lnTo>
                      <a:pt x="654" y="1424"/>
                    </a:lnTo>
                    <a:lnTo>
                      <a:pt x="660" y="1424"/>
                    </a:lnTo>
                    <a:lnTo>
                      <a:pt x="670" y="1426"/>
                    </a:lnTo>
                    <a:lnTo>
                      <a:pt x="678" y="1428"/>
                    </a:lnTo>
                    <a:lnTo>
                      <a:pt x="680" y="1426"/>
                    </a:lnTo>
                    <a:lnTo>
                      <a:pt x="684" y="1422"/>
                    </a:lnTo>
                    <a:lnTo>
                      <a:pt x="684" y="1422"/>
                    </a:lnTo>
                    <a:lnTo>
                      <a:pt x="686" y="1420"/>
                    </a:lnTo>
                    <a:lnTo>
                      <a:pt x="688" y="1418"/>
                    </a:lnTo>
                    <a:lnTo>
                      <a:pt x="692" y="1420"/>
                    </a:lnTo>
                    <a:lnTo>
                      <a:pt x="700" y="1424"/>
                    </a:lnTo>
                    <a:lnTo>
                      <a:pt x="704" y="1426"/>
                    </a:lnTo>
                    <a:lnTo>
                      <a:pt x="710" y="1426"/>
                    </a:lnTo>
                    <a:lnTo>
                      <a:pt x="710" y="1426"/>
                    </a:lnTo>
                    <a:lnTo>
                      <a:pt x="720" y="1424"/>
                    </a:lnTo>
                    <a:lnTo>
                      <a:pt x="726" y="1424"/>
                    </a:lnTo>
                    <a:lnTo>
                      <a:pt x="726" y="1426"/>
                    </a:lnTo>
                    <a:lnTo>
                      <a:pt x="724" y="1426"/>
                    </a:lnTo>
                    <a:lnTo>
                      <a:pt x="716" y="1430"/>
                    </a:lnTo>
                    <a:lnTo>
                      <a:pt x="716" y="1430"/>
                    </a:lnTo>
                    <a:lnTo>
                      <a:pt x="710" y="1432"/>
                    </a:lnTo>
                    <a:lnTo>
                      <a:pt x="708" y="1434"/>
                    </a:lnTo>
                    <a:lnTo>
                      <a:pt x="708" y="1436"/>
                    </a:lnTo>
                    <a:lnTo>
                      <a:pt x="708" y="1438"/>
                    </a:lnTo>
                    <a:lnTo>
                      <a:pt x="708" y="1440"/>
                    </a:lnTo>
                    <a:lnTo>
                      <a:pt x="700" y="1434"/>
                    </a:lnTo>
                    <a:lnTo>
                      <a:pt x="700" y="1434"/>
                    </a:lnTo>
                    <a:lnTo>
                      <a:pt x="694" y="1428"/>
                    </a:lnTo>
                    <a:lnTo>
                      <a:pt x="690" y="1428"/>
                    </a:lnTo>
                    <a:lnTo>
                      <a:pt x="688" y="1428"/>
                    </a:lnTo>
                    <a:lnTo>
                      <a:pt x="686" y="1430"/>
                    </a:lnTo>
                    <a:lnTo>
                      <a:pt x="682" y="1434"/>
                    </a:lnTo>
                    <a:lnTo>
                      <a:pt x="680" y="1434"/>
                    </a:lnTo>
                    <a:lnTo>
                      <a:pt x="676" y="1432"/>
                    </a:lnTo>
                    <a:lnTo>
                      <a:pt x="676" y="1432"/>
                    </a:lnTo>
                    <a:lnTo>
                      <a:pt x="672" y="1430"/>
                    </a:lnTo>
                    <a:lnTo>
                      <a:pt x="666" y="1430"/>
                    </a:lnTo>
                    <a:lnTo>
                      <a:pt x="656" y="1432"/>
                    </a:lnTo>
                    <a:lnTo>
                      <a:pt x="646" y="1436"/>
                    </a:lnTo>
                    <a:lnTo>
                      <a:pt x="640" y="1436"/>
                    </a:lnTo>
                    <a:lnTo>
                      <a:pt x="636" y="1436"/>
                    </a:lnTo>
                    <a:lnTo>
                      <a:pt x="636" y="1436"/>
                    </a:lnTo>
                    <a:lnTo>
                      <a:pt x="626" y="1434"/>
                    </a:lnTo>
                    <a:lnTo>
                      <a:pt x="624" y="1436"/>
                    </a:lnTo>
                    <a:lnTo>
                      <a:pt x="626" y="1442"/>
                    </a:lnTo>
                    <a:lnTo>
                      <a:pt x="626" y="1442"/>
                    </a:lnTo>
                    <a:lnTo>
                      <a:pt x="626" y="1446"/>
                    </a:lnTo>
                    <a:lnTo>
                      <a:pt x="626" y="1448"/>
                    </a:lnTo>
                    <a:lnTo>
                      <a:pt x="632" y="1448"/>
                    </a:lnTo>
                    <a:lnTo>
                      <a:pt x="636" y="1448"/>
                    </a:lnTo>
                    <a:lnTo>
                      <a:pt x="636" y="1450"/>
                    </a:lnTo>
                    <a:lnTo>
                      <a:pt x="638" y="1454"/>
                    </a:lnTo>
                    <a:lnTo>
                      <a:pt x="638" y="1454"/>
                    </a:lnTo>
                    <a:lnTo>
                      <a:pt x="636" y="1456"/>
                    </a:lnTo>
                    <a:lnTo>
                      <a:pt x="636" y="1456"/>
                    </a:lnTo>
                    <a:lnTo>
                      <a:pt x="630" y="1454"/>
                    </a:lnTo>
                    <a:lnTo>
                      <a:pt x="626" y="1454"/>
                    </a:lnTo>
                    <a:lnTo>
                      <a:pt x="624" y="1454"/>
                    </a:lnTo>
                    <a:lnTo>
                      <a:pt x="626" y="1458"/>
                    </a:lnTo>
                    <a:lnTo>
                      <a:pt x="626" y="1458"/>
                    </a:lnTo>
                    <a:lnTo>
                      <a:pt x="628" y="1460"/>
                    </a:lnTo>
                    <a:lnTo>
                      <a:pt x="630" y="1462"/>
                    </a:lnTo>
                    <a:lnTo>
                      <a:pt x="634" y="1462"/>
                    </a:lnTo>
                    <a:lnTo>
                      <a:pt x="638" y="1462"/>
                    </a:lnTo>
                    <a:lnTo>
                      <a:pt x="640" y="1464"/>
                    </a:lnTo>
                    <a:lnTo>
                      <a:pt x="638" y="1468"/>
                    </a:lnTo>
                    <a:lnTo>
                      <a:pt x="638" y="1468"/>
                    </a:lnTo>
                    <a:lnTo>
                      <a:pt x="638" y="1472"/>
                    </a:lnTo>
                    <a:lnTo>
                      <a:pt x="636" y="1476"/>
                    </a:lnTo>
                    <a:lnTo>
                      <a:pt x="630" y="1478"/>
                    </a:lnTo>
                    <a:lnTo>
                      <a:pt x="626" y="1480"/>
                    </a:lnTo>
                    <a:lnTo>
                      <a:pt x="626" y="1480"/>
                    </a:lnTo>
                    <a:lnTo>
                      <a:pt x="626" y="1482"/>
                    </a:lnTo>
                    <a:lnTo>
                      <a:pt x="626" y="1482"/>
                    </a:lnTo>
                    <a:lnTo>
                      <a:pt x="636" y="1490"/>
                    </a:lnTo>
                    <a:lnTo>
                      <a:pt x="638" y="1492"/>
                    </a:lnTo>
                    <a:lnTo>
                      <a:pt x="642" y="1490"/>
                    </a:lnTo>
                    <a:lnTo>
                      <a:pt x="642" y="1490"/>
                    </a:lnTo>
                    <a:lnTo>
                      <a:pt x="646" y="1488"/>
                    </a:lnTo>
                    <a:lnTo>
                      <a:pt x="646" y="1488"/>
                    </a:lnTo>
                    <a:lnTo>
                      <a:pt x="648" y="1490"/>
                    </a:lnTo>
                    <a:lnTo>
                      <a:pt x="650" y="1494"/>
                    </a:lnTo>
                    <a:lnTo>
                      <a:pt x="650" y="1494"/>
                    </a:lnTo>
                    <a:lnTo>
                      <a:pt x="652" y="1492"/>
                    </a:lnTo>
                    <a:lnTo>
                      <a:pt x="652" y="1492"/>
                    </a:lnTo>
                    <a:lnTo>
                      <a:pt x="654" y="1492"/>
                    </a:lnTo>
                    <a:lnTo>
                      <a:pt x="654" y="1492"/>
                    </a:lnTo>
                    <a:lnTo>
                      <a:pt x="654" y="1496"/>
                    </a:lnTo>
                    <a:lnTo>
                      <a:pt x="654" y="1500"/>
                    </a:lnTo>
                    <a:lnTo>
                      <a:pt x="654" y="1502"/>
                    </a:lnTo>
                    <a:lnTo>
                      <a:pt x="656" y="1502"/>
                    </a:lnTo>
                    <a:lnTo>
                      <a:pt x="656" y="1502"/>
                    </a:lnTo>
                    <a:lnTo>
                      <a:pt x="658" y="1502"/>
                    </a:lnTo>
                    <a:lnTo>
                      <a:pt x="658" y="1500"/>
                    </a:lnTo>
                    <a:lnTo>
                      <a:pt x="660" y="1494"/>
                    </a:lnTo>
                    <a:lnTo>
                      <a:pt x="662" y="1488"/>
                    </a:lnTo>
                    <a:lnTo>
                      <a:pt x="662" y="1486"/>
                    </a:lnTo>
                    <a:lnTo>
                      <a:pt x="666" y="1486"/>
                    </a:lnTo>
                    <a:lnTo>
                      <a:pt x="666" y="1486"/>
                    </a:lnTo>
                    <a:lnTo>
                      <a:pt x="668" y="1486"/>
                    </a:lnTo>
                    <a:lnTo>
                      <a:pt x="670" y="1488"/>
                    </a:lnTo>
                    <a:lnTo>
                      <a:pt x="666" y="1496"/>
                    </a:lnTo>
                    <a:lnTo>
                      <a:pt x="660" y="1504"/>
                    </a:lnTo>
                    <a:lnTo>
                      <a:pt x="654" y="1508"/>
                    </a:lnTo>
                    <a:lnTo>
                      <a:pt x="654" y="1508"/>
                    </a:lnTo>
                    <a:lnTo>
                      <a:pt x="652" y="1510"/>
                    </a:lnTo>
                    <a:lnTo>
                      <a:pt x="650" y="1512"/>
                    </a:lnTo>
                    <a:lnTo>
                      <a:pt x="654" y="1514"/>
                    </a:lnTo>
                    <a:lnTo>
                      <a:pt x="658" y="1518"/>
                    </a:lnTo>
                    <a:lnTo>
                      <a:pt x="658" y="1520"/>
                    </a:lnTo>
                    <a:lnTo>
                      <a:pt x="656" y="1522"/>
                    </a:lnTo>
                    <a:lnTo>
                      <a:pt x="656" y="1522"/>
                    </a:lnTo>
                    <a:lnTo>
                      <a:pt x="650" y="1524"/>
                    </a:lnTo>
                    <a:lnTo>
                      <a:pt x="648" y="1522"/>
                    </a:lnTo>
                    <a:lnTo>
                      <a:pt x="644" y="1522"/>
                    </a:lnTo>
                    <a:lnTo>
                      <a:pt x="636" y="1526"/>
                    </a:lnTo>
                    <a:lnTo>
                      <a:pt x="636" y="1526"/>
                    </a:lnTo>
                    <a:lnTo>
                      <a:pt x="632" y="1530"/>
                    </a:lnTo>
                    <a:lnTo>
                      <a:pt x="632" y="1536"/>
                    </a:lnTo>
                    <a:lnTo>
                      <a:pt x="632" y="1540"/>
                    </a:lnTo>
                    <a:lnTo>
                      <a:pt x="634" y="1544"/>
                    </a:lnTo>
                    <a:lnTo>
                      <a:pt x="640" y="1548"/>
                    </a:lnTo>
                    <a:lnTo>
                      <a:pt x="644" y="1548"/>
                    </a:lnTo>
                    <a:lnTo>
                      <a:pt x="646" y="1548"/>
                    </a:lnTo>
                    <a:lnTo>
                      <a:pt x="646" y="1548"/>
                    </a:lnTo>
                    <a:lnTo>
                      <a:pt x="646" y="1546"/>
                    </a:lnTo>
                    <a:lnTo>
                      <a:pt x="648" y="1546"/>
                    </a:lnTo>
                    <a:lnTo>
                      <a:pt x="650" y="1546"/>
                    </a:lnTo>
                    <a:lnTo>
                      <a:pt x="654" y="1548"/>
                    </a:lnTo>
                    <a:lnTo>
                      <a:pt x="656" y="1544"/>
                    </a:lnTo>
                    <a:lnTo>
                      <a:pt x="656" y="1544"/>
                    </a:lnTo>
                    <a:lnTo>
                      <a:pt x="658" y="1542"/>
                    </a:lnTo>
                    <a:lnTo>
                      <a:pt x="660" y="1540"/>
                    </a:lnTo>
                    <a:lnTo>
                      <a:pt x="664" y="1542"/>
                    </a:lnTo>
                    <a:lnTo>
                      <a:pt x="666" y="1544"/>
                    </a:lnTo>
                    <a:lnTo>
                      <a:pt x="664" y="1548"/>
                    </a:lnTo>
                    <a:lnTo>
                      <a:pt x="662" y="1548"/>
                    </a:lnTo>
                    <a:lnTo>
                      <a:pt x="662" y="1548"/>
                    </a:lnTo>
                    <a:lnTo>
                      <a:pt x="660" y="1550"/>
                    </a:lnTo>
                    <a:lnTo>
                      <a:pt x="660" y="1552"/>
                    </a:lnTo>
                    <a:lnTo>
                      <a:pt x="662" y="1554"/>
                    </a:lnTo>
                    <a:lnTo>
                      <a:pt x="664" y="1556"/>
                    </a:lnTo>
                    <a:lnTo>
                      <a:pt x="662" y="1558"/>
                    </a:lnTo>
                    <a:lnTo>
                      <a:pt x="662" y="1558"/>
                    </a:lnTo>
                    <a:lnTo>
                      <a:pt x="660" y="1560"/>
                    </a:lnTo>
                    <a:lnTo>
                      <a:pt x="660" y="1562"/>
                    </a:lnTo>
                    <a:lnTo>
                      <a:pt x="662" y="1564"/>
                    </a:lnTo>
                    <a:lnTo>
                      <a:pt x="662" y="1568"/>
                    </a:lnTo>
                    <a:lnTo>
                      <a:pt x="662" y="1568"/>
                    </a:lnTo>
                    <a:lnTo>
                      <a:pt x="658" y="1570"/>
                    </a:lnTo>
                    <a:lnTo>
                      <a:pt x="658" y="1570"/>
                    </a:lnTo>
                    <a:lnTo>
                      <a:pt x="654" y="1572"/>
                    </a:lnTo>
                    <a:lnTo>
                      <a:pt x="652" y="1570"/>
                    </a:lnTo>
                    <a:lnTo>
                      <a:pt x="648" y="1568"/>
                    </a:lnTo>
                    <a:lnTo>
                      <a:pt x="646" y="1566"/>
                    </a:lnTo>
                    <a:lnTo>
                      <a:pt x="646" y="1566"/>
                    </a:lnTo>
                    <a:lnTo>
                      <a:pt x="644" y="1576"/>
                    </a:lnTo>
                    <a:lnTo>
                      <a:pt x="644" y="1576"/>
                    </a:lnTo>
                    <a:lnTo>
                      <a:pt x="642" y="1586"/>
                    </a:lnTo>
                    <a:lnTo>
                      <a:pt x="646" y="1592"/>
                    </a:lnTo>
                    <a:lnTo>
                      <a:pt x="646" y="1592"/>
                    </a:lnTo>
                    <a:lnTo>
                      <a:pt x="652" y="1598"/>
                    </a:lnTo>
                    <a:lnTo>
                      <a:pt x="658" y="1600"/>
                    </a:lnTo>
                    <a:lnTo>
                      <a:pt x="662" y="1600"/>
                    </a:lnTo>
                    <a:lnTo>
                      <a:pt x="664" y="1604"/>
                    </a:lnTo>
                    <a:lnTo>
                      <a:pt x="664" y="1604"/>
                    </a:lnTo>
                    <a:lnTo>
                      <a:pt x="668" y="1608"/>
                    </a:lnTo>
                    <a:lnTo>
                      <a:pt x="674" y="1612"/>
                    </a:lnTo>
                    <a:lnTo>
                      <a:pt x="688" y="1616"/>
                    </a:lnTo>
                    <a:lnTo>
                      <a:pt x="688" y="1616"/>
                    </a:lnTo>
                    <a:lnTo>
                      <a:pt x="690" y="1618"/>
                    </a:lnTo>
                    <a:lnTo>
                      <a:pt x="688" y="1620"/>
                    </a:lnTo>
                    <a:lnTo>
                      <a:pt x="688" y="1624"/>
                    </a:lnTo>
                    <a:lnTo>
                      <a:pt x="688" y="1624"/>
                    </a:lnTo>
                    <a:lnTo>
                      <a:pt x="690" y="1626"/>
                    </a:lnTo>
                    <a:lnTo>
                      <a:pt x="690" y="1626"/>
                    </a:lnTo>
                    <a:lnTo>
                      <a:pt x="692" y="1628"/>
                    </a:lnTo>
                    <a:lnTo>
                      <a:pt x="694" y="1628"/>
                    </a:lnTo>
                    <a:lnTo>
                      <a:pt x="696" y="1626"/>
                    </a:lnTo>
                    <a:lnTo>
                      <a:pt x="700" y="1626"/>
                    </a:lnTo>
                    <a:lnTo>
                      <a:pt x="700" y="1626"/>
                    </a:lnTo>
                    <a:lnTo>
                      <a:pt x="704" y="1630"/>
                    </a:lnTo>
                    <a:lnTo>
                      <a:pt x="706" y="1632"/>
                    </a:lnTo>
                    <a:lnTo>
                      <a:pt x="706" y="1632"/>
                    </a:lnTo>
                    <a:lnTo>
                      <a:pt x="710" y="1630"/>
                    </a:lnTo>
                    <a:lnTo>
                      <a:pt x="710" y="1630"/>
                    </a:lnTo>
                    <a:lnTo>
                      <a:pt x="720" y="1628"/>
                    </a:lnTo>
                    <a:lnTo>
                      <a:pt x="734" y="1628"/>
                    </a:lnTo>
                    <a:lnTo>
                      <a:pt x="746" y="1626"/>
                    </a:lnTo>
                    <a:lnTo>
                      <a:pt x="752" y="1624"/>
                    </a:lnTo>
                    <a:lnTo>
                      <a:pt x="756" y="1620"/>
                    </a:lnTo>
                    <a:lnTo>
                      <a:pt x="756" y="1620"/>
                    </a:lnTo>
                    <a:lnTo>
                      <a:pt x="760" y="1618"/>
                    </a:lnTo>
                    <a:lnTo>
                      <a:pt x="766" y="1614"/>
                    </a:lnTo>
                    <a:lnTo>
                      <a:pt x="774" y="1608"/>
                    </a:lnTo>
                    <a:lnTo>
                      <a:pt x="780" y="1600"/>
                    </a:lnTo>
                    <a:lnTo>
                      <a:pt x="780" y="1600"/>
                    </a:lnTo>
                    <a:lnTo>
                      <a:pt x="782" y="1596"/>
                    </a:lnTo>
                    <a:lnTo>
                      <a:pt x="784" y="1594"/>
                    </a:lnTo>
                    <a:lnTo>
                      <a:pt x="790" y="1592"/>
                    </a:lnTo>
                    <a:lnTo>
                      <a:pt x="792" y="1592"/>
                    </a:lnTo>
                    <a:lnTo>
                      <a:pt x="794" y="1588"/>
                    </a:lnTo>
                    <a:lnTo>
                      <a:pt x="794" y="1588"/>
                    </a:lnTo>
                    <a:lnTo>
                      <a:pt x="794" y="1586"/>
                    </a:lnTo>
                    <a:lnTo>
                      <a:pt x="796" y="1586"/>
                    </a:lnTo>
                    <a:lnTo>
                      <a:pt x="800" y="1584"/>
                    </a:lnTo>
                    <a:lnTo>
                      <a:pt x="804" y="1582"/>
                    </a:lnTo>
                    <a:lnTo>
                      <a:pt x="804" y="1582"/>
                    </a:lnTo>
                    <a:lnTo>
                      <a:pt x="800" y="1578"/>
                    </a:lnTo>
                    <a:lnTo>
                      <a:pt x="800" y="1578"/>
                    </a:lnTo>
                    <a:lnTo>
                      <a:pt x="798" y="1576"/>
                    </a:lnTo>
                    <a:lnTo>
                      <a:pt x="798" y="1576"/>
                    </a:lnTo>
                    <a:lnTo>
                      <a:pt x="802" y="1574"/>
                    </a:lnTo>
                    <a:lnTo>
                      <a:pt x="810" y="1572"/>
                    </a:lnTo>
                    <a:lnTo>
                      <a:pt x="812" y="1570"/>
                    </a:lnTo>
                    <a:lnTo>
                      <a:pt x="812" y="1566"/>
                    </a:lnTo>
                    <a:lnTo>
                      <a:pt x="812" y="1566"/>
                    </a:lnTo>
                    <a:lnTo>
                      <a:pt x="812" y="1562"/>
                    </a:lnTo>
                    <a:lnTo>
                      <a:pt x="816" y="1564"/>
                    </a:lnTo>
                    <a:lnTo>
                      <a:pt x="820" y="1568"/>
                    </a:lnTo>
                    <a:lnTo>
                      <a:pt x="822" y="1570"/>
                    </a:lnTo>
                    <a:lnTo>
                      <a:pt x="824" y="1568"/>
                    </a:lnTo>
                    <a:lnTo>
                      <a:pt x="824" y="1568"/>
                    </a:lnTo>
                    <a:lnTo>
                      <a:pt x="828" y="1566"/>
                    </a:lnTo>
                    <a:lnTo>
                      <a:pt x="834" y="1566"/>
                    </a:lnTo>
                    <a:lnTo>
                      <a:pt x="838" y="1564"/>
                    </a:lnTo>
                    <a:lnTo>
                      <a:pt x="838" y="1558"/>
                    </a:lnTo>
                    <a:lnTo>
                      <a:pt x="838" y="1558"/>
                    </a:lnTo>
                    <a:lnTo>
                      <a:pt x="838" y="1554"/>
                    </a:lnTo>
                    <a:lnTo>
                      <a:pt x="840" y="1552"/>
                    </a:lnTo>
                    <a:lnTo>
                      <a:pt x="844" y="1550"/>
                    </a:lnTo>
                    <a:lnTo>
                      <a:pt x="846" y="1548"/>
                    </a:lnTo>
                    <a:lnTo>
                      <a:pt x="846" y="1548"/>
                    </a:lnTo>
                    <a:lnTo>
                      <a:pt x="842" y="1540"/>
                    </a:lnTo>
                    <a:lnTo>
                      <a:pt x="842" y="1540"/>
                    </a:lnTo>
                    <a:lnTo>
                      <a:pt x="840" y="1536"/>
                    </a:lnTo>
                    <a:lnTo>
                      <a:pt x="838" y="1532"/>
                    </a:lnTo>
                    <a:lnTo>
                      <a:pt x="840" y="1528"/>
                    </a:lnTo>
                    <a:lnTo>
                      <a:pt x="844" y="1532"/>
                    </a:lnTo>
                    <a:lnTo>
                      <a:pt x="844" y="1532"/>
                    </a:lnTo>
                    <a:lnTo>
                      <a:pt x="846" y="1534"/>
                    </a:lnTo>
                    <a:lnTo>
                      <a:pt x="848" y="1534"/>
                    </a:lnTo>
                    <a:lnTo>
                      <a:pt x="850" y="1530"/>
                    </a:lnTo>
                    <a:lnTo>
                      <a:pt x="850" y="1528"/>
                    </a:lnTo>
                    <a:lnTo>
                      <a:pt x="852" y="1530"/>
                    </a:lnTo>
                    <a:lnTo>
                      <a:pt x="852" y="1530"/>
                    </a:lnTo>
                    <a:lnTo>
                      <a:pt x="852" y="1536"/>
                    </a:lnTo>
                    <a:lnTo>
                      <a:pt x="850" y="1538"/>
                    </a:lnTo>
                    <a:lnTo>
                      <a:pt x="850" y="1540"/>
                    </a:lnTo>
                    <a:lnTo>
                      <a:pt x="852" y="1542"/>
                    </a:lnTo>
                    <a:lnTo>
                      <a:pt x="852" y="1542"/>
                    </a:lnTo>
                    <a:lnTo>
                      <a:pt x="854" y="1548"/>
                    </a:lnTo>
                    <a:lnTo>
                      <a:pt x="854" y="1552"/>
                    </a:lnTo>
                    <a:lnTo>
                      <a:pt x="856" y="1554"/>
                    </a:lnTo>
                    <a:lnTo>
                      <a:pt x="862" y="1556"/>
                    </a:lnTo>
                    <a:lnTo>
                      <a:pt x="862" y="1556"/>
                    </a:lnTo>
                    <a:lnTo>
                      <a:pt x="866" y="1556"/>
                    </a:lnTo>
                    <a:lnTo>
                      <a:pt x="866" y="1558"/>
                    </a:lnTo>
                    <a:lnTo>
                      <a:pt x="868" y="1558"/>
                    </a:lnTo>
                    <a:lnTo>
                      <a:pt x="876" y="1560"/>
                    </a:lnTo>
                    <a:lnTo>
                      <a:pt x="876" y="1560"/>
                    </a:lnTo>
                    <a:lnTo>
                      <a:pt x="874" y="1564"/>
                    </a:lnTo>
                    <a:lnTo>
                      <a:pt x="872" y="1566"/>
                    </a:lnTo>
                    <a:lnTo>
                      <a:pt x="872" y="1570"/>
                    </a:lnTo>
                    <a:lnTo>
                      <a:pt x="874" y="1576"/>
                    </a:lnTo>
                    <a:lnTo>
                      <a:pt x="874" y="1576"/>
                    </a:lnTo>
                    <a:lnTo>
                      <a:pt x="876" y="1584"/>
                    </a:lnTo>
                    <a:lnTo>
                      <a:pt x="876" y="1594"/>
                    </a:lnTo>
                    <a:lnTo>
                      <a:pt x="876" y="1602"/>
                    </a:lnTo>
                    <a:lnTo>
                      <a:pt x="876" y="1608"/>
                    </a:lnTo>
                    <a:lnTo>
                      <a:pt x="878" y="1612"/>
                    </a:lnTo>
                    <a:lnTo>
                      <a:pt x="878" y="1612"/>
                    </a:lnTo>
                    <a:lnTo>
                      <a:pt x="882" y="1616"/>
                    </a:lnTo>
                    <a:lnTo>
                      <a:pt x="886" y="1616"/>
                    </a:lnTo>
                    <a:lnTo>
                      <a:pt x="890" y="1614"/>
                    </a:lnTo>
                    <a:lnTo>
                      <a:pt x="896" y="1610"/>
                    </a:lnTo>
                    <a:lnTo>
                      <a:pt x="898" y="1612"/>
                    </a:lnTo>
                    <a:lnTo>
                      <a:pt x="900" y="1614"/>
                    </a:lnTo>
                    <a:lnTo>
                      <a:pt x="900" y="1614"/>
                    </a:lnTo>
                    <a:lnTo>
                      <a:pt x="902" y="1618"/>
                    </a:lnTo>
                    <a:lnTo>
                      <a:pt x="902" y="1622"/>
                    </a:lnTo>
                    <a:lnTo>
                      <a:pt x="900" y="1628"/>
                    </a:lnTo>
                    <a:lnTo>
                      <a:pt x="896" y="1638"/>
                    </a:lnTo>
                    <a:lnTo>
                      <a:pt x="898" y="1644"/>
                    </a:lnTo>
                    <a:lnTo>
                      <a:pt x="900" y="1652"/>
                    </a:lnTo>
                    <a:lnTo>
                      <a:pt x="900" y="1652"/>
                    </a:lnTo>
                    <a:lnTo>
                      <a:pt x="906" y="1672"/>
                    </a:lnTo>
                    <a:lnTo>
                      <a:pt x="916" y="1694"/>
                    </a:lnTo>
                    <a:lnTo>
                      <a:pt x="928" y="1710"/>
                    </a:lnTo>
                    <a:lnTo>
                      <a:pt x="932" y="1716"/>
                    </a:lnTo>
                    <a:lnTo>
                      <a:pt x="936" y="1716"/>
                    </a:lnTo>
                    <a:lnTo>
                      <a:pt x="936" y="1716"/>
                    </a:lnTo>
                    <a:lnTo>
                      <a:pt x="942" y="1716"/>
                    </a:lnTo>
                    <a:lnTo>
                      <a:pt x="944" y="1718"/>
                    </a:lnTo>
                    <a:lnTo>
                      <a:pt x="944" y="1720"/>
                    </a:lnTo>
                    <a:lnTo>
                      <a:pt x="942" y="1726"/>
                    </a:lnTo>
                    <a:lnTo>
                      <a:pt x="934" y="1728"/>
                    </a:lnTo>
                    <a:lnTo>
                      <a:pt x="934" y="1728"/>
                    </a:lnTo>
                    <a:lnTo>
                      <a:pt x="932" y="1730"/>
                    </a:lnTo>
                    <a:lnTo>
                      <a:pt x="934" y="1732"/>
                    </a:lnTo>
                    <a:lnTo>
                      <a:pt x="936" y="1738"/>
                    </a:lnTo>
                    <a:lnTo>
                      <a:pt x="938" y="1742"/>
                    </a:lnTo>
                    <a:lnTo>
                      <a:pt x="932" y="1740"/>
                    </a:lnTo>
                    <a:lnTo>
                      <a:pt x="932" y="1740"/>
                    </a:lnTo>
                    <a:lnTo>
                      <a:pt x="926" y="1740"/>
                    </a:lnTo>
                    <a:lnTo>
                      <a:pt x="926" y="1740"/>
                    </a:lnTo>
                    <a:lnTo>
                      <a:pt x="934" y="1752"/>
                    </a:lnTo>
                    <a:lnTo>
                      <a:pt x="940" y="1760"/>
                    </a:lnTo>
                    <a:lnTo>
                      <a:pt x="944" y="1768"/>
                    </a:lnTo>
                    <a:lnTo>
                      <a:pt x="946" y="1778"/>
                    </a:lnTo>
                    <a:lnTo>
                      <a:pt x="946" y="1782"/>
                    </a:lnTo>
                    <a:lnTo>
                      <a:pt x="944" y="1786"/>
                    </a:lnTo>
                    <a:lnTo>
                      <a:pt x="944" y="1786"/>
                    </a:lnTo>
                    <a:lnTo>
                      <a:pt x="940" y="1792"/>
                    </a:lnTo>
                    <a:lnTo>
                      <a:pt x="942" y="1796"/>
                    </a:lnTo>
                    <a:lnTo>
                      <a:pt x="946" y="1798"/>
                    </a:lnTo>
                    <a:lnTo>
                      <a:pt x="954" y="1798"/>
                    </a:lnTo>
                    <a:lnTo>
                      <a:pt x="972" y="1796"/>
                    </a:lnTo>
                    <a:lnTo>
                      <a:pt x="982" y="1794"/>
                    </a:lnTo>
                    <a:lnTo>
                      <a:pt x="990" y="1794"/>
                    </a:lnTo>
                    <a:lnTo>
                      <a:pt x="990" y="1794"/>
                    </a:lnTo>
                    <a:lnTo>
                      <a:pt x="996" y="1794"/>
                    </a:lnTo>
                    <a:lnTo>
                      <a:pt x="998" y="1788"/>
                    </a:lnTo>
                    <a:lnTo>
                      <a:pt x="1000" y="1774"/>
                    </a:lnTo>
                    <a:lnTo>
                      <a:pt x="1000" y="1768"/>
                    </a:lnTo>
                    <a:lnTo>
                      <a:pt x="1002" y="1760"/>
                    </a:lnTo>
                    <a:lnTo>
                      <a:pt x="1004" y="1756"/>
                    </a:lnTo>
                    <a:lnTo>
                      <a:pt x="1010" y="1756"/>
                    </a:lnTo>
                    <a:lnTo>
                      <a:pt x="1010" y="1756"/>
                    </a:lnTo>
                    <a:lnTo>
                      <a:pt x="1018" y="1756"/>
                    </a:lnTo>
                    <a:lnTo>
                      <a:pt x="1018" y="1754"/>
                    </a:lnTo>
                    <a:lnTo>
                      <a:pt x="1018" y="1752"/>
                    </a:lnTo>
                    <a:lnTo>
                      <a:pt x="1020" y="1750"/>
                    </a:lnTo>
                    <a:lnTo>
                      <a:pt x="1024" y="1748"/>
                    </a:lnTo>
                    <a:lnTo>
                      <a:pt x="1034" y="1746"/>
                    </a:lnTo>
                    <a:lnTo>
                      <a:pt x="1034" y="1746"/>
                    </a:lnTo>
                    <a:lnTo>
                      <a:pt x="1042" y="1746"/>
                    </a:lnTo>
                    <a:lnTo>
                      <a:pt x="1050" y="1746"/>
                    </a:lnTo>
                    <a:lnTo>
                      <a:pt x="1058" y="1750"/>
                    </a:lnTo>
                    <a:lnTo>
                      <a:pt x="1062" y="1750"/>
                    </a:lnTo>
                    <a:lnTo>
                      <a:pt x="1064" y="1750"/>
                    </a:lnTo>
                    <a:lnTo>
                      <a:pt x="1070" y="1736"/>
                    </a:lnTo>
                    <a:lnTo>
                      <a:pt x="1070" y="1736"/>
                    </a:lnTo>
                    <a:lnTo>
                      <a:pt x="1076" y="1720"/>
                    </a:lnTo>
                    <a:lnTo>
                      <a:pt x="1082" y="1708"/>
                    </a:lnTo>
                    <a:lnTo>
                      <a:pt x="1086" y="1700"/>
                    </a:lnTo>
                    <a:lnTo>
                      <a:pt x="1088" y="1692"/>
                    </a:lnTo>
                    <a:lnTo>
                      <a:pt x="1088" y="1692"/>
                    </a:lnTo>
                    <a:lnTo>
                      <a:pt x="1088" y="1684"/>
                    </a:lnTo>
                    <a:lnTo>
                      <a:pt x="1090" y="1676"/>
                    </a:lnTo>
                    <a:lnTo>
                      <a:pt x="1092" y="1666"/>
                    </a:lnTo>
                    <a:lnTo>
                      <a:pt x="1092" y="1658"/>
                    </a:lnTo>
                    <a:lnTo>
                      <a:pt x="1092" y="1658"/>
                    </a:lnTo>
                    <a:lnTo>
                      <a:pt x="1090" y="1654"/>
                    </a:lnTo>
                    <a:lnTo>
                      <a:pt x="1092" y="1650"/>
                    </a:lnTo>
                    <a:lnTo>
                      <a:pt x="1094" y="1644"/>
                    </a:lnTo>
                    <a:lnTo>
                      <a:pt x="1098" y="1638"/>
                    </a:lnTo>
                    <a:lnTo>
                      <a:pt x="1098" y="1634"/>
                    </a:lnTo>
                    <a:lnTo>
                      <a:pt x="1098" y="1632"/>
                    </a:lnTo>
                    <a:lnTo>
                      <a:pt x="1098" y="1632"/>
                    </a:lnTo>
                    <a:lnTo>
                      <a:pt x="1096" y="1626"/>
                    </a:lnTo>
                    <a:lnTo>
                      <a:pt x="1098" y="1622"/>
                    </a:lnTo>
                    <a:lnTo>
                      <a:pt x="1100" y="1618"/>
                    </a:lnTo>
                    <a:lnTo>
                      <a:pt x="1098" y="1610"/>
                    </a:lnTo>
                    <a:lnTo>
                      <a:pt x="1098" y="1610"/>
                    </a:lnTo>
                    <a:lnTo>
                      <a:pt x="1096" y="1606"/>
                    </a:lnTo>
                    <a:lnTo>
                      <a:pt x="1096" y="1604"/>
                    </a:lnTo>
                    <a:lnTo>
                      <a:pt x="1098" y="1604"/>
                    </a:lnTo>
                    <a:lnTo>
                      <a:pt x="1100" y="1602"/>
                    </a:lnTo>
                    <a:lnTo>
                      <a:pt x="1102" y="1600"/>
                    </a:lnTo>
                    <a:lnTo>
                      <a:pt x="1100" y="1598"/>
                    </a:lnTo>
                    <a:lnTo>
                      <a:pt x="1100" y="1598"/>
                    </a:lnTo>
                    <a:lnTo>
                      <a:pt x="1100" y="1596"/>
                    </a:lnTo>
                    <a:lnTo>
                      <a:pt x="1102" y="1592"/>
                    </a:lnTo>
                    <a:lnTo>
                      <a:pt x="1112" y="1588"/>
                    </a:lnTo>
                    <a:lnTo>
                      <a:pt x="1124" y="1582"/>
                    </a:lnTo>
                    <a:lnTo>
                      <a:pt x="1130" y="1578"/>
                    </a:lnTo>
                    <a:lnTo>
                      <a:pt x="1132" y="1574"/>
                    </a:lnTo>
                    <a:lnTo>
                      <a:pt x="1132" y="1574"/>
                    </a:lnTo>
                    <a:lnTo>
                      <a:pt x="1134" y="1570"/>
                    </a:lnTo>
                    <a:lnTo>
                      <a:pt x="1134" y="1568"/>
                    </a:lnTo>
                    <a:lnTo>
                      <a:pt x="1138" y="1572"/>
                    </a:lnTo>
                    <a:lnTo>
                      <a:pt x="1142" y="1576"/>
                    </a:lnTo>
                    <a:lnTo>
                      <a:pt x="1144" y="1574"/>
                    </a:lnTo>
                    <a:lnTo>
                      <a:pt x="1146" y="1572"/>
                    </a:lnTo>
                    <a:lnTo>
                      <a:pt x="1146" y="1572"/>
                    </a:lnTo>
                    <a:lnTo>
                      <a:pt x="1152" y="1566"/>
                    </a:lnTo>
                    <a:lnTo>
                      <a:pt x="1158" y="1562"/>
                    </a:lnTo>
                    <a:lnTo>
                      <a:pt x="1164" y="1560"/>
                    </a:lnTo>
                    <a:lnTo>
                      <a:pt x="1164" y="1558"/>
                    </a:lnTo>
                    <a:lnTo>
                      <a:pt x="1164" y="1556"/>
                    </a:lnTo>
                    <a:lnTo>
                      <a:pt x="1164" y="1556"/>
                    </a:lnTo>
                    <a:lnTo>
                      <a:pt x="1164" y="1556"/>
                    </a:lnTo>
                    <a:lnTo>
                      <a:pt x="1166" y="1554"/>
                    </a:lnTo>
                    <a:lnTo>
                      <a:pt x="1170" y="1552"/>
                    </a:lnTo>
                    <a:lnTo>
                      <a:pt x="1172" y="1550"/>
                    </a:lnTo>
                    <a:lnTo>
                      <a:pt x="1172" y="1548"/>
                    </a:lnTo>
                    <a:lnTo>
                      <a:pt x="1172" y="1546"/>
                    </a:lnTo>
                    <a:lnTo>
                      <a:pt x="1170" y="1542"/>
                    </a:lnTo>
                    <a:lnTo>
                      <a:pt x="1170" y="1542"/>
                    </a:lnTo>
                    <a:lnTo>
                      <a:pt x="1168" y="1540"/>
                    </a:lnTo>
                    <a:lnTo>
                      <a:pt x="1164" y="1540"/>
                    </a:lnTo>
                    <a:lnTo>
                      <a:pt x="1152" y="1546"/>
                    </a:lnTo>
                    <a:lnTo>
                      <a:pt x="1144" y="1550"/>
                    </a:lnTo>
                    <a:lnTo>
                      <a:pt x="1136" y="1550"/>
                    </a:lnTo>
                    <a:lnTo>
                      <a:pt x="1128" y="1550"/>
                    </a:lnTo>
                    <a:lnTo>
                      <a:pt x="1122" y="1546"/>
                    </a:lnTo>
                    <a:lnTo>
                      <a:pt x="1122" y="1546"/>
                    </a:lnTo>
                    <a:lnTo>
                      <a:pt x="1112" y="1540"/>
                    </a:lnTo>
                    <a:lnTo>
                      <a:pt x="1104" y="1538"/>
                    </a:lnTo>
                    <a:lnTo>
                      <a:pt x="1094" y="1538"/>
                    </a:lnTo>
                    <a:lnTo>
                      <a:pt x="1086" y="1538"/>
                    </a:lnTo>
                    <a:lnTo>
                      <a:pt x="1076" y="1538"/>
                    </a:lnTo>
                    <a:lnTo>
                      <a:pt x="1084" y="1534"/>
                    </a:lnTo>
                    <a:lnTo>
                      <a:pt x="1084" y="1534"/>
                    </a:lnTo>
                    <a:lnTo>
                      <a:pt x="1092" y="1530"/>
                    </a:lnTo>
                    <a:lnTo>
                      <a:pt x="1098" y="1530"/>
                    </a:lnTo>
                    <a:lnTo>
                      <a:pt x="1110" y="1530"/>
                    </a:lnTo>
                    <a:lnTo>
                      <a:pt x="1118" y="1534"/>
                    </a:lnTo>
                    <a:lnTo>
                      <a:pt x="1122" y="1534"/>
                    </a:lnTo>
                    <a:lnTo>
                      <a:pt x="1124" y="1532"/>
                    </a:lnTo>
                    <a:lnTo>
                      <a:pt x="1124" y="1532"/>
                    </a:lnTo>
                    <a:lnTo>
                      <a:pt x="1126" y="1532"/>
                    </a:lnTo>
                    <a:lnTo>
                      <a:pt x="1128" y="1532"/>
                    </a:lnTo>
                    <a:lnTo>
                      <a:pt x="1134" y="1538"/>
                    </a:lnTo>
                    <a:lnTo>
                      <a:pt x="1142" y="1544"/>
                    </a:lnTo>
                    <a:lnTo>
                      <a:pt x="1146" y="1544"/>
                    </a:lnTo>
                    <a:lnTo>
                      <a:pt x="1150" y="1542"/>
                    </a:lnTo>
                    <a:lnTo>
                      <a:pt x="1150" y="1542"/>
                    </a:lnTo>
                    <a:lnTo>
                      <a:pt x="1178" y="1528"/>
                    </a:lnTo>
                    <a:lnTo>
                      <a:pt x="1190" y="1518"/>
                    </a:lnTo>
                    <a:lnTo>
                      <a:pt x="1192" y="1516"/>
                    </a:lnTo>
                    <a:lnTo>
                      <a:pt x="1192" y="1512"/>
                    </a:lnTo>
                    <a:lnTo>
                      <a:pt x="1192" y="1512"/>
                    </a:lnTo>
                    <a:lnTo>
                      <a:pt x="1184" y="1500"/>
                    </a:lnTo>
                    <a:lnTo>
                      <a:pt x="1178" y="1496"/>
                    </a:lnTo>
                    <a:lnTo>
                      <a:pt x="1172" y="1496"/>
                    </a:lnTo>
                    <a:lnTo>
                      <a:pt x="1172" y="1496"/>
                    </a:lnTo>
                    <a:lnTo>
                      <a:pt x="1168" y="1496"/>
                    </a:lnTo>
                    <a:lnTo>
                      <a:pt x="1168" y="1494"/>
                    </a:lnTo>
                    <a:lnTo>
                      <a:pt x="1168" y="1490"/>
                    </a:lnTo>
                    <a:lnTo>
                      <a:pt x="1170" y="1484"/>
                    </a:lnTo>
                    <a:lnTo>
                      <a:pt x="1168" y="1482"/>
                    </a:lnTo>
                    <a:lnTo>
                      <a:pt x="1164" y="1480"/>
                    </a:lnTo>
                    <a:lnTo>
                      <a:pt x="1164" y="1480"/>
                    </a:lnTo>
                    <a:lnTo>
                      <a:pt x="1158" y="1476"/>
                    </a:lnTo>
                    <a:lnTo>
                      <a:pt x="1154" y="1472"/>
                    </a:lnTo>
                    <a:lnTo>
                      <a:pt x="1148" y="1468"/>
                    </a:lnTo>
                    <a:lnTo>
                      <a:pt x="1144" y="1466"/>
                    </a:lnTo>
                    <a:lnTo>
                      <a:pt x="1138" y="1468"/>
                    </a:lnTo>
                    <a:lnTo>
                      <a:pt x="1138" y="1468"/>
                    </a:lnTo>
                    <a:lnTo>
                      <a:pt x="1132" y="1468"/>
                    </a:lnTo>
                    <a:lnTo>
                      <a:pt x="1132" y="1466"/>
                    </a:lnTo>
                    <a:lnTo>
                      <a:pt x="1132" y="1462"/>
                    </a:lnTo>
                    <a:lnTo>
                      <a:pt x="1130" y="1462"/>
                    </a:lnTo>
                    <a:lnTo>
                      <a:pt x="1126" y="1460"/>
                    </a:lnTo>
                    <a:lnTo>
                      <a:pt x="1126" y="1460"/>
                    </a:lnTo>
                    <a:lnTo>
                      <a:pt x="1124" y="1460"/>
                    </a:lnTo>
                    <a:lnTo>
                      <a:pt x="1122" y="1458"/>
                    </a:lnTo>
                    <a:lnTo>
                      <a:pt x="1118" y="1450"/>
                    </a:lnTo>
                    <a:lnTo>
                      <a:pt x="1116" y="1440"/>
                    </a:lnTo>
                    <a:lnTo>
                      <a:pt x="1116" y="1428"/>
                    </a:lnTo>
                    <a:lnTo>
                      <a:pt x="1116" y="1416"/>
                    </a:lnTo>
                    <a:lnTo>
                      <a:pt x="1116" y="1406"/>
                    </a:lnTo>
                    <a:lnTo>
                      <a:pt x="1120" y="1398"/>
                    </a:lnTo>
                    <a:lnTo>
                      <a:pt x="1120" y="1396"/>
                    </a:lnTo>
                    <a:lnTo>
                      <a:pt x="1124" y="1396"/>
                    </a:lnTo>
                    <a:lnTo>
                      <a:pt x="1124" y="1396"/>
                    </a:lnTo>
                    <a:lnTo>
                      <a:pt x="1126" y="1394"/>
                    </a:lnTo>
                    <a:lnTo>
                      <a:pt x="1128" y="1392"/>
                    </a:lnTo>
                    <a:lnTo>
                      <a:pt x="1126" y="1386"/>
                    </a:lnTo>
                    <a:lnTo>
                      <a:pt x="1126" y="1374"/>
                    </a:lnTo>
                    <a:lnTo>
                      <a:pt x="1126" y="1368"/>
                    </a:lnTo>
                    <a:lnTo>
                      <a:pt x="1128" y="1360"/>
                    </a:lnTo>
                    <a:lnTo>
                      <a:pt x="1128" y="1360"/>
                    </a:lnTo>
                    <a:lnTo>
                      <a:pt x="1132" y="1356"/>
                    </a:lnTo>
                    <a:lnTo>
                      <a:pt x="1132" y="1352"/>
                    </a:lnTo>
                    <a:lnTo>
                      <a:pt x="1130" y="1352"/>
                    </a:lnTo>
                    <a:lnTo>
                      <a:pt x="1128" y="1350"/>
                    </a:lnTo>
                    <a:lnTo>
                      <a:pt x="1124" y="1350"/>
                    </a:lnTo>
                    <a:lnTo>
                      <a:pt x="1122" y="1348"/>
                    </a:lnTo>
                    <a:lnTo>
                      <a:pt x="1122" y="1342"/>
                    </a:lnTo>
                    <a:lnTo>
                      <a:pt x="1122" y="1342"/>
                    </a:lnTo>
                    <a:lnTo>
                      <a:pt x="1122" y="1336"/>
                    </a:lnTo>
                    <a:lnTo>
                      <a:pt x="1124" y="1338"/>
                    </a:lnTo>
                    <a:lnTo>
                      <a:pt x="1130" y="1340"/>
                    </a:lnTo>
                    <a:lnTo>
                      <a:pt x="1136" y="1340"/>
                    </a:lnTo>
                    <a:lnTo>
                      <a:pt x="1142" y="1338"/>
                    </a:lnTo>
                    <a:lnTo>
                      <a:pt x="1142" y="1338"/>
                    </a:lnTo>
                    <a:lnTo>
                      <a:pt x="1148" y="1334"/>
                    </a:lnTo>
                    <a:lnTo>
                      <a:pt x="1148" y="1332"/>
                    </a:lnTo>
                    <a:lnTo>
                      <a:pt x="1148" y="1330"/>
                    </a:lnTo>
                    <a:lnTo>
                      <a:pt x="1146" y="1326"/>
                    </a:lnTo>
                    <a:lnTo>
                      <a:pt x="1144" y="1324"/>
                    </a:lnTo>
                    <a:lnTo>
                      <a:pt x="1142" y="1322"/>
                    </a:lnTo>
                    <a:lnTo>
                      <a:pt x="1144" y="1322"/>
                    </a:lnTo>
                    <a:lnTo>
                      <a:pt x="1152" y="1320"/>
                    </a:lnTo>
                    <a:lnTo>
                      <a:pt x="1152" y="1320"/>
                    </a:lnTo>
                    <a:lnTo>
                      <a:pt x="1160" y="1318"/>
                    </a:lnTo>
                    <a:lnTo>
                      <a:pt x="1166" y="1312"/>
                    </a:lnTo>
                    <a:lnTo>
                      <a:pt x="1170" y="1308"/>
                    </a:lnTo>
                    <a:lnTo>
                      <a:pt x="1172" y="1302"/>
                    </a:lnTo>
                    <a:lnTo>
                      <a:pt x="1178" y="1294"/>
                    </a:lnTo>
                    <a:lnTo>
                      <a:pt x="1180" y="1292"/>
                    </a:lnTo>
                    <a:lnTo>
                      <a:pt x="1186" y="1292"/>
                    </a:lnTo>
                    <a:lnTo>
                      <a:pt x="1186" y="1292"/>
                    </a:lnTo>
                    <a:lnTo>
                      <a:pt x="1190" y="1294"/>
                    </a:lnTo>
                    <a:lnTo>
                      <a:pt x="1194" y="1292"/>
                    </a:lnTo>
                    <a:lnTo>
                      <a:pt x="1196" y="1286"/>
                    </a:lnTo>
                    <a:lnTo>
                      <a:pt x="1200" y="1278"/>
                    </a:lnTo>
                    <a:lnTo>
                      <a:pt x="1204" y="1274"/>
                    </a:lnTo>
                    <a:lnTo>
                      <a:pt x="1208" y="1274"/>
                    </a:lnTo>
                    <a:lnTo>
                      <a:pt x="1208" y="1274"/>
                    </a:lnTo>
                    <a:lnTo>
                      <a:pt x="1214" y="1274"/>
                    </a:lnTo>
                    <a:lnTo>
                      <a:pt x="1218" y="1274"/>
                    </a:lnTo>
                    <a:lnTo>
                      <a:pt x="1222" y="1268"/>
                    </a:lnTo>
                    <a:lnTo>
                      <a:pt x="1226" y="1264"/>
                    </a:lnTo>
                    <a:lnTo>
                      <a:pt x="1228" y="1264"/>
                    </a:lnTo>
                    <a:lnTo>
                      <a:pt x="1232" y="1264"/>
                    </a:lnTo>
                    <a:lnTo>
                      <a:pt x="1232" y="1264"/>
                    </a:lnTo>
                    <a:lnTo>
                      <a:pt x="1236" y="1264"/>
                    </a:lnTo>
                    <a:lnTo>
                      <a:pt x="1238" y="1264"/>
                    </a:lnTo>
                    <a:lnTo>
                      <a:pt x="1240" y="1260"/>
                    </a:lnTo>
                    <a:lnTo>
                      <a:pt x="1244" y="1254"/>
                    </a:lnTo>
                    <a:lnTo>
                      <a:pt x="1246" y="1254"/>
                    </a:lnTo>
                    <a:lnTo>
                      <a:pt x="1250" y="1254"/>
                    </a:lnTo>
                    <a:lnTo>
                      <a:pt x="1250" y="1254"/>
                    </a:lnTo>
                    <a:lnTo>
                      <a:pt x="1254" y="1252"/>
                    </a:lnTo>
                    <a:lnTo>
                      <a:pt x="1258" y="1250"/>
                    </a:lnTo>
                    <a:lnTo>
                      <a:pt x="1262" y="1240"/>
                    </a:lnTo>
                    <a:lnTo>
                      <a:pt x="1268" y="1226"/>
                    </a:lnTo>
                    <a:lnTo>
                      <a:pt x="1274" y="1220"/>
                    </a:lnTo>
                    <a:lnTo>
                      <a:pt x="1284" y="1214"/>
                    </a:lnTo>
                    <a:lnTo>
                      <a:pt x="1284" y="1214"/>
                    </a:lnTo>
                    <a:lnTo>
                      <a:pt x="1290" y="1208"/>
                    </a:lnTo>
                    <a:lnTo>
                      <a:pt x="1292" y="1206"/>
                    </a:lnTo>
                    <a:lnTo>
                      <a:pt x="1292" y="1204"/>
                    </a:lnTo>
                    <a:lnTo>
                      <a:pt x="1290" y="1202"/>
                    </a:lnTo>
                    <a:lnTo>
                      <a:pt x="1284" y="1198"/>
                    </a:lnTo>
                    <a:lnTo>
                      <a:pt x="1280" y="1194"/>
                    </a:lnTo>
                    <a:lnTo>
                      <a:pt x="1276" y="1190"/>
                    </a:lnTo>
                    <a:lnTo>
                      <a:pt x="1276" y="1190"/>
                    </a:lnTo>
                    <a:lnTo>
                      <a:pt x="1276" y="1184"/>
                    </a:lnTo>
                    <a:lnTo>
                      <a:pt x="1276" y="1180"/>
                    </a:lnTo>
                    <a:lnTo>
                      <a:pt x="1282" y="1174"/>
                    </a:lnTo>
                    <a:lnTo>
                      <a:pt x="1288" y="1168"/>
                    </a:lnTo>
                    <a:lnTo>
                      <a:pt x="1290" y="1164"/>
                    </a:lnTo>
                    <a:lnTo>
                      <a:pt x="1292" y="1156"/>
                    </a:lnTo>
                    <a:lnTo>
                      <a:pt x="1292" y="1156"/>
                    </a:lnTo>
                    <a:lnTo>
                      <a:pt x="1292" y="1150"/>
                    </a:lnTo>
                    <a:lnTo>
                      <a:pt x="1294" y="1146"/>
                    </a:lnTo>
                    <a:lnTo>
                      <a:pt x="1298" y="1144"/>
                    </a:lnTo>
                    <a:lnTo>
                      <a:pt x="1300" y="1144"/>
                    </a:lnTo>
                    <a:lnTo>
                      <a:pt x="1306" y="1142"/>
                    </a:lnTo>
                    <a:lnTo>
                      <a:pt x="1310" y="1140"/>
                    </a:lnTo>
                    <a:lnTo>
                      <a:pt x="1310" y="1138"/>
                    </a:lnTo>
                    <a:lnTo>
                      <a:pt x="1310" y="1138"/>
                    </a:lnTo>
                    <a:lnTo>
                      <a:pt x="1314" y="1132"/>
                    </a:lnTo>
                    <a:lnTo>
                      <a:pt x="1320" y="1126"/>
                    </a:lnTo>
                    <a:lnTo>
                      <a:pt x="1338" y="1114"/>
                    </a:lnTo>
                    <a:lnTo>
                      <a:pt x="1338" y="1114"/>
                    </a:lnTo>
                    <a:lnTo>
                      <a:pt x="1340" y="1112"/>
                    </a:lnTo>
                    <a:lnTo>
                      <a:pt x="1344" y="1112"/>
                    </a:lnTo>
                    <a:lnTo>
                      <a:pt x="1346" y="1116"/>
                    </a:lnTo>
                    <a:lnTo>
                      <a:pt x="1348" y="1118"/>
                    </a:lnTo>
                    <a:lnTo>
                      <a:pt x="1350" y="1120"/>
                    </a:lnTo>
                    <a:lnTo>
                      <a:pt x="1354" y="1120"/>
                    </a:lnTo>
                    <a:lnTo>
                      <a:pt x="1358" y="1118"/>
                    </a:lnTo>
                    <a:lnTo>
                      <a:pt x="1358" y="1118"/>
                    </a:lnTo>
                    <a:lnTo>
                      <a:pt x="1364" y="1116"/>
                    </a:lnTo>
                    <a:lnTo>
                      <a:pt x="1368" y="1116"/>
                    </a:lnTo>
                    <a:lnTo>
                      <a:pt x="1378" y="1116"/>
                    </a:lnTo>
                    <a:lnTo>
                      <a:pt x="1386" y="1116"/>
                    </a:lnTo>
                    <a:lnTo>
                      <a:pt x="1392" y="1116"/>
                    </a:lnTo>
                    <a:lnTo>
                      <a:pt x="1396" y="1114"/>
                    </a:lnTo>
                    <a:lnTo>
                      <a:pt x="1396" y="1114"/>
                    </a:lnTo>
                    <a:lnTo>
                      <a:pt x="1408" y="1116"/>
                    </a:lnTo>
                    <a:lnTo>
                      <a:pt x="1414" y="1120"/>
                    </a:lnTo>
                    <a:lnTo>
                      <a:pt x="1418" y="1124"/>
                    </a:lnTo>
                    <a:lnTo>
                      <a:pt x="1428" y="1126"/>
                    </a:lnTo>
                    <a:lnTo>
                      <a:pt x="1428" y="1126"/>
                    </a:lnTo>
                    <a:lnTo>
                      <a:pt x="1438" y="1130"/>
                    </a:lnTo>
                    <a:lnTo>
                      <a:pt x="1440" y="1134"/>
                    </a:lnTo>
                    <a:lnTo>
                      <a:pt x="1442" y="1136"/>
                    </a:lnTo>
                    <a:lnTo>
                      <a:pt x="1442" y="1144"/>
                    </a:lnTo>
                    <a:lnTo>
                      <a:pt x="1440" y="1154"/>
                    </a:lnTo>
                    <a:lnTo>
                      <a:pt x="1440" y="1154"/>
                    </a:lnTo>
                    <a:lnTo>
                      <a:pt x="1440" y="1162"/>
                    </a:lnTo>
                    <a:lnTo>
                      <a:pt x="1442" y="1166"/>
                    </a:lnTo>
                    <a:lnTo>
                      <a:pt x="1446" y="1168"/>
                    </a:lnTo>
                    <a:lnTo>
                      <a:pt x="1444" y="1174"/>
                    </a:lnTo>
                    <a:lnTo>
                      <a:pt x="1444" y="1174"/>
                    </a:lnTo>
                    <a:lnTo>
                      <a:pt x="1442" y="1176"/>
                    </a:lnTo>
                    <a:lnTo>
                      <a:pt x="1440" y="1176"/>
                    </a:lnTo>
                    <a:lnTo>
                      <a:pt x="1434" y="1176"/>
                    </a:lnTo>
                    <a:lnTo>
                      <a:pt x="1422" y="1178"/>
                    </a:lnTo>
                    <a:lnTo>
                      <a:pt x="1422" y="1178"/>
                    </a:lnTo>
                    <a:lnTo>
                      <a:pt x="1416" y="1180"/>
                    </a:lnTo>
                    <a:lnTo>
                      <a:pt x="1412" y="1184"/>
                    </a:lnTo>
                    <a:lnTo>
                      <a:pt x="1406" y="1196"/>
                    </a:lnTo>
                    <a:lnTo>
                      <a:pt x="1398" y="1208"/>
                    </a:lnTo>
                    <a:lnTo>
                      <a:pt x="1390" y="1216"/>
                    </a:lnTo>
                    <a:lnTo>
                      <a:pt x="1382" y="1222"/>
                    </a:lnTo>
                    <a:lnTo>
                      <a:pt x="1382" y="1222"/>
                    </a:lnTo>
                    <a:lnTo>
                      <a:pt x="1372" y="1228"/>
                    </a:lnTo>
                    <a:lnTo>
                      <a:pt x="1368" y="1232"/>
                    </a:lnTo>
                    <a:lnTo>
                      <a:pt x="1366" y="1236"/>
                    </a:lnTo>
                    <a:lnTo>
                      <a:pt x="1366" y="1238"/>
                    </a:lnTo>
                    <a:lnTo>
                      <a:pt x="1366" y="1242"/>
                    </a:lnTo>
                    <a:lnTo>
                      <a:pt x="1358" y="1244"/>
                    </a:lnTo>
                    <a:lnTo>
                      <a:pt x="1358" y="1244"/>
                    </a:lnTo>
                    <a:lnTo>
                      <a:pt x="1354" y="1246"/>
                    </a:lnTo>
                    <a:lnTo>
                      <a:pt x="1350" y="1248"/>
                    </a:lnTo>
                    <a:lnTo>
                      <a:pt x="1346" y="1254"/>
                    </a:lnTo>
                    <a:lnTo>
                      <a:pt x="1344" y="1258"/>
                    </a:lnTo>
                    <a:lnTo>
                      <a:pt x="1342" y="1260"/>
                    </a:lnTo>
                    <a:lnTo>
                      <a:pt x="1338" y="1260"/>
                    </a:lnTo>
                    <a:lnTo>
                      <a:pt x="1338" y="1260"/>
                    </a:lnTo>
                    <a:lnTo>
                      <a:pt x="1334" y="1260"/>
                    </a:lnTo>
                    <a:lnTo>
                      <a:pt x="1332" y="1260"/>
                    </a:lnTo>
                    <a:lnTo>
                      <a:pt x="1328" y="1264"/>
                    </a:lnTo>
                    <a:lnTo>
                      <a:pt x="1326" y="1268"/>
                    </a:lnTo>
                    <a:lnTo>
                      <a:pt x="1324" y="1270"/>
                    </a:lnTo>
                    <a:lnTo>
                      <a:pt x="1322" y="1270"/>
                    </a:lnTo>
                    <a:lnTo>
                      <a:pt x="1322" y="1270"/>
                    </a:lnTo>
                    <a:lnTo>
                      <a:pt x="1320" y="1272"/>
                    </a:lnTo>
                    <a:lnTo>
                      <a:pt x="1318" y="1272"/>
                    </a:lnTo>
                    <a:lnTo>
                      <a:pt x="1318" y="1278"/>
                    </a:lnTo>
                    <a:lnTo>
                      <a:pt x="1318" y="1286"/>
                    </a:lnTo>
                    <a:lnTo>
                      <a:pt x="1318" y="1288"/>
                    </a:lnTo>
                    <a:lnTo>
                      <a:pt x="1314" y="1292"/>
                    </a:lnTo>
                    <a:lnTo>
                      <a:pt x="1314" y="1292"/>
                    </a:lnTo>
                    <a:lnTo>
                      <a:pt x="1310" y="1294"/>
                    </a:lnTo>
                    <a:lnTo>
                      <a:pt x="1308" y="1294"/>
                    </a:lnTo>
                    <a:lnTo>
                      <a:pt x="1300" y="1292"/>
                    </a:lnTo>
                    <a:lnTo>
                      <a:pt x="1294" y="1290"/>
                    </a:lnTo>
                    <a:lnTo>
                      <a:pt x="1292" y="1292"/>
                    </a:lnTo>
                    <a:lnTo>
                      <a:pt x="1290" y="1296"/>
                    </a:lnTo>
                    <a:lnTo>
                      <a:pt x="1290" y="1296"/>
                    </a:lnTo>
                    <a:lnTo>
                      <a:pt x="1290" y="1300"/>
                    </a:lnTo>
                    <a:lnTo>
                      <a:pt x="1286" y="1304"/>
                    </a:lnTo>
                    <a:lnTo>
                      <a:pt x="1278" y="1314"/>
                    </a:lnTo>
                    <a:lnTo>
                      <a:pt x="1276" y="1322"/>
                    </a:lnTo>
                    <a:lnTo>
                      <a:pt x="1274" y="1328"/>
                    </a:lnTo>
                    <a:lnTo>
                      <a:pt x="1274" y="1338"/>
                    </a:lnTo>
                    <a:lnTo>
                      <a:pt x="1278" y="1346"/>
                    </a:lnTo>
                    <a:lnTo>
                      <a:pt x="1278" y="1346"/>
                    </a:lnTo>
                    <a:lnTo>
                      <a:pt x="1282" y="1354"/>
                    </a:lnTo>
                    <a:lnTo>
                      <a:pt x="1282" y="1360"/>
                    </a:lnTo>
                    <a:lnTo>
                      <a:pt x="1282" y="1364"/>
                    </a:lnTo>
                    <a:lnTo>
                      <a:pt x="1280" y="1366"/>
                    </a:lnTo>
                    <a:lnTo>
                      <a:pt x="1278" y="1368"/>
                    </a:lnTo>
                    <a:lnTo>
                      <a:pt x="1278" y="1372"/>
                    </a:lnTo>
                    <a:lnTo>
                      <a:pt x="1280" y="1378"/>
                    </a:lnTo>
                    <a:lnTo>
                      <a:pt x="1288" y="1388"/>
                    </a:lnTo>
                    <a:lnTo>
                      <a:pt x="1288" y="1388"/>
                    </a:lnTo>
                    <a:lnTo>
                      <a:pt x="1292" y="1394"/>
                    </a:lnTo>
                    <a:lnTo>
                      <a:pt x="1294" y="1396"/>
                    </a:lnTo>
                    <a:lnTo>
                      <a:pt x="1294" y="1398"/>
                    </a:lnTo>
                    <a:lnTo>
                      <a:pt x="1292" y="1400"/>
                    </a:lnTo>
                    <a:lnTo>
                      <a:pt x="1288" y="1402"/>
                    </a:lnTo>
                    <a:lnTo>
                      <a:pt x="1286" y="1404"/>
                    </a:lnTo>
                    <a:lnTo>
                      <a:pt x="1286" y="1406"/>
                    </a:lnTo>
                    <a:lnTo>
                      <a:pt x="1286" y="1406"/>
                    </a:lnTo>
                    <a:lnTo>
                      <a:pt x="1288" y="1416"/>
                    </a:lnTo>
                    <a:lnTo>
                      <a:pt x="1288" y="1424"/>
                    </a:lnTo>
                    <a:lnTo>
                      <a:pt x="1282" y="1444"/>
                    </a:lnTo>
                    <a:lnTo>
                      <a:pt x="1282" y="1444"/>
                    </a:lnTo>
                    <a:lnTo>
                      <a:pt x="1280" y="1456"/>
                    </a:lnTo>
                    <a:lnTo>
                      <a:pt x="1280" y="1462"/>
                    </a:lnTo>
                    <a:lnTo>
                      <a:pt x="1282" y="1464"/>
                    </a:lnTo>
                    <a:lnTo>
                      <a:pt x="1286" y="1466"/>
                    </a:lnTo>
                    <a:lnTo>
                      <a:pt x="1298" y="1470"/>
                    </a:lnTo>
                    <a:lnTo>
                      <a:pt x="1298" y="1470"/>
                    </a:lnTo>
                    <a:lnTo>
                      <a:pt x="1322" y="1476"/>
                    </a:lnTo>
                    <a:lnTo>
                      <a:pt x="1328" y="1478"/>
                    </a:lnTo>
                    <a:lnTo>
                      <a:pt x="1330" y="1480"/>
                    </a:lnTo>
                    <a:lnTo>
                      <a:pt x="1328" y="1484"/>
                    </a:lnTo>
                    <a:lnTo>
                      <a:pt x="1328" y="1484"/>
                    </a:lnTo>
                    <a:lnTo>
                      <a:pt x="1328" y="1492"/>
                    </a:lnTo>
                    <a:lnTo>
                      <a:pt x="1328" y="1500"/>
                    </a:lnTo>
                    <a:lnTo>
                      <a:pt x="1330" y="1504"/>
                    </a:lnTo>
                    <a:lnTo>
                      <a:pt x="1334" y="1504"/>
                    </a:lnTo>
                    <a:lnTo>
                      <a:pt x="1336" y="1504"/>
                    </a:lnTo>
                    <a:lnTo>
                      <a:pt x="1340" y="1500"/>
                    </a:lnTo>
                    <a:lnTo>
                      <a:pt x="1340" y="1500"/>
                    </a:lnTo>
                    <a:lnTo>
                      <a:pt x="1346" y="1494"/>
                    </a:lnTo>
                    <a:lnTo>
                      <a:pt x="1352" y="1494"/>
                    </a:lnTo>
                    <a:lnTo>
                      <a:pt x="1354" y="1496"/>
                    </a:lnTo>
                    <a:lnTo>
                      <a:pt x="1354" y="1498"/>
                    </a:lnTo>
                    <a:lnTo>
                      <a:pt x="1354" y="1500"/>
                    </a:lnTo>
                    <a:lnTo>
                      <a:pt x="1352" y="1506"/>
                    </a:lnTo>
                    <a:lnTo>
                      <a:pt x="1352" y="1506"/>
                    </a:lnTo>
                    <a:lnTo>
                      <a:pt x="1346" y="1512"/>
                    </a:lnTo>
                    <a:lnTo>
                      <a:pt x="1346" y="1516"/>
                    </a:lnTo>
                    <a:lnTo>
                      <a:pt x="1352" y="1514"/>
                    </a:lnTo>
                    <a:lnTo>
                      <a:pt x="1366" y="1508"/>
                    </a:lnTo>
                    <a:lnTo>
                      <a:pt x="1366" y="1508"/>
                    </a:lnTo>
                    <a:lnTo>
                      <a:pt x="1376" y="1504"/>
                    </a:lnTo>
                    <a:lnTo>
                      <a:pt x="1390" y="1504"/>
                    </a:lnTo>
                    <a:lnTo>
                      <a:pt x="1408" y="1500"/>
                    </a:lnTo>
                    <a:lnTo>
                      <a:pt x="1436" y="1488"/>
                    </a:lnTo>
                    <a:lnTo>
                      <a:pt x="1436" y="1488"/>
                    </a:lnTo>
                    <a:lnTo>
                      <a:pt x="1448" y="1484"/>
                    </a:lnTo>
                    <a:lnTo>
                      <a:pt x="1454" y="1484"/>
                    </a:lnTo>
                    <a:lnTo>
                      <a:pt x="1458" y="1484"/>
                    </a:lnTo>
                    <a:lnTo>
                      <a:pt x="1462" y="1484"/>
                    </a:lnTo>
                    <a:lnTo>
                      <a:pt x="1466" y="1486"/>
                    </a:lnTo>
                    <a:lnTo>
                      <a:pt x="1470" y="1482"/>
                    </a:lnTo>
                    <a:lnTo>
                      <a:pt x="1470" y="1482"/>
                    </a:lnTo>
                    <a:lnTo>
                      <a:pt x="1476" y="1476"/>
                    </a:lnTo>
                    <a:lnTo>
                      <a:pt x="1478" y="1476"/>
                    </a:lnTo>
                    <a:lnTo>
                      <a:pt x="1484" y="1478"/>
                    </a:lnTo>
                    <a:lnTo>
                      <a:pt x="1490" y="1476"/>
                    </a:lnTo>
                    <a:lnTo>
                      <a:pt x="1498" y="1474"/>
                    </a:lnTo>
                    <a:lnTo>
                      <a:pt x="1498" y="1474"/>
                    </a:lnTo>
                    <a:lnTo>
                      <a:pt x="1506" y="1472"/>
                    </a:lnTo>
                    <a:lnTo>
                      <a:pt x="1512" y="1470"/>
                    </a:lnTo>
                    <a:lnTo>
                      <a:pt x="1522" y="1470"/>
                    </a:lnTo>
                    <a:lnTo>
                      <a:pt x="1532" y="1470"/>
                    </a:lnTo>
                    <a:lnTo>
                      <a:pt x="1538" y="1470"/>
                    </a:lnTo>
                    <a:lnTo>
                      <a:pt x="1546" y="1466"/>
                    </a:lnTo>
                    <a:lnTo>
                      <a:pt x="1546" y="1466"/>
                    </a:lnTo>
                    <a:lnTo>
                      <a:pt x="1550" y="1468"/>
                    </a:lnTo>
                    <a:lnTo>
                      <a:pt x="1556" y="1468"/>
                    </a:lnTo>
                    <a:lnTo>
                      <a:pt x="1566" y="1462"/>
                    </a:lnTo>
                    <a:lnTo>
                      <a:pt x="1574" y="1456"/>
                    </a:lnTo>
                    <a:lnTo>
                      <a:pt x="1578" y="1454"/>
                    </a:lnTo>
                    <a:lnTo>
                      <a:pt x="1580" y="1456"/>
                    </a:lnTo>
                    <a:lnTo>
                      <a:pt x="1580" y="1456"/>
                    </a:lnTo>
                    <a:lnTo>
                      <a:pt x="1582" y="1458"/>
                    </a:lnTo>
                    <a:lnTo>
                      <a:pt x="1578" y="1458"/>
                    </a:lnTo>
                    <a:lnTo>
                      <a:pt x="1576" y="1462"/>
                    </a:lnTo>
                    <a:lnTo>
                      <a:pt x="1578" y="1466"/>
                    </a:lnTo>
                    <a:lnTo>
                      <a:pt x="1578" y="1466"/>
                    </a:lnTo>
                    <a:lnTo>
                      <a:pt x="1580" y="1470"/>
                    </a:lnTo>
                    <a:lnTo>
                      <a:pt x="1578" y="1472"/>
                    </a:lnTo>
                    <a:lnTo>
                      <a:pt x="1572" y="1470"/>
                    </a:lnTo>
                    <a:lnTo>
                      <a:pt x="1568" y="1468"/>
                    </a:lnTo>
                    <a:lnTo>
                      <a:pt x="1572" y="1474"/>
                    </a:lnTo>
                    <a:lnTo>
                      <a:pt x="1572" y="1474"/>
                    </a:lnTo>
                    <a:lnTo>
                      <a:pt x="1578" y="1480"/>
                    </a:lnTo>
                    <a:lnTo>
                      <a:pt x="1582" y="1480"/>
                    </a:lnTo>
                    <a:lnTo>
                      <a:pt x="1584" y="1482"/>
                    </a:lnTo>
                    <a:lnTo>
                      <a:pt x="1588" y="1486"/>
                    </a:lnTo>
                    <a:lnTo>
                      <a:pt x="1588" y="1486"/>
                    </a:lnTo>
                    <a:lnTo>
                      <a:pt x="1592" y="1490"/>
                    </a:lnTo>
                    <a:lnTo>
                      <a:pt x="1596" y="1490"/>
                    </a:lnTo>
                    <a:lnTo>
                      <a:pt x="1608" y="1490"/>
                    </a:lnTo>
                    <a:lnTo>
                      <a:pt x="1618" y="1490"/>
                    </a:lnTo>
                    <a:lnTo>
                      <a:pt x="1622" y="1492"/>
                    </a:lnTo>
                    <a:lnTo>
                      <a:pt x="1626" y="1494"/>
                    </a:lnTo>
                    <a:lnTo>
                      <a:pt x="1626" y="1494"/>
                    </a:lnTo>
                    <a:lnTo>
                      <a:pt x="1628" y="1498"/>
                    </a:lnTo>
                    <a:lnTo>
                      <a:pt x="1632" y="1500"/>
                    </a:lnTo>
                    <a:lnTo>
                      <a:pt x="1638" y="1502"/>
                    </a:lnTo>
                    <a:lnTo>
                      <a:pt x="1642" y="1504"/>
                    </a:lnTo>
                    <a:lnTo>
                      <a:pt x="1642" y="1504"/>
                    </a:lnTo>
                    <a:lnTo>
                      <a:pt x="1642" y="1508"/>
                    </a:lnTo>
                    <a:lnTo>
                      <a:pt x="1642" y="1508"/>
                    </a:lnTo>
                    <a:lnTo>
                      <a:pt x="1638" y="1510"/>
                    </a:lnTo>
                    <a:lnTo>
                      <a:pt x="1634" y="1510"/>
                    </a:lnTo>
                    <a:lnTo>
                      <a:pt x="1610" y="1504"/>
                    </a:lnTo>
                    <a:lnTo>
                      <a:pt x="1610" y="1504"/>
                    </a:lnTo>
                    <a:lnTo>
                      <a:pt x="1602" y="1502"/>
                    </a:lnTo>
                    <a:lnTo>
                      <a:pt x="1596" y="1504"/>
                    </a:lnTo>
                    <a:lnTo>
                      <a:pt x="1594" y="1506"/>
                    </a:lnTo>
                    <a:lnTo>
                      <a:pt x="1592" y="1510"/>
                    </a:lnTo>
                    <a:lnTo>
                      <a:pt x="1590" y="1512"/>
                    </a:lnTo>
                    <a:lnTo>
                      <a:pt x="1588" y="1516"/>
                    </a:lnTo>
                    <a:lnTo>
                      <a:pt x="1584" y="1516"/>
                    </a:lnTo>
                    <a:lnTo>
                      <a:pt x="1578" y="1514"/>
                    </a:lnTo>
                    <a:lnTo>
                      <a:pt x="1578" y="1514"/>
                    </a:lnTo>
                    <a:lnTo>
                      <a:pt x="1574" y="1512"/>
                    </a:lnTo>
                    <a:lnTo>
                      <a:pt x="1570" y="1514"/>
                    </a:lnTo>
                    <a:lnTo>
                      <a:pt x="1568" y="1516"/>
                    </a:lnTo>
                    <a:lnTo>
                      <a:pt x="1568" y="1518"/>
                    </a:lnTo>
                    <a:lnTo>
                      <a:pt x="1568" y="1522"/>
                    </a:lnTo>
                    <a:lnTo>
                      <a:pt x="1568" y="1524"/>
                    </a:lnTo>
                    <a:lnTo>
                      <a:pt x="1564" y="1524"/>
                    </a:lnTo>
                    <a:lnTo>
                      <a:pt x="1560" y="1520"/>
                    </a:lnTo>
                    <a:lnTo>
                      <a:pt x="1560" y="1520"/>
                    </a:lnTo>
                    <a:lnTo>
                      <a:pt x="1556" y="1518"/>
                    </a:lnTo>
                    <a:lnTo>
                      <a:pt x="1552" y="1516"/>
                    </a:lnTo>
                    <a:lnTo>
                      <a:pt x="1552" y="1518"/>
                    </a:lnTo>
                    <a:lnTo>
                      <a:pt x="1552" y="1520"/>
                    </a:lnTo>
                    <a:lnTo>
                      <a:pt x="1554" y="1530"/>
                    </a:lnTo>
                    <a:lnTo>
                      <a:pt x="1554" y="1534"/>
                    </a:lnTo>
                    <a:lnTo>
                      <a:pt x="1552" y="1536"/>
                    </a:lnTo>
                    <a:lnTo>
                      <a:pt x="1552" y="1536"/>
                    </a:lnTo>
                    <a:lnTo>
                      <a:pt x="1540" y="1540"/>
                    </a:lnTo>
                    <a:lnTo>
                      <a:pt x="1530" y="1542"/>
                    </a:lnTo>
                    <a:lnTo>
                      <a:pt x="1518" y="1540"/>
                    </a:lnTo>
                    <a:lnTo>
                      <a:pt x="1508" y="1536"/>
                    </a:lnTo>
                    <a:lnTo>
                      <a:pt x="1508" y="1536"/>
                    </a:lnTo>
                    <a:lnTo>
                      <a:pt x="1498" y="1532"/>
                    </a:lnTo>
                    <a:lnTo>
                      <a:pt x="1488" y="1530"/>
                    </a:lnTo>
                    <a:lnTo>
                      <a:pt x="1476" y="1528"/>
                    </a:lnTo>
                    <a:lnTo>
                      <a:pt x="1460" y="1526"/>
                    </a:lnTo>
                    <a:lnTo>
                      <a:pt x="1460" y="1526"/>
                    </a:lnTo>
                    <a:lnTo>
                      <a:pt x="1454" y="1524"/>
                    </a:lnTo>
                    <a:lnTo>
                      <a:pt x="1450" y="1524"/>
                    </a:lnTo>
                    <a:lnTo>
                      <a:pt x="1448" y="1526"/>
                    </a:lnTo>
                    <a:lnTo>
                      <a:pt x="1448" y="1528"/>
                    </a:lnTo>
                    <a:lnTo>
                      <a:pt x="1446" y="1532"/>
                    </a:lnTo>
                    <a:lnTo>
                      <a:pt x="1442" y="1534"/>
                    </a:lnTo>
                    <a:lnTo>
                      <a:pt x="1436" y="1534"/>
                    </a:lnTo>
                    <a:lnTo>
                      <a:pt x="1436" y="1534"/>
                    </a:lnTo>
                    <a:lnTo>
                      <a:pt x="1422" y="1534"/>
                    </a:lnTo>
                    <a:lnTo>
                      <a:pt x="1408" y="1534"/>
                    </a:lnTo>
                    <a:lnTo>
                      <a:pt x="1398" y="1538"/>
                    </a:lnTo>
                    <a:lnTo>
                      <a:pt x="1394" y="1542"/>
                    </a:lnTo>
                    <a:lnTo>
                      <a:pt x="1392" y="1544"/>
                    </a:lnTo>
                    <a:lnTo>
                      <a:pt x="1392" y="1544"/>
                    </a:lnTo>
                    <a:lnTo>
                      <a:pt x="1390" y="1548"/>
                    </a:lnTo>
                    <a:lnTo>
                      <a:pt x="1388" y="1550"/>
                    </a:lnTo>
                    <a:lnTo>
                      <a:pt x="1380" y="1552"/>
                    </a:lnTo>
                    <a:lnTo>
                      <a:pt x="1374" y="1554"/>
                    </a:lnTo>
                    <a:lnTo>
                      <a:pt x="1372" y="1558"/>
                    </a:lnTo>
                    <a:lnTo>
                      <a:pt x="1370" y="1562"/>
                    </a:lnTo>
                    <a:lnTo>
                      <a:pt x="1370" y="1562"/>
                    </a:lnTo>
                    <a:lnTo>
                      <a:pt x="1368" y="1572"/>
                    </a:lnTo>
                    <a:lnTo>
                      <a:pt x="1368" y="1580"/>
                    </a:lnTo>
                    <a:lnTo>
                      <a:pt x="1370" y="1588"/>
                    </a:lnTo>
                    <a:lnTo>
                      <a:pt x="1372" y="1594"/>
                    </a:lnTo>
                    <a:lnTo>
                      <a:pt x="1372" y="1594"/>
                    </a:lnTo>
                    <a:lnTo>
                      <a:pt x="1378" y="1604"/>
                    </a:lnTo>
                    <a:lnTo>
                      <a:pt x="1382" y="1610"/>
                    </a:lnTo>
                    <a:lnTo>
                      <a:pt x="1386" y="1614"/>
                    </a:lnTo>
                    <a:lnTo>
                      <a:pt x="1390" y="1614"/>
                    </a:lnTo>
                    <a:lnTo>
                      <a:pt x="1396" y="1614"/>
                    </a:lnTo>
                    <a:lnTo>
                      <a:pt x="1402" y="1610"/>
                    </a:lnTo>
                    <a:lnTo>
                      <a:pt x="1402" y="1610"/>
                    </a:lnTo>
                    <a:lnTo>
                      <a:pt x="1410" y="1606"/>
                    </a:lnTo>
                    <a:lnTo>
                      <a:pt x="1410" y="1608"/>
                    </a:lnTo>
                    <a:lnTo>
                      <a:pt x="1410" y="1610"/>
                    </a:lnTo>
                    <a:lnTo>
                      <a:pt x="1402" y="1640"/>
                    </a:lnTo>
                    <a:lnTo>
                      <a:pt x="1402" y="1640"/>
                    </a:lnTo>
                    <a:lnTo>
                      <a:pt x="1402" y="1646"/>
                    </a:lnTo>
                    <a:lnTo>
                      <a:pt x="1404" y="1654"/>
                    </a:lnTo>
                    <a:lnTo>
                      <a:pt x="1406" y="1668"/>
                    </a:lnTo>
                    <a:lnTo>
                      <a:pt x="1408" y="1676"/>
                    </a:lnTo>
                    <a:lnTo>
                      <a:pt x="1406" y="1682"/>
                    </a:lnTo>
                    <a:lnTo>
                      <a:pt x="1402" y="1686"/>
                    </a:lnTo>
                    <a:lnTo>
                      <a:pt x="1392" y="1692"/>
                    </a:lnTo>
                    <a:lnTo>
                      <a:pt x="1392" y="1692"/>
                    </a:lnTo>
                    <a:lnTo>
                      <a:pt x="1380" y="1694"/>
                    </a:lnTo>
                    <a:lnTo>
                      <a:pt x="1370" y="1694"/>
                    </a:lnTo>
                    <a:lnTo>
                      <a:pt x="1364" y="1690"/>
                    </a:lnTo>
                    <a:lnTo>
                      <a:pt x="1360" y="1684"/>
                    </a:lnTo>
                    <a:lnTo>
                      <a:pt x="1354" y="1672"/>
                    </a:lnTo>
                    <a:lnTo>
                      <a:pt x="1348" y="1666"/>
                    </a:lnTo>
                    <a:lnTo>
                      <a:pt x="1342" y="1662"/>
                    </a:lnTo>
                    <a:lnTo>
                      <a:pt x="1342" y="1662"/>
                    </a:lnTo>
                    <a:lnTo>
                      <a:pt x="1336" y="1660"/>
                    </a:lnTo>
                    <a:lnTo>
                      <a:pt x="1334" y="1656"/>
                    </a:lnTo>
                    <a:lnTo>
                      <a:pt x="1332" y="1652"/>
                    </a:lnTo>
                    <a:lnTo>
                      <a:pt x="1332" y="1650"/>
                    </a:lnTo>
                    <a:lnTo>
                      <a:pt x="1332" y="1648"/>
                    </a:lnTo>
                    <a:lnTo>
                      <a:pt x="1332" y="1648"/>
                    </a:lnTo>
                    <a:lnTo>
                      <a:pt x="1324" y="1648"/>
                    </a:lnTo>
                    <a:lnTo>
                      <a:pt x="1324" y="1648"/>
                    </a:lnTo>
                    <a:lnTo>
                      <a:pt x="1302" y="1656"/>
                    </a:lnTo>
                    <a:lnTo>
                      <a:pt x="1294" y="1660"/>
                    </a:lnTo>
                    <a:lnTo>
                      <a:pt x="1292" y="1664"/>
                    </a:lnTo>
                    <a:lnTo>
                      <a:pt x="1292" y="1664"/>
                    </a:lnTo>
                    <a:lnTo>
                      <a:pt x="1286" y="1674"/>
                    </a:lnTo>
                    <a:lnTo>
                      <a:pt x="1284" y="1678"/>
                    </a:lnTo>
                    <a:lnTo>
                      <a:pt x="1286" y="1684"/>
                    </a:lnTo>
                    <a:lnTo>
                      <a:pt x="1286" y="1684"/>
                    </a:lnTo>
                    <a:lnTo>
                      <a:pt x="1286" y="1688"/>
                    </a:lnTo>
                    <a:lnTo>
                      <a:pt x="1286" y="1690"/>
                    </a:lnTo>
                    <a:lnTo>
                      <a:pt x="1280" y="1694"/>
                    </a:lnTo>
                    <a:lnTo>
                      <a:pt x="1274" y="1700"/>
                    </a:lnTo>
                    <a:lnTo>
                      <a:pt x="1272" y="1704"/>
                    </a:lnTo>
                    <a:lnTo>
                      <a:pt x="1270" y="1710"/>
                    </a:lnTo>
                    <a:lnTo>
                      <a:pt x="1270" y="1710"/>
                    </a:lnTo>
                    <a:lnTo>
                      <a:pt x="1266" y="1720"/>
                    </a:lnTo>
                    <a:lnTo>
                      <a:pt x="1266" y="1732"/>
                    </a:lnTo>
                    <a:lnTo>
                      <a:pt x="1268" y="1752"/>
                    </a:lnTo>
                    <a:lnTo>
                      <a:pt x="1268" y="1752"/>
                    </a:lnTo>
                    <a:lnTo>
                      <a:pt x="1268" y="1766"/>
                    </a:lnTo>
                    <a:lnTo>
                      <a:pt x="1270" y="1772"/>
                    </a:lnTo>
                    <a:lnTo>
                      <a:pt x="1274" y="1776"/>
                    </a:lnTo>
                    <a:lnTo>
                      <a:pt x="1274" y="1776"/>
                    </a:lnTo>
                    <a:lnTo>
                      <a:pt x="1278" y="1782"/>
                    </a:lnTo>
                    <a:lnTo>
                      <a:pt x="1280" y="1790"/>
                    </a:lnTo>
                    <a:lnTo>
                      <a:pt x="1280" y="1804"/>
                    </a:lnTo>
                    <a:lnTo>
                      <a:pt x="1280" y="1804"/>
                    </a:lnTo>
                    <a:lnTo>
                      <a:pt x="1278" y="1806"/>
                    </a:lnTo>
                    <a:lnTo>
                      <a:pt x="1278" y="1806"/>
                    </a:lnTo>
                    <a:lnTo>
                      <a:pt x="1276" y="1808"/>
                    </a:lnTo>
                    <a:lnTo>
                      <a:pt x="1276" y="1816"/>
                    </a:lnTo>
                    <a:lnTo>
                      <a:pt x="1276" y="1816"/>
                    </a:lnTo>
                    <a:lnTo>
                      <a:pt x="1278" y="1818"/>
                    </a:lnTo>
                    <a:lnTo>
                      <a:pt x="1276" y="1822"/>
                    </a:lnTo>
                    <a:lnTo>
                      <a:pt x="1270" y="1824"/>
                    </a:lnTo>
                    <a:lnTo>
                      <a:pt x="1264" y="1826"/>
                    </a:lnTo>
                    <a:lnTo>
                      <a:pt x="1258" y="1824"/>
                    </a:lnTo>
                    <a:lnTo>
                      <a:pt x="1258" y="1824"/>
                    </a:lnTo>
                    <a:lnTo>
                      <a:pt x="1256" y="1824"/>
                    </a:lnTo>
                    <a:lnTo>
                      <a:pt x="1256" y="1822"/>
                    </a:lnTo>
                    <a:lnTo>
                      <a:pt x="1258" y="1816"/>
                    </a:lnTo>
                    <a:lnTo>
                      <a:pt x="1268" y="1804"/>
                    </a:lnTo>
                    <a:lnTo>
                      <a:pt x="1268" y="1804"/>
                    </a:lnTo>
                    <a:lnTo>
                      <a:pt x="1270" y="1800"/>
                    </a:lnTo>
                    <a:lnTo>
                      <a:pt x="1268" y="1800"/>
                    </a:lnTo>
                    <a:lnTo>
                      <a:pt x="1256" y="1814"/>
                    </a:lnTo>
                    <a:lnTo>
                      <a:pt x="1256" y="1814"/>
                    </a:lnTo>
                    <a:lnTo>
                      <a:pt x="1248" y="1820"/>
                    </a:lnTo>
                    <a:lnTo>
                      <a:pt x="1246" y="1822"/>
                    </a:lnTo>
                    <a:lnTo>
                      <a:pt x="1240" y="1820"/>
                    </a:lnTo>
                    <a:lnTo>
                      <a:pt x="1232" y="1820"/>
                    </a:lnTo>
                    <a:lnTo>
                      <a:pt x="1232" y="1820"/>
                    </a:lnTo>
                    <a:lnTo>
                      <a:pt x="1226" y="1822"/>
                    </a:lnTo>
                    <a:lnTo>
                      <a:pt x="1224" y="1824"/>
                    </a:lnTo>
                    <a:lnTo>
                      <a:pt x="1224" y="1830"/>
                    </a:lnTo>
                    <a:lnTo>
                      <a:pt x="1224" y="1836"/>
                    </a:lnTo>
                    <a:lnTo>
                      <a:pt x="1224" y="1840"/>
                    </a:lnTo>
                    <a:lnTo>
                      <a:pt x="1220" y="1846"/>
                    </a:lnTo>
                    <a:lnTo>
                      <a:pt x="1214" y="1852"/>
                    </a:lnTo>
                    <a:lnTo>
                      <a:pt x="1214" y="1852"/>
                    </a:lnTo>
                    <a:lnTo>
                      <a:pt x="1202" y="1858"/>
                    </a:lnTo>
                    <a:lnTo>
                      <a:pt x="1188" y="1860"/>
                    </a:lnTo>
                    <a:lnTo>
                      <a:pt x="1182" y="1858"/>
                    </a:lnTo>
                    <a:lnTo>
                      <a:pt x="1176" y="1856"/>
                    </a:lnTo>
                    <a:lnTo>
                      <a:pt x="1172" y="1854"/>
                    </a:lnTo>
                    <a:lnTo>
                      <a:pt x="1170" y="1848"/>
                    </a:lnTo>
                    <a:lnTo>
                      <a:pt x="1170" y="1848"/>
                    </a:lnTo>
                    <a:lnTo>
                      <a:pt x="1166" y="1836"/>
                    </a:lnTo>
                    <a:lnTo>
                      <a:pt x="1166" y="1836"/>
                    </a:lnTo>
                    <a:lnTo>
                      <a:pt x="1172" y="1840"/>
                    </a:lnTo>
                    <a:lnTo>
                      <a:pt x="1172" y="1840"/>
                    </a:lnTo>
                    <a:lnTo>
                      <a:pt x="1180" y="1844"/>
                    </a:lnTo>
                    <a:lnTo>
                      <a:pt x="1184" y="1844"/>
                    </a:lnTo>
                    <a:lnTo>
                      <a:pt x="1184" y="1842"/>
                    </a:lnTo>
                    <a:lnTo>
                      <a:pt x="1180" y="1840"/>
                    </a:lnTo>
                    <a:lnTo>
                      <a:pt x="1180" y="1840"/>
                    </a:lnTo>
                    <a:lnTo>
                      <a:pt x="1168" y="1832"/>
                    </a:lnTo>
                    <a:lnTo>
                      <a:pt x="1160" y="1828"/>
                    </a:lnTo>
                    <a:lnTo>
                      <a:pt x="1152" y="1828"/>
                    </a:lnTo>
                    <a:lnTo>
                      <a:pt x="1136" y="1832"/>
                    </a:lnTo>
                    <a:lnTo>
                      <a:pt x="1136" y="1832"/>
                    </a:lnTo>
                    <a:lnTo>
                      <a:pt x="1118" y="1836"/>
                    </a:lnTo>
                    <a:lnTo>
                      <a:pt x="1112" y="1838"/>
                    </a:lnTo>
                    <a:lnTo>
                      <a:pt x="1110" y="1840"/>
                    </a:lnTo>
                    <a:lnTo>
                      <a:pt x="1098" y="1844"/>
                    </a:lnTo>
                    <a:lnTo>
                      <a:pt x="1098" y="1844"/>
                    </a:lnTo>
                    <a:lnTo>
                      <a:pt x="1090" y="1848"/>
                    </a:lnTo>
                    <a:lnTo>
                      <a:pt x="1086" y="1850"/>
                    </a:lnTo>
                    <a:lnTo>
                      <a:pt x="1082" y="1856"/>
                    </a:lnTo>
                    <a:lnTo>
                      <a:pt x="1080" y="1858"/>
                    </a:lnTo>
                    <a:lnTo>
                      <a:pt x="1074" y="1862"/>
                    </a:lnTo>
                    <a:lnTo>
                      <a:pt x="1066" y="1864"/>
                    </a:lnTo>
                    <a:lnTo>
                      <a:pt x="1054" y="1868"/>
                    </a:lnTo>
                    <a:lnTo>
                      <a:pt x="1054" y="1868"/>
                    </a:lnTo>
                    <a:lnTo>
                      <a:pt x="1034" y="1874"/>
                    </a:lnTo>
                    <a:lnTo>
                      <a:pt x="1020" y="1880"/>
                    </a:lnTo>
                    <a:lnTo>
                      <a:pt x="1008" y="1884"/>
                    </a:lnTo>
                    <a:lnTo>
                      <a:pt x="1002" y="1884"/>
                    </a:lnTo>
                    <a:lnTo>
                      <a:pt x="996" y="1884"/>
                    </a:lnTo>
                    <a:lnTo>
                      <a:pt x="996" y="1884"/>
                    </a:lnTo>
                    <a:lnTo>
                      <a:pt x="992" y="1882"/>
                    </a:lnTo>
                    <a:lnTo>
                      <a:pt x="986" y="1878"/>
                    </a:lnTo>
                    <a:lnTo>
                      <a:pt x="980" y="1870"/>
                    </a:lnTo>
                    <a:lnTo>
                      <a:pt x="980" y="1870"/>
                    </a:lnTo>
                    <a:lnTo>
                      <a:pt x="978" y="1870"/>
                    </a:lnTo>
                    <a:lnTo>
                      <a:pt x="978" y="1870"/>
                    </a:lnTo>
                    <a:lnTo>
                      <a:pt x="980" y="1874"/>
                    </a:lnTo>
                    <a:lnTo>
                      <a:pt x="984" y="1884"/>
                    </a:lnTo>
                    <a:lnTo>
                      <a:pt x="984" y="1884"/>
                    </a:lnTo>
                    <a:lnTo>
                      <a:pt x="984" y="1886"/>
                    </a:lnTo>
                    <a:lnTo>
                      <a:pt x="984" y="1888"/>
                    </a:lnTo>
                    <a:lnTo>
                      <a:pt x="982" y="1888"/>
                    </a:lnTo>
                    <a:lnTo>
                      <a:pt x="982" y="1890"/>
                    </a:lnTo>
                    <a:lnTo>
                      <a:pt x="982" y="1890"/>
                    </a:lnTo>
                    <a:lnTo>
                      <a:pt x="984" y="1890"/>
                    </a:lnTo>
                    <a:lnTo>
                      <a:pt x="988" y="1890"/>
                    </a:lnTo>
                    <a:lnTo>
                      <a:pt x="992" y="1888"/>
                    </a:lnTo>
                    <a:lnTo>
                      <a:pt x="996" y="1890"/>
                    </a:lnTo>
                    <a:lnTo>
                      <a:pt x="996" y="1890"/>
                    </a:lnTo>
                    <a:lnTo>
                      <a:pt x="998" y="1892"/>
                    </a:lnTo>
                    <a:lnTo>
                      <a:pt x="1002" y="1892"/>
                    </a:lnTo>
                    <a:lnTo>
                      <a:pt x="1004" y="1890"/>
                    </a:lnTo>
                    <a:lnTo>
                      <a:pt x="1008" y="1890"/>
                    </a:lnTo>
                    <a:lnTo>
                      <a:pt x="1008" y="1890"/>
                    </a:lnTo>
                    <a:lnTo>
                      <a:pt x="1010" y="1894"/>
                    </a:lnTo>
                    <a:lnTo>
                      <a:pt x="1010" y="1900"/>
                    </a:lnTo>
                    <a:lnTo>
                      <a:pt x="1010" y="1900"/>
                    </a:lnTo>
                    <a:lnTo>
                      <a:pt x="1010" y="1902"/>
                    </a:lnTo>
                    <a:lnTo>
                      <a:pt x="1008" y="1902"/>
                    </a:lnTo>
                    <a:lnTo>
                      <a:pt x="1004" y="1900"/>
                    </a:lnTo>
                    <a:lnTo>
                      <a:pt x="998" y="1898"/>
                    </a:lnTo>
                    <a:lnTo>
                      <a:pt x="998" y="1898"/>
                    </a:lnTo>
                    <a:lnTo>
                      <a:pt x="996" y="1898"/>
                    </a:lnTo>
                    <a:lnTo>
                      <a:pt x="996" y="1898"/>
                    </a:lnTo>
                    <a:lnTo>
                      <a:pt x="986" y="1896"/>
                    </a:lnTo>
                    <a:lnTo>
                      <a:pt x="980" y="1892"/>
                    </a:lnTo>
                    <a:lnTo>
                      <a:pt x="980" y="1890"/>
                    </a:lnTo>
                    <a:lnTo>
                      <a:pt x="980" y="1886"/>
                    </a:lnTo>
                    <a:lnTo>
                      <a:pt x="980" y="1886"/>
                    </a:lnTo>
                    <a:lnTo>
                      <a:pt x="980" y="1884"/>
                    </a:lnTo>
                    <a:lnTo>
                      <a:pt x="978" y="1882"/>
                    </a:lnTo>
                    <a:lnTo>
                      <a:pt x="976" y="1878"/>
                    </a:lnTo>
                    <a:lnTo>
                      <a:pt x="976" y="1872"/>
                    </a:lnTo>
                    <a:lnTo>
                      <a:pt x="976" y="1872"/>
                    </a:lnTo>
                    <a:lnTo>
                      <a:pt x="976" y="1870"/>
                    </a:lnTo>
                    <a:lnTo>
                      <a:pt x="974" y="1870"/>
                    </a:lnTo>
                    <a:lnTo>
                      <a:pt x="970" y="1872"/>
                    </a:lnTo>
                    <a:lnTo>
                      <a:pt x="962" y="1872"/>
                    </a:lnTo>
                    <a:lnTo>
                      <a:pt x="958" y="1870"/>
                    </a:lnTo>
                    <a:lnTo>
                      <a:pt x="954" y="1868"/>
                    </a:lnTo>
                    <a:lnTo>
                      <a:pt x="954" y="1868"/>
                    </a:lnTo>
                    <a:lnTo>
                      <a:pt x="950" y="1860"/>
                    </a:lnTo>
                    <a:lnTo>
                      <a:pt x="948" y="1856"/>
                    </a:lnTo>
                    <a:lnTo>
                      <a:pt x="946" y="1854"/>
                    </a:lnTo>
                    <a:lnTo>
                      <a:pt x="944" y="1854"/>
                    </a:lnTo>
                    <a:lnTo>
                      <a:pt x="944" y="1854"/>
                    </a:lnTo>
                    <a:lnTo>
                      <a:pt x="938" y="1854"/>
                    </a:lnTo>
                    <a:lnTo>
                      <a:pt x="932" y="1852"/>
                    </a:lnTo>
                    <a:lnTo>
                      <a:pt x="930" y="1850"/>
                    </a:lnTo>
                    <a:lnTo>
                      <a:pt x="926" y="1850"/>
                    </a:lnTo>
                    <a:lnTo>
                      <a:pt x="926" y="1850"/>
                    </a:lnTo>
                    <a:lnTo>
                      <a:pt x="924" y="1854"/>
                    </a:lnTo>
                    <a:lnTo>
                      <a:pt x="920" y="1862"/>
                    </a:lnTo>
                    <a:lnTo>
                      <a:pt x="912" y="1868"/>
                    </a:lnTo>
                    <a:lnTo>
                      <a:pt x="908" y="1870"/>
                    </a:lnTo>
                    <a:lnTo>
                      <a:pt x="900" y="1870"/>
                    </a:lnTo>
                    <a:lnTo>
                      <a:pt x="900" y="1870"/>
                    </a:lnTo>
                    <a:lnTo>
                      <a:pt x="894" y="1872"/>
                    </a:lnTo>
                    <a:lnTo>
                      <a:pt x="890" y="1874"/>
                    </a:lnTo>
                    <a:lnTo>
                      <a:pt x="886" y="1880"/>
                    </a:lnTo>
                    <a:lnTo>
                      <a:pt x="884" y="1884"/>
                    </a:lnTo>
                    <a:lnTo>
                      <a:pt x="882" y="1884"/>
                    </a:lnTo>
                    <a:lnTo>
                      <a:pt x="878" y="1882"/>
                    </a:lnTo>
                    <a:lnTo>
                      <a:pt x="878" y="1882"/>
                    </a:lnTo>
                    <a:lnTo>
                      <a:pt x="874" y="1880"/>
                    </a:lnTo>
                    <a:lnTo>
                      <a:pt x="870" y="1880"/>
                    </a:lnTo>
                    <a:lnTo>
                      <a:pt x="864" y="1882"/>
                    </a:lnTo>
                    <a:lnTo>
                      <a:pt x="860" y="1882"/>
                    </a:lnTo>
                    <a:lnTo>
                      <a:pt x="858" y="1882"/>
                    </a:lnTo>
                    <a:lnTo>
                      <a:pt x="856" y="1880"/>
                    </a:lnTo>
                    <a:lnTo>
                      <a:pt x="856" y="1880"/>
                    </a:lnTo>
                    <a:lnTo>
                      <a:pt x="856" y="1878"/>
                    </a:lnTo>
                    <a:lnTo>
                      <a:pt x="858" y="1876"/>
                    </a:lnTo>
                    <a:lnTo>
                      <a:pt x="864" y="1872"/>
                    </a:lnTo>
                    <a:lnTo>
                      <a:pt x="870" y="1870"/>
                    </a:lnTo>
                    <a:lnTo>
                      <a:pt x="870" y="1868"/>
                    </a:lnTo>
                    <a:lnTo>
                      <a:pt x="870" y="1864"/>
                    </a:lnTo>
                    <a:lnTo>
                      <a:pt x="870" y="1864"/>
                    </a:lnTo>
                    <a:lnTo>
                      <a:pt x="870" y="1862"/>
                    </a:lnTo>
                    <a:lnTo>
                      <a:pt x="870" y="1858"/>
                    </a:lnTo>
                    <a:lnTo>
                      <a:pt x="870" y="1856"/>
                    </a:lnTo>
                    <a:lnTo>
                      <a:pt x="870" y="1856"/>
                    </a:lnTo>
                    <a:lnTo>
                      <a:pt x="862" y="1858"/>
                    </a:lnTo>
                    <a:lnTo>
                      <a:pt x="862" y="1858"/>
                    </a:lnTo>
                    <a:lnTo>
                      <a:pt x="856" y="1860"/>
                    </a:lnTo>
                    <a:lnTo>
                      <a:pt x="852" y="1860"/>
                    </a:lnTo>
                    <a:lnTo>
                      <a:pt x="848" y="1860"/>
                    </a:lnTo>
                    <a:lnTo>
                      <a:pt x="846" y="1858"/>
                    </a:lnTo>
                    <a:lnTo>
                      <a:pt x="842" y="1854"/>
                    </a:lnTo>
                    <a:lnTo>
                      <a:pt x="840" y="1854"/>
                    </a:lnTo>
                    <a:lnTo>
                      <a:pt x="838" y="1854"/>
                    </a:lnTo>
                    <a:lnTo>
                      <a:pt x="838" y="1854"/>
                    </a:lnTo>
                    <a:lnTo>
                      <a:pt x="834" y="1856"/>
                    </a:lnTo>
                    <a:lnTo>
                      <a:pt x="832" y="1854"/>
                    </a:lnTo>
                    <a:lnTo>
                      <a:pt x="830" y="1852"/>
                    </a:lnTo>
                    <a:lnTo>
                      <a:pt x="826" y="1850"/>
                    </a:lnTo>
                    <a:lnTo>
                      <a:pt x="826" y="1850"/>
                    </a:lnTo>
                    <a:lnTo>
                      <a:pt x="822" y="1850"/>
                    </a:lnTo>
                    <a:lnTo>
                      <a:pt x="824" y="1848"/>
                    </a:lnTo>
                    <a:lnTo>
                      <a:pt x="826" y="1844"/>
                    </a:lnTo>
                    <a:lnTo>
                      <a:pt x="828" y="1842"/>
                    </a:lnTo>
                    <a:lnTo>
                      <a:pt x="826" y="1838"/>
                    </a:lnTo>
                    <a:lnTo>
                      <a:pt x="826" y="1838"/>
                    </a:lnTo>
                    <a:lnTo>
                      <a:pt x="824" y="1834"/>
                    </a:lnTo>
                    <a:lnTo>
                      <a:pt x="822" y="1832"/>
                    </a:lnTo>
                    <a:lnTo>
                      <a:pt x="820" y="1834"/>
                    </a:lnTo>
                    <a:lnTo>
                      <a:pt x="816" y="1832"/>
                    </a:lnTo>
                    <a:lnTo>
                      <a:pt x="816" y="1832"/>
                    </a:lnTo>
                    <a:lnTo>
                      <a:pt x="812" y="1830"/>
                    </a:lnTo>
                    <a:lnTo>
                      <a:pt x="808" y="1830"/>
                    </a:lnTo>
                    <a:lnTo>
                      <a:pt x="806" y="1832"/>
                    </a:lnTo>
                    <a:lnTo>
                      <a:pt x="802" y="1830"/>
                    </a:lnTo>
                    <a:lnTo>
                      <a:pt x="802" y="1830"/>
                    </a:lnTo>
                    <a:lnTo>
                      <a:pt x="808" y="1826"/>
                    </a:lnTo>
                    <a:lnTo>
                      <a:pt x="810" y="1824"/>
                    </a:lnTo>
                    <a:lnTo>
                      <a:pt x="810" y="1826"/>
                    </a:lnTo>
                    <a:lnTo>
                      <a:pt x="812" y="1828"/>
                    </a:lnTo>
                    <a:lnTo>
                      <a:pt x="812" y="1828"/>
                    </a:lnTo>
                    <a:lnTo>
                      <a:pt x="816" y="1828"/>
                    </a:lnTo>
                    <a:lnTo>
                      <a:pt x="818" y="1826"/>
                    </a:lnTo>
                    <a:lnTo>
                      <a:pt x="820" y="1826"/>
                    </a:lnTo>
                    <a:lnTo>
                      <a:pt x="820" y="1826"/>
                    </a:lnTo>
                    <a:lnTo>
                      <a:pt x="820" y="1826"/>
                    </a:lnTo>
                    <a:lnTo>
                      <a:pt x="824" y="1828"/>
                    </a:lnTo>
                    <a:lnTo>
                      <a:pt x="826" y="1826"/>
                    </a:lnTo>
                    <a:lnTo>
                      <a:pt x="828" y="1824"/>
                    </a:lnTo>
                    <a:lnTo>
                      <a:pt x="828" y="1822"/>
                    </a:lnTo>
                    <a:lnTo>
                      <a:pt x="822" y="1818"/>
                    </a:lnTo>
                    <a:lnTo>
                      <a:pt x="822" y="1818"/>
                    </a:lnTo>
                    <a:lnTo>
                      <a:pt x="816" y="1814"/>
                    </a:lnTo>
                    <a:lnTo>
                      <a:pt x="812" y="1816"/>
                    </a:lnTo>
                    <a:lnTo>
                      <a:pt x="810" y="1818"/>
                    </a:lnTo>
                    <a:lnTo>
                      <a:pt x="806" y="1814"/>
                    </a:lnTo>
                    <a:lnTo>
                      <a:pt x="806" y="1814"/>
                    </a:lnTo>
                    <a:lnTo>
                      <a:pt x="806" y="1812"/>
                    </a:lnTo>
                    <a:lnTo>
                      <a:pt x="806" y="1810"/>
                    </a:lnTo>
                    <a:lnTo>
                      <a:pt x="810" y="1808"/>
                    </a:lnTo>
                    <a:lnTo>
                      <a:pt x="812" y="1804"/>
                    </a:lnTo>
                    <a:lnTo>
                      <a:pt x="814" y="1804"/>
                    </a:lnTo>
                    <a:lnTo>
                      <a:pt x="812" y="1802"/>
                    </a:lnTo>
                    <a:lnTo>
                      <a:pt x="812" y="1802"/>
                    </a:lnTo>
                    <a:lnTo>
                      <a:pt x="810" y="1798"/>
                    </a:lnTo>
                    <a:lnTo>
                      <a:pt x="810" y="1794"/>
                    </a:lnTo>
                    <a:lnTo>
                      <a:pt x="810" y="1792"/>
                    </a:lnTo>
                    <a:lnTo>
                      <a:pt x="808" y="1790"/>
                    </a:lnTo>
                    <a:lnTo>
                      <a:pt x="808" y="1790"/>
                    </a:lnTo>
                    <a:lnTo>
                      <a:pt x="808" y="1788"/>
                    </a:lnTo>
                    <a:lnTo>
                      <a:pt x="808" y="1786"/>
                    </a:lnTo>
                    <a:lnTo>
                      <a:pt x="814" y="1784"/>
                    </a:lnTo>
                    <a:lnTo>
                      <a:pt x="818" y="1782"/>
                    </a:lnTo>
                    <a:lnTo>
                      <a:pt x="818" y="1780"/>
                    </a:lnTo>
                    <a:lnTo>
                      <a:pt x="818" y="1780"/>
                    </a:lnTo>
                    <a:lnTo>
                      <a:pt x="818" y="1780"/>
                    </a:lnTo>
                    <a:lnTo>
                      <a:pt x="818" y="1778"/>
                    </a:lnTo>
                    <a:lnTo>
                      <a:pt x="818" y="1776"/>
                    </a:lnTo>
                    <a:lnTo>
                      <a:pt x="822" y="1776"/>
                    </a:lnTo>
                    <a:lnTo>
                      <a:pt x="826" y="1774"/>
                    </a:lnTo>
                    <a:lnTo>
                      <a:pt x="826" y="1772"/>
                    </a:lnTo>
                    <a:lnTo>
                      <a:pt x="824" y="1768"/>
                    </a:lnTo>
                    <a:lnTo>
                      <a:pt x="824" y="1768"/>
                    </a:lnTo>
                    <a:lnTo>
                      <a:pt x="820" y="1764"/>
                    </a:lnTo>
                    <a:lnTo>
                      <a:pt x="824" y="1766"/>
                    </a:lnTo>
                    <a:lnTo>
                      <a:pt x="828" y="1768"/>
                    </a:lnTo>
                    <a:lnTo>
                      <a:pt x="832" y="1768"/>
                    </a:lnTo>
                    <a:lnTo>
                      <a:pt x="834" y="1766"/>
                    </a:lnTo>
                    <a:lnTo>
                      <a:pt x="834" y="1766"/>
                    </a:lnTo>
                    <a:lnTo>
                      <a:pt x="834" y="1764"/>
                    </a:lnTo>
                    <a:lnTo>
                      <a:pt x="834" y="1760"/>
                    </a:lnTo>
                    <a:lnTo>
                      <a:pt x="834" y="1750"/>
                    </a:lnTo>
                    <a:lnTo>
                      <a:pt x="836" y="1742"/>
                    </a:lnTo>
                    <a:lnTo>
                      <a:pt x="836" y="1740"/>
                    </a:lnTo>
                    <a:lnTo>
                      <a:pt x="840" y="1738"/>
                    </a:lnTo>
                    <a:lnTo>
                      <a:pt x="840" y="1738"/>
                    </a:lnTo>
                    <a:lnTo>
                      <a:pt x="844" y="1738"/>
                    </a:lnTo>
                    <a:lnTo>
                      <a:pt x="844" y="1742"/>
                    </a:lnTo>
                    <a:lnTo>
                      <a:pt x="842" y="1744"/>
                    </a:lnTo>
                    <a:lnTo>
                      <a:pt x="842" y="1746"/>
                    </a:lnTo>
                    <a:lnTo>
                      <a:pt x="844" y="1748"/>
                    </a:lnTo>
                    <a:lnTo>
                      <a:pt x="844" y="1748"/>
                    </a:lnTo>
                    <a:lnTo>
                      <a:pt x="848" y="1750"/>
                    </a:lnTo>
                    <a:lnTo>
                      <a:pt x="848" y="1748"/>
                    </a:lnTo>
                    <a:lnTo>
                      <a:pt x="850" y="1746"/>
                    </a:lnTo>
                    <a:lnTo>
                      <a:pt x="852" y="1746"/>
                    </a:lnTo>
                    <a:lnTo>
                      <a:pt x="852" y="1746"/>
                    </a:lnTo>
                    <a:lnTo>
                      <a:pt x="854" y="1748"/>
                    </a:lnTo>
                    <a:lnTo>
                      <a:pt x="856" y="1746"/>
                    </a:lnTo>
                    <a:lnTo>
                      <a:pt x="858" y="1744"/>
                    </a:lnTo>
                    <a:lnTo>
                      <a:pt x="864" y="1732"/>
                    </a:lnTo>
                    <a:lnTo>
                      <a:pt x="864" y="1732"/>
                    </a:lnTo>
                    <a:lnTo>
                      <a:pt x="864" y="1730"/>
                    </a:lnTo>
                    <a:lnTo>
                      <a:pt x="864" y="1728"/>
                    </a:lnTo>
                    <a:lnTo>
                      <a:pt x="858" y="1726"/>
                    </a:lnTo>
                    <a:lnTo>
                      <a:pt x="844" y="1724"/>
                    </a:lnTo>
                    <a:lnTo>
                      <a:pt x="844" y="1724"/>
                    </a:lnTo>
                    <a:lnTo>
                      <a:pt x="840" y="1722"/>
                    </a:lnTo>
                    <a:lnTo>
                      <a:pt x="838" y="1722"/>
                    </a:lnTo>
                    <a:lnTo>
                      <a:pt x="838" y="1722"/>
                    </a:lnTo>
                    <a:lnTo>
                      <a:pt x="840" y="1718"/>
                    </a:lnTo>
                    <a:lnTo>
                      <a:pt x="840" y="1718"/>
                    </a:lnTo>
                    <a:lnTo>
                      <a:pt x="842" y="1714"/>
                    </a:lnTo>
                    <a:lnTo>
                      <a:pt x="840" y="1710"/>
                    </a:lnTo>
                    <a:lnTo>
                      <a:pt x="838" y="1706"/>
                    </a:lnTo>
                    <a:lnTo>
                      <a:pt x="838" y="1700"/>
                    </a:lnTo>
                    <a:lnTo>
                      <a:pt x="838" y="1700"/>
                    </a:lnTo>
                    <a:lnTo>
                      <a:pt x="840" y="1690"/>
                    </a:lnTo>
                    <a:lnTo>
                      <a:pt x="842" y="1686"/>
                    </a:lnTo>
                    <a:lnTo>
                      <a:pt x="844" y="1684"/>
                    </a:lnTo>
                    <a:lnTo>
                      <a:pt x="844" y="1684"/>
                    </a:lnTo>
                    <a:lnTo>
                      <a:pt x="846" y="1680"/>
                    </a:lnTo>
                    <a:lnTo>
                      <a:pt x="848" y="1676"/>
                    </a:lnTo>
                    <a:lnTo>
                      <a:pt x="848" y="1670"/>
                    </a:lnTo>
                    <a:lnTo>
                      <a:pt x="846" y="1662"/>
                    </a:lnTo>
                    <a:lnTo>
                      <a:pt x="846" y="1662"/>
                    </a:lnTo>
                    <a:lnTo>
                      <a:pt x="844" y="1658"/>
                    </a:lnTo>
                    <a:lnTo>
                      <a:pt x="844" y="1656"/>
                    </a:lnTo>
                    <a:lnTo>
                      <a:pt x="846" y="1652"/>
                    </a:lnTo>
                    <a:lnTo>
                      <a:pt x="850" y="1648"/>
                    </a:lnTo>
                    <a:lnTo>
                      <a:pt x="850" y="1648"/>
                    </a:lnTo>
                    <a:lnTo>
                      <a:pt x="850" y="1646"/>
                    </a:lnTo>
                    <a:lnTo>
                      <a:pt x="850" y="1646"/>
                    </a:lnTo>
                    <a:lnTo>
                      <a:pt x="846" y="1646"/>
                    </a:lnTo>
                    <a:lnTo>
                      <a:pt x="844" y="1650"/>
                    </a:lnTo>
                    <a:lnTo>
                      <a:pt x="838" y="1654"/>
                    </a:lnTo>
                    <a:lnTo>
                      <a:pt x="830" y="1656"/>
                    </a:lnTo>
                    <a:lnTo>
                      <a:pt x="830" y="1656"/>
                    </a:lnTo>
                    <a:lnTo>
                      <a:pt x="824" y="1658"/>
                    </a:lnTo>
                    <a:lnTo>
                      <a:pt x="822" y="1660"/>
                    </a:lnTo>
                    <a:lnTo>
                      <a:pt x="814" y="1672"/>
                    </a:lnTo>
                    <a:lnTo>
                      <a:pt x="810" y="1676"/>
                    </a:lnTo>
                    <a:lnTo>
                      <a:pt x="804" y="1680"/>
                    </a:lnTo>
                    <a:lnTo>
                      <a:pt x="796" y="1684"/>
                    </a:lnTo>
                    <a:lnTo>
                      <a:pt x="786" y="1686"/>
                    </a:lnTo>
                    <a:lnTo>
                      <a:pt x="786" y="1686"/>
                    </a:lnTo>
                    <a:lnTo>
                      <a:pt x="776" y="1686"/>
                    </a:lnTo>
                    <a:lnTo>
                      <a:pt x="768" y="1690"/>
                    </a:lnTo>
                    <a:lnTo>
                      <a:pt x="762" y="1694"/>
                    </a:lnTo>
                    <a:lnTo>
                      <a:pt x="758" y="1700"/>
                    </a:lnTo>
                    <a:lnTo>
                      <a:pt x="754" y="1708"/>
                    </a:lnTo>
                    <a:lnTo>
                      <a:pt x="752" y="1718"/>
                    </a:lnTo>
                    <a:lnTo>
                      <a:pt x="748" y="1736"/>
                    </a:lnTo>
                    <a:lnTo>
                      <a:pt x="748" y="1736"/>
                    </a:lnTo>
                    <a:lnTo>
                      <a:pt x="748" y="1752"/>
                    </a:lnTo>
                    <a:lnTo>
                      <a:pt x="750" y="1762"/>
                    </a:lnTo>
                    <a:lnTo>
                      <a:pt x="752" y="1770"/>
                    </a:lnTo>
                    <a:lnTo>
                      <a:pt x="750" y="1778"/>
                    </a:lnTo>
                    <a:lnTo>
                      <a:pt x="750" y="1778"/>
                    </a:lnTo>
                    <a:lnTo>
                      <a:pt x="746" y="1784"/>
                    </a:lnTo>
                    <a:lnTo>
                      <a:pt x="748" y="1786"/>
                    </a:lnTo>
                    <a:lnTo>
                      <a:pt x="750" y="1786"/>
                    </a:lnTo>
                    <a:lnTo>
                      <a:pt x="754" y="1790"/>
                    </a:lnTo>
                    <a:lnTo>
                      <a:pt x="754" y="1790"/>
                    </a:lnTo>
                    <a:lnTo>
                      <a:pt x="758" y="1792"/>
                    </a:lnTo>
                    <a:lnTo>
                      <a:pt x="758" y="1790"/>
                    </a:lnTo>
                    <a:lnTo>
                      <a:pt x="758" y="1788"/>
                    </a:lnTo>
                    <a:lnTo>
                      <a:pt x="762" y="1790"/>
                    </a:lnTo>
                    <a:lnTo>
                      <a:pt x="762" y="1790"/>
                    </a:lnTo>
                    <a:lnTo>
                      <a:pt x="764" y="1792"/>
                    </a:lnTo>
                    <a:lnTo>
                      <a:pt x="768" y="1792"/>
                    </a:lnTo>
                    <a:lnTo>
                      <a:pt x="772" y="1796"/>
                    </a:lnTo>
                    <a:lnTo>
                      <a:pt x="772" y="1804"/>
                    </a:lnTo>
                    <a:lnTo>
                      <a:pt x="772" y="1804"/>
                    </a:lnTo>
                    <a:lnTo>
                      <a:pt x="770" y="1810"/>
                    </a:lnTo>
                    <a:lnTo>
                      <a:pt x="768" y="1808"/>
                    </a:lnTo>
                    <a:lnTo>
                      <a:pt x="766" y="1806"/>
                    </a:lnTo>
                    <a:lnTo>
                      <a:pt x="764" y="1806"/>
                    </a:lnTo>
                    <a:lnTo>
                      <a:pt x="764" y="1810"/>
                    </a:lnTo>
                    <a:lnTo>
                      <a:pt x="764" y="1810"/>
                    </a:lnTo>
                    <a:lnTo>
                      <a:pt x="764" y="1814"/>
                    </a:lnTo>
                    <a:lnTo>
                      <a:pt x="764" y="1814"/>
                    </a:lnTo>
                    <a:lnTo>
                      <a:pt x="768" y="1812"/>
                    </a:lnTo>
                    <a:lnTo>
                      <a:pt x="770" y="1812"/>
                    </a:lnTo>
                    <a:lnTo>
                      <a:pt x="770" y="1814"/>
                    </a:lnTo>
                    <a:lnTo>
                      <a:pt x="770" y="1826"/>
                    </a:lnTo>
                    <a:lnTo>
                      <a:pt x="770" y="1826"/>
                    </a:lnTo>
                    <a:lnTo>
                      <a:pt x="770" y="1830"/>
                    </a:lnTo>
                    <a:lnTo>
                      <a:pt x="774" y="1836"/>
                    </a:lnTo>
                    <a:lnTo>
                      <a:pt x="784" y="1848"/>
                    </a:lnTo>
                    <a:lnTo>
                      <a:pt x="784" y="1848"/>
                    </a:lnTo>
                    <a:lnTo>
                      <a:pt x="786" y="1850"/>
                    </a:lnTo>
                    <a:lnTo>
                      <a:pt x="786" y="1852"/>
                    </a:lnTo>
                    <a:lnTo>
                      <a:pt x="782" y="1854"/>
                    </a:lnTo>
                    <a:lnTo>
                      <a:pt x="774" y="1856"/>
                    </a:lnTo>
                    <a:lnTo>
                      <a:pt x="772" y="1858"/>
                    </a:lnTo>
                    <a:lnTo>
                      <a:pt x="770" y="1860"/>
                    </a:lnTo>
                    <a:lnTo>
                      <a:pt x="770" y="1860"/>
                    </a:lnTo>
                    <a:lnTo>
                      <a:pt x="770" y="1864"/>
                    </a:lnTo>
                    <a:lnTo>
                      <a:pt x="770" y="1864"/>
                    </a:lnTo>
                    <a:lnTo>
                      <a:pt x="776" y="1864"/>
                    </a:lnTo>
                    <a:lnTo>
                      <a:pt x="780" y="1862"/>
                    </a:lnTo>
                    <a:lnTo>
                      <a:pt x="780" y="1864"/>
                    </a:lnTo>
                    <a:lnTo>
                      <a:pt x="778" y="1866"/>
                    </a:lnTo>
                    <a:lnTo>
                      <a:pt x="778" y="1866"/>
                    </a:lnTo>
                    <a:lnTo>
                      <a:pt x="778" y="1870"/>
                    </a:lnTo>
                    <a:lnTo>
                      <a:pt x="778" y="1872"/>
                    </a:lnTo>
                    <a:lnTo>
                      <a:pt x="782" y="1874"/>
                    </a:lnTo>
                    <a:lnTo>
                      <a:pt x="786" y="1876"/>
                    </a:lnTo>
                    <a:lnTo>
                      <a:pt x="786" y="1876"/>
                    </a:lnTo>
                    <a:lnTo>
                      <a:pt x="784" y="1878"/>
                    </a:lnTo>
                    <a:lnTo>
                      <a:pt x="784" y="1878"/>
                    </a:lnTo>
                    <a:lnTo>
                      <a:pt x="780" y="1880"/>
                    </a:lnTo>
                    <a:lnTo>
                      <a:pt x="780" y="1882"/>
                    </a:lnTo>
                    <a:lnTo>
                      <a:pt x="782" y="1886"/>
                    </a:lnTo>
                    <a:lnTo>
                      <a:pt x="790" y="1886"/>
                    </a:lnTo>
                    <a:lnTo>
                      <a:pt x="790" y="1886"/>
                    </a:lnTo>
                    <a:lnTo>
                      <a:pt x="798" y="1890"/>
                    </a:lnTo>
                    <a:lnTo>
                      <a:pt x="804" y="1894"/>
                    </a:lnTo>
                    <a:lnTo>
                      <a:pt x="804" y="1898"/>
                    </a:lnTo>
                    <a:lnTo>
                      <a:pt x="800" y="1896"/>
                    </a:lnTo>
                    <a:lnTo>
                      <a:pt x="800" y="1896"/>
                    </a:lnTo>
                    <a:lnTo>
                      <a:pt x="794" y="1892"/>
                    </a:lnTo>
                    <a:lnTo>
                      <a:pt x="786" y="1890"/>
                    </a:lnTo>
                    <a:lnTo>
                      <a:pt x="780" y="1890"/>
                    </a:lnTo>
                    <a:lnTo>
                      <a:pt x="772" y="1888"/>
                    </a:lnTo>
                    <a:lnTo>
                      <a:pt x="772" y="1888"/>
                    </a:lnTo>
                    <a:lnTo>
                      <a:pt x="770" y="1888"/>
                    </a:lnTo>
                    <a:lnTo>
                      <a:pt x="768" y="1890"/>
                    </a:lnTo>
                    <a:lnTo>
                      <a:pt x="768" y="1900"/>
                    </a:lnTo>
                    <a:lnTo>
                      <a:pt x="770" y="1910"/>
                    </a:lnTo>
                    <a:lnTo>
                      <a:pt x="768" y="1916"/>
                    </a:lnTo>
                    <a:lnTo>
                      <a:pt x="766" y="1918"/>
                    </a:lnTo>
                    <a:lnTo>
                      <a:pt x="766" y="1918"/>
                    </a:lnTo>
                    <a:lnTo>
                      <a:pt x="764" y="1920"/>
                    </a:lnTo>
                    <a:lnTo>
                      <a:pt x="764" y="1918"/>
                    </a:lnTo>
                    <a:lnTo>
                      <a:pt x="764" y="1914"/>
                    </a:lnTo>
                    <a:lnTo>
                      <a:pt x="764" y="1908"/>
                    </a:lnTo>
                    <a:lnTo>
                      <a:pt x="764" y="1906"/>
                    </a:lnTo>
                    <a:lnTo>
                      <a:pt x="762" y="1904"/>
                    </a:lnTo>
                    <a:lnTo>
                      <a:pt x="762" y="1904"/>
                    </a:lnTo>
                    <a:lnTo>
                      <a:pt x="758" y="1904"/>
                    </a:lnTo>
                    <a:lnTo>
                      <a:pt x="756" y="1906"/>
                    </a:lnTo>
                    <a:lnTo>
                      <a:pt x="756" y="1912"/>
                    </a:lnTo>
                    <a:lnTo>
                      <a:pt x="754" y="1916"/>
                    </a:lnTo>
                    <a:lnTo>
                      <a:pt x="754" y="1916"/>
                    </a:lnTo>
                    <a:lnTo>
                      <a:pt x="750" y="1914"/>
                    </a:lnTo>
                    <a:lnTo>
                      <a:pt x="750" y="1914"/>
                    </a:lnTo>
                    <a:lnTo>
                      <a:pt x="748" y="1912"/>
                    </a:lnTo>
                    <a:lnTo>
                      <a:pt x="748" y="1910"/>
                    </a:lnTo>
                    <a:lnTo>
                      <a:pt x="750" y="1904"/>
                    </a:lnTo>
                    <a:lnTo>
                      <a:pt x="748" y="1902"/>
                    </a:lnTo>
                    <a:lnTo>
                      <a:pt x="746" y="1900"/>
                    </a:lnTo>
                    <a:lnTo>
                      <a:pt x="742" y="1898"/>
                    </a:lnTo>
                    <a:lnTo>
                      <a:pt x="734" y="1898"/>
                    </a:lnTo>
                    <a:lnTo>
                      <a:pt x="734" y="1898"/>
                    </a:lnTo>
                    <a:lnTo>
                      <a:pt x="720" y="1898"/>
                    </a:lnTo>
                    <a:lnTo>
                      <a:pt x="714" y="1900"/>
                    </a:lnTo>
                    <a:lnTo>
                      <a:pt x="710" y="1906"/>
                    </a:lnTo>
                    <a:lnTo>
                      <a:pt x="708" y="1914"/>
                    </a:lnTo>
                    <a:lnTo>
                      <a:pt x="708" y="1914"/>
                    </a:lnTo>
                    <a:lnTo>
                      <a:pt x="706" y="1916"/>
                    </a:lnTo>
                    <a:lnTo>
                      <a:pt x="706" y="1920"/>
                    </a:lnTo>
                    <a:lnTo>
                      <a:pt x="710" y="1922"/>
                    </a:lnTo>
                    <a:lnTo>
                      <a:pt x="714" y="1922"/>
                    </a:lnTo>
                    <a:lnTo>
                      <a:pt x="714" y="1924"/>
                    </a:lnTo>
                    <a:lnTo>
                      <a:pt x="712" y="1926"/>
                    </a:lnTo>
                    <a:lnTo>
                      <a:pt x="712" y="1926"/>
                    </a:lnTo>
                    <a:lnTo>
                      <a:pt x="708" y="1926"/>
                    </a:lnTo>
                    <a:lnTo>
                      <a:pt x="706" y="1926"/>
                    </a:lnTo>
                    <a:lnTo>
                      <a:pt x="700" y="1918"/>
                    </a:lnTo>
                    <a:lnTo>
                      <a:pt x="700" y="1918"/>
                    </a:lnTo>
                    <a:lnTo>
                      <a:pt x="696" y="1914"/>
                    </a:lnTo>
                    <a:lnTo>
                      <a:pt x="688" y="1914"/>
                    </a:lnTo>
                    <a:lnTo>
                      <a:pt x="664" y="1918"/>
                    </a:lnTo>
                    <a:lnTo>
                      <a:pt x="664" y="1918"/>
                    </a:lnTo>
                    <a:lnTo>
                      <a:pt x="654" y="1920"/>
                    </a:lnTo>
                    <a:lnTo>
                      <a:pt x="646" y="1924"/>
                    </a:lnTo>
                    <a:lnTo>
                      <a:pt x="640" y="1926"/>
                    </a:lnTo>
                    <a:lnTo>
                      <a:pt x="636" y="1930"/>
                    </a:lnTo>
                    <a:lnTo>
                      <a:pt x="634" y="1934"/>
                    </a:lnTo>
                    <a:lnTo>
                      <a:pt x="634" y="1938"/>
                    </a:lnTo>
                    <a:lnTo>
                      <a:pt x="634" y="1940"/>
                    </a:lnTo>
                    <a:lnTo>
                      <a:pt x="636" y="1940"/>
                    </a:lnTo>
                    <a:lnTo>
                      <a:pt x="636" y="1940"/>
                    </a:lnTo>
                    <a:lnTo>
                      <a:pt x="638" y="1940"/>
                    </a:lnTo>
                    <a:lnTo>
                      <a:pt x="640" y="1942"/>
                    </a:lnTo>
                    <a:lnTo>
                      <a:pt x="640" y="1946"/>
                    </a:lnTo>
                    <a:lnTo>
                      <a:pt x="640" y="1950"/>
                    </a:lnTo>
                    <a:lnTo>
                      <a:pt x="642" y="1950"/>
                    </a:lnTo>
                    <a:lnTo>
                      <a:pt x="644" y="1952"/>
                    </a:lnTo>
                    <a:lnTo>
                      <a:pt x="644" y="1952"/>
                    </a:lnTo>
                    <a:lnTo>
                      <a:pt x="646" y="1952"/>
                    </a:lnTo>
                    <a:lnTo>
                      <a:pt x="646" y="1954"/>
                    </a:lnTo>
                    <a:lnTo>
                      <a:pt x="646" y="1958"/>
                    </a:lnTo>
                    <a:lnTo>
                      <a:pt x="646" y="1962"/>
                    </a:lnTo>
                    <a:lnTo>
                      <a:pt x="648" y="1964"/>
                    </a:lnTo>
                    <a:lnTo>
                      <a:pt x="650" y="1966"/>
                    </a:lnTo>
                    <a:lnTo>
                      <a:pt x="650" y="1966"/>
                    </a:lnTo>
                    <a:lnTo>
                      <a:pt x="654" y="1968"/>
                    </a:lnTo>
                    <a:lnTo>
                      <a:pt x="656" y="1972"/>
                    </a:lnTo>
                    <a:lnTo>
                      <a:pt x="654" y="1976"/>
                    </a:lnTo>
                    <a:lnTo>
                      <a:pt x="652" y="1980"/>
                    </a:lnTo>
                    <a:lnTo>
                      <a:pt x="648" y="1984"/>
                    </a:lnTo>
                    <a:lnTo>
                      <a:pt x="644" y="1986"/>
                    </a:lnTo>
                    <a:lnTo>
                      <a:pt x="638" y="1988"/>
                    </a:lnTo>
                    <a:lnTo>
                      <a:pt x="634" y="1986"/>
                    </a:lnTo>
                    <a:lnTo>
                      <a:pt x="634" y="1986"/>
                    </a:lnTo>
                    <a:lnTo>
                      <a:pt x="628" y="1980"/>
                    </a:lnTo>
                    <a:lnTo>
                      <a:pt x="624" y="1974"/>
                    </a:lnTo>
                    <a:lnTo>
                      <a:pt x="624" y="1970"/>
                    </a:lnTo>
                    <a:lnTo>
                      <a:pt x="624" y="1968"/>
                    </a:lnTo>
                    <a:lnTo>
                      <a:pt x="626" y="1966"/>
                    </a:lnTo>
                    <a:lnTo>
                      <a:pt x="630" y="1964"/>
                    </a:lnTo>
                    <a:lnTo>
                      <a:pt x="630" y="1964"/>
                    </a:lnTo>
                    <a:lnTo>
                      <a:pt x="634" y="1960"/>
                    </a:lnTo>
                    <a:lnTo>
                      <a:pt x="632" y="1958"/>
                    </a:lnTo>
                    <a:lnTo>
                      <a:pt x="628" y="1956"/>
                    </a:lnTo>
                    <a:lnTo>
                      <a:pt x="626" y="1952"/>
                    </a:lnTo>
                    <a:lnTo>
                      <a:pt x="626" y="1952"/>
                    </a:lnTo>
                    <a:lnTo>
                      <a:pt x="626" y="1946"/>
                    </a:lnTo>
                    <a:lnTo>
                      <a:pt x="630" y="1942"/>
                    </a:lnTo>
                    <a:lnTo>
                      <a:pt x="630" y="1940"/>
                    </a:lnTo>
                    <a:lnTo>
                      <a:pt x="628" y="1940"/>
                    </a:lnTo>
                    <a:lnTo>
                      <a:pt x="618" y="1946"/>
                    </a:lnTo>
                    <a:lnTo>
                      <a:pt x="618" y="1946"/>
                    </a:lnTo>
                    <a:lnTo>
                      <a:pt x="614" y="1944"/>
                    </a:lnTo>
                    <a:lnTo>
                      <a:pt x="612" y="1946"/>
                    </a:lnTo>
                    <a:lnTo>
                      <a:pt x="610" y="1954"/>
                    </a:lnTo>
                    <a:lnTo>
                      <a:pt x="606" y="1968"/>
                    </a:lnTo>
                    <a:lnTo>
                      <a:pt x="604" y="1978"/>
                    </a:lnTo>
                    <a:lnTo>
                      <a:pt x="600" y="1986"/>
                    </a:lnTo>
                    <a:lnTo>
                      <a:pt x="600" y="1986"/>
                    </a:lnTo>
                    <a:lnTo>
                      <a:pt x="592" y="2000"/>
                    </a:lnTo>
                    <a:lnTo>
                      <a:pt x="588" y="2004"/>
                    </a:lnTo>
                    <a:lnTo>
                      <a:pt x="586" y="2004"/>
                    </a:lnTo>
                    <a:lnTo>
                      <a:pt x="586" y="2008"/>
                    </a:lnTo>
                    <a:lnTo>
                      <a:pt x="586" y="2008"/>
                    </a:lnTo>
                    <a:lnTo>
                      <a:pt x="586" y="2010"/>
                    </a:lnTo>
                    <a:lnTo>
                      <a:pt x="584" y="2012"/>
                    </a:lnTo>
                    <a:lnTo>
                      <a:pt x="578" y="2014"/>
                    </a:lnTo>
                    <a:lnTo>
                      <a:pt x="572" y="2016"/>
                    </a:lnTo>
                    <a:lnTo>
                      <a:pt x="570" y="2018"/>
                    </a:lnTo>
                    <a:lnTo>
                      <a:pt x="572" y="2020"/>
                    </a:lnTo>
                    <a:lnTo>
                      <a:pt x="572" y="2020"/>
                    </a:lnTo>
                    <a:lnTo>
                      <a:pt x="578" y="2024"/>
                    </a:lnTo>
                    <a:lnTo>
                      <a:pt x="586" y="2024"/>
                    </a:lnTo>
                    <a:lnTo>
                      <a:pt x="590" y="2026"/>
                    </a:lnTo>
                    <a:lnTo>
                      <a:pt x="584" y="2030"/>
                    </a:lnTo>
                    <a:lnTo>
                      <a:pt x="584" y="2030"/>
                    </a:lnTo>
                    <a:lnTo>
                      <a:pt x="570" y="2026"/>
                    </a:lnTo>
                    <a:lnTo>
                      <a:pt x="564" y="2026"/>
                    </a:lnTo>
                    <a:lnTo>
                      <a:pt x="562" y="2028"/>
                    </a:lnTo>
                    <a:lnTo>
                      <a:pt x="562" y="2028"/>
                    </a:lnTo>
                    <a:lnTo>
                      <a:pt x="562" y="2030"/>
                    </a:lnTo>
                    <a:lnTo>
                      <a:pt x="562" y="2032"/>
                    </a:lnTo>
                    <a:lnTo>
                      <a:pt x="568" y="2034"/>
                    </a:lnTo>
                    <a:lnTo>
                      <a:pt x="574" y="2036"/>
                    </a:lnTo>
                    <a:lnTo>
                      <a:pt x="580" y="2036"/>
                    </a:lnTo>
                    <a:lnTo>
                      <a:pt x="580" y="2036"/>
                    </a:lnTo>
                    <a:lnTo>
                      <a:pt x="586" y="2036"/>
                    </a:lnTo>
                    <a:lnTo>
                      <a:pt x="588" y="2036"/>
                    </a:lnTo>
                    <a:lnTo>
                      <a:pt x="588" y="2038"/>
                    </a:lnTo>
                    <a:lnTo>
                      <a:pt x="588" y="2040"/>
                    </a:lnTo>
                    <a:lnTo>
                      <a:pt x="588" y="2040"/>
                    </a:lnTo>
                    <a:lnTo>
                      <a:pt x="580" y="2042"/>
                    </a:lnTo>
                    <a:lnTo>
                      <a:pt x="576" y="2042"/>
                    </a:lnTo>
                    <a:lnTo>
                      <a:pt x="572" y="2042"/>
                    </a:lnTo>
                    <a:lnTo>
                      <a:pt x="572" y="2042"/>
                    </a:lnTo>
                    <a:lnTo>
                      <a:pt x="566" y="2038"/>
                    </a:lnTo>
                    <a:lnTo>
                      <a:pt x="564" y="2038"/>
                    </a:lnTo>
                    <a:lnTo>
                      <a:pt x="558" y="2040"/>
                    </a:lnTo>
                    <a:lnTo>
                      <a:pt x="558" y="2040"/>
                    </a:lnTo>
                    <a:lnTo>
                      <a:pt x="550" y="2044"/>
                    </a:lnTo>
                    <a:lnTo>
                      <a:pt x="540" y="2048"/>
                    </a:lnTo>
                    <a:lnTo>
                      <a:pt x="532" y="2054"/>
                    </a:lnTo>
                    <a:lnTo>
                      <a:pt x="524" y="2058"/>
                    </a:lnTo>
                    <a:lnTo>
                      <a:pt x="524" y="2058"/>
                    </a:lnTo>
                    <a:lnTo>
                      <a:pt x="504" y="2060"/>
                    </a:lnTo>
                    <a:lnTo>
                      <a:pt x="492" y="2064"/>
                    </a:lnTo>
                    <a:lnTo>
                      <a:pt x="488" y="2068"/>
                    </a:lnTo>
                    <a:lnTo>
                      <a:pt x="486" y="2070"/>
                    </a:lnTo>
                    <a:lnTo>
                      <a:pt x="484" y="2074"/>
                    </a:lnTo>
                    <a:lnTo>
                      <a:pt x="484" y="2078"/>
                    </a:lnTo>
                    <a:lnTo>
                      <a:pt x="484" y="2078"/>
                    </a:lnTo>
                    <a:lnTo>
                      <a:pt x="486" y="2086"/>
                    </a:lnTo>
                    <a:lnTo>
                      <a:pt x="484" y="2090"/>
                    </a:lnTo>
                    <a:lnTo>
                      <a:pt x="484" y="2094"/>
                    </a:lnTo>
                    <a:lnTo>
                      <a:pt x="486" y="2098"/>
                    </a:lnTo>
                    <a:lnTo>
                      <a:pt x="486" y="2098"/>
                    </a:lnTo>
                    <a:lnTo>
                      <a:pt x="486" y="2100"/>
                    </a:lnTo>
                    <a:lnTo>
                      <a:pt x="484" y="2100"/>
                    </a:lnTo>
                    <a:lnTo>
                      <a:pt x="484" y="2102"/>
                    </a:lnTo>
                    <a:lnTo>
                      <a:pt x="486" y="2106"/>
                    </a:lnTo>
                    <a:lnTo>
                      <a:pt x="486" y="2106"/>
                    </a:lnTo>
                    <a:lnTo>
                      <a:pt x="488" y="2108"/>
                    </a:lnTo>
                    <a:lnTo>
                      <a:pt x="486" y="2110"/>
                    </a:lnTo>
                    <a:lnTo>
                      <a:pt x="482" y="2112"/>
                    </a:lnTo>
                    <a:lnTo>
                      <a:pt x="480" y="2114"/>
                    </a:lnTo>
                    <a:lnTo>
                      <a:pt x="480" y="2114"/>
                    </a:lnTo>
                    <a:lnTo>
                      <a:pt x="478" y="2118"/>
                    </a:lnTo>
                    <a:lnTo>
                      <a:pt x="472" y="2120"/>
                    </a:lnTo>
                    <a:lnTo>
                      <a:pt x="444" y="2132"/>
                    </a:lnTo>
                    <a:lnTo>
                      <a:pt x="444" y="2132"/>
                    </a:lnTo>
                    <a:lnTo>
                      <a:pt x="434" y="2136"/>
                    </a:lnTo>
                    <a:lnTo>
                      <a:pt x="428" y="2140"/>
                    </a:lnTo>
                    <a:lnTo>
                      <a:pt x="426" y="2144"/>
                    </a:lnTo>
                    <a:lnTo>
                      <a:pt x="426" y="2146"/>
                    </a:lnTo>
                    <a:lnTo>
                      <a:pt x="426" y="2150"/>
                    </a:lnTo>
                    <a:lnTo>
                      <a:pt x="428" y="2152"/>
                    </a:lnTo>
                    <a:lnTo>
                      <a:pt x="432" y="2154"/>
                    </a:lnTo>
                    <a:lnTo>
                      <a:pt x="432" y="2154"/>
                    </a:lnTo>
                    <a:lnTo>
                      <a:pt x="434" y="2154"/>
                    </a:lnTo>
                    <a:lnTo>
                      <a:pt x="432" y="2156"/>
                    </a:lnTo>
                    <a:lnTo>
                      <a:pt x="420" y="2162"/>
                    </a:lnTo>
                    <a:lnTo>
                      <a:pt x="420" y="2162"/>
                    </a:lnTo>
                    <a:lnTo>
                      <a:pt x="416" y="2164"/>
                    </a:lnTo>
                    <a:lnTo>
                      <a:pt x="412" y="2164"/>
                    </a:lnTo>
                    <a:lnTo>
                      <a:pt x="402" y="2162"/>
                    </a:lnTo>
                    <a:lnTo>
                      <a:pt x="392" y="2158"/>
                    </a:lnTo>
                    <a:lnTo>
                      <a:pt x="384" y="2158"/>
                    </a:lnTo>
                    <a:lnTo>
                      <a:pt x="376" y="2160"/>
                    </a:lnTo>
                    <a:lnTo>
                      <a:pt x="376" y="2160"/>
                    </a:lnTo>
                    <a:lnTo>
                      <a:pt x="374" y="2160"/>
                    </a:lnTo>
                    <a:lnTo>
                      <a:pt x="372" y="2156"/>
                    </a:lnTo>
                    <a:lnTo>
                      <a:pt x="372" y="2148"/>
                    </a:lnTo>
                    <a:lnTo>
                      <a:pt x="370" y="2142"/>
                    </a:lnTo>
                    <a:lnTo>
                      <a:pt x="368" y="2140"/>
                    </a:lnTo>
                    <a:lnTo>
                      <a:pt x="364" y="2140"/>
                    </a:lnTo>
                    <a:lnTo>
                      <a:pt x="364" y="2140"/>
                    </a:lnTo>
                    <a:lnTo>
                      <a:pt x="356" y="2140"/>
                    </a:lnTo>
                    <a:lnTo>
                      <a:pt x="348" y="2140"/>
                    </a:lnTo>
                    <a:lnTo>
                      <a:pt x="346" y="2138"/>
                    </a:lnTo>
                    <a:lnTo>
                      <a:pt x="346" y="2142"/>
                    </a:lnTo>
                    <a:lnTo>
                      <a:pt x="346" y="2142"/>
                    </a:lnTo>
                    <a:lnTo>
                      <a:pt x="348" y="2148"/>
                    </a:lnTo>
                    <a:lnTo>
                      <a:pt x="348" y="2152"/>
                    </a:lnTo>
                    <a:lnTo>
                      <a:pt x="348" y="2156"/>
                    </a:lnTo>
                    <a:lnTo>
                      <a:pt x="352" y="2160"/>
                    </a:lnTo>
                    <a:lnTo>
                      <a:pt x="352" y="2160"/>
                    </a:lnTo>
                    <a:lnTo>
                      <a:pt x="356" y="2164"/>
                    </a:lnTo>
                    <a:lnTo>
                      <a:pt x="358" y="2172"/>
                    </a:lnTo>
                    <a:lnTo>
                      <a:pt x="360" y="2180"/>
                    </a:lnTo>
                    <a:lnTo>
                      <a:pt x="360" y="2188"/>
                    </a:lnTo>
                    <a:lnTo>
                      <a:pt x="360" y="2188"/>
                    </a:lnTo>
                    <a:lnTo>
                      <a:pt x="360" y="2192"/>
                    </a:lnTo>
                    <a:lnTo>
                      <a:pt x="360" y="2194"/>
                    </a:lnTo>
                    <a:lnTo>
                      <a:pt x="362" y="2200"/>
                    </a:lnTo>
                    <a:lnTo>
                      <a:pt x="364" y="2202"/>
                    </a:lnTo>
                    <a:lnTo>
                      <a:pt x="358" y="2204"/>
                    </a:lnTo>
                    <a:lnTo>
                      <a:pt x="358" y="2204"/>
                    </a:lnTo>
                    <a:lnTo>
                      <a:pt x="352" y="2204"/>
                    </a:lnTo>
                    <a:lnTo>
                      <a:pt x="350" y="2202"/>
                    </a:lnTo>
                    <a:lnTo>
                      <a:pt x="348" y="2198"/>
                    </a:lnTo>
                    <a:lnTo>
                      <a:pt x="346" y="2198"/>
                    </a:lnTo>
                    <a:lnTo>
                      <a:pt x="346" y="2198"/>
                    </a:lnTo>
                    <a:lnTo>
                      <a:pt x="344" y="2198"/>
                    </a:lnTo>
                    <a:lnTo>
                      <a:pt x="344" y="2200"/>
                    </a:lnTo>
                    <a:lnTo>
                      <a:pt x="342" y="2202"/>
                    </a:lnTo>
                    <a:lnTo>
                      <a:pt x="338" y="2202"/>
                    </a:lnTo>
                    <a:lnTo>
                      <a:pt x="338" y="2202"/>
                    </a:lnTo>
                    <a:lnTo>
                      <a:pt x="334" y="2202"/>
                    </a:lnTo>
                    <a:lnTo>
                      <a:pt x="332" y="2200"/>
                    </a:lnTo>
                    <a:lnTo>
                      <a:pt x="330" y="2198"/>
                    </a:lnTo>
                    <a:lnTo>
                      <a:pt x="326" y="2200"/>
                    </a:lnTo>
                    <a:lnTo>
                      <a:pt x="326" y="2200"/>
                    </a:lnTo>
                    <a:lnTo>
                      <a:pt x="318" y="2206"/>
                    </a:lnTo>
                    <a:lnTo>
                      <a:pt x="314" y="2208"/>
                    </a:lnTo>
                    <a:lnTo>
                      <a:pt x="310" y="2206"/>
                    </a:lnTo>
                    <a:lnTo>
                      <a:pt x="310" y="2206"/>
                    </a:lnTo>
                    <a:lnTo>
                      <a:pt x="302" y="2192"/>
                    </a:lnTo>
                    <a:lnTo>
                      <a:pt x="298" y="2186"/>
                    </a:lnTo>
                    <a:lnTo>
                      <a:pt x="296" y="2186"/>
                    </a:lnTo>
                    <a:lnTo>
                      <a:pt x="292" y="2188"/>
                    </a:lnTo>
                    <a:lnTo>
                      <a:pt x="292" y="2188"/>
                    </a:lnTo>
                    <a:lnTo>
                      <a:pt x="286" y="2190"/>
                    </a:lnTo>
                    <a:lnTo>
                      <a:pt x="282" y="2190"/>
                    </a:lnTo>
                    <a:lnTo>
                      <a:pt x="280" y="2190"/>
                    </a:lnTo>
                    <a:lnTo>
                      <a:pt x="278" y="2194"/>
                    </a:lnTo>
                    <a:lnTo>
                      <a:pt x="278" y="2194"/>
                    </a:lnTo>
                    <a:lnTo>
                      <a:pt x="278" y="2198"/>
                    </a:lnTo>
                    <a:lnTo>
                      <a:pt x="276" y="2200"/>
                    </a:lnTo>
                    <a:lnTo>
                      <a:pt x="270" y="2200"/>
                    </a:lnTo>
                    <a:lnTo>
                      <a:pt x="264" y="2198"/>
                    </a:lnTo>
                    <a:lnTo>
                      <a:pt x="264" y="2198"/>
                    </a:lnTo>
                    <a:lnTo>
                      <a:pt x="260" y="2196"/>
                    </a:lnTo>
                    <a:lnTo>
                      <a:pt x="260" y="2196"/>
                    </a:lnTo>
                    <a:lnTo>
                      <a:pt x="258" y="2198"/>
                    </a:lnTo>
                    <a:lnTo>
                      <a:pt x="250" y="2200"/>
                    </a:lnTo>
                    <a:lnTo>
                      <a:pt x="250" y="2200"/>
                    </a:lnTo>
                    <a:lnTo>
                      <a:pt x="240" y="2202"/>
                    </a:lnTo>
                    <a:lnTo>
                      <a:pt x="234" y="2206"/>
                    </a:lnTo>
                    <a:lnTo>
                      <a:pt x="230" y="2212"/>
                    </a:lnTo>
                    <a:lnTo>
                      <a:pt x="230" y="2216"/>
                    </a:lnTo>
                    <a:lnTo>
                      <a:pt x="230" y="2216"/>
                    </a:lnTo>
                    <a:lnTo>
                      <a:pt x="232" y="2218"/>
                    </a:lnTo>
                    <a:lnTo>
                      <a:pt x="236" y="2218"/>
                    </a:lnTo>
                    <a:lnTo>
                      <a:pt x="240" y="2218"/>
                    </a:lnTo>
                    <a:lnTo>
                      <a:pt x="244" y="2218"/>
                    </a:lnTo>
                    <a:lnTo>
                      <a:pt x="244" y="2218"/>
                    </a:lnTo>
                    <a:lnTo>
                      <a:pt x="246" y="2220"/>
                    </a:lnTo>
                    <a:lnTo>
                      <a:pt x="242" y="2220"/>
                    </a:lnTo>
                    <a:lnTo>
                      <a:pt x="238" y="2222"/>
                    </a:lnTo>
                    <a:lnTo>
                      <a:pt x="238" y="2224"/>
                    </a:lnTo>
                    <a:lnTo>
                      <a:pt x="236" y="2226"/>
                    </a:lnTo>
                    <a:lnTo>
                      <a:pt x="236" y="2226"/>
                    </a:lnTo>
                    <a:lnTo>
                      <a:pt x="238" y="2228"/>
                    </a:lnTo>
                    <a:lnTo>
                      <a:pt x="242" y="2228"/>
                    </a:lnTo>
                    <a:lnTo>
                      <a:pt x="246" y="2228"/>
                    </a:lnTo>
                    <a:lnTo>
                      <a:pt x="250" y="2230"/>
                    </a:lnTo>
                    <a:lnTo>
                      <a:pt x="250" y="2230"/>
                    </a:lnTo>
                    <a:lnTo>
                      <a:pt x="250" y="2230"/>
                    </a:lnTo>
                    <a:lnTo>
                      <a:pt x="246" y="2232"/>
                    </a:lnTo>
                    <a:lnTo>
                      <a:pt x="240" y="2234"/>
                    </a:lnTo>
                    <a:lnTo>
                      <a:pt x="234" y="2234"/>
                    </a:lnTo>
                    <a:lnTo>
                      <a:pt x="234" y="2236"/>
                    </a:lnTo>
                    <a:lnTo>
                      <a:pt x="236" y="2238"/>
                    </a:lnTo>
                    <a:lnTo>
                      <a:pt x="236" y="2238"/>
                    </a:lnTo>
                    <a:lnTo>
                      <a:pt x="242" y="2244"/>
                    </a:lnTo>
                    <a:lnTo>
                      <a:pt x="244" y="2248"/>
                    </a:lnTo>
                    <a:lnTo>
                      <a:pt x="248" y="2250"/>
                    </a:lnTo>
                    <a:lnTo>
                      <a:pt x="252" y="2250"/>
                    </a:lnTo>
                    <a:lnTo>
                      <a:pt x="252" y="2250"/>
                    </a:lnTo>
                    <a:lnTo>
                      <a:pt x="258" y="2248"/>
                    </a:lnTo>
                    <a:lnTo>
                      <a:pt x="264" y="2248"/>
                    </a:lnTo>
                    <a:lnTo>
                      <a:pt x="280" y="2254"/>
                    </a:lnTo>
                    <a:lnTo>
                      <a:pt x="280" y="2254"/>
                    </a:lnTo>
                    <a:lnTo>
                      <a:pt x="286" y="2258"/>
                    </a:lnTo>
                    <a:lnTo>
                      <a:pt x="292" y="2260"/>
                    </a:lnTo>
                    <a:lnTo>
                      <a:pt x="296" y="2262"/>
                    </a:lnTo>
                    <a:lnTo>
                      <a:pt x="302" y="2262"/>
                    </a:lnTo>
                    <a:lnTo>
                      <a:pt x="302" y="2262"/>
                    </a:lnTo>
                    <a:lnTo>
                      <a:pt x="306" y="2262"/>
                    </a:lnTo>
                    <a:lnTo>
                      <a:pt x="306" y="2266"/>
                    </a:lnTo>
                    <a:lnTo>
                      <a:pt x="306" y="2268"/>
                    </a:lnTo>
                    <a:lnTo>
                      <a:pt x="314" y="2268"/>
                    </a:lnTo>
                    <a:lnTo>
                      <a:pt x="314" y="2268"/>
                    </a:lnTo>
                    <a:lnTo>
                      <a:pt x="318" y="2268"/>
                    </a:lnTo>
                    <a:lnTo>
                      <a:pt x="322" y="2268"/>
                    </a:lnTo>
                    <a:lnTo>
                      <a:pt x="324" y="2270"/>
                    </a:lnTo>
                    <a:lnTo>
                      <a:pt x="322" y="2272"/>
                    </a:lnTo>
                    <a:lnTo>
                      <a:pt x="322" y="2272"/>
                    </a:lnTo>
                    <a:lnTo>
                      <a:pt x="320" y="2276"/>
                    </a:lnTo>
                    <a:lnTo>
                      <a:pt x="320" y="2280"/>
                    </a:lnTo>
                    <a:lnTo>
                      <a:pt x="322" y="2282"/>
                    </a:lnTo>
                    <a:lnTo>
                      <a:pt x="330" y="2282"/>
                    </a:lnTo>
                    <a:lnTo>
                      <a:pt x="330" y="2282"/>
                    </a:lnTo>
                    <a:lnTo>
                      <a:pt x="334" y="2282"/>
                    </a:lnTo>
                    <a:lnTo>
                      <a:pt x="334" y="2286"/>
                    </a:lnTo>
                    <a:lnTo>
                      <a:pt x="332" y="2290"/>
                    </a:lnTo>
                    <a:lnTo>
                      <a:pt x="334" y="2290"/>
                    </a:lnTo>
                    <a:lnTo>
                      <a:pt x="336" y="2292"/>
                    </a:lnTo>
                    <a:lnTo>
                      <a:pt x="336" y="2292"/>
                    </a:lnTo>
                    <a:lnTo>
                      <a:pt x="340" y="2292"/>
                    </a:lnTo>
                    <a:lnTo>
                      <a:pt x="342" y="2294"/>
                    </a:lnTo>
                    <a:lnTo>
                      <a:pt x="342" y="2298"/>
                    </a:lnTo>
                    <a:lnTo>
                      <a:pt x="338" y="2300"/>
                    </a:lnTo>
                    <a:lnTo>
                      <a:pt x="338" y="2300"/>
                    </a:lnTo>
                    <a:lnTo>
                      <a:pt x="336" y="2302"/>
                    </a:lnTo>
                    <a:lnTo>
                      <a:pt x="336" y="2306"/>
                    </a:lnTo>
                    <a:lnTo>
                      <a:pt x="340" y="2314"/>
                    </a:lnTo>
                    <a:lnTo>
                      <a:pt x="348" y="2324"/>
                    </a:lnTo>
                    <a:lnTo>
                      <a:pt x="358" y="2332"/>
                    </a:lnTo>
                    <a:lnTo>
                      <a:pt x="358" y="2332"/>
                    </a:lnTo>
                    <a:lnTo>
                      <a:pt x="368" y="2336"/>
                    </a:lnTo>
                    <a:lnTo>
                      <a:pt x="374" y="2338"/>
                    </a:lnTo>
                    <a:lnTo>
                      <a:pt x="376" y="2338"/>
                    </a:lnTo>
                    <a:lnTo>
                      <a:pt x="374" y="2342"/>
                    </a:lnTo>
                    <a:lnTo>
                      <a:pt x="374" y="2342"/>
                    </a:lnTo>
                    <a:lnTo>
                      <a:pt x="374" y="2346"/>
                    </a:lnTo>
                    <a:lnTo>
                      <a:pt x="376" y="2348"/>
                    </a:lnTo>
                    <a:lnTo>
                      <a:pt x="378" y="2352"/>
                    </a:lnTo>
                    <a:lnTo>
                      <a:pt x="378" y="2360"/>
                    </a:lnTo>
                    <a:lnTo>
                      <a:pt x="378" y="2360"/>
                    </a:lnTo>
                    <a:lnTo>
                      <a:pt x="376" y="2364"/>
                    </a:lnTo>
                    <a:lnTo>
                      <a:pt x="374" y="2366"/>
                    </a:lnTo>
                    <a:lnTo>
                      <a:pt x="370" y="2368"/>
                    </a:lnTo>
                    <a:lnTo>
                      <a:pt x="370" y="2370"/>
                    </a:lnTo>
                    <a:lnTo>
                      <a:pt x="370" y="2370"/>
                    </a:lnTo>
                    <a:lnTo>
                      <a:pt x="378" y="2376"/>
                    </a:lnTo>
                    <a:lnTo>
                      <a:pt x="378" y="2376"/>
                    </a:lnTo>
                    <a:lnTo>
                      <a:pt x="388" y="2382"/>
                    </a:lnTo>
                    <a:lnTo>
                      <a:pt x="392" y="2388"/>
                    </a:lnTo>
                    <a:lnTo>
                      <a:pt x="394" y="2396"/>
                    </a:lnTo>
                    <a:lnTo>
                      <a:pt x="394" y="2402"/>
                    </a:lnTo>
                    <a:lnTo>
                      <a:pt x="394" y="2402"/>
                    </a:lnTo>
                    <a:lnTo>
                      <a:pt x="394" y="2404"/>
                    </a:lnTo>
                    <a:lnTo>
                      <a:pt x="392" y="2398"/>
                    </a:lnTo>
                    <a:lnTo>
                      <a:pt x="388" y="2388"/>
                    </a:lnTo>
                    <a:lnTo>
                      <a:pt x="384" y="2384"/>
                    </a:lnTo>
                    <a:lnTo>
                      <a:pt x="380" y="2382"/>
                    </a:lnTo>
                    <a:lnTo>
                      <a:pt x="380" y="2382"/>
                    </a:lnTo>
                    <a:lnTo>
                      <a:pt x="378" y="2390"/>
                    </a:lnTo>
                    <a:lnTo>
                      <a:pt x="372" y="2410"/>
                    </a:lnTo>
                    <a:lnTo>
                      <a:pt x="372" y="2410"/>
                    </a:lnTo>
                    <a:lnTo>
                      <a:pt x="370" y="2426"/>
                    </a:lnTo>
                    <a:lnTo>
                      <a:pt x="372" y="2428"/>
                    </a:lnTo>
                    <a:lnTo>
                      <a:pt x="374" y="2426"/>
                    </a:lnTo>
                    <a:lnTo>
                      <a:pt x="374" y="2426"/>
                    </a:lnTo>
                    <a:lnTo>
                      <a:pt x="376" y="2426"/>
                    </a:lnTo>
                    <a:lnTo>
                      <a:pt x="378" y="2426"/>
                    </a:lnTo>
                    <a:lnTo>
                      <a:pt x="378" y="2430"/>
                    </a:lnTo>
                    <a:lnTo>
                      <a:pt x="376" y="2432"/>
                    </a:lnTo>
                    <a:lnTo>
                      <a:pt x="376" y="2432"/>
                    </a:lnTo>
                    <a:lnTo>
                      <a:pt x="374" y="2432"/>
                    </a:lnTo>
                    <a:lnTo>
                      <a:pt x="372" y="2436"/>
                    </a:lnTo>
                    <a:lnTo>
                      <a:pt x="370" y="2460"/>
                    </a:lnTo>
                    <a:lnTo>
                      <a:pt x="370" y="2460"/>
                    </a:lnTo>
                    <a:lnTo>
                      <a:pt x="366" y="2480"/>
                    </a:lnTo>
                    <a:lnTo>
                      <a:pt x="362" y="2492"/>
                    </a:lnTo>
                    <a:lnTo>
                      <a:pt x="358" y="2500"/>
                    </a:lnTo>
                    <a:lnTo>
                      <a:pt x="352" y="2502"/>
                    </a:lnTo>
                    <a:lnTo>
                      <a:pt x="352" y="2502"/>
                    </a:lnTo>
                    <a:lnTo>
                      <a:pt x="342" y="2506"/>
                    </a:lnTo>
                    <a:lnTo>
                      <a:pt x="334" y="2506"/>
                    </a:lnTo>
                    <a:lnTo>
                      <a:pt x="326" y="2504"/>
                    </a:lnTo>
                    <a:lnTo>
                      <a:pt x="326" y="2504"/>
                    </a:lnTo>
                    <a:lnTo>
                      <a:pt x="314" y="2500"/>
                    </a:lnTo>
                    <a:lnTo>
                      <a:pt x="308" y="2500"/>
                    </a:lnTo>
                    <a:lnTo>
                      <a:pt x="300" y="2502"/>
                    </a:lnTo>
                    <a:lnTo>
                      <a:pt x="286" y="2498"/>
                    </a:lnTo>
                    <a:lnTo>
                      <a:pt x="286" y="2498"/>
                    </a:lnTo>
                    <a:lnTo>
                      <a:pt x="278" y="2496"/>
                    </a:lnTo>
                    <a:lnTo>
                      <a:pt x="270" y="2496"/>
                    </a:lnTo>
                    <a:lnTo>
                      <a:pt x="252" y="2498"/>
                    </a:lnTo>
                    <a:lnTo>
                      <a:pt x="232" y="2498"/>
                    </a:lnTo>
                    <a:lnTo>
                      <a:pt x="220" y="2498"/>
                    </a:lnTo>
                    <a:lnTo>
                      <a:pt x="206" y="2494"/>
                    </a:lnTo>
                    <a:lnTo>
                      <a:pt x="206" y="2494"/>
                    </a:lnTo>
                    <a:lnTo>
                      <a:pt x="192" y="2490"/>
                    </a:lnTo>
                    <a:lnTo>
                      <a:pt x="182" y="2490"/>
                    </a:lnTo>
                    <a:lnTo>
                      <a:pt x="172" y="2492"/>
                    </a:lnTo>
                    <a:lnTo>
                      <a:pt x="154" y="2492"/>
                    </a:lnTo>
                    <a:lnTo>
                      <a:pt x="154" y="2492"/>
                    </a:lnTo>
                    <a:lnTo>
                      <a:pt x="142" y="2492"/>
                    </a:lnTo>
                    <a:lnTo>
                      <a:pt x="134" y="2490"/>
                    </a:lnTo>
                    <a:lnTo>
                      <a:pt x="120" y="2486"/>
                    </a:lnTo>
                    <a:lnTo>
                      <a:pt x="110" y="2482"/>
                    </a:lnTo>
                    <a:lnTo>
                      <a:pt x="104" y="2484"/>
                    </a:lnTo>
                    <a:lnTo>
                      <a:pt x="98" y="2486"/>
                    </a:lnTo>
                    <a:lnTo>
                      <a:pt x="98" y="2486"/>
                    </a:lnTo>
                    <a:lnTo>
                      <a:pt x="92" y="2490"/>
                    </a:lnTo>
                    <a:lnTo>
                      <a:pt x="88" y="2492"/>
                    </a:lnTo>
                    <a:lnTo>
                      <a:pt x="86" y="2500"/>
                    </a:lnTo>
                    <a:lnTo>
                      <a:pt x="86" y="2504"/>
                    </a:lnTo>
                    <a:lnTo>
                      <a:pt x="82" y="2506"/>
                    </a:lnTo>
                    <a:lnTo>
                      <a:pt x="78" y="2506"/>
                    </a:lnTo>
                    <a:lnTo>
                      <a:pt x="78" y="2506"/>
                    </a:lnTo>
                    <a:lnTo>
                      <a:pt x="72" y="2506"/>
                    </a:lnTo>
                    <a:lnTo>
                      <a:pt x="66" y="2508"/>
                    </a:lnTo>
                    <a:lnTo>
                      <a:pt x="54" y="2516"/>
                    </a:lnTo>
                    <a:lnTo>
                      <a:pt x="50" y="2520"/>
                    </a:lnTo>
                    <a:lnTo>
                      <a:pt x="48" y="2524"/>
                    </a:lnTo>
                    <a:lnTo>
                      <a:pt x="48" y="2528"/>
                    </a:lnTo>
                    <a:lnTo>
                      <a:pt x="50" y="2530"/>
                    </a:lnTo>
                    <a:lnTo>
                      <a:pt x="50" y="2530"/>
                    </a:lnTo>
                    <a:lnTo>
                      <a:pt x="54" y="2534"/>
                    </a:lnTo>
                    <a:lnTo>
                      <a:pt x="56" y="2540"/>
                    </a:lnTo>
                    <a:lnTo>
                      <a:pt x="58" y="2546"/>
                    </a:lnTo>
                    <a:lnTo>
                      <a:pt x="60" y="2552"/>
                    </a:lnTo>
                    <a:lnTo>
                      <a:pt x="60" y="2552"/>
                    </a:lnTo>
                    <a:lnTo>
                      <a:pt x="64" y="2560"/>
                    </a:lnTo>
                    <a:lnTo>
                      <a:pt x="64" y="2570"/>
                    </a:lnTo>
                    <a:lnTo>
                      <a:pt x="64" y="2578"/>
                    </a:lnTo>
                    <a:lnTo>
                      <a:pt x="66" y="2588"/>
                    </a:lnTo>
                    <a:lnTo>
                      <a:pt x="66" y="2588"/>
                    </a:lnTo>
                    <a:lnTo>
                      <a:pt x="64" y="2594"/>
                    </a:lnTo>
                    <a:lnTo>
                      <a:pt x="66" y="2596"/>
                    </a:lnTo>
                    <a:lnTo>
                      <a:pt x="68" y="2600"/>
                    </a:lnTo>
                    <a:lnTo>
                      <a:pt x="66" y="2602"/>
                    </a:lnTo>
                    <a:lnTo>
                      <a:pt x="66" y="2602"/>
                    </a:lnTo>
                    <a:lnTo>
                      <a:pt x="66" y="2606"/>
                    </a:lnTo>
                    <a:lnTo>
                      <a:pt x="66" y="2612"/>
                    </a:lnTo>
                    <a:lnTo>
                      <a:pt x="74" y="2628"/>
                    </a:lnTo>
                    <a:lnTo>
                      <a:pt x="74" y="2628"/>
                    </a:lnTo>
                    <a:lnTo>
                      <a:pt x="74" y="2632"/>
                    </a:lnTo>
                    <a:lnTo>
                      <a:pt x="74" y="2640"/>
                    </a:lnTo>
                    <a:lnTo>
                      <a:pt x="70" y="2654"/>
                    </a:lnTo>
                    <a:lnTo>
                      <a:pt x="66" y="2670"/>
                    </a:lnTo>
                    <a:lnTo>
                      <a:pt x="64" y="2680"/>
                    </a:lnTo>
                    <a:lnTo>
                      <a:pt x="64" y="2680"/>
                    </a:lnTo>
                    <a:lnTo>
                      <a:pt x="66" y="2684"/>
                    </a:lnTo>
                    <a:lnTo>
                      <a:pt x="64" y="2688"/>
                    </a:lnTo>
                    <a:lnTo>
                      <a:pt x="60" y="2694"/>
                    </a:lnTo>
                    <a:lnTo>
                      <a:pt x="56" y="2708"/>
                    </a:lnTo>
                    <a:lnTo>
                      <a:pt x="56" y="2708"/>
                    </a:lnTo>
                    <a:lnTo>
                      <a:pt x="54" y="2716"/>
                    </a:lnTo>
                    <a:lnTo>
                      <a:pt x="50" y="2720"/>
                    </a:lnTo>
                    <a:lnTo>
                      <a:pt x="46" y="2724"/>
                    </a:lnTo>
                    <a:lnTo>
                      <a:pt x="44" y="2726"/>
                    </a:lnTo>
                    <a:lnTo>
                      <a:pt x="44" y="2730"/>
                    </a:lnTo>
                    <a:lnTo>
                      <a:pt x="44" y="2730"/>
                    </a:lnTo>
                    <a:lnTo>
                      <a:pt x="44" y="2734"/>
                    </a:lnTo>
                    <a:lnTo>
                      <a:pt x="44" y="2740"/>
                    </a:lnTo>
                    <a:lnTo>
                      <a:pt x="40" y="2750"/>
                    </a:lnTo>
                    <a:lnTo>
                      <a:pt x="38" y="2756"/>
                    </a:lnTo>
                    <a:lnTo>
                      <a:pt x="38" y="2760"/>
                    </a:lnTo>
                    <a:lnTo>
                      <a:pt x="40" y="2762"/>
                    </a:lnTo>
                    <a:lnTo>
                      <a:pt x="44" y="2764"/>
                    </a:lnTo>
                    <a:lnTo>
                      <a:pt x="44" y="2764"/>
                    </a:lnTo>
                    <a:lnTo>
                      <a:pt x="52" y="2764"/>
                    </a:lnTo>
                    <a:lnTo>
                      <a:pt x="52" y="2764"/>
                    </a:lnTo>
                    <a:lnTo>
                      <a:pt x="52" y="2764"/>
                    </a:lnTo>
                    <a:lnTo>
                      <a:pt x="50" y="2766"/>
                    </a:lnTo>
                    <a:lnTo>
                      <a:pt x="50" y="2770"/>
                    </a:lnTo>
                    <a:lnTo>
                      <a:pt x="50" y="2770"/>
                    </a:lnTo>
                    <a:lnTo>
                      <a:pt x="50" y="2772"/>
                    </a:lnTo>
                    <a:lnTo>
                      <a:pt x="50" y="2776"/>
                    </a:lnTo>
                    <a:lnTo>
                      <a:pt x="50" y="2778"/>
                    </a:lnTo>
                    <a:lnTo>
                      <a:pt x="52" y="2778"/>
                    </a:lnTo>
                    <a:lnTo>
                      <a:pt x="52" y="2778"/>
                    </a:lnTo>
                    <a:lnTo>
                      <a:pt x="58" y="2776"/>
                    </a:lnTo>
                    <a:lnTo>
                      <a:pt x="64" y="2778"/>
                    </a:lnTo>
                    <a:lnTo>
                      <a:pt x="66" y="2780"/>
                    </a:lnTo>
                    <a:lnTo>
                      <a:pt x="66" y="2782"/>
                    </a:lnTo>
                    <a:lnTo>
                      <a:pt x="68" y="2788"/>
                    </a:lnTo>
                    <a:lnTo>
                      <a:pt x="66" y="2794"/>
                    </a:lnTo>
                    <a:lnTo>
                      <a:pt x="66" y="2794"/>
                    </a:lnTo>
                    <a:lnTo>
                      <a:pt x="64" y="2804"/>
                    </a:lnTo>
                    <a:lnTo>
                      <a:pt x="66" y="2810"/>
                    </a:lnTo>
                    <a:lnTo>
                      <a:pt x="66" y="2820"/>
                    </a:lnTo>
                    <a:lnTo>
                      <a:pt x="62" y="2842"/>
                    </a:lnTo>
                    <a:lnTo>
                      <a:pt x="62" y="2842"/>
                    </a:lnTo>
                    <a:lnTo>
                      <a:pt x="60" y="2856"/>
                    </a:lnTo>
                    <a:lnTo>
                      <a:pt x="62" y="2856"/>
                    </a:lnTo>
                    <a:lnTo>
                      <a:pt x="64" y="2856"/>
                    </a:lnTo>
                    <a:lnTo>
                      <a:pt x="64" y="2856"/>
                    </a:lnTo>
                    <a:lnTo>
                      <a:pt x="68" y="2852"/>
                    </a:lnTo>
                    <a:lnTo>
                      <a:pt x="72" y="2850"/>
                    </a:lnTo>
                    <a:lnTo>
                      <a:pt x="80" y="2850"/>
                    </a:lnTo>
                    <a:lnTo>
                      <a:pt x="92" y="2854"/>
                    </a:lnTo>
                    <a:lnTo>
                      <a:pt x="92" y="2854"/>
                    </a:lnTo>
                    <a:lnTo>
                      <a:pt x="104" y="2858"/>
                    </a:lnTo>
                    <a:lnTo>
                      <a:pt x="110" y="2856"/>
                    </a:lnTo>
                    <a:lnTo>
                      <a:pt x="114" y="2852"/>
                    </a:lnTo>
                    <a:lnTo>
                      <a:pt x="124" y="2846"/>
                    </a:lnTo>
                    <a:lnTo>
                      <a:pt x="124" y="2846"/>
                    </a:lnTo>
                    <a:lnTo>
                      <a:pt x="130" y="2844"/>
                    </a:lnTo>
                    <a:lnTo>
                      <a:pt x="136" y="2844"/>
                    </a:lnTo>
                    <a:lnTo>
                      <a:pt x="142" y="2846"/>
                    </a:lnTo>
                    <a:lnTo>
                      <a:pt x="148" y="2850"/>
                    </a:lnTo>
                    <a:lnTo>
                      <a:pt x="158" y="2858"/>
                    </a:lnTo>
                    <a:lnTo>
                      <a:pt x="160" y="2862"/>
                    </a:lnTo>
                    <a:lnTo>
                      <a:pt x="162" y="2866"/>
                    </a:lnTo>
                    <a:lnTo>
                      <a:pt x="162" y="2866"/>
                    </a:lnTo>
                    <a:lnTo>
                      <a:pt x="162" y="2874"/>
                    </a:lnTo>
                    <a:lnTo>
                      <a:pt x="166" y="2882"/>
                    </a:lnTo>
                    <a:lnTo>
                      <a:pt x="174" y="2892"/>
                    </a:lnTo>
                    <a:lnTo>
                      <a:pt x="182" y="2902"/>
                    </a:lnTo>
                    <a:lnTo>
                      <a:pt x="182" y="2902"/>
                    </a:lnTo>
                    <a:lnTo>
                      <a:pt x="190" y="2908"/>
                    </a:lnTo>
                    <a:lnTo>
                      <a:pt x="196" y="2910"/>
                    </a:lnTo>
                    <a:lnTo>
                      <a:pt x="198" y="2910"/>
                    </a:lnTo>
                    <a:lnTo>
                      <a:pt x="202" y="2906"/>
                    </a:lnTo>
                    <a:lnTo>
                      <a:pt x="202" y="2906"/>
                    </a:lnTo>
                    <a:lnTo>
                      <a:pt x="206" y="2902"/>
                    </a:lnTo>
                    <a:lnTo>
                      <a:pt x="208" y="2898"/>
                    </a:lnTo>
                    <a:lnTo>
                      <a:pt x="212" y="2892"/>
                    </a:lnTo>
                    <a:lnTo>
                      <a:pt x="212" y="2892"/>
                    </a:lnTo>
                    <a:lnTo>
                      <a:pt x="214" y="2888"/>
                    </a:lnTo>
                    <a:lnTo>
                      <a:pt x="218" y="2886"/>
                    </a:lnTo>
                    <a:lnTo>
                      <a:pt x="228" y="2884"/>
                    </a:lnTo>
                    <a:lnTo>
                      <a:pt x="236" y="2884"/>
                    </a:lnTo>
                    <a:lnTo>
                      <a:pt x="238" y="2882"/>
                    </a:lnTo>
                    <a:lnTo>
                      <a:pt x="240" y="2880"/>
                    </a:lnTo>
                    <a:lnTo>
                      <a:pt x="240" y="2880"/>
                    </a:lnTo>
                    <a:lnTo>
                      <a:pt x="246" y="2874"/>
                    </a:lnTo>
                    <a:lnTo>
                      <a:pt x="254" y="2868"/>
                    </a:lnTo>
                    <a:lnTo>
                      <a:pt x="264" y="2868"/>
                    </a:lnTo>
                    <a:lnTo>
                      <a:pt x="270" y="2868"/>
                    </a:lnTo>
                    <a:lnTo>
                      <a:pt x="276" y="2870"/>
                    </a:lnTo>
                    <a:lnTo>
                      <a:pt x="276" y="2870"/>
                    </a:lnTo>
                    <a:lnTo>
                      <a:pt x="284" y="2872"/>
                    </a:lnTo>
                    <a:lnTo>
                      <a:pt x="292" y="2874"/>
                    </a:lnTo>
                    <a:lnTo>
                      <a:pt x="310" y="2870"/>
                    </a:lnTo>
                    <a:lnTo>
                      <a:pt x="322" y="2868"/>
                    </a:lnTo>
                    <a:lnTo>
                      <a:pt x="328" y="2866"/>
                    </a:lnTo>
                    <a:lnTo>
                      <a:pt x="332" y="2868"/>
                    </a:lnTo>
                    <a:lnTo>
                      <a:pt x="332" y="2868"/>
                    </a:lnTo>
                    <a:lnTo>
                      <a:pt x="336" y="2870"/>
                    </a:lnTo>
                    <a:lnTo>
                      <a:pt x="340" y="2866"/>
                    </a:lnTo>
                    <a:lnTo>
                      <a:pt x="346" y="2852"/>
                    </a:lnTo>
                    <a:lnTo>
                      <a:pt x="350" y="2844"/>
                    </a:lnTo>
                    <a:lnTo>
                      <a:pt x="356" y="2836"/>
                    </a:lnTo>
                    <a:lnTo>
                      <a:pt x="364" y="2830"/>
                    </a:lnTo>
                    <a:lnTo>
                      <a:pt x="374" y="2828"/>
                    </a:lnTo>
                    <a:lnTo>
                      <a:pt x="374" y="2828"/>
                    </a:lnTo>
                    <a:lnTo>
                      <a:pt x="390" y="2826"/>
                    </a:lnTo>
                    <a:lnTo>
                      <a:pt x="392" y="2824"/>
                    </a:lnTo>
                    <a:lnTo>
                      <a:pt x="390" y="2818"/>
                    </a:lnTo>
                    <a:lnTo>
                      <a:pt x="390" y="2818"/>
                    </a:lnTo>
                    <a:lnTo>
                      <a:pt x="392" y="2808"/>
                    </a:lnTo>
                    <a:lnTo>
                      <a:pt x="396" y="2798"/>
                    </a:lnTo>
                    <a:lnTo>
                      <a:pt x="402" y="2788"/>
                    </a:lnTo>
                    <a:lnTo>
                      <a:pt x="410" y="2780"/>
                    </a:lnTo>
                    <a:lnTo>
                      <a:pt x="424" y="2768"/>
                    </a:lnTo>
                    <a:lnTo>
                      <a:pt x="428" y="2764"/>
                    </a:lnTo>
                    <a:lnTo>
                      <a:pt x="430" y="2760"/>
                    </a:lnTo>
                    <a:lnTo>
                      <a:pt x="430" y="2760"/>
                    </a:lnTo>
                    <a:lnTo>
                      <a:pt x="428" y="2756"/>
                    </a:lnTo>
                    <a:lnTo>
                      <a:pt x="422" y="2752"/>
                    </a:lnTo>
                    <a:lnTo>
                      <a:pt x="416" y="2746"/>
                    </a:lnTo>
                    <a:lnTo>
                      <a:pt x="412" y="2740"/>
                    </a:lnTo>
                    <a:lnTo>
                      <a:pt x="410" y="2734"/>
                    </a:lnTo>
                    <a:lnTo>
                      <a:pt x="410" y="2734"/>
                    </a:lnTo>
                    <a:lnTo>
                      <a:pt x="410" y="2724"/>
                    </a:lnTo>
                    <a:lnTo>
                      <a:pt x="412" y="2714"/>
                    </a:lnTo>
                    <a:lnTo>
                      <a:pt x="418" y="2702"/>
                    </a:lnTo>
                    <a:lnTo>
                      <a:pt x="424" y="2690"/>
                    </a:lnTo>
                    <a:lnTo>
                      <a:pt x="438" y="2670"/>
                    </a:lnTo>
                    <a:lnTo>
                      <a:pt x="446" y="2664"/>
                    </a:lnTo>
                    <a:lnTo>
                      <a:pt x="450" y="2660"/>
                    </a:lnTo>
                    <a:lnTo>
                      <a:pt x="450" y="2660"/>
                    </a:lnTo>
                    <a:lnTo>
                      <a:pt x="460" y="2656"/>
                    </a:lnTo>
                    <a:lnTo>
                      <a:pt x="460" y="2654"/>
                    </a:lnTo>
                    <a:lnTo>
                      <a:pt x="460" y="2652"/>
                    </a:lnTo>
                    <a:lnTo>
                      <a:pt x="454" y="2648"/>
                    </a:lnTo>
                    <a:lnTo>
                      <a:pt x="454" y="2646"/>
                    </a:lnTo>
                    <a:lnTo>
                      <a:pt x="454" y="2642"/>
                    </a:lnTo>
                    <a:lnTo>
                      <a:pt x="454" y="2642"/>
                    </a:lnTo>
                    <a:lnTo>
                      <a:pt x="458" y="2638"/>
                    </a:lnTo>
                    <a:lnTo>
                      <a:pt x="466" y="2634"/>
                    </a:lnTo>
                    <a:lnTo>
                      <a:pt x="484" y="2628"/>
                    </a:lnTo>
                    <a:lnTo>
                      <a:pt x="502" y="2624"/>
                    </a:lnTo>
                    <a:lnTo>
                      <a:pt x="508" y="2620"/>
                    </a:lnTo>
                    <a:lnTo>
                      <a:pt x="510" y="2616"/>
                    </a:lnTo>
                    <a:lnTo>
                      <a:pt x="510" y="2616"/>
                    </a:lnTo>
                    <a:lnTo>
                      <a:pt x="514" y="2612"/>
                    </a:lnTo>
                    <a:lnTo>
                      <a:pt x="520" y="2608"/>
                    </a:lnTo>
                    <a:lnTo>
                      <a:pt x="536" y="2600"/>
                    </a:lnTo>
                    <a:lnTo>
                      <a:pt x="544" y="2596"/>
                    </a:lnTo>
                    <a:lnTo>
                      <a:pt x="550" y="2590"/>
                    </a:lnTo>
                    <a:lnTo>
                      <a:pt x="552" y="2584"/>
                    </a:lnTo>
                    <a:lnTo>
                      <a:pt x="552" y="2580"/>
                    </a:lnTo>
                    <a:lnTo>
                      <a:pt x="550" y="2576"/>
                    </a:lnTo>
                    <a:lnTo>
                      <a:pt x="550" y="2576"/>
                    </a:lnTo>
                    <a:lnTo>
                      <a:pt x="550" y="2572"/>
                    </a:lnTo>
                    <a:lnTo>
                      <a:pt x="550" y="2570"/>
                    </a:lnTo>
                    <a:lnTo>
                      <a:pt x="554" y="2566"/>
                    </a:lnTo>
                    <a:lnTo>
                      <a:pt x="556" y="2566"/>
                    </a:lnTo>
                    <a:lnTo>
                      <a:pt x="556" y="2562"/>
                    </a:lnTo>
                    <a:lnTo>
                      <a:pt x="554" y="2560"/>
                    </a:lnTo>
                    <a:lnTo>
                      <a:pt x="548" y="2554"/>
                    </a:lnTo>
                    <a:lnTo>
                      <a:pt x="548" y="2554"/>
                    </a:lnTo>
                    <a:lnTo>
                      <a:pt x="548" y="2542"/>
                    </a:lnTo>
                    <a:lnTo>
                      <a:pt x="548" y="2536"/>
                    </a:lnTo>
                    <a:lnTo>
                      <a:pt x="548" y="2532"/>
                    </a:lnTo>
                    <a:lnTo>
                      <a:pt x="548" y="2524"/>
                    </a:lnTo>
                    <a:lnTo>
                      <a:pt x="548" y="2524"/>
                    </a:lnTo>
                    <a:lnTo>
                      <a:pt x="548" y="2518"/>
                    </a:lnTo>
                    <a:lnTo>
                      <a:pt x="550" y="2514"/>
                    </a:lnTo>
                    <a:lnTo>
                      <a:pt x="556" y="2510"/>
                    </a:lnTo>
                    <a:lnTo>
                      <a:pt x="564" y="2508"/>
                    </a:lnTo>
                    <a:lnTo>
                      <a:pt x="572" y="2502"/>
                    </a:lnTo>
                    <a:lnTo>
                      <a:pt x="572" y="2502"/>
                    </a:lnTo>
                    <a:lnTo>
                      <a:pt x="584" y="2494"/>
                    </a:lnTo>
                    <a:lnTo>
                      <a:pt x="586" y="2494"/>
                    </a:lnTo>
                    <a:lnTo>
                      <a:pt x="588" y="2494"/>
                    </a:lnTo>
                    <a:lnTo>
                      <a:pt x="590" y="2498"/>
                    </a:lnTo>
                    <a:lnTo>
                      <a:pt x="592" y="2500"/>
                    </a:lnTo>
                    <a:lnTo>
                      <a:pt x="598" y="2502"/>
                    </a:lnTo>
                    <a:lnTo>
                      <a:pt x="598" y="2502"/>
                    </a:lnTo>
                    <a:lnTo>
                      <a:pt x="604" y="2502"/>
                    </a:lnTo>
                    <a:lnTo>
                      <a:pt x="608" y="2504"/>
                    </a:lnTo>
                    <a:lnTo>
                      <a:pt x="610" y="2506"/>
                    </a:lnTo>
                    <a:lnTo>
                      <a:pt x="616" y="2506"/>
                    </a:lnTo>
                    <a:lnTo>
                      <a:pt x="616" y="2506"/>
                    </a:lnTo>
                    <a:lnTo>
                      <a:pt x="626" y="2504"/>
                    </a:lnTo>
                    <a:lnTo>
                      <a:pt x="630" y="2504"/>
                    </a:lnTo>
                    <a:lnTo>
                      <a:pt x="634" y="2506"/>
                    </a:lnTo>
                    <a:lnTo>
                      <a:pt x="640" y="2512"/>
                    </a:lnTo>
                    <a:lnTo>
                      <a:pt x="640" y="2512"/>
                    </a:lnTo>
                    <a:lnTo>
                      <a:pt x="644" y="2516"/>
                    </a:lnTo>
                    <a:lnTo>
                      <a:pt x="646" y="2516"/>
                    </a:lnTo>
                    <a:lnTo>
                      <a:pt x="650" y="2514"/>
                    </a:lnTo>
                    <a:lnTo>
                      <a:pt x="654" y="2516"/>
                    </a:lnTo>
                    <a:lnTo>
                      <a:pt x="656" y="2518"/>
                    </a:lnTo>
                    <a:lnTo>
                      <a:pt x="656" y="2518"/>
                    </a:lnTo>
                    <a:lnTo>
                      <a:pt x="660" y="2520"/>
                    </a:lnTo>
                    <a:lnTo>
                      <a:pt x="664" y="2520"/>
                    </a:lnTo>
                    <a:lnTo>
                      <a:pt x="678" y="2518"/>
                    </a:lnTo>
                    <a:lnTo>
                      <a:pt x="690" y="2512"/>
                    </a:lnTo>
                    <a:lnTo>
                      <a:pt x="692" y="2508"/>
                    </a:lnTo>
                    <a:lnTo>
                      <a:pt x="694" y="2506"/>
                    </a:lnTo>
                    <a:lnTo>
                      <a:pt x="694" y="2506"/>
                    </a:lnTo>
                    <a:lnTo>
                      <a:pt x="694" y="2502"/>
                    </a:lnTo>
                    <a:lnTo>
                      <a:pt x="696" y="2500"/>
                    </a:lnTo>
                    <a:lnTo>
                      <a:pt x="704" y="2494"/>
                    </a:lnTo>
                    <a:lnTo>
                      <a:pt x="726" y="2482"/>
                    </a:lnTo>
                    <a:lnTo>
                      <a:pt x="726" y="2482"/>
                    </a:lnTo>
                    <a:lnTo>
                      <a:pt x="738" y="2476"/>
                    </a:lnTo>
                    <a:lnTo>
                      <a:pt x="748" y="2472"/>
                    </a:lnTo>
                    <a:lnTo>
                      <a:pt x="754" y="2466"/>
                    </a:lnTo>
                    <a:lnTo>
                      <a:pt x="758" y="2462"/>
                    </a:lnTo>
                    <a:lnTo>
                      <a:pt x="762" y="2452"/>
                    </a:lnTo>
                    <a:lnTo>
                      <a:pt x="766" y="2448"/>
                    </a:lnTo>
                    <a:lnTo>
                      <a:pt x="774" y="2444"/>
                    </a:lnTo>
                    <a:lnTo>
                      <a:pt x="774" y="2444"/>
                    </a:lnTo>
                    <a:lnTo>
                      <a:pt x="780" y="2444"/>
                    </a:lnTo>
                    <a:lnTo>
                      <a:pt x="786" y="2444"/>
                    </a:lnTo>
                    <a:lnTo>
                      <a:pt x="792" y="2448"/>
                    </a:lnTo>
                    <a:lnTo>
                      <a:pt x="798" y="2454"/>
                    </a:lnTo>
                    <a:lnTo>
                      <a:pt x="808" y="2462"/>
                    </a:lnTo>
                    <a:lnTo>
                      <a:pt x="814" y="2466"/>
                    </a:lnTo>
                    <a:lnTo>
                      <a:pt x="820" y="2466"/>
                    </a:lnTo>
                    <a:lnTo>
                      <a:pt x="820" y="2466"/>
                    </a:lnTo>
                    <a:lnTo>
                      <a:pt x="826" y="2466"/>
                    </a:lnTo>
                    <a:lnTo>
                      <a:pt x="830" y="2468"/>
                    </a:lnTo>
                    <a:lnTo>
                      <a:pt x="832" y="2474"/>
                    </a:lnTo>
                    <a:lnTo>
                      <a:pt x="834" y="2480"/>
                    </a:lnTo>
                    <a:lnTo>
                      <a:pt x="836" y="2494"/>
                    </a:lnTo>
                    <a:lnTo>
                      <a:pt x="838" y="2500"/>
                    </a:lnTo>
                    <a:lnTo>
                      <a:pt x="842" y="2504"/>
                    </a:lnTo>
                    <a:lnTo>
                      <a:pt x="842" y="2504"/>
                    </a:lnTo>
                    <a:lnTo>
                      <a:pt x="844" y="2508"/>
                    </a:lnTo>
                    <a:lnTo>
                      <a:pt x="846" y="2512"/>
                    </a:lnTo>
                    <a:lnTo>
                      <a:pt x="846" y="2518"/>
                    </a:lnTo>
                    <a:lnTo>
                      <a:pt x="846" y="2522"/>
                    </a:lnTo>
                    <a:lnTo>
                      <a:pt x="846" y="2526"/>
                    </a:lnTo>
                    <a:lnTo>
                      <a:pt x="848" y="2530"/>
                    </a:lnTo>
                    <a:lnTo>
                      <a:pt x="854" y="2536"/>
                    </a:lnTo>
                    <a:lnTo>
                      <a:pt x="854" y="2536"/>
                    </a:lnTo>
                    <a:lnTo>
                      <a:pt x="870" y="2546"/>
                    </a:lnTo>
                    <a:lnTo>
                      <a:pt x="872" y="2550"/>
                    </a:lnTo>
                    <a:lnTo>
                      <a:pt x="872" y="2556"/>
                    </a:lnTo>
                    <a:lnTo>
                      <a:pt x="872" y="2556"/>
                    </a:lnTo>
                    <a:lnTo>
                      <a:pt x="872" y="2560"/>
                    </a:lnTo>
                    <a:lnTo>
                      <a:pt x="874" y="2562"/>
                    </a:lnTo>
                    <a:lnTo>
                      <a:pt x="882" y="2564"/>
                    </a:lnTo>
                    <a:lnTo>
                      <a:pt x="890" y="2566"/>
                    </a:lnTo>
                    <a:lnTo>
                      <a:pt x="894" y="2570"/>
                    </a:lnTo>
                    <a:lnTo>
                      <a:pt x="898" y="2576"/>
                    </a:lnTo>
                    <a:lnTo>
                      <a:pt x="898" y="2576"/>
                    </a:lnTo>
                    <a:lnTo>
                      <a:pt x="902" y="2584"/>
                    </a:lnTo>
                    <a:lnTo>
                      <a:pt x="906" y="2586"/>
                    </a:lnTo>
                    <a:lnTo>
                      <a:pt x="910" y="2588"/>
                    </a:lnTo>
                    <a:lnTo>
                      <a:pt x="920" y="2598"/>
                    </a:lnTo>
                    <a:lnTo>
                      <a:pt x="920" y="2598"/>
                    </a:lnTo>
                    <a:lnTo>
                      <a:pt x="932" y="2612"/>
                    </a:lnTo>
                    <a:lnTo>
                      <a:pt x="944" y="2620"/>
                    </a:lnTo>
                    <a:lnTo>
                      <a:pt x="956" y="2624"/>
                    </a:lnTo>
                    <a:lnTo>
                      <a:pt x="970" y="2624"/>
                    </a:lnTo>
                    <a:lnTo>
                      <a:pt x="970" y="2624"/>
                    </a:lnTo>
                    <a:lnTo>
                      <a:pt x="974" y="2626"/>
                    </a:lnTo>
                    <a:lnTo>
                      <a:pt x="978" y="2628"/>
                    </a:lnTo>
                    <a:lnTo>
                      <a:pt x="982" y="2638"/>
                    </a:lnTo>
                    <a:lnTo>
                      <a:pt x="988" y="2646"/>
                    </a:lnTo>
                    <a:lnTo>
                      <a:pt x="990" y="2650"/>
                    </a:lnTo>
                    <a:lnTo>
                      <a:pt x="996" y="2650"/>
                    </a:lnTo>
                    <a:lnTo>
                      <a:pt x="996" y="2650"/>
                    </a:lnTo>
                    <a:lnTo>
                      <a:pt x="1002" y="2650"/>
                    </a:lnTo>
                    <a:lnTo>
                      <a:pt x="1004" y="2650"/>
                    </a:lnTo>
                    <a:lnTo>
                      <a:pt x="1004" y="2656"/>
                    </a:lnTo>
                    <a:lnTo>
                      <a:pt x="1002" y="2658"/>
                    </a:lnTo>
                    <a:lnTo>
                      <a:pt x="1004" y="2658"/>
                    </a:lnTo>
                    <a:lnTo>
                      <a:pt x="1006" y="2660"/>
                    </a:lnTo>
                    <a:lnTo>
                      <a:pt x="1012" y="2658"/>
                    </a:lnTo>
                    <a:lnTo>
                      <a:pt x="1012" y="2658"/>
                    </a:lnTo>
                    <a:lnTo>
                      <a:pt x="1018" y="2658"/>
                    </a:lnTo>
                    <a:lnTo>
                      <a:pt x="1020" y="2660"/>
                    </a:lnTo>
                    <a:lnTo>
                      <a:pt x="1022" y="2662"/>
                    </a:lnTo>
                    <a:lnTo>
                      <a:pt x="1022" y="2666"/>
                    </a:lnTo>
                    <a:lnTo>
                      <a:pt x="1022" y="2674"/>
                    </a:lnTo>
                    <a:lnTo>
                      <a:pt x="1024" y="2680"/>
                    </a:lnTo>
                    <a:lnTo>
                      <a:pt x="1030" y="2684"/>
                    </a:lnTo>
                    <a:lnTo>
                      <a:pt x="1030" y="2684"/>
                    </a:lnTo>
                    <a:lnTo>
                      <a:pt x="1040" y="2690"/>
                    </a:lnTo>
                    <a:lnTo>
                      <a:pt x="1050" y="2694"/>
                    </a:lnTo>
                    <a:lnTo>
                      <a:pt x="1054" y="2698"/>
                    </a:lnTo>
                    <a:lnTo>
                      <a:pt x="1058" y="2702"/>
                    </a:lnTo>
                    <a:lnTo>
                      <a:pt x="1062" y="2710"/>
                    </a:lnTo>
                    <a:lnTo>
                      <a:pt x="1066" y="2720"/>
                    </a:lnTo>
                    <a:lnTo>
                      <a:pt x="1066" y="2720"/>
                    </a:lnTo>
                    <a:lnTo>
                      <a:pt x="1070" y="2740"/>
                    </a:lnTo>
                    <a:lnTo>
                      <a:pt x="1072" y="2752"/>
                    </a:lnTo>
                    <a:lnTo>
                      <a:pt x="1072" y="2758"/>
                    </a:lnTo>
                    <a:lnTo>
                      <a:pt x="1066" y="2762"/>
                    </a:lnTo>
                    <a:lnTo>
                      <a:pt x="1066" y="2762"/>
                    </a:lnTo>
                    <a:lnTo>
                      <a:pt x="1064" y="2768"/>
                    </a:lnTo>
                    <a:lnTo>
                      <a:pt x="1064" y="2772"/>
                    </a:lnTo>
                    <a:lnTo>
                      <a:pt x="1062" y="2776"/>
                    </a:lnTo>
                    <a:lnTo>
                      <a:pt x="1060" y="2784"/>
                    </a:lnTo>
                    <a:lnTo>
                      <a:pt x="1060" y="2784"/>
                    </a:lnTo>
                    <a:lnTo>
                      <a:pt x="1054" y="2790"/>
                    </a:lnTo>
                    <a:lnTo>
                      <a:pt x="1052" y="2796"/>
                    </a:lnTo>
                    <a:lnTo>
                      <a:pt x="1054" y="2802"/>
                    </a:lnTo>
                    <a:lnTo>
                      <a:pt x="1058" y="2806"/>
                    </a:lnTo>
                    <a:lnTo>
                      <a:pt x="1058" y="2806"/>
                    </a:lnTo>
                    <a:lnTo>
                      <a:pt x="1064" y="2808"/>
                    </a:lnTo>
                    <a:lnTo>
                      <a:pt x="1068" y="2808"/>
                    </a:lnTo>
                    <a:lnTo>
                      <a:pt x="1070" y="2806"/>
                    </a:lnTo>
                    <a:lnTo>
                      <a:pt x="1072" y="2804"/>
                    </a:lnTo>
                    <a:lnTo>
                      <a:pt x="1076" y="2794"/>
                    </a:lnTo>
                    <a:lnTo>
                      <a:pt x="1084" y="2784"/>
                    </a:lnTo>
                    <a:lnTo>
                      <a:pt x="1084" y="2784"/>
                    </a:lnTo>
                    <a:lnTo>
                      <a:pt x="1088" y="2780"/>
                    </a:lnTo>
                    <a:lnTo>
                      <a:pt x="1090" y="2776"/>
                    </a:lnTo>
                    <a:lnTo>
                      <a:pt x="1092" y="2768"/>
                    </a:lnTo>
                    <a:lnTo>
                      <a:pt x="1096" y="2760"/>
                    </a:lnTo>
                    <a:lnTo>
                      <a:pt x="1098" y="2756"/>
                    </a:lnTo>
                    <a:lnTo>
                      <a:pt x="1104" y="2752"/>
                    </a:lnTo>
                    <a:lnTo>
                      <a:pt x="1104" y="2752"/>
                    </a:lnTo>
                    <a:lnTo>
                      <a:pt x="1110" y="2748"/>
                    </a:lnTo>
                    <a:lnTo>
                      <a:pt x="1114" y="2742"/>
                    </a:lnTo>
                    <a:lnTo>
                      <a:pt x="1116" y="2738"/>
                    </a:lnTo>
                    <a:lnTo>
                      <a:pt x="1114" y="2732"/>
                    </a:lnTo>
                    <a:lnTo>
                      <a:pt x="1112" y="2726"/>
                    </a:lnTo>
                    <a:lnTo>
                      <a:pt x="1108" y="2722"/>
                    </a:lnTo>
                    <a:lnTo>
                      <a:pt x="1104" y="2718"/>
                    </a:lnTo>
                    <a:lnTo>
                      <a:pt x="1098" y="2716"/>
                    </a:lnTo>
                    <a:lnTo>
                      <a:pt x="1098" y="2716"/>
                    </a:lnTo>
                    <a:lnTo>
                      <a:pt x="1090" y="2712"/>
                    </a:lnTo>
                    <a:lnTo>
                      <a:pt x="1086" y="2708"/>
                    </a:lnTo>
                    <a:lnTo>
                      <a:pt x="1086" y="2704"/>
                    </a:lnTo>
                    <a:lnTo>
                      <a:pt x="1090" y="2698"/>
                    </a:lnTo>
                    <a:lnTo>
                      <a:pt x="1090" y="2698"/>
                    </a:lnTo>
                    <a:lnTo>
                      <a:pt x="1092" y="2692"/>
                    </a:lnTo>
                    <a:lnTo>
                      <a:pt x="1094" y="2684"/>
                    </a:lnTo>
                    <a:lnTo>
                      <a:pt x="1096" y="2676"/>
                    </a:lnTo>
                    <a:lnTo>
                      <a:pt x="1100" y="2672"/>
                    </a:lnTo>
                    <a:lnTo>
                      <a:pt x="1104" y="2670"/>
                    </a:lnTo>
                    <a:lnTo>
                      <a:pt x="1104" y="2670"/>
                    </a:lnTo>
                    <a:lnTo>
                      <a:pt x="1112" y="2666"/>
                    </a:lnTo>
                    <a:lnTo>
                      <a:pt x="1116" y="2668"/>
                    </a:lnTo>
                    <a:lnTo>
                      <a:pt x="1124" y="2670"/>
                    </a:lnTo>
                    <a:lnTo>
                      <a:pt x="1134" y="2672"/>
                    </a:lnTo>
                    <a:lnTo>
                      <a:pt x="1134" y="2672"/>
                    </a:lnTo>
                    <a:lnTo>
                      <a:pt x="1140" y="2674"/>
                    </a:lnTo>
                    <a:lnTo>
                      <a:pt x="1144" y="2678"/>
                    </a:lnTo>
                    <a:lnTo>
                      <a:pt x="1148" y="2688"/>
                    </a:lnTo>
                    <a:lnTo>
                      <a:pt x="1150" y="2696"/>
                    </a:lnTo>
                    <a:lnTo>
                      <a:pt x="1154" y="2700"/>
                    </a:lnTo>
                    <a:lnTo>
                      <a:pt x="1158" y="2702"/>
                    </a:lnTo>
                    <a:lnTo>
                      <a:pt x="1158" y="2702"/>
                    </a:lnTo>
                    <a:lnTo>
                      <a:pt x="1166" y="2702"/>
                    </a:lnTo>
                    <a:lnTo>
                      <a:pt x="1166" y="2702"/>
                    </a:lnTo>
                    <a:lnTo>
                      <a:pt x="1166" y="2700"/>
                    </a:lnTo>
                    <a:lnTo>
                      <a:pt x="1166" y="2696"/>
                    </a:lnTo>
                    <a:lnTo>
                      <a:pt x="1168" y="2688"/>
                    </a:lnTo>
                    <a:lnTo>
                      <a:pt x="1168" y="2688"/>
                    </a:lnTo>
                    <a:lnTo>
                      <a:pt x="1168" y="2684"/>
                    </a:lnTo>
                    <a:lnTo>
                      <a:pt x="1168" y="2678"/>
                    </a:lnTo>
                    <a:lnTo>
                      <a:pt x="1166" y="2674"/>
                    </a:lnTo>
                    <a:lnTo>
                      <a:pt x="1162" y="2670"/>
                    </a:lnTo>
                    <a:lnTo>
                      <a:pt x="1152" y="2662"/>
                    </a:lnTo>
                    <a:lnTo>
                      <a:pt x="1142" y="2654"/>
                    </a:lnTo>
                    <a:lnTo>
                      <a:pt x="1142" y="2654"/>
                    </a:lnTo>
                    <a:lnTo>
                      <a:pt x="1126" y="2646"/>
                    </a:lnTo>
                    <a:lnTo>
                      <a:pt x="1120" y="2642"/>
                    </a:lnTo>
                    <a:lnTo>
                      <a:pt x="1114" y="2636"/>
                    </a:lnTo>
                    <a:lnTo>
                      <a:pt x="1114" y="2636"/>
                    </a:lnTo>
                    <a:lnTo>
                      <a:pt x="1110" y="2632"/>
                    </a:lnTo>
                    <a:lnTo>
                      <a:pt x="1102" y="2628"/>
                    </a:lnTo>
                    <a:lnTo>
                      <a:pt x="1082" y="2620"/>
                    </a:lnTo>
                    <a:lnTo>
                      <a:pt x="1074" y="2616"/>
                    </a:lnTo>
                    <a:lnTo>
                      <a:pt x="1068" y="2610"/>
                    </a:lnTo>
                    <a:lnTo>
                      <a:pt x="1066" y="2606"/>
                    </a:lnTo>
                    <a:lnTo>
                      <a:pt x="1066" y="2602"/>
                    </a:lnTo>
                    <a:lnTo>
                      <a:pt x="1070" y="2600"/>
                    </a:lnTo>
                    <a:lnTo>
                      <a:pt x="1070" y="2600"/>
                    </a:lnTo>
                    <a:lnTo>
                      <a:pt x="1074" y="2594"/>
                    </a:lnTo>
                    <a:lnTo>
                      <a:pt x="1076" y="2592"/>
                    </a:lnTo>
                    <a:lnTo>
                      <a:pt x="1074" y="2590"/>
                    </a:lnTo>
                    <a:lnTo>
                      <a:pt x="1068" y="2588"/>
                    </a:lnTo>
                    <a:lnTo>
                      <a:pt x="1060" y="2586"/>
                    </a:lnTo>
                    <a:lnTo>
                      <a:pt x="1036" y="2584"/>
                    </a:lnTo>
                    <a:lnTo>
                      <a:pt x="1026" y="2580"/>
                    </a:lnTo>
                    <a:lnTo>
                      <a:pt x="1016" y="2576"/>
                    </a:lnTo>
                    <a:lnTo>
                      <a:pt x="1016" y="2576"/>
                    </a:lnTo>
                    <a:lnTo>
                      <a:pt x="1002" y="2560"/>
                    </a:lnTo>
                    <a:lnTo>
                      <a:pt x="990" y="2544"/>
                    </a:lnTo>
                    <a:lnTo>
                      <a:pt x="984" y="2530"/>
                    </a:lnTo>
                    <a:lnTo>
                      <a:pt x="978" y="2518"/>
                    </a:lnTo>
                    <a:lnTo>
                      <a:pt x="974" y="2498"/>
                    </a:lnTo>
                    <a:lnTo>
                      <a:pt x="970" y="2492"/>
                    </a:lnTo>
                    <a:lnTo>
                      <a:pt x="966" y="2490"/>
                    </a:lnTo>
                    <a:lnTo>
                      <a:pt x="966" y="2490"/>
                    </a:lnTo>
                    <a:lnTo>
                      <a:pt x="958" y="2488"/>
                    </a:lnTo>
                    <a:lnTo>
                      <a:pt x="950" y="2484"/>
                    </a:lnTo>
                    <a:lnTo>
                      <a:pt x="944" y="2476"/>
                    </a:lnTo>
                    <a:lnTo>
                      <a:pt x="934" y="2468"/>
                    </a:lnTo>
                    <a:lnTo>
                      <a:pt x="934" y="2468"/>
                    </a:lnTo>
                    <a:lnTo>
                      <a:pt x="928" y="2462"/>
                    </a:lnTo>
                    <a:lnTo>
                      <a:pt x="922" y="2456"/>
                    </a:lnTo>
                    <a:lnTo>
                      <a:pt x="920" y="2448"/>
                    </a:lnTo>
                    <a:lnTo>
                      <a:pt x="918" y="2442"/>
                    </a:lnTo>
                    <a:lnTo>
                      <a:pt x="916" y="2434"/>
                    </a:lnTo>
                    <a:lnTo>
                      <a:pt x="918" y="2428"/>
                    </a:lnTo>
                    <a:lnTo>
                      <a:pt x="920" y="2424"/>
                    </a:lnTo>
                    <a:lnTo>
                      <a:pt x="922" y="2422"/>
                    </a:lnTo>
                    <a:lnTo>
                      <a:pt x="922" y="2422"/>
                    </a:lnTo>
                    <a:lnTo>
                      <a:pt x="926" y="2420"/>
                    </a:lnTo>
                    <a:lnTo>
                      <a:pt x="928" y="2418"/>
                    </a:lnTo>
                    <a:lnTo>
                      <a:pt x="926" y="2414"/>
                    </a:lnTo>
                    <a:lnTo>
                      <a:pt x="918" y="2400"/>
                    </a:lnTo>
                    <a:lnTo>
                      <a:pt x="918" y="2400"/>
                    </a:lnTo>
                    <a:lnTo>
                      <a:pt x="914" y="2394"/>
                    </a:lnTo>
                    <a:lnTo>
                      <a:pt x="916" y="2388"/>
                    </a:lnTo>
                    <a:lnTo>
                      <a:pt x="920" y="2384"/>
                    </a:lnTo>
                    <a:lnTo>
                      <a:pt x="924" y="2386"/>
                    </a:lnTo>
                    <a:lnTo>
                      <a:pt x="924" y="2386"/>
                    </a:lnTo>
                    <a:lnTo>
                      <a:pt x="926" y="2388"/>
                    </a:lnTo>
                    <a:lnTo>
                      <a:pt x="930" y="2388"/>
                    </a:lnTo>
                    <a:lnTo>
                      <a:pt x="934" y="2384"/>
                    </a:lnTo>
                    <a:lnTo>
                      <a:pt x="940" y="2378"/>
                    </a:lnTo>
                    <a:lnTo>
                      <a:pt x="950" y="2372"/>
                    </a:lnTo>
                    <a:lnTo>
                      <a:pt x="950" y="2372"/>
                    </a:lnTo>
                    <a:lnTo>
                      <a:pt x="956" y="2370"/>
                    </a:lnTo>
                    <a:lnTo>
                      <a:pt x="958" y="2372"/>
                    </a:lnTo>
                    <a:lnTo>
                      <a:pt x="960" y="2374"/>
                    </a:lnTo>
                    <a:lnTo>
                      <a:pt x="966" y="2374"/>
                    </a:lnTo>
                    <a:lnTo>
                      <a:pt x="966" y="2374"/>
                    </a:lnTo>
                    <a:lnTo>
                      <a:pt x="972" y="2372"/>
                    </a:lnTo>
                    <a:lnTo>
                      <a:pt x="974" y="2374"/>
                    </a:lnTo>
                    <a:lnTo>
                      <a:pt x="974" y="2378"/>
                    </a:lnTo>
                    <a:lnTo>
                      <a:pt x="974" y="2378"/>
                    </a:lnTo>
                    <a:lnTo>
                      <a:pt x="974" y="2380"/>
                    </a:lnTo>
                    <a:lnTo>
                      <a:pt x="972" y="2382"/>
                    </a:lnTo>
                    <a:lnTo>
                      <a:pt x="970" y="2382"/>
                    </a:lnTo>
                    <a:lnTo>
                      <a:pt x="968" y="2384"/>
                    </a:lnTo>
                    <a:lnTo>
                      <a:pt x="968" y="2384"/>
                    </a:lnTo>
                    <a:lnTo>
                      <a:pt x="968" y="2386"/>
                    </a:lnTo>
                    <a:lnTo>
                      <a:pt x="968" y="2386"/>
                    </a:lnTo>
                    <a:lnTo>
                      <a:pt x="970" y="2398"/>
                    </a:lnTo>
                    <a:lnTo>
                      <a:pt x="976" y="2414"/>
                    </a:lnTo>
                    <a:lnTo>
                      <a:pt x="982" y="2426"/>
                    </a:lnTo>
                    <a:lnTo>
                      <a:pt x="986" y="2428"/>
                    </a:lnTo>
                    <a:lnTo>
                      <a:pt x="988" y="2424"/>
                    </a:lnTo>
                    <a:lnTo>
                      <a:pt x="988" y="2424"/>
                    </a:lnTo>
                    <a:lnTo>
                      <a:pt x="994" y="2402"/>
                    </a:lnTo>
                    <a:lnTo>
                      <a:pt x="996" y="2398"/>
                    </a:lnTo>
                    <a:lnTo>
                      <a:pt x="1000" y="2394"/>
                    </a:lnTo>
                    <a:lnTo>
                      <a:pt x="1004" y="2394"/>
                    </a:lnTo>
                    <a:lnTo>
                      <a:pt x="1008" y="2398"/>
                    </a:lnTo>
                    <a:lnTo>
                      <a:pt x="1008" y="2398"/>
                    </a:lnTo>
                    <a:lnTo>
                      <a:pt x="1016" y="2404"/>
                    </a:lnTo>
                    <a:lnTo>
                      <a:pt x="1020" y="2410"/>
                    </a:lnTo>
                    <a:lnTo>
                      <a:pt x="1022" y="2414"/>
                    </a:lnTo>
                    <a:lnTo>
                      <a:pt x="1022" y="2420"/>
                    </a:lnTo>
                    <a:lnTo>
                      <a:pt x="1024" y="2428"/>
                    </a:lnTo>
                    <a:lnTo>
                      <a:pt x="1026" y="2434"/>
                    </a:lnTo>
                    <a:lnTo>
                      <a:pt x="1030" y="2440"/>
                    </a:lnTo>
                    <a:lnTo>
                      <a:pt x="1030" y="2440"/>
                    </a:lnTo>
                    <a:lnTo>
                      <a:pt x="1034" y="2446"/>
                    </a:lnTo>
                    <a:lnTo>
                      <a:pt x="1036" y="2450"/>
                    </a:lnTo>
                    <a:lnTo>
                      <a:pt x="1036" y="2452"/>
                    </a:lnTo>
                    <a:lnTo>
                      <a:pt x="1034" y="2454"/>
                    </a:lnTo>
                    <a:lnTo>
                      <a:pt x="1034" y="2456"/>
                    </a:lnTo>
                    <a:lnTo>
                      <a:pt x="1034" y="2460"/>
                    </a:lnTo>
                    <a:lnTo>
                      <a:pt x="1038" y="2464"/>
                    </a:lnTo>
                    <a:lnTo>
                      <a:pt x="1046" y="2472"/>
                    </a:lnTo>
                    <a:lnTo>
                      <a:pt x="1046" y="2472"/>
                    </a:lnTo>
                    <a:lnTo>
                      <a:pt x="1056" y="2480"/>
                    </a:lnTo>
                    <a:lnTo>
                      <a:pt x="1062" y="2486"/>
                    </a:lnTo>
                    <a:lnTo>
                      <a:pt x="1066" y="2494"/>
                    </a:lnTo>
                    <a:lnTo>
                      <a:pt x="1066" y="2496"/>
                    </a:lnTo>
                    <a:lnTo>
                      <a:pt x="1068" y="2496"/>
                    </a:lnTo>
                    <a:lnTo>
                      <a:pt x="1076" y="2496"/>
                    </a:lnTo>
                    <a:lnTo>
                      <a:pt x="1076" y="2496"/>
                    </a:lnTo>
                    <a:lnTo>
                      <a:pt x="1084" y="2496"/>
                    </a:lnTo>
                    <a:lnTo>
                      <a:pt x="1090" y="2498"/>
                    </a:lnTo>
                    <a:lnTo>
                      <a:pt x="1102" y="2504"/>
                    </a:lnTo>
                    <a:lnTo>
                      <a:pt x="1114" y="2516"/>
                    </a:lnTo>
                    <a:lnTo>
                      <a:pt x="1128" y="2528"/>
                    </a:lnTo>
                    <a:lnTo>
                      <a:pt x="1128" y="2528"/>
                    </a:lnTo>
                    <a:lnTo>
                      <a:pt x="1114" y="2524"/>
                    </a:lnTo>
                    <a:lnTo>
                      <a:pt x="1110" y="2524"/>
                    </a:lnTo>
                    <a:lnTo>
                      <a:pt x="1110" y="2526"/>
                    </a:lnTo>
                    <a:lnTo>
                      <a:pt x="1116" y="2530"/>
                    </a:lnTo>
                    <a:lnTo>
                      <a:pt x="1134" y="2536"/>
                    </a:lnTo>
                    <a:lnTo>
                      <a:pt x="1134" y="2536"/>
                    </a:lnTo>
                    <a:lnTo>
                      <a:pt x="1144" y="2540"/>
                    </a:lnTo>
                    <a:lnTo>
                      <a:pt x="1152" y="2544"/>
                    </a:lnTo>
                    <a:lnTo>
                      <a:pt x="1160" y="2552"/>
                    </a:lnTo>
                    <a:lnTo>
                      <a:pt x="1162" y="2558"/>
                    </a:lnTo>
                    <a:lnTo>
                      <a:pt x="1164" y="2560"/>
                    </a:lnTo>
                    <a:lnTo>
                      <a:pt x="1166" y="2560"/>
                    </a:lnTo>
                    <a:lnTo>
                      <a:pt x="1166" y="2560"/>
                    </a:lnTo>
                    <a:lnTo>
                      <a:pt x="1174" y="2560"/>
                    </a:lnTo>
                    <a:lnTo>
                      <a:pt x="1176" y="2562"/>
                    </a:lnTo>
                    <a:lnTo>
                      <a:pt x="1176" y="2562"/>
                    </a:lnTo>
                    <a:lnTo>
                      <a:pt x="1184" y="2566"/>
                    </a:lnTo>
                    <a:lnTo>
                      <a:pt x="1188" y="2568"/>
                    </a:lnTo>
                    <a:lnTo>
                      <a:pt x="1190" y="2574"/>
                    </a:lnTo>
                    <a:lnTo>
                      <a:pt x="1190" y="2574"/>
                    </a:lnTo>
                    <a:lnTo>
                      <a:pt x="1190" y="2582"/>
                    </a:lnTo>
                    <a:lnTo>
                      <a:pt x="1192" y="2584"/>
                    </a:lnTo>
                    <a:lnTo>
                      <a:pt x="1196" y="2586"/>
                    </a:lnTo>
                    <a:lnTo>
                      <a:pt x="1204" y="2588"/>
                    </a:lnTo>
                    <a:lnTo>
                      <a:pt x="1204" y="2588"/>
                    </a:lnTo>
                    <a:lnTo>
                      <a:pt x="1208" y="2590"/>
                    </a:lnTo>
                    <a:lnTo>
                      <a:pt x="1208" y="2596"/>
                    </a:lnTo>
                    <a:lnTo>
                      <a:pt x="1208" y="2610"/>
                    </a:lnTo>
                    <a:lnTo>
                      <a:pt x="1206" y="2626"/>
                    </a:lnTo>
                    <a:lnTo>
                      <a:pt x="1206" y="2632"/>
                    </a:lnTo>
                    <a:lnTo>
                      <a:pt x="1206" y="2636"/>
                    </a:lnTo>
                    <a:lnTo>
                      <a:pt x="1206" y="2636"/>
                    </a:lnTo>
                    <a:lnTo>
                      <a:pt x="1206" y="2638"/>
                    </a:lnTo>
                    <a:lnTo>
                      <a:pt x="1206" y="2640"/>
                    </a:lnTo>
                    <a:lnTo>
                      <a:pt x="1204" y="2646"/>
                    </a:lnTo>
                    <a:lnTo>
                      <a:pt x="1200" y="2652"/>
                    </a:lnTo>
                    <a:lnTo>
                      <a:pt x="1200" y="2656"/>
                    </a:lnTo>
                    <a:lnTo>
                      <a:pt x="1202" y="2662"/>
                    </a:lnTo>
                    <a:lnTo>
                      <a:pt x="1202" y="2662"/>
                    </a:lnTo>
                    <a:lnTo>
                      <a:pt x="1202" y="2666"/>
                    </a:lnTo>
                    <a:lnTo>
                      <a:pt x="1202" y="2670"/>
                    </a:lnTo>
                    <a:lnTo>
                      <a:pt x="1202" y="2672"/>
                    </a:lnTo>
                    <a:lnTo>
                      <a:pt x="1200" y="2674"/>
                    </a:lnTo>
                    <a:lnTo>
                      <a:pt x="1202" y="2674"/>
                    </a:lnTo>
                    <a:lnTo>
                      <a:pt x="1208" y="2680"/>
                    </a:lnTo>
                    <a:lnTo>
                      <a:pt x="1208" y="2680"/>
                    </a:lnTo>
                    <a:lnTo>
                      <a:pt x="1216" y="2686"/>
                    </a:lnTo>
                    <a:lnTo>
                      <a:pt x="1222" y="2690"/>
                    </a:lnTo>
                    <a:lnTo>
                      <a:pt x="1224" y="2696"/>
                    </a:lnTo>
                    <a:lnTo>
                      <a:pt x="1224" y="2700"/>
                    </a:lnTo>
                    <a:lnTo>
                      <a:pt x="1226" y="2706"/>
                    </a:lnTo>
                    <a:lnTo>
                      <a:pt x="1228" y="2708"/>
                    </a:lnTo>
                    <a:lnTo>
                      <a:pt x="1230" y="2710"/>
                    </a:lnTo>
                    <a:lnTo>
                      <a:pt x="1230" y="2710"/>
                    </a:lnTo>
                    <a:lnTo>
                      <a:pt x="1240" y="2726"/>
                    </a:lnTo>
                    <a:lnTo>
                      <a:pt x="1246" y="2736"/>
                    </a:lnTo>
                    <a:lnTo>
                      <a:pt x="1250" y="2740"/>
                    </a:lnTo>
                    <a:lnTo>
                      <a:pt x="1254" y="2744"/>
                    </a:lnTo>
                    <a:lnTo>
                      <a:pt x="1254" y="2744"/>
                    </a:lnTo>
                    <a:lnTo>
                      <a:pt x="1258" y="2748"/>
                    </a:lnTo>
                    <a:lnTo>
                      <a:pt x="1260" y="2748"/>
                    </a:lnTo>
                    <a:lnTo>
                      <a:pt x="1260" y="2746"/>
                    </a:lnTo>
                    <a:lnTo>
                      <a:pt x="1262" y="2746"/>
                    </a:lnTo>
                    <a:lnTo>
                      <a:pt x="1266" y="2746"/>
                    </a:lnTo>
                    <a:lnTo>
                      <a:pt x="1272" y="2750"/>
                    </a:lnTo>
                    <a:lnTo>
                      <a:pt x="1272" y="2750"/>
                    </a:lnTo>
                    <a:lnTo>
                      <a:pt x="1274" y="2752"/>
                    </a:lnTo>
                    <a:lnTo>
                      <a:pt x="1274" y="2752"/>
                    </a:lnTo>
                    <a:lnTo>
                      <a:pt x="1266" y="2754"/>
                    </a:lnTo>
                    <a:lnTo>
                      <a:pt x="1258" y="2754"/>
                    </a:lnTo>
                    <a:lnTo>
                      <a:pt x="1258" y="2758"/>
                    </a:lnTo>
                    <a:lnTo>
                      <a:pt x="1260" y="2762"/>
                    </a:lnTo>
                    <a:lnTo>
                      <a:pt x="1260" y="2762"/>
                    </a:lnTo>
                    <a:lnTo>
                      <a:pt x="1268" y="2772"/>
                    </a:lnTo>
                    <a:lnTo>
                      <a:pt x="1272" y="2780"/>
                    </a:lnTo>
                    <a:lnTo>
                      <a:pt x="1274" y="2786"/>
                    </a:lnTo>
                    <a:lnTo>
                      <a:pt x="1276" y="2786"/>
                    </a:lnTo>
                    <a:lnTo>
                      <a:pt x="1280" y="2784"/>
                    </a:lnTo>
                    <a:lnTo>
                      <a:pt x="1280" y="2784"/>
                    </a:lnTo>
                    <a:lnTo>
                      <a:pt x="1284" y="2780"/>
                    </a:lnTo>
                    <a:lnTo>
                      <a:pt x="1286" y="2782"/>
                    </a:lnTo>
                    <a:lnTo>
                      <a:pt x="1290" y="2782"/>
                    </a:lnTo>
                    <a:lnTo>
                      <a:pt x="1300" y="2782"/>
                    </a:lnTo>
                    <a:lnTo>
                      <a:pt x="1300" y="2782"/>
                    </a:lnTo>
                    <a:lnTo>
                      <a:pt x="1312" y="2780"/>
                    </a:lnTo>
                    <a:lnTo>
                      <a:pt x="1316" y="2782"/>
                    </a:lnTo>
                    <a:lnTo>
                      <a:pt x="1318" y="2784"/>
                    </a:lnTo>
                    <a:lnTo>
                      <a:pt x="1324" y="2784"/>
                    </a:lnTo>
                    <a:lnTo>
                      <a:pt x="1324" y="2784"/>
                    </a:lnTo>
                    <a:lnTo>
                      <a:pt x="1330" y="2782"/>
                    </a:lnTo>
                    <a:lnTo>
                      <a:pt x="1336" y="2786"/>
                    </a:lnTo>
                    <a:lnTo>
                      <a:pt x="1342" y="2790"/>
                    </a:lnTo>
                    <a:lnTo>
                      <a:pt x="1348" y="2790"/>
                    </a:lnTo>
                    <a:lnTo>
                      <a:pt x="1348" y="2790"/>
                    </a:lnTo>
                    <a:lnTo>
                      <a:pt x="1354" y="2790"/>
                    </a:lnTo>
                    <a:lnTo>
                      <a:pt x="1358" y="2792"/>
                    </a:lnTo>
                    <a:lnTo>
                      <a:pt x="1358" y="2794"/>
                    </a:lnTo>
                    <a:lnTo>
                      <a:pt x="1358" y="2796"/>
                    </a:lnTo>
                    <a:lnTo>
                      <a:pt x="1350" y="2800"/>
                    </a:lnTo>
                    <a:lnTo>
                      <a:pt x="1350" y="2800"/>
                    </a:lnTo>
                    <a:lnTo>
                      <a:pt x="1342" y="2802"/>
                    </a:lnTo>
                    <a:lnTo>
                      <a:pt x="1336" y="2800"/>
                    </a:lnTo>
                    <a:lnTo>
                      <a:pt x="1322" y="2792"/>
                    </a:lnTo>
                    <a:lnTo>
                      <a:pt x="1322" y="2792"/>
                    </a:lnTo>
                    <a:lnTo>
                      <a:pt x="1312" y="2788"/>
                    </a:lnTo>
                    <a:lnTo>
                      <a:pt x="1306" y="2786"/>
                    </a:lnTo>
                    <a:lnTo>
                      <a:pt x="1302" y="2786"/>
                    </a:lnTo>
                    <a:lnTo>
                      <a:pt x="1298" y="2792"/>
                    </a:lnTo>
                    <a:lnTo>
                      <a:pt x="1298" y="2792"/>
                    </a:lnTo>
                    <a:lnTo>
                      <a:pt x="1296" y="2794"/>
                    </a:lnTo>
                    <a:lnTo>
                      <a:pt x="1292" y="2794"/>
                    </a:lnTo>
                    <a:lnTo>
                      <a:pt x="1288" y="2792"/>
                    </a:lnTo>
                    <a:lnTo>
                      <a:pt x="1282" y="2792"/>
                    </a:lnTo>
                    <a:lnTo>
                      <a:pt x="1282" y="2794"/>
                    </a:lnTo>
                    <a:lnTo>
                      <a:pt x="1280" y="2798"/>
                    </a:lnTo>
                    <a:lnTo>
                      <a:pt x="1280" y="2798"/>
                    </a:lnTo>
                    <a:lnTo>
                      <a:pt x="1280" y="2802"/>
                    </a:lnTo>
                    <a:lnTo>
                      <a:pt x="1278" y="2804"/>
                    </a:lnTo>
                    <a:lnTo>
                      <a:pt x="1274" y="2808"/>
                    </a:lnTo>
                    <a:lnTo>
                      <a:pt x="1272" y="2808"/>
                    </a:lnTo>
                    <a:lnTo>
                      <a:pt x="1276" y="2812"/>
                    </a:lnTo>
                    <a:lnTo>
                      <a:pt x="1276" y="2812"/>
                    </a:lnTo>
                    <a:lnTo>
                      <a:pt x="1280" y="2816"/>
                    </a:lnTo>
                    <a:lnTo>
                      <a:pt x="1280" y="2820"/>
                    </a:lnTo>
                    <a:lnTo>
                      <a:pt x="1280" y="2824"/>
                    </a:lnTo>
                    <a:lnTo>
                      <a:pt x="1286" y="2824"/>
                    </a:lnTo>
                    <a:lnTo>
                      <a:pt x="1286" y="2824"/>
                    </a:lnTo>
                    <a:lnTo>
                      <a:pt x="1288" y="2824"/>
                    </a:lnTo>
                    <a:lnTo>
                      <a:pt x="1292" y="2826"/>
                    </a:lnTo>
                    <a:lnTo>
                      <a:pt x="1294" y="2832"/>
                    </a:lnTo>
                    <a:lnTo>
                      <a:pt x="1294" y="2838"/>
                    </a:lnTo>
                    <a:lnTo>
                      <a:pt x="1292" y="2844"/>
                    </a:lnTo>
                    <a:lnTo>
                      <a:pt x="1292" y="2844"/>
                    </a:lnTo>
                    <a:lnTo>
                      <a:pt x="1292" y="2848"/>
                    </a:lnTo>
                    <a:lnTo>
                      <a:pt x="1292" y="2854"/>
                    </a:lnTo>
                    <a:lnTo>
                      <a:pt x="1298" y="2864"/>
                    </a:lnTo>
                    <a:lnTo>
                      <a:pt x="1300" y="2866"/>
                    </a:lnTo>
                    <a:lnTo>
                      <a:pt x="1304" y="2868"/>
                    </a:lnTo>
                    <a:lnTo>
                      <a:pt x="1306" y="2866"/>
                    </a:lnTo>
                    <a:lnTo>
                      <a:pt x="1308" y="2862"/>
                    </a:lnTo>
                    <a:lnTo>
                      <a:pt x="1308" y="2862"/>
                    </a:lnTo>
                    <a:lnTo>
                      <a:pt x="1308" y="2856"/>
                    </a:lnTo>
                    <a:lnTo>
                      <a:pt x="1310" y="2854"/>
                    </a:lnTo>
                    <a:lnTo>
                      <a:pt x="1314" y="2854"/>
                    </a:lnTo>
                    <a:lnTo>
                      <a:pt x="1316" y="2856"/>
                    </a:lnTo>
                    <a:lnTo>
                      <a:pt x="1320" y="2866"/>
                    </a:lnTo>
                    <a:lnTo>
                      <a:pt x="1322" y="2880"/>
                    </a:lnTo>
                    <a:lnTo>
                      <a:pt x="1322" y="2880"/>
                    </a:lnTo>
                    <a:lnTo>
                      <a:pt x="1324" y="2888"/>
                    </a:lnTo>
                    <a:lnTo>
                      <a:pt x="1326" y="2888"/>
                    </a:lnTo>
                    <a:lnTo>
                      <a:pt x="1328" y="2888"/>
                    </a:lnTo>
                    <a:lnTo>
                      <a:pt x="1330" y="2882"/>
                    </a:lnTo>
                    <a:lnTo>
                      <a:pt x="1332" y="2874"/>
                    </a:lnTo>
                    <a:lnTo>
                      <a:pt x="1332" y="2874"/>
                    </a:lnTo>
                    <a:lnTo>
                      <a:pt x="1334" y="2866"/>
                    </a:lnTo>
                    <a:lnTo>
                      <a:pt x="1336" y="2866"/>
                    </a:lnTo>
                    <a:lnTo>
                      <a:pt x="1338" y="2868"/>
                    </a:lnTo>
                    <a:lnTo>
                      <a:pt x="1342" y="2872"/>
                    </a:lnTo>
                    <a:lnTo>
                      <a:pt x="1348" y="2882"/>
                    </a:lnTo>
                    <a:lnTo>
                      <a:pt x="1350" y="2886"/>
                    </a:lnTo>
                    <a:lnTo>
                      <a:pt x="1354" y="2888"/>
                    </a:lnTo>
                    <a:lnTo>
                      <a:pt x="1354" y="2888"/>
                    </a:lnTo>
                    <a:lnTo>
                      <a:pt x="1356" y="2886"/>
                    </a:lnTo>
                    <a:lnTo>
                      <a:pt x="1356" y="2884"/>
                    </a:lnTo>
                    <a:lnTo>
                      <a:pt x="1356" y="2876"/>
                    </a:lnTo>
                    <a:lnTo>
                      <a:pt x="1348" y="2854"/>
                    </a:lnTo>
                    <a:lnTo>
                      <a:pt x="1340" y="2834"/>
                    </a:lnTo>
                    <a:lnTo>
                      <a:pt x="1338" y="2828"/>
                    </a:lnTo>
                    <a:lnTo>
                      <a:pt x="1338" y="2826"/>
                    </a:lnTo>
                    <a:lnTo>
                      <a:pt x="1340" y="2824"/>
                    </a:lnTo>
                    <a:lnTo>
                      <a:pt x="1340" y="2824"/>
                    </a:lnTo>
                    <a:lnTo>
                      <a:pt x="1346" y="2826"/>
                    </a:lnTo>
                    <a:lnTo>
                      <a:pt x="1350" y="2828"/>
                    </a:lnTo>
                    <a:lnTo>
                      <a:pt x="1352" y="2832"/>
                    </a:lnTo>
                    <a:lnTo>
                      <a:pt x="1354" y="2838"/>
                    </a:lnTo>
                    <a:lnTo>
                      <a:pt x="1354" y="2838"/>
                    </a:lnTo>
                    <a:lnTo>
                      <a:pt x="1356" y="2840"/>
                    </a:lnTo>
                    <a:lnTo>
                      <a:pt x="1358" y="2840"/>
                    </a:lnTo>
                    <a:lnTo>
                      <a:pt x="1368" y="2836"/>
                    </a:lnTo>
                    <a:lnTo>
                      <a:pt x="1368" y="2836"/>
                    </a:lnTo>
                    <a:lnTo>
                      <a:pt x="1370" y="2834"/>
                    </a:lnTo>
                    <a:lnTo>
                      <a:pt x="1372" y="2832"/>
                    </a:lnTo>
                    <a:lnTo>
                      <a:pt x="1370" y="2828"/>
                    </a:lnTo>
                    <a:lnTo>
                      <a:pt x="1366" y="2824"/>
                    </a:lnTo>
                    <a:lnTo>
                      <a:pt x="1360" y="2822"/>
                    </a:lnTo>
                    <a:lnTo>
                      <a:pt x="1360" y="2822"/>
                    </a:lnTo>
                    <a:lnTo>
                      <a:pt x="1356" y="2822"/>
                    </a:lnTo>
                    <a:lnTo>
                      <a:pt x="1356" y="2820"/>
                    </a:lnTo>
                    <a:lnTo>
                      <a:pt x="1356" y="2816"/>
                    </a:lnTo>
                    <a:lnTo>
                      <a:pt x="1354" y="2812"/>
                    </a:lnTo>
                    <a:lnTo>
                      <a:pt x="1354" y="2812"/>
                    </a:lnTo>
                    <a:lnTo>
                      <a:pt x="1352" y="2810"/>
                    </a:lnTo>
                    <a:lnTo>
                      <a:pt x="1354" y="2808"/>
                    </a:lnTo>
                    <a:lnTo>
                      <a:pt x="1360" y="2802"/>
                    </a:lnTo>
                    <a:lnTo>
                      <a:pt x="1368" y="2800"/>
                    </a:lnTo>
                    <a:lnTo>
                      <a:pt x="1370" y="2800"/>
                    </a:lnTo>
                    <a:lnTo>
                      <a:pt x="1374" y="2802"/>
                    </a:lnTo>
                    <a:lnTo>
                      <a:pt x="1374" y="2802"/>
                    </a:lnTo>
                    <a:lnTo>
                      <a:pt x="1382" y="2816"/>
                    </a:lnTo>
                    <a:lnTo>
                      <a:pt x="1388" y="2820"/>
                    </a:lnTo>
                    <a:lnTo>
                      <a:pt x="1390" y="2820"/>
                    </a:lnTo>
                    <a:lnTo>
                      <a:pt x="1392" y="2820"/>
                    </a:lnTo>
                    <a:lnTo>
                      <a:pt x="1392" y="2820"/>
                    </a:lnTo>
                    <a:lnTo>
                      <a:pt x="1394" y="2818"/>
                    </a:lnTo>
                    <a:lnTo>
                      <a:pt x="1394" y="2816"/>
                    </a:lnTo>
                    <a:lnTo>
                      <a:pt x="1394" y="2810"/>
                    </a:lnTo>
                    <a:lnTo>
                      <a:pt x="1392" y="2804"/>
                    </a:lnTo>
                    <a:lnTo>
                      <a:pt x="1392" y="2796"/>
                    </a:lnTo>
                    <a:lnTo>
                      <a:pt x="1392" y="2796"/>
                    </a:lnTo>
                    <a:lnTo>
                      <a:pt x="1392" y="2794"/>
                    </a:lnTo>
                    <a:lnTo>
                      <a:pt x="1390" y="2790"/>
                    </a:lnTo>
                    <a:lnTo>
                      <a:pt x="1386" y="2788"/>
                    </a:lnTo>
                    <a:lnTo>
                      <a:pt x="1378" y="2784"/>
                    </a:lnTo>
                    <a:lnTo>
                      <a:pt x="1376" y="2782"/>
                    </a:lnTo>
                    <a:lnTo>
                      <a:pt x="1374" y="2780"/>
                    </a:lnTo>
                    <a:lnTo>
                      <a:pt x="1374" y="2780"/>
                    </a:lnTo>
                    <a:lnTo>
                      <a:pt x="1370" y="2774"/>
                    </a:lnTo>
                    <a:lnTo>
                      <a:pt x="1366" y="2774"/>
                    </a:lnTo>
                    <a:lnTo>
                      <a:pt x="1364" y="2772"/>
                    </a:lnTo>
                    <a:lnTo>
                      <a:pt x="1360" y="2768"/>
                    </a:lnTo>
                    <a:lnTo>
                      <a:pt x="1360" y="2768"/>
                    </a:lnTo>
                    <a:lnTo>
                      <a:pt x="1358" y="2764"/>
                    </a:lnTo>
                    <a:lnTo>
                      <a:pt x="1352" y="2762"/>
                    </a:lnTo>
                    <a:lnTo>
                      <a:pt x="1340" y="2758"/>
                    </a:lnTo>
                    <a:lnTo>
                      <a:pt x="1332" y="2754"/>
                    </a:lnTo>
                    <a:lnTo>
                      <a:pt x="1332" y="2752"/>
                    </a:lnTo>
                    <a:lnTo>
                      <a:pt x="1338" y="2752"/>
                    </a:lnTo>
                    <a:lnTo>
                      <a:pt x="1338" y="2752"/>
                    </a:lnTo>
                    <a:lnTo>
                      <a:pt x="1346" y="2750"/>
                    </a:lnTo>
                    <a:lnTo>
                      <a:pt x="1348" y="2746"/>
                    </a:lnTo>
                    <a:lnTo>
                      <a:pt x="1348" y="2744"/>
                    </a:lnTo>
                    <a:lnTo>
                      <a:pt x="1346" y="2740"/>
                    </a:lnTo>
                    <a:lnTo>
                      <a:pt x="1344" y="2732"/>
                    </a:lnTo>
                    <a:lnTo>
                      <a:pt x="1344" y="2730"/>
                    </a:lnTo>
                    <a:lnTo>
                      <a:pt x="1348" y="2730"/>
                    </a:lnTo>
                    <a:lnTo>
                      <a:pt x="1348" y="2730"/>
                    </a:lnTo>
                    <a:lnTo>
                      <a:pt x="1352" y="2730"/>
                    </a:lnTo>
                    <a:lnTo>
                      <a:pt x="1354" y="2732"/>
                    </a:lnTo>
                    <a:lnTo>
                      <a:pt x="1354" y="2738"/>
                    </a:lnTo>
                    <a:lnTo>
                      <a:pt x="1354" y="2742"/>
                    </a:lnTo>
                    <a:lnTo>
                      <a:pt x="1356" y="2742"/>
                    </a:lnTo>
                    <a:lnTo>
                      <a:pt x="1358" y="2742"/>
                    </a:lnTo>
                    <a:lnTo>
                      <a:pt x="1358" y="2742"/>
                    </a:lnTo>
                    <a:lnTo>
                      <a:pt x="1360" y="2738"/>
                    </a:lnTo>
                    <a:lnTo>
                      <a:pt x="1360" y="2736"/>
                    </a:lnTo>
                    <a:lnTo>
                      <a:pt x="1360" y="2728"/>
                    </a:lnTo>
                    <a:lnTo>
                      <a:pt x="1354" y="2720"/>
                    </a:lnTo>
                    <a:lnTo>
                      <a:pt x="1348" y="2710"/>
                    </a:lnTo>
                    <a:lnTo>
                      <a:pt x="1340" y="2702"/>
                    </a:lnTo>
                    <a:lnTo>
                      <a:pt x="1334" y="2692"/>
                    </a:lnTo>
                    <a:lnTo>
                      <a:pt x="1330" y="2682"/>
                    </a:lnTo>
                    <a:lnTo>
                      <a:pt x="1330" y="2678"/>
                    </a:lnTo>
                    <a:lnTo>
                      <a:pt x="1332" y="2674"/>
                    </a:lnTo>
                    <a:lnTo>
                      <a:pt x="1332" y="2674"/>
                    </a:lnTo>
                    <a:lnTo>
                      <a:pt x="1336" y="2666"/>
                    </a:lnTo>
                    <a:lnTo>
                      <a:pt x="1340" y="2660"/>
                    </a:lnTo>
                    <a:lnTo>
                      <a:pt x="1344" y="2660"/>
                    </a:lnTo>
                    <a:lnTo>
                      <a:pt x="1346" y="2660"/>
                    </a:lnTo>
                    <a:lnTo>
                      <a:pt x="1346" y="2662"/>
                    </a:lnTo>
                    <a:lnTo>
                      <a:pt x="1346" y="2668"/>
                    </a:lnTo>
                    <a:lnTo>
                      <a:pt x="1346" y="2668"/>
                    </a:lnTo>
                    <a:lnTo>
                      <a:pt x="1346" y="2670"/>
                    </a:lnTo>
                    <a:lnTo>
                      <a:pt x="1346" y="2672"/>
                    </a:lnTo>
                    <a:lnTo>
                      <a:pt x="1352" y="2674"/>
                    </a:lnTo>
                    <a:lnTo>
                      <a:pt x="1358" y="2676"/>
                    </a:lnTo>
                    <a:lnTo>
                      <a:pt x="1360" y="2680"/>
                    </a:lnTo>
                    <a:lnTo>
                      <a:pt x="1362" y="2686"/>
                    </a:lnTo>
                    <a:lnTo>
                      <a:pt x="1362" y="2686"/>
                    </a:lnTo>
                    <a:lnTo>
                      <a:pt x="1362" y="2690"/>
                    </a:lnTo>
                    <a:lnTo>
                      <a:pt x="1366" y="2694"/>
                    </a:lnTo>
                    <a:lnTo>
                      <a:pt x="1372" y="2696"/>
                    </a:lnTo>
                    <a:lnTo>
                      <a:pt x="1374" y="2696"/>
                    </a:lnTo>
                    <a:lnTo>
                      <a:pt x="1376" y="2696"/>
                    </a:lnTo>
                    <a:lnTo>
                      <a:pt x="1376" y="2694"/>
                    </a:lnTo>
                    <a:lnTo>
                      <a:pt x="1374" y="2690"/>
                    </a:lnTo>
                    <a:lnTo>
                      <a:pt x="1374" y="2690"/>
                    </a:lnTo>
                    <a:lnTo>
                      <a:pt x="1368" y="2684"/>
                    </a:lnTo>
                    <a:lnTo>
                      <a:pt x="1368" y="2678"/>
                    </a:lnTo>
                    <a:lnTo>
                      <a:pt x="1368" y="2678"/>
                    </a:lnTo>
                    <a:lnTo>
                      <a:pt x="1370" y="2678"/>
                    </a:lnTo>
                    <a:lnTo>
                      <a:pt x="1378" y="2684"/>
                    </a:lnTo>
                    <a:lnTo>
                      <a:pt x="1378" y="2684"/>
                    </a:lnTo>
                    <a:lnTo>
                      <a:pt x="1386" y="2692"/>
                    </a:lnTo>
                    <a:lnTo>
                      <a:pt x="1390" y="2694"/>
                    </a:lnTo>
                    <a:lnTo>
                      <a:pt x="1392" y="2694"/>
                    </a:lnTo>
                    <a:lnTo>
                      <a:pt x="1390" y="2692"/>
                    </a:lnTo>
                    <a:lnTo>
                      <a:pt x="1386" y="2684"/>
                    </a:lnTo>
                    <a:lnTo>
                      <a:pt x="1386" y="2684"/>
                    </a:lnTo>
                    <a:lnTo>
                      <a:pt x="1380" y="2676"/>
                    </a:lnTo>
                    <a:lnTo>
                      <a:pt x="1380" y="2674"/>
                    </a:lnTo>
                    <a:lnTo>
                      <a:pt x="1382" y="2674"/>
                    </a:lnTo>
                    <a:lnTo>
                      <a:pt x="1394" y="2680"/>
                    </a:lnTo>
                    <a:lnTo>
                      <a:pt x="1394" y="2680"/>
                    </a:lnTo>
                    <a:lnTo>
                      <a:pt x="1402" y="2684"/>
                    </a:lnTo>
                    <a:lnTo>
                      <a:pt x="1406" y="2684"/>
                    </a:lnTo>
                    <a:lnTo>
                      <a:pt x="1404" y="2682"/>
                    </a:lnTo>
                    <a:lnTo>
                      <a:pt x="1400" y="2676"/>
                    </a:lnTo>
                    <a:lnTo>
                      <a:pt x="1400" y="2676"/>
                    </a:lnTo>
                    <a:lnTo>
                      <a:pt x="1392" y="2670"/>
                    </a:lnTo>
                    <a:lnTo>
                      <a:pt x="1386" y="2668"/>
                    </a:lnTo>
                    <a:lnTo>
                      <a:pt x="1384" y="2668"/>
                    </a:lnTo>
                    <a:lnTo>
                      <a:pt x="1384" y="2664"/>
                    </a:lnTo>
                    <a:lnTo>
                      <a:pt x="1384" y="2664"/>
                    </a:lnTo>
                    <a:lnTo>
                      <a:pt x="1384" y="2662"/>
                    </a:lnTo>
                    <a:lnTo>
                      <a:pt x="1384" y="2660"/>
                    </a:lnTo>
                    <a:lnTo>
                      <a:pt x="1380" y="2656"/>
                    </a:lnTo>
                    <a:lnTo>
                      <a:pt x="1380" y="2656"/>
                    </a:lnTo>
                    <a:lnTo>
                      <a:pt x="1380" y="2654"/>
                    </a:lnTo>
                    <a:lnTo>
                      <a:pt x="1388" y="2652"/>
                    </a:lnTo>
                    <a:lnTo>
                      <a:pt x="1388" y="2652"/>
                    </a:lnTo>
                    <a:lnTo>
                      <a:pt x="1392" y="2652"/>
                    </a:lnTo>
                    <a:lnTo>
                      <a:pt x="1398" y="2650"/>
                    </a:lnTo>
                    <a:lnTo>
                      <a:pt x="1404" y="2644"/>
                    </a:lnTo>
                    <a:lnTo>
                      <a:pt x="1408" y="2642"/>
                    </a:lnTo>
                    <a:lnTo>
                      <a:pt x="1412" y="2640"/>
                    </a:lnTo>
                    <a:lnTo>
                      <a:pt x="1418" y="2642"/>
                    </a:lnTo>
                    <a:lnTo>
                      <a:pt x="1418" y="2642"/>
                    </a:lnTo>
                    <a:lnTo>
                      <a:pt x="1422" y="2644"/>
                    </a:lnTo>
                    <a:lnTo>
                      <a:pt x="1426" y="2644"/>
                    </a:lnTo>
                    <a:lnTo>
                      <a:pt x="1430" y="2640"/>
                    </a:lnTo>
                    <a:lnTo>
                      <a:pt x="1436" y="2638"/>
                    </a:lnTo>
                    <a:lnTo>
                      <a:pt x="1438" y="2638"/>
                    </a:lnTo>
                    <a:lnTo>
                      <a:pt x="1444" y="2640"/>
                    </a:lnTo>
                    <a:lnTo>
                      <a:pt x="1444" y="2640"/>
                    </a:lnTo>
                    <a:lnTo>
                      <a:pt x="1450" y="2644"/>
                    </a:lnTo>
                    <a:lnTo>
                      <a:pt x="1454" y="2644"/>
                    </a:lnTo>
                    <a:lnTo>
                      <a:pt x="1464" y="2644"/>
                    </a:lnTo>
                    <a:lnTo>
                      <a:pt x="1470" y="2644"/>
                    </a:lnTo>
                    <a:lnTo>
                      <a:pt x="1472" y="2646"/>
                    </a:lnTo>
                    <a:lnTo>
                      <a:pt x="1472" y="2650"/>
                    </a:lnTo>
                    <a:lnTo>
                      <a:pt x="1472" y="2650"/>
                    </a:lnTo>
                    <a:lnTo>
                      <a:pt x="1474" y="2656"/>
                    </a:lnTo>
                    <a:lnTo>
                      <a:pt x="1480" y="2660"/>
                    </a:lnTo>
                    <a:lnTo>
                      <a:pt x="1486" y="2660"/>
                    </a:lnTo>
                    <a:lnTo>
                      <a:pt x="1492" y="2658"/>
                    </a:lnTo>
                    <a:lnTo>
                      <a:pt x="1504" y="2656"/>
                    </a:lnTo>
                    <a:lnTo>
                      <a:pt x="1504" y="2658"/>
                    </a:lnTo>
                    <a:lnTo>
                      <a:pt x="1502" y="2660"/>
                    </a:lnTo>
                    <a:lnTo>
                      <a:pt x="1502" y="2660"/>
                    </a:lnTo>
                    <a:lnTo>
                      <a:pt x="1484" y="2668"/>
                    </a:lnTo>
                    <a:lnTo>
                      <a:pt x="1480" y="2672"/>
                    </a:lnTo>
                    <a:lnTo>
                      <a:pt x="1478" y="2680"/>
                    </a:lnTo>
                    <a:lnTo>
                      <a:pt x="1478" y="2680"/>
                    </a:lnTo>
                    <a:lnTo>
                      <a:pt x="1480" y="2684"/>
                    </a:lnTo>
                    <a:lnTo>
                      <a:pt x="1482" y="2682"/>
                    </a:lnTo>
                    <a:lnTo>
                      <a:pt x="1494" y="2670"/>
                    </a:lnTo>
                    <a:lnTo>
                      <a:pt x="1494" y="2670"/>
                    </a:lnTo>
                    <a:lnTo>
                      <a:pt x="1506" y="2662"/>
                    </a:lnTo>
                    <a:lnTo>
                      <a:pt x="1514" y="2658"/>
                    </a:lnTo>
                    <a:lnTo>
                      <a:pt x="1522" y="2654"/>
                    </a:lnTo>
                    <a:lnTo>
                      <a:pt x="1528" y="2646"/>
                    </a:lnTo>
                    <a:lnTo>
                      <a:pt x="1528" y="2646"/>
                    </a:lnTo>
                    <a:lnTo>
                      <a:pt x="1532" y="2638"/>
                    </a:lnTo>
                    <a:lnTo>
                      <a:pt x="1536" y="2636"/>
                    </a:lnTo>
                    <a:lnTo>
                      <a:pt x="1538" y="2634"/>
                    </a:lnTo>
                    <a:lnTo>
                      <a:pt x="1540" y="2636"/>
                    </a:lnTo>
                    <a:lnTo>
                      <a:pt x="1544" y="2640"/>
                    </a:lnTo>
                    <a:lnTo>
                      <a:pt x="1548" y="2640"/>
                    </a:lnTo>
                    <a:lnTo>
                      <a:pt x="1552" y="2638"/>
                    </a:lnTo>
                    <a:lnTo>
                      <a:pt x="1552" y="2638"/>
                    </a:lnTo>
                    <a:lnTo>
                      <a:pt x="1556" y="2634"/>
                    </a:lnTo>
                    <a:lnTo>
                      <a:pt x="1562" y="2634"/>
                    </a:lnTo>
                    <a:lnTo>
                      <a:pt x="1572" y="2638"/>
                    </a:lnTo>
                    <a:lnTo>
                      <a:pt x="1580" y="2638"/>
                    </a:lnTo>
                    <a:lnTo>
                      <a:pt x="1586" y="2638"/>
                    </a:lnTo>
                    <a:lnTo>
                      <a:pt x="1590" y="2634"/>
                    </a:lnTo>
                    <a:lnTo>
                      <a:pt x="1590" y="2634"/>
                    </a:lnTo>
                    <a:lnTo>
                      <a:pt x="1594" y="2626"/>
                    </a:lnTo>
                    <a:lnTo>
                      <a:pt x="1594" y="2624"/>
                    </a:lnTo>
                    <a:lnTo>
                      <a:pt x="1592" y="2624"/>
                    </a:lnTo>
                    <a:lnTo>
                      <a:pt x="1584" y="2622"/>
                    </a:lnTo>
                    <a:lnTo>
                      <a:pt x="1572" y="2616"/>
                    </a:lnTo>
                    <a:lnTo>
                      <a:pt x="1572" y="2616"/>
                    </a:lnTo>
                    <a:lnTo>
                      <a:pt x="1560" y="2608"/>
                    </a:lnTo>
                    <a:lnTo>
                      <a:pt x="1554" y="2600"/>
                    </a:lnTo>
                    <a:lnTo>
                      <a:pt x="1552" y="2592"/>
                    </a:lnTo>
                    <a:lnTo>
                      <a:pt x="1552" y="2582"/>
                    </a:lnTo>
                    <a:lnTo>
                      <a:pt x="1552" y="2582"/>
                    </a:lnTo>
                    <a:lnTo>
                      <a:pt x="1552" y="2578"/>
                    </a:lnTo>
                    <a:lnTo>
                      <a:pt x="1550" y="2576"/>
                    </a:lnTo>
                    <a:lnTo>
                      <a:pt x="1546" y="2572"/>
                    </a:lnTo>
                    <a:lnTo>
                      <a:pt x="1542" y="2570"/>
                    </a:lnTo>
                    <a:lnTo>
                      <a:pt x="1540" y="2568"/>
                    </a:lnTo>
                    <a:lnTo>
                      <a:pt x="1540" y="2564"/>
                    </a:lnTo>
                    <a:lnTo>
                      <a:pt x="1540" y="2564"/>
                    </a:lnTo>
                    <a:lnTo>
                      <a:pt x="1540" y="2560"/>
                    </a:lnTo>
                    <a:lnTo>
                      <a:pt x="1538" y="2558"/>
                    </a:lnTo>
                    <a:lnTo>
                      <a:pt x="1530" y="2556"/>
                    </a:lnTo>
                    <a:lnTo>
                      <a:pt x="1528" y="2556"/>
                    </a:lnTo>
                    <a:lnTo>
                      <a:pt x="1528" y="2554"/>
                    </a:lnTo>
                    <a:lnTo>
                      <a:pt x="1536" y="2546"/>
                    </a:lnTo>
                    <a:lnTo>
                      <a:pt x="1536" y="2546"/>
                    </a:lnTo>
                    <a:lnTo>
                      <a:pt x="1542" y="2542"/>
                    </a:lnTo>
                    <a:lnTo>
                      <a:pt x="1546" y="2538"/>
                    </a:lnTo>
                    <a:lnTo>
                      <a:pt x="1546" y="2534"/>
                    </a:lnTo>
                    <a:lnTo>
                      <a:pt x="1546" y="2530"/>
                    </a:lnTo>
                    <a:lnTo>
                      <a:pt x="1546" y="2522"/>
                    </a:lnTo>
                    <a:lnTo>
                      <a:pt x="1546" y="2516"/>
                    </a:lnTo>
                    <a:lnTo>
                      <a:pt x="1550" y="2510"/>
                    </a:lnTo>
                    <a:lnTo>
                      <a:pt x="1550" y="2510"/>
                    </a:lnTo>
                    <a:lnTo>
                      <a:pt x="1554" y="2504"/>
                    </a:lnTo>
                    <a:lnTo>
                      <a:pt x="1560" y="2502"/>
                    </a:lnTo>
                    <a:lnTo>
                      <a:pt x="1566" y="2504"/>
                    </a:lnTo>
                    <a:lnTo>
                      <a:pt x="1570" y="2504"/>
                    </a:lnTo>
                    <a:lnTo>
                      <a:pt x="1572" y="2502"/>
                    </a:lnTo>
                    <a:lnTo>
                      <a:pt x="1574" y="2496"/>
                    </a:lnTo>
                    <a:lnTo>
                      <a:pt x="1574" y="2484"/>
                    </a:lnTo>
                    <a:lnTo>
                      <a:pt x="1574" y="2484"/>
                    </a:lnTo>
                    <a:lnTo>
                      <a:pt x="1578" y="2458"/>
                    </a:lnTo>
                    <a:lnTo>
                      <a:pt x="1580" y="2448"/>
                    </a:lnTo>
                    <a:lnTo>
                      <a:pt x="1584" y="2440"/>
                    </a:lnTo>
                    <a:lnTo>
                      <a:pt x="1588" y="2434"/>
                    </a:lnTo>
                    <a:lnTo>
                      <a:pt x="1594" y="2428"/>
                    </a:lnTo>
                    <a:lnTo>
                      <a:pt x="1600" y="2426"/>
                    </a:lnTo>
                    <a:lnTo>
                      <a:pt x="1608" y="2422"/>
                    </a:lnTo>
                    <a:lnTo>
                      <a:pt x="1608" y="2422"/>
                    </a:lnTo>
                    <a:lnTo>
                      <a:pt x="1614" y="2418"/>
                    </a:lnTo>
                    <a:lnTo>
                      <a:pt x="1618" y="2414"/>
                    </a:lnTo>
                    <a:lnTo>
                      <a:pt x="1620" y="2406"/>
                    </a:lnTo>
                    <a:lnTo>
                      <a:pt x="1620" y="2398"/>
                    </a:lnTo>
                    <a:lnTo>
                      <a:pt x="1620" y="2398"/>
                    </a:lnTo>
                    <a:lnTo>
                      <a:pt x="1620" y="2390"/>
                    </a:lnTo>
                    <a:lnTo>
                      <a:pt x="1620" y="2386"/>
                    </a:lnTo>
                    <a:lnTo>
                      <a:pt x="1618" y="2384"/>
                    </a:lnTo>
                    <a:lnTo>
                      <a:pt x="1616" y="2378"/>
                    </a:lnTo>
                    <a:lnTo>
                      <a:pt x="1616" y="2378"/>
                    </a:lnTo>
                    <a:lnTo>
                      <a:pt x="1616" y="2372"/>
                    </a:lnTo>
                    <a:lnTo>
                      <a:pt x="1620" y="2372"/>
                    </a:lnTo>
                    <a:lnTo>
                      <a:pt x="1626" y="2372"/>
                    </a:lnTo>
                    <a:lnTo>
                      <a:pt x="1630" y="2370"/>
                    </a:lnTo>
                    <a:lnTo>
                      <a:pt x="1636" y="2366"/>
                    </a:lnTo>
                    <a:lnTo>
                      <a:pt x="1636" y="2366"/>
                    </a:lnTo>
                    <a:lnTo>
                      <a:pt x="1646" y="2358"/>
                    </a:lnTo>
                    <a:lnTo>
                      <a:pt x="1654" y="2348"/>
                    </a:lnTo>
                    <a:lnTo>
                      <a:pt x="1660" y="2340"/>
                    </a:lnTo>
                    <a:lnTo>
                      <a:pt x="1662" y="2330"/>
                    </a:lnTo>
                    <a:lnTo>
                      <a:pt x="1662" y="2330"/>
                    </a:lnTo>
                    <a:lnTo>
                      <a:pt x="1662" y="2326"/>
                    </a:lnTo>
                    <a:lnTo>
                      <a:pt x="1664" y="2324"/>
                    </a:lnTo>
                    <a:lnTo>
                      <a:pt x="1668" y="2322"/>
                    </a:lnTo>
                    <a:lnTo>
                      <a:pt x="1672" y="2320"/>
                    </a:lnTo>
                    <a:lnTo>
                      <a:pt x="1682" y="2320"/>
                    </a:lnTo>
                    <a:lnTo>
                      <a:pt x="1690" y="2318"/>
                    </a:lnTo>
                    <a:lnTo>
                      <a:pt x="1690" y="2318"/>
                    </a:lnTo>
                    <a:lnTo>
                      <a:pt x="1698" y="2318"/>
                    </a:lnTo>
                    <a:lnTo>
                      <a:pt x="1702" y="2318"/>
                    </a:lnTo>
                    <a:lnTo>
                      <a:pt x="1704" y="2318"/>
                    </a:lnTo>
                    <a:lnTo>
                      <a:pt x="1706" y="2312"/>
                    </a:lnTo>
                    <a:lnTo>
                      <a:pt x="1706" y="2312"/>
                    </a:lnTo>
                    <a:lnTo>
                      <a:pt x="1708" y="2296"/>
                    </a:lnTo>
                    <a:lnTo>
                      <a:pt x="1708" y="2294"/>
                    </a:lnTo>
                    <a:lnTo>
                      <a:pt x="1710" y="2298"/>
                    </a:lnTo>
                    <a:lnTo>
                      <a:pt x="1710" y="2298"/>
                    </a:lnTo>
                    <a:lnTo>
                      <a:pt x="1712" y="2308"/>
                    </a:lnTo>
                    <a:lnTo>
                      <a:pt x="1712" y="2316"/>
                    </a:lnTo>
                    <a:lnTo>
                      <a:pt x="1714" y="2320"/>
                    </a:lnTo>
                    <a:lnTo>
                      <a:pt x="1718" y="2322"/>
                    </a:lnTo>
                    <a:lnTo>
                      <a:pt x="1724" y="2322"/>
                    </a:lnTo>
                    <a:lnTo>
                      <a:pt x="1732" y="2322"/>
                    </a:lnTo>
                    <a:lnTo>
                      <a:pt x="1732" y="2322"/>
                    </a:lnTo>
                    <a:lnTo>
                      <a:pt x="1726" y="2324"/>
                    </a:lnTo>
                    <a:lnTo>
                      <a:pt x="1720" y="2326"/>
                    </a:lnTo>
                    <a:lnTo>
                      <a:pt x="1708" y="2324"/>
                    </a:lnTo>
                    <a:lnTo>
                      <a:pt x="1700" y="2322"/>
                    </a:lnTo>
                    <a:lnTo>
                      <a:pt x="1696" y="2322"/>
                    </a:lnTo>
                    <a:lnTo>
                      <a:pt x="1696" y="2324"/>
                    </a:lnTo>
                    <a:lnTo>
                      <a:pt x="1696" y="2324"/>
                    </a:lnTo>
                    <a:lnTo>
                      <a:pt x="1696" y="2326"/>
                    </a:lnTo>
                    <a:lnTo>
                      <a:pt x="1700" y="2330"/>
                    </a:lnTo>
                    <a:lnTo>
                      <a:pt x="1708" y="2336"/>
                    </a:lnTo>
                    <a:lnTo>
                      <a:pt x="1718" y="2342"/>
                    </a:lnTo>
                    <a:lnTo>
                      <a:pt x="1722" y="2346"/>
                    </a:lnTo>
                    <a:lnTo>
                      <a:pt x="1722" y="2348"/>
                    </a:lnTo>
                    <a:lnTo>
                      <a:pt x="1722" y="2348"/>
                    </a:lnTo>
                    <a:lnTo>
                      <a:pt x="1724" y="2350"/>
                    </a:lnTo>
                    <a:lnTo>
                      <a:pt x="1728" y="2350"/>
                    </a:lnTo>
                    <a:lnTo>
                      <a:pt x="1740" y="2350"/>
                    </a:lnTo>
                    <a:lnTo>
                      <a:pt x="1754" y="2348"/>
                    </a:lnTo>
                    <a:lnTo>
                      <a:pt x="1760" y="2348"/>
                    </a:lnTo>
                    <a:lnTo>
                      <a:pt x="1764" y="2350"/>
                    </a:lnTo>
                    <a:lnTo>
                      <a:pt x="1764" y="2350"/>
                    </a:lnTo>
                    <a:lnTo>
                      <a:pt x="1766" y="2352"/>
                    </a:lnTo>
                    <a:lnTo>
                      <a:pt x="1768" y="2352"/>
                    </a:lnTo>
                    <a:lnTo>
                      <a:pt x="1772" y="2350"/>
                    </a:lnTo>
                    <a:lnTo>
                      <a:pt x="1776" y="2350"/>
                    </a:lnTo>
                    <a:lnTo>
                      <a:pt x="1780" y="2356"/>
                    </a:lnTo>
                    <a:lnTo>
                      <a:pt x="1780" y="2356"/>
                    </a:lnTo>
                    <a:lnTo>
                      <a:pt x="1780" y="2358"/>
                    </a:lnTo>
                    <a:lnTo>
                      <a:pt x="1778" y="2360"/>
                    </a:lnTo>
                    <a:lnTo>
                      <a:pt x="1774" y="2364"/>
                    </a:lnTo>
                    <a:lnTo>
                      <a:pt x="1756" y="2374"/>
                    </a:lnTo>
                    <a:lnTo>
                      <a:pt x="1738" y="2382"/>
                    </a:lnTo>
                    <a:lnTo>
                      <a:pt x="1732" y="2386"/>
                    </a:lnTo>
                    <a:lnTo>
                      <a:pt x="1732" y="2388"/>
                    </a:lnTo>
                    <a:lnTo>
                      <a:pt x="1732" y="2390"/>
                    </a:lnTo>
                    <a:lnTo>
                      <a:pt x="1732" y="2390"/>
                    </a:lnTo>
                    <a:lnTo>
                      <a:pt x="1736" y="2392"/>
                    </a:lnTo>
                    <a:lnTo>
                      <a:pt x="1742" y="2394"/>
                    </a:lnTo>
                    <a:lnTo>
                      <a:pt x="1756" y="2398"/>
                    </a:lnTo>
                    <a:lnTo>
                      <a:pt x="1762" y="2400"/>
                    </a:lnTo>
                    <a:lnTo>
                      <a:pt x="1768" y="2404"/>
                    </a:lnTo>
                    <a:lnTo>
                      <a:pt x="1772" y="2410"/>
                    </a:lnTo>
                    <a:lnTo>
                      <a:pt x="1774" y="2416"/>
                    </a:lnTo>
                    <a:lnTo>
                      <a:pt x="1774" y="2416"/>
                    </a:lnTo>
                    <a:lnTo>
                      <a:pt x="1774" y="2424"/>
                    </a:lnTo>
                    <a:lnTo>
                      <a:pt x="1772" y="2428"/>
                    </a:lnTo>
                    <a:lnTo>
                      <a:pt x="1768" y="2432"/>
                    </a:lnTo>
                    <a:lnTo>
                      <a:pt x="1766" y="2434"/>
                    </a:lnTo>
                    <a:lnTo>
                      <a:pt x="1768" y="2434"/>
                    </a:lnTo>
                    <a:lnTo>
                      <a:pt x="1774" y="2442"/>
                    </a:lnTo>
                    <a:lnTo>
                      <a:pt x="1774" y="2442"/>
                    </a:lnTo>
                    <a:lnTo>
                      <a:pt x="1780" y="2446"/>
                    </a:lnTo>
                    <a:lnTo>
                      <a:pt x="1788" y="2448"/>
                    </a:lnTo>
                    <a:lnTo>
                      <a:pt x="1794" y="2446"/>
                    </a:lnTo>
                    <a:lnTo>
                      <a:pt x="1800" y="2442"/>
                    </a:lnTo>
                    <a:lnTo>
                      <a:pt x="1810" y="2432"/>
                    </a:lnTo>
                    <a:lnTo>
                      <a:pt x="1822" y="2422"/>
                    </a:lnTo>
                    <a:lnTo>
                      <a:pt x="1822" y="2422"/>
                    </a:lnTo>
                    <a:lnTo>
                      <a:pt x="1826" y="2420"/>
                    </a:lnTo>
                    <a:lnTo>
                      <a:pt x="1830" y="2420"/>
                    </a:lnTo>
                    <a:lnTo>
                      <a:pt x="1832" y="2422"/>
                    </a:lnTo>
                    <a:lnTo>
                      <a:pt x="1836" y="2422"/>
                    </a:lnTo>
                    <a:lnTo>
                      <a:pt x="1844" y="2416"/>
                    </a:lnTo>
                    <a:lnTo>
                      <a:pt x="1844" y="2416"/>
                    </a:lnTo>
                    <a:lnTo>
                      <a:pt x="1850" y="2410"/>
                    </a:lnTo>
                    <a:lnTo>
                      <a:pt x="1856" y="2408"/>
                    </a:lnTo>
                    <a:lnTo>
                      <a:pt x="1860" y="2408"/>
                    </a:lnTo>
                    <a:lnTo>
                      <a:pt x="1862" y="2408"/>
                    </a:lnTo>
                    <a:lnTo>
                      <a:pt x="1870" y="2412"/>
                    </a:lnTo>
                    <a:lnTo>
                      <a:pt x="1876" y="2414"/>
                    </a:lnTo>
                    <a:lnTo>
                      <a:pt x="1882" y="2412"/>
                    </a:lnTo>
                    <a:lnTo>
                      <a:pt x="1882" y="2412"/>
                    </a:lnTo>
                    <a:lnTo>
                      <a:pt x="1892" y="2408"/>
                    </a:lnTo>
                    <a:lnTo>
                      <a:pt x="1894" y="2406"/>
                    </a:lnTo>
                    <a:lnTo>
                      <a:pt x="1892" y="2404"/>
                    </a:lnTo>
                    <a:lnTo>
                      <a:pt x="1892" y="2400"/>
                    </a:lnTo>
                    <a:lnTo>
                      <a:pt x="1892" y="2398"/>
                    </a:lnTo>
                    <a:lnTo>
                      <a:pt x="1894" y="2394"/>
                    </a:lnTo>
                    <a:lnTo>
                      <a:pt x="1894" y="2394"/>
                    </a:lnTo>
                    <a:lnTo>
                      <a:pt x="1896" y="2390"/>
                    </a:lnTo>
                    <a:lnTo>
                      <a:pt x="1894" y="2386"/>
                    </a:lnTo>
                    <a:lnTo>
                      <a:pt x="1886" y="2384"/>
                    </a:lnTo>
                    <a:lnTo>
                      <a:pt x="1874" y="2386"/>
                    </a:lnTo>
                    <a:lnTo>
                      <a:pt x="1874" y="2386"/>
                    </a:lnTo>
                    <a:lnTo>
                      <a:pt x="1868" y="2388"/>
                    </a:lnTo>
                    <a:lnTo>
                      <a:pt x="1862" y="2392"/>
                    </a:lnTo>
                    <a:lnTo>
                      <a:pt x="1854" y="2396"/>
                    </a:lnTo>
                    <a:lnTo>
                      <a:pt x="1852" y="2396"/>
                    </a:lnTo>
                    <a:lnTo>
                      <a:pt x="1848" y="2392"/>
                    </a:lnTo>
                    <a:lnTo>
                      <a:pt x="1842" y="2386"/>
                    </a:lnTo>
                    <a:lnTo>
                      <a:pt x="1836" y="2376"/>
                    </a:lnTo>
                    <a:lnTo>
                      <a:pt x="1836" y="2376"/>
                    </a:lnTo>
                    <a:lnTo>
                      <a:pt x="1826" y="2358"/>
                    </a:lnTo>
                    <a:lnTo>
                      <a:pt x="1824" y="2348"/>
                    </a:lnTo>
                    <a:lnTo>
                      <a:pt x="1824" y="2346"/>
                    </a:lnTo>
                    <a:lnTo>
                      <a:pt x="1824" y="2344"/>
                    </a:lnTo>
                    <a:lnTo>
                      <a:pt x="1830" y="2342"/>
                    </a:lnTo>
                    <a:lnTo>
                      <a:pt x="1830" y="2342"/>
                    </a:lnTo>
                    <a:lnTo>
                      <a:pt x="1836" y="2340"/>
                    </a:lnTo>
                    <a:lnTo>
                      <a:pt x="1838" y="2340"/>
                    </a:lnTo>
                    <a:lnTo>
                      <a:pt x="1838" y="2342"/>
                    </a:lnTo>
                    <a:lnTo>
                      <a:pt x="1838" y="2344"/>
                    </a:lnTo>
                    <a:lnTo>
                      <a:pt x="1838" y="2348"/>
                    </a:lnTo>
                    <a:lnTo>
                      <a:pt x="1838" y="2348"/>
                    </a:lnTo>
                    <a:lnTo>
                      <a:pt x="1842" y="2346"/>
                    </a:lnTo>
                    <a:lnTo>
                      <a:pt x="1842" y="2346"/>
                    </a:lnTo>
                    <a:lnTo>
                      <a:pt x="1852" y="2336"/>
                    </a:lnTo>
                    <a:lnTo>
                      <a:pt x="1862" y="2326"/>
                    </a:lnTo>
                    <a:lnTo>
                      <a:pt x="1872" y="2318"/>
                    </a:lnTo>
                    <a:lnTo>
                      <a:pt x="1876" y="2316"/>
                    </a:lnTo>
                    <a:lnTo>
                      <a:pt x="1880" y="2316"/>
                    </a:lnTo>
                    <a:lnTo>
                      <a:pt x="1880" y="2316"/>
                    </a:lnTo>
                    <a:lnTo>
                      <a:pt x="1886" y="2318"/>
                    </a:lnTo>
                    <a:lnTo>
                      <a:pt x="1896" y="2316"/>
                    </a:lnTo>
                    <a:lnTo>
                      <a:pt x="1906" y="2312"/>
                    </a:lnTo>
                    <a:lnTo>
                      <a:pt x="1916" y="2308"/>
                    </a:lnTo>
                    <a:lnTo>
                      <a:pt x="1934" y="2296"/>
                    </a:lnTo>
                    <a:lnTo>
                      <a:pt x="1944" y="2292"/>
                    </a:lnTo>
                    <a:lnTo>
                      <a:pt x="1944" y="2292"/>
                    </a:lnTo>
                    <a:lnTo>
                      <a:pt x="1952" y="2292"/>
                    </a:lnTo>
                    <a:lnTo>
                      <a:pt x="1956" y="2294"/>
                    </a:lnTo>
                    <a:lnTo>
                      <a:pt x="1960" y="2296"/>
                    </a:lnTo>
                    <a:lnTo>
                      <a:pt x="1964" y="2294"/>
                    </a:lnTo>
                    <a:lnTo>
                      <a:pt x="1964" y="2294"/>
                    </a:lnTo>
                    <a:lnTo>
                      <a:pt x="1972" y="2288"/>
                    </a:lnTo>
                    <a:lnTo>
                      <a:pt x="1976" y="2288"/>
                    </a:lnTo>
                    <a:lnTo>
                      <a:pt x="1976" y="2288"/>
                    </a:lnTo>
                    <a:lnTo>
                      <a:pt x="1980" y="2290"/>
                    </a:lnTo>
                    <a:lnTo>
                      <a:pt x="1986" y="2288"/>
                    </a:lnTo>
                    <a:lnTo>
                      <a:pt x="1992" y="2286"/>
                    </a:lnTo>
                    <a:lnTo>
                      <a:pt x="1992" y="2286"/>
                    </a:lnTo>
                    <a:lnTo>
                      <a:pt x="1998" y="2284"/>
                    </a:lnTo>
                    <a:lnTo>
                      <a:pt x="2002" y="2284"/>
                    </a:lnTo>
                    <a:lnTo>
                      <a:pt x="2004" y="2286"/>
                    </a:lnTo>
                    <a:lnTo>
                      <a:pt x="2004" y="2288"/>
                    </a:lnTo>
                    <a:lnTo>
                      <a:pt x="2004" y="2290"/>
                    </a:lnTo>
                    <a:lnTo>
                      <a:pt x="2000" y="2294"/>
                    </a:lnTo>
                    <a:lnTo>
                      <a:pt x="1996" y="2298"/>
                    </a:lnTo>
                    <a:lnTo>
                      <a:pt x="1988" y="2300"/>
                    </a:lnTo>
                    <a:lnTo>
                      <a:pt x="1988" y="2300"/>
                    </a:lnTo>
                    <a:lnTo>
                      <a:pt x="1980" y="2302"/>
                    </a:lnTo>
                    <a:lnTo>
                      <a:pt x="1974" y="2306"/>
                    </a:lnTo>
                    <a:lnTo>
                      <a:pt x="1968" y="2312"/>
                    </a:lnTo>
                    <a:lnTo>
                      <a:pt x="1962" y="2316"/>
                    </a:lnTo>
                    <a:lnTo>
                      <a:pt x="1948" y="2318"/>
                    </a:lnTo>
                    <a:lnTo>
                      <a:pt x="1948" y="2318"/>
                    </a:lnTo>
                    <a:lnTo>
                      <a:pt x="1944" y="2318"/>
                    </a:lnTo>
                    <a:lnTo>
                      <a:pt x="1944" y="2320"/>
                    </a:lnTo>
                    <a:lnTo>
                      <a:pt x="1944" y="2324"/>
                    </a:lnTo>
                    <a:lnTo>
                      <a:pt x="1946" y="2326"/>
                    </a:lnTo>
                    <a:lnTo>
                      <a:pt x="1952" y="2332"/>
                    </a:lnTo>
                    <a:lnTo>
                      <a:pt x="1956" y="2334"/>
                    </a:lnTo>
                    <a:lnTo>
                      <a:pt x="1958" y="2334"/>
                    </a:lnTo>
                    <a:lnTo>
                      <a:pt x="1958" y="2334"/>
                    </a:lnTo>
                    <a:lnTo>
                      <a:pt x="1962" y="2334"/>
                    </a:lnTo>
                    <a:lnTo>
                      <a:pt x="1968" y="2338"/>
                    </a:lnTo>
                    <a:lnTo>
                      <a:pt x="1974" y="2344"/>
                    </a:lnTo>
                    <a:lnTo>
                      <a:pt x="1978" y="2352"/>
                    </a:lnTo>
                    <a:lnTo>
                      <a:pt x="1976" y="2354"/>
                    </a:lnTo>
                    <a:lnTo>
                      <a:pt x="1972" y="2352"/>
                    </a:lnTo>
                    <a:lnTo>
                      <a:pt x="1972" y="2352"/>
                    </a:lnTo>
                    <a:lnTo>
                      <a:pt x="1964" y="2350"/>
                    </a:lnTo>
                    <a:lnTo>
                      <a:pt x="1958" y="2350"/>
                    </a:lnTo>
                    <a:lnTo>
                      <a:pt x="1952" y="2354"/>
                    </a:lnTo>
                    <a:lnTo>
                      <a:pt x="1948" y="2362"/>
                    </a:lnTo>
                    <a:lnTo>
                      <a:pt x="1948" y="2362"/>
                    </a:lnTo>
                    <a:lnTo>
                      <a:pt x="1942" y="2376"/>
                    </a:lnTo>
                    <a:lnTo>
                      <a:pt x="1940" y="2382"/>
                    </a:lnTo>
                    <a:lnTo>
                      <a:pt x="1942" y="2388"/>
                    </a:lnTo>
                    <a:lnTo>
                      <a:pt x="1942" y="2388"/>
                    </a:lnTo>
                    <a:lnTo>
                      <a:pt x="1944" y="2396"/>
                    </a:lnTo>
                    <a:lnTo>
                      <a:pt x="1942" y="2396"/>
                    </a:lnTo>
                    <a:lnTo>
                      <a:pt x="1940" y="2396"/>
                    </a:lnTo>
                    <a:lnTo>
                      <a:pt x="1934" y="2394"/>
                    </a:lnTo>
                    <a:lnTo>
                      <a:pt x="1930" y="2392"/>
                    </a:lnTo>
                    <a:lnTo>
                      <a:pt x="1926" y="2394"/>
                    </a:lnTo>
                    <a:lnTo>
                      <a:pt x="1926" y="2394"/>
                    </a:lnTo>
                    <a:lnTo>
                      <a:pt x="1922" y="2394"/>
                    </a:lnTo>
                    <a:lnTo>
                      <a:pt x="1918" y="2392"/>
                    </a:lnTo>
                    <a:lnTo>
                      <a:pt x="1910" y="2390"/>
                    </a:lnTo>
                    <a:lnTo>
                      <a:pt x="1904" y="2388"/>
                    </a:lnTo>
                    <a:lnTo>
                      <a:pt x="1904" y="2390"/>
                    </a:lnTo>
                    <a:lnTo>
                      <a:pt x="1904" y="2392"/>
                    </a:lnTo>
                    <a:lnTo>
                      <a:pt x="1904" y="2392"/>
                    </a:lnTo>
                    <a:lnTo>
                      <a:pt x="1904" y="2396"/>
                    </a:lnTo>
                    <a:lnTo>
                      <a:pt x="1904" y="2398"/>
                    </a:lnTo>
                    <a:lnTo>
                      <a:pt x="1900" y="2402"/>
                    </a:lnTo>
                    <a:lnTo>
                      <a:pt x="1900" y="2404"/>
                    </a:lnTo>
                    <a:lnTo>
                      <a:pt x="1900" y="2404"/>
                    </a:lnTo>
                    <a:lnTo>
                      <a:pt x="1912" y="2410"/>
                    </a:lnTo>
                    <a:lnTo>
                      <a:pt x="1912" y="2410"/>
                    </a:lnTo>
                    <a:lnTo>
                      <a:pt x="1918" y="2414"/>
                    </a:lnTo>
                    <a:lnTo>
                      <a:pt x="1924" y="2418"/>
                    </a:lnTo>
                    <a:lnTo>
                      <a:pt x="1928" y="2424"/>
                    </a:lnTo>
                    <a:lnTo>
                      <a:pt x="1934" y="2430"/>
                    </a:lnTo>
                    <a:lnTo>
                      <a:pt x="1938" y="2432"/>
                    </a:lnTo>
                    <a:lnTo>
                      <a:pt x="1944" y="2434"/>
                    </a:lnTo>
                    <a:lnTo>
                      <a:pt x="1944" y="2434"/>
                    </a:lnTo>
                    <a:lnTo>
                      <a:pt x="1950" y="2434"/>
                    </a:lnTo>
                    <a:lnTo>
                      <a:pt x="1954" y="2436"/>
                    </a:lnTo>
                    <a:lnTo>
                      <a:pt x="1956" y="2440"/>
                    </a:lnTo>
                    <a:lnTo>
                      <a:pt x="1958" y="2442"/>
                    </a:lnTo>
                    <a:lnTo>
                      <a:pt x="1960" y="2446"/>
                    </a:lnTo>
                    <a:lnTo>
                      <a:pt x="1966" y="2448"/>
                    </a:lnTo>
                    <a:lnTo>
                      <a:pt x="1976" y="2452"/>
                    </a:lnTo>
                    <a:lnTo>
                      <a:pt x="1976" y="2452"/>
                    </a:lnTo>
                    <a:lnTo>
                      <a:pt x="1990" y="2456"/>
                    </a:lnTo>
                    <a:lnTo>
                      <a:pt x="1994" y="2458"/>
                    </a:lnTo>
                    <a:lnTo>
                      <a:pt x="1996" y="2462"/>
                    </a:lnTo>
                    <a:lnTo>
                      <a:pt x="2006" y="2474"/>
                    </a:lnTo>
                    <a:lnTo>
                      <a:pt x="2034" y="2504"/>
                    </a:lnTo>
                    <a:lnTo>
                      <a:pt x="2034" y="2504"/>
                    </a:lnTo>
                    <a:lnTo>
                      <a:pt x="2042" y="2510"/>
                    </a:lnTo>
                    <a:lnTo>
                      <a:pt x="2050" y="2516"/>
                    </a:lnTo>
                    <a:lnTo>
                      <a:pt x="2062" y="2520"/>
                    </a:lnTo>
                    <a:lnTo>
                      <a:pt x="2070" y="2522"/>
                    </a:lnTo>
                    <a:lnTo>
                      <a:pt x="2074" y="2526"/>
                    </a:lnTo>
                    <a:lnTo>
                      <a:pt x="2076" y="2530"/>
                    </a:lnTo>
                    <a:lnTo>
                      <a:pt x="2076" y="2530"/>
                    </a:lnTo>
                    <a:lnTo>
                      <a:pt x="2080" y="2534"/>
                    </a:lnTo>
                    <a:lnTo>
                      <a:pt x="2082" y="2538"/>
                    </a:lnTo>
                    <a:lnTo>
                      <a:pt x="2088" y="2538"/>
                    </a:lnTo>
                    <a:lnTo>
                      <a:pt x="2092" y="2540"/>
                    </a:lnTo>
                    <a:lnTo>
                      <a:pt x="2094" y="2544"/>
                    </a:lnTo>
                    <a:lnTo>
                      <a:pt x="2098" y="2552"/>
                    </a:lnTo>
                    <a:lnTo>
                      <a:pt x="2100" y="2562"/>
                    </a:lnTo>
                    <a:lnTo>
                      <a:pt x="2100" y="2562"/>
                    </a:lnTo>
                    <a:lnTo>
                      <a:pt x="2104" y="2584"/>
                    </a:lnTo>
                    <a:lnTo>
                      <a:pt x="2104" y="2598"/>
                    </a:lnTo>
                    <a:lnTo>
                      <a:pt x="2100" y="2606"/>
                    </a:lnTo>
                    <a:lnTo>
                      <a:pt x="2096" y="2610"/>
                    </a:lnTo>
                    <a:lnTo>
                      <a:pt x="2096" y="2610"/>
                    </a:lnTo>
                    <a:lnTo>
                      <a:pt x="2086" y="2618"/>
                    </a:lnTo>
                    <a:lnTo>
                      <a:pt x="2066" y="2630"/>
                    </a:lnTo>
                    <a:lnTo>
                      <a:pt x="2054" y="2636"/>
                    </a:lnTo>
                    <a:lnTo>
                      <a:pt x="2044" y="2640"/>
                    </a:lnTo>
                    <a:lnTo>
                      <a:pt x="2032" y="2638"/>
                    </a:lnTo>
                    <a:lnTo>
                      <a:pt x="2028" y="2638"/>
                    </a:lnTo>
                    <a:lnTo>
                      <a:pt x="2024" y="2634"/>
                    </a:lnTo>
                    <a:lnTo>
                      <a:pt x="2024" y="2634"/>
                    </a:lnTo>
                    <a:lnTo>
                      <a:pt x="2014" y="2630"/>
                    </a:lnTo>
                    <a:lnTo>
                      <a:pt x="2006" y="2630"/>
                    </a:lnTo>
                    <a:lnTo>
                      <a:pt x="1996" y="2632"/>
                    </a:lnTo>
                    <a:lnTo>
                      <a:pt x="1986" y="2636"/>
                    </a:lnTo>
                    <a:lnTo>
                      <a:pt x="1976" y="2640"/>
                    </a:lnTo>
                    <a:lnTo>
                      <a:pt x="1968" y="2642"/>
                    </a:lnTo>
                    <a:lnTo>
                      <a:pt x="1960" y="2642"/>
                    </a:lnTo>
                    <a:lnTo>
                      <a:pt x="1956" y="2640"/>
                    </a:lnTo>
                    <a:lnTo>
                      <a:pt x="1952" y="2636"/>
                    </a:lnTo>
                    <a:lnTo>
                      <a:pt x="1952" y="2636"/>
                    </a:lnTo>
                    <a:lnTo>
                      <a:pt x="1942" y="2630"/>
                    </a:lnTo>
                    <a:lnTo>
                      <a:pt x="1940" y="2630"/>
                    </a:lnTo>
                    <a:lnTo>
                      <a:pt x="1940" y="2630"/>
                    </a:lnTo>
                    <a:lnTo>
                      <a:pt x="1938" y="2632"/>
                    </a:lnTo>
                    <a:lnTo>
                      <a:pt x="1936" y="2634"/>
                    </a:lnTo>
                    <a:lnTo>
                      <a:pt x="1932" y="2634"/>
                    </a:lnTo>
                    <a:lnTo>
                      <a:pt x="1924" y="2630"/>
                    </a:lnTo>
                    <a:lnTo>
                      <a:pt x="1924" y="2630"/>
                    </a:lnTo>
                    <a:lnTo>
                      <a:pt x="1918" y="2626"/>
                    </a:lnTo>
                    <a:lnTo>
                      <a:pt x="1914" y="2622"/>
                    </a:lnTo>
                    <a:lnTo>
                      <a:pt x="1910" y="2618"/>
                    </a:lnTo>
                    <a:lnTo>
                      <a:pt x="1908" y="2616"/>
                    </a:lnTo>
                    <a:lnTo>
                      <a:pt x="1906" y="2616"/>
                    </a:lnTo>
                    <a:lnTo>
                      <a:pt x="1896" y="2620"/>
                    </a:lnTo>
                    <a:lnTo>
                      <a:pt x="1896" y="2620"/>
                    </a:lnTo>
                    <a:lnTo>
                      <a:pt x="1890" y="2620"/>
                    </a:lnTo>
                    <a:lnTo>
                      <a:pt x="1886" y="2618"/>
                    </a:lnTo>
                    <a:lnTo>
                      <a:pt x="1884" y="2614"/>
                    </a:lnTo>
                    <a:lnTo>
                      <a:pt x="1882" y="2608"/>
                    </a:lnTo>
                    <a:lnTo>
                      <a:pt x="1880" y="2602"/>
                    </a:lnTo>
                    <a:lnTo>
                      <a:pt x="1876" y="2598"/>
                    </a:lnTo>
                    <a:lnTo>
                      <a:pt x="1870" y="2596"/>
                    </a:lnTo>
                    <a:lnTo>
                      <a:pt x="1860" y="2598"/>
                    </a:lnTo>
                    <a:lnTo>
                      <a:pt x="1860" y="2598"/>
                    </a:lnTo>
                    <a:lnTo>
                      <a:pt x="1850" y="2600"/>
                    </a:lnTo>
                    <a:lnTo>
                      <a:pt x="1844" y="2596"/>
                    </a:lnTo>
                    <a:lnTo>
                      <a:pt x="1842" y="2592"/>
                    </a:lnTo>
                    <a:lnTo>
                      <a:pt x="1840" y="2586"/>
                    </a:lnTo>
                    <a:lnTo>
                      <a:pt x="1840" y="2582"/>
                    </a:lnTo>
                    <a:lnTo>
                      <a:pt x="1838" y="2578"/>
                    </a:lnTo>
                    <a:lnTo>
                      <a:pt x="1836" y="2576"/>
                    </a:lnTo>
                    <a:lnTo>
                      <a:pt x="1830" y="2580"/>
                    </a:lnTo>
                    <a:lnTo>
                      <a:pt x="1830" y="2580"/>
                    </a:lnTo>
                    <a:lnTo>
                      <a:pt x="1822" y="2582"/>
                    </a:lnTo>
                    <a:lnTo>
                      <a:pt x="1814" y="2584"/>
                    </a:lnTo>
                    <a:lnTo>
                      <a:pt x="1798" y="2582"/>
                    </a:lnTo>
                    <a:lnTo>
                      <a:pt x="1788" y="2580"/>
                    </a:lnTo>
                    <a:lnTo>
                      <a:pt x="1778" y="2580"/>
                    </a:lnTo>
                    <a:lnTo>
                      <a:pt x="1766" y="2582"/>
                    </a:lnTo>
                    <a:lnTo>
                      <a:pt x="1752" y="2586"/>
                    </a:lnTo>
                    <a:lnTo>
                      <a:pt x="1752" y="2586"/>
                    </a:lnTo>
                    <a:lnTo>
                      <a:pt x="1724" y="2596"/>
                    </a:lnTo>
                    <a:lnTo>
                      <a:pt x="1706" y="2608"/>
                    </a:lnTo>
                    <a:lnTo>
                      <a:pt x="1694" y="2618"/>
                    </a:lnTo>
                    <a:lnTo>
                      <a:pt x="1688" y="2624"/>
                    </a:lnTo>
                    <a:lnTo>
                      <a:pt x="1688" y="2624"/>
                    </a:lnTo>
                    <a:lnTo>
                      <a:pt x="1684" y="2630"/>
                    </a:lnTo>
                    <a:lnTo>
                      <a:pt x="1678" y="2632"/>
                    </a:lnTo>
                    <a:lnTo>
                      <a:pt x="1668" y="2632"/>
                    </a:lnTo>
                    <a:lnTo>
                      <a:pt x="1656" y="2628"/>
                    </a:lnTo>
                    <a:lnTo>
                      <a:pt x="1656" y="2628"/>
                    </a:lnTo>
                    <a:lnTo>
                      <a:pt x="1646" y="2626"/>
                    </a:lnTo>
                    <a:lnTo>
                      <a:pt x="1638" y="2626"/>
                    </a:lnTo>
                    <a:lnTo>
                      <a:pt x="1630" y="2628"/>
                    </a:lnTo>
                    <a:lnTo>
                      <a:pt x="1618" y="2628"/>
                    </a:lnTo>
                    <a:lnTo>
                      <a:pt x="1618" y="2628"/>
                    </a:lnTo>
                    <a:lnTo>
                      <a:pt x="1608" y="2624"/>
                    </a:lnTo>
                    <a:lnTo>
                      <a:pt x="1602" y="2626"/>
                    </a:lnTo>
                    <a:lnTo>
                      <a:pt x="1598" y="2628"/>
                    </a:lnTo>
                    <a:lnTo>
                      <a:pt x="1596" y="2634"/>
                    </a:lnTo>
                    <a:lnTo>
                      <a:pt x="1596" y="2634"/>
                    </a:lnTo>
                    <a:lnTo>
                      <a:pt x="1594" y="2638"/>
                    </a:lnTo>
                    <a:lnTo>
                      <a:pt x="1596" y="2640"/>
                    </a:lnTo>
                    <a:lnTo>
                      <a:pt x="1600" y="2642"/>
                    </a:lnTo>
                    <a:lnTo>
                      <a:pt x="1604" y="2646"/>
                    </a:lnTo>
                    <a:lnTo>
                      <a:pt x="1604" y="2646"/>
                    </a:lnTo>
                    <a:lnTo>
                      <a:pt x="1608" y="2650"/>
                    </a:lnTo>
                    <a:lnTo>
                      <a:pt x="1612" y="2650"/>
                    </a:lnTo>
                    <a:lnTo>
                      <a:pt x="1620" y="2652"/>
                    </a:lnTo>
                    <a:lnTo>
                      <a:pt x="1622" y="2652"/>
                    </a:lnTo>
                    <a:lnTo>
                      <a:pt x="1620" y="2652"/>
                    </a:lnTo>
                    <a:lnTo>
                      <a:pt x="1606" y="2656"/>
                    </a:lnTo>
                    <a:lnTo>
                      <a:pt x="1606" y="2656"/>
                    </a:lnTo>
                    <a:lnTo>
                      <a:pt x="1584" y="2660"/>
                    </a:lnTo>
                    <a:lnTo>
                      <a:pt x="1584" y="2662"/>
                    </a:lnTo>
                    <a:lnTo>
                      <a:pt x="1584" y="2664"/>
                    </a:lnTo>
                    <a:lnTo>
                      <a:pt x="1592" y="2666"/>
                    </a:lnTo>
                    <a:lnTo>
                      <a:pt x="1594" y="2668"/>
                    </a:lnTo>
                    <a:lnTo>
                      <a:pt x="1594" y="2672"/>
                    </a:lnTo>
                    <a:lnTo>
                      <a:pt x="1594" y="2672"/>
                    </a:lnTo>
                    <a:lnTo>
                      <a:pt x="1586" y="2674"/>
                    </a:lnTo>
                    <a:lnTo>
                      <a:pt x="1570" y="2674"/>
                    </a:lnTo>
                    <a:lnTo>
                      <a:pt x="1558" y="2672"/>
                    </a:lnTo>
                    <a:lnTo>
                      <a:pt x="1554" y="2670"/>
                    </a:lnTo>
                    <a:lnTo>
                      <a:pt x="1552" y="2666"/>
                    </a:lnTo>
                    <a:lnTo>
                      <a:pt x="1552" y="2666"/>
                    </a:lnTo>
                    <a:lnTo>
                      <a:pt x="1552" y="2664"/>
                    </a:lnTo>
                    <a:lnTo>
                      <a:pt x="1550" y="2662"/>
                    </a:lnTo>
                    <a:lnTo>
                      <a:pt x="1544" y="2662"/>
                    </a:lnTo>
                    <a:lnTo>
                      <a:pt x="1538" y="2666"/>
                    </a:lnTo>
                    <a:lnTo>
                      <a:pt x="1536" y="2668"/>
                    </a:lnTo>
                    <a:lnTo>
                      <a:pt x="1538" y="2670"/>
                    </a:lnTo>
                    <a:lnTo>
                      <a:pt x="1538" y="2670"/>
                    </a:lnTo>
                    <a:lnTo>
                      <a:pt x="1540" y="2672"/>
                    </a:lnTo>
                    <a:lnTo>
                      <a:pt x="1540" y="2674"/>
                    </a:lnTo>
                    <a:lnTo>
                      <a:pt x="1536" y="2676"/>
                    </a:lnTo>
                    <a:lnTo>
                      <a:pt x="1530" y="2676"/>
                    </a:lnTo>
                    <a:lnTo>
                      <a:pt x="1528" y="2674"/>
                    </a:lnTo>
                    <a:lnTo>
                      <a:pt x="1526" y="2672"/>
                    </a:lnTo>
                    <a:lnTo>
                      <a:pt x="1526" y="2672"/>
                    </a:lnTo>
                    <a:lnTo>
                      <a:pt x="1524" y="2670"/>
                    </a:lnTo>
                    <a:lnTo>
                      <a:pt x="1520" y="2668"/>
                    </a:lnTo>
                    <a:lnTo>
                      <a:pt x="1516" y="2666"/>
                    </a:lnTo>
                    <a:lnTo>
                      <a:pt x="1510" y="2668"/>
                    </a:lnTo>
                    <a:lnTo>
                      <a:pt x="1506" y="2670"/>
                    </a:lnTo>
                    <a:lnTo>
                      <a:pt x="1500" y="2672"/>
                    </a:lnTo>
                    <a:lnTo>
                      <a:pt x="1494" y="2678"/>
                    </a:lnTo>
                    <a:lnTo>
                      <a:pt x="1488" y="2686"/>
                    </a:lnTo>
                    <a:lnTo>
                      <a:pt x="1488" y="2686"/>
                    </a:lnTo>
                    <a:lnTo>
                      <a:pt x="1482" y="2692"/>
                    </a:lnTo>
                    <a:lnTo>
                      <a:pt x="1480" y="2694"/>
                    </a:lnTo>
                    <a:lnTo>
                      <a:pt x="1478" y="2696"/>
                    </a:lnTo>
                    <a:lnTo>
                      <a:pt x="1476" y="2706"/>
                    </a:lnTo>
                    <a:lnTo>
                      <a:pt x="1476" y="2706"/>
                    </a:lnTo>
                    <a:lnTo>
                      <a:pt x="1474" y="2716"/>
                    </a:lnTo>
                    <a:lnTo>
                      <a:pt x="1474" y="2718"/>
                    </a:lnTo>
                    <a:lnTo>
                      <a:pt x="1476" y="2720"/>
                    </a:lnTo>
                    <a:lnTo>
                      <a:pt x="1482" y="2720"/>
                    </a:lnTo>
                    <a:lnTo>
                      <a:pt x="1496" y="2716"/>
                    </a:lnTo>
                    <a:lnTo>
                      <a:pt x="1496" y="2716"/>
                    </a:lnTo>
                    <a:lnTo>
                      <a:pt x="1504" y="2716"/>
                    </a:lnTo>
                    <a:lnTo>
                      <a:pt x="1506" y="2716"/>
                    </a:lnTo>
                    <a:lnTo>
                      <a:pt x="1506" y="2718"/>
                    </a:lnTo>
                    <a:lnTo>
                      <a:pt x="1504" y="2720"/>
                    </a:lnTo>
                    <a:lnTo>
                      <a:pt x="1500" y="2728"/>
                    </a:lnTo>
                    <a:lnTo>
                      <a:pt x="1498" y="2732"/>
                    </a:lnTo>
                    <a:lnTo>
                      <a:pt x="1502" y="2734"/>
                    </a:lnTo>
                    <a:lnTo>
                      <a:pt x="1502" y="2734"/>
                    </a:lnTo>
                    <a:lnTo>
                      <a:pt x="1504" y="2738"/>
                    </a:lnTo>
                    <a:lnTo>
                      <a:pt x="1504" y="2740"/>
                    </a:lnTo>
                    <a:lnTo>
                      <a:pt x="1502" y="2746"/>
                    </a:lnTo>
                    <a:lnTo>
                      <a:pt x="1502" y="2750"/>
                    </a:lnTo>
                    <a:lnTo>
                      <a:pt x="1504" y="2752"/>
                    </a:lnTo>
                    <a:lnTo>
                      <a:pt x="1506" y="2752"/>
                    </a:lnTo>
                    <a:lnTo>
                      <a:pt x="1506" y="2752"/>
                    </a:lnTo>
                    <a:lnTo>
                      <a:pt x="1510" y="2754"/>
                    </a:lnTo>
                    <a:lnTo>
                      <a:pt x="1510" y="2756"/>
                    </a:lnTo>
                    <a:lnTo>
                      <a:pt x="1504" y="2760"/>
                    </a:lnTo>
                    <a:lnTo>
                      <a:pt x="1498" y="2766"/>
                    </a:lnTo>
                    <a:lnTo>
                      <a:pt x="1498" y="2768"/>
                    </a:lnTo>
                    <a:lnTo>
                      <a:pt x="1502" y="2770"/>
                    </a:lnTo>
                    <a:lnTo>
                      <a:pt x="1502" y="2770"/>
                    </a:lnTo>
                    <a:lnTo>
                      <a:pt x="1508" y="2774"/>
                    </a:lnTo>
                    <a:lnTo>
                      <a:pt x="1510" y="2778"/>
                    </a:lnTo>
                    <a:lnTo>
                      <a:pt x="1510" y="2780"/>
                    </a:lnTo>
                    <a:lnTo>
                      <a:pt x="1508" y="2782"/>
                    </a:lnTo>
                    <a:lnTo>
                      <a:pt x="1504" y="2782"/>
                    </a:lnTo>
                    <a:lnTo>
                      <a:pt x="1500" y="2782"/>
                    </a:lnTo>
                    <a:lnTo>
                      <a:pt x="1496" y="2780"/>
                    </a:lnTo>
                    <a:lnTo>
                      <a:pt x="1494" y="2774"/>
                    </a:lnTo>
                    <a:lnTo>
                      <a:pt x="1494" y="2774"/>
                    </a:lnTo>
                    <a:lnTo>
                      <a:pt x="1492" y="2768"/>
                    </a:lnTo>
                    <a:lnTo>
                      <a:pt x="1488" y="2768"/>
                    </a:lnTo>
                    <a:lnTo>
                      <a:pt x="1486" y="2768"/>
                    </a:lnTo>
                    <a:lnTo>
                      <a:pt x="1486" y="2772"/>
                    </a:lnTo>
                    <a:lnTo>
                      <a:pt x="1484" y="2782"/>
                    </a:lnTo>
                    <a:lnTo>
                      <a:pt x="1486" y="2788"/>
                    </a:lnTo>
                    <a:lnTo>
                      <a:pt x="1490" y="2792"/>
                    </a:lnTo>
                    <a:lnTo>
                      <a:pt x="1490" y="2792"/>
                    </a:lnTo>
                    <a:lnTo>
                      <a:pt x="1494" y="2794"/>
                    </a:lnTo>
                    <a:lnTo>
                      <a:pt x="1498" y="2794"/>
                    </a:lnTo>
                    <a:lnTo>
                      <a:pt x="1500" y="2794"/>
                    </a:lnTo>
                    <a:lnTo>
                      <a:pt x="1504" y="2796"/>
                    </a:lnTo>
                    <a:lnTo>
                      <a:pt x="1504" y="2796"/>
                    </a:lnTo>
                    <a:lnTo>
                      <a:pt x="1508" y="2800"/>
                    </a:lnTo>
                    <a:lnTo>
                      <a:pt x="1510" y="2800"/>
                    </a:lnTo>
                    <a:lnTo>
                      <a:pt x="1518" y="2802"/>
                    </a:lnTo>
                    <a:lnTo>
                      <a:pt x="1520" y="2802"/>
                    </a:lnTo>
                    <a:lnTo>
                      <a:pt x="1522" y="2804"/>
                    </a:lnTo>
                    <a:lnTo>
                      <a:pt x="1522" y="2806"/>
                    </a:lnTo>
                    <a:lnTo>
                      <a:pt x="1520" y="2810"/>
                    </a:lnTo>
                    <a:lnTo>
                      <a:pt x="1520" y="2810"/>
                    </a:lnTo>
                    <a:lnTo>
                      <a:pt x="1516" y="2818"/>
                    </a:lnTo>
                    <a:lnTo>
                      <a:pt x="1516" y="2822"/>
                    </a:lnTo>
                    <a:lnTo>
                      <a:pt x="1520" y="2826"/>
                    </a:lnTo>
                    <a:lnTo>
                      <a:pt x="1520" y="2832"/>
                    </a:lnTo>
                    <a:lnTo>
                      <a:pt x="1520" y="2832"/>
                    </a:lnTo>
                    <a:lnTo>
                      <a:pt x="1520" y="2836"/>
                    </a:lnTo>
                    <a:lnTo>
                      <a:pt x="1522" y="2838"/>
                    </a:lnTo>
                    <a:lnTo>
                      <a:pt x="1526" y="2838"/>
                    </a:lnTo>
                    <a:lnTo>
                      <a:pt x="1528" y="2840"/>
                    </a:lnTo>
                    <a:lnTo>
                      <a:pt x="1530" y="2844"/>
                    </a:lnTo>
                    <a:lnTo>
                      <a:pt x="1530" y="2844"/>
                    </a:lnTo>
                    <a:lnTo>
                      <a:pt x="1530" y="2848"/>
                    </a:lnTo>
                    <a:lnTo>
                      <a:pt x="1530" y="2850"/>
                    </a:lnTo>
                    <a:lnTo>
                      <a:pt x="1524" y="2850"/>
                    </a:lnTo>
                    <a:lnTo>
                      <a:pt x="1518" y="2850"/>
                    </a:lnTo>
                    <a:lnTo>
                      <a:pt x="1518" y="2850"/>
                    </a:lnTo>
                    <a:lnTo>
                      <a:pt x="1520" y="2854"/>
                    </a:lnTo>
                    <a:lnTo>
                      <a:pt x="1520" y="2854"/>
                    </a:lnTo>
                    <a:lnTo>
                      <a:pt x="1522" y="2856"/>
                    </a:lnTo>
                    <a:lnTo>
                      <a:pt x="1528" y="2858"/>
                    </a:lnTo>
                    <a:lnTo>
                      <a:pt x="1542" y="2856"/>
                    </a:lnTo>
                    <a:lnTo>
                      <a:pt x="1552" y="2856"/>
                    </a:lnTo>
                    <a:lnTo>
                      <a:pt x="1556" y="2858"/>
                    </a:lnTo>
                    <a:lnTo>
                      <a:pt x="1554" y="2860"/>
                    </a:lnTo>
                    <a:lnTo>
                      <a:pt x="1554" y="2860"/>
                    </a:lnTo>
                    <a:lnTo>
                      <a:pt x="1550" y="2864"/>
                    </a:lnTo>
                    <a:lnTo>
                      <a:pt x="1546" y="2866"/>
                    </a:lnTo>
                    <a:lnTo>
                      <a:pt x="1534" y="2868"/>
                    </a:lnTo>
                    <a:lnTo>
                      <a:pt x="1526" y="2870"/>
                    </a:lnTo>
                    <a:lnTo>
                      <a:pt x="1524" y="2870"/>
                    </a:lnTo>
                    <a:lnTo>
                      <a:pt x="1526" y="2872"/>
                    </a:lnTo>
                    <a:lnTo>
                      <a:pt x="1526" y="2872"/>
                    </a:lnTo>
                    <a:lnTo>
                      <a:pt x="1528" y="2876"/>
                    </a:lnTo>
                    <a:lnTo>
                      <a:pt x="1532" y="2876"/>
                    </a:lnTo>
                    <a:lnTo>
                      <a:pt x="1540" y="2874"/>
                    </a:lnTo>
                    <a:lnTo>
                      <a:pt x="1548" y="2872"/>
                    </a:lnTo>
                    <a:lnTo>
                      <a:pt x="1550" y="2872"/>
                    </a:lnTo>
                    <a:lnTo>
                      <a:pt x="1552" y="2876"/>
                    </a:lnTo>
                    <a:lnTo>
                      <a:pt x="1552" y="2876"/>
                    </a:lnTo>
                    <a:lnTo>
                      <a:pt x="1552" y="2878"/>
                    </a:lnTo>
                    <a:lnTo>
                      <a:pt x="1554" y="2878"/>
                    </a:lnTo>
                    <a:lnTo>
                      <a:pt x="1560" y="2872"/>
                    </a:lnTo>
                    <a:lnTo>
                      <a:pt x="1564" y="2870"/>
                    </a:lnTo>
                    <a:lnTo>
                      <a:pt x="1568" y="2868"/>
                    </a:lnTo>
                    <a:lnTo>
                      <a:pt x="1572" y="2868"/>
                    </a:lnTo>
                    <a:lnTo>
                      <a:pt x="1576" y="2870"/>
                    </a:lnTo>
                    <a:lnTo>
                      <a:pt x="1576" y="2870"/>
                    </a:lnTo>
                    <a:lnTo>
                      <a:pt x="1580" y="2874"/>
                    </a:lnTo>
                    <a:lnTo>
                      <a:pt x="1582" y="2874"/>
                    </a:lnTo>
                    <a:lnTo>
                      <a:pt x="1588" y="2874"/>
                    </a:lnTo>
                    <a:lnTo>
                      <a:pt x="1590" y="2872"/>
                    </a:lnTo>
                    <a:lnTo>
                      <a:pt x="1590" y="2872"/>
                    </a:lnTo>
                    <a:lnTo>
                      <a:pt x="1592" y="2874"/>
                    </a:lnTo>
                    <a:lnTo>
                      <a:pt x="1594" y="2880"/>
                    </a:lnTo>
                    <a:lnTo>
                      <a:pt x="1594" y="2880"/>
                    </a:lnTo>
                    <a:lnTo>
                      <a:pt x="1598" y="2886"/>
                    </a:lnTo>
                    <a:lnTo>
                      <a:pt x="1602" y="2892"/>
                    </a:lnTo>
                    <a:lnTo>
                      <a:pt x="1610" y="2900"/>
                    </a:lnTo>
                    <a:lnTo>
                      <a:pt x="1616" y="2902"/>
                    </a:lnTo>
                    <a:lnTo>
                      <a:pt x="1620" y="2904"/>
                    </a:lnTo>
                    <a:lnTo>
                      <a:pt x="1624" y="2904"/>
                    </a:lnTo>
                    <a:lnTo>
                      <a:pt x="1628" y="2902"/>
                    </a:lnTo>
                    <a:lnTo>
                      <a:pt x="1628" y="2902"/>
                    </a:lnTo>
                    <a:lnTo>
                      <a:pt x="1634" y="2896"/>
                    </a:lnTo>
                    <a:lnTo>
                      <a:pt x="1638" y="2894"/>
                    </a:lnTo>
                    <a:lnTo>
                      <a:pt x="1640" y="2894"/>
                    </a:lnTo>
                    <a:lnTo>
                      <a:pt x="1642" y="2896"/>
                    </a:lnTo>
                    <a:lnTo>
                      <a:pt x="1646" y="2898"/>
                    </a:lnTo>
                    <a:lnTo>
                      <a:pt x="1648" y="2896"/>
                    </a:lnTo>
                    <a:lnTo>
                      <a:pt x="1652" y="2894"/>
                    </a:lnTo>
                    <a:lnTo>
                      <a:pt x="1652" y="2894"/>
                    </a:lnTo>
                    <a:lnTo>
                      <a:pt x="1654" y="2890"/>
                    </a:lnTo>
                    <a:lnTo>
                      <a:pt x="1654" y="2884"/>
                    </a:lnTo>
                    <a:lnTo>
                      <a:pt x="1654" y="2872"/>
                    </a:lnTo>
                    <a:lnTo>
                      <a:pt x="1656" y="2866"/>
                    </a:lnTo>
                    <a:lnTo>
                      <a:pt x="1662" y="2864"/>
                    </a:lnTo>
                    <a:lnTo>
                      <a:pt x="1670" y="2864"/>
                    </a:lnTo>
                    <a:lnTo>
                      <a:pt x="1686" y="2868"/>
                    </a:lnTo>
                    <a:lnTo>
                      <a:pt x="1686" y="2868"/>
                    </a:lnTo>
                    <a:lnTo>
                      <a:pt x="1700" y="2874"/>
                    </a:lnTo>
                    <a:lnTo>
                      <a:pt x="1712" y="2882"/>
                    </a:lnTo>
                    <a:lnTo>
                      <a:pt x="1720" y="2890"/>
                    </a:lnTo>
                    <a:lnTo>
                      <a:pt x="1728" y="2898"/>
                    </a:lnTo>
                    <a:lnTo>
                      <a:pt x="1732" y="2904"/>
                    </a:lnTo>
                    <a:lnTo>
                      <a:pt x="1738" y="2908"/>
                    </a:lnTo>
                    <a:lnTo>
                      <a:pt x="1744" y="2910"/>
                    </a:lnTo>
                    <a:lnTo>
                      <a:pt x="1752" y="2908"/>
                    </a:lnTo>
                    <a:lnTo>
                      <a:pt x="1752" y="2908"/>
                    </a:lnTo>
                    <a:lnTo>
                      <a:pt x="1766" y="2904"/>
                    </a:lnTo>
                    <a:lnTo>
                      <a:pt x="1778" y="2902"/>
                    </a:lnTo>
                    <a:lnTo>
                      <a:pt x="1782" y="2900"/>
                    </a:lnTo>
                    <a:lnTo>
                      <a:pt x="1788" y="2898"/>
                    </a:lnTo>
                    <a:lnTo>
                      <a:pt x="1794" y="2892"/>
                    </a:lnTo>
                    <a:lnTo>
                      <a:pt x="1802" y="2884"/>
                    </a:lnTo>
                    <a:lnTo>
                      <a:pt x="1802" y="2884"/>
                    </a:lnTo>
                    <a:lnTo>
                      <a:pt x="1814" y="2872"/>
                    </a:lnTo>
                    <a:lnTo>
                      <a:pt x="1822" y="2868"/>
                    </a:lnTo>
                    <a:lnTo>
                      <a:pt x="1828" y="2868"/>
                    </a:lnTo>
                    <a:lnTo>
                      <a:pt x="1834" y="2872"/>
                    </a:lnTo>
                    <a:lnTo>
                      <a:pt x="1838" y="2876"/>
                    </a:lnTo>
                    <a:lnTo>
                      <a:pt x="1844" y="2880"/>
                    </a:lnTo>
                    <a:lnTo>
                      <a:pt x="1848" y="2880"/>
                    </a:lnTo>
                    <a:lnTo>
                      <a:pt x="1856" y="2876"/>
                    </a:lnTo>
                    <a:lnTo>
                      <a:pt x="1856" y="2876"/>
                    </a:lnTo>
                    <a:lnTo>
                      <a:pt x="1868" y="2864"/>
                    </a:lnTo>
                    <a:lnTo>
                      <a:pt x="1876" y="2860"/>
                    </a:lnTo>
                    <a:lnTo>
                      <a:pt x="1878" y="2860"/>
                    </a:lnTo>
                    <a:lnTo>
                      <a:pt x="1880" y="2862"/>
                    </a:lnTo>
                    <a:lnTo>
                      <a:pt x="1882" y="2870"/>
                    </a:lnTo>
                    <a:lnTo>
                      <a:pt x="1882" y="2870"/>
                    </a:lnTo>
                    <a:lnTo>
                      <a:pt x="1882" y="2874"/>
                    </a:lnTo>
                    <a:lnTo>
                      <a:pt x="1880" y="2878"/>
                    </a:lnTo>
                    <a:lnTo>
                      <a:pt x="1872" y="2886"/>
                    </a:lnTo>
                    <a:lnTo>
                      <a:pt x="1866" y="2892"/>
                    </a:lnTo>
                    <a:lnTo>
                      <a:pt x="1864" y="2894"/>
                    </a:lnTo>
                    <a:lnTo>
                      <a:pt x="1866" y="2896"/>
                    </a:lnTo>
                    <a:lnTo>
                      <a:pt x="1866" y="2896"/>
                    </a:lnTo>
                    <a:lnTo>
                      <a:pt x="1872" y="2906"/>
                    </a:lnTo>
                    <a:lnTo>
                      <a:pt x="1872" y="2910"/>
                    </a:lnTo>
                    <a:lnTo>
                      <a:pt x="1872" y="2914"/>
                    </a:lnTo>
                    <a:lnTo>
                      <a:pt x="1872" y="2914"/>
                    </a:lnTo>
                    <a:lnTo>
                      <a:pt x="1868" y="2918"/>
                    </a:lnTo>
                    <a:lnTo>
                      <a:pt x="1864" y="2924"/>
                    </a:lnTo>
                    <a:lnTo>
                      <a:pt x="1862" y="2930"/>
                    </a:lnTo>
                    <a:lnTo>
                      <a:pt x="1866" y="2940"/>
                    </a:lnTo>
                    <a:lnTo>
                      <a:pt x="1866" y="2940"/>
                    </a:lnTo>
                    <a:lnTo>
                      <a:pt x="1870" y="2948"/>
                    </a:lnTo>
                    <a:lnTo>
                      <a:pt x="1870" y="2956"/>
                    </a:lnTo>
                    <a:lnTo>
                      <a:pt x="1870" y="2966"/>
                    </a:lnTo>
                    <a:lnTo>
                      <a:pt x="1872" y="2980"/>
                    </a:lnTo>
                    <a:lnTo>
                      <a:pt x="1872" y="2980"/>
                    </a:lnTo>
                    <a:lnTo>
                      <a:pt x="1872" y="2986"/>
                    </a:lnTo>
                    <a:lnTo>
                      <a:pt x="1870" y="2990"/>
                    </a:lnTo>
                    <a:lnTo>
                      <a:pt x="1866" y="2996"/>
                    </a:lnTo>
                    <a:lnTo>
                      <a:pt x="1860" y="3000"/>
                    </a:lnTo>
                    <a:lnTo>
                      <a:pt x="1858" y="3006"/>
                    </a:lnTo>
                    <a:lnTo>
                      <a:pt x="1858" y="3012"/>
                    </a:lnTo>
                    <a:lnTo>
                      <a:pt x="1858" y="3012"/>
                    </a:lnTo>
                    <a:lnTo>
                      <a:pt x="1858" y="3020"/>
                    </a:lnTo>
                    <a:lnTo>
                      <a:pt x="1856" y="3020"/>
                    </a:lnTo>
                    <a:lnTo>
                      <a:pt x="1854" y="3024"/>
                    </a:lnTo>
                    <a:lnTo>
                      <a:pt x="1850" y="3034"/>
                    </a:lnTo>
                    <a:lnTo>
                      <a:pt x="1850" y="3034"/>
                    </a:lnTo>
                    <a:lnTo>
                      <a:pt x="1848" y="3044"/>
                    </a:lnTo>
                    <a:lnTo>
                      <a:pt x="1846" y="3050"/>
                    </a:lnTo>
                    <a:lnTo>
                      <a:pt x="1842" y="3054"/>
                    </a:lnTo>
                    <a:lnTo>
                      <a:pt x="1838" y="3064"/>
                    </a:lnTo>
                    <a:lnTo>
                      <a:pt x="1838" y="3064"/>
                    </a:lnTo>
                    <a:lnTo>
                      <a:pt x="1824" y="3108"/>
                    </a:lnTo>
                    <a:lnTo>
                      <a:pt x="1818" y="3130"/>
                    </a:lnTo>
                    <a:lnTo>
                      <a:pt x="1814" y="3144"/>
                    </a:lnTo>
                    <a:lnTo>
                      <a:pt x="1814" y="3144"/>
                    </a:lnTo>
                    <a:lnTo>
                      <a:pt x="1806" y="3154"/>
                    </a:lnTo>
                    <a:lnTo>
                      <a:pt x="1800" y="3160"/>
                    </a:lnTo>
                    <a:lnTo>
                      <a:pt x="1800" y="3160"/>
                    </a:lnTo>
                    <a:lnTo>
                      <a:pt x="1768" y="3170"/>
                    </a:lnTo>
                    <a:lnTo>
                      <a:pt x="1764" y="3170"/>
                    </a:lnTo>
                    <a:lnTo>
                      <a:pt x="1760" y="3166"/>
                    </a:lnTo>
                    <a:lnTo>
                      <a:pt x="1760" y="3166"/>
                    </a:lnTo>
                    <a:lnTo>
                      <a:pt x="1756" y="3164"/>
                    </a:lnTo>
                    <a:lnTo>
                      <a:pt x="1754" y="3166"/>
                    </a:lnTo>
                    <a:lnTo>
                      <a:pt x="1748" y="3168"/>
                    </a:lnTo>
                    <a:lnTo>
                      <a:pt x="1744" y="3170"/>
                    </a:lnTo>
                    <a:lnTo>
                      <a:pt x="1740" y="3170"/>
                    </a:lnTo>
                    <a:lnTo>
                      <a:pt x="1734" y="3168"/>
                    </a:lnTo>
                    <a:lnTo>
                      <a:pt x="1728" y="3164"/>
                    </a:lnTo>
                    <a:lnTo>
                      <a:pt x="1728" y="3164"/>
                    </a:lnTo>
                    <a:lnTo>
                      <a:pt x="1726" y="3162"/>
                    </a:lnTo>
                    <a:lnTo>
                      <a:pt x="1724" y="3162"/>
                    </a:lnTo>
                    <a:lnTo>
                      <a:pt x="1724" y="3164"/>
                    </a:lnTo>
                    <a:lnTo>
                      <a:pt x="1724" y="3164"/>
                    </a:lnTo>
                    <a:lnTo>
                      <a:pt x="1724" y="3168"/>
                    </a:lnTo>
                    <a:lnTo>
                      <a:pt x="1720" y="3170"/>
                    </a:lnTo>
                    <a:lnTo>
                      <a:pt x="1734" y="3232"/>
                    </a:lnTo>
                    <a:lnTo>
                      <a:pt x="1734" y="3232"/>
                    </a:lnTo>
                    <a:lnTo>
                      <a:pt x="1734" y="3230"/>
                    </a:lnTo>
                    <a:lnTo>
                      <a:pt x="1734" y="3230"/>
                    </a:lnTo>
                    <a:lnTo>
                      <a:pt x="1738" y="3232"/>
                    </a:lnTo>
                    <a:lnTo>
                      <a:pt x="1738" y="3236"/>
                    </a:lnTo>
                    <a:lnTo>
                      <a:pt x="1738" y="3242"/>
                    </a:lnTo>
                    <a:lnTo>
                      <a:pt x="1740" y="3252"/>
                    </a:lnTo>
                    <a:lnTo>
                      <a:pt x="1744" y="3260"/>
                    </a:lnTo>
                    <a:lnTo>
                      <a:pt x="1750" y="3266"/>
                    </a:lnTo>
                    <a:lnTo>
                      <a:pt x="1750" y="3266"/>
                    </a:lnTo>
                    <a:lnTo>
                      <a:pt x="1754" y="3272"/>
                    </a:lnTo>
                    <a:lnTo>
                      <a:pt x="1758" y="3278"/>
                    </a:lnTo>
                    <a:lnTo>
                      <a:pt x="1760" y="3288"/>
                    </a:lnTo>
                    <a:lnTo>
                      <a:pt x="1762" y="3300"/>
                    </a:lnTo>
                    <a:lnTo>
                      <a:pt x="1766" y="3306"/>
                    </a:lnTo>
                    <a:lnTo>
                      <a:pt x="1770" y="3312"/>
                    </a:lnTo>
                    <a:lnTo>
                      <a:pt x="1770" y="3312"/>
                    </a:lnTo>
                    <a:lnTo>
                      <a:pt x="1784" y="3328"/>
                    </a:lnTo>
                    <a:lnTo>
                      <a:pt x="1792" y="3340"/>
                    </a:lnTo>
                    <a:lnTo>
                      <a:pt x="1796" y="3344"/>
                    </a:lnTo>
                    <a:lnTo>
                      <a:pt x="1800" y="3346"/>
                    </a:lnTo>
                    <a:lnTo>
                      <a:pt x="1802" y="3344"/>
                    </a:lnTo>
                    <a:lnTo>
                      <a:pt x="1804" y="3340"/>
                    </a:lnTo>
                    <a:lnTo>
                      <a:pt x="1804" y="3340"/>
                    </a:lnTo>
                    <a:lnTo>
                      <a:pt x="1810" y="3328"/>
                    </a:lnTo>
                    <a:lnTo>
                      <a:pt x="1812" y="3314"/>
                    </a:lnTo>
                    <a:lnTo>
                      <a:pt x="1816" y="3292"/>
                    </a:lnTo>
                    <a:lnTo>
                      <a:pt x="1830" y="3254"/>
                    </a:lnTo>
                    <a:lnTo>
                      <a:pt x="1830" y="3254"/>
                    </a:lnTo>
                    <a:lnTo>
                      <a:pt x="1830" y="3254"/>
                    </a:lnTo>
                    <a:lnTo>
                      <a:pt x="1832" y="3250"/>
                    </a:lnTo>
                    <a:lnTo>
                      <a:pt x="1832" y="3250"/>
                    </a:lnTo>
                    <a:lnTo>
                      <a:pt x="1832" y="3256"/>
                    </a:lnTo>
                    <a:lnTo>
                      <a:pt x="1832" y="3260"/>
                    </a:lnTo>
                    <a:lnTo>
                      <a:pt x="1832" y="3260"/>
                    </a:lnTo>
                    <a:lnTo>
                      <a:pt x="1826" y="3286"/>
                    </a:lnTo>
                    <a:lnTo>
                      <a:pt x="1826" y="3296"/>
                    </a:lnTo>
                    <a:lnTo>
                      <a:pt x="1826" y="3302"/>
                    </a:lnTo>
                    <a:lnTo>
                      <a:pt x="1822" y="3312"/>
                    </a:lnTo>
                    <a:lnTo>
                      <a:pt x="1822" y="3312"/>
                    </a:lnTo>
                    <a:lnTo>
                      <a:pt x="1818" y="3328"/>
                    </a:lnTo>
                    <a:lnTo>
                      <a:pt x="1818" y="3330"/>
                    </a:lnTo>
                    <a:lnTo>
                      <a:pt x="1818" y="3330"/>
                    </a:lnTo>
                    <a:lnTo>
                      <a:pt x="1824" y="3328"/>
                    </a:lnTo>
                    <a:lnTo>
                      <a:pt x="1828" y="3326"/>
                    </a:lnTo>
                    <a:lnTo>
                      <a:pt x="1834" y="3326"/>
                    </a:lnTo>
                    <a:lnTo>
                      <a:pt x="1834" y="3326"/>
                    </a:lnTo>
                    <a:lnTo>
                      <a:pt x="1838" y="3328"/>
                    </a:lnTo>
                    <a:lnTo>
                      <a:pt x="1840" y="3330"/>
                    </a:lnTo>
                    <a:lnTo>
                      <a:pt x="1848" y="3340"/>
                    </a:lnTo>
                    <a:lnTo>
                      <a:pt x="1864" y="3372"/>
                    </a:lnTo>
                    <a:lnTo>
                      <a:pt x="1880" y="3406"/>
                    </a:lnTo>
                    <a:lnTo>
                      <a:pt x="1888" y="3418"/>
                    </a:lnTo>
                    <a:lnTo>
                      <a:pt x="1896" y="3428"/>
                    </a:lnTo>
                    <a:lnTo>
                      <a:pt x="1896" y="3428"/>
                    </a:lnTo>
                    <a:lnTo>
                      <a:pt x="1900" y="3434"/>
                    </a:lnTo>
                    <a:lnTo>
                      <a:pt x="1900" y="3440"/>
                    </a:lnTo>
                    <a:lnTo>
                      <a:pt x="1902" y="3444"/>
                    </a:lnTo>
                    <a:lnTo>
                      <a:pt x="1908" y="3450"/>
                    </a:lnTo>
                    <a:lnTo>
                      <a:pt x="1908" y="3450"/>
                    </a:lnTo>
                    <a:lnTo>
                      <a:pt x="1916" y="3458"/>
                    </a:lnTo>
                    <a:lnTo>
                      <a:pt x="1922" y="3470"/>
                    </a:lnTo>
                    <a:lnTo>
                      <a:pt x="1926" y="3482"/>
                    </a:lnTo>
                    <a:lnTo>
                      <a:pt x="1926" y="3486"/>
                    </a:lnTo>
                    <a:lnTo>
                      <a:pt x="1924" y="3492"/>
                    </a:lnTo>
                    <a:lnTo>
                      <a:pt x="1924" y="3492"/>
                    </a:lnTo>
                    <a:lnTo>
                      <a:pt x="1922" y="3496"/>
                    </a:lnTo>
                    <a:lnTo>
                      <a:pt x="1924" y="3502"/>
                    </a:lnTo>
                    <a:lnTo>
                      <a:pt x="1926" y="3506"/>
                    </a:lnTo>
                    <a:lnTo>
                      <a:pt x="1928" y="3512"/>
                    </a:lnTo>
                    <a:lnTo>
                      <a:pt x="1938" y="3522"/>
                    </a:lnTo>
                    <a:lnTo>
                      <a:pt x="1944" y="3526"/>
                    </a:lnTo>
                    <a:lnTo>
                      <a:pt x="1952" y="3528"/>
                    </a:lnTo>
                    <a:lnTo>
                      <a:pt x="1952" y="3528"/>
                    </a:lnTo>
                    <a:lnTo>
                      <a:pt x="1958" y="3532"/>
                    </a:lnTo>
                    <a:lnTo>
                      <a:pt x="1964" y="3538"/>
                    </a:lnTo>
                    <a:lnTo>
                      <a:pt x="1970" y="3548"/>
                    </a:lnTo>
                    <a:lnTo>
                      <a:pt x="1976" y="3560"/>
                    </a:lnTo>
                    <a:lnTo>
                      <a:pt x="1988" y="3586"/>
                    </a:lnTo>
                    <a:lnTo>
                      <a:pt x="1996" y="3610"/>
                    </a:lnTo>
                    <a:lnTo>
                      <a:pt x="1996" y="3610"/>
                    </a:lnTo>
                    <a:lnTo>
                      <a:pt x="1998" y="3620"/>
                    </a:lnTo>
                    <a:lnTo>
                      <a:pt x="1998" y="3626"/>
                    </a:lnTo>
                    <a:lnTo>
                      <a:pt x="1998" y="3632"/>
                    </a:lnTo>
                    <a:lnTo>
                      <a:pt x="1996" y="3636"/>
                    </a:lnTo>
                    <a:lnTo>
                      <a:pt x="1994" y="3638"/>
                    </a:lnTo>
                    <a:lnTo>
                      <a:pt x="1992" y="3642"/>
                    </a:lnTo>
                    <a:lnTo>
                      <a:pt x="1994" y="3648"/>
                    </a:lnTo>
                    <a:lnTo>
                      <a:pt x="1996" y="3656"/>
                    </a:lnTo>
                    <a:lnTo>
                      <a:pt x="1996" y="3656"/>
                    </a:lnTo>
                    <a:lnTo>
                      <a:pt x="2000" y="3664"/>
                    </a:lnTo>
                    <a:lnTo>
                      <a:pt x="2000" y="3668"/>
                    </a:lnTo>
                    <a:lnTo>
                      <a:pt x="1998" y="3670"/>
                    </a:lnTo>
                    <a:lnTo>
                      <a:pt x="1998" y="3672"/>
                    </a:lnTo>
                    <a:lnTo>
                      <a:pt x="1996" y="3674"/>
                    </a:lnTo>
                    <a:lnTo>
                      <a:pt x="1996" y="3676"/>
                    </a:lnTo>
                    <a:lnTo>
                      <a:pt x="2004" y="3690"/>
                    </a:lnTo>
                    <a:lnTo>
                      <a:pt x="2004" y="3690"/>
                    </a:lnTo>
                    <a:lnTo>
                      <a:pt x="2014" y="3706"/>
                    </a:lnTo>
                    <a:lnTo>
                      <a:pt x="2020" y="3716"/>
                    </a:lnTo>
                    <a:lnTo>
                      <a:pt x="2026" y="3722"/>
                    </a:lnTo>
                    <a:lnTo>
                      <a:pt x="2036" y="3726"/>
                    </a:lnTo>
                    <a:lnTo>
                      <a:pt x="2036" y="3726"/>
                    </a:lnTo>
                    <a:lnTo>
                      <a:pt x="2042" y="3730"/>
                    </a:lnTo>
                    <a:lnTo>
                      <a:pt x="2048" y="3734"/>
                    </a:lnTo>
                    <a:lnTo>
                      <a:pt x="2058" y="3744"/>
                    </a:lnTo>
                    <a:lnTo>
                      <a:pt x="2064" y="3758"/>
                    </a:lnTo>
                    <a:lnTo>
                      <a:pt x="2072" y="3770"/>
                    </a:lnTo>
                    <a:lnTo>
                      <a:pt x="2072" y="3770"/>
                    </a:lnTo>
                    <a:lnTo>
                      <a:pt x="2078" y="3778"/>
                    </a:lnTo>
                    <a:lnTo>
                      <a:pt x="2082" y="3782"/>
                    </a:lnTo>
                    <a:lnTo>
                      <a:pt x="2084" y="3786"/>
                    </a:lnTo>
                    <a:lnTo>
                      <a:pt x="2084" y="3796"/>
                    </a:lnTo>
                    <a:lnTo>
                      <a:pt x="2084" y="3796"/>
                    </a:lnTo>
                    <a:lnTo>
                      <a:pt x="2086" y="3804"/>
                    </a:lnTo>
                    <a:lnTo>
                      <a:pt x="2088" y="3810"/>
                    </a:lnTo>
                    <a:lnTo>
                      <a:pt x="2092" y="3816"/>
                    </a:lnTo>
                    <a:lnTo>
                      <a:pt x="2094" y="3824"/>
                    </a:lnTo>
                    <a:lnTo>
                      <a:pt x="2094" y="3824"/>
                    </a:lnTo>
                    <a:lnTo>
                      <a:pt x="2096" y="3830"/>
                    </a:lnTo>
                    <a:lnTo>
                      <a:pt x="2098" y="3836"/>
                    </a:lnTo>
                    <a:lnTo>
                      <a:pt x="2108" y="3848"/>
                    </a:lnTo>
                    <a:lnTo>
                      <a:pt x="2120" y="3862"/>
                    </a:lnTo>
                    <a:lnTo>
                      <a:pt x="2124" y="3870"/>
                    </a:lnTo>
                    <a:lnTo>
                      <a:pt x="2126" y="3878"/>
                    </a:lnTo>
                    <a:lnTo>
                      <a:pt x="2126" y="3878"/>
                    </a:lnTo>
                    <a:lnTo>
                      <a:pt x="2128" y="3884"/>
                    </a:lnTo>
                    <a:lnTo>
                      <a:pt x="2130" y="3886"/>
                    </a:lnTo>
                    <a:lnTo>
                      <a:pt x="2134" y="3886"/>
                    </a:lnTo>
                    <a:lnTo>
                      <a:pt x="2138" y="3888"/>
                    </a:lnTo>
                    <a:lnTo>
                      <a:pt x="2140" y="3892"/>
                    </a:lnTo>
                    <a:lnTo>
                      <a:pt x="2144" y="3902"/>
                    </a:lnTo>
                    <a:lnTo>
                      <a:pt x="2146" y="3918"/>
                    </a:lnTo>
                    <a:lnTo>
                      <a:pt x="2146" y="3918"/>
                    </a:lnTo>
                    <a:lnTo>
                      <a:pt x="2148" y="3936"/>
                    </a:lnTo>
                    <a:lnTo>
                      <a:pt x="2146" y="3944"/>
                    </a:lnTo>
                    <a:lnTo>
                      <a:pt x="2142" y="3952"/>
                    </a:lnTo>
                    <a:lnTo>
                      <a:pt x="2142" y="3952"/>
                    </a:lnTo>
                    <a:lnTo>
                      <a:pt x="2142" y="3954"/>
                    </a:lnTo>
                    <a:lnTo>
                      <a:pt x="2142" y="3958"/>
                    </a:lnTo>
                    <a:lnTo>
                      <a:pt x="2144" y="3964"/>
                    </a:lnTo>
                    <a:lnTo>
                      <a:pt x="2146" y="3968"/>
                    </a:lnTo>
                    <a:lnTo>
                      <a:pt x="2146" y="3972"/>
                    </a:lnTo>
                    <a:lnTo>
                      <a:pt x="2144" y="3974"/>
                    </a:lnTo>
                    <a:lnTo>
                      <a:pt x="2144" y="3974"/>
                    </a:lnTo>
                    <a:lnTo>
                      <a:pt x="2140" y="3976"/>
                    </a:lnTo>
                    <a:lnTo>
                      <a:pt x="2142" y="3980"/>
                    </a:lnTo>
                    <a:lnTo>
                      <a:pt x="2146" y="3982"/>
                    </a:lnTo>
                    <a:lnTo>
                      <a:pt x="2148" y="3986"/>
                    </a:lnTo>
                    <a:lnTo>
                      <a:pt x="2150" y="3988"/>
                    </a:lnTo>
                    <a:lnTo>
                      <a:pt x="2150" y="3988"/>
                    </a:lnTo>
                    <a:lnTo>
                      <a:pt x="2150" y="3996"/>
                    </a:lnTo>
                    <a:lnTo>
                      <a:pt x="2152" y="4000"/>
                    </a:lnTo>
                    <a:lnTo>
                      <a:pt x="2154" y="4008"/>
                    </a:lnTo>
                    <a:lnTo>
                      <a:pt x="2156" y="4020"/>
                    </a:lnTo>
                    <a:lnTo>
                      <a:pt x="2156" y="4020"/>
                    </a:lnTo>
                    <a:lnTo>
                      <a:pt x="2158" y="4034"/>
                    </a:lnTo>
                    <a:lnTo>
                      <a:pt x="2162" y="4044"/>
                    </a:lnTo>
                    <a:lnTo>
                      <a:pt x="2166" y="4054"/>
                    </a:lnTo>
                    <a:lnTo>
                      <a:pt x="2166" y="4058"/>
                    </a:lnTo>
                    <a:lnTo>
                      <a:pt x="2166" y="4064"/>
                    </a:lnTo>
                    <a:lnTo>
                      <a:pt x="2166" y="4064"/>
                    </a:lnTo>
                    <a:lnTo>
                      <a:pt x="2164" y="4072"/>
                    </a:lnTo>
                    <a:lnTo>
                      <a:pt x="2166" y="4076"/>
                    </a:lnTo>
                    <a:lnTo>
                      <a:pt x="2168" y="4082"/>
                    </a:lnTo>
                    <a:lnTo>
                      <a:pt x="2172" y="4092"/>
                    </a:lnTo>
                    <a:lnTo>
                      <a:pt x="2172" y="4092"/>
                    </a:lnTo>
                    <a:lnTo>
                      <a:pt x="2176" y="4100"/>
                    </a:lnTo>
                    <a:lnTo>
                      <a:pt x="2178" y="4102"/>
                    </a:lnTo>
                    <a:lnTo>
                      <a:pt x="2180" y="4102"/>
                    </a:lnTo>
                    <a:lnTo>
                      <a:pt x="2184" y="4100"/>
                    </a:lnTo>
                    <a:lnTo>
                      <a:pt x="2186" y="4102"/>
                    </a:lnTo>
                    <a:lnTo>
                      <a:pt x="2190" y="4104"/>
                    </a:lnTo>
                    <a:lnTo>
                      <a:pt x="2190" y="4104"/>
                    </a:lnTo>
                    <a:lnTo>
                      <a:pt x="2196" y="4108"/>
                    </a:lnTo>
                    <a:lnTo>
                      <a:pt x="2200" y="4106"/>
                    </a:lnTo>
                    <a:lnTo>
                      <a:pt x="2204" y="4104"/>
                    </a:lnTo>
                    <a:lnTo>
                      <a:pt x="2208" y="4104"/>
                    </a:lnTo>
                    <a:lnTo>
                      <a:pt x="2208" y="4104"/>
                    </a:lnTo>
                    <a:lnTo>
                      <a:pt x="2212" y="4104"/>
                    </a:lnTo>
                    <a:lnTo>
                      <a:pt x="2214" y="4102"/>
                    </a:lnTo>
                    <a:lnTo>
                      <a:pt x="2218" y="4098"/>
                    </a:lnTo>
                    <a:lnTo>
                      <a:pt x="2226" y="4098"/>
                    </a:lnTo>
                    <a:lnTo>
                      <a:pt x="2226" y="4098"/>
                    </a:lnTo>
                    <a:lnTo>
                      <a:pt x="2232" y="4100"/>
                    </a:lnTo>
                    <a:lnTo>
                      <a:pt x="2236" y="4098"/>
                    </a:lnTo>
                    <a:lnTo>
                      <a:pt x="2238" y="4096"/>
                    </a:lnTo>
                    <a:lnTo>
                      <a:pt x="2240" y="4094"/>
                    </a:lnTo>
                    <a:lnTo>
                      <a:pt x="2242" y="4090"/>
                    </a:lnTo>
                    <a:lnTo>
                      <a:pt x="2244" y="4088"/>
                    </a:lnTo>
                    <a:lnTo>
                      <a:pt x="2248" y="4088"/>
                    </a:lnTo>
                    <a:lnTo>
                      <a:pt x="2248" y="4088"/>
                    </a:lnTo>
                    <a:lnTo>
                      <a:pt x="2252" y="4086"/>
                    </a:lnTo>
                    <a:lnTo>
                      <a:pt x="2254" y="4084"/>
                    </a:lnTo>
                    <a:lnTo>
                      <a:pt x="2258" y="4074"/>
                    </a:lnTo>
                    <a:lnTo>
                      <a:pt x="2262" y="4070"/>
                    </a:lnTo>
                    <a:lnTo>
                      <a:pt x="2266" y="4068"/>
                    </a:lnTo>
                    <a:lnTo>
                      <a:pt x="2274" y="4066"/>
                    </a:lnTo>
                    <a:lnTo>
                      <a:pt x="2284" y="4066"/>
                    </a:lnTo>
                    <a:lnTo>
                      <a:pt x="2284" y="4066"/>
                    </a:lnTo>
                    <a:lnTo>
                      <a:pt x="2300" y="4066"/>
                    </a:lnTo>
                    <a:lnTo>
                      <a:pt x="2312" y="4062"/>
                    </a:lnTo>
                    <a:lnTo>
                      <a:pt x="2324" y="4058"/>
                    </a:lnTo>
                    <a:lnTo>
                      <a:pt x="2334" y="4050"/>
                    </a:lnTo>
                    <a:lnTo>
                      <a:pt x="2348" y="4038"/>
                    </a:lnTo>
                    <a:lnTo>
                      <a:pt x="2356" y="4036"/>
                    </a:lnTo>
                    <a:lnTo>
                      <a:pt x="2364" y="4036"/>
                    </a:lnTo>
                    <a:lnTo>
                      <a:pt x="2364" y="4036"/>
                    </a:lnTo>
                    <a:lnTo>
                      <a:pt x="2370" y="4038"/>
                    </a:lnTo>
                    <a:lnTo>
                      <a:pt x="2374" y="4038"/>
                    </a:lnTo>
                    <a:lnTo>
                      <a:pt x="2382" y="4034"/>
                    </a:lnTo>
                    <a:lnTo>
                      <a:pt x="2390" y="4028"/>
                    </a:lnTo>
                    <a:lnTo>
                      <a:pt x="2398" y="4020"/>
                    </a:lnTo>
                    <a:lnTo>
                      <a:pt x="2406" y="4010"/>
                    </a:lnTo>
                    <a:lnTo>
                      <a:pt x="2416" y="4002"/>
                    </a:lnTo>
                    <a:lnTo>
                      <a:pt x="2426" y="3998"/>
                    </a:lnTo>
                    <a:lnTo>
                      <a:pt x="2432" y="3996"/>
                    </a:lnTo>
                    <a:lnTo>
                      <a:pt x="2438" y="3998"/>
                    </a:lnTo>
                    <a:lnTo>
                      <a:pt x="2438" y="3998"/>
                    </a:lnTo>
                    <a:lnTo>
                      <a:pt x="2442" y="3998"/>
                    </a:lnTo>
                    <a:lnTo>
                      <a:pt x="2446" y="3996"/>
                    </a:lnTo>
                    <a:lnTo>
                      <a:pt x="2452" y="3992"/>
                    </a:lnTo>
                    <a:lnTo>
                      <a:pt x="2462" y="3986"/>
                    </a:lnTo>
                    <a:lnTo>
                      <a:pt x="2468" y="3982"/>
                    </a:lnTo>
                    <a:lnTo>
                      <a:pt x="2480" y="3978"/>
                    </a:lnTo>
                    <a:lnTo>
                      <a:pt x="2480" y="3978"/>
                    </a:lnTo>
                    <a:lnTo>
                      <a:pt x="2500" y="3972"/>
                    </a:lnTo>
                    <a:lnTo>
                      <a:pt x="2506" y="3968"/>
                    </a:lnTo>
                    <a:lnTo>
                      <a:pt x="2510" y="3966"/>
                    </a:lnTo>
                    <a:lnTo>
                      <a:pt x="2520" y="3962"/>
                    </a:lnTo>
                    <a:lnTo>
                      <a:pt x="2520" y="3962"/>
                    </a:lnTo>
                    <a:lnTo>
                      <a:pt x="2526" y="3960"/>
                    </a:lnTo>
                    <a:lnTo>
                      <a:pt x="2528" y="3954"/>
                    </a:lnTo>
                    <a:lnTo>
                      <a:pt x="2528" y="3942"/>
                    </a:lnTo>
                    <a:lnTo>
                      <a:pt x="2528" y="3934"/>
                    </a:lnTo>
                    <a:lnTo>
                      <a:pt x="2532" y="3926"/>
                    </a:lnTo>
                    <a:lnTo>
                      <a:pt x="2542" y="3916"/>
                    </a:lnTo>
                    <a:lnTo>
                      <a:pt x="2562" y="3906"/>
                    </a:lnTo>
                    <a:lnTo>
                      <a:pt x="2562" y="3906"/>
                    </a:lnTo>
                    <a:lnTo>
                      <a:pt x="2566" y="3902"/>
                    </a:lnTo>
                    <a:lnTo>
                      <a:pt x="2572" y="3902"/>
                    </a:lnTo>
                    <a:lnTo>
                      <a:pt x="2578" y="3902"/>
                    </a:lnTo>
                    <a:lnTo>
                      <a:pt x="2578" y="3902"/>
                    </a:lnTo>
                    <a:lnTo>
                      <a:pt x="2584" y="3902"/>
                    </a:lnTo>
                    <a:lnTo>
                      <a:pt x="2586" y="3900"/>
                    </a:lnTo>
                    <a:lnTo>
                      <a:pt x="2594" y="3894"/>
                    </a:lnTo>
                    <a:lnTo>
                      <a:pt x="2600" y="3892"/>
                    </a:lnTo>
                    <a:lnTo>
                      <a:pt x="2606" y="3890"/>
                    </a:lnTo>
                    <a:lnTo>
                      <a:pt x="2614" y="3888"/>
                    </a:lnTo>
                    <a:lnTo>
                      <a:pt x="2624" y="3890"/>
                    </a:lnTo>
                    <a:lnTo>
                      <a:pt x="2624" y="3890"/>
                    </a:lnTo>
                    <a:lnTo>
                      <a:pt x="2630" y="3890"/>
                    </a:lnTo>
                    <a:lnTo>
                      <a:pt x="2634" y="3890"/>
                    </a:lnTo>
                    <a:lnTo>
                      <a:pt x="2638" y="3888"/>
                    </a:lnTo>
                    <a:lnTo>
                      <a:pt x="2642" y="3886"/>
                    </a:lnTo>
                    <a:lnTo>
                      <a:pt x="2646" y="3878"/>
                    </a:lnTo>
                    <a:lnTo>
                      <a:pt x="2650" y="3868"/>
                    </a:lnTo>
                    <a:lnTo>
                      <a:pt x="2654" y="3858"/>
                    </a:lnTo>
                    <a:lnTo>
                      <a:pt x="2658" y="3850"/>
                    </a:lnTo>
                    <a:lnTo>
                      <a:pt x="2664" y="3844"/>
                    </a:lnTo>
                    <a:lnTo>
                      <a:pt x="2670" y="3842"/>
                    </a:lnTo>
                    <a:lnTo>
                      <a:pt x="2676" y="3842"/>
                    </a:lnTo>
                    <a:lnTo>
                      <a:pt x="2676" y="3842"/>
                    </a:lnTo>
                    <a:lnTo>
                      <a:pt x="2690" y="3840"/>
                    </a:lnTo>
                    <a:lnTo>
                      <a:pt x="2698" y="3836"/>
                    </a:lnTo>
                    <a:lnTo>
                      <a:pt x="2702" y="3830"/>
                    </a:lnTo>
                    <a:lnTo>
                      <a:pt x="2704" y="3822"/>
                    </a:lnTo>
                    <a:lnTo>
                      <a:pt x="2708" y="3814"/>
                    </a:lnTo>
                    <a:lnTo>
                      <a:pt x="2712" y="3806"/>
                    </a:lnTo>
                    <a:lnTo>
                      <a:pt x="2720" y="3798"/>
                    </a:lnTo>
                    <a:lnTo>
                      <a:pt x="2734" y="3794"/>
                    </a:lnTo>
                    <a:lnTo>
                      <a:pt x="2734" y="3794"/>
                    </a:lnTo>
                    <a:lnTo>
                      <a:pt x="2746" y="3790"/>
                    </a:lnTo>
                    <a:lnTo>
                      <a:pt x="2752" y="3786"/>
                    </a:lnTo>
                    <a:lnTo>
                      <a:pt x="2754" y="3782"/>
                    </a:lnTo>
                    <a:lnTo>
                      <a:pt x="2752" y="3776"/>
                    </a:lnTo>
                    <a:lnTo>
                      <a:pt x="2750" y="3768"/>
                    </a:lnTo>
                    <a:lnTo>
                      <a:pt x="2750" y="3758"/>
                    </a:lnTo>
                    <a:lnTo>
                      <a:pt x="2750" y="3746"/>
                    </a:lnTo>
                    <a:lnTo>
                      <a:pt x="2754" y="3730"/>
                    </a:lnTo>
                    <a:lnTo>
                      <a:pt x="2754" y="3730"/>
                    </a:lnTo>
                    <a:lnTo>
                      <a:pt x="2760" y="3716"/>
                    </a:lnTo>
                    <a:lnTo>
                      <a:pt x="2764" y="3710"/>
                    </a:lnTo>
                    <a:lnTo>
                      <a:pt x="2768" y="3712"/>
                    </a:lnTo>
                    <a:lnTo>
                      <a:pt x="2770" y="3714"/>
                    </a:lnTo>
                    <a:lnTo>
                      <a:pt x="2772" y="3718"/>
                    </a:lnTo>
                    <a:lnTo>
                      <a:pt x="2776" y="3720"/>
                    </a:lnTo>
                    <a:lnTo>
                      <a:pt x="2780" y="3716"/>
                    </a:lnTo>
                    <a:lnTo>
                      <a:pt x="2786" y="3704"/>
                    </a:lnTo>
                    <a:lnTo>
                      <a:pt x="2786" y="3704"/>
                    </a:lnTo>
                    <a:lnTo>
                      <a:pt x="2792" y="3692"/>
                    </a:lnTo>
                    <a:lnTo>
                      <a:pt x="2796" y="3684"/>
                    </a:lnTo>
                    <a:lnTo>
                      <a:pt x="2806" y="3674"/>
                    </a:lnTo>
                    <a:lnTo>
                      <a:pt x="2816" y="3664"/>
                    </a:lnTo>
                    <a:lnTo>
                      <a:pt x="2820" y="3656"/>
                    </a:lnTo>
                    <a:lnTo>
                      <a:pt x="2824" y="3644"/>
                    </a:lnTo>
                    <a:lnTo>
                      <a:pt x="2824" y="3644"/>
                    </a:lnTo>
                    <a:lnTo>
                      <a:pt x="2830" y="3628"/>
                    </a:lnTo>
                    <a:lnTo>
                      <a:pt x="2834" y="3618"/>
                    </a:lnTo>
                    <a:lnTo>
                      <a:pt x="2834" y="3616"/>
                    </a:lnTo>
                    <a:lnTo>
                      <a:pt x="2832" y="3614"/>
                    </a:lnTo>
                    <a:lnTo>
                      <a:pt x="2822" y="3608"/>
                    </a:lnTo>
                    <a:lnTo>
                      <a:pt x="2822" y="3608"/>
                    </a:lnTo>
                    <a:close/>
                    <a:moveTo>
                      <a:pt x="2468" y="3400"/>
                    </a:moveTo>
                    <a:lnTo>
                      <a:pt x="2468" y="3400"/>
                    </a:lnTo>
                    <a:lnTo>
                      <a:pt x="2470" y="3400"/>
                    </a:lnTo>
                    <a:lnTo>
                      <a:pt x="2468" y="3400"/>
                    </a:lnTo>
                    <a:lnTo>
                      <a:pt x="2468" y="3400"/>
                    </a:lnTo>
                    <a:lnTo>
                      <a:pt x="2468" y="3400"/>
                    </a:lnTo>
                    <a:lnTo>
                      <a:pt x="2468" y="3400"/>
                    </a:lnTo>
                    <a:close/>
                    <a:moveTo>
                      <a:pt x="1836" y="3098"/>
                    </a:moveTo>
                    <a:lnTo>
                      <a:pt x="1836" y="3098"/>
                    </a:lnTo>
                    <a:lnTo>
                      <a:pt x="1838" y="3094"/>
                    </a:lnTo>
                    <a:lnTo>
                      <a:pt x="1842" y="3094"/>
                    </a:lnTo>
                    <a:lnTo>
                      <a:pt x="1842" y="3094"/>
                    </a:lnTo>
                    <a:lnTo>
                      <a:pt x="1838" y="3094"/>
                    </a:lnTo>
                    <a:lnTo>
                      <a:pt x="1836" y="3098"/>
                    </a:lnTo>
                    <a:lnTo>
                      <a:pt x="1836" y="3098"/>
                    </a:lnTo>
                    <a:close/>
                    <a:moveTo>
                      <a:pt x="1856" y="3100"/>
                    </a:moveTo>
                    <a:lnTo>
                      <a:pt x="1856" y="3100"/>
                    </a:lnTo>
                    <a:lnTo>
                      <a:pt x="1856" y="3102"/>
                    </a:lnTo>
                    <a:lnTo>
                      <a:pt x="1856" y="3102"/>
                    </a:lnTo>
                    <a:lnTo>
                      <a:pt x="1856" y="3102"/>
                    </a:lnTo>
                    <a:lnTo>
                      <a:pt x="1856" y="3102"/>
                    </a:lnTo>
                    <a:lnTo>
                      <a:pt x="1856" y="3100"/>
                    </a:lnTo>
                    <a:lnTo>
                      <a:pt x="1856" y="3100"/>
                    </a:lnTo>
                    <a:lnTo>
                      <a:pt x="1856" y="3090"/>
                    </a:lnTo>
                    <a:lnTo>
                      <a:pt x="1858" y="3084"/>
                    </a:lnTo>
                    <a:lnTo>
                      <a:pt x="1860" y="3082"/>
                    </a:lnTo>
                    <a:lnTo>
                      <a:pt x="1860" y="3082"/>
                    </a:lnTo>
                    <a:lnTo>
                      <a:pt x="1858" y="3084"/>
                    </a:lnTo>
                    <a:lnTo>
                      <a:pt x="1856" y="3090"/>
                    </a:lnTo>
                    <a:lnTo>
                      <a:pt x="1856" y="3100"/>
                    </a:lnTo>
                    <a:lnTo>
                      <a:pt x="1856" y="310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sp>
            <p:nvSpPr>
              <p:cNvPr id="112" name="Freeform 6156"/>
              <p:cNvSpPr>
                <a:spLocks noEditPoints="1"/>
              </p:cNvSpPr>
              <p:nvPr/>
            </p:nvSpPr>
            <p:spPr bwMode="auto">
              <a:xfrm>
                <a:off x="5028596" y="1282280"/>
                <a:ext cx="3353404" cy="3128784"/>
              </a:xfrm>
              <a:custGeom>
                <a:avLst/>
                <a:gdLst/>
                <a:ahLst/>
                <a:cxnLst>
                  <a:cxn ang="0">
                    <a:pos x="526" y="538"/>
                  </a:cxn>
                  <a:cxn ang="0">
                    <a:pos x="590" y="96"/>
                  </a:cxn>
                  <a:cxn ang="0">
                    <a:pos x="3862" y="498"/>
                  </a:cxn>
                  <a:cxn ang="0">
                    <a:pos x="5002" y="958"/>
                  </a:cxn>
                  <a:cxn ang="0">
                    <a:pos x="3368" y="758"/>
                  </a:cxn>
                  <a:cxn ang="0">
                    <a:pos x="404" y="882"/>
                  </a:cxn>
                  <a:cxn ang="0">
                    <a:pos x="76" y="120"/>
                  </a:cxn>
                  <a:cxn ang="0">
                    <a:pos x="726" y="18"/>
                  </a:cxn>
                  <a:cxn ang="0">
                    <a:pos x="690" y="124"/>
                  </a:cxn>
                  <a:cxn ang="0">
                    <a:pos x="2856" y="5256"/>
                  </a:cxn>
                  <a:cxn ang="0">
                    <a:pos x="3254" y="4402"/>
                  </a:cxn>
                  <a:cxn ang="0">
                    <a:pos x="3292" y="4482"/>
                  </a:cxn>
                  <a:cxn ang="0">
                    <a:pos x="3182" y="4204"/>
                  </a:cxn>
                  <a:cxn ang="0">
                    <a:pos x="3256" y="4348"/>
                  </a:cxn>
                  <a:cxn ang="0">
                    <a:pos x="3168" y="4352"/>
                  </a:cxn>
                  <a:cxn ang="0">
                    <a:pos x="3346" y="4866"/>
                  </a:cxn>
                  <a:cxn ang="0">
                    <a:pos x="3302" y="3114"/>
                  </a:cxn>
                  <a:cxn ang="0">
                    <a:pos x="3166" y="5238"/>
                  </a:cxn>
                  <a:cxn ang="0">
                    <a:pos x="3310" y="2936"/>
                  </a:cxn>
                  <a:cxn ang="0">
                    <a:pos x="1978" y="4450"/>
                  </a:cxn>
                  <a:cxn ang="0">
                    <a:pos x="2578" y="4662"/>
                  </a:cxn>
                  <a:cxn ang="0">
                    <a:pos x="2576" y="5220"/>
                  </a:cxn>
                  <a:cxn ang="0">
                    <a:pos x="2488" y="5076"/>
                  </a:cxn>
                  <a:cxn ang="0">
                    <a:pos x="2114" y="4658"/>
                  </a:cxn>
                  <a:cxn ang="0">
                    <a:pos x="8" y="5430"/>
                  </a:cxn>
                  <a:cxn ang="0">
                    <a:pos x="3432" y="3438"/>
                  </a:cxn>
                  <a:cxn ang="0">
                    <a:pos x="3608" y="3162"/>
                  </a:cxn>
                  <a:cxn ang="0">
                    <a:pos x="3068" y="4796"/>
                  </a:cxn>
                  <a:cxn ang="0">
                    <a:pos x="3124" y="4884"/>
                  </a:cxn>
                  <a:cxn ang="0">
                    <a:pos x="3058" y="4324"/>
                  </a:cxn>
                  <a:cxn ang="0">
                    <a:pos x="3358" y="4906"/>
                  </a:cxn>
                  <a:cxn ang="0">
                    <a:pos x="3910" y="2748"/>
                  </a:cxn>
                  <a:cxn ang="0">
                    <a:pos x="3678" y="3106"/>
                  </a:cxn>
                  <a:cxn ang="0">
                    <a:pos x="3318" y="3126"/>
                  </a:cxn>
                  <a:cxn ang="0">
                    <a:pos x="3994" y="2128"/>
                  </a:cxn>
                  <a:cxn ang="0">
                    <a:pos x="3860" y="2722"/>
                  </a:cxn>
                  <a:cxn ang="0">
                    <a:pos x="3184" y="4192"/>
                  </a:cxn>
                  <a:cxn ang="0">
                    <a:pos x="3002" y="4380"/>
                  </a:cxn>
                  <a:cxn ang="0">
                    <a:pos x="3286" y="4302"/>
                  </a:cxn>
                  <a:cxn ang="0">
                    <a:pos x="2958" y="4522"/>
                  </a:cxn>
                  <a:cxn ang="0">
                    <a:pos x="2628" y="4902"/>
                  </a:cxn>
                  <a:cxn ang="0">
                    <a:pos x="3222" y="3634"/>
                  </a:cxn>
                  <a:cxn ang="0">
                    <a:pos x="5080" y="950"/>
                  </a:cxn>
                  <a:cxn ang="0">
                    <a:pos x="3402" y="796"/>
                  </a:cxn>
                  <a:cxn ang="0">
                    <a:pos x="2280" y="434"/>
                  </a:cxn>
                  <a:cxn ang="0">
                    <a:pos x="1416" y="762"/>
                  </a:cxn>
                  <a:cxn ang="0">
                    <a:pos x="1160" y="1104"/>
                  </a:cxn>
                  <a:cxn ang="0">
                    <a:pos x="216" y="1078"/>
                  </a:cxn>
                  <a:cxn ang="0">
                    <a:pos x="654" y="3582"/>
                  </a:cxn>
                  <a:cxn ang="0">
                    <a:pos x="1282" y="4330"/>
                  </a:cxn>
                  <a:cxn ang="0">
                    <a:pos x="1866" y="3684"/>
                  </a:cxn>
                  <a:cxn ang="0">
                    <a:pos x="2194" y="4246"/>
                  </a:cxn>
                  <a:cxn ang="0">
                    <a:pos x="2286" y="4500"/>
                  </a:cxn>
                  <a:cxn ang="0">
                    <a:pos x="2566" y="4318"/>
                  </a:cxn>
                  <a:cxn ang="0">
                    <a:pos x="2746" y="3768"/>
                  </a:cxn>
                  <a:cxn ang="0">
                    <a:pos x="3044" y="3552"/>
                  </a:cxn>
                  <a:cxn ang="0">
                    <a:pos x="3128" y="3244"/>
                  </a:cxn>
                  <a:cxn ang="0">
                    <a:pos x="3000" y="2856"/>
                  </a:cxn>
                  <a:cxn ang="0">
                    <a:pos x="3312" y="2928"/>
                  </a:cxn>
                  <a:cxn ang="0">
                    <a:pos x="3352" y="2850"/>
                  </a:cxn>
                  <a:cxn ang="0">
                    <a:pos x="3800" y="2012"/>
                  </a:cxn>
                  <a:cxn ang="0">
                    <a:pos x="4728" y="1550"/>
                  </a:cxn>
                  <a:cxn ang="0">
                    <a:pos x="4848" y="1618"/>
                  </a:cxn>
                </a:cxnLst>
                <a:rect l="0" t="0" r="r" b="b"/>
                <a:pathLst>
                  <a:path w="5856" h="5472">
                    <a:moveTo>
                      <a:pt x="1912" y="64"/>
                    </a:moveTo>
                    <a:lnTo>
                      <a:pt x="1912" y="64"/>
                    </a:lnTo>
                    <a:lnTo>
                      <a:pt x="1910" y="60"/>
                    </a:lnTo>
                    <a:lnTo>
                      <a:pt x="1902" y="58"/>
                    </a:lnTo>
                    <a:lnTo>
                      <a:pt x="1882" y="54"/>
                    </a:lnTo>
                    <a:lnTo>
                      <a:pt x="1862" y="54"/>
                    </a:lnTo>
                    <a:lnTo>
                      <a:pt x="1854" y="56"/>
                    </a:lnTo>
                    <a:lnTo>
                      <a:pt x="1850" y="60"/>
                    </a:lnTo>
                    <a:lnTo>
                      <a:pt x="1850" y="60"/>
                    </a:lnTo>
                    <a:lnTo>
                      <a:pt x="1850" y="62"/>
                    </a:lnTo>
                    <a:lnTo>
                      <a:pt x="1852" y="64"/>
                    </a:lnTo>
                    <a:lnTo>
                      <a:pt x="1858" y="68"/>
                    </a:lnTo>
                    <a:lnTo>
                      <a:pt x="1868" y="70"/>
                    </a:lnTo>
                    <a:lnTo>
                      <a:pt x="1880" y="70"/>
                    </a:lnTo>
                    <a:lnTo>
                      <a:pt x="1902" y="68"/>
                    </a:lnTo>
                    <a:lnTo>
                      <a:pt x="1908" y="66"/>
                    </a:lnTo>
                    <a:lnTo>
                      <a:pt x="1912" y="64"/>
                    </a:lnTo>
                    <a:lnTo>
                      <a:pt x="1912" y="64"/>
                    </a:lnTo>
                    <a:close/>
                    <a:moveTo>
                      <a:pt x="1078" y="706"/>
                    </a:moveTo>
                    <a:lnTo>
                      <a:pt x="1078" y="706"/>
                    </a:lnTo>
                    <a:lnTo>
                      <a:pt x="1094" y="702"/>
                    </a:lnTo>
                    <a:lnTo>
                      <a:pt x="1100" y="700"/>
                    </a:lnTo>
                    <a:lnTo>
                      <a:pt x="1104" y="698"/>
                    </a:lnTo>
                    <a:lnTo>
                      <a:pt x="1104" y="694"/>
                    </a:lnTo>
                    <a:lnTo>
                      <a:pt x="1104" y="690"/>
                    </a:lnTo>
                    <a:lnTo>
                      <a:pt x="1102" y="684"/>
                    </a:lnTo>
                    <a:lnTo>
                      <a:pt x="1094" y="678"/>
                    </a:lnTo>
                    <a:lnTo>
                      <a:pt x="1082" y="674"/>
                    </a:lnTo>
                    <a:lnTo>
                      <a:pt x="1070" y="674"/>
                    </a:lnTo>
                    <a:lnTo>
                      <a:pt x="1058" y="676"/>
                    </a:lnTo>
                    <a:lnTo>
                      <a:pt x="1058" y="676"/>
                    </a:lnTo>
                    <a:lnTo>
                      <a:pt x="1048" y="682"/>
                    </a:lnTo>
                    <a:lnTo>
                      <a:pt x="1040" y="688"/>
                    </a:lnTo>
                    <a:lnTo>
                      <a:pt x="1036" y="694"/>
                    </a:lnTo>
                    <a:lnTo>
                      <a:pt x="1036" y="700"/>
                    </a:lnTo>
                    <a:lnTo>
                      <a:pt x="1040" y="704"/>
                    </a:lnTo>
                    <a:lnTo>
                      <a:pt x="1048" y="708"/>
                    </a:lnTo>
                    <a:lnTo>
                      <a:pt x="1060" y="708"/>
                    </a:lnTo>
                    <a:lnTo>
                      <a:pt x="1078" y="706"/>
                    </a:lnTo>
                    <a:lnTo>
                      <a:pt x="1078" y="706"/>
                    </a:lnTo>
                    <a:close/>
                    <a:moveTo>
                      <a:pt x="1928" y="154"/>
                    </a:moveTo>
                    <a:lnTo>
                      <a:pt x="1928" y="154"/>
                    </a:lnTo>
                    <a:lnTo>
                      <a:pt x="1914" y="152"/>
                    </a:lnTo>
                    <a:lnTo>
                      <a:pt x="1902" y="154"/>
                    </a:lnTo>
                    <a:lnTo>
                      <a:pt x="1894" y="156"/>
                    </a:lnTo>
                    <a:lnTo>
                      <a:pt x="1890" y="160"/>
                    </a:lnTo>
                    <a:lnTo>
                      <a:pt x="1890" y="164"/>
                    </a:lnTo>
                    <a:lnTo>
                      <a:pt x="1894" y="168"/>
                    </a:lnTo>
                    <a:lnTo>
                      <a:pt x="1900" y="172"/>
                    </a:lnTo>
                    <a:lnTo>
                      <a:pt x="1910" y="176"/>
                    </a:lnTo>
                    <a:lnTo>
                      <a:pt x="1910" y="176"/>
                    </a:lnTo>
                    <a:lnTo>
                      <a:pt x="1920" y="178"/>
                    </a:lnTo>
                    <a:lnTo>
                      <a:pt x="1926" y="180"/>
                    </a:lnTo>
                    <a:lnTo>
                      <a:pt x="1932" y="186"/>
                    </a:lnTo>
                    <a:lnTo>
                      <a:pt x="1934" y="188"/>
                    </a:lnTo>
                    <a:lnTo>
                      <a:pt x="1938" y="190"/>
                    </a:lnTo>
                    <a:lnTo>
                      <a:pt x="1956" y="188"/>
                    </a:lnTo>
                    <a:lnTo>
                      <a:pt x="1956" y="188"/>
                    </a:lnTo>
                    <a:lnTo>
                      <a:pt x="1982" y="180"/>
                    </a:lnTo>
                    <a:lnTo>
                      <a:pt x="1996" y="174"/>
                    </a:lnTo>
                    <a:lnTo>
                      <a:pt x="2000" y="172"/>
                    </a:lnTo>
                    <a:lnTo>
                      <a:pt x="2000" y="170"/>
                    </a:lnTo>
                    <a:lnTo>
                      <a:pt x="1998" y="168"/>
                    </a:lnTo>
                    <a:lnTo>
                      <a:pt x="1994" y="166"/>
                    </a:lnTo>
                    <a:lnTo>
                      <a:pt x="1982" y="162"/>
                    </a:lnTo>
                    <a:lnTo>
                      <a:pt x="1964" y="158"/>
                    </a:lnTo>
                    <a:lnTo>
                      <a:pt x="1928" y="154"/>
                    </a:lnTo>
                    <a:lnTo>
                      <a:pt x="1928" y="154"/>
                    </a:lnTo>
                    <a:close/>
                    <a:moveTo>
                      <a:pt x="526" y="138"/>
                    </a:moveTo>
                    <a:lnTo>
                      <a:pt x="526" y="138"/>
                    </a:lnTo>
                    <a:lnTo>
                      <a:pt x="532" y="144"/>
                    </a:lnTo>
                    <a:lnTo>
                      <a:pt x="538" y="148"/>
                    </a:lnTo>
                    <a:lnTo>
                      <a:pt x="552" y="152"/>
                    </a:lnTo>
                    <a:lnTo>
                      <a:pt x="552" y="152"/>
                    </a:lnTo>
                    <a:lnTo>
                      <a:pt x="558" y="154"/>
                    </a:lnTo>
                    <a:lnTo>
                      <a:pt x="562" y="152"/>
                    </a:lnTo>
                    <a:lnTo>
                      <a:pt x="564" y="150"/>
                    </a:lnTo>
                    <a:lnTo>
                      <a:pt x="564" y="146"/>
                    </a:lnTo>
                    <a:lnTo>
                      <a:pt x="564" y="142"/>
                    </a:lnTo>
                    <a:lnTo>
                      <a:pt x="568" y="140"/>
                    </a:lnTo>
                    <a:lnTo>
                      <a:pt x="572" y="136"/>
                    </a:lnTo>
                    <a:lnTo>
                      <a:pt x="582" y="136"/>
                    </a:lnTo>
                    <a:lnTo>
                      <a:pt x="582" y="136"/>
                    </a:lnTo>
                    <a:lnTo>
                      <a:pt x="600" y="134"/>
                    </a:lnTo>
                    <a:lnTo>
                      <a:pt x="604" y="132"/>
                    </a:lnTo>
                    <a:lnTo>
                      <a:pt x="606" y="130"/>
                    </a:lnTo>
                    <a:lnTo>
                      <a:pt x="604" y="128"/>
                    </a:lnTo>
                    <a:lnTo>
                      <a:pt x="598" y="126"/>
                    </a:lnTo>
                    <a:lnTo>
                      <a:pt x="580" y="122"/>
                    </a:lnTo>
                    <a:lnTo>
                      <a:pt x="580" y="122"/>
                    </a:lnTo>
                    <a:lnTo>
                      <a:pt x="556" y="120"/>
                    </a:lnTo>
                    <a:lnTo>
                      <a:pt x="534" y="122"/>
                    </a:lnTo>
                    <a:lnTo>
                      <a:pt x="526" y="124"/>
                    </a:lnTo>
                    <a:lnTo>
                      <a:pt x="522" y="126"/>
                    </a:lnTo>
                    <a:lnTo>
                      <a:pt x="522" y="132"/>
                    </a:lnTo>
                    <a:lnTo>
                      <a:pt x="526" y="138"/>
                    </a:lnTo>
                    <a:lnTo>
                      <a:pt x="526" y="138"/>
                    </a:lnTo>
                    <a:close/>
                    <a:moveTo>
                      <a:pt x="658" y="948"/>
                    </a:moveTo>
                    <a:lnTo>
                      <a:pt x="658" y="948"/>
                    </a:lnTo>
                    <a:lnTo>
                      <a:pt x="658" y="944"/>
                    </a:lnTo>
                    <a:lnTo>
                      <a:pt x="656" y="942"/>
                    </a:lnTo>
                    <a:lnTo>
                      <a:pt x="644" y="936"/>
                    </a:lnTo>
                    <a:lnTo>
                      <a:pt x="628" y="926"/>
                    </a:lnTo>
                    <a:lnTo>
                      <a:pt x="620" y="920"/>
                    </a:lnTo>
                    <a:lnTo>
                      <a:pt x="612" y="912"/>
                    </a:lnTo>
                    <a:lnTo>
                      <a:pt x="612" y="912"/>
                    </a:lnTo>
                    <a:lnTo>
                      <a:pt x="602" y="904"/>
                    </a:lnTo>
                    <a:lnTo>
                      <a:pt x="594" y="904"/>
                    </a:lnTo>
                    <a:lnTo>
                      <a:pt x="588" y="906"/>
                    </a:lnTo>
                    <a:lnTo>
                      <a:pt x="582" y="908"/>
                    </a:lnTo>
                    <a:lnTo>
                      <a:pt x="582" y="908"/>
                    </a:lnTo>
                    <a:lnTo>
                      <a:pt x="580" y="910"/>
                    </a:lnTo>
                    <a:lnTo>
                      <a:pt x="580" y="912"/>
                    </a:lnTo>
                    <a:lnTo>
                      <a:pt x="582" y="916"/>
                    </a:lnTo>
                    <a:lnTo>
                      <a:pt x="584" y="920"/>
                    </a:lnTo>
                    <a:lnTo>
                      <a:pt x="582" y="920"/>
                    </a:lnTo>
                    <a:lnTo>
                      <a:pt x="582" y="920"/>
                    </a:lnTo>
                    <a:lnTo>
                      <a:pt x="578" y="918"/>
                    </a:lnTo>
                    <a:lnTo>
                      <a:pt x="576" y="918"/>
                    </a:lnTo>
                    <a:lnTo>
                      <a:pt x="574" y="920"/>
                    </a:lnTo>
                    <a:lnTo>
                      <a:pt x="576" y="924"/>
                    </a:lnTo>
                    <a:lnTo>
                      <a:pt x="580" y="930"/>
                    </a:lnTo>
                    <a:lnTo>
                      <a:pt x="588" y="940"/>
                    </a:lnTo>
                    <a:lnTo>
                      <a:pt x="588" y="940"/>
                    </a:lnTo>
                    <a:lnTo>
                      <a:pt x="594" y="944"/>
                    </a:lnTo>
                    <a:lnTo>
                      <a:pt x="596" y="946"/>
                    </a:lnTo>
                    <a:lnTo>
                      <a:pt x="600" y="944"/>
                    </a:lnTo>
                    <a:lnTo>
                      <a:pt x="600" y="942"/>
                    </a:lnTo>
                    <a:lnTo>
                      <a:pt x="600" y="942"/>
                    </a:lnTo>
                    <a:lnTo>
                      <a:pt x="604" y="942"/>
                    </a:lnTo>
                    <a:lnTo>
                      <a:pt x="610" y="942"/>
                    </a:lnTo>
                    <a:lnTo>
                      <a:pt x="618" y="946"/>
                    </a:lnTo>
                    <a:lnTo>
                      <a:pt x="620" y="948"/>
                    </a:lnTo>
                    <a:lnTo>
                      <a:pt x="620" y="952"/>
                    </a:lnTo>
                    <a:lnTo>
                      <a:pt x="620" y="952"/>
                    </a:lnTo>
                    <a:lnTo>
                      <a:pt x="620" y="956"/>
                    </a:lnTo>
                    <a:lnTo>
                      <a:pt x="624" y="958"/>
                    </a:lnTo>
                    <a:lnTo>
                      <a:pt x="638" y="956"/>
                    </a:lnTo>
                    <a:lnTo>
                      <a:pt x="652" y="954"/>
                    </a:lnTo>
                    <a:lnTo>
                      <a:pt x="656" y="950"/>
                    </a:lnTo>
                    <a:lnTo>
                      <a:pt x="658" y="948"/>
                    </a:lnTo>
                    <a:lnTo>
                      <a:pt x="658" y="948"/>
                    </a:lnTo>
                    <a:close/>
                    <a:moveTo>
                      <a:pt x="768" y="460"/>
                    </a:moveTo>
                    <a:lnTo>
                      <a:pt x="768" y="460"/>
                    </a:lnTo>
                    <a:lnTo>
                      <a:pt x="752" y="466"/>
                    </a:lnTo>
                    <a:lnTo>
                      <a:pt x="742" y="468"/>
                    </a:lnTo>
                    <a:lnTo>
                      <a:pt x="736" y="468"/>
                    </a:lnTo>
                    <a:lnTo>
                      <a:pt x="732" y="466"/>
                    </a:lnTo>
                    <a:lnTo>
                      <a:pt x="728" y="462"/>
                    </a:lnTo>
                    <a:lnTo>
                      <a:pt x="722" y="460"/>
                    </a:lnTo>
                    <a:lnTo>
                      <a:pt x="712" y="458"/>
                    </a:lnTo>
                    <a:lnTo>
                      <a:pt x="698" y="460"/>
                    </a:lnTo>
                    <a:lnTo>
                      <a:pt x="698" y="460"/>
                    </a:lnTo>
                    <a:lnTo>
                      <a:pt x="682" y="462"/>
                    </a:lnTo>
                    <a:lnTo>
                      <a:pt x="674" y="464"/>
                    </a:lnTo>
                    <a:lnTo>
                      <a:pt x="672" y="468"/>
                    </a:lnTo>
                    <a:lnTo>
                      <a:pt x="672" y="470"/>
                    </a:lnTo>
                    <a:lnTo>
                      <a:pt x="674" y="474"/>
                    </a:lnTo>
                    <a:lnTo>
                      <a:pt x="674" y="476"/>
                    </a:lnTo>
                    <a:lnTo>
                      <a:pt x="672" y="478"/>
                    </a:lnTo>
                    <a:lnTo>
                      <a:pt x="664" y="476"/>
                    </a:lnTo>
                    <a:lnTo>
                      <a:pt x="664" y="476"/>
                    </a:lnTo>
                    <a:lnTo>
                      <a:pt x="652" y="478"/>
                    </a:lnTo>
                    <a:lnTo>
                      <a:pt x="636" y="480"/>
                    </a:lnTo>
                    <a:lnTo>
                      <a:pt x="620" y="484"/>
                    </a:lnTo>
                    <a:lnTo>
                      <a:pt x="602" y="492"/>
                    </a:lnTo>
                    <a:lnTo>
                      <a:pt x="584" y="500"/>
                    </a:lnTo>
                    <a:lnTo>
                      <a:pt x="568" y="508"/>
                    </a:lnTo>
                    <a:lnTo>
                      <a:pt x="554" y="518"/>
                    </a:lnTo>
                    <a:lnTo>
                      <a:pt x="544" y="528"/>
                    </a:lnTo>
                    <a:lnTo>
                      <a:pt x="544" y="528"/>
                    </a:lnTo>
                    <a:lnTo>
                      <a:pt x="538" y="536"/>
                    </a:lnTo>
                    <a:lnTo>
                      <a:pt x="532" y="538"/>
                    </a:lnTo>
                    <a:lnTo>
                      <a:pt x="528" y="538"/>
                    </a:lnTo>
                    <a:lnTo>
                      <a:pt x="526" y="538"/>
                    </a:lnTo>
                    <a:lnTo>
                      <a:pt x="524" y="536"/>
                    </a:lnTo>
                    <a:lnTo>
                      <a:pt x="520" y="534"/>
                    </a:lnTo>
                    <a:lnTo>
                      <a:pt x="514" y="536"/>
                    </a:lnTo>
                    <a:lnTo>
                      <a:pt x="506" y="542"/>
                    </a:lnTo>
                    <a:lnTo>
                      <a:pt x="506" y="542"/>
                    </a:lnTo>
                    <a:lnTo>
                      <a:pt x="498" y="548"/>
                    </a:lnTo>
                    <a:lnTo>
                      <a:pt x="494" y="550"/>
                    </a:lnTo>
                    <a:lnTo>
                      <a:pt x="490" y="548"/>
                    </a:lnTo>
                    <a:lnTo>
                      <a:pt x="488" y="546"/>
                    </a:lnTo>
                    <a:lnTo>
                      <a:pt x="488" y="544"/>
                    </a:lnTo>
                    <a:lnTo>
                      <a:pt x="484" y="542"/>
                    </a:lnTo>
                    <a:lnTo>
                      <a:pt x="480" y="542"/>
                    </a:lnTo>
                    <a:lnTo>
                      <a:pt x="474" y="546"/>
                    </a:lnTo>
                    <a:lnTo>
                      <a:pt x="474" y="546"/>
                    </a:lnTo>
                    <a:lnTo>
                      <a:pt x="470" y="550"/>
                    </a:lnTo>
                    <a:lnTo>
                      <a:pt x="468" y="554"/>
                    </a:lnTo>
                    <a:lnTo>
                      <a:pt x="470" y="558"/>
                    </a:lnTo>
                    <a:lnTo>
                      <a:pt x="474" y="560"/>
                    </a:lnTo>
                    <a:lnTo>
                      <a:pt x="480" y="564"/>
                    </a:lnTo>
                    <a:lnTo>
                      <a:pt x="480" y="568"/>
                    </a:lnTo>
                    <a:lnTo>
                      <a:pt x="476" y="570"/>
                    </a:lnTo>
                    <a:lnTo>
                      <a:pt x="476" y="570"/>
                    </a:lnTo>
                    <a:lnTo>
                      <a:pt x="472" y="572"/>
                    </a:lnTo>
                    <a:lnTo>
                      <a:pt x="470" y="576"/>
                    </a:lnTo>
                    <a:lnTo>
                      <a:pt x="472" y="578"/>
                    </a:lnTo>
                    <a:lnTo>
                      <a:pt x="476" y="580"/>
                    </a:lnTo>
                    <a:lnTo>
                      <a:pt x="478" y="582"/>
                    </a:lnTo>
                    <a:lnTo>
                      <a:pt x="478" y="584"/>
                    </a:lnTo>
                    <a:lnTo>
                      <a:pt x="476" y="586"/>
                    </a:lnTo>
                    <a:lnTo>
                      <a:pt x="468" y="586"/>
                    </a:lnTo>
                    <a:lnTo>
                      <a:pt x="468" y="586"/>
                    </a:lnTo>
                    <a:lnTo>
                      <a:pt x="460" y="588"/>
                    </a:lnTo>
                    <a:lnTo>
                      <a:pt x="454" y="594"/>
                    </a:lnTo>
                    <a:lnTo>
                      <a:pt x="450" y="600"/>
                    </a:lnTo>
                    <a:lnTo>
                      <a:pt x="446" y="606"/>
                    </a:lnTo>
                    <a:lnTo>
                      <a:pt x="442" y="614"/>
                    </a:lnTo>
                    <a:lnTo>
                      <a:pt x="436" y="622"/>
                    </a:lnTo>
                    <a:lnTo>
                      <a:pt x="426" y="630"/>
                    </a:lnTo>
                    <a:lnTo>
                      <a:pt x="414" y="636"/>
                    </a:lnTo>
                    <a:lnTo>
                      <a:pt x="414" y="636"/>
                    </a:lnTo>
                    <a:lnTo>
                      <a:pt x="390" y="648"/>
                    </a:lnTo>
                    <a:lnTo>
                      <a:pt x="384" y="654"/>
                    </a:lnTo>
                    <a:lnTo>
                      <a:pt x="380" y="658"/>
                    </a:lnTo>
                    <a:lnTo>
                      <a:pt x="380" y="662"/>
                    </a:lnTo>
                    <a:lnTo>
                      <a:pt x="382" y="666"/>
                    </a:lnTo>
                    <a:lnTo>
                      <a:pt x="390" y="666"/>
                    </a:lnTo>
                    <a:lnTo>
                      <a:pt x="400" y="666"/>
                    </a:lnTo>
                    <a:lnTo>
                      <a:pt x="400" y="666"/>
                    </a:lnTo>
                    <a:lnTo>
                      <a:pt x="408" y="668"/>
                    </a:lnTo>
                    <a:lnTo>
                      <a:pt x="410" y="670"/>
                    </a:lnTo>
                    <a:lnTo>
                      <a:pt x="408" y="674"/>
                    </a:lnTo>
                    <a:lnTo>
                      <a:pt x="406" y="678"/>
                    </a:lnTo>
                    <a:lnTo>
                      <a:pt x="402" y="680"/>
                    </a:lnTo>
                    <a:lnTo>
                      <a:pt x="402" y="684"/>
                    </a:lnTo>
                    <a:lnTo>
                      <a:pt x="406" y="684"/>
                    </a:lnTo>
                    <a:lnTo>
                      <a:pt x="416" y="682"/>
                    </a:lnTo>
                    <a:lnTo>
                      <a:pt x="416" y="682"/>
                    </a:lnTo>
                    <a:lnTo>
                      <a:pt x="438" y="676"/>
                    </a:lnTo>
                    <a:lnTo>
                      <a:pt x="446" y="676"/>
                    </a:lnTo>
                    <a:lnTo>
                      <a:pt x="454" y="676"/>
                    </a:lnTo>
                    <a:lnTo>
                      <a:pt x="460" y="678"/>
                    </a:lnTo>
                    <a:lnTo>
                      <a:pt x="466" y="682"/>
                    </a:lnTo>
                    <a:lnTo>
                      <a:pt x="486" y="692"/>
                    </a:lnTo>
                    <a:lnTo>
                      <a:pt x="486" y="692"/>
                    </a:lnTo>
                    <a:lnTo>
                      <a:pt x="496" y="696"/>
                    </a:lnTo>
                    <a:lnTo>
                      <a:pt x="508" y="694"/>
                    </a:lnTo>
                    <a:lnTo>
                      <a:pt x="514" y="692"/>
                    </a:lnTo>
                    <a:lnTo>
                      <a:pt x="518" y="690"/>
                    </a:lnTo>
                    <a:lnTo>
                      <a:pt x="522" y="686"/>
                    </a:lnTo>
                    <a:lnTo>
                      <a:pt x="524" y="680"/>
                    </a:lnTo>
                    <a:lnTo>
                      <a:pt x="524" y="680"/>
                    </a:lnTo>
                    <a:lnTo>
                      <a:pt x="526" y="674"/>
                    </a:lnTo>
                    <a:lnTo>
                      <a:pt x="528" y="672"/>
                    </a:lnTo>
                    <a:lnTo>
                      <a:pt x="538" y="670"/>
                    </a:lnTo>
                    <a:lnTo>
                      <a:pt x="542" y="668"/>
                    </a:lnTo>
                    <a:lnTo>
                      <a:pt x="546" y="664"/>
                    </a:lnTo>
                    <a:lnTo>
                      <a:pt x="550" y="660"/>
                    </a:lnTo>
                    <a:lnTo>
                      <a:pt x="554" y="650"/>
                    </a:lnTo>
                    <a:lnTo>
                      <a:pt x="554" y="650"/>
                    </a:lnTo>
                    <a:lnTo>
                      <a:pt x="558" y="640"/>
                    </a:lnTo>
                    <a:lnTo>
                      <a:pt x="562" y="634"/>
                    </a:lnTo>
                    <a:lnTo>
                      <a:pt x="566" y="630"/>
                    </a:lnTo>
                    <a:lnTo>
                      <a:pt x="572" y="628"/>
                    </a:lnTo>
                    <a:lnTo>
                      <a:pt x="580" y="624"/>
                    </a:lnTo>
                    <a:lnTo>
                      <a:pt x="584" y="622"/>
                    </a:lnTo>
                    <a:lnTo>
                      <a:pt x="586" y="616"/>
                    </a:lnTo>
                    <a:lnTo>
                      <a:pt x="586" y="616"/>
                    </a:lnTo>
                    <a:lnTo>
                      <a:pt x="588" y="606"/>
                    </a:lnTo>
                    <a:lnTo>
                      <a:pt x="590" y="602"/>
                    </a:lnTo>
                    <a:lnTo>
                      <a:pt x="594" y="600"/>
                    </a:lnTo>
                    <a:lnTo>
                      <a:pt x="610" y="594"/>
                    </a:lnTo>
                    <a:lnTo>
                      <a:pt x="638" y="584"/>
                    </a:lnTo>
                    <a:lnTo>
                      <a:pt x="638" y="584"/>
                    </a:lnTo>
                    <a:lnTo>
                      <a:pt x="652" y="578"/>
                    </a:lnTo>
                    <a:lnTo>
                      <a:pt x="658" y="572"/>
                    </a:lnTo>
                    <a:lnTo>
                      <a:pt x="662" y="568"/>
                    </a:lnTo>
                    <a:lnTo>
                      <a:pt x="664" y="564"/>
                    </a:lnTo>
                    <a:lnTo>
                      <a:pt x="668" y="558"/>
                    </a:lnTo>
                    <a:lnTo>
                      <a:pt x="674" y="552"/>
                    </a:lnTo>
                    <a:lnTo>
                      <a:pt x="688" y="544"/>
                    </a:lnTo>
                    <a:lnTo>
                      <a:pt x="712" y="534"/>
                    </a:lnTo>
                    <a:lnTo>
                      <a:pt x="712" y="534"/>
                    </a:lnTo>
                    <a:lnTo>
                      <a:pt x="744" y="522"/>
                    </a:lnTo>
                    <a:lnTo>
                      <a:pt x="778" y="512"/>
                    </a:lnTo>
                    <a:lnTo>
                      <a:pt x="854" y="492"/>
                    </a:lnTo>
                    <a:lnTo>
                      <a:pt x="924" y="474"/>
                    </a:lnTo>
                    <a:lnTo>
                      <a:pt x="956" y="464"/>
                    </a:lnTo>
                    <a:lnTo>
                      <a:pt x="980" y="454"/>
                    </a:lnTo>
                    <a:lnTo>
                      <a:pt x="980" y="454"/>
                    </a:lnTo>
                    <a:lnTo>
                      <a:pt x="990" y="448"/>
                    </a:lnTo>
                    <a:lnTo>
                      <a:pt x="998" y="444"/>
                    </a:lnTo>
                    <a:lnTo>
                      <a:pt x="1002" y="438"/>
                    </a:lnTo>
                    <a:lnTo>
                      <a:pt x="1002" y="432"/>
                    </a:lnTo>
                    <a:lnTo>
                      <a:pt x="1002" y="428"/>
                    </a:lnTo>
                    <a:lnTo>
                      <a:pt x="1000" y="424"/>
                    </a:lnTo>
                    <a:lnTo>
                      <a:pt x="996" y="420"/>
                    </a:lnTo>
                    <a:lnTo>
                      <a:pt x="990" y="416"/>
                    </a:lnTo>
                    <a:lnTo>
                      <a:pt x="974" y="410"/>
                    </a:lnTo>
                    <a:lnTo>
                      <a:pt x="954" y="406"/>
                    </a:lnTo>
                    <a:lnTo>
                      <a:pt x="932" y="408"/>
                    </a:lnTo>
                    <a:lnTo>
                      <a:pt x="908" y="412"/>
                    </a:lnTo>
                    <a:lnTo>
                      <a:pt x="908" y="412"/>
                    </a:lnTo>
                    <a:lnTo>
                      <a:pt x="878" y="422"/>
                    </a:lnTo>
                    <a:lnTo>
                      <a:pt x="874" y="426"/>
                    </a:lnTo>
                    <a:lnTo>
                      <a:pt x="870" y="428"/>
                    </a:lnTo>
                    <a:lnTo>
                      <a:pt x="868" y="430"/>
                    </a:lnTo>
                    <a:lnTo>
                      <a:pt x="864" y="434"/>
                    </a:lnTo>
                    <a:lnTo>
                      <a:pt x="856" y="438"/>
                    </a:lnTo>
                    <a:lnTo>
                      <a:pt x="842" y="444"/>
                    </a:lnTo>
                    <a:lnTo>
                      <a:pt x="842" y="444"/>
                    </a:lnTo>
                    <a:lnTo>
                      <a:pt x="818" y="450"/>
                    </a:lnTo>
                    <a:lnTo>
                      <a:pt x="808" y="450"/>
                    </a:lnTo>
                    <a:lnTo>
                      <a:pt x="798" y="452"/>
                    </a:lnTo>
                    <a:lnTo>
                      <a:pt x="768" y="460"/>
                    </a:lnTo>
                    <a:lnTo>
                      <a:pt x="768" y="460"/>
                    </a:lnTo>
                    <a:close/>
                    <a:moveTo>
                      <a:pt x="484" y="70"/>
                    </a:moveTo>
                    <a:lnTo>
                      <a:pt x="484" y="70"/>
                    </a:lnTo>
                    <a:lnTo>
                      <a:pt x="482" y="70"/>
                    </a:lnTo>
                    <a:lnTo>
                      <a:pt x="484" y="70"/>
                    </a:lnTo>
                    <a:lnTo>
                      <a:pt x="490" y="72"/>
                    </a:lnTo>
                    <a:lnTo>
                      <a:pt x="500" y="74"/>
                    </a:lnTo>
                    <a:lnTo>
                      <a:pt x="510" y="78"/>
                    </a:lnTo>
                    <a:lnTo>
                      <a:pt x="510" y="78"/>
                    </a:lnTo>
                    <a:lnTo>
                      <a:pt x="528" y="86"/>
                    </a:lnTo>
                    <a:lnTo>
                      <a:pt x="538" y="86"/>
                    </a:lnTo>
                    <a:lnTo>
                      <a:pt x="554" y="86"/>
                    </a:lnTo>
                    <a:lnTo>
                      <a:pt x="554" y="86"/>
                    </a:lnTo>
                    <a:lnTo>
                      <a:pt x="568" y="86"/>
                    </a:lnTo>
                    <a:lnTo>
                      <a:pt x="568" y="84"/>
                    </a:lnTo>
                    <a:lnTo>
                      <a:pt x="566" y="82"/>
                    </a:lnTo>
                    <a:lnTo>
                      <a:pt x="544" y="76"/>
                    </a:lnTo>
                    <a:lnTo>
                      <a:pt x="544" y="76"/>
                    </a:lnTo>
                    <a:lnTo>
                      <a:pt x="530" y="72"/>
                    </a:lnTo>
                    <a:lnTo>
                      <a:pt x="512" y="70"/>
                    </a:lnTo>
                    <a:lnTo>
                      <a:pt x="496" y="68"/>
                    </a:lnTo>
                    <a:lnTo>
                      <a:pt x="484" y="70"/>
                    </a:lnTo>
                    <a:lnTo>
                      <a:pt x="484" y="70"/>
                    </a:lnTo>
                    <a:close/>
                    <a:moveTo>
                      <a:pt x="542" y="114"/>
                    </a:moveTo>
                    <a:lnTo>
                      <a:pt x="542" y="114"/>
                    </a:lnTo>
                    <a:lnTo>
                      <a:pt x="554" y="116"/>
                    </a:lnTo>
                    <a:lnTo>
                      <a:pt x="558" y="114"/>
                    </a:lnTo>
                    <a:lnTo>
                      <a:pt x="560" y="112"/>
                    </a:lnTo>
                    <a:lnTo>
                      <a:pt x="560" y="110"/>
                    </a:lnTo>
                    <a:lnTo>
                      <a:pt x="560" y="108"/>
                    </a:lnTo>
                    <a:lnTo>
                      <a:pt x="554" y="106"/>
                    </a:lnTo>
                    <a:lnTo>
                      <a:pt x="554" y="106"/>
                    </a:lnTo>
                    <a:lnTo>
                      <a:pt x="542" y="106"/>
                    </a:lnTo>
                    <a:lnTo>
                      <a:pt x="532" y="108"/>
                    </a:lnTo>
                    <a:lnTo>
                      <a:pt x="530" y="110"/>
                    </a:lnTo>
                    <a:lnTo>
                      <a:pt x="532" y="112"/>
                    </a:lnTo>
                    <a:lnTo>
                      <a:pt x="534" y="114"/>
                    </a:lnTo>
                    <a:lnTo>
                      <a:pt x="542" y="114"/>
                    </a:lnTo>
                    <a:lnTo>
                      <a:pt x="542" y="114"/>
                    </a:lnTo>
                    <a:close/>
                    <a:moveTo>
                      <a:pt x="590" y="96"/>
                    </a:moveTo>
                    <a:lnTo>
                      <a:pt x="590" y="96"/>
                    </a:lnTo>
                    <a:lnTo>
                      <a:pt x="596" y="94"/>
                    </a:lnTo>
                    <a:lnTo>
                      <a:pt x="598" y="92"/>
                    </a:lnTo>
                    <a:lnTo>
                      <a:pt x="598" y="90"/>
                    </a:lnTo>
                    <a:lnTo>
                      <a:pt x="596" y="88"/>
                    </a:lnTo>
                    <a:lnTo>
                      <a:pt x="592" y="86"/>
                    </a:lnTo>
                    <a:lnTo>
                      <a:pt x="584" y="86"/>
                    </a:lnTo>
                    <a:lnTo>
                      <a:pt x="574" y="88"/>
                    </a:lnTo>
                    <a:lnTo>
                      <a:pt x="574" y="88"/>
                    </a:lnTo>
                    <a:lnTo>
                      <a:pt x="562" y="90"/>
                    </a:lnTo>
                    <a:lnTo>
                      <a:pt x="556" y="92"/>
                    </a:lnTo>
                    <a:lnTo>
                      <a:pt x="556" y="92"/>
                    </a:lnTo>
                    <a:lnTo>
                      <a:pt x="556" y="94"/>
                    </a:lnTo>
                    <a:lnTo>
                      <a:pt x="560" y="96"/>
                    </a:lnTo>
                    <a:lnTo>
                      <a:pt x="576" y="96"/>
                    </a:lnTo>
                    <a:lnTo>
                      <a:pt x="590" y="96"/>
                    </a:lnTo>
                    <a:lnTo>
                      <a:pt x="590" y="96"/>
                    </a:lnTo>
                    <a:close/>
                    <a:moveTo>
                      <a:pt x="554" y="70"/>
                    </a:moveTo>
                    <a:lnTo>
                      <a:pt x="554" y="70"/>
                    </a:lnTo>
                    <a:lnTo>
                      <a:pt x="554" y="72"/>
                    </a:lnTo>
                    <a:lnTo>
                      <a:pt x="554" y="74"/>
                    </a:lnTo>
                    <a:lnTo>
                      <a:pt x="562" y="78"/>
                    </a:lnTo>
                    <a:lnTo>
                      <a:pt x="572" y="80"/>
                    </a:lnTo>
                    <a:lnTo>
                      <a:pt x="582" y="80"/>
                    </a:lnTo>
                    <a:lnTo>
                      <a:pt x="582" y="80"/>
                    </a:lnTo>
                    <a:lnTo>
                      <a:pt x="584" y="78"/>
                    </a:lnTo>
                    <a:lnTo>
                      <a:pt x="584" y="76"/>
                    </a:lnTo>
                    <a:lnTo>
                      <a:pt x="576" y="72"/>
                    </a:lnTo>
                    <a:lnTo>
                      <a:pt x="564" y="68"/>
                    </a:lnTo>
                    <a:lnTo>
                      <a:pt x="558" y="68"/>
                    </a:lnTo>
                    <a:lnTo>
                      <a:pt x="554" y="70"/>
                    </a:lnTo>
                    <a:lnTo>
                      <a:pt x="554" y="70"/>
                    </a:lnTo>
                    <a:close/>
                    <a:moveTo>
                      <a:pt x="1962" y="108"/>
                    </a:moveTo>
                    <a:lnTo>
                      <a:pt x="1962" y="108"/>
                    </a:lnTo>
                    <a:lnTo>
                      <a:pt x="1950" y="114"/>
                    </a:lnTo>
                    <a:lnTo>
                      <a:pt x="1938" y="120"/>
                    </a:lnTo>
                    <a:lnTo>
                      <a:pt x="1916" y="128"/>
                    </a:lnTo>
                    <a:lnTo>
                      <a:pt x="1908" y="132"/>
                    </a:lnTo>
                    <a:lnTo>
                      <a:pt x="1906" y="134"/>
                    </a:lnTo>
                    <a:lnTo>
                      <a:pt x="1908" y="136"/>
                    </a:lnTo>
                    <a:lnTo>
                      <a:pt x="1918" y="138"/>
                    </a:lnTo>
                    <a:lnTo>
                      <a:pt x="1918" y="138"/>
                    </a:lnTo>
                    <a:lnTo>
                      <a:pt x="1930" y="138"/>
                    </a:lnTo>
                    <a:lnTo>
                      <a:pt x="1938" y="142"/>
                    </a:lnTo>
                    <a:lnTo>
                      <a:pt x="1952" y="146"/>
                    </a:lnTo>
                    <a:lnTo>
                      <a:pt x="1968" y="154"/>
                    </a:lnTo>
                    <a:lnTo>
                      <a:pt x="1980" y="156"/>
                    </a:lnTo>
                    <a:lnTo>
                      <a:pt x="1994" y="158"/>
                    </a:lnTo>
                    <a:lnTo>
                      <a:pt x="1994" y="158"/>
                    </a:lnTo>
                    <a:lnTo>
                      <a:pt x="2010" y="158"/>
                    </a:lnTo>
                    <a:lnTo>
                      <a:pt x="2016" y="158"/>
                    </a:lnTo>
                    <a:lnTo>
                      <a:pt x="2020" y="156"/>
                    </a:lnTo>
                    <a:lnTo>
                      <a:pt x="2022" y="152"/>
                    </a:lnTo>
                    <a:lnTo>
                      <a:pt x="2024" y="150"/>
                    </a:lnTo>
                    <a:lnTo>
                      <a:pt x="2028" y="146"/>
                    </a:lnTo>
                    <a:lnTo>
                      <a:pt x="2040" y="142"/>
                    </a:lnTo>
                    <a:lnTo>
                      <a:pt x="2058" y="140"/>
                    </a:lnTo>
                    <a:lnTo>
                      <a:pt x="2058" y="140"/>
                    </a:lnTo>
                    <a:lnTo>
                      <a:pt x="2100" y="140"/>
                    </a:lnTo>
                    <a:lnTo>
                      <a:pt x="2130" y="140"/>
                    </a:lnTo>
                    <a:lnTo>
                      <a:pt x="2138" y="138"/>
                    </a:lnTo>
                    <a:lnTo>
                      <a:pt x="2142" y="136"/>
                    </a:lnTo>
                    <a:lnTo>
                      <a:pt x="2142" y="130"/>
                    </a:lnTo>
                    <a:lnTo>
                      <a:pt x="2136" y="122"/>
                    </a:lnTo>
                    <a:lnTo>
                      <a:pt x="2136" y="122"/>
                    </a:lnTo>
                    <a:lnTo>
                      <a:pt x="2132" y="114"/>
                    </a:lnTo>
                    <a:lnTo>
                      <a:pt x="2132" y="112"/>
                    </a:lnTo>
                    <a:lnTo>
                      <a:pt x="2134" y="110"/>
                    </a:lnTo>
                    <a:lnTo>
                      <a:pt x="2140" y="108"/>
                    </a:lnTo>
                    <a:lnTo>
                      <a:pt x="2146" y="106"/>
                    </a:lnTo>
                    <a:lnTo>
                      <a:pt x="2162" y="104"/>
                    </a:lnTo>
                    <a:lnTo>
                      <a:pt x="2164" y="102"/>
                    </a:lnTo>
                    <a:lnTo>
                      <a:pt x="2166" y="100"/>
                    </a:lnTo>
                    <a:lnTo>
                      <a:pt x="2164" y="96"/>
                    </a:lnTo>
                    <a:lnTo>
                      <a:pt x="2164" y="96"/>
                    </a:lnTo>
                    <a:lnTo>
                      <a:pt x="2160" y="92"/>
                    </a:lnTo>
                    <a:lnTo>
                      <a:pt x="2154" y="90"/>
                    </a:lnTo>
                    <a:lnTo>
                      <a:pt x="2142" y="88"/>
                    </a:lnTo>
                    <a:lnTo>
                      <a:pt x="2136" y="88"/>
                    </a:lnTo>
                    <a:lnTo>
                      <a:pt x="2128" y="86"/>
                    </a:lnTo>
                    <a:lnTo>
                      <a:pt x="2118" y="82"/>
                    </a:lnTo>
                    <a:lnTo>
                      <a:pt x="2110" y="74"/>
                    </a:lnTo>
                    <a:lnTo>
                      <a:pt x="2110" y="74"/>
                    </a:lnTo>
                    <a:lnTo>
                      <a:pt x="2090" y="60"/>
                    </a:lnTo>
                    <a:lnTo>
                      <a:pt x="2082" y="56"/>
                    </a:lnTo>
                    <a:lnTo>
                      <a:pt x="2076" y="52"/>
                    </a:lnTo>
                    <a:lnTo>
                      <a:pt x="2068" y="50"/>
                    </a:lnTo>
                    <a:lnTo>
                      <a:pt x="2060" y="50"/>
                    </a:lnTo>
                    <a:lnTo>
                      <a:pt x="2052" y="54"/>
                    </a:lnTo>
                    <a:lnTo>
                      <a:pt x="2044" y="58"/>
                    </a:lnTo>
                    <a:lnTo>
                      <a:pt x="2044" y="58"/>
                    </a:lnTo>
                    <a:lnTo>
                      <a:pt x="2034" y="62"/>
                    </a:lnTo>
                    <a:lnTo>
                      <a:pt x="2026" y="66"/>
                    </a:lnTo>
                    <a:lnTo>
                      <a:pt x="2008" y="68"/>
                    </a:lnTo>
                    <a:lnTo>
                      <a:pt x="1988" y="74"/>
                    </a:lnTo>
                    <a:lnTo>
                      <a:pt x="1978" y="78"/>
                    </a:lnTo>
                    <a:lnTo>
                      <a:pt x="1964" y="84"/>
                    </a:lnTo>
                    <a:lnTo>
                      <a:pt x="1964" y="84"/>
                    </a:lnTo>
                    <a:lnTo>
                      <a:pt x="1954" y="92"/>
                    </a:lnTo>
                    <a:lnTo>
                      <a:pt x="1952" y="94"/>
                    </a:lnTo>
                    <a:lnTo>
                      <a:pt x="1954" y="96"/>
                    </a:lnTo>
                    <a:lnTo>
                      <a:pt x="1960" y="98"/>
                    </a:lnTo>
                    <a:lnTo>
                      <a:pt x="1964" y="98"/>
                    </a:lnTo>
                    <a:lnTo>
                      <a:pt x="1968" y="98"/>
                    </a:lnTo>
                    <a:lnTo>
                      <a:pt x="1968" y="100"/>
                    </a:lnTo>
                    <a:lnTo>
                      <a:pt x="1968" y="102"/>
                    </a:lnTo>
                    <a:lnTo>
                      <a:pt x="1962" y="108"/>
                    </a:lnTo>
                    <a:lnTo>
                      <a:pt x="1962" y="108"/>
                    </a:lnTo>
                    <a:close/>
                    <a:moveTo>
                      <a:pt x="3810" y="584"/>
                    </a:moveTo>
                    <a:lnTo>
                      <a:pt x="3810" y="584"/>
                    </a:lnTo>
                    <a:lnTo>
                      <a:pt x="3826" y="588"/>
                    </a:lnTo>
                    <a:lnTo>
                      <a:pt x="3834" y="588"/>
                    </a:lnTo>
                    <a:lnTo>
                      <a:pt x="3840" y="584"/>
                    </a:lnTo>
                    <a:lnTo>
                      <a:pt x="3842" y="580"/>
                    </a:lnTo>
                    <a:lnTo>
                      <a:pt x="3842" y="574"/>
                    </a:lnTo>
                    <a:lnTo>
                      <a:pt x="3846" y="570"/>
                    </a:lnTo>
                    <a:lnTo>
                      <a:pt x="3852" y="568"/>
                    </a:lnTo>
                    <a:lnTo>
                      <a:pt x="3864" y="570"/>
                    </a:lnTo>
                    <a:lnTo>
                      <a:pt x="3864" y="570"/>
                    </a:lnTo>
                    <a:lnTo>
                      <a:pt x="3878" y="574"/>
                    </a:lnTo>
                    <a:lnTo>
                      <a:pt x="3890" y="572"/>
                    </a:lnTo>
                    <a:lnTo>
                      <a:pt x="3900" y="570"/>
                    </a:lnTo>
                    <a:lnTo>
                      <a:pt x="3910" y="566"/>
                    </a:lnTo>
                    <a:lnTo>
                      <a:pt x="3918" y="562"/>
                    </a:lnTo>
                    <a:lnTo>
                      <a:pt x="3926" y="560"/>
                    </a:lnTo>
                    <a:lnTo>
                      <a:pt x="3934" y="562"/>
                    </a:lnTo>
                    <a:lnTo>
                      <a:pt x="3942" y="566"/>
                    </a:lnTo>
                    <a:lnTo>
                      <a:pt x="3942" y="566"/>
                    </a:lnTo>
                    <a:lnTo>
                      <a:pt x="3952" y="570"/>
                    </a:lnTo>
                    <a:lnTo>
                      <a:pt x="3962" y="572"/>
                    </a:lnTo>
                    <a:lnTo>
                      <a:pt x="3974" y="572"/>
                    </a:lnTo>
                    <a:lnTo>
                      <a:pt x="3986" y="570"/>
                    </a:lnTo>
                    <a:lnTo>
                      <a:pt x="4014" y="562"/>
                    </a:lnTo>
                    <a:lnTo>
                      <a:pt x="4048" y="552"/>
                    </a:lnTo>
                    <a:lnTo>
                      <a:pt x="4048" y="552"/>
                    </a:lnTo>
                    <a:lnTo>
                      <a:pt x="4056" y="546"/>
                    </a:lnTo>
                    <a:lnTo>
                      <a:pt x="4060" y="542"/>
                    </a:lnTo>
                    <a:lnTo>
                      <a:pt x="4060" y="538"/>
                    </a:lnTo>
                    <a:lnTo>
                      <a:pt x="4056" y="534"/>
                    </a:lnTo>
                    <a:lnTo>
                      <a:pt x="4054" y="530"/>
                    </a:lnTo>
                    <a:lnTo>
                      <a:pt x="4054" y="528"/>
                    </a:lnTo>
                    <a:lnTo>
                      <a:pt x="4056" y="524"/>
                    </a:lnTo>
                    <a:lnTo>
                      <a:pt x="4066" y="524"/>
                    </a:lnTo>
                    <a:lnTo>
                      <a:pt x="4066" y="524"/>
                    </a:lnTo>
                    <a:lnTo>
                      <a:pt x="4070" y="522"/>
                    </a:lnTo>
                    <a:lnTo>
                      <a:pt x="4074" y="520"/>
                    </a:lnTo>
                    <a:lnTo>
                      <a:pt x="4076" y="518"/>
                    </a:lnTo>
                    <a:lnTo>
                      <a:pt x="4074" y="516"/>
                    </a:lnTo>
                    <a:lnTo>
                      <a:pt x="4068" y="512"/>
                    </a:lnTo>
                    <a:lnTo>
                      <a:pt x="4056" y="506"/>
                    </a:lnTo>
                    <a:lnTo>
                      <a:pt x="4042" y="500"/>
                    </a:lnTo>
                    <a:lnTo>
                      <a:pt x="4026" y="498"/>
                    </a:lnTo>
                    <a:lnTo>
                      <a:pt x="4010" y="496"/>
                    </a:lnTo>
                    <a:lnTo>
                      <a:pt x="3994" y="498"/>
                    </a:lnTo>
                    <a:lnTo>
                      <a:pt x="3994" y="498"/>
                    </a:lnTo>
                    <a:lnTo>
                      <a:pt x="3980" y="498"/>
                    </a:lnTo>
                    <a:lnTo>
                      <a:pt x="3968" y="496"/>
                    </a:lnTo>
                    <a:lnTo>
                      <a:pt x="3958" y="490"/>
                    </a:lnTo>
                    <a:lnTo>
                      <a:pt x="3948" y="484"/>
                    </a:lnTo>
                    <a:lnTo>
                      <a:pt x="3938" y="478"/>
                    </a:lnTo>
                    <a:lnTo>
                      <a:pt x="3928" y="472"/>
                    </a:lnTo>
                    <a:lnTo>
                      <a:pt x="3918" y="470"/>
                    </a:lnTo>
                    <a:lnTo>
                      <a:pt x="3912" y="472"/>
                    </a:lnTo>
                    <a:lnTo>
                      <a:pt x="3906" y="474"/>
                    </a:lnTo>
                    <a:lnTo>
                      <a:pt x="3906" y="474"/>
                    </a:lnTo>
                    <a:lnTo>
                      <a:pt x="3898" y="480"/>
                    </a:lnTo>
                    <a:lnTo>
                      <a:pt x="3894" y="486"/>
                    </a:lnTo>
                    <a:lnTo>
                      <a:pt x="3892" y="492"/>
                    </a:lnTo>
                    <a:lnTo>
                      <a:pt x="3894" y="498"/>
                    </a:lnTo>
                    <a:lnTo>
                      <a:pt x="3900" y="506"/>
                    </a:lnTo>
                    <a:lnTo>
                      <a:pt x="3900" y="510"/>
                    </a:lnTo>
                    <a:lnTo>
                      <a:pt x="3896" y="512"/>
                    </a:lnTo>
                    <a:lnTo>
                      <a:pt x="3896" y="512"/>
                    </a:lnTo>
                    <a:lnTo>
                      <a:pt x="3890" y="512"/>
                    </a:lnTo>
                    <a:lnTo>
                      <a:pt x="3882" y="508"/>
                    </a:lnTo>
                    <a:lnTo>
                      <a:pt x="3862" y="498"/>
                    </a:lnTo>
                    <a:lnTo>
                      <a:pt x="3842" y="484"/>
                    </a:lnTo>
                    <a:lnTo>
                      <a:pt x="3822" y="472"/>
                    </a:lnTo>
                    <a:lnTo>
                      <a:pt x="3822" y="472"/>
                    </a:lnTo>
                    <a:lnTo>
                      <a:pt x="3814" y="468"/>
                    </a:lnTo>
                    <a:lnTo>
                      <a:pt x="3808" y="468"/>
                    </a:lnTo>
                    <a:lnTo>
                      <a:pt x="3800" y="466"/>
                    </a:lnTo>
                    <a:lnTo>
                      <a:pt x="3794" y="468"/>
                    </a:lnTo>
                    <a:lnTo>
                      <a:pt x="3778" y="476"/>
                    </a:lnTo>
                    <a:lnTo>
                      <a:pt x="3758" y="488"/>
                    </a:lnTo>
                    <a:lnTo>
                      <a:pt x="3758" y="488"/>
                    </a:lnTo>
                    <a:lnTo>
                      <a:pt x="3748" y="496"/>
                    </a:lnTo>
                    <a:lnTo>
                      <a:pt x="3746" y="502"/>
                    </a:lnTo>
                    <a:lnTo>
                      <a:pt x="3746" y="508"/>
                    </a:lnTo>
                    <a:lnTo>
                      <a:pt x="3748" y="514"/>
                    </a:lnTo>
                    <a:lnTo>
                      <a:pt x="3752" y="524"/>
                    </a:lnTo>
                    <a:lnTo>
                      <a:pt x="3752" y="530"/>
                    </a:lnTo>
                    <a:lnTo>
                      <a:pt x="3746" y="532"/>
                    </a:lnTo>
                    <a:lnTo>
                      <a:pt x="3746" y="532"/>
                    </a:lnTo>
                    <a:lnTo>
                      <a:pt x="3742" y="536"/>
                    </a:lnTo>
                    <a:lnTo>
                      <a:pt x="3742" y="542"/>
                    </a:lnTo>
                    <a:lnTo>
                      <a:pt x="3744" y="548"/>
                    </a:lnTo>
                    <a:lnTo>
                      <a:pt x="3752" y="554"/>
                    </a:lnTo>
                    <a:lnTo>
                      <a:pt x="3762" y="560"/>
                    </a:lnTo>
                    <a:lnTo>
                      <a:pt x="3776" y="568"/>
                    </a:lnTo>
                    <a:lnTo>
                      <a:pt x="3810" y="584"/>
                    </a:lnTo>
                    <a:lnTo>
                      <a:pt x="3810" y="584"/>
                    </a:lnTo>
                    <a:close/>
                    <a:moveTo>
                      <a:pt x="4172" y="572"/>
                    </a:moveTo>
                    <a:lnTo>
                      <a:pt x="4172" y="572"/>
                    </a:lnTo>
                    <a:lnTo>
                      <a:pt x="4198" y="578"/>
                    </a:lnTo>
                    <a:lnTo>
                      <a:pt x="4218" y="578"/>
                    </a:lnTo>
                    <a:lnTo>
                      <a:pt x="4262" y="576"/>
                    </a:lnTo>
                    <a:lnTo>
                      <a:pt x="4262" y="576"/>
                    </a:lnTo>
                    <a:lnTo>
                      <a:pt x="4276" y="574"/>
                    </a:lnTo>
                    <a:lnTo>
                      <a:pt x="4288" y="570"/>
                    </a:lnTo>
                    <a:lnTo>
                      <a:pt x="4294" y="566"/>
                    </a:lnTo>
                    <a:lnTo>
                      <a:pt x="4300" y="560"/>
                    </a:lnTo>
                    <a:lnTo>
                      <a:pt x="4300" y="556"/>
                    </a:lnTo>
                    <a:lnTo>
                      <a:pt x="4300" y="552"/>
                    </a:lnTo>
                    <a:lnTo>
                      <a:pt x="4296" y="550"/>
                    </a:lnTo>
                    <a:lnTo>
                      <a:pt x="4288" y="550"/>
                    </a:lnTo>
                    <a:lnTo>
                      <a:pt x="4288" y="550"/>
                    </a:lnTo>
                    <a:lnTo>
                      <a:pt x="4280" y="550"/>
                    </a:lnTo>
                    <a:lnTo>
                      <a:pt x="4274" y="548"/>
                    </a:lnTo>
                    <a:lnTo>
                      <a:pt x="4266" y="540"/>
                    </a:lnTo>
                    <a:lnTo>
                      <a:pt x="4260" y="536"/>
                    </a:lnTo>
                    <a:lnTo>
                      <a:pt x="4252" y="534"/>
                    </a:lnTo>
                    <a:lnTo>
                      <a:pt x="4244" y="536"/>
                    </a:lnTo>
                    <a:lnTo>
                      <a:pt x="4230" y="540"/>
                    </a:lnTo>
                    <a:lnTo>
                      <a:pt x="4230" y="540"/>
                    </a:lnTo>
                    <a:lnTo>
                      <a:pt x="4220" y="542"/>
                    </a:lnTo>
                    <a:lnTo>
                      <a:pt x="4214" y="542"/>
                    </a:lnTo>
                    <a:lnTo>
                      <a:pt x="4212" y="540"/>
                    </a:lnTo>
                    <a:lnTo>
                      <a:pt x="4212" y="536"/>
                    </a:lnTo>
                    <a:lnTo>
                      <a:pt x="4210" y="532"/>
                    </a:lnTo>
                    <a:lnTo>
                      <a:pt x="4204" y="528"/>
                    </a:lnTo>
                    <a:lnTo>
                      <a:pt x="4194" y="526"/>
                    </a:lnTo>
                    <a:lnTo>
                      <a:pt x="4174" y="528"/>
                    </a:lnTo>
                    <a:lnTo>
                      <a:pt x="4174" y="528"/>
                    </a:lnTo>
                    <a:lnTo>
                      <a:pt x="4154" y="528"/>
                    </a:lnTo>
                    <a:lnTo>
                      <a:pt x="4142" y="526"/>
                    </a:lnTo>
                    <a:lnTo>
                      <a:pt x="4132" y="524"/>
                    </a:lnTo>
                    <a:lnTo>
                      <a:pt x="4126" y="520"/>
                    </a:lnTo>
                    <a:lnTo>
                      <a:pt x="4122" y="514"/>
                    </a:lnTo>
                    <a:lnTo>
                      <a:pt x="4122" y="516"/>
                    </a:lnTo>
                    <a:lnTo>
                      <a:pt x="4118" y="518"/>
                    </a:lnTo>
                    <a:lnTo>
                      <a:pt x="4118" y="518"/>
                    </a:lnTo>
                    <a:lnTo>
                      <a:pt x="4112" y="530"/>
                    </a:lnTo>
                    <a:lnTo>
                      <a:pt x="4108" y="536"/>
                    </a:lnTo>
                    <a:lnTo>
                      <a:pt x="4110" y="542"/>
                    </a:lnTo>
                    <a:lnTo>
                      <a:pt x="4114" y="550"/>
                    </a:lnTo>
                    <a:lnTo>
                      <a:pt x="4126" y="556"/>
                    </a:lnTo>
                    <a:lnTo>
                      <a:pt x="4144" y="564"/>
                    </a:lnTo>
                    <a:lnTo>
                      <a:pt x="4172" y="572"/>
                    </a:lnTo>
                    <a:lnTo>
                      <a:pt x="4172" y="572"/>
                    </a:lnTo>
                    <a:close/>
                    <a:moveTo>
                      <a:pt x="5478" y="870"/>
                    </a:moveTo>
                    <a:lnTo>
                      <a:pt x="5478" y="866"/>
                    </a:lnTo>
                    <a:lnTo>
                      <a:pt x="5478" y="866"/>
                    </a:lnTo>
                    <a:lnTo>
                      <a:pt x="5548" y="856"/>
                    </a:lnTo>
                    <a:lnTo>
                      <a:pt x="5548" y="856"/>
                    </a:lnTo>
                    <a:lnTo>
                      <a:pt x="5558" y="854"/>
                    </a:lnTo>
                    <a:lnTo>
                      <a:pt x="5564" y="852"/>
                    </a:lnTo>
                    <a:lnTo>
                      <a:pt x="5570" y="848"/>
                    </a:lnTo>
                    <a:lnTo>
                      <a:pt x="5572" y="846"/>
                    </a:lnTo>
                    <a:lnTo>
                      <a:pt x="5570" y="842"/>
                    </a:lnTo>
                    <a:lnTo>
                      <a:pt x="5568" y="838"/>
                    </a:lnTo>
                    <a:lnTo>
                      <a:pt x="5560" y="832"/>
                    </a:lnTo>
                    <a:lnTo>
                      <a:pt x="5546" y="826"/>
                    </a:lnTo>
                    <a:lnTo>
                      <a:pt x="5530" y="820"/>
                    </a:lnTo>
                    <a:lnTo>
                      <a:pt x="5512" y="818"/>
                    </a:lnTo>
                    <a:lnTo>
                      <a:pt x="5494" y="818"/>
                    </a:lnTo>
                    <a:lnTo>
                      <a:pt x="5494" y="818"/>
                    </a:lnTo>
                    <a:lnTo>
                      <a:pt x="5478" y="820"/>
                    </a:lnTo>
                    <a:lnTo>
                      <a:pt x="5478" y="818"/>
                    </a:lnTo>
                    <a:lnTo>
                      <a:pt x="5478" y="818"/>
                    </a:lnTo>
                    <a:lnTo>
                      <a:pt x="5454" y="826"/>
                    </a:lnTo>
                    <a:lnTo>
                      <a:pt x="5444" y="832"/>
                    </a:lnTo>
                    <a:lnTo>
                      <a:pt x="5434" y="838"/>
                    </a:lnTo>
                    <a:lnTo>
                      <a:pt x="5428" y="844"/>
                    </a:lnTo>
                    <a:lnTo>
                      <a:pt x="5422" y="850"/>
                    </a:lnTo>
                    <a:lnTo>
                      <a:pt x="5418" y="856"/>
                    </a:lnTo>
                    <a:lnTo>
                      <a:pt x="5418" y="864"/>
                    </a:lnTo>
                    <a:lnTo>
                      <a:pt x="5418" y="864"/>
                    </a:lnTo>
                    <a:lnTo>
                      <a:pt x="5418" y="868"/>
                    </a:lnTo>
                    <a:lnTo>
                      <a:pt x="5422" y="872"/>
                    </a:lnTo>
                    <a:lnTo>
                      <a:pt x="5426" y="874"/>
                    </a:lnTo>
                    <a:lnTo>
                      <a:pt x="5434" y="874"/>
                    </a:lnTo>
                    <a:lnTo>
                      <a:pt x="5452" y="874"/>
                    </a:lnTo>
                    <a:lnTo>
                      <a:pt x="5478" y="870"/>
                    </a:lnTo>
                    <a:lnTo>
                      <a:pt x="5478" y="870"/>
                    </a:lnTo>
                    <a:close/>
                    <a:moveTo>
                      <a:pt x="2060" y="404"/>
                    </a:moveTo>
                    <a:lnTo>
                      <a:pt x="2060" y="404"/>
                    </a:lnTo>
                    <a:lnTo>
                      <a:pt x="2068" y="408"/>
                    </a:lnTo>
                    <a:lnTo>
                      <a:pt x="2078" y="408"/>
                    </a:lnTo>
                    <a:lnTo>
                      <a:pt x="2088" y="406"/>
                    </a:lnTo>
                    <a:lnTo>
                      <a:pt x="2096" y="404"/>
                    </a:lnTo>
                    <a:lnTo>
                      <a:pt x="2104" y="400"/>
                    </a:lnTo>
                    <a:lnTo>
                      <a:pt x="2108" y="396"/>
                    </a:lnTo>
                    <a:lnTo>
                      <a:pt x="2112" y="392"/>
                    </a:lnTo>
                    <a:lnTo>
                      <a:pt x="2112" y="388"/>
                    </a:lnTo>
                    <a:lnTo>
                      <a:pt x="2112" y="388"/>
                    </a:lnTo>
                    <a:lnTo>
                      <a:pt x="2106" y="386"/>
                    </a:lnTo>
                    <a:lnTo>
                      <a:pt x="2100" y="386"/>
                    </a:lnTo>
                    <a:lnTo>
                      <a:pt x="2080" y="392"/>
                    </a:lnTo>
                    <a:lnTo>
                      <a:pt x="2064" y="398"/>
                    </a:lnTo>
                    <a:lnTo>
                      <a:pt x="2060" y="402"/>
                    </a:lnTo>
                    <a:lnTo>
                      <a:pt x="2058" y="404"/>
                    </a:lnTo>
                    <a:lnTo>
                      <a:pt x="2060" y="404"/>
                    </a:lnTo>
                    <a:lnTo>
                      <a:pt x="2060" y="404"/>
                    </a:lnTo>
                    <a:close/>
                    <a:moveTo>
                      <a:pt x="3868" y="678"/>
                    </a:moveTo>
                    <a:lnTo>
                      <a:pt x="3868" y="678"/>
                    </a:lnTo>
                    <a:lnTo>
                      <a:pt x="3858" y="686"/>
                    </a:lnTo>
                    <a:lnTo>
                      <a:pt x="3856" y="688"/>
                    </a:lnTo>
                    <a:lnTo>
                      <a:pt x="3858" y="690"/>
                    </a:lnTo>
                    <a:lnTo>
                      <a:pt x="3866" y="690"/>
                    </a:lnTo>
                    <a:lnTo>
                      <a:pt x="3896" y="688"/>
                    </a:lnTo>
                    <a:lnTo>
                      <a:pt x="3916" y="688"/>
                    </a:lnTo>
                    <a:lnTo>
                      <a:pt x="3940" y="692"/>
                    </a:lnTo>
                    <a:lnTo>
                      <a:pt x="3940" y="692"/>
                    </a:lnTo>
                    <a:lnTo>
                      <a:pt x="3970" y="696"/>
                    </a:lnTo>
                    <a:lnTo>
                      <a:pt x="3990" y="696"/>
                    </a:lnTo>
                    <a:lnTo>
                      <a:pt x="4004" y="694"/>
                    </a:lnTo>
                    <a:lnTo>
                      <a:pt x="4006" y="692"/>
                    </a:lnTo>
                    <a:lnTo>
                      <a:pt x="4008" y="690"/>
                    </a:lnTo>
                    <a:lnTo>
                      <a:pt x="4008" y="686"/>
                    </a:lnTo>
                    <a:lnTo>
                      <a:pt x="4006" y="682"/>
                    </a:lnTo>
                    <a:lnTo>
                      <a:pt x="4000" y="674"/>
                    </a:lnTo>
                    <a:lnTo>
                      <a:pt x="3988" y="664"/>
                    </a:lnTo>
                    <a:lnTo>
                      <a:pt x="3972" y="654"/>
                    </a:lnTo>
                    <a:lnTo>
                      <a:pt x="3972" y="654"/>
                    </a:lnTo>
                    <a:lnTo>
                      <a:pt x="3956" y="648"/>
                    </a:lnTo>
                    <a:lnTo>
                      <a:pt x="3940" y="644"/>
                    </a:lnTo>
                    <a:lnTo>
                      <a:pt x="3928" y="646"/>
                    </a:lnTo>
                    <a:lnTo>
                      <a:pt x="3916" y="648"/>
                    </a:lnTo>
                    <a:lnTo>
                      <a:pt x="3904" y="654"/>
                    </a:lnTo>
                    <a:lnTo>
                      <a:pt x="3894" y="662"/>
                    </a:lnTo>
                    <a:lnTo>
                      <a:pt x="3868" y="678"/>
                    </a:lnTo>
                    <a:lnTo>
                      <a:pt x="3868" y="678"/>
                    </a:lnTo>
                    <a:close/>
                    <a:moveTo>
                      <a:pt x="5044" y="956"/>
                    </a:moveTo>
                    <a:lnTo>
                      <a:pt x="5044" y="956"/>
                    </a:lnTo>
                    <a:lnTo>
                      <a:pt x="5046" y="954"/>
                    </a:lnTo>
                    <a:lnTo>
                      <a:pt x="5046" y="950"/>
                    </a:lnTo>
                    <a:lnTo>
                      <a:pt x="5044" y="948"/>
                    </a:lnTo>
                    <a:lnTo>
                      <a:pt x="5042" y="946"/>
                    </a:lnTo>
                    <a:lnTo>
                      <a:pt x="5034" y="942"/>
                    </a:lnTo>
                    <a:lnTo>
                      <a:pt x="5024" y="940"/>
                    </a:lnTo>
                    <a:lnTo>
                      <a:pt x="5012" y="938"/>
                    </a:lnTo>
                    <a:lnTo>
                      <a:pt x="5000" y="938"/>
                    </a:lnTo>
                    <a:lnTo>
                      <a:pt x="4990" y="938"/>
                    </a:lnTo>
                    <a:lnTo>
                      <a:pt x="4984" y="942"/>
                    </a:lnTo>
                    <a:lnTo>
                      <a:pt x="4984" y="942"/>
                    </a:lnTo>
                    <a:lnTo>
                      <a:pt x="4982" y="944"/>
                    </a:lnTo>
                    <a:lnTo>
                      <a:pt x="4982" y="946"/>
                    </a:lnTo>
                    <a:lnTo>
                      <a:pt x="4986" y="950"/>
                    </a:lnTo>
                    <a:lnTo>
                      <a:pt x="4992" y="954"/>
                    </a:lnTo>
                    <a:lnTo>
                      <a:pt x="5002" y="958"/>
                    </a:lnTo>
                    <a:lnTo>
                      <a:pt x="5014" y="960"/>
                    </a:lnTo>
                    <a:lnTo>
                      <a:pt x="5024" y="962"/>
                    </a:lnTo>
                    <a:lnTo>
                      <a:pt x="5034" y="960"/>
                    </a:lnTo>
                    <a:lnTo>
                      <a:pt x="5044" y="956"/>
                    </a:lnTo>
                    <a:lnTo>
                      <a:pt x="5044" y="956"/>
                    </a:lnTo>
                    <a:close/>
                    <a:moveTo>
                      <a:pt x="3698" y="530"/>
                    </a:moveTo>
                    <a:lnTo>
                      <a:pt x="3698" y="530"/>
                    </a:lnTo>
                    <a:lnTo>
                      <a:pt x="3704" y="524"/>
                    </a:lnTo>
                    <a:lnTo>
                      <a:pt x="3706" y="518"/>
                    </a:lnTo>
                    <a:lnTo>
                      <a:pt x="3704" y="508"/>
                    </a:lnTo>
                    <a:lnTo>
                      <a:pt x="3696" y="498"/>
                    </a:lnTo>
                    <a:lnTo>
                      <a:pt x="3696" y="498"/>
                    </a:lnTo>
                    <a:lnTo>
                      <a:pt x="3694" y="496"/>
                    </a:lnTo>
                    <a:lnTo>
                      <a:pt x="3692" y="496"/>
                    </a:lnTo>
                    <a:lnTo>
                      <a:pt x="3688" y="500"/>
                    </a:lnTo>
                    <a:lnTo>
                      <a:pt x="3684" y="506"/>
                    </a:lnTo>
                    <a:lnTo>
                      <a:pt x="3682" y="514"/>
                    </a:lnTo>
                    <a:lnTo>
                      <a:pt x="3680" y="524"/>
                    </a:lnTo>
                    <a:lnTo>
                      <a:pt x="3684" y="530"/>
                    </a:lnTo>
                    <a:lnTo>
                      <a:pt x="3686" y="532"/>
                    </a:lnTo>
                    <a:lnTo>
                      <a:pt x="3688" y="532"/>
                    </a:lnTo>
                    <a:lnTo>
                      <a:pt x="3692" y="532"/>
                    </a:lnTo>
                    <a:lnTo>
                      <a:pt x="3698" y="530"/>
                    </a:lnTo>
                    <a:lnTo>
                      <a:pt x="3698" y="530"/>
                    </a:lnTo>
                    <a:close/>
                    <a:moveTo>
                      <a:pt x="2260" y="322"/>
                    </a:moveTo>
                    <a:lnTo>
                      <a:pt x="2260" y="322"/>
                    </a:lnTo>
                    <a:lnTo>
                      <a:pt x="2286" y="316"/>
                    </a:lnTo>
                    <a:lnTo>
                      <a:pt x="2314" y="310"/>
                    </a:lnTo>
                    <a:lnTo>
                      <a:pt x="2350" y="306"/>
                    </a:lnTo>
                    <a:lnTo>
                      <a:pt x="2398" y="304"/>
                    </a:lnTo>
                    <a:lnTo>
                      <a:pt x="2398" y="304"/>
                    </a:lnTo>
                    <a:lnTo>
                      <a:pt x="2424" y="302"/>
                    </a:lnTo>
                    <a:lnTo>
                      <a:pt x="2442" y="298"/>
                    </a:lnTo>
                    <a:lnTo>
                      <a:pt x="2456" y="294"/>
                    </a:lnTo>
                    <a:lnTo>
                      <a:pt x="2464" y="288"/>
                    </a:lnTo>
                    <a:lnTo>
                      <a:pt x="2466" y="284"/>
                    </a:lnTo>
                    <a:lnTo>
                      <a:pt x="2466" y="282"/>
                    </a:lnTo>
                    <a:lnTo>
                      <a:pt x="2462" y="274"/>
                    </a:lnTo>
                    <a:lnTo>
                      <a:pt x="2456" y="266"/>
                    </a:lnTo>
                    <a:lnTo>
                      <a:pt x="2442" y="256"/>
                    </a:lnTo>
                    <a:lnTo>
                      <a:pt x="2442" y="256"/>
                    </a:lnTo>
                    <a:lnTo>
                      <a:pt x="2420" y="240"/>
                    </a:lnTo>
                    <a:lnTo>
                      <a:pt x="2412" y="234"/>
                    </a:lnTo>
                    <a:lnTo>
                      <a:pt x="2406" y="232"/>
                    </a:lnTo>
                    <a:lnTo>
                      <a:pt x="2398" y="232"/>
                    </a:lnTo>
                    <a:lnTo>
                      <a:pt x="2388" y="236"/>
                    </a:lnTo>
                    <a:lnTo>
                      <a:pt x="2376" y="242"/>
                    </a:lnTo>
                    <a:lnTo>
                      <a:pt x="2360" y="254"/>
                    </a:lnTo>
                    <a:lnTo>
                      <a:pt x="2360" y="254"/>
                    </a:lnTo>
                    <a:lnTo>
                      <a:pt x="2346" y="262"/>
                    </a:lnTo>
                    <a:lnTo>
                      <a:pt x="2344" y="264"/>
                    </a:lnTo>
                    <a:lnTo>
                      <a:pt x="2344" y="262"/>
                    </a:lnTo>
                    <a:lnTo>
                      <a:pt x="2356" y="248"/>
                    </a:lnTo>
                    <a:lnTo>
                      <a:pt x="2364" y="238"/>
                    </a:lnTo>
                    <a:lnTo>
                      <a:pt x="2372" y="226"/>
                    </a:lnTo>
                    <a:lnTo>
                      <a:pt x="2376" y="218"/>
                    </a:lnTo>
                    <a:lnTo>
                      <a:pt x="2374" y="214"/>
                    </a:lnTo>
                    <a:lnTo>
                      <a:pt x="2372" y="212"/>
                    </a:lnTo>
                    <a:lnTo>
                      <a:pt x="2372" y="212"/>
                    </a:lnTo>
                    <a:lnTo>
                      <a:pt x="2354" y="208"/>
                    </a:lnTo>
                    <a:lnTo>
                      <a:pt x="2344" y="206"/>
                    </a:lnTo>
                    <a:lnTo>
                      <a:pt x="2336" y="206"/>
                    </a:lnTo>
                    <a:lnTo>
                      <a:pt x="2326" y="208"/>
                    </a:lnTo>
                    <a:lnTo>
                      <a:pt x="2316" y="212"/>
                    </a:lnTo>
                    <a:lnTo>
                      <a:pt x="2306" y="222"/>
                    </a:lnTo>
                    <a:lnTo>
                      <a:pt x="2294" y="236"/>
                    </a:lnTo>
                    <a:lnTo>
                      <a:pt x="2294" y="236"/>
                    </a:lnTo>
                    <a:lnTo>
                      <a:pt x="2286" y="248"/>
                    </a:lnTo>
                    <a:lnTo>
                      <a:pt x="2278" y="256"/>
                    </a:lnTo>
                    <a:lnTo>
                      <a:pt x="2266" y="264"/>
                    </a:lnTo>
                    <a:lnTo>
                      <a:pt x="2260" y="270"/>
                    </a:lnTo>
                    <a:lnTo>
                      <a:pt x="2252" y="278"/>
                    </a:lnTo>
                    <a:lnTo>
                      <a:pt x="2242" y="292"/>
                    </a:lnTo>
                    <a:lnTo>
                      <a:pt x="2230" y="314"/>
                    </a:lnTo>
                    <a:lnTo>
                      <a:pt x="2230" y="314"/>
                    </a:lnTo>
                    <a:lnTo>
                      <a:pt x="2226" y="324"/>
                    </a:lnTo>
                    <a:lnTo>
                      <a:pt x="2226" y="328"/>
                    </a:lnTo>
                    <a:lnTo>
                      <a:pt x="2228" y="330"/>
                    </a:lnTo>
                    <a:lnTo>
                      <a:pt x="2238" y="328"/>
                    </a:lnTo>
                    <a:lnTo>
                      <a:pt x="2260" y="322"/>
                    </a:lnTo>
                    <a:lnTo>
                      <a:pt x="2260" y="322"/>
                    </a:lnTo>
                    <a:close/>
                    <a:moveTo>
                      <a:pt x="2156" y="150"/>
                    </a:moveTo>
                    <a:lnTo>
                      <a:pt x="2156" y="150"/>
                    </a:lnTo>
                    <a:lnTo>
                      <a:pt x="2132" y="150"/>
                    </a:lnTo>
                    <a:lnTo>
                      <a:pt x="2100" y="148"/>
                    </a:lnTo>
                    <a:lnTo>
                      <a:pt x="2084" y="150"/>
                    </a:lnTo>
                    <a:lnTo>
                      <a:pt x="2068" y="152"/>
                    </a:lnTo>
                    <a:lnTo>
                      <a:pt x="2054" y="156"/>
                    </a:lnTo>
                    <a:lnTo>
                      <a:pt x="2042" y="162"/>
                    </a:lnTo>
                    <a:lnTo>
                      <a:pt x="2042" y="162"/>
                    </a:lnTo>
                    <a:lnTo>
                      <a:pt x="2016" y="178"/>
                    </a:lnTo>
                    <a:lnTo>
                      <a:pt x="1988" y="192"/>
                    </a:lnTo>
                    <a:lnTo>
                      <a:pt x="1980" y="198"/>
                    </a:lnTo>
                    <a:lnTo>
                      <a:pt x="1978" y="200"/>
                    </a:lnTo>
                    <a:lnTo>
                      <a:pt x="1978" y="202"/>
                    </a:lnTo>
                    <a:lnTo>
                      <a:pt x="1980" y="204"/>
                    </a:lnTo>
                    <a:lnTo>
                      <a:pt x="1982" y="204"/>
                    </a:lnTo>
                    <a:lnTo>
                      <a:pt x="1996" y="206"/>
                    </a:lnTo>
                    <a:lnTo>
                      <a:pt x="1996" y="206"/>
                    </a:lnTo>
                    <a:lnTo>
                      <a:pt x="2012" y="206"/>
                    </a:lnTo>
                    <a:lnTo>
                      <a:pt x="2020" y="208"/>
                    </a:lnTo>
                    <a:lnTo>
                      <a:pt x="2024" y="210"/>
                    </a:lnTo>
                    <a:lnTo>
                      <a:pt x="2024" y="214"/>
                    </a:lnTo>
                    <a:lnTo>
                      <a:pt x="2024" y="218"/>
                    </a:lnTo>
                    <a:lnTo>
                      <a:pt x="2026" y="224"/>
                    </a:lnTo>
                    <a:lnTo>
                      <a:pt x="2030" y="230"/>
                    </a:lnTo>
                    <a:lnTo>
                      <a:pt x="2038" y="234"/>
                    </a:lnTo>
                    <a:lnTo>
                      <a:pt x="2038" y="234"/>
                    </a:lnTo>
                    <a:lnTo>
                      <a:pt x="2046" y="238"/>
                    </a:lnTo>
                    <a:lnTo>
                      <a:pt x="2054" y="238"/>
                    </a:lnTo>
                    <a:lnTo>
                      <a:pt x="2074" y="240"/>
                    </a:lnTo>
                    <a:lnTo>
                      <a:pt x="2100" y="244"/>
                    </a:lnTo>
                    <a:lnTo>
                      <a:pt x="2118" y="246"/>
                    </a:lnTo>
                    <a:lnTo>
                      <a:pt x="2138" y="252"/>
                    </a:lnTo>
                    <a:lnTo>
                      <a:pt x="2138" y="252"/>
                    </a:lnTo>
                    <a:lnTo>
                      <a:pt x="2158" y="258"/>
                    </a:lnTo>
                    <a:lnTo>
                      <a:pt x="2180" y="260"/>
                    </a:lnTo>
                    <a:lnTo>
                      <a:pt x="2200" y="260"/>
                    </a:lnTo>
                    <a:lnTo>
                      <a:pt x="2218" y="258"/>
                    </a:lnTo>
                    <a:lnTo>
                      <a:pt x="2232" y="252"/>
                    </a:lnTo>
                    <a:lnTo>
                      <a:pt x="2240" y="248"/>
                    </a:lnTo>
                    <a:lnTo>
                      <a:pt x="2244" y="244"/>
                    </a:lnTo>
                    <a:lnTo>
                      <a:pt x="2244" y="240"/>
                    </a:lnTo>
                    <a:lnTo>
                      <a:pt x="2242" y="238"/>
                    </a:lnTo>
                    <a:lnTo>
                      <a:pt x="2240" y="234"/>
                    </a:lnTo>
                    <a:lnTo>
                      <a:pt x="2240" y="234"/>
                    </a:lnTo>
                    <a:lnTo>
                      <a:pt x="2236" y="232"/>
                    </a:lnTo>
                    <a:lnTo>
                      <a:pt x="2236" y="228"/>
                    </a:lnTo>
                    <a:lnTo>
                      <a:pt x="2236" y="220"/>
                    </a:lnTo>
                    <a:lnTo>
                      <a:pt x="2238" y="210"/>
                    </a:lnTo>
                    <a:lnTo>
                      <a:pt x="2244" y="202"/>
                    </a:lnTo>
                    <a:lnTo>
                      <a:pt x="2248" y="192"/>
                    </a:lnTo>
                    <a:lnTo>
                      <a:pt x="2252" y="184"/>
                    </a:lnTo>
                    <a:lnTo>
                      <a:pt x="2252" y="180"/>
                    </a:lnTo>
                    <a:lnTo>
                      <a:pt x="2252" y="176"/>
                    </a:lnTo>
                    <a:lnTo>
                      <a:pt x="2250" y="174"/>
                    </a:lnTo>
                    <a:lnTo>
                      <a:pt x="2246" y="172"/>
                    </a:lnTo>
                    <a:lnTo>
                      <a:pt x="2246" y="172"/>
                    </a:lnTo>
                    <a:lnTo>
                      <a:pt x="2238" y="166"/>
                    </a:lnTo>
                    <a:lnTo>
                      <a:pt x="2234" y="162"/>
                    </a:lnTo>
                    <a:lnTo>
                      <a:pt x="2230" y="160"/>
                    </a:lnTo>
                    <a:lnTo>
                      <a:pt x="2226" y="156"/>
                    </a:lnTo>
                    <a:lnTo>
                      <a:pt x="2220" y="156"/>
                    </a:lnTo>
                    <a:lnTo>
                      <a:pt x="2212" y="156"/>
                    </a:lnTo>
                    <a:lnTo>
                      <a:pt x="2184" y="164"/>
                    </a:lnTo>
                    <a:lnTo>
                      <a:pt x="2184" y="164"/>
                    </a:lnTo>
                    <a:lnTo>
                      <a:pt x="2170" y="170"/>
                    </a:lnTo>
                    <a:lnTo>
                      <a:pt x="2162" y="170"/>
                    </a:lnTo>
                    <a:lnTo>
                      <a:pt x="2160" y="168"/>
                    </a:lnTo>
                    <a:lnTo>
                      <a:pt x="2160" y="168"/>
                    </a:lnTo>
                    <a:lnTo>
                      <a:pt x="2162" y="164"/>
                    </a:lnTo>
                    <a:lnTo>
                      <a:pt x="2164" y="158"/>
                    </a:lnTo>
                    <a:lnTo>
                      <a:pt x="2164" y="154"/>
                    </a:lnTo>
                    <a:lnTo>
                      <a:pt x="2164" y="150"/>
                    </a:lnTo>
                    <a:lnTo>
                      <a:pt x="2156" y="150"/>
                    </a:lnTo>
                    <a:lnTo>
                      <a:pt x="2156" y="150"/>
                    </a:lnTo>
                    <a:close/>
                    <a:moveTo>
                      <a:pt x="3192" y="724"/>
                    </a:moveTo>
                    <a:lnTo>
                      <a:pt x="3192" y="724"/>
                    </a:lnTo>
                    <a:lnTo>
                      <a:pt x="3218" y="728"/>
                    </a:lnTo>
                    <a:lnTo>
                      <a:pt x="3242" y="734"/>
                    </a:lnTo>
                    <a:lnTo>
                      <a:pt x="3268" y="744"/>
                    </a:lnTo>
                    <a:lnTo>
                      <a:pt x="3300" y="758"/>
                    </a:lnTo>
                    <a:lnTo>
                      <a:pt x="3300" y="758"/>
                    </a:lnTo>
                    <a:lnTo>
                      <a:pt x="3308" y="762"/>
                    </a:lnTo>
                    <a:lnTo>
                      <a:pt x="3314" y="764"/>
                    </a:lnTo>
                    <a:lnTo>
                      <a:pt x="3316" y="762"/>
                    </a:lnTo>
                    <a:lnTo>
                      <a:pt x="3316" y="760"/>
                    </a:lnTo>
                    <a:lnTo>
                      <a:pt x="3314" y="752"/>
                    </a:lnTo>
                    <a:lnTo>
                      <a:pt x="3316" y="748"/>
                    </a:lnTo>
                    <a:lnTo>
                      <a:pt x="3320" y="746"/>
                    </a:lnTo>
                    <a:lnTo>
                      <a:pt x="3320" y="746"/>
                    </a:lnTo>
                    <a:lnTo>
                      <a:pt x="3332" y="746"/>
                    </a:lnTo>
                    <a:lnTo>
                      <a:pt x="3338" y="746"/>
                    </a:lnTo>
                    <a:lnTo>
                      <a:pt x="3368" y="758"/>
                    </a:lnTo>
                    <a:lnTo>
                      <a:pt x="3368" y="758"/>
                    </a:lnTo>
                    <a:lnTo>
                      <a:pt x="3390" y="768"/>
                    </a:lnTo>
                    <a:lnTo>
                      <a:pt x="3412" y="778"/>
                    </a:lnTo>
                    <a:lnTo>
                      <a:pt x="3420" y="782"/>
                    </a:lnTo>
                    <a:lnTo>
                      <a:pt x="3428" y="782"/>
                    </a:lnTo>
                    <a:lnTo>
                      <a:pt x="3434" y="778"/>
                    </a:lnTo>
                    <a:lnTo>
                      <a:pt x="3440" y="772"/>
                    </a:lnTo>
                    <a:lnTo>
                      <a:pt x="3440" y="772"/>
                    </a:lnTo>
                    <a:lnTo>
                      <a:pt x="3440" y="766"/>
                    </a:lnTo>
                    <a:lnTo>
                      <a:pt x="3440" y="762"/>
                    </a:lnTo>
                    <a:lnTo>
                      <a:pt x="3436" y="756"/>
                    </a:lnTo>
                    <a:lnTo>
                      <a:pt x="3430" y="752"/>
                    </a:lnTo>
                    <a:lnTo>
                      <a:pt x="3422" y="748"/>
                    </a:lnTo>
                    <a:lnTo>
                      <a:pt x="3414" y="746"/>
                    </a:lnTo>
                    <a:lnTo>
                      <a:pt x="3412" y="744"/>
                    </a:lnTo>
                    <a:lnTo>
                      <a:pt x="3412" y="742"/>
                    </a:lnTo>
                    <a:lnTo>
                      <a:pt x="3414" y="742"/>
                    </a:lnTo>
                    <a:lnTo>
                      <a:pt x="3422" y="738"/>
                    </a:lnTo>
                    <a:lnTo>
                      <a:pt x="3422" y="738"/>
                    </a:lnTo>
                    <a:lnTo>
                      <a:pt x="3432" y="736"/>
                    </a:lnTo>
                    <a:lnTo>
                      <a:pt x="3432" y="734"/>
                    </a:lnTo>
                    <a:lnTo>
                      <a:pt x="3432" y="732"/>
                    </a:lnTo>
                    <a:lnTo>
                      <a:pt x="3426" y="730"/>
                    </a:lnTo>
                    <a:lnTo>
                      <a:pt x="3418" y="726"/>
                    </a:lnTo>
                    <a:lnTo>
                      <a:pt x="3410" y="724"/>
                    </a:lnTo>
                    <a:lnTo>
                      <a:pt x="3406" y="720"/>
                    </a:lnTo>
                    <a:lnTo>
                      <a:pt x="3406" y="718"/>
                    </a:lnTo>
                    <a:lnTo>
                      <a:pt x="3406" y="718"/>
                    </a:lnTo>
                    <a:lnTo>
                      <a:pt x="3416" y="714"/>
                    </a:lnTo>
                    <a:lnTo>
                      <a:pt x="3416" y="714"/>
                    </a:lnTo>
                    <a:lnTo>
                      <a:pt x="3428" y="710"/>
                    </a:lnTo>
                    <a:lnTo>
                      <a:pt x="3430" y="708"/>
                    </a:lnTo>
                    <a:lnTo>
                      <a:pt x="3430" y="706"/>
                    </a:lnTo>
                    <a:lnTo>
                      <a:pt x="3426" y="702"/>
                    </a:lnTo>
                    <a:lnTo>
                      <a:pt x="3418" y="696"/>
                    </a:lnTo>
                    <a:lnTo>
                      <a:pt x="3392" y="686"/>
                    </a:lnTo>
                    <a:lnTo>
                      <a:pt x="3364" y="676"/>
                    </a:lnTo>
                    <a:lnTo>
                      <a:pt x="3364" y="676"/>
                    </a:lnTo>
                    <a:lnTo>
                      <a:pt x="3352" y="674"/>
                    </a:lnTo>
                    <a:lnTo>
                      <a:pt x="3342" y="676"/>
                    </a:lnTo>
                    <a:lnTo>
                      <a:pt x="3336" y="678"/>
                    </a:lnTo>
                    <a:lnTo>
                      <a:pt x="3330" y="684"/>
                    </a:lnTo>
                    <a:lnTo>
                      <a:pt x="3326" y="688"/>
                    </a:lnTo>
                    <a:lnTo>
                      <a:pt x="3322" y="690"/>
                    </a:lnTo>
                    <a:lnTo>
                      <a:pt x="3320" y="688"/>
                    </a:lnTo>
                    <a:lnTo>
                      <a:pt x="3316" y="682"/>
                    </a:lnTo>
                    <a:lnTo>
                      <a:pt x="3316" y="682"/>
                    </a:lnTo>
                    <a:lnTo>
                      <a:pt x="3312" y="676"/>
                    </a:lnTo>
                    <a:lnTo>
                      <a:pt x="3306" y="672"/>
                    </a:lnTo>
                    <a:lnTo>
                      <a:pt x="3302" y="668"/>
                    </a:lnTo>
                    <a:lnTo>
                      <a:pt x="3294" y="668"/>
                    </a:lnTo>
                    <a:lnTo>
                      <a:pt x="3278" y="666"/>
                    </a:lnTo>
                    <a:lnTo>
                      <a:pt x="3270" y="664"/>
                    </a:lnTo>
                    <a:lnTo>
                      <a:pt x="3258" y="660"/>
                    </a:lnTo>
                    <a:lnTo>
                      <a:pt x="3258" y="660"/>
                    </a:lnTo>
                    <a:lnTo>
                      <a:pt x="3244" y="656"/>
                    </a:lnTo>
                    <a:lnTo>
                      <a:pt x="3230" y="654"/>
                    </a:lnTo>
                    <a:lnTo>
                      <a:pt x="3216" y="656"/>
                    </a:lnTo>
                    <a:lnTo>
                      <a:pt x="3204" y="660"/>
                    </a:lnTo>
                    <a:lnTo>
                      <a:pt x="3194" y="666"/>
                    </a:lnTo>
                    <a:lnTo>
                      <a:pt x="3186" y="674"/>
                    </a:lnTo>
                    <a:lnTo>
                      <a:pt x="3186" y="676"/>
                    </a:lnTo>
                    <a:lnTo>
                      <a:pt x="3186" y="680"/>
                    </a:lnTo>
                    <a:lnTo>
                      <a:pt x="3188" y="684"/>
                    </a:lnTo>
                    <a:lnTo>
                      <a:pt x="3190" y="688"/>
                    </a:lnTo>
                    <a:lnTo>
                      <a:pt x="3190" y="688"/>
                    </a:lnTo>
                    <a:lnTo>
                      <a:pt x="3194" y="692"/>
                    </a:lnTo>
                    <a:lnTo>
                      <a:pt x="3196" y="696"/>
                    </a:lnTo>
                    <a:lnTo>
                      <a:pt x="3196" y="700"/>
                    </a:lnTo>
                    <a:lnTo>
                      <a:pt x="3196" y="702"/>
                    </a:lnTo>
                    <a:lnTo>
                      <a:pt x="3190" y="706"/>
                    </a:lnTo>
                    <a:lnTo>
                      <a:pt x="3184" y="712"/>
                    </a:lnTo>
                    <a:lnTo>
                      <a:pt x="3178" y="714"/>
                    </a:lnTo>
                    <a:lnTo>
                      <a:pt x="3176" y="718"/>
                    </a:lnTo>
                    <a:lnTo>
                      <a:pt x="3180" y="720"/>
                    </a:lnTo>
                    <a:lnTo>
                      <a:pt x="3192" y="724"/>
                    </a:lnTo>
                    <a:lnTo>
                      <a:pt x="3192" y="724"/>
                    </a:lnTo>
                    <a:close/>
                    <a:moveTo>
                      <a:pt x="614" y="10"/>
                    </a:moveTo>
                    <a:lnTo>
                      <a:pt x="614" y="10"/>
                    </a:lnTo>
                    <a:lnTo>
                      <a:pt x="614" y="8"/>
                    </a:lnTo>
                    <a:lnTo>
                      <a:pt x="612" y="6"/>
                    </a:lnTo>
                    <a:lnTo>
                      <a:pt x="606" y="4"/>
                    </a:lnTo>
                    <a:lnTo>
                      <a:pt x="588" y="0"/>
                    </a:lnTo>
                    <a:lnTo>
                      <a:pt x="576" y="0"/>
                    </a:lnTo>
                    <a:lnTo>
                      <a:pt x="566" y="2"/>
                    </a:lnTo>
                    <a:lnTo>
                      <a:pt x="558" y="4"/>
                    </a:lnTo>
                    <a:lnTo>
                      <a:pt x="554" y="10"/>
                    </a:lnTo>
                    <a:lnTo>
                      <a:pt x="554" y="10"/>
                    </a:lnTo>
                    <a:lnTo>
                      <a:pt x="552" y="12"/>
                    </a:lnTo>
                    <a:lnTo>
                      <a:pt x="554" y="14"/>
                    </a:lnTo>
                    <a:lnTo>
                      <a:pt x="558" y="18"/>
                    </a:lnTo>
                    <a:lnTo>
                      <a:pt x="568" y="18"/>
                    </a:lnTo>
                    <a:lnTo>
                      <a:pt x="578" y="18"/>
                    </a:lnTo>
                    <a:lnTo>
                      <a:pt x="602" y="16"/>
                    </a:lnTo>
                    <a:lnTo>
                      <a:pt x="610" y="12"/>
                    </a:lnTo>
                    <a:lnTo>
                      <a:pt x="614" y="10"/>
                    </a:lnTo>
                    <a:lnTo>
                      <a:pt x="614" y="10"/>
                    </a:lnTo>
                    <a:close/>
                    <a:moveTo>
                      <a:pt x="444" y="80"/>
                    </a:moveTo>
                    <a:lnTo>
                      <a:pt x="444" y="80"/>
                    </a:lnTo>
                    <a:lnTo>
                      <a:pt x="450" y="82"/>
                    </a:lnTo>
                    <a:lnTo>
                      <a:pt x="450" y="84"/>
                    </a:lnTo>
                    <a:lnTo>
                      <a:pt x="456" y="86"/>
                    </a:lnTo>
                    <a:lnTo>
                      <a:pt x="474" y="88"/>
                    </a:lnTo>
                    <a:lnTo>
                      <a:pt x="474" y="88"/>
                    </a:lnTo>
                    <a:lnTo>
                      <a:pt x="502" y="94"/>
                    </a:lnTo>
                    <a:lnTo>
                      <a:pt x="514" y="100"/>
                    </a:lnTo>
                    <a:lnTo>
                      <a:pt x="524" y="102"/>
                    </a:lnTo>
                    <a:lnTo>
                      <a:pt x="536" y="100"/>
                    </a:lnTo>
                    <a:lnTo>
                      <a:pt x="536" y="100"/>
                    </a:lnTo>
                    <a:lnTo>
                      <a:pt x="544" y="96"/>
                    </a:lnTo>
                    <a:lnTo>
                      <a:pt x="546" y="94"/>
                    </a:lnTo>
                    <a:lnTo>
                      <a:pt x="544" y="94"/>
                    </a:lnTo>
                    <a:lnTo>
                      <a:pt x="520" y="88"/>
                    </a:lnTo>
                    <a:lnTo>
                      <a:pt x="520" y="88"/>
                    </a:lnTo>
                    <a:lnTo>
                      <a:pt x="492" y="76"/>
                    </a:lnTo>
                    <a:lnTo>
                      <a:pt x="478" y="74"/>
                    </a:lnTo>
                    <a:lnTo>
                      <a:pt x="466" y="76"/>
                    </a:lnTo>
                    <a:lnTo>
                      <a:pt x="466" y="76"/>
                    </a:lnTo>
                    <a:lnTo>
                      <a:pt x="458" y="76"/>
                    </a:lnTo>
                    <a:lnTo>
                      <a:pt x="452" y="74"/>
                    </a:lnTo>
                    <a:lnTo>
                      <a:pt x="438" y="70"/>
                    </a:lnTo>
                    <a:lnTo>
                      <a:pt x="432" y="68"/>
                    </a:lnTo>
                    <a:lnTo>
                      <a:pt x="426" y="66"/>
                    </a:lnTo>
                    <a:lnTo>
                      <a:pt x="420" y="68"/>
                    </a:lnTo>
                    <a:lnTo>
                      <a:pt x="414" y="74"/>
                    </a:lnTo>
                    <a:lnTo>
                      <a:pt x="414" y="74"/>
                    </a:lnTo>
                    <a:lnTo>
                      <a:pt x="412" y="76"/>
                    </a:lnTo>
                    <a:lnTo>
                      <a:pt x="414" y="76"/>
                    </a:lnTo>
                    <a:lnTo>
                      <a:pt x="420" y="78"/>
                    </a:lnTo>
                    <a:lnTo>
                      <a:pt x="432" y="78"/>
                    </a:lnTo>
                    <a:lnTo>
                      <a:pt x="444" y="80"/>
                    </a:lnTo>
                    <a:lnTo>
                      <a:pt x="444" y="80"/>
                    </a:lnTo>
                    <a:close/>
                    <a:moveTo>
                      <a:pt x="296" y="786"/>
                    </a:moveTo>
                    <a:lnTo>
                      <a:pt x="296" y="786"/>
                    </a:lnTo>
                    <a:lnTo>
                      <a:pt x="290" y="806"/>
                    </a:lnTo>
                    <a:lnTo>
                      <a:pt x="288" y="812"/>
                    </a:lnTo>
                    <a:lnTo>
                      <a:pt x="288" y="818"/>
                    </a:lnTo>
                    <a:lnTo>
                      <a:pt x="292" y="822"/>
                    </a:lnTo>
                    <a:lnTo>
                      <a:pt x="300" y="826"/>
                    </a:lnTo>
                    <a:lnTo>
                      <a:pt x="310" y="828"/>
                    </a:lnTo>
                    <a:lnTo>
                      <a:pt x="324" y="828"/>
                    </a:lnTo>
                    <a:lnTo>
                      <a:pt x="324" y="828"/>
                    </a:lnTo>
                    <a:lnTo>
                      <a:pt x="340" y="828"/>
                    </a:lnTo>
                    <a:lnTo>
                      <a:pt x="338" y="830"/>
                    </a:lnTo>
                    <a:lnTo>
                      <a:pt x="334" y="832"/>
                    </a:lnTo>
                    <a:lnTo>
                      <a:pt x="330" y="836"/>
                    </a:lnTo>
                    <a:lnTo>
                      <a:pt x="330" y="842"/>
                    </a:lnTo>
                    <a:lnTo>
                      <a:pt x="330" y="844"/>
                    </a:lnTo>
                    <a:lnTo>
                      <a:pt x="332" y="848"/>
                    </a:lnTo>
                    <a:lnTo>
                      <a:pt x="344" y="856"/>
                    </a:lnTo>
                    <a:lnTo>
                      <a:pt x="344" y="856"/>
                    </a:lnTo>
                    <a:lnTo>
                      <a:pt x="350" y="858"/>
                    </a:lnTo>
                    <a:lnTo>
                      <a:pt x="356" y="860"/>
                    </a:lnTo>
                    <a:lnTo>
                      <a:pt x="360" y="860"/>
                    </a:lnTo>
                    <a:lnTo>
                      <a:pt x="362" y="858"/>
                    </a:lnTo>
                    <a:lnTo>
                      <a:pt x="364" y="852"/>
                    </a:lnTo>
                    <a:lnTo>
                      <a:pt x="366" y="844"/>
                    </a:lnTo>
                    <a:lnTo>
                      <a:pt x="366" y="838"/>
                    </a:lnTo>
                    <a:lnTo>
                      <a:pt x="366" y="834"/>
                    </a:lnTo>
                    <a:lnTo>
                      <a:pt x="368" y="832"/>
                    </a:lnTo>
                    <a:lnTo>
                      <a:pt x="370" y="834"/>
                    </a:lnTo>
                    <a:lnTo>
                      <a:pt x="376" y="842"/>
                    </a:lnTo>
                    <a:lnTo>
                      <a:pt x="376" y="842"/>
                    </a:lnTo>
                    <a:lnTo>
                      <a:pt x="380" y="848"/>
                    </a:lnTo>
                    <a:lnTo>
                      <a:pt x="382" y="852"/>
                    </a:lnTo>
                    <a:lnTo>
                      <a:pt x="382" y="856"/>
                    </a:lnTo>
                    <a:lnTo>
                      <a:pt x="382" y="860"/>
                    </a:lnTo>
                    <a:lnTo>
                      <a:pt x="378" y="866"/>
                    </a:lnTo>
                    <a:lnTo>
                      <a:pt x="372" y="870"/>
                    </a:lnTo>
                    <a:lnTo>
                      <a:pt x="368" y="874"/>
                    </a:lnTo>
                    <a:lnTo>
                      <a:pt x="368" y="874"/>
                    </a:lnTo>
                    <a:lnTo>
                      <a:pt x="368" y="876"/>
                    </a:lnTo>
                    <a:lnTo>
                      <a:pt x="374" y="878"/>
                    </a:lnTo>
                    <a:lnTo>
                      <a:pt x="388" y="880"/>
                    </a:lnTo>
                    <a:lnTo>
                      <a:pt x="388" y="880"/>
                    </a:lnTo>
                    <a:lnTo>
                      <a:pt x="404" y="882"/>
                    </a:lnTo>
                    <a:lnTo>
                      <a:pt x="414" y="884"/>
                    </a:lnTo>
                    <a:lnTo>
                      <a:pt x="420" y="886"/>
                    </a:lnTo>
                    <a:lnTo>
                      <a:pt x="424" y="888"/>
                    </a:lnTo>
                    <a:lnTo>
                      <a:pt x="426" y="890"/>
                    </a:lnTo>
                    <a:lnTo>
                      <a:pt x="430" y="892"/>
                    </a:lnTo>
                    <a:lnTo>
                      <a:pt x="450" y="892"/>
                    </a:lnTo>
                    <a:lnTo>
                      <a:pt x="450" y="892"/>
                    </a:lnTo>
                    <a:lnTo>
                      <a:pt x="464" y="894"/>
                    </a:lnTo>
                    <a:lnTo>
                      <a:pt x="476" y="894"/>
                    </a:lnTo>
                    <a:lnTo>
                      <a:pt x="494" y="898"/>
                    </a:lnTo>
                    <a:lnTo>
                      <a:pt x="504" y="898"/>
                    </a:lnTo>
                    <a:lnTo>
                      <a:pt x="514" y="898"/>
                    </a:lnTo>
                    <a:lnTo>
                      <a:pt x="524" y="894"/>
                    </a:lnTo>
                    <a:lnTo>
                      <a:pt x="536" y="888"/>
                    </a:lnTo>
                    <a:lnTo>
                      <a:pt x="536" y="888"/>
                    </a:lnTo>
                    <a:lnTo>
                      <a:pt x="540" y="886"/>
                    </a:lnTo>
                    <a:lnTo>
                      <a:pt x="540" y="884"/>
                    </a:lnTo>
                    <a:lnTo>
                      <a:pt x="540" y="882"/>
                    </a:lnTo>
                    <a:lnTo>
                      <a:pt x="538" y="878"/>
                    </a:lnTo>
                    <a:lnTo>
                      <a:pt x="530" y="874"/>
                    </a:lnTo>
                    <a:lnTo>
                      <a:pt x="518" y="868"/>
                    </a:lnTo>
                    <a:lnTo>
                      <a:pt x="506" y="862"/>
                    </a:lnTo>
                    <a:lnTo>
                      <a:pt x="494" y="854"/>
                    </a:lnTo>
                    <a:lnTo>
                      <a:pt x="484" y="846"/>
                    </a:lnTo>
                    <a:lnTo>
                      <a:pt x="476" y="836"/>
                    </a:lnTo>
                    <a:lnTo>
                      <a:pt x="476" y="836"/>
                    </a:lnTo>
                    <a:lnTo>
                      <a:pt x="472" y="826"/>
                    </a:lnTo>
                    <a:lnTo>
                      <a:pt x="466" y="820"/>
                    </a:lnTo>
                    <a:lnTo>
                      <a:pt x="456" y="808"/>
                    </a:lnTo>
                    <a:lnTo>
                      <a:pt x="452" y="800"/>
                    </a:lnTo>
                    <a:lnTo>
                      <a:pt x="448" y="792"/>
                    </a:lnTo>
                    <a:lnTo>
                      <a:pt x="448" y="780"/>
                    </a:lnTo>
                    <a:lnTo>
                      <a:pt x="450" y="764"/>
                    </a:lnTo>
                    <a:lnTo>
                      <a:pt x="450" y="764"/>
                    </a:lnTo>
                    <a:lnTo>
                      <a:pt x="452" y="756"/>
                    </a:lnTo>
                    <a:lnTo>
                      <a:pt x="456" y="748"/>
                    </a:lnTo>
                    <a:lnTo>
                      <a:pt x="464" y="736"/>
                    </a:lnTo>
                    <a:lnTo>
                      <a:pt x="474" y="726"/>
                    </a:lnTo>
                    <a:lnTo>
                      <a:pt x="482" y="718"/>
                    </a:lnTo>
                    <a:lnTo>
                      <a:pt x="490" y="712"/>
                    </a:lnTo>
                    <a:lnTo>
                      <a:pt x="492" y="706"/>
                    </a:lnTo>
                    <a:lnTo>
                      <a:pt x="492" y="704"/>
                    </a:lnTo>
                    <a:lnTo>
                      <a:pt x="488" y="702"/>
                    </a:lnTo>
                    <a:lnTo>
                      <a:pt x="478" y="696"/>
                    </a:lnTo>
                    <a:lnTo>
                      <a:pt x="478" y="696"/>
                    </a:lnTo>
                    <a:lnTo>
                      <a:pt x="458" y="688"/>
                    </a:lnTo>
                    <a:lnTo>
                      <a:pt x="454" y="686"/>
                    </a:lnTo>
                    <a:lnTo>
                      <a:pt x="448" y="686"/>
                    </a:lnTo>
                    <a:lnTo>
                      <a:pt x="434" y="688"/>
                    </a:lnTo>
                    <a:lnTo>
                      <a:pt x="400" y="694"/>
                    </a:lnTo>
                    <a:lnTo>
                      <a:pt x="400" y="694"/>
                    </a:lnTo>
                    <a:lnTo>
                      <a:pt x="378" y="698"/>
                    </a:lnTo>
                    <a:lnTo>
                      <a:pt x="366" y="700"/>
                    </a:lnTo>
                    <a:lnTo>
                      <a:pt x="362" y="702"/>
                    </a:lnTo>
                    <a:lnTo>
                      <a:pt x="362" y="706"/>
                    </a:lnTo>
                    <a:lnTo>
                      <a:pt x="362" y="708"/>
                    </a:lnTo>
                    <a:lnTo>
                      <a:pt x="362" y="712"/>
                    </a:lnTo>
                    <a:lnTo>
                      <a:pt x="358" y="716"/>
                    </a:lnTo>
                    <a:lnTo>
                      <a:pt x="348" y="720"/>
                    </a:lnTo>
                    <a:lnTo>
                      <a:pt x="348" y="720"/>
                    </a:lnTo>
                    <a:lnTo>
                      <a:pt x="338" y="726"/>
                    </a:lnTo>
                    <a:lnTo>
                      <a:pt x="334" y="730"/>
                    </a:lnTo>
                    <a:lnTo>
                      <a:pt x="332" y="734"/>
                    </a:lnTo>
                    <a:lnTo>
                      <a:pt x="334" y="736"/>
                    </a:lnTo>
                    <a:lnTo>
                      <a:pt x="338" y="742"/>
                    </a:lnTo>
                    <a:lnTo>
                      <a:pt x="340" y="746"/>
                    </a:lnTo>
                    <a:lnTo>
                      <a:pt x="340" y="754"/>
                    </a:lnTo>
                    <a:lnTo>
                      <a:pt x="336" y="764"/>
                    </a:lnTo>
                    <a:lnTo>
                      <a:pt x="336" y="764"/>
                    </a:lnTo>
                    <a:lnTo>
                      <a:pt x="330" y="774"/>
                    </a:lnTo>
                    <a:lnTo>
                      <a:pt x="324" y="778"/>
                    </a:lnTo>
                    <a:lnTo>
                      <a:pt x="320" y="778"/>
                    </a:lnTo>
                    <a:lnTo>
                      <a:pt x="316" y="776"/>
                    </a:lnTo>
                    <a:lnTo>
                      <a:pt x="310" y="774"/>
                    </a:lnTo>
                    <a:lnTo>
                      <a:pt x="306" y="774"/>
                    </a:lnTo>
                    <a:lnTo>
                      <a:pt x="302" y="778"/>
                    </a:lnTo>
                    <a:lnTo>
                      <a:pt x="296" y="786"/>
                    </a:lnTo>
                    <a:lnTo>
                      <a:pt x="296" y="786"/>
                    </a:lnTo>
                    <a:close/>
                    <a:moveTo>
                      <a:pt x="282" y="168"/>
                    </a:moveTo>
                    <a:lnTo>
                      <a:pt x="282" y="168"/>
                    </a:lnTo>
                    <a:lnTo>
                      <a:pt x="290" y="168"/>
                    </a:lnTo>
                    <a:lnTo>
                      <a:pt x="294" y="164"/>
                    </a:lnTo>
                    <a:lnTo>
                      <a:pt x="292" y="160"/>
                    </a:lnTo>
                    <a:lnTo>
                      <a:pt x="288" y="158"/>
                    </a:lnTo>
                    <a:lnTo>
                      <a:pt x="280" y="154"/>
                    </a:lnTo>
                    <a:lnTo>
                      <a:pt x="270" y="152"/>
                    </a:lnTo>
                    <a:lnTo>
                      <a:pt x="260" y="152"/>
                    </a:lnTo>
                    <a:lnTo>
                      <a:pt x="250" y="156"/>
                    </a:lnTo>
                    <a:lnTo>
                      <a:pt x="250" y="156"/>
                    </a:lnTo>
                    <a:lnTo>
                      <a:pt x="242" y="160"/>
                    </a:lnTo>
                    <a:lnTo>
                      <a:pt x="240" y="164"/>
                    </a:lnTo>
                    <a:lnTo>
                      <a:pt x="240" y="166"/>
                    </a:lnTo>
                    <a:lnTo>
                      <a:pt x="244" y="166"/>
                    </a:lnTo>
                    <a:lnTo>
                      <a:pt x="260" y="168"/>
                    </a:lnTo>
                    <a:lnTo>
                      <a:pt x="282" y="168"/>
                    </a:lnTo>
                    <a:lnTo>
                      <a:pt x="282" y="168"/>
                    </a:lnTo>
                    <a:close/>
                    <a:moveTo>
                      <a:pt x="416" y="96"/>
                    </a:moveTo>
                    <a:lnTo>
                      <a:pt x="416" y="96"/>
                    </a:lnTo>
                    <a:lnTo>
                      <a:pt x="424" y="96"/>
                    </a:lnTo>
                    <a:lnTo>
                      <a:pt x="428" y="100"/>
                    </a:lnTo>
                    <a:lnTo>
                      <a:pt x="432" y="100"/>
                    </a:lnTo>
                    <a:lnTo>
                      <a:pt x="440" y="100"/>
                    </a:lnTo>
                    <a:lnTo>
                      <a:pt x="440" y="100"/>
                    </a:lnTo>
                    <a:lnTo>
                      <a:pt x="452" y="98"/>
                    </a:lnTo>
                    <a:lnTo>
                      <a:pt x="464" y="96"/>
                    </a:lnTo>
                    <a:lnTo>
                      <a:pt x="470" y="96"/>
                    </a:lnTo>
                    <a:lnTo>
                      <a:pt x="472" y="96"/>
                    </a:lnTo>
                    <a:lnTo>
                      <a:pt x="470" y="94"/>
                    </a:lnTo>
                    <a:lnTo>
                      <a:pt x="470" y="94"/>
                    </a:lnTo>
                    <a:lnTo>
                      <a:pt x="452" y="88"/>
                    </a:lnTo>
                    <a:lnTo>
                      <a:pt x="440" y="86"/>
                    </a:lnTo>
                    <a:lnTo>
                      <a:pt x="436" y="86"/>
                    </a:lnTo>
                    <a:lnTo>
                      <a:pt x="432" y="88"/>
                    </a:lnTo>
                    <a:lnTo>
                      <a:pt x="432" y="88"/>
                    </a:lnTo>
                    <a:lnTo>
                      <a:pt x="428" y="90"/>
                    </a:lnTo>
                    <a:lnTo>
                      <a:pt x="424" y="90"/>
                    </a:lnTo>
                    <a:lnTo>
                      <a:pt x="414" y="88"/>
                    </a:lnTo>
                    <a:lnTo>
                      <a:pt x="404" y="86"/>
                    </a:lnTo>
                    <a:lnTo>
                      <a:pt x="398" y="88"/>
                    </a:lnTo>
                    <a:lnTo>
                      <a:pt x="396" y="92"/>
                    </a:lnTo>
                    <a:lnTo>
                      <a:pt x="396" y="92"/>
                    </a:lnTo>
                    <a:lnTo>
                      <a:pt x="394" y="94"/>
                    </a:lnTo>
                    <a:lnTo>
                      <a:pt x="398" y="96"/>
                    </a:lnTo>
                    <a:lnTo>
                      <a:pt x="416" y="96"/>
                    </a:lnTo>
                    <a:lnTo>
                      <a:pt x="416" y="96"/>
                    </a:lnTo>
                    <a:close/>
                    <a:moveTo>
                      <a:pt x="406" y="124"/>
                    </a:moveTo>
                    <a:lnTo>
                      <a:pt x="406" y="124"/>
                    </a:lnTo>
                    <a:lnTo>
                      <a:pt x="414" y="122"/>
                    </a:lnTo>
                    <a:lnTo>
                      <a:pt x="416" y="122"/>
                    </a:lnTo>
                    <a:lnTo>
                      <a:pt x="416" y="120"/>
                    </a:lnTo>
                    <a:lnTo>
                      <a:pt x="414" y="116"/>
                    </a:lnTo>
                    <a:lnTo>
                      <a:pt x="408" y="112"/>
                    </a:lnTo>
                    <a:lnTo>
                      <a:pt x="408" y="112"/>
                    </a:lnTo>
                    <a:lnTo>
                      <a:pt x="402" y="110"/>
                    </a:lnTo>
                    <a:lnTo>
                      <a:pt x="394" y="110"/>
                    </a:lnTo>
                    <a:lnTo>
                      <a:pt x="390" y="112"/>
                    </a:lnTo>
                    <a:lnTo>
                      <a:pt x="390" y="112"/>
                    </a:lnTo>
                    <a:lnTo>
                      <a:pt x="392" y="114"/>
                    </a:lnTo>
                    <a:lnTo>
                      <a:pt x="392" y="114"/>
                    </a:lnTo>
                    <a:lnTo>
                      <a:pt x="392" y="116"/>
                    </a:lnTo>
                    <a:lnTo>
                      <a:pt x="392" y="118"/>
                    </a:lnTo>
                    <a:lnTo>
                      <a:pt x="390" y="120"/>
                    </a:lnTo>
                    <a:lnTo>
                      <a:pt x="390" y="122"/>
                    </a:lnTo>
                    <a:lnTo>
                      <a:pt x="392" y="124"/>
                    </a:lnTo>
                    <a:lnTo>
                      <a:pt x="406" y="124"/>
                    </a:lnTo>
                    <a:lnTo>
                      <a:pt x="406" y="124"/>
                    </a:lnTo>
                    <a:close/>
                    <a:moveTo>
                      <a:pt x="382" y="134"/>
                    </a:moveTo>
                    <a:lnTo>
                      <a:pt x="382" y="134"/>
                    </a:lnTo>
                    <a:lnTo>
                      <a:pt x="372" y="126"/>
                    </a:lnTo>
                    <a:lnTo>
                      <a:pt x="368" y="124"/>
                    </a:lnTo>
                    <a:lnTo>
                      <a:pt x="364" y="124"/>
                    </a:lnTo>
                    <a:lnTo>
                      <a:pt x="350" y="128"/>
                    </a:lnTo>
                    <a:lnTo>
                      <a:pt x="330" y="136"/>
                    </a:lnTo>
                    <a:lnTo>
                      <a:pt x="330" y="136"/>
                    </a:lnTo>
                    <a:lnTo>
                      <a:pt x="328" y="138"/>
                    </a:lnTo>
                    <a:lnTo>
                      <a:pt x="326" y="140"/>
                    </a:lnTo>
                    <a:lnTo>
                      <a:pt x="328" y="142"/>
                    </a:lnTo>
                    <a:lnTo>
                      <a:pt x="332" y="144"/>
                    </a:lnTo>
                    <a:lnTo>
                      <a:pt x="342" y="146"/>
                    </a:lnTo>
                    <a:lnTo>
                      <a:pt x="356" y="148"/>
                    </a:lnTo>
                    <a:lnTo>
                      <a:pt x="370" y="148"/>
                    </a:lnTo>
                    <a:lnTo>
                      <a:pt x="380" y="146"/>
                    </a:lnTo>
                    <a:lnTo>
                      <a:pt x="384" y="144"/>
                    </a:lnTo>
                    <a:lnTo>
                      <a:pt x="386" y="142"/>
                    </a:lnTo>
                    <a:lnTo>
                      <a:pt x="386" y="138"/>
                    </a:lnTo>
                    <a:lnTo>
                      <a:pt x="382" y="134"/>
                    </a:lnTo>
                    <a:lnTo>
                      <a:pt x="382" y="134"/>
                    </a:lnTo>
                    <a:close/>
                    <a:moveTo>
                      <a:pt x="46" y="116"/>
                    </a:moveTo>
                    <a:lnTo>
                      <a:pt x="46" y="116"/>
                    </a:lnTo>
                    <a:lnTo>
                      <a:pt x="54" y="118"/>
                    </a:lnTo>
                    <a:lnTo>
                      <a:pt x="62" y="114"/>
                    </a:lnTo>
                    <a:lnTo>
                      <a:pt x="62" y="114"/>
                    </a:lnTo>
                    <a:lnTo>
                      <a:pt x="66" y="114"/>
                    </a:lnTo>
                    <a:lnTo>
                      <a:pt x="70" y="116"/>
                    </a:lnTo>
                    <a:lnTo>
                      <a:pt x="76" y="120"/>
                    </a:lnTo>
                    <a:lnTo>
                      <a:pt x="80" y="122"/>
                    </a:lnTo>
                    <a:lnTo>
                      <a:pt x="86" y="124"/>
                    </a:lnTo>
                    <a:lnTo>
                      <a:pt x="92" y="122"/>
                    </a:lnTo>
                    <a:lnTo>
                      <a:pt x="102" y="118"/>
                    </a:lnTo>
                    <a:lnTo>
                      <a:pt x="102" y="118"/>
                    </a:lnTo>
                    <a:lnTo>
                      <a:pt x="118" y="110"/>
                    </a:lnTo>
                    <a:lnTo>
                      <a:pt x="130" y="104"/>
                    </a:lnTo>
                    <a:lnTo>
                      <a:pt x="134" y="102"/>
                    </a:lnTo>
                    <a:lnTo>
                      <a:pt x="140" y="102"/>
                    </a:lnTo>
                    <a:lnTo>
                      <a:pt x="148" y="102"/>
                    </a:lnTo>
                    <a:lnTo>
                      <a:pt x="158" y="106"/>
                    </a:lnTo>
                    <a:lnTo>
                      <a:pt x="158" y="106"/>
                    </a:lnTo>
                    <a:lnTo>
                      <a:pt x="168" y="108"/>
                    </a:lnTo>
                    <a:lnTo>
                      <a:pt x="176" y="108"/>
                    </a:lnTo>
                    <a:lnTo>
                      <a:pt x="180" y="108"/>
                    </a:lnTo>
                    <a:lnTo>
                      <a:pt x="182" y="106"/>
                    </a:lnTo>
                    <a:lnTo>
                      <a:pt x="182" y="102"/>
                    </a:lnTo>
                    <a:lnTo>
                      <a:pt x="176" y="98"/>
                    </a:lnTo>
                    <a:lnTo>
                      <a:pt x="166" y="94"/>
                    </a:lnTo>
                    <a:lnTo>
                      <a:pt x="150" y="90"/>
                    </a:lnTo>
                    <a:lnTo>
                      <a:pt x="150" y="90"/>
                    </a:lnTo>
                    <a:lnTo>
                      <a:pt x="126" y="86"/>
                    </a:lnTo>
                    <a:lnTo>
                      <a:pt x="122" y="88"/>
                    </a:lnTo>
                    <a:lnTo>
                      <a:pt x="120" y="90"/>
                    </a:lnTo>
                    <a:lnTo>
                      <a:pt x="118" y="92"/>
                    </a:lnTo>
                    <a:lnTo>
                      <a:pt x="114" y="94"/>
                    </a:lnTo>
                    <a:lnTo>
                      <a:pt x="108" y="98"/>
                    </a:lnTo>
                    <a:lnTo>
                      <a:pt x="96" y="100"/>
                    </a:lnTo>
                    <a:lnTo>
                      <a:pt x="96" y="100"/>
                    </a:lnTo>
                    <a:lnTo>
                      <a:pt x="64" y="104"/>
                    </a:lnTo>
                    <a:lnTo>
                      <a:pt x="42" y="108"/>
                    </a:lnTo>
                    <a:lnTo>
                      <a:pt x="34" y="110"/>
                    </a:lnTo>
                    <a:lnTo>
                      <a:pt x="32" y="112"/>
                    </a:lnTo>
                    <a:lnTo>
                      <a:pt x="36" y="114"/>
                    </a:lnTo>
                    <a:lnTo>
                      <a:pt x="46" y="116"/>
                    </a:lnTo>
                    <a:lnTo>
                      <a:pt x="46" y="116"/>
                    </a:lnTo>
                    <a:close/>
                    <a:moveTo>
                      <a:pt x="202" y="100"/>
                    </a:moveTo>
                    <a:lnTo>
                      <a:pt x="202" y="100"/>
                    </a:lnTo>
                    <a:lnTo>
                      <a:pt x="210" y="106"/>
                    </a:lnTo>
                    <a:lnTo>
                      <a:pt x="210" y="108"/>
                    </a:lnTo>
                    <a:lnTo>
                      <a:pt x="210" y="112"/>
                    </a:lnTo>
                    <a:lnTo>
                      <a:pt x="208" y="114"/>
                    </a:lnTo>
                    <a:lnTo>
                      <a:pt x="202" y="116"/>
                    </a:lnTo>
                    <a:lnTo>
                      <a:pt x="178" y="118"/>
                    </a:lnTo>
                    <a:lnTo>
                      <a:pt x="178" y="118"/>
                    </a:lnTo>
                    <a:lnTo>
                      <a:pt x="152" y="118"/>
                    </a:lnTo>
                    <a:lnTo>
                      <a:pt x="136" y="118"/>
                    </a:lnTo>
                    <a:lnTo>
                      <a:pt x="132" y="120"/>
                    </a:lnTo>
                    <a:lnTo>
                      <a:pt x="132" y="120"/>
                    </a:lnTo>
                    <a:lnTo>
                      <a:pt x="134" y="124"/>
                    </a:lnTo>
                    <a:lnTo>
                      <a:pt x="140" y="126"/>
                    </a:lnTo>
                    <a:lnTo>
                      <a:pt x="140" y="126"/>
                    </a:lnTo>
                    <a:lnTo>
                      <a:pt x="146" y="132"/>
                    </a:lnTo>
                    <a:lnTo>
                      <a:pt x="146" y="134"/>
                    </a:lnTo>
                    <a:lnTo>
                      <a:pt x="144" y="134"/>
                    </a:lnTo>
                    <a:lnTo>
                      <a:pt x="124" y="132"/>
                    </a:lnTo>
                    <a:lnTo>
                      <a:pt x="124" y="132"/>
                    </a:lnTo>
                    <a:lnTo>
                      <a:pt x="110" y="132"/>
                    </a:lnTo>
                    <a:lnTo>
                      <a:pt x="100" y="132"/>
                    </a:lnTo>
                    <a:lnTo>
                      <a:pt x="96" y="134"/>
                    </a:lnTo>
                    <a:lnTo>
                      <a:pt x="96" y="136"/>
                    </a:lnTo>
                    <a:lnTo>
                      <a:pt x="100" y="140"/>
                    </a:lnTo>
                    <a:lnTo>
                      <a:pt x="110" y="144"/>
                    </a:lnTo>
                    <a:lnTo>
                      <a:pt x="110" y="144"/>
                    </a:lnTo>
                    <a:lnTo>
                      <a:pt x="118" y="148"/>
                    </a:lnTo>
                    <a:lnTo>
                      <a:pt x="122" y="148"/>
                    </a:lnTo>
                    <a:lnTo>
                      <a:pt x="128" y="144"/>
                    </a:lnTo>
                    <a:lnTo>
                      <a:pt x="140" y="140"/>
                    </a:lnTo>
                    <a:lnTo>
                      <a:pt x="140" y="140"/>
                    </a:lnTo>
                    <a:lnTo>
                      <a:pt x="146" y="140"/>
                    </a:lnTo>
                    <a:lnTo>
                      <a:pt x="148" y="140"/>
                    </a:lnTo>
                    <a:lnTo>
                      <a:pt x="146" y="146"/>
                    </a:lnTo>
                    <a:lnTo>
                      <a:pt x="146" y="150"/>
                    </a:lnTo>
                    <a:lnTo>
                      <a:pt x="146" y="152"/>
                    </a:lnTo>
                    <a:lnTo>
                      <a:pt x="150" y="152"/>
                    </a:lnTo>
                    <a:lnTo>
                      <a:pt x="160" y="150"/>
                    </a:lnTo>
                    <a:lnTo>
                      <a:pt x="160" y="150"/>
                    </a:lnTo>
                    <a:lnTo>
                      <a:pt x="168" y="148"/>
                    </a:lnTo>
                    <a:lnTo>
                      <a:pt x="176" y="146"/>
                    </a:lnTo>
                    <a:lnTo>
                      <a:pt x="184" y="148"/>
                    </a:lnTo>
                    <a:lnTo>
                      <a:pt x="190" y="150"/>
                    </a:lnTo>
                    <a:lnTo>
                      <a:pt x="192" y="150"/>
                    </a:lnTo>
                    <a:lnTo>
                      <a:pt x="196" y="148"/>
                    </a:lnTo>
                    <a:lnTo>
                      <a:pt x="196" y="148"/>
                    </a:lnTo>
                    <a:lnTo>
                      <a:pt x="200" y="144"/>
                    </a:lnTo>
                    <a:lnTo>
                      <a:pt x="198" y="142"/>
                    </a:lnTo>
                    <a:lnTo>
                      <a:pt x="192" y="140"/>
                    </a:lnTo>
                    <a:lnTo>
                      <a:pt x="184" y="138"/>
                    </a:lnTo>
                    <a:lnTo>
                      <a:pt x="184" y="136"/>
                    </a:lnTo>
                    <a:lnTo>
                      <a:pt x="186" y="134"/>
                    </a:lnTo>
                    <a:lnTo>
                      <a:pt x="186" y="134"/>
                    </a:lnTo>
                    <a:lnTo>
                      <a:pt x="196" y="130"/>
                    </a:lnTo>
                    <a:lnTo>
                      <a:pt x="206" y="130"/>
                    </a:lnTo>
                    <a:lnTo>
                      <a:pt x="216" y="128"/>
                    </a:lnTo>
                    <a:lnTo>
                      <a:pt x="220" y="126"/>
                    </a:lnTo>
                    <a:lnTo>
                      <a:pt x="226" y="124"/>
                    </a:lnTo>
                    <a:lnTo>
                      <a:pt x="226" y="124"/>
                    </a:lnTo>
                    <a:lnTo>
                      <a:pt x="230" y="120"/>
                    </a:lnTo>
                    <a:lnTo>
                      <a:pt x="234" y="118"/>
                    </a:lnTo>
                    <a:lnTo>
                      <a:pt x="246" y="118"/>
                    </a:lnTo>
                    <a:lnTo>
                      <a:pt x="262" y="118"/>
                    </a:lnTo>
                    <a:lnTo>
                      <a:pt x="286" y="114"/>
                    </a:lnTo>
                    <a:lnTo>
                      <a:pt x="286" y="114"/>
                    </a:lnTo>
                    <a:lnTo>
                      <a:pt x="298" y="112"/>
                    </a:lnTo>
                    <a:lnTo>
                      <a:pt x="304" y="108"/>
                    </a:lnTo>
                    <a:lnTo>
                      <a:pt x="306" y="104"/>
                    </a:lnTo>
                    <a:lnTo>
                      <a:pt x="304" y="102"/>
                    </a:lnTo>
                    <a:lnTo>
                      <a:pt x="298" y="98"/>
                    </a:lnTo>
                    <a:lnTo>
                      <a:pt x="290" y="96"/>
                    </a:lnTo>
                    <a:lnTo>
                      <a:pt x="280" y="96"/>
                    </a:lnTo>
                    <a:lnTo>
                      <a:pt x="270" y="98"/>
                    </a:lnTo>
                    <a:lnTo>
                      <a:pt x="270" y="98"/>
                    </a:lnTo>
                    <a:lnTo>
                      <a:pt x="256" y="98"/>
                    </a:lnTo>
                    <a:lnTo>
                      <a:pt x="258" y="98"/>
                    </a:lnTo>
                    <a:lnTo>
                      <a:pt x="260" y="96"/>
                    </a:lnTo>
                    <a:lnTo>
                      <a:pt x="262" y="94"/>
                    </a:lnTo>
                    <a:lnTo>
                      <a:pt x="262" y="92"/>
                    </a:lnTo>
                    <a:lnTo>
                      <a:pt x="258" y="90"/>
                    </a:lnTo>
                    <a:lnTo>
                      <a:pt x="250" y="88"/>
                    </a:lnTo>
                    <a:lnTo>
                      <a:pt x="250" y="88"/>
                    </a:lnTo>
                    <a:lnTo>
                      <a:pt x="228" y="88"/>
                    </a:lnTo>
                    <a:lnTo>
                      <a:pt x="208" y="90"/>
                    </a:lnTo>
                    <a:lnTo>
                      <a:pt x="202" y="92"/>
                    </a:lnTo>
                    <a:lnTo>
                      <a:pt x="198" y="96"/>
                    </a:lnTo>
                    <a:lnTo>
                      <a:pt x="198" y="98"/>
                    </a:lnTo>
                    <a:lnTo>
                      <a:pt x="202" y="100"/>
                    </a:lnTo>
                    <a:lnTo>
                      <a:pt x="202" y="100"/>
                    </a:lnTo>
                    <a:close/>
                    <a:moveTo>
                      <a:pt x="272" y="70"/>
                    </a:moveTo>
                    <a:lnTo>
                      <a:pt x="272" y="70"/>
                    </a:lnTo>
                    <a:lnTo>
                      <a:pt x="276" y="66"/>
                    </a:lnTo>
                    <a:lnTo>
                      <a:pt x="278" y="64"/>
                    </a:lnTo>
                    <a:lnTo>
                      <a:pt x="276" y="62"/>
                    </a:lnTo>
                    <a:lnTo>
                      <a:pt x="274" y="60"/>
                    </a:lnTo>
                    <a:lnTo>
                      <a:pt x="268" y="60"/>
                    </a:lnTo>
                    <a:lnTo>
                      <a:pt x="262" y="60"/>
                    </a:lnTo>
                    <a:lnTo>
                      <a:pt x="256" y="62"/>
                    </a:lnTo>
                    <a:lnTo>
                      <a:pt x="250" y="66"/>
                    </a:lnTo>
                    <a:lnTo>
                      <a:pt x="250" y="66"/>
                    </a:lnTo>
                    <a:lnTo>
                      <a:pt x="246" y="72"/>
                    </a:lnTo>
                    <a:lnTo>
                      <a:pt x="244" y="76"/>
                    </a:lnTo>
                    <a:lnTo>
                      <a:pt x="244" y="78"/>
                    </a:lnTo>
                    <a:lnTo>
                      <a:pt x="248" y="78"/>
                    </a:lnTo>
                    <a:lnTo>
                      <a:pt x="258" y="74"/>
                    </a:lnTo>
                    <a:lnTo>
                      <a:pt x="272" y="70"/>
                    </a:lnTo>
                    <a:lnTo>
                      <a:pt x="272" y="70"/>
                    </a:lnTo>
                    <a:close/>
                    <a:moveTo>
                      <a:pt x="228" y="142"/>
                    </a:moveTo>
                    <a:lnTo>
                      <a:pt x="228" y="142"/>
                    </a:lnTo>
                    <a:lnTo>
                      <a:pt x="222" y="144"/>
                    </a:lnTo>
                    <a:lnTo>
                      <a:pt x="220" y="146"/>
                    </a:lnTo>
                    <a:lnTo>
                      <a:pt x="218" y="150"/>
                    </a:lnTo>
                    <a:lnTo>
                      <a:pt x="220" y="152"/>
                    </a:lnTo>
                    <a:lnTo>
                      <a:pt x="222" y="156"/>
                    </a:lnTo>
                    <a:lnTo>
                      <a:pt x="226" y="156"/>
                    </a:lnTo>
                    <a:lnTo>
                      <a:pt x="232" y="156"/>
                    </a:lnTo>
                    <a:lnTo>
                      <a:pt x="238" y="154"/>
                    </a:lnTo>
                    <a:lnTo>
                      <a:pt x="238" y="154"/>
                    </a:lnTo>
                    <a:lnTo>
                      <a:pt x="246" y="148"/>
                    </a:lnTo>
                    <a:lnTo>
                      <a:pt x="248" y="144"/>
                    </a:lnTo>
                    <a:lnTo>
                      <a:pt x="248" y="142"/>
                    </a:lnTo>
                    <a:lnTo>
                      <a:pt x="246" y="140"/>
                    </a:lnTo>
                    <a:lnTo>
                      <a:pt x="242" y="138"/>
                    </a:lnTo>
                    <a:lnTo>
                      <a:pt x="228" y="142"/>
                    </a:lnTo>
                    <a:lnTo>
                      <a:pt x="228" y="142"/>
                    </a:lnTo>
                    <a:close/>
                    <a:moveTo>
                      <a:pt x="790" y="22"/>
                    </a:moveTo>
                    <a:lnTo>
                      <a:pt x="790" y="22"/>
                    </a:lnTo>
                    <a:lnTo>
                      <a:pt x="792" y="20"/>
                    </a:lnTo>
                    <a:lnTo>
                      <a:pt x="792" y="18"/>
                    </a:lnTo>
                    <a:lnTo>
                      <a:pt x="788" y="14"/>
                    </a:lnTo>
                    <a:lnTo>
                      <a:pt x="780" y="12"/>
                    </a:lnTo>
                    <a:lnTo>
                      <a:pt x="770" y="12"/>
                    </a:lnTo>
                    <a:lnTo>
                      <a:pt x="748" y="12"/>
                    </a:lnTo>
                    <a:lnTo>
                      <a:pt x="736" y="14"/>
                    </a:lnTo>
                    <a:lnTo>
                      <a:pt x="728" y="18"/>
                    </a:lnTo>
                    <a:lnTo>
                      <a:pt x="728" y="18"/>
                    </a:lnTo>
                    <a:lnTo>
                      <a:pt x="726" y="18"/>
                    </a:lnTo>
                    <a:lnTo>
                      <a:pt x="726" y="20"/>
                    </a:lnTo>
                    <a:lnTo>
                      <a:pt x="730" y="22"/>
                    </a:lnTo>
                    <a:lnTo>
                      <a:pt x="750" y="26"/>
                    </a:lnTo>
                    <a:lnTo>
                      <a:pt x="774" y="26"/>
                    </a:lnTo>
                    <a:lnTo>
                      <a:pt x="784" y="26"/>
                    </a:lnTo>
                    <a:lnTo>
                      <a:pt x="790" y="22"/>
                    </a:lnTo>
                    <a:lnTo>
                      <a:pt x="790" y="22"/>
                    </a:lnTo>
                    <a:close/>
                    <a:moveTo>
                      <a:pt x="596" y="154"/>
                    </a:moveTo>
                    <a:lnTo>
                      <a:pt x="596" y="154"/>
                    </a:lnTo>
                    <a:lnTo>
                      <a:pt x="588" y="158"/>
                    </a:lnTo>
                    <a:lnTo>
                      <a:pt x="586" y="160"/>
                    </a:lnTo>
                    <a:lnTo>
                      <a:pt x="588" y="162"/>
                    </a:lnTo>
                    <a:lnTo>
                      <a:pt x="592" y="164"/>
                    </a:lnTo>
                    <a:lnTo>
                      <a:pt x="608" y="164"/>
                    </a:lnTo>
                    <a:lnTo>
                      <a:pt x="628" y="164"/>
                    </a:lnTo>
                    <a:lnTo>
                      <a:pt x="628" y="164"/>
                    </a:lnTo>
                    <a:lnTo>
                      <a:pt x="634" y="162"/>
                    </a:lnTo>
                    <a:lnTo>
                      <a:pt x="638" y="160"/>
                    </a:lnTo>
                    <a:lnTo>
                      <a:pt x="636" y="158"/>
                    </a:lnTo>
                    <a:lnTo>
                      <a:pt x="632" y="156"/>
                    </a:lnTo>
                    <a:lnTo>
                      <a:pt x="618" y="152"/>
                    </a:lnTo>
                    <a:lnTo>
                      <a:pt x="610" y="152"/>
                    </a:lnTo>
                    <a:lnTo>
                      <a:pt x="600" y="154"/>
                    </a:lnTo>
                    <a:lnTo>
                      <a:pt x="596" y="154"/>
                    </a:lnTo>
                    <a:close/>
                    <a:moveTo>
                      <a:pt x="482" y="98"/>
                    </a:moveTo>
                    <a:lnTo>
                      <a:pt x="482" y="98"/>
                    </a:lnTo>
                    <a:lnTo>
                      <a:pt x="460" y="100"/>
                    </a:lnTo>
                    <a:lnTo>
                      <a:pt x="458" y="102"/>
                    </a:lnTo>
                    <a:lnTo>
                      <a:pt x="462" y="106"/>
                    </a:lnTo>
                    <a:lnTo>
                      <a:pt x="462" y="106"/>
                    </a:lnTo>
                    <a:lnTo>
                      <a:pt x="470" y="108"/>
                    </a:lnTo>
                    <a:lnTo>
                      <a:pt x="482" y="108"/>
                    </a:lnTo>
                    <a:lnTo>
                      <a:pt x="510" y="106"/>
                    </a:lnTo>
                    <a:lnTo>
                      <a:pt x="510" y="106"/>
                    </a:lnTo>
                    <a:lnTo>
                      <a:pt x="514" y="106"/>
                    </a:lnTo>
                    <a:lnTo>
                      <a:pt x="516" y="104"/>
                    </a:lnTo>
                    <a:lnTo>
                      <a:pt x="508" y="100"/>
                    </a:lnTo>
                    <a:lnTo>
                      <a:pt x="496" y="98"/>
                    </a:lnTo>
                    <a:lnTo>
                      <a:pt x="482" y="98"/>
                    </a:lnTo>
                    <a:lnTo>
                      <a:pt x="482" y="98"/>
                    </a:lnTo>
                    <a:close/>
                    <a:moveTo>
                      <a:pt x="796" y="100"/>
                    </a:moveTo>
                    <a:lnTo>
                      <a:pt x="796" y="100"/>
                    </a:lnTo>
                    <a:lnTo>
                      <a:pt x="822" y="96"/>
                    </a:lnTo>
                    <a:lnTo>
                      <a:pt x="842" y="92"/>
                    </a:lnTo>
                    <a:lnTo>
                      <a:pt x="848" y="90"/>
                    </a:lnTo>
                    <a:lnTo>
                      <a:pt x="854" y="88"/>
                    </a:lnTo>
                    <a:lnTo>
                      <a:pt x="856" y="84"/>
                    </a:lnTo>
                    <a:lnTo>
                      <a:pt x="858" y="78"/>
                    </a:lnTo>
                    <a:lnTo>
                      <a:pt x="858" y="78"/>
                    </a:lnTo>
                    <a:lnTo>
                      <a:pt x="856" y="70"/>
                    </a:lnTo>
                    <a:lnTo>
                      <a:pt x="852" y="66"/>
                    </a:lnTo>
                    <a:lnTo>
                      <a:pt x="844" y="62"/>
                    </a:lnTo>
                    <a:lnTo>
                      <a:pt x="836" y="60"/>
                    </a:lnTo>
                    <a:lnTo>
                      <a:pt x="828" y="60"/>
                    </a:lnTo>
                    <a:lnTo>
                      <a:pt x="820" y="60"/>
                    </a:lnTo>
                    <a:lnTo>
                      <a:pt x="812" y="62"/>
                    </a:lnTo>
                    <a:lnTo>
                      <a:pt x="806" y="66"/>
                    </a:lnTo>
                    <a:lnTo>
                      <a:pt x="806" y="66"/>
                    </a:lnTo>
                    <a:lnTo>
                      <a:pt x="800" y="70"/>
                    </a:lnTo>
                    <a:lnTo>
                      <a:pt x="796" y="72"/>
                    </a:lnTo>
                    <a:lnTo>
                      <a:pt x="784" y="74"/>
                    </a:lnTo>
                    <a:lnTo>
                      <a:pt x="768" y="76"/>
                    </a:lnTo>
                    <a:lnTo>
                      <a:pt x="758" y="80"/>
                    </a:lnTo>
                    <a:lnTo>
                      <a:pt x="748" y="86"/>
                    </a:lnTo>
                    <a:lnTo>
                      <a:pt x="748" y="86"/>
                    </a:lnTo>
                    <a:lnTo>
                      <a:pt x="742" y="90"/>
                    </a:lnTo>
                    <a:lnTo>
                      <a:pt x="740" y="94"/>
                    </a:lnTo>
                    <a:lnTo>
                      <a:pt x="742" y="98"/>
                    </a:lnTo>
                    <a:lnTo>
                      <a:pt x="748" y="100"/>
                    </a:lnTo>
                    <a:lnTo>
                      <a:pt x="758" y="102"/>
                    </a:lnTo>
                    <a:lnTo>
                      <a:pt x="768" y="102"/>
                    </a:lnTo>
                    <a:lnTo>
                      <a:pt x="796" y="100"/>
                    </a:lnTo>
                    <a:lnTo>
                      <a:pt x="796" y="100"/>
                    </a:lnTo>
                    <a:close/>
                    <a:moveTo>
                      <a:pt x="506" y="132"/>
                    </a:moveTo>
                    <a:lnTo>
                      <a:pt x="506" y="132"/>
                    </a:lnTo>
                    <a:lnTo>
                      <a:pt x="494" y="134"/>
                    </a:lnTo>
                    <a:lnTo>
                      <a:pt x="482" y="132"/>
                    </a:lnTo>
                    <a:lnTo>
                      <a:pt x="476" y="134"/>
                    </a:lnTo>
                    <a:lnTo>
                      <a:pt x="472" y="136"/>
                    </a:lnTo>
                    <a:lnTo>
                      <a:pt x="468" y="140"/>
                    </a:lnTo>
                    <a:lnTo>
                      <a:pt x="466" y="148"/>
                    </a:lnTo>
                    <a:lnTo>
                      <a:pt x="466" y="148"/>
                    </a:lnTo>
                    <a:lnTo>
                      <a:pt x="466" y="154"/>
                    </a:lnTo>
                    <a:lnTo>
                      <a:pt x="468" y="156"/>
                    </a:lnTo>
                    <a:lnTo>
                      <a:pt x="472" y="158"/>
                    </a:lnTo>
                    <a:lnTo>
                      <a:pt x="478" y="158"/>
                    </a:lnTo>
                    <a:lnTo>
                      <a:pt x="494" y="158"/>
                    </a:lnTo>
                    <a:lnTo>
                      <a:pt x="512" y="158"/>
                    </a:lnTo>
                    <a:lnTo>
                      <a:pt x="512" y="158"/>
                    </a:lnTo>
                    <a:lnTo>
                      <a:pt x="520" y="156"/>
                    </a:lnTo>
                    <a:lnTo>
                      <a:pt x="524" y="154"/>
                    </a:lnTo>
                    <a:lnTo>
                      <a:pt x="526" y="150"/>
                    </a:lnTo>
                    <a:lnTo>
                      <a:pt x="524" y="144"/>
                    </a:lnTo>
                    <a:lnTo>
                      <a:pt x="522" y="138"/>
                    </a:lnTo>
                    <a:lnTo>
                      <a:pt x="516" y="134"/>
                    </a:lnTo>
                    <a:lnTo>
                      <a:pt x="512" y="132"/>
                    </a:lnTo>
                    <a:lnTo>
                      <a:pt x="506" y="132"/>
                    </a:lnTo>
                    <a:lnTo>
                      <a:pt x="506" y="132"/>
                    </a:lnTo>
                    <a:close/>
                    <a:moveTo>
                      <a:pt x="456" y="58"/>
                    </a:moveTo>
                    <a:lnTo>
                      <a:pt x="456" y="58"/>
                    </a:lnTo>
                    <a:lnTo>
                      <a:pt x="460" y="58"/>
                    </a:lnTo>
                    <a:lnTo>
                      <a:pt x="464" y="58"/>
                    </a:lnTo>
                    <a:lnTo>
                      <a:pt x="470" y="58"/>
                    </a:lnTo>
                    <a:lnTo>
                      <a:pt x="480" y="58"/>
                    </a:lnTo>
                    <a:lnTo>
                      <a:pt x="486" y="58"/>
                    </a:lnTo>
                    <a:lnTo>
                      <a:pt x="492" y="62"/>
                    </a:lnTo>
                    <a:lnTo>
                      <a:pt x="492" y="62"/>
                    </a:lnTo>
                    <a:lnTo>
                      <a:pt x="496" y="64"/>
                    </a:lnTo>
                    <a:lnTo>
                      <a:pt x="500" y="64"/>
                    </a:lnTo>
                    <a:lnTo>
                      <a:pt x="508" y="60"/>
                    </a:lnTo>
                    <a:lnTo>
                      <a:pt x="524" y="56"/>
                    </a:lnTo>
                    <a:lnTo>
                      <a:pt x="548" y="52"/>
                    </a:lnTo>
                    <a:lnTo>
                      <a:pt x="548" y="52"/>
                    </a:lnTo>
                    <a:lnTo>
                      <a:pt x="552" y="52"/>
                    </a:lnTo>
                    <a:lnTo>
                      <a:pt x="550" y="50"/>
                    </a:lnTo>
                    <a:lnTo>
                      <a:pt x="540" y="48"/>
                    </a:lnTo>
                    <a:lnTo>
                      <a:pt x="498" y="44"/>
                    </a:lnTo>
                    <a:lnTo>
                      <a:pt x="498" y="44"/>
                    </a:lnTo>
                    <a:lnTo>
                      <a:pt x="492" y="44"/>
                    </a:lnTo>
                    <a:lnTo>
                      <a:pt x="488" y="44"/>
                    </a:lnTo>
                    <a:lnTo>
                      <a:pt x="488" y="46"/>
                    </a:lnTo>
                    <a:lnTo>
                      <a:pt x="490" y="48"/>
                    </a:lnTo>
                    <a:lnTo>
                      <a:pt x="494" y="52"/>
                    </a:lnTo>
                    <a:lnTo>
                      <a:pt x="492" y="54"/>
                    </a:lnTo>
                    <a:lnTo>
                      <a:pt x="488" y="54"/>
                    </a:lnTo>
                    <a:lnTo>
                      <a:pt x="488" y="54"/>
                    </a:lnTo>
                    <a:lnTo>
                      <a:pt x="462" y="52"/>
                    </a:lnTo>
                    <a:lnTo>
                      <a:pt x="454" y="54"/>
                    </a:lnTo>
                    <a:lnTo>
                      <a:pt x="454" y="56"/>
                    </a:lnTo>
                    <a:lnTo>
                      <a:pt x="456" y="58"/>
                    </a:lnTo>
                    <a:lnTo>
                      <a:pt x="456" y="58"/>
                    </a:lnTo>
                    <a:close/>
                    <a:moveTo>
                      <a:pt x="678" y="84"/>
                    </a:moveTo>
                    <a:lnTo>
                      <a:pt x="678" y="84"/>
                    </a:lnTo>
                    <a:lnTo>
                      <a:pt x="688" y="82"/>
                    </a:lnTo>
                    <a:lnTo>
                      <a:pt x="696" y="78"/>
                    </a:lnTo>
                    <a:lnTo>
                      <a:pt x="704" y="74"/>
                    </a:lnTo>
                    <a:lnTo>
                      <a:pt x="710" y="70"/>
                    </a:lnTo>
                    <a:lnTo>
                      <a:pt x="710" y="68"/>
                    </a:lnTo>
                    <a:lnTo>
                      <a:pt x="710" y="66"/>
                    </a:lnTo>
                    <a:lnTo>
                      <a:pt x="704" y="64"/>
                    </a:lnTo>
                    <a:lnTo>
                      <a:pt x="692" y="64"/>
                    </a:lnTo>
                    <a:lnTo>
                      <a:pt x="670" y="68"/>
                    </a:lnTo>
                    <a:lnTo>
                      <a:pt x="670" y="68"/>
                    </a:lnTo>
                    <a:lnTo>
                      <a:pt x="654" y="72"/>
                    </a:lnTo>
                    <a:lnTo>
                      <a:pt x="646" y="76"/>
                    </a:lnTo>
                    <a:lnTo>
                      <a:pt x="644" y="80"/>
                    </a:lnTo>
                    <a:lnTo>
                      <a:pt x="646" y="82"/>
                    </a:lnTo>
                    <a:lnTo>
                      <a:pt x="658" y="84"/>
                    </a:lnTo>
                    <a:lnTo>
                      <a:pt x="678" y="84"/>
                    </a:lnTo>
                    <a:lnTo>
                      <a:pt x="678" y="84"/>
                    </a:lnTo>
                    <a:close/>
                    <a:moveTo>
                      <a:pt x="568" y="44"/>
                    </a:moveTo>
                    <a:lnTo>
                      <a:pt x="568" y="44"/>
                    </a:lnTo>
                    <a:lnTo>
                      <a:pt x="580" y="44"/>
                    </a:lnTo>
                    <a:lnTo>
                      <a:pt x="582" y="44"/>
                    </a:lnTo>
                    <a:lnTo>
                      <a:pt x="580" y="42"/>
                    </a:lnTo>
                    <a:lnTo>
                      <a:pt x="570" y="38"/>
                    </a:lnTo>
                    <a:lnTo>
                      <a:pt x="556" y="34"/>
                    </a:lnTo>
                    <a:lnTo>
                      <a:pt x="556" y="34"/>
                    </a:lnTo>
                    <a:lnTo>
                      <a:pt x="544" y="30"/>
                    </a:lnTo>
                    <a:lnTo>
                      <a:pt x="536" y="28"/>
                    </a:lnTo>
                    <a:lnTo>
                      <a:pt x="528" y="30"/>
                    </a:lnTo>
                    <a:lnTo>
                      <a:pt x="518" y="34"/>
                    </a:lnTo>
                    <a:lnTo>
                      <a:pt x="518" y="34"/>
                    </a:lnTo>
                    <a:lnTo>
                      <a:pt x="510" y="38"/>
                    </a:lnTo>
                    <a:lnTo>
                      <a:pt x="508" y="40"/>
                    </a:lnTo>
                    <a:lnTo>
                      <a:pt x="510" y="40"/>
                    </a:lnTo>
                    <a:lnTo>
                      <a:pt x="520" y="40"/>
                    </a:lnTo>
                    <a:lnTo>
                      <a:pt x="520" y="40"/>
                    </a:lnTo>
                    <a:lnTo>
                      <a:pt x="542" y="42"/>
                    </a:lnTo>
                    <a:lnTo>
                      <a:pt x="568" y="44"/>
                    </a:lnTo>
                    <a:lnTo>
                      <a:pt x="568" y="44"/>
                    </a:lnTo>
                    <a:close/>
                    <a:moveTo>
                      <a:pt x="672" y="122"/>
                    </a:moveTo>
                    <a:lnTo>
                      <a:pt x="672" y="122"/>
                    </a:lnTo>
                    <a:lnTo>
                      <a:pt x="682" y="124"/>
                    </a:lnTo>
                    <a:lnTo>
                      <a:pt x="690" y="124"/>
                    </a:lnTo>
                    <a:lnTo>
                      <a:pt x="694" y="124"/>
                    </a:lnTo>
                    <a:lnTo>
                      <a:pt x="698" y="120"/>
                    </a:lnTo>
                    <a:lnTo>
                      <a:pt x="706" y="116"/>
                    </a:lnTo>
                    <a:lnTo>
                      <a:pt x="710" y="112"/>
                    </a:lnTo>
                    <a:lnTo>
                      <a:pt x="718" y="112"/>
                    </a:lnTo>
                    <a:lnTo>
                      <a:pt x="718" y="112"/>
                    </a:lnTo>
                    <a:lnTo>
                      <a:pt x="724" y="110"/>
                    </a:lnTo>
                    <a:lnTo>
                      <a:pt x="728" y="106"/>
                    </a:lnTo>
                    <a:lnTo>
                      <a:pt x="730" y="100"/>
                    </a:lnTo>
                    <a:lnTo>
                      <a:pt x="728" y="94"/>
                    </a:lnTo>
                    <a:lnTo>
                      <a:pt x="724" y="88"/>
                    </a:lnTo>
                    <a:lnTo>
                      <a:pt x="716" y="84"/>
                    </a:lnTo>
                    <a:lnTo>
                      <a:pt x="704" y="84"/>
                    </a:lnTo>
                    <a:lnTo>
                      <a:pt x="688" y="88"/>
                    </a:lnTo>
                    <a:lnTo>
                      <a:pt x="688" y="88"/>
                    </a:lnTo>
                    <a:lnTo>
                      <a:pt x="670" y="94"/>
                    </a:lnTo>
                    <a:lnTo>
                      <a:pt x="656" y="94"/>
                    </a:lnTo>
                    <a:lnTo>
                      <a:pt x="644" y="92"/>
                    </a:lnTo>
                    <a:lnTo>
                      <a:pt x="634" y="90"/>
                    </a:lnTo>
                    <a:lnTo>
                      <a:pt x="626" y="90"/>
                    </a:lnTo>
                    <a:lnTo>
                      <a:pt x="620" y="90"/>
                    </a:lnTo>
                    <a:lnTo>
                      <a:pt x="614" y="94"/>
                    </a:lnTo>
                    <a:lnTo>
                      <a:pt x="608" y="104"/>
                    </a:lnTo>
                    <a:lnTo>
                      <a:pt x="608" y="104"/>
                    </a:lnTo>
                    <a:lnTo>
                      <a:pt x="606" y="116"/>
                    </a:lnTo>
                    <a:lnTo>
                      <a:pt x="606" y="118"/>
                    </a:lnTo>
                    <a:lnTo>
                      <a:pt x="608" y="122"/>
                    </a:lnTo>
                    <a:lnTo>
                      <a:pt x="614" y="124"/>
                    </a:lnTo>
                    <a:lnTo>
                      <a:pt x="622" y="124"/>
                    </a:lnTo>
                    <a:lnTo>
                      <a:pt x="646" y="120"/>
                    </a:lnTo>
                    <a:lnTo>
                      <a:pt x="660" y="120"/>
                    </a:lnTo>
                    <a:lnTo>
                      <a:pt x="672" y="122"/>
                    </a:lnTo>
                    <a:lnTo>
                      <a:pt x="672" y="122"/>
                    </a:lnTo>
                    <a:close/>
                    <a:moveTo>
                      <a:pt x="4428" y="2314"/>
                    </a:moveTo>
                    <a:lnTo>
                      <a:pt x="4428" y="2314"/>
                    </a:lnTo>
                    <a:lnTo>
                      <a:pt x="4426" y="2314"/>
                    </a:lnTo>
                    <a:lnTo>
                      <a:pt x="4428" y="2314"/>
                    </a:lnTo>
                    <a:lnTo>
                      <a:pt x="4432" y="2310"/>
                    </a:lnTo>
                    <a:lnTo>
                      <a:pt x="4436" y="2306"/>
                    </a:lnTo>
                    <a:lnTo>
                      <a:pt x="4436" y="2302"/>
                    </a:lnTo>
                    <a:lnTo>
                      <a:pt x="4436" y="2302"/>
                    </a:lnTo>
                    <a:lnTo>
                      <a:pt x="4436" y="2302"/>
                    </a:lnTo>
                    <a:lnTo>
                      <a:pt x="4432" y="2304"/>
                    </a:lnTo>
                    <a:lnTo>
                      <a:pt x="4428" y="2314"/>
                    </a:lnTo>
                    <a:lnTo>
                      <a:pt x="4428" y="2314"/>
                    </a:lnTo>
                    <a:close/>
                    <a:moveTo>
                      <a:pt x="4510" y="2192"/>
                    </a:moveTo>
                    <a:lnTo>
                      <a:pt x="4510" y="2192"/>
                    </a:lnTo>
                    <a:lnTo>
                      <a:pt x="4508" y="2194"/>
                    </a:lnTo>
                    <a:lnTo>
                      <a:pt x="4506" y="2196"/>
                    </a:lnTo>
                    <a:lnTo>
                      <a:pt x="4502" y="2202"/>
                    </a:lnTo>
                    <a:lnTo>
                      <a:pt x="4498" y="2210"/>
                    </a:lnTo>
                    <a:lnTo>
                      <a:pt x="4496" y="2214"/>
                    </a:lnTo>
                    <a:lnTo>
                      <a:pt x="4492" y="2216"/>
                    </a:lnTo>
                    <a:lnTo>
                      <a:pt x="4492" y="2216"/>
                    </a:lnTo>
                    <a:lnTo>
                      <a:pt x="4482" y="2220"/>
                    </a:lnTo>
                    <a:lnTo>
                      <a:pt x="4476" y="2224"/>
                    </a:lnTo>
                    <a:lnTo>
                      <a:pt x="4476" y="2226"/>
                    </a:lnTo>
                    <a:lnTo>
                      <a:pt x="4474" y="2228"/>
                    </a:lnTo>
                    <a:lnTo>
                      <a:pt x="4478" y="2236"/>
                    </a:lnTo>
                    <a:lnTo>
                      <a:pt x="4478" y="2236"/>
                    </a:lnTo>
                    <a:lnTo>
                      <a:pt x="4480" y="2238"/>
                    </a:lnTo>
                    <a:lnTo>
                      <a:pt x="4482" y="2238"/>
                    </a:lnTo>
                    <a:lnTo>
                      <a:pt x="4484" y="2236"/>
                    </a:lnTo>
                    <a:lnTo>
                      <a:pt x="4490" y="2230"/>
                    </a:lnTo>
                    <a:lnTo>
                      <a:pt x="4494" y="2228"/>
                    </a:lnTo>
                    <a:lnTo>
                      <a:pt x="4498" y="2226"/>
                    </a:lnTo>
                    <a:lnTo>
                      <a:pt x="4498" y="2226"/>
                    </a:lnTo>
                    <a:lnTo>
                      <a:pt x="4504" y="2224"/>
                    </a:lnTo>
                    <a:lnTo>
                      <a:pt x="4508" y="2220"/>
                    </a:lnTo>
                    <a:lnTo>
                      <a:pt x="4510" y="2214"/>
                    </a:lnTo>
                    <a:lnTo>
                      <a:pt x="4512" y="2208"/>
                    </a:lnTo>
                    <a:lnTo>
                      <a:pt x="4512" y="2198"/>
                    </a:lnTo>
                    <a:lnTo>
                      <a:pt x="4512" y="2194"/>
                    </a:lnTo>
                    <a:lnTo>
                      <a:pt x="4510" y="2192"/>
                    </a:lnTo>
                    <a:lnTo>
                      <a:pt x="4510" y="2192"/>
                    </a:lnTo>
                    <a:close/>
                    <a:moveTo>
                      <a:pt x="4462" y="2262"/>
                    </a:moveTo>
                    <a:lnTo>
                      <a:pt x="4462" y="2262"/>
                    </a:lnTo>
                    <a:lnTo>
                      <a:pt x="4460" y="2260"/>
                    </a:lnTo>
                    <a:lnTo>
                      <a:pt x="4456" y="2262"/>
                    </a:lnTo>
                    <a:lnTo>
                      <a:pt x="4452" y="2272"/>
                    </a:lnTo>
                    <a:lnTo>
                      <a:pt x="4448" y="2284"/>
                    </a:lnTo>
                    <a:lnTo>
                      <a:pt x="4448" y="2292"/>
                    </a:lnTo>
                    <a:lnTo>
                      <a:pt x="4448" y="2292"/>
                    </a:lnTo>
                    <a:lnTo>
                      <a:pt x="4448" y="2294"/>
                    </a:lnTo>
                    <a:lnTo>
                      <a:pt x="4452" y="2292"/>
                    </a:lnTo>
                    <a:lnTo>
                      <a:pt x="4458" y="2282"/>
                    </a:lnTo>
                    <a:lnTo>
                      <a:pt x="4462" y="2272"/>
                    </a:lnTo>
                    <a:lnTo>
                      <a:pt x="4462" y="2266"/>
                    </a:lnTo>
                    <a:lnTo>
                      <a:pt x="4462" y="2262"/>
                    </a:lnTo>
                    <a:lnTo>
                      <a:pt x="4462" y="2262"/>
                    </a:lnTo>
                    <a:close/>
                    <a:moveTo>
                      <a:pt x="4486" y="4072"/>
                    </a:moveTo>
                    <a:lnTo>
                      <a:pt x="4486" y="4072"/>
                    </a:lnTo>
                    <a:lnTo>
                      <a:pt x="4482" y="4070"/>
                    </a:lnTo>
                    <a:lnTo>
                      <a:pt x="4482" y="4068"/>
                    </a:lnTo>
                    <a:lnTo>
                      <a:pt x="4480" y="4066"/>
                    </a:lnTo>
                    <a:lnTo>
                      <a:pt x="4478" y="4064"/>
                    </a:lnTo>
                    <a:lnTo>
                      <a:pt x="4478" y="4064"/>
                    </a:lnTo>
                    <a:lnTo>
                      <a:pt x="4474" y="4064"/>
                    </a:lnTo>
                    <a:lnTo>
                      <a:pt x="4470" y="4064"/>
                    </a:lnTo>
                    <a:lnTo>
                      <a:pt x="4460" y="4068"/>
                    </a:lnTo>
                    <a:lnTo>
                      <a:pt x="4450" y="4076"/>
                    </a:lnTo>
                    <a:lnTo>
                      <a:pt x="4448" y="4080"/>
                    </a:lnTo>
                    <a:lnTo>
                      <a:pt x="4448" y="4084"/>
                    </a:lnTo>
                    <a:lnTo>
                      <a:pt x="4448" y="4084"/>
                    </a:lnTo>
                    <a:lnTo>
                      <a:pt x="4446" y="4088"/>
                    </a:lnTo>
                    <a:lnTo>
                      <a:pt x="4442" y="4094"/>
                    </a:lnTo>
                    <a:lnTo>
                      <a:pt x="4440" y="4100"/>
                    </a:lnTo>
                    <a:lnTo>
                      <a:pt x="4438" y="4104"/>
                    </a:lnTo>
                    <a:lnTo>
                      <a:pt x="4438" y="4104"/>
                    </a:lnTo>
                    <a:lnTo>
                      <a:pt x="4440" y="4106"/>
                    </a:lnTo>
                    <a:lnTo>
                      <a:pt x="4442" y="4104"/>
                    </a:lnTo>
                    <a:lnTo>
                      <a:pt x="4448" y="4104"/>
                    </a:lnTo>
                    <a:lnTo>
                      <a:pt x="4458" y="4106"/>
                    </a:lnTo>
                    <a:lnTo>
                      <a:pt x="4458" y="4106"/>
                    </a:lnTo>
                    <a:lnTo>
                      <a:pt x="4462" y="4106"/>
                    </a:lnTo>
                    <a:lnTo>
                      <a:pt x="4466" y="4106"/>
                    </a:lnTo>
                    <a:lnTo>
                      <a:pt x="4470" y="4102"/>
                    </a:lnTo>
                    <a:lnTo>
                      <a:pt x="4474" y="4098"/>
                    </a:lnTo>
                    <a:lnTo>
                      <a:pt x="4478" y="4094"/>
                    </a:lnTo>
                    <a:lnTo>
                      <a:pt x="4478" y="4094"/>
                    </a:lnTo>
                    <a:lnTo>
                      <a:pt x="4480" y="4092"/>
                    </a:lnTo>
                    <a:lnTo>
                      <a:pt x="4482" y="4090"/>
                    </a:lnTo>
                    <a:lnTo>
                      <a:pt x="4484" y="4082"/>
                    </a:lnTo>
                    <a:lnTo>
                      <a:pt x="4484" y="4082"/>
                    </a:lnTo>
                    <a:lnTo>
                      <a:pt x="4488" y="4074"/>
                    </a:lnTo>
                    <a:lnTo>
                      <a:pt x="4488" y="4072"/>
                    </a:lnTo>
                    <a:lnTo>
                      <a:pt x="4486" y="4072"/>
                    </a:lnTo>
                    <a:lnTo>
                      <a:pt x="4486" y="4072"/>
                    </a:lnTo>
                    <a:close/>
                    <a:moveTo>
                      <a:pt x="2916" y="5240"/>
                    </a:moveTo>
                    <a:lnTo>
                      <a:pt x="2916" y="5240"/>
                    </a:lnTo>
                    <a:lnTo>
                      <a:pt x="2912" y="5240"/>
                    </a:lnTo>
                    <a:lnTo>
                      <a:pt x="2908" y="5240"/>
                    </a:lnTo>
                    <a:lnTo>
                      <a:pt x="2902" y="5244"/>
                    </a:lnTo>
                    <a:lnTo>
                      <a:pt x="2898" y="5248"/>
                    </a:lnTo>
                    <a:lnTo>
                      <a:pt x="2896" y="5252"/>
                    </a:lnTo>
                    <a:lnTo>
                      <a:pt x="2896" y="5252"/>
                    </a:lnTo>
                    <a:lnTo>
                      <a:pt x="2896" y="5260"/>
                    </a:lnTo>
                    <a:lnTo>
                      <a:pt x="2896" y="5264"/>
                    </a:lnTo>
                    <a:lnTo>
                      <a:pt x="2894" y="5266"/>
                    </a:lnTo>
                    <a:lnTo>
                      <a:pt x="2894" y="5266"/>
                    </a:lnTo>
                    <a:lnTo>
                      <a:pt x="2890" y="5266"/>
                    </a:lnTo>
                    <a:lnTo>
                      <a:pt x="2888" y="5270"/>
                    </a:lnTo>
                    <a:lnTo>
                      <a:pt x="2892" y="5272"/>
                    </a:lnTo>
                    <a:lnTo>
                      <a:pt x="2904" y="5274"/>
                    </a:lnTo>
                    <a:lnTo>
                      <a:pt x="2904" y="5274"/>
                    </a:lnTo>
                    <a:lnTo>
                      <a:pt x="2914" y="5274"/>
                    </a:lnTo>
                    <a:lnTo>
                      <a:pt x="2916" y="5272"/>
                    </a:lnTo>
                    <a:lnTo>
                      <a:pt x="2918" y="5272"/>
                    </a:lnTo>
                    <a:lnTo>
                      <a:pt x="2918" y="5266"/>
                    </a:lnTo>
                    <a:lnTo>
                      <a:pt x="2920" y="5258"/>
                    </a:lnTo>
                    <a:lnTo>
                      <a:pt x="2920" y="5258"/>
                    </a:lnTo>
                    <a:lnTo>
                      <a:pt x="2924" y="5250"/>
                    </a:lnTo>
                    <a:lnTo>
                      <a:pt x="2924" y="5246"/>
                    </a:lnTo>
                    <a:lnTo>
                      <a:pt x="2922" y="5242"/>
                    </a:lnTo>
                    <a:lnTo>
                      <a:pt x="2916" y="5240"/>
                    </a:lnTo>
                    <a:lnTo>
                      <a:pt x="2916" y="5240"/>
                    </a:lnTo>
                    <a:close/>
                    <a:moveTo>
                      <a:pt x="2868" y="5234"/>
                    </a:moveTo>
                    <a:lnTo>
                      <a:pt x="2868" y="5234"/>
                    </a:lnTo>
                    <a:lnTo>
                      <a:pt x="2866" y="5232"/>
                    </a:lnTo>
                    <a:lnTo>
                      <a:pt x="2864" y="5232"/>
                    </a:lnTo>
                    <a:lnTo>
                      <a:pt x="2860" y="5234"/>
                    </a:lnTo>
                    <a:lnTo>
                      <a:pt x="2854" y="5238"/>
                    </a:lnTo>
                    <a:lnTo>
                      <a:pt x="2850" y="5238"/>
                    </a:lnTo>
                    <a:lnTo>
                      <a:pt x="2844" y="5236"/>
                    </a:lnTo>
                    <a:lnTo>
                      <a:pt x="2844" y="5236"/>
                    </a:lnTo>
                    <a:lnTo>
                      <a:pt x="2838" y="5234"/>
                    </a:lnTo>
                    <a:lnTo>
                      <a:pt x="2836" y="5234"/>
                    </a:lnTo>
                    <a:lnTo>
                      <a:pt x="2834" y="5236"/>
                    </a:lnTo>
                    <a:lnTo>
                      <a:pt x="2834" y="5240"/>
                    </a:lnTo>
                    <a:lnTo>
                      <a:pt x="2836" y="5246"/>
                    </a:lnTo>
                    <a:lnTo>
                      <a:pt x="2836" y="5246"/>
                    </a:lnTo>
                    <a:lnTo>
                      <a:pt x="2840" y="5248"/>
                    </a:lnTo>
                    <a:lnTo>
                      <a:pt x="2844" y="5250"/>
                    </a:lnTo>
                    <a:lnTo>
                      <a:pt x="2850" y="5252"/>
                    </a:lnTo>
                    <a:lnTo>
                      <a:pt x="2856" y="5256"/>
                    </a:lnTo>
                    <a:lnTo>
                      <a:pt x="2856" y="5256"/>
                    </a:lnTo>
                    <a:lnTo>
                      <a:pt x="2860" y="5262"/>
                    </a:lnTo>
                    <a:lnTo>
                      <a:pt x="2860" y="5266"/>
                    </a:lnTo>
                    <a:lnTo>
                      <a:pt x="2860" y="5270"/>
                    </a:lnTo>
                    <a:lnTo>
                      <a:pt x="2862" y="5270"/>
                    </a:lnTo>
                    <a:lnTo>
                      <a:pt x="2862" y="5270"/>
                    </a:lnTo>
                    <a:lnTo>
                      <a:pt x="2866" y="5270"/>
                    </a:lnTo>
                    <a:lnTo>
                      <a:pt x="2868" y="5266"/>
                    </a:lnTo>
                    <a:lnTo>
                      <a:pt x="2870" y="5260"/>
                    </a:lnTo>
                    <a:lnTo>
                      <a:pt x="2876" y="5254"/>
                    </a:lnTo>
                    <a:lnTo>
                      <a:pt x="2876" y="5254"/>
                    </a:lnTo>
                    <a:lnTo>
                      <a:pt x="2882" y="5250"/>
                    </a:lnTo>
                    <a:lnTo>
                      <a:pt x="2882" y="5246"/>
                    </a:lnTo>
                    <a:lnTo>
                      <a:pt x="2882" y="5244"/>
                    </a:lnTo>
                    <a:lnTo>
                      <a:pt x="2876" y="5240"/>
                    </a:lnTo>
                    <a:lnTo>
                      <a:pt x="2868" y="5234"/>
                    </a:lnTo>
                    <a:lnTo>
                      <a:pt x="2868" y="5234"/>
                    </a:lnTo>
                    <a:close/>
                    <a:moveTo>
                      <a:pt x="2906" y="5026"/>
                    </a:moveTo>
                    <a:lnTo>
                      <a:pt x="2906" y="5026"/>
                    </a:lnTo>
                    <a:lnTo>
                      <a:pt x="2906" y="5016"/>
                    </a:lnTo>
                    <a:lnTo>
                      <a:pt x="2906" y="5006"/>
                    </a:lnTo>
                    <a:lnTo>
                      <a:pt x="2904" y="5000"/>
                    </a:lnTo>
                    <a:lnTo>
                      <a:pt x="2902" y="5000"/>
                    </a:lnTo>
                    <a:lnTo>
                      <a:pt x="2900" y="5002"/>
                    </a:lnTo>
                    <a:lnTo>
                      <a:pt x="2900" y="5002"/>
                    </a:lnTo>
                    <a:lnTo>
                      <a:pt x="2898" y="5010"/>
                    </a:lnTo>
                    <a:lnTo>
                      <a:pt x="2898" y="5018"/>
                    </a:lnTo>
                    <a:lnTo>
                      <a:pt x="2898" y="5026"/>
                    </a:lnTo>
                    <a:lnTo>
                      <a:pt x="2896" y="5036"/>
                    </a:lnTo>
                    <a:lnTo>
                      <a:pt x="2896" y="5036"/>
                    </a:lnTo>
                    <a:lnTo>
                      <a:pt x="2896" y="5038"/>
                    </a:lnTo>
                    <a:lnTo>
                      <a:pt x="2898" y="5038"/>
                    </a:lnTo>
                    <a:lnTo>
                      <a:pt x="2902" y="5034"/>
                    </a:lnTo>
                    <a:lnTo>
                      <a:pt x="2906" y="5026"/>
                    </a:lnTo>
                    <a:lnTo>
                      <a:pt x="2906" y="5026"/>
                    </a:lnTo>
                    <a:close/>
                    <a:moveTo>
                      <a:pt x="3284" y="4314"/>
                    </a:moveTo>
                    <a:lnTo>
                      <a:pt x="3284" y="4314"/>
                    </a:lnTo>
                    <a:lnTo>
                      <a:pt x="3284" y="4314"/>
                    </a:lnTo>
                    <a:lnTo>
                      <a:pt x="3286" y="4316"/>
                    </a:lnTo>
                    <a:lnTo>
                      <a:pt x="3288" y="4318"/>
                    </a:lnTo>
                    <a:lnTo>
                      <a:pt x="3290" y="4318"/>
                    </a:lnTo>
                    <a:lnTo>
                      <a:pt x="3290" y="4318"/>
                    </a:lnTo>
                    <a:lnTo>
                      <a:pt x="3290" y="4316"/>
                    </a:lnTo>
                    <a:lnTo>
                      <a:pt x="3290" y="4314"/>
                    </a:lnTo>
                    <a:lnTo>
                      <a:pt x="3288" y="4312"/>
                    </a:lnTo>
                    <a:lnTo>
                      <a:pt x="3284" y="4314"/>
                    </a:lnTo>
                    <a:lnTo>
                      <a:pt x="3284" y="4314"/>
                    </a:lnTo>
                    <a:close/>
                    <a:moveTo>
                      <a:pt x="3284" y="4332"/>
                    </a:moveTo>
                    <a:lnTo>
                      <a:pt x="3284" y="4332"/>
                    </a:lnTo>
                    <a:lnTo>
                      <a:pt x="3284" y="4330"/>
                    </a:lnTo>
                    <a:lnTo>
                      <a:pt x="3282" y="4330"/>
                    </a:lnTo>
                    <a:lnTo>
                      <a:pt x="3278" y="4336"/>
                    </a:lnTo>
                    <a:lnTo>
                      <a:pt x="3278" y="4344"/>
                    </a:lnTo>
                    <a:lnTo>
                      <a:pt x="3278" y="4350"/>
                    </a:lnTo>
                    <a:lnTo>
                      <a:pt x="3282" y="4354"/>
                    </a:lnTo>
                    <a:lnTo>
                      <a:pt x="3282" y="4354"/>
                    </a:lnTo>
                    <a:lnTo>
                      <a:pt x="3284" y="4358"/>
                    </a:lnTo>
                    <a:lnTo>
                      <a:pt x="3286" y="4358"/>
                    </a:lnTo>
                    <a:lnTo>
                      <a:pt x="3286" y="4354"/>
                    </a:lnTo>
                    <a:lnTo>
                      <a:pt x="3284" y="4332"/>
                    </a:lnTo>
                    <a:lnTo>
                      <a:pt x="3284" y="4332"/>
                    </a:lnTo>
                    <a:close/>
                    <a:moveTo>
                      <a:pt x="2868" y="5178"/>
                    </a:moveTo>
                    <a:lnTo>
                      <a:pt x="2868" y="5178"/>
                    </a:lnTo>
                    <a:lnTo>
                      <a:pt x="2870" y="5178"/>
                    </a:lnTo>
                    <a:lnTo>
                      <a:pt x="2872" y="5178"/>
                    </a:lnTo>
                    <a:lnTo>
                      <a:pt x="2874" y="5178"/>
                    </a:lnTo>
                    <a:lnTo>
                      <a:pt x="2876" y="5178"/>
                    </a:lnTo>
                    <a:lnTo>
                      <a:pt x="2876" y="5178"/>
                    </a:lnTo>
                    <a:lnTo>
                      <a:pt x="2876" y="5176"/>
                    </a:lnTo>
                    <a:lnTo>
                      <a:pt x="2874" y="5174"/>
                    </a:lnTo>
                    <a:lnTo>
                      <a:pt x="2872" y="5172"/>
                    </a:lnTo>
                    <a:lnTo>
                      <a:pt x="2866" y="5172"/>
                    </a:lnTo>
                    <a:lnTo>
                      <a:pt x="2866" y="5172"/>
                    </a:lnTo>
                    <a:lnTo>
                      <a:pt x="2862" y="5174"/>
                    </a:lnTo>
                    <a:lnTo>
                      <a:pt x="2864" y="5176"/>
                    </a:lnTo>
                    <a:lnTo>
                      <a:pt x="2866" y="5178"/>
                    </a:lnTo>
                    <a:lnTo>
                      <a:pt x="2868" y="5178"/>
                    </a:lnTo>
                    <a:lnTo>
                      <a:pt x="2868" y="5178"/>
                    </a:lnTo>
                    <a:close/>
                    <a:moveTo>
                      <a:pt x="2798" y="5190"/>
                    </a:moveTo>
                    <a:lnTo>
                      <a:pt x="2798" y="5190"/>
                    </a:lnTo>
                    <a:lnTo>
                      <a:pt x="2804" y="5186"/>
                    </a:lnTo>
                    <a:lnTo>
                      <a:pt x="2812" y="5182"/>
                    </a:lnTo>
                    <a:lnTo>
                      <a:pt x="2818" y="5180"/>
                    </a:lnTo>
                    <a:lnTo>
                      <a:pt x="2818" y="5178"/>
                    </a:lnTo>
                    <a:lnTo>
                      <a:pt x="2818" y="5176"/>
                    </a:lnTo>
                    <a:lnTo>
                      <a:pt x="2818" y="5176"/>
                    </a:lnTo>
                    <a:lnTo>
                      <a:pt x="2814" y="5174"/>
                    </a:lnTo>
                    <a:lnTo>
                      <a:pt x="2810" y="5174"/>
                    </a:lnTo>
                    <a:lnTo>
                      <a:pt x="2804" y="5176"/>
                    </a:lnTo>
                    <a:lnTo>
                      <a:pt x="2794" y="5176"/>
                    </a:lnTo>
                    <a:lnTo>
                      <a:pt x="2794" y="5176"/>
                    </a:lnTo>
                    <a:lnTo>
                      <a:pt x="2780" y="5174"/>
                    </a:lnTo>
                    <a:lnTo>
                      <a:pt x="2770" y="5176"/>
                    </a:lnTo>
                    <a:lnTo>
                      <a:pt x="2764" y="5180"/>
                    </a:lnTo>
                    <a:lnTo>
                      <a:pt x="2764" y="5182"/>
                    </a:lnTo>
                    <a:lnTo>
                      <a:pt x="2764" y="5186"/>
                    </a:lnTo>
                    <a:lnTo>
                      <a:pt x="2764" y="5186"/>
                    </a:lnTo>
                    <a:lnTo>
                      <a:pt x="2768" y="5188"/>
                    </a:lnTo>
                    <a:lnTo>
                      <a:pt x="2780" y="5192"/>
                    </a:lnTo>
                    <a:lnTo>
                      <a:pt x="2790" y="5192"/>
                    </a:lnTo>
                    <a:lnTo>
                      <a:pt x="2796" y="5192"/>
                    </a:lnTo>
                    <a:lnTo>
                      <a:pt x="2798" y="5190"/>
                    </a:lnTo>
                    <a:lnTo>
                      <a:pt x="2798" y="5190"/>
                    </a:lnTo>
                    <a:close/>
                    <a:moveTo>
                      <a:pt x="4914" y="1916"/>
                    </a:moveTo>
                    <a:lnTo>
                      <a:pt x="4914" y="1916"/>
                    </a:lnTo>
                    <a:lnTo>
                      <a:pt x="4910" y="1920"/>
                    </a:lnTo>
                    <a:lnTo>
                      <a:pt x="4910" y="1924"/>
                    </a:lnTo>
                    <a:lnTo>
                      <a:pt x="4912" y="1928"/>
                    </a:lnTo>
                    <a:lnTo>
                      <a:pt x="4914" y="1934"/>
                    </a:lnTo>
                    <a:lnTo>
                      <a:pt x="4926" y="1944"/>
                    </a:lnTo>
                    <a:lnTo>
                      <a:pt x="4938" y="1954"/>
                    </a:lnTo>
                    <a:lnTo>
                      <a:pt x="4938" y="1954"/>
                    </a:lnTo>
                    <a:lnTo>
                      <a:pt x="4942" y="1958"/>
                    </a:lnTo>
                    <a:lnTo>
                      <a:pt x="4942" y="1954"/>
                    </a:lnTo>
                    <a:lnTo>
                      <a:pt x="4940" y="1946"/>
                    </a:lnTo>
                    <a:lnTo>
                      <a:pt x="4936" y="1936"/>
                    </a:lnTo>
                    <a:lnTo>
                      <a:pt x="4930" y="1926"/>
                    </a:lnTo>
                    <a:lnTo>
                      <a:pt x="4924" y="1918"/>
                    </a:lnTo>
                    <a:lnTo>
                      <a:pt x="4918" y="1914"/>
                    </a:lnTo>
                    <a:lnTo>
                      <a:pt x="4916" y="1914"/>
                    </a:lnTo>
                    <a:lnTo>
                      <a:pt x="4914" y="1916"/>
                    </a:lnTo>
                    <a:lnTo>
                      <a:pt x="4914" y="1916"/>
                    </a:lnTo>
                    <a:close/>
                    <a:moveTo>
                      <a:pt x="4520" y="2200"/>
                    </a:moveTo>
                    <a:lnTo>
                      <a:pt x="4520" y="2200"/>
                    </a:lnTo>
                    <a:lnTo>
                      <a:pt x="4522" y="2200"/>
                    </a:lnTo>
                    <a:lnTo>
                      <a:pt x="4524" y="2200"/>
                    </a:lnTo>
                    <a:lnTo>
                      <a:pt x="4528" y="2196"/>
                    </a:lnTo>
                    <a:lnTo>
                      <a:pt x="4528" y="2192"/>
                    </a:lnTo>
                    <a:lnTo>
                      <a:pt x="4528" y="2188"/>
                    </a:lnTo>
                    <a:lnTo>
                      <a:pt x="4528" y="2188"/>
                    </a:lnTo>
                    <a:lnTo>
                      <a:pt x="4524" y="2188"/>
                    </a:lnTo>
                    <a:lnTo>
                      <a:pt x="4520" y="2190"/>
                    </a:lnTo>
                    <a:lnTo>
                      <a:pt x="4518" y="2194"/>
                    </a:lnTo>
                    <a:lnTo>
                      <a:pt x="4518" y="2196"/>
                    </a:lnTo>
                    <a:lnTo>
                      <a:pt x="4520" y="2200"/>
                    </a:lnTo>
                    <a:lnTo>
                      <a:pt x="4520" y="2200"/>
                    </a:lnTo>
                    <a:close/>
                    <a:moveTo>
                      <a:pt x="4814" y="1702"/>
                    </a:moveTo>
                    <a:lnTo>
                      <a:pt x="4814" y="1702"/>
                    </a:lnTo>
                    <a:lnTo>
                      <a:pt x="4812" y="1704"/>
                    </a:lnTo>
                    <a:lnTo>
                      <a:pt x="4812" y="1706"/>
                    </a:lnTo>
                    <a:lnTo>
                      <a:pt x="4816" y="1706"/>
                    </a:lnTo>
                    <a:lnTo>
                      <a:pt x="4832" y="1700"/>
                    </a:lnTo>
                    <a:lnTo>
                      <a:pt x="4842" y="1696"/>
                    </a:lnTo>
                    <a:lnTo>
                      <a:pt x="4850" y="1690"/>
                    </a:lnTo>
                    <a:lnTo>
                      <a:pt x="4856" y="1684"/>
                    </a:lnTo>
                    <a:lnTo>
                      <a:pt x="4858" y="1678"/>
                    </a:lnTo>
                    <a:lnTo>
                      <a:pt x="4858" y="1678"/>
                    </a:lnTo>
                    <a:lnTo>
                      <a:pt x="4856" y="1674"/>
                    </a:lnTo>
                    <a:lnTo>
                      <a:pt x="4852" y="1672"/>
                    </a:lnTo>
                    <a:lnTo>
                      <a:pt x="4848" y="1672"/>
                    </a:lnTo>
                    <a:lnTo>
                      <a:pt x="4842" y="1674"/>
                    </a:lnTo>
                    <a:lnTo>
                      <a:pt x="4828" y="1686"/>
                    </a:lnTo>
                    <a:lnTo>
                      <a:pt x="4814" y="1702"/>
                    </a:lnTo>
                    <a:lnTo>
                      <a:pt x="4814" y="1702"/>
                    </a:lnTo>
                    <a:close/>
                    <a:moveTo>
                      <a:pt x="3278" y="4364"/>
                    </a:moveTo>
                    <a:lnTo>
                      <a:pt x="3278" y="4364"/>
                    </a:lnTo>
                    <a:lnTo>
                      <a:pt x="3276" y="4362"/>
                    </a:lnTo>
                    <a:lnTo>
                      <a:pt x="3274" y="4362"/>
                    </a:lnTo>
                    <a:lnTo>
                      <a:pt x="3274" y="4362"/>
                    </a:lnTo>
                    <a:lnTo>
                      <a:pt x="3278" y="4384"/>
                    </a:lnTo>
                    <a:lnTo>
                      <a:pt x="3278" y="4384"/>
                    </a:lnTo>
                    <a:lnTo>
                      <a:pt x="3278" y="4398"/>
                    </a:lnTo>
                    <a:lnTo>
                      <a:pt x="3278" y="4400"/>
                    </a:lnTo>
                    <a:lnTo>
                      <a:pt x="3276" y="4402"/>
                    </a:lnTo>
                    <a:lnTo>
                      <a:pt x="3272" y="4402"/>
                    </a:lnTo>
                    <a:lnTo>
                      <a:pt x="3266" y="4398"/>
                    </a:lnTo>
                    <a:lnTo>
                      <a:pt x="3266" y="4398"/>
                    </a:lnTo>
                    <a:lnTo>
                      <a:pt x="3266" y="4398"/>
                    </a:lnTo>
                    <a:lnTo>
                      <a:pt x="3264" y="4400"/>
                    </a:lnTo>
                    <a:lnTo>
                      <a:pt x="3264" y="4406"/>
                    </a:lnTo>
                    <a:lnTo>
                      <a:pt x="3262" y="4408"/>
                    </a:lnTo>
                    <a:lnTo>
                      <a:pt x="3260" y="4408"/>
                    </a:lnTo>
                    <a:lnTo>
                      <a:pt x="3256" y="4404"/>
                    </a:lnTo>
                    <a:lnTo>
                      <a:pt x="3256" y="4404"/>
                    </a:lnTo>
                    <a:lnTo>
                      <a:pt x="3254" y="4402"/>
                    </a:lnTo>
                    <a:lnTo>
                      <a:pt x="3252" y="4400"/>
                    </a:lnTo>
                    <a:lnTo>
                      <a:pt x="3250" y="4402"/>
                    </a:lnTo>
                    <a:lnTo>
                      <a:pt x="3248" y="4404"/>
                    </a:lnTo>
                    <a:lnTo>
                      <a:pt x="3248" y="4424"/>
                    </a:lnTo>
                    <a:lnTo>
                      <a:pt x="3248" y="4424"/>
                    </a:lnTo>
                    <a:lnTo>
                      <a:pt x="3248" y="4426"/>
                    </a:lnTo>
                    <a:lnTo>
                      <a:pt x="3246" y="4426"/>
                    </a:lnTo>
                    <a:lnTo>
                      <a:pt x="3240" y="4422"/>
                    </a:lnTo>
                    <a:lnTo>
                      <a:pt x="3238" y="4422"/>
                    </a:lnTo>
                    <a:lnTo>
                      <a:pt x="3234" y="4420"/>
                    </a:lnTo>
                    <a:lnTo>
                      <a:pt x="3232" y="4422"/>
                    </a:lnTo>
                    <a:lnTo>
                      <a:pt x="3230" y="4428"/>
                    </a:lnTo>
                    <a:lnTo>
                      <a:pt x="3230" y="4428"/>
                    </a:lnTo>
                    <a:lnTo>
                      <a:pt x="3226" y="4438"/>
                    </a:lnTo>
                    <a:lnTo>
                      <a:pt x="3224" y="4440"/>
                    </a:lnTo>
                    <a:lnTo>
                      <a:pt x="3220" y="4440"/>
                    </a:lnTo>
                    <a:lnTo>
                      <a:pt x="3214" y="4444"/>
                    </a:lnTo>
                    <a:lnTo>
                      <a:pt x="3214" y="4444"/>
                    </a:lnTo>
                    <a:lnTo>
                      <a:pt x="3210" y="4446"/>
                    </a:lnTo>
                    <a:lnTo>
                      <a:pt x="3210" y="4446"/>
                    </a:lnTo>
                    <a:lnTo>
                      <a:pt x="3212" y="4440"/>
                    </a:lnTo>
                    <a:lnTo>
                      <a:pt x="3212" y="4432"/>
                    </a:lnTo>
                    <a:lnTo>
                      <a:pt x="3212" y="4432"/>
                    </a:lnTo>
                    <a:lnTo>
                      <a:pt x="3210" y="4424"/>
                    </a:lnTo>
                    <a:lnTo>
                      <a:pt x="3208" y="4420"/>
                    </a:lnTo>
                    <a:lnTo>
                      <a:pt x="3204" y="4418"/>
                    </a:lnTo>
                    <a:lnTo>
                      <a:pt x="3200" y="4418"/>
                    </a:lnTo>
                    <a:lnTo>
                      <a:pt x="3200" y="4418"/>
                    </a:lnTo>
                    <a:lnTo>
                      <a:pt x="3198" y="4420"/>
                    </a:lnTo>
                    <a:lnTo>
                      <a:pt x="3198" y="4418"/>
                    </a:lnTo>
                    <a:lnTo>
                      <a:pt x="3196" y="4416"/>
                    </a:lnTo>
                    <a:lnTo>
                      <a:pt x="3194" y="4414"/>
                    </a:lnTo>
                    <a:lnTo>
                      <a:pt x="3194" y="4414"/>
                    </a:lnTo>
                    <a:lnTo>
                      <a:pt x="3192" y="4416"/>
                    </a:lnTo>
                    <a:lnTo>
                      <a:pt x="3192" y="4420"/>
                    </a:lnTo>
                    <a:lnTo>
                      <a:pt x="3190" y="4422"/>
                    </a:lnTo>
                    <a:lnTo>
                      <a:pt x="3188" y="4424"/>
                    </a:lnTo>
                    <a:lnTo>
                      <a:pt x="3186" y="4424"/>
                    </a:lnTo>
                    <a:lnTo>
                      <a:pt x="3186" y="4424"/>
                    </a:lnTo>
                    <a:lnTo>
                      <a:pt x="3182" y="4424"/>
                    </a:lnTo>
                    <a:lnTo>
                      <a:pt x="3178" y="4428"/>
                    </a:lnTo>
                    <a:lnTo>
                      <a:pt x="3176" y="4432"/>
                    </a:lnTo>
                    <a:lnTo>
                      <a:pt x="3178" y="4438"/>
                    </a:lnTo>
                    <a:lnTo>
                      <a:pt x="3178" y="4438"/>
                    </a:lnTo>
                    <a:lnTo>
                      <a:pt x="3178" y="4440"/>
                    </a:lnTo>
                    <a:lnTo>
                      <a:pt x="3174" y="4442"/>
                    </a:lnTo>
                    <a:lnTo>
                      <a:pt x="3170" y="4444"/>
                    </a:lnTo>
                    <a:lnTo>
                      <a:pt x="3166" y="4442"/>
                    </a:lnTo>
                    <a:lnTo>
                      <a:pt x="3166" y="4442"/>
                    </a:lnTo>
                    <a:lnTo>
                      <a:pt x="3164" y="4442"/>
                    </a:lnTo>
                    <a:lnTo>
                      <a:pt x="3162" y="4442"/>
                    </a:lnTo>
                    <a:lnTo>
                      <a:pt x="3160" y="4444"/>
                    </a:lnTo>
                    <a:lnTo>
                      <a:pt x="3156" y="4446"/>
                    </a:lnTo>
                    <a:lnTo>
                      <a:pt x="3156" y="4446"/>
                    </a:lnTo>
                    <a:lnTo>
                      <a:pt x="3150" y="4448"/>
                    </a:lnTo>
                    <a:lnTo>
                      <a:pt x="3146" y="4452"/>
                    </a:lnTo>
                    <a:lnTo>
                      <a:pt x="3142" y="4458"/>
                    </a:lnTo>
                    <a:lnTo>
                      <a:pt x="3140" y="4462"/>
                    </a:lnTo>
                    <a:lnTo>
                      <a:pt x="3140" y="4462"/>
                    </a:lnTo>
                    <a:lnTo>
                      <a:pt x="3140" y="4472"/>
                    </a:lnTo>
                    <a:lnTo>
                      <a:pt x="3138" y="4478"/>
                    </a:lnTo>
                    <a:lnTo>
                      <a:pt x="3134" y="4488"/>
                    </a:lnTo>
                    <a:lnTo>
                      <a:pt x="3134" y="4488"/>
                    </a:lnTo>
                    <a:lnTo>
                      <a:pt x="3132" y="4492"/>
                    </a:lnTo>
                    <a:lnTo>
                      <a:pt x="3134" y="4496"/>
                    </a:lnTo>
                    <a:lnTo>
                      <a:pt x="3136" y="4500"/>
                    </a:lnTo>
                    <a:lnTo>
                      <a:pt x="3136" y="4500"/>
                    </a:lnTo>
                    <a:lnTo>
                      <a:pt x="3138" y="4504"/>
                    </a:lnTo>
                    <a:lnTo>
                      <a:pt x="3140" y="4504"/>
                    </a:lnTo>
                    <a:lnTo>
                      <a:pt x="3144" y="4500"/>
                    </a:lnTo>
                    <a:lnTo>
                      <a:pt x="3148" y="4488"/>
                    </a:lnTo>
                    <a:lnTo>
                      <a:pt x="3148" y="4488"/>
                    </a:lnTo>
                    <a:lnTo>
                      <a:pt x="3150" y="4480"/>
                    </a:lnTo>
                    <a:lnTo>
                      <a:pt x="3152" y="4478"/>
                    </a:lnTo>
                    <a:lnTo>
                      <a:pt x="3152" y="4476"/>
                    </a:lnTo>
                    <a:lnTo>
                      <a:pt x="3154" y="4474"/>
                    </a:lnTo>
                    <a:lnTo>
                      <a:pt x="3154" y="4474"/>
                    </a:lnTo>
                    <a:lnTo>
                      <a:pt x="3156" y="4472"/>
                    </a:lnTo>
                    <a:lnTo>
                      <a:pt x="3156" y="4470"/>
                    </a:lnTo>
                    <a:lnTo>
                      <a:pt x="3158" y="4466"/>
                    </a:lnTo>
                    <a:lnTo>
                      <a:pt x="3160" y="4462"/>
                    </a:lnTo>
                    <a:lnTo>
                      <a:pt x="3160" y="4462"/>
                    </a:lnTo>
                    <a:lnTo>
                      <a:pt x="3164" y="4460"/>
                    </a:lnTo>
                    <a:lnTo>
                      <a:pt x="3168" y="4462"/>
                    </a:lnTo>
                    <a:lnTo>
                      <a:pt x="3170" y="4466"/>
                    </a:lnTo>
                    <a:lnTo>
                      <a:pt x="3168" y="4472"/>
                    </a:lnTo>
                    <a:lnTo>
                      <a:pt x="3168" y="4472"/>
                    </a:lnTo>
                    <a:lnTo>
                      <a:pt x="3168" y="4474"/>
                    </a:lnTo>
                    <a:lnTo>
                      <a:pt x="3172" y="4474"/>
                    </a:lnTo>
                    <a:lnTo>
                      <a:pt x="3178" y="4472"/>
                    </a:lnTo>
                    <a:lnTo>
                      <a:pt x="3182" y="4466"/>
                    </a:lnTo>
                    <a:lnTo>
                      <a:pt x="3182" y="4466"/>
                    </a:lnTo>
                    <a:lnTo>
                      <a:pt x="3184" y="4462"/>
                    </a:lnTo>
                    <a:lnTo>
                      <a:pt x="3184" y="4466"/>
                    </a:lnTo>
                    <a:lnTo>
                      <a:pt x="3184" y="4472"/>
                    </a:lnTo>
                    <a:lnTo>
                      <a:pt x="3184" y="4474"/>
                    </a:lnTo>
                    <a:lnTo>
                      <a:pt x="3186" y="4476"/>
                    </a:lnTo>
                    <a:lnTo>
                      <a:pt x="3186" y="4476"/>
                    </a:lnTo>
                    <a:lnTo>
                      <a:pt x="3192" y="4478"/>
                    </a:lnTo>
                    <a:lnTo>
                      <a:pt x="3194" y="4480"/>
                    </a:lnTo>
                    <a:lnTo>
                      <a:pt x="3194" y="4476"/>
                    </a:lnTo>
                    <a:lnTo>
                      <a:pt x="3194" y="4476"/>
                    </a:lnTo>
                    <a:lnTo>
                      <a:pt x="3194" y="4470"/>
                    </a:lnTo>
                    <a:lnTo>
                      <a:pt x="3196" y="4466"/>
                    </a:lnTo>
                    <a:lnTo>
                      <a:pt x="3198" y="4464"/>
                    </a:lnTo>
                    <a:lnTo>
                      <a:pt x="3196" y="4462"/>
                    </a:lnTo>
                    <a:lnTo>
                      <a:pt x="3196" y="4462"/>
                    </a:lnTo>
                    <a:lnTo>
                      <a:pt x="3194" y="4460"/>
                    </a:lnTo>
                    <a:lnTo>
                      <a:pt x="3196" y="4458"/>
                    </a:lnTo>
                    <a:lnTo>
                      <a:pt x="3200" y="4458"/>
                    </a:lnTo>
                    <a:lnTo>
                      <a:pt x="3206" y="4460"/>
                    </a:lnTo>
                    <a:lnTo>
                      <a:pt x="3206" y="4460"/>
                    </a:lnTo>
                    <a:lnTo>
                      <a:pt x="3210" y="4464"/>
                    </a:lnTo>
                    <a:lnTo>
                      <a:pt x="3216" y="4466"/>
                    </a:lnTo>
                    <a:lnTo>
                      <a:pt x="3218" y="4468"/>
                    </a:lnTo>
                    <a:lnTo>
                      <a:pt x="3222" y="4472"/>
                    </a:lnTo>
                    <a:lnTo>
                      <a:pt x="3222" y="4472"/>
                    </a:lnTo>
                    <a:lnTo>
                      <a:pt x="3222" y="4476"/>
                    </a:lnTo>
                    <a:lnTo>
                      <a:pt x="3224" y="4478"/>
                    </a:lnTo>
                    <a:lnTo>
                      <a:pt x="3226" y="4478"/>
                    </a:lnTo>
                    <a:lnTo>
                      <a:pt x="3226" y="4482"/>
                    </a:lnTo>
                    <a:lnTo>
                      <a:pt x="3226" y="4482"/>
                    </a:lnTo>
                    <a:lnTo>
                      <a:pt x="3224" y="4486"/>
                    </a:lnTo>
                    <a:lnTo>
                      <a:pt x="3220" y="4492"/>
                    </a:lnTo>
                    <a:lnTo>
                      <a:pt x="3216" y="4500"/>
                    </a:lnTo>
                    <a:lnTo>
                      <a:pt x="3216" y="4502"/>
                    </a:lnTo>
                    <a:lnTo>
                      <a:pt x="3216" y="4506"/>
                    </a:lnTo>
                    <a:lnTo>
                      <a:pt x="3216" y="4506"/>
                    </a:lnTo>
                    <a:lnTo>
                      <a:pt x="3218" y="4520"/>
                    </a:lnTo>
                    <a:lnTo>
                      <a:pt x="3220" y="4526"/>
                    </a:lnTo>
                    <a:lnTo>
                      <a:pt x="3222" y="4532"/>
                    </a:lnTo>
                    <a:lnTo>
                      <a:pt x="3222" y="4532"/>
                    </a:lnTo>
                    <a:lnTo>
                      <a:pt x="3224" y="4534"/>
                    </a:lnTo>
                    <a:lnTo>
                      <a:pt x="3224" y="4536"/>
                    </a:lnTo>
                    <a:lnTo>
                      <a:pt x="3226" y="4538"/>
                    </a:lnTo>
                    <a:lnTo>
                      <a:pt x="3234" y="4544"/>
                    </a:lnTo>
                    <a:lnTo>
                      <a:pt x="3234" y="4544"/>
                    </a:lnTo>
                    <a:lnTo>
                      <a:pt x="3252" y="4552"/>
                    </a:lnTo>
                    <a:lnTo>
                      <a:pt x="3256" y="4554"/>
                    </a:lnTo>
                    <a:lnTo>
                      <a:pt x="3260" y="4548"/>
                    </a:lnTo>
                    <a:lnTo>
                      <a:pt x="3260" y="4548"/>
                    </a:lnTo>
                    <a:lnTo>
                      <a:pt x="3264" y="4542"/>
                    </a:lnTo>
                    <a:lnTo>
                      <a:pt x="3266" y="4542"/>
                    </a:lnTo>
                    <a:lnTo>
                      <a:pt x="3268" y="4544"/>
                    </a:lnTo>
                    <a:lnTo>
                      <a:pt x="3266" y="4550"/>
                    </a:lnTo>
                    <a:lnTo>
                      <a:pt x="3266" y="4550"/>
                    </a:lnTo>
                    <a:lnTo>
                      <a:pt x="3266" y="4556"/>
                    </a:lnTo>
                    <a:lnTo>
                      <a:pt x="3268" y="4564"/>
                    </a:lnTo>
                    <a:lnTo>
                      <a:pt x="3270" y="4566"/>
                    </a:lnTo>
                    <a:lnTo>
                      <a:pt x="3272" y="4568"/>
                    </a:lnTo>
                    <a:lnTo>
                      <a:pt x="3274" y="4566"/>
                    </a:lnTo>
                    <a:lnTo>
                      <a:pt x="3278" y="4564"/>
                    </a:lnTo>
                    <a:lnTo>
                      <a:pt x="3278" y="4564"/>
                    </a:lnTo>
                    <a:lnTo>
                      <a:pt x="3282" y="4554"/>
                    </a:lnTo>
                    <a:lnTo>
                      <a:pt x="3284" y="4546"/>
                    </a:lnTo>
                    <a:lnTo>
                      <a:pt x="3286" y="4540"/>
                    </a:lnTo>
                    <a:lnTo>
                      <a:pt x="3284" y="4534"/>
                    </a:lnTo>
                    <a:lnTo>
                      <a:pt x="3284" y="4534"/>
                    </a:lnTo>
                    <a:lnTo>
                      <a:pt x="3280" y="4524"/>
                    </a:lnTo>
                    <a:lnTo>
                      <a:pt x="3278" y="4520"/>
                    </a:lnTo>
                    <a:lnTo>
                      <a:pt x="3276" y="4518"/>
                    </a:lnTo>
                    <a:lnTo>
                      <a:pt x="3276" y="4518"/>
                    </a:lnTo>
                    <a:lnTo>
                      <a:pt x="3274" y="4516"/>
                    </a:lnTo>
                    <a:lnTo>
                      <a:pt x="3274" y="4514"/>
                    </a:lnTo>
                    <a:lnTo>
                      <a:pt x="3274" y="4508"/>
                    </a:lnTo>
                    <a:lnTo>
                      <a:pt x="3276" y="4500"/>
                    </a:lnTo>
                    <a:lnTo>
                      <a:pt x="3280" y="4496"/>
                    </a:lnTo>
                    <a:lnTo>
                      <a:pt x="3280" y="4496"/>
                    </a:lnTo>
                    <a:lnTo>
                      <a:pt x="3284" y="4494"/>
                    </a:lnTo>
                    <a:lnTo>
                      <a:pt x="3284" y="4490"/>
                    </a:lnTo>
                    <a:lnTo>
                      <a:pt x="3284" y="4486"/>
                    </a:lnTo>
                    <a:lnTo>
                      <a:pt x="3288" y="4484"/>
                    </a:lnTo>
                    <a:lnTo>
                      <a:pt x="3288" y="4484"/>
                    </a:lnTo>
                    <a:lnTo>
                      <a:pt x="3290" y="4482"/>
                    </a:lnTo>
                    <a:lnTo>
                      <a:pt x="3292" y="4482"/>
                    </a:lnTo>
                    <a:lnTo>
                      <a:pt x="3292" y="4490"/>
                    </a:lnTo>
                    <a:lnTo>
                      <a:pt x="3292" y="4490"/>
                    </a:lnTo>
                    <a:lnTo>
                      <a:pt x="3294" y="4498"/>
                    </a:lnTo>
                    <a:lnTo>
                      <a:pt x="3296" y="4502"/>
                    </a:lnTo>
                    <a:lnTo>
                      <a:pt x="3300" y="4506"/>
                    </a:lnTo>
                    <a:lnTo>
                      <a:pt x="3300" y="4506"/>
                    </a:lnTo>
                    <a:lnTo>
                      <a:pt x="3302" y="4510"/>
                    </a:lnTo>
                    <a:lnTo>
                      <a:pt x="3300" y="4512"/>
                    </a:lnTo>
                    <a:lnTo>
                      <a:pt x="3300" y="4518"/>
                    </a:lnTo>
                    <a:lnTo>
                      <a:pt x="3302" y="4528"/>
                    </a:lnTo>
                    <a:lnTo>
                      <a:pt x="3302" y="4528"/>
                    </a:lnTo>
                    <a:lnTo>
                      <a:pt x="3304" y="4530"/>
                    </a:lnTo>
                    <a:lnTo>
                      <a:pt x="3306" y="4530"/>
                    </a:lnTo>
                    <a:lnTo>
                      <a:pt x="3306" y="4526"/>
                    </a:lnTo>
                    <a:lnTo>
                      <a:pt x="3308" y="4518"/>
                    </a:lnTo>
                    <a:lnTo>
                      <a:pt x="3306" y="4508"/>
                    </a:lnTo>
                    <a:lnTo>
                      <a:pt x="3306" y="4508"/>
                    </a:lnTo>
                    <a:lnTo>
                      <a:pt x="3304" y="4502"/>
                    </a:lnTo>
                    <a:lnTo>
                      <a:pt x="3308" y="4504"/>
                    </a:lnTo>
                    <a:lnTo>
                      <a:pt x="3310" y="4506"/>
                    </a:lnTo>
                    <a:lnTo>
                      <a:pt x="3312" y="4506"/>
                    </a:lnTo>
                    <a:lnTo>
                      <a:pt x="3310" y="4504"/>
                    </a:lnTo>
                    <a:lnTo>
                      <a:pt x="3310" y="4504"/>
                    </a:lnTo>
                    <a:lnTo>
                      <a:pt x="3310" y="4500"/>
                    </a:lnTo>
                    <a:lnTo>
                      <a:pt x="3312" y="4498"/>
                    </a:lnTo>
                    <a:lnTo>
                      <a:pt x="3316" y="4498"/>
                    </a:lnTo>
                    <a:lnTo>
                      <a:pt x="3320" y="4492"/>
                    </a:lnTo>
                    <a:lnTo>
                      <a:pt x="3320" y="4492"/>
                    </a:lnTo>
                    <a:lnTo>
                      <a:pt x="3322" y="4488"/>
                    </a:lnTo>
                    <a:lnTo>
                      <a:pt x="3322" y="4482"/>
                    </a:lnTo>
                    <a:lnTo>
                      <a:pt x="3320" y="4468"/>
                    </a:lnTo>
                    <a:lnTo>
                      <a:pt x="3320" y="4468"/>
                    </a:lnTo>
                    <a:lnTo>
                      <a:pt x="3320" y="4464"/>
                    </a:lnTo>
                    <a:lnTo>
                      <a:pt x="3318" y="4462"/>
                    </a:lnTo>
                    <a:lnTo>
                      <a:pt x="3316" y="4460"/>
                    </a:lnTo>
                    <a:lnTo>
                      <a:pt x="3314" y="4458"/>
                    </a:lnTo>
                    <a:lnTo>
                      <a:pt x="3314" y="4458"/>
                    </a:lnTo>
                    <a:lnTo>
                      <a:pt x="3314" y="4452"/>
                    </a:lnTo>
                    <a:lnTo>
                      <a:pt x="3316" y="4446"/>
                    </a:lnTo>
                    <a:lnTo>
                      <a:pt x="3316" y="4442"/>
                    </a:lnTo>
                    <a:lnTo>
                      <a:pt x="3314" y="4438"/>
                    </a:lnTo>
                    <a:lnTo>
                      <a:pt x="3314" y="4438"/>
                    </a:lnTo>
                    <a:lnTo>
                      <a:pt x="3314" y="4432"/>
                    </a:lnTo>
                    <a:lnTo>
                      <a:pt x="3314" y="4428"/>
                    </a:lnTo>
                    <a:lnTo>
                      <a:pt x="3312" y="4424"/>
                    </a:lnTo>
                    <a:lnTo>
                      <a:pt x="3310" y="4424"/>
                    </a:lnTo>
                    <a:lnTo>
                      <a:pt x="3308" y="4424"/>
                    </a:lnTo>
                    <a:lnTo>
                      <a:pt x="3308" y="4424"/>
                    </a:lnTo>
                    <a:lnTo>
                      <a:pt x="3304" y="4424"/>
                    </a:lnTo>
                    <a:lnTo>
                      <a:pt x="3302" y="4422"/>
                    </a:lnTo>
                    <a:lnTo>
                      <a:pt x="3302" y="4420"/>
                    </a:lnTo>
                    <a:lnTo>
                      <a:pt x="3304" y="4418"/>
                    </a:lnTo>
                    <a:lnTo>
                      <a:pt x="3304" y="4418"/>
                    </a:lnTo>
                    <a:lnTo>
                      <a:pt x="3308" y="4416"/>
                    </a:lnTo>
                    <a:lnTo>
                      <a:pt x="3310" y="4412"/>
                    </a:lnTo>
                    <a:lnTo>
                      <a:pt x="3312" y="4406"/>
                    </a:lnTo>
                    <a:lnTo>
                      <a:pt x="3308" y="4400"/>
                    </a:lnTo>
                    <a:lnTo>
                      <a:pt x="3308" y="4400"/>
                    </a:lnTo>
                    <a:lnTo>
                      <a:pt x="3306" y="4396"/>
                    </a:lnTo>
                    <a:lnTo>
                      <a:pt x="3306" y="4390"/>
                    </a:lnTo>
                    <a:lnTo>
                      <a:pt x="3306" y="4386"/>
                    </a:lnTo>
                    <a:lnTo>
                      <a:pt x="3302" y="4388"/>
                    </a:lnTo>
                    <a:lnTo>
                      <a:pt x="3302" y="4388"/>
                    </a:lnTo>
                    <a:lnTo>
                      <a:pt x="3300" y="4388"/>
                    </a:lnTo>
                    <a:lnTo>
                      <a:pt x="3300" y="4388"/>
                    </a:lnTo>
                    <a:lnTo>
                      <a:pt x="3298" y="4384"/>
                    </a:lnTo>
                    <a:lnTo>
                      <a:pt x="3296" y="4380"/>
                    </a:lnTo>
                    <a:lnTo>
                      <a:pt x="3292" y="4376"/>
                    </a:lnTo>
                    <a:lnTo>
                      <a:pt x="3288" y="4374"/>
                    </a:lnTo>
                    <a:lnTo>
                      <a:pt x="3288" y="4374"/>
                    </a:lnTo>
                    <a:lnTo>
                      <a:pt x="3284" y="4372"/>
                    </a:lnTo>
                    <a:lnTo>
                      <a:pt x="3282" y="4368"/>
                    </a:lnTo>
                    <a:lnTo>
                      <a:pt x="3282" y="4366"/>
                    </a:lnTo>
                    <a:lnTo>
                      <a:pt x="3278" y="4364"/>
                    </a:lnTo>
                    <a:lnTo>
                      <a:pt x="3278" y="4364"/>
                    </a:lnTo>
                    <a:close/>
                    <a:moveTo>
                      <a:pt x="3136" y="4268"/>
                    </a:moveTo>
                    <a:lnTo>
                      <a:pt x="3136" y="4268"/>
                    </a:lnTo>
                    <a:lnTo>
                      <a:pt x="3138" y="4270"/>
                    </a:lnTo>
                    <a:lnTo>
                      <a:pt x="3140" y="4272"/>
                    </a:lnTo>
                    <a:lnTo>
                      <a:pt x="3140" y="4278"/>
                    </a:lnTo>
                    <a:lnTo>
                      <a:pt x="3138" y="4286"/>
                    </a:lnTo>
                    <a:lnTo>
                      <a:pt x="3138" y="4296"/>
                    </a:lnTo>
                    <a:lnTo>
                      <a:pt x="3138" y="4296"/>
                    </a:lnTo>
                    <a:lnTo>
                      <a:pt x="3140" y="4302"/>
                    </a:lnTo>
                    <a:lnTo>
                      <a:pt x="3136" y="4306"/>
                    </a:lnTo>
                    <a:lnTo>
                      <a:pt x="3134" y="4312"/>
                    </a:lnTo>
                    <a:lnTo>
                      <a:pt x="3134" y="4324"/>
                    </a:lnTo>
                    <a:lnTo>
                      <a:pt x="3134" y="4324"/>
                    </a:lnTo>
                    <a:lnTo>
                      <a:pt x="3134" y="4328"/>
                    </a:lnTo>
                    <a:lnTo>
                      <a:pt x="3136" y="4330"/>
                    </a:lnTo>
                    <a:lnTo>
                      <a:pt x="3138" y="4330"/>
                    </a:lnTo>
                    <a:lnTo>
                      <a:pt x="3140" y="4328"/>
                    </a:lnTo>
                    <a:lnTo>
                      <a:pt x="3146" y="4324"/>
                    </a:lnTo>
                    <a:lnTo>
                      <a:pt x="3148" y="4320"/>
                    </a:lnTo>
                    <a:lnTo>
                      <a:pt x="3152" y="4320"/>
                    </a:lnTo>
                    <a:lnTo>
                      <a:pt x="3152" y="4320"/>
                    </a:lnTo>
                    <a:lnTo>
                      <a:pt x="3158" y="4318"/>
                    </a:lnTo>
                    <a:lnTo>
                      <a:pt x="3166" y="4312"/>
                    </a:lnTo>
                    <a:lnTo>
                      <a:pt x="3178" y="4298"/>
                    </a:lnTo>
                    <a:lnTo>
                      <a:pt x="3178" y="4298"/>
                    </a:lnTo>
                    <a:lnTo>
                      <a:pt x="3182" y="4296"/>
                    </a:lnTo>
                    <a:lnTo>
                      <a:pt x="3182" y="4292"/>
                    </a:lnTo>
                    <a:lnTo>
                      <a:pt x="3184" y="4282"/>
                    </a:lnTo>
                    <a:lnTo>
                      <a:pt x="3182" y="4276"/>
                    </a:lnTo>
                    <a:lnTo>
                      <a:pt x="3180" y="4276"/>
                    </a:lnTo>
                    <a:lnTo>
                      <a:pt x="3178" y="4276"/>
                    </a:lnTo>
                    <a:lnTo>
                      <a:pt x="3178" y="4276"/>
                    </a:lnTo>
                    <a:lnTo>
                      <a:pt x="3176" y="4278"/>
                    </a:lnTo>
                    <a:lnTo>
                      <a:pt x="3176" y="4278"/>
                    </a:lnTo>
                    <a:lnTo>
                      <a:pt x="3172" y="4276"/>
                    </a:lnTo>
                    <a:lnTo>
                      <a:pt x="3168" y="4274"/>
                    </a:lnTo>
                    <a:lnTo>
                      <a:pt x="3166" y="4274"/>
                    </a:lnTo>
                    <a:lnTo>
                      <a:pt x="3164" y="4274"/>
                    </a:lnTo>
                    <a:lnTo>
                      <a:pt x="3164" y="4274"/>
                    </a:lnTo>
                    <a:lnTo>
                      <a:pt x="3162" y="4276"/>
                    </a:lnTo>
                    <a:lnTo>
                      <a:pt x="3160" y="4274"/>
                    </a:lnTo>
                    <a:lnTo>
                      <a:pt x="3154" y="4270"/>
                    </a:lnTo>
                    <a:lnTo>
                      <a:pt x="3146" y="4264"/>
                    </a:lnTo>
                    <a:lnTo>
                      <a:pt x="3138" y="4258"/>
                    </a:lnTo>
                    <a:lnTo>
                      <a:pt x="3138" y="4258"/>
                    </a:lnTo>
                    <a:lnTo>
                      <a:pt x="3132" y="4258"/>
                    </a:lnTo>
                    <a:lnTo>
                      <a:pt x="3130" y="4260"/>
                    </a:lnTo>
                    <a:lnTo>
                      <a:pt x="3130" y="4264"/>
                    </a:lnTo>
                    <a:lnTo>
                      <a:pt x="3136" y="4268"/>
                    </a:lnTo>
                    <a:lnTo>
                      <a:pt x="3136" y="4268"/>
                    </a:lnTo>
                    <a:close/>
                    <a:moveTo>
                      <a:pt x="3270" y="4928"/>
                    </a:moveTo>
                    <a:lnTo>
                      <a:pt x="3270" y="4928"/>
                    </a:lnTo>
                    <a:lnTo>
                      <a:pt x="3268" y="4926"/>
                    </a:lnTo>
                    <a:lnTo>
                      <a:pt x="3264" y="4924"/>
                    </a:lnTo>
                    <a:lnTo>
                      <a:pt x="3250" y="4920"/>
                    </a:lnTo>
                    <a:lnTo>
                      <a:pt x="3244" y="4920"/>
                    </a:lnTo>
                    <a:lnTo>
                      <a:pt x="3238" y="4920"/>
                    </a:lnTo>
                    <a:lnTo>
                      <a:pt x="3232" y="4924"/>
                    </a:lnTo>
                    <a:lnTo>
                      <a:pt x="3230" y="4930"/>
                    </a:lnTo>
                    <a:lnTo>
                      <a:pt x="3230" y="4930"/>
                    </a:lnTo>
                    <a:lnTo>
                      <a:pt x="3232" y="4934"/>
                    </a:lnTo>
                    <a:lnTo>
                      <a:pt x="3236" y="4936"/>
                    </a:lnTo>
                    <a:lnTo>
                      <a:pt x="3242" y="4936"/>
                    </a:lnTo>
                    <a:lnTo>
                      <a:pt x="3250" y="4936"/>
                    </a:lnTo>
                    <a:lnTo>
                      <a:pt x="3264" y="4934"/>
                    </a:lnTo>
                    <a:lnTo>
                      <a:pt x="3268" y="4932"/>
                    </a:lnTo>
                    <a:lnTo>
                      <a:pt x="3270" y="4928"/>
                    </a:lnTo>
                    <a:lnTo>
                      <a:pt x="3270" y="4928"/>
                    </a:lnTo>
                    <a:close/>
                    <a:moveTo>
                      <a:pt x="3148" y="4520"/>
                    </a:moveTo>
                    <a:lnTo>
                      <a:pt x="3148" y="4520"/>
                    </a:lnTo>
                    <a:lnTo>
                      <a:pt x="3146" y="4516"/>
                    </a:lnTo>
                    <a:lnTo>
                      <a:pt x="3138" y="4512"/>
                    </a:lnTo>
                    <a:lnTo>
                      <a:pt x="3136" y="4512"/>
                    </a:lnTo>
                    <a:lnTo>
                      <a:pt x="3132" y="4512"/>
                    </a:lnTo>
                    <a:lnTo>
                      <a:pt x="3130" y="4516"/>
                    </a:lnTo>
                    <a:lnTo>
                      <a:pt x="3130" y="4520"/>
                    </a:lnTo>
                    <a:lnTo>
                      <a:pt x="3130" y="4520"/>
                    </a:lnTo>
                    <a:lnTo>
                      <a:pt x="3130" y="4524"/>
                    </a:lnTo>
                    <a:lnTo>
                      <a:pt x="3132" y="4526"/>
                    </a:lnTo>
                    <a:lnTo>
                      <a:pt x="3136" y="4528"/>
                    </a:lnTo>
                    <a:lnTo>
                      <a:pt x="3140" y="4526"/>
                    </a:lnTo>
                    <a:lnTo>
                      <a:pt x="3146" y="4524"/>
                    </a:lnTo>
                    <a:lnTo>
                      <a:pt x="3148" y="4520"/>
                    </a:lnTo>
                    <a:lnTo>
                      <a:pt x="3148" y="4520"/>
                    </a:lnTo>
                    <a:close/>
                    <a:moveTo>
                      <a:pt x="3204" y="4288"/>
                    </a:moveTo>
                    <a:lnTo>
                      <a:pt x="3204" y="4288"/>
                    </a:lnTo>
                    <a:lnTo>
                      <a:pt x="3204" y="4290"/>
                    </a:lnTo>
                    <a:lnTo>
                      <a:pt x="3204" y="4294"/>
                    </a:lnTo>
                    <a:lnTo>
                      <a:pt x="3206" y="4296"/>
                    </a:lnTo>
                    <a:lnTo>
                      <a:pt x="3208" y="4296"/>
                    </a:lnTo>
                    <a:lnTo>
                      <a:pt x="3208" y="4296"/>
                    </a:lnTo>
                    <a:lnTo>
                      <a:pt x="3208" y="4294"/>
                    </a:lnTo>
                    <a:lnTo>
                      <a:pt x="3208" y="4292"/>
                    </a:lnTo>
                    <a:lnTo>
                      <a:pt x="3206" y="4288"/>
                    </a:lnTo>
                    <a:lnTo>
                      <a:pt x="3204" y="4288"/>
                    </a:lnTo>
                    <a:lnTo>
                      <a:pt x="3204" y="4288"/>
                    </a:lnTo>
                    <a:close/>
                    <a:moveTo>
                      <a:pt x="3186" y="4210"/>
                    </a:moveTo>
                    <a:lnTo>
                      <a:pt x="3186" y="4210"/>
                    </a:lnTo>
                    <a:lnTo>
                      <a:pt x="3184" y="4208"/>
                    </a:lnTo>
                    <a:lnTo>
                      <a:pt x="3182" y="4204"/>
                    </a:lnTo>
                    <a:lnTo>
                      <a:pt x="3178" y="4200"/>
                    </a:lnTo>
                    <a:lnTo>
                      <a:pt x="3174" y="4198"/>
                    </a:lnTo>
                    <a:lnTo>
                      <a:pt x="3174" y="4198"/>
                    </a:lnTo>
                    <a:lnTo>
                      <a:pt x="3174" y="4200"/>
                    </a:lnTo>
                    <a:lnTo>
                      <a:pt x="3174" y="4202"/>
                    </a:lnTo>
                    <a:lnTo>
                      <a:pt x="3178" y="4206"/>
                    </a:lnTo>
                    <a:lnTo>
                      <a:pt x="3178" y="4206"/>
                    </a:lnTo>
                    <a:lnTo>
                      <a:pt x="3180" y="4212"/>
                    </a:lnTo>
                    <a:lnTo>
                      <a:pt x="3184" y="4214"/>
                    </a:lnTo>
                    <a:lnTo>
                      <a:pt x="3184" y="4214"/>
                    </a:lnTo>
                    <a:lnTo>
                      <a:pt x="3190" y="4220"/>
                    </a:lnTo>
                    <a:lnTo>
                      <a:pt x="3190" y="4220"/>
                    </a:lnTo>
                    <a:lnTo>
                      <a:pt x="3192" y="4220"/>
                    </a:lnTo>
                    <a:lnTo>
                      <a:pt x="3192" y="4220"/>
                    </a:lnTo>
                    <a:lnTo>
                      <a:pt x="3190" y="4216"/>
                    </a:lnTo>
                    <a:lnTo>
                      <a:pt x="3188" y="4212"/>
                    </a:lnTo>
                    <a:lnTo>
                      <a:pt x="3186" y="4210"/>
                    </a:lnTo>
                    <a:lnTo>
                      <a:pt x="3186" y="4210"/>
                    </a:lnTo>
                    <a:close/>
                    <a:moveTo>
                      <a:pt x="3250" y="5238"/>
                    </a:moveTo>
                    <a:lnTo>
                      <a:pt x="3250" y="5238"/>
                    </a:lnTo>
                    <a:lnTo>
                      <a:pt x="3240" y="5236"/>
                    </a:lnTo>
                    <a:lnTo>
                      <a:pt x="3236" y="5234"/>
                    </a:lnTo>
                    <a:lnTo>
                      <a:pt x="3236" y="5234"/>
                    </a:lnTo>
                    <a:lnTo>
                      <a:pt x="3234" y="5234"/>
                    </a:lnTo>
                    <a:lnTo>
                      <a:pt x="3232" y="5242"/>
                    </a:lnTo>
                    <a:lnTo>
                      <a:pt x="3232" y="5242"/>
                    </a:lnTo>
                    <a:lnTo>
                      <a:pt x="3230" y="5250"/>
                    </a:lnTo>
                    <a:lnTo>
                      <a:pt x="3232" y="5250"/>
                    </a:lnTo>
                    <a:lnTo>
                      <a:pt x="3234" y="5250"/>
                    </a:lnTo>
                    <a:lnTo>
                      <a:pt x="3244" y="5248"/>
                    </a:lnTo>
                    <a:lnTo>
                      <a:pt x="3256" y="5248"/>
                    </a:lnTo>
                    <a:lnTo>
                      <a:pt x="3256" y="5248"/>
                    </a:lnTo>
                    <a:lnTo>
                      <a:pt x="3260" y="5246"/>
                    </a:lnTo>
                    <a:lnTo>
                      <a:pt x="3262" y="5246"/>
                    </a:lnTo>
                    <a:lnTo>
                      <a:pt x="3264" y="5244"/>
                    </a:lnTo>
                    <a:lnTo>
                      <a:pt x="3262" y="5242"/>
                    </a:lnTo>
                    <a:lnTo>
                      <a:pt x="3258" y="5238"/>
                    </a:lnTo>
                    <a:lnTo>
                      <a:pt x="3254" y="5236"/>
                    </a:lnTo>
                    <a:lnTo>
                      <a:pt x="3250" y="5238"/>
                    </a:lnTo>
                    <a:lnTo>
                      <a:pt x="3250" y="5238"/>
                    </a:lnTo>
                    <a:close/>
                    <a:moveTo>
                      <a:pt x="3160" y="4332"/>
                    </a:moveTo>
                    <a:lnTo>
                      <a:pt x="3160" y="4332"/>
                    </a:lnTo>
                    <a:lnTo>
                      <a:pt x="3162" y="4332"/>
                    </a:lnTo>
                    <a:lnTo>
                      <a:pt x="3166" y="4328"/>
                    </a:lnTo>
                    <a:lnTo>
                      <a:pt x="3168" y="4322"/>
                    </a:lnTo>
                    <a:lnTo>
                      <a:pt x="3166" y="4318"/>
                    </a:lnTo>
                    <a:lnTo>
                      <a:pt x="3166" y="4318"/>
                    </a:lnTo>
                    <a:lnTo>
                      <a:pt x="3164" y="4318"/>
                    </a:lnTo>
                    <a:lnTo>
                      <a:pt x="3162" y="4320"/>
                    </a:lnTo>
                    <a:lnTo>
                      <a:pt x="3160" y="4322"/>
                    </a:lnTo>
                    <a:lnTo>
                      <a:pt x="3160" y="4326"/>
                    </a:lnTo>
                    <a:lnTo>
                      <a:pt x="3160" y="4326"/>
                    </a:lnTo>
                    <a:lnTo>
                      <a:pt x="3160" y="4328"/>
                    </a:lnTo>
                    <a:lnTo>
                      <a:pt x="3158" y="4328"/>
                    </a:lnTo>
                    <a:lnTo>
                      <a:pt x="3158" y="4330"/>
                    </a:lnTo>
                    <a:lnTo>
                      <a:pt x="3160" y="4332"/>
                    </a:lnTo>
                    <a:lnTo>
                      <a:pt x="3160" y="4332"/>
                    </a:lnTo>
                    <a:close/>
                    <a:moveTo>
                      <a:pt x="3190" y="5244"/>
                    </a:moveTo>
                    <a:lnTo>
                      <a:pt x="3190" y="5244"/>
                    </a:lnTo>
                    <a:lnTo>
                      <a:pt x="3188" y="5242"/>
                    </a:lnTo>
                    <a:lnTo>
                      <a:pt x="3186" y="5240"/>
                    </a:lnTo>
                    <a:lnTo>
                      <a:pt x="3182" y="5242"/>
                    </a:lnTo>
                    <a:lnTo>
                      <a:pt x="3178" y="5244"/>
                    </a:lnTo>
                    <a:lnTo>
                      <a:pt x="3178" y="5244"/>
                    </a:lnTo>
                    <a:lnTo>
                      <a:pt x="3176" y="5248"/>
                    </a:lnTo>
                    <a:lnTo>
                      <a:pt x="3178" y="5248"/>
                    </a:lnTo>
                    <a:lnTo>
                      <a:pt x="3184" y="5248"/>
                    </a:lnTo>
                    <a:lnTo>
                      <a:pt x="3184" y="5248"/>
                    </a:lnTo>
                    <a:lnTo>
                      <a:pt x="3188" y="5248"/>
                    </a:lnTo>
                    <a:lnTo>
                      <a:pt x="3190" y="5244"/>
                    </a:lnTo>
                    <a:lnTo>
                      <a:pt x="3190" y="5244"/>
                    </a:lnTo>
                    <a:close/>
                    <a:moveTo>
                      <a:pt x="3176" y="5252"/>
                    </a:moveTo>
                    <a:lnTo>
                      <a:pt x="3176" y="5252"/>
                    </a:lnTo>
                    <a:lnTo>
                      <a:pt x="3172" y="5254"/>
                    </a:lnTo>
                    <a:lnTo>
                      <a:pt x="3172" y="5256"/>
                    </a:lnTo>
                    <a:lnTo>
                      <a:pt x="3176" y="5258"/>
                    </a:lnTo>
                    <a:lnTo>
                      <a:pt x="3180" y="5254"/>
                    </a:lnTo>
                    <a:lnTo>
                      <a:pt x="3180" y="5254"/>
                    </a:lnTo>
                    <a:lnTo>
                      <a:pt x="3182" y="5252"/>
                    </a:lnTo>
                    <a:lnTo>
                      <a:pt x="3182" y="5250"/>
                    </a:lnTo>
                    <a:lnTo>
                      <a:pt x="3176" y="5252"/>
                    </a:lnTo>
                    <a:lnTo>
                      <a:pt x="3176" y="5252"/>
                    </a:lnTo>
                    <a:close/>
                    <a:moveTo>
                      <a:pt x="3224" y="5242"/>
                    </a:moveTo>
                    <a:lnTo>
                      <a:pt x="3224" y="5242"/>
                    </a:lnTo>
                    <a:lnTo>
                      <a:pt x="3220" y="5246"/>
                    </a:lnTo>
                    <a:lnTo>
                      <a:pt x="3218" y="5246"/>
                    </a:lnTo>
                    <a:lnTo>
                      <a:pt x="3216" y="5244"/>
                    </a:lnTo>
                    <a:lnTo>
                      <a:pt x="3214" y="5248"/>
                    </a:lnTo>
                    <a:lnTo>
                      <a:pt x="3214" y="5248"/>
                    </a:lnTo>
                    <a:lnTo>
                      <a:pt x="3214" y="5250"/>
                    </a:lnTo>
                    <a:lnTo>
                      <a:pt x="3216" y="5254"/>
                    </a:lnTo>
                    <a:lnTo>
                      <a:pt x="3220" y="5256"/>
                    </a:lnTo>
                    <a:lnTo>
                      <a:pt x="3222" y="5254"/>
                    </a:lnTo>
                    <a:lnTo>
                      <a:pt x="3224" y="5252"/>
                    </a:lnTo>
                    <a:lnTo>
                      <a:pt x="3224" y="5252"/>
                    </a:lnTo>
                    <a:lnTo>
                      <a:pt x="3228" y="5246"/>
                    </a:lnTo>
                    <a:lnTo>
                      <a:pt x="3228" y="5240"/>
                    </a:lnTo>
                    <a:lnTo>
                      <a:pt x="3228" y="5238"/>
                    </a:lnTo>
                    <a:lnTo>
                      <a:pt x="3226" y="5238"/>
                    </a:lnTo>
                    <a:lnTo>
                      <a:pt x="3224" y="5242"/>
                    </a:lnTo>
                    <a:lnTo>
                      <a:pt x="3224" y="5242"/>
                    </a:lnTo>
                    <a:close/>
                    <a:moveTo>
                      <a:pt x="3202" y="5252"/>
                    </a:moveTo>
                    <a:lnTo>
                      <a:pt x="3202" y="5252"/>
                    </a:lnTo>
                    <a:lnTo>
                      <a:pt x="3204" y="5250"/>
                    </a:lnTo>
                    <a:lnTo>
                      <a:pt x="3206" y="5248"/>
                    </a:lnTo>
                    <a:lnTo>
                      <a:pt x="3206" y="5246"/>
                    </a:lnTo>
                    <a:lnTo>
                      <a:pt x="3210" y="5244"/>
                    </a:lnTo>
                    <a:lnTo>
                      <a:pt x="3210" y="5244"/>
                    </a:lnTo>
                    <a:lnTo>
                      <a:pt x="3212" y="5240"/>
                    </a:lnTo>
                    <a:lnTo>
                      <a:pt x="3212" y="5240"/>
                    </a:lnTo>
                    <a:lnTo>
                      <a:pt x="3208" y="5240"/>
                    </a:lnTo>
                    <a:lnTo>
                      <a:pt x="3208" y="5240"/>
                    </a:lnTo>
                    <a:lnTo>
                      <a:pt x="3198" y="5240"/>
                    </a:lnTo>
                    <a:lnTo>
                      <a:pt x="3194" y="5242"/>
                    </a:lnTo>
                    <a:lnTo>
                      <a:pt x="3194" y="5246"/>
                    </a:lnTo>
                    <a:lnTo>
                      <a:pt x="3194" y="5246"/>
                    </a:lnTo>
                    <a:lnTo>
                      <a:pt x="3194" y="5248"/>
                    </a:lnTo>
                    <a:lnTo>
                      <a:pt x="3194" y="5248"/>
                    </a:lnTo>
                    <a:lnTo>
                      <a:pt x="3188" y="5254"/>
                    </a:lnTo>
                    <a:lnTo>
                      <a:pt x="3188" y="5254"/>
                    </a:lnTo>
                    <a:lnTo>
                      <a:pt x="3184" y="5256"/>
                    </a:lnTo>
                    <a:lnTo>
                      <a:pt x="3186" y="5256"/>
                    </a:lnTo>
                    <a:lnTo>
                      <a:pt x="3196" y="5258"/>
                    </a:lnTo>
                    <a:lnTo>
                      <a:pt x="3196" y="5258"/>
                    </a:lnTo>
                    <a:lnTo>
                      <a:pt x="3200" y="5256"/>
                    </a:lnTo>
                    <a:lnTo>
                      <a:pt x="3200" y="5256"/>
                    </a:lnTo>
                    <a:lnTo>
                      <a:pt x="3200" y="5254"/>
                    </a:lnTo>
                    <a:lnTo>
                      <a:pt x="3202" y="5252"/>
                    </a:lnTo>
                    <a:lnTo>
                      <a:pt x="3202" y="5252"/>
                    </a:lnTo>
                    <a:close/>
                    <a:moveTo>
                      <a:pt x="3244" y="4390"/>
                    </a:moveTo>
                    <a:lnTo>
                      <a:pt x="3244" y="4390"/>
                    </a:lnTo>
                    <a:lnTo>
                      <a:pt x="3242" y="4392"/>
                    </a:lnTo>
                    <a:lnTo>
                      <a:pt x="3242" y="4394"/>
                    </a:lnTo>
                    <a:lnTo>
                      <a:pt x="3246" y="4396"/>
                    </a:lnTo>
                    <a:lnTo>
                      <a:pt x="3250" y="4396"/>
                    </a:lnTo>
                    <a:lnTo>
                      <a:pt x="3250" y="4396"/>
                    </a:lnTo>
                    <a:lnTo>
                      <a:pt x="3252" y="4394"/>
                    </a:lnTo>
                    <a:lnTo>
                      <a:pt x="3250" y="4392"/>
                    </a:lnTo>
                    <a:lnTo>
                      <a:pt x="3246" y="4390"/>
                    </a:lnTo>
                    <a:lnTo>
                      <a:pt x="3244" y="4390"/>
                    </a:lnTo>
                    <a:lnTo>
                      <a:pt x="3244" y="4390"/>
                    </a:lnTo>
                    <a:close/>
                    <a:moveTo>
                      <a:pt x="3228" y="4278"/>
                    </a:moveTo>
                    <a:lnTo>
                      <a:pt x="3228" y="4278"/>
                    </a:lnTo>
                    <a:lnTo>
                      <a:pt x="3228" y="4280"/>
                    </a:lnTo>
                    <a:lnTo>
                      <a:pt x="3230" y="4284"/>
                    </a:lnTo>
                    <a:lnTo>
                      <a:pt x="3234" y="4290"/>
                    </a:lnTo>
                    <a:lnTo>
                      <a:pt x="3234" y="4294"/>
                    </a:lnTo>
                    <a:lnTo>
                      <a:pt x="3234" y="4294"/>
                    </a:lnTo>
                    <a:lnTo>
                      <a:pt x="3232" y="4298"/>
                    </a:lnTo>
                    <a:lnTo>
                      <a:pt x="3234" y="4300"/>
                    </a:lnTo>
                    <a:lnTo>
                      <a:pt x="3234" y="4302"/>
                    </a:lnTo>
                    <a:lnTo>
                      <a:pt x="3232" y="4304"/>
                    </a:lnTo>
                    <a:lnTo>
                      <a:pt x="3232" y="4304"/>
                    </a:lnTo>
                    <a:lnTo>
                      <a:pt x="3232" y="4306"/>
                    </a:lnTo>
                    <a:lnTo>
                      <a:pt x="3232" y="4306"/>
                    </a:lnTo>
                    <a:lnTo>
                      <a:pt x="3234" y="4308"/>
                    </a:lnTo>
                    <a:lnTo>
                      <a:pt x="3238" y="4308"/>
                    </a:lnTo>
                    <a:lnTo>
                      <a:pt x="3240" y="4306"/>
                    </a:lnTo>
                    <a:lnTo>
                      <a:pt x="3240" y="4306"/>
                    </a:lnTo>
                    <a:lnTo>
                      <a:pt x="3240" y="4304"/>
                    </a:lnTo>
                    <a:lnTo>
                      <a:pt x="3242" y="4304"/>
                    </a:lnTo>
                    <a:lnTo>
                      <a:pt x="3246" y="4308"/>
                    </a:lnTo>
                    <a:lnTo>
                      <a:pt x="3248" y="4314"/>
                    </a:lnTo>
                    <a:lnTo>
                      <a:pt x="3248" y="4318"/>
                    </a:lnTo>
                    <a:lnTo>
                      <a:pt x="3248" y="4322"/>
                    </a:lnTo>
                    <a:lnTo>
                      <a:pt x="3248" y="4322"/>
                    </a:lnTo>
                    <a:lnTo>
                      <a:pt x="3246" y="4328"/>
                    </a:lnTo>
                    <a:lnTo>
                      <a:pt x="3248" y="4332"/>
                    </a:lnTo>
                    <a:lnTo>
                      <a:pt x="3248" y="4334"/>
                    </a:lnTo>
                    <a:lnTo>
                      <a:pt x="3248" y="4338"/>
                    </a:lnTo>
                    <a:lnTo>
                      <a:pt x="3248" y="4338"/>
                    </a:lnTo>
                    <a:lnTo>
                      <a:pt x="3246" y="4342"/>
                    </a:lnTo>
                    <a:lnTo>
                      <a:pt x="3248" y="4344"/>
                    </a:lnTo>
                    <a:lnTo>
                      <a:pt x="3256" y="4348"/>
                    </a:lnTo>
                    <a:lnTo>
                      <a:pt x="3256" y="4348"/>
                    </a:lnTo>
                    <a:lnTo>
                      <a:pt x="3258" y="4350"/>
                    </a:lnTo>
                    <a:lnTo>
                      <a:pt x="3258" y="4350"/>
                    </a:lnTo>
                    <a:lnTo>
                      <a:pt x="3258" y="4344"/>
                    </a:lnTo>
                    <a:lnTo>
                      <a:pt x="3256" y="4338"/>
                    </a:lnTo>
                    <a:lnTo>
                      <a:pt x="3256" y="4336"/>
                    </a:lnTo>
                    <a:lnTo>
                      <a:pt x="3256" y="4334"/>
                    </a:lnTo>
                    <a:lnTo>
                      <a:pt x="3256" y="4334"/>
                    </a:lnTo>
                    <a:lnTo>
                      <a:pt x="3258" y="4336"/>
                    </a:lnTo>
                    <a:lnTo>
                      <a:pt x="3260" y="4342"/>
                    </a:lnTo>
                    <a:lnTo>
                      <a:pt x="3262" y="4348"/>
                    </a:lnTo>
                    <a:lnTo>
                      <a:pt x="3266" y="4354"/>
                    </a:lnTo>
                    <a:lnTo>
                      <a:pt x="3266" y="4354"/>
                    </a:lnTo>
                    <a:lnTo>
                      <a:pt x="3270" y="4356"/>
                    </a:lnTo>
                    <a:lnTo>
                      <a:pt x="3270" y="4354"/>
                    </a:lnTo>
                    <a:lnTo>
                      <a:pt x="3266" y="4344"/>
                    </a:lnTo>
                    <a:lnTo>
                      <a:pt x="3266" y="4344"/>
                    </a:lnTo>
                    <a:lnTo>
                      <a:pt x="3264" y="4342"/>
                    </a:lnTo>
                    <a:lnTo>
                      <a:pt x="3266" y="4342"/>
                    </a:lnTo>
                    <a:lnTo>
                      <a:pt x="3268" y="4340"/>
                    </a:lnTo>
                    <a:lnTo>
                      <a:pt x="3270" y="4338"/>
                    </a:lnTo>
                    <a:lnTo>
                      <a:pt x="3268" y="4332"/>
                    </a:lnTo>
                    <a:lnTo>
                      <a:pt x="3268" y="4332"/>
                    </a:lnTo>
                    <a:lnTo>
                      <a:pt x="3266" y="4330"/>
                    </a:lnTo>
                    <a:lnTo>
                      <a:pt x="3266" y="4326"/>
                    </a:lnTo>
                    <a:lnTo>
                      <a:pt x="3264" y="4322"/>
                    </a:lnTo>
                    <a:lnTo>
                      <a:pt x="3260" y="4318"/>
                    </a:lnTo>
                    <a:lnTo>
                      <a:pt x="3260" y="4318"/>
                    </a:lnTo>
                    <a:lnTo>
                      <a:pt x="3260" y="4316"/>
                    </a:lnTo>
                    <a:lnTo>
                      <a:pt x="3258" y="4312"/>
                    </a:lnTo>
                    <a:lnTo>
                      <a:pt x="3258" y="4304"/>
                    </a:lnTo>
                    <a:lnTo>
                      <a:pt x="3258" y="4296"/>
                    </a:lnTo>
                    <a:lnTo>
                      <a:pt x="3258" y="4294"/>
                    </a:lnTo>
                    <a:lnTo>
                      <a:pt x="3256" y="4292"/>
                    </a:lnTo>
                    <a:lnTo>
                      <a:pt x="3256" y="4292"/>
                    </a:lnTo>
                    <a:lnTo>
                      <a:pt x="3254" y="4290"/>
                    </a:lnTo>
                    <a:lnTo>
                      <a:pt x="3256" y="4288"/>
                    </a:lnTo>
                    <a:lnTo>
                      <a:pt x="3256" y="4284"/>
                    </a:lnTo>
                    <a:lnTo>
                      <a:pt x="3252" y="4284"/>
                    </a:lnTo>
                    <a:lnTo>
                      <a:pt x="3252" y="4284"/>
                    </a:lnTo>
                    <a:lnTo>
                      <a:pt x="3248" y="4284"/>
                    </a:lnTo>
                    <a:lnTo>
                      <a:pt x="3246" y="4286"/>
                    </a:lnTo>
                    <a:lnTo>
                      <a:pt x="3244" y="4288"/>
                    </a:lnTo>
                    <a:lnTo>
                      <a:pt x="3240" y="4286"/>
                    </a:lnTo>
                    <a:lnTo>
                      <a:pt x="3240" y="4286"/>
                    </a:lnTo>
                    <a:lnTo>
                      <a:pt x="3234" y="4280"/>
                    </a:lnTo>
                    <a:lnTo>
                      <a:pt x="3230" y="4278"/>
                    </a:lnTo>
                    <a:lnTo>
                      <a:pt x="3228" y="4278"/>
                    </a:lnTo>
                    <a:lnTo>
                      <a:pt x="3228" y="4278"/>
                    </a:lnTo>
                    <a:close/>
                    <a:moveTo>
                      <a:pt x="3292" y="3100"/>
                    </a:moveTo>
                    <a:lnTo>
                      <a:pt x="3292" y="3100"/>
                    </a:lnTo>
                    <a:lnTo>
                      <a:pt x="3294" y="3100"/>
                    </a:lnTo>
                    <a:lnTo>
                      <a:pt x="3294" y="3100"/>
                    </a:lnTo>
                    <a:lnTo>
                      <a:pt x="3296" y="3094"/>
                    </a:lnTo>
                    <a:lnTo>
                      <a:pt x="3296" y="3094"/>
                    </a:lnTo>
                    <a:lnTo>
                      <a:pt x="3296" y="3092"/>
                    </a:lnTo>
                    <a:lnTo>
                      <a:pt x="3294" y="3094"/>
                    </a:lnTo>
                    <a:lnTo>
                      <a:pt x="3292" y="3096"/>
                    </a:lnTo>
                    <a:lnTo>
                      <a:pt x="3292" y="3100"/>
                    </a:lnTo>
                    <a:lnTo>
                      <a:pt x="3292" y="3100"/>
                    </a:lnTo>
                    <a:close/>
                    <a:moveTo>
                      <a:pt x="3208" y="4238"/>
                    </a:moveTo>
                    <a:lnTo>
                      <a:pt x="3208" y="4238"/>
                    </a:lnTo>
                    <a:lnTo>
                      <a:pt x="3210" y="4234"/>
                    </a:lnTo>
                    <a:lnTo>
                      <a:pt x="3208" y="4228"/>
                    </a:lnTo>
                    <a:lnTo>
                      <a:pt x="3204" y="4224"/>
                    </a:lnTo>
                    <a:lnTo>
                      <a:pt x="3202" y="4222"/>
                    </a:lnTo>
                    <a:lnTo>
                      <a:pt x="3202" y="4222"/>
                    </a:lnTo>
                    <a:lnTo>
                      <a:pt x="3200" y="4222"/>
                    </a:lnTo>
                    <a:lnTo>
                      <a:pt x="3200" y="4224"/>
                    </a:lnTo>
                    <a:lnTo>
                      <a:pt x="3204" y="4230"/>
                    </a:lnTo>
                    <a:lnTo>
                      <a:pt x="3208" y="4238"/>
                    </a:lnTo>
                    <a:lnTo>
                      <a:pt x="3208" y="4238"/>
                    </a:lnTo>
                    <a:close/>
                    <a:moveTo>
                      <a:pt x="3164" y="4238"/>
                    </a:moveTo>
                    <a:lnTo>
                      <a:pt x="3164" y="4238"/>
                    </a:lnTo>
                    <a:lnTo>
                      <a:pt x="3164" y="4232"/>
                    </a:lnTo>
                    <a:lnTo>
                      <a:pt x="3162" y="4230"/>
                    </a:lnTo>
                    <a:lnTo>
                      <a:pt x="3158" y="4230"/>
                    </a:lnTo>
                    <a:lnTo>
                      <a:pt x="3154" y="4232"/>
                    </a:lnTo>
                    <a:lnTo>
                      <a:pt x="3154" y="4232"/>
                    </a:lnTo>
                    <a:lnTo>
                      <a:pt x="3152" y="4232"/>
                    </a:lnTo>
                    <a:lnTo>
                      <a:pt x="3154" y="4234"/>
                    </a:lnTo>
                    <a:lnTo>
                      <a:pt x="3156" y="4236"/>
                    </a:lnTo>
                    <a:lnTo>
                      <a:pt x="3156" y="4236"/>
                    </a:lnTo>
                    <a:lnTo>
                      <a:pt x="3160" y="4240"/>
                    </a:lnTo>
                    <a:lnTo>
                      <a:pt x="3162" y="4240"/>
                    </a:lnTo>
                    <a:lnTo>
                      <a:pt x="3164" y="4238"/>
                    </a:lnTo>
                    <a:lnTo>
                      <a:pt x="3164" y="4238"/>
                    </a:lnTo>
                    <a:close/>
                    <a:moveTo>
                      <a:pt x="3196" y="4228"/>
                    </a:moveTo>
                    <a:lnTo>
                      <a:pt x="3196" y="4228"/>
                    </a:lnTo>
                    <a:lnTo>
                      <a:pt x="3192" y="4228"/>
                    </a:lnTo>
                    <a:lnTo>
                      <a:pt x="3190" y="4228"/>
                    </a:lnTo>
                    <a:lnTo>
                      <a:pt x="3188" y="4228"/>
                    </a:lnTo>
                    <a:lnTo>
                      <a:pt x="3186" y="4232"/>
                    </a:lnTo>
                    <a:lnTo>
                      <a:pt x="3186" y="4232"/>
                    </a:lnTo>
                    <a:lnTo>
                      <a:pt x="3188" y="4238"/>
                    </a:lnTo>
                    <a:lnTo>
                      <a:pt x="3186" y="4242"/>
                    </a:lnTo>
                    <a:lnTo>
                      <a:pt x="3182" y="4256"/>
                    </a:lnTo>
                    <a:lnTo>
                      <a:pt x="3182" y="4256"/>
                    </a:lnTo>
                    <a:lnTo>
                      <a:pt x="3182" y="4258"/>
                    </a:lnTo>
                    <a:lnTo>
                      <a:pt x="3184" y="4258"/>
                    </a:lnTo>
                    <a:lnTo>
                      <a:pt x="3186" y="4254"/>
                    </a:lnTo>
                    <a:lnTo>
                      <a:pt x="3196" y="4244"/>
                    </a:lnTo>
                    <a:lnTo>
                      <a:pt x="3196" y="4244"/>
                    </a:lnTo>
                    <a:lnTo>
                      <a:pt x="3198" y="4244"/>
                    </a:lnTo>
                    <a:lnTo>
                      <a:pt x="3200" y="4244"/>
                    </a:lnTo>
                    <a:lnTo>
                      <a:pt x="3202" y="4250"/>
                    </a:lnTo>
                    <a:lnTo>
                      <a:pt x="3204" y="4256"/>
                    </a:lnTo>
                    <a:lnTo>
                      <a:pt x="3206" y="4258"/>
                    </a:lnTo>
                    <a:lnTo>
                      <a:pt x="3208" y="4260"/>
                    </a:lnTo>
                    <a:lnTo>
                      <a:pt x="3208" y="4260"/>
                    </a:lnTo>
                    <a:lnTo>
                      <a:pt x="3212" y="4262"/>
                    </a:lnTo>
                    <a:lnTo>
                      <a:pt x="3218" y="4266"/>
                    </a:lnTo>
                    <a:lnTo>
                      <a:pt x="3222" y="4268"/>
                    </a:lnTo>
                    <a:lnTo>
                      <a:pt x="3220" y="4264"/>
                    </a:lnTo>
                    <a:lnTo>
                      <a:pt x="3220" y="4264"/>
                    </a:lnTo>
                    <a:lnTo>
                      <a:pt x="3218" y="4258"/>
                    </a:lnTo>
                    <a:lnTo>
                      <a:pt x="3216" y="4252"/>
                    </a:lnTo>
                    <a:lnTo>
                      <a:pt x="3214" y="4246"/>
                    </a:lnTo>
                    <a:lnTo>
                      <a:pt x="3210" y="4242"/>
                    </a:lnTo>
                    <a:lnTo>
                      <a:pt x="3210" y="4242"/>
                    </a:lnTo>
                    <a:lnTo>
                      <a:pt x="3206" y="4240"/>
                    </a:lnTo>
                    <a:lnTo>
                      <a:pt x="3202" y="4234"/>
                    </a:lnTo>
                    <a:lnTo>
                      <a:pt x="3198" y="4230"/>
                    </a:lnTo>
                    <a:lnTo>
                      <a:pt x="3196" y="4228"/>
                    </a:lnTo>
                    <a:lnTo>
                      <a:pt x="3196" y="4228"/>
                    </a:lnTo>
                    <a:close/>
                    <a:moveTo>
                      <a:pt x="3152" y="5104"/>
                    </a:moveTo>
                    <a:lnTo>
                      <a:pt x="3152" y="5104"/>
                    </a:lnTo>
                    <a:lnTo>
                      <a:pt x="3160" y="5100"/>
                    </a:lnTo>
                    <a:lnTo>
                      <a:pt x="3162" y="5098"/>
                    </a:lnTo>
                    <a:lnTo>
                      <a:pt x="3162" y="5094"/>
                    </a:lnTo>
                    <a:lnTo>
                      <a:pt x="3162" y="5094"/>
                    </a:lnTo>
                    <a:lnTo>
                      <a:pt x="3160" y="5090"/>
                    </a:lnTo>
                    <a:lnTo>
                      <a:pt x="3162" y="5084"/>
                    </a:lnTo>
                    <a:lnTo>
                      <a:pt x="3164" y="5078"/>
                    </a:lnTo>
                    <a:lnTo>
                      <a:pt x="3166" y="5070"/>
                    </a:lnTo>
                    <a:lnTo>
                      <a:pt x="3166" y="5070"/>
                    </a:lnTo>
                    <a:lnTo>
                      <a:pt x="3164" y="5066"/>
                    </a:lnTo>
                    <a:lnTo>
                      <a:pt x="3164" y="5064"/>
                    </a:lnTo>
                    <a:lnTo>
                      <a:pt x="3160" y="5064"/>
                    </a:lnTo>
                    <a:lnTo>
                      <a:pt x="3158" y="5064"/>
                    </a:lnTo>
                    <a:lnTo>
                      <a:pt x="3152" y="5070"/>
                    </a:lnTo>
                    <a:lnTo>
                      <a:pt x="3150" y="5074"/>
                    </a:lnTo>
                    <a:lnTo>
                      <a:pt x="3150" y="5078"/>
                    </a:lnTo>
                    <a:lnTo>
                      <a:pt x="3150" y="5078"/>
                    </a:lnTo>
                    <a:lnTo>
                      <a:pt x="3150" y="5090"/>
                    </a:lnTo>
                    <a:lnTo>
                      <a:pt x="3148" y="5098"/>
                    </a:lnTo>
                    <a:lnTo>
                      <a:pt x="3148" y="5104"/>
                    </a:lnTo>
                    <a:lnTo>
                      <a:pt x="3148" y="5106"/>
                    </a:lnTo>
                    <a:lnTo>
                      <a:pt x="3152" y="5104"/>
                    </a:lnTo>
                    <a:lnTo>
                      <a:pt x="3152" y="5104"/>
                    </a:lnTo>
                    <a:close/>
                    <a:moveTo>
                      <a:pt x="3192" y="4332"/>
                    </a:moveTo>
                    <a:lnTo>
                      <a:pt x="3192" y="4332"/>
                    </a:lnTo>
                    <a:lnTo>
                      <a:pt x="3198" y="4322"/>
                    </a:lnTo>
                    <a:lnTo>
                      <a:pt x="3198" y="4314"/>
                    </a:lnTo>
                    <a:lnTo>
                      <a:pt x="3196" y="4308"/>
                    </a:lnTo>
                    <a:lnTo>
                      <a:pt x="3196" y="4306"/>
                    </a:lnTo>
                    <a:lnTo>
                      <a:pt x="3192" y="4306"/>
                    </a:lnTo>
                    <a:lnTo>
                      <a:pt x="3192" y="4306"/>
                    </a:lnTo>
                    <a:lnTo>
                      <a:pt x="3190" y="4304"/>
                    </a:lnTo>
                    <a:lnTo>
                      <a:pt x="3186" y="4304"/>
                    </a:lnTo>
                    <a:lnTo>
                      <a:pt x="3184" y="4304"/>
                    </a:lnTo>
                    <a:lnTo>
                      <a:pt x="3178" y="4306"/>
                    </a:lnTo>
                    <a:lnTo>
                      <a:pt x="3178" y="4306"/>
                    </a:lnTo>
                    <a:lnTo>
                      <a:pt x="3176" y="4310"/>
                    </a:lnTo>
                    <a:lnTo>
                      <a:pt x="3174" y="4312"/>
                    </a:lnTo>
                    <a:lnTo>
                      <a:pt x="3174" y="4316"/>
                    </a:lnTo>
                    <a:lnTo>
                      <a:pt x="3176" y="4320"/>
                    </a:lnTo>
                    <a:lnTo>
                      <a:pt x="3174" y="4322"/>
                    </a:lnTo>
                    <a:lnTo>
                      <a:pt x="3172" y="4324"/>
                    </a:lnTo>
                    <a:lnTo>
                      <a:pt x="3172" y="4324"/>
                    </a:lnTo>
                    <a:lnTo>
                      <a:pt x="3170" y="4326"/>
                    </a:lnTo>
                    <a:lnTo>
                      <a:pt x="3170" y="4330"/>
                    </a:lnTo>
                    <a:lnTo>
                      <a:pt x="3172" y="4336"/>
                    </a:lnTo>
                    <a:lnTo>
                      <a:pt x="3172" y="4344"/>
                    </a:lnTo>
                    <a:lnTo>
                      <a:pt x="3172" y="4348"/>
                    </a:lnTo>
                    <a:lnTo>
                      <a:pt x="3168" y="4352"/>
                    </a:lnTo>
                    <a:lnTo>
                      <a:pt x="3168" y="4352"/>
                    </a:lnTo>
                    <a:lnTo>
                      <a:pt x="3164" y="4354"/>
                    </a:lnTo>
                    <a:lnTo>
                      <a:pt x="3162" y="4354"/>
                    </a:lnTo>
                    <a:lnTo>
                      <a:pt x="3158" y="4352"/>
                    </a:lnTo>
                    <a:lnTo>
                      <a:pt x="3154" y="4352"/>
                    </a:lnTo>
                    <a:lnTo>
                      <a:pt x="3152" y="4358"/>
                    </a:lnTo>
                    <a:lnTo>
                      <a:pt x="3152" y="4358"/>
                    </a:lnTo>
                    <a:lnTo>
                      <a:pt x="3152" y="4364"/>
                    </a:lnTo>
                    <a:lnTo>
                      <a:pt x="3156" y="4372"/>
                    </a:lnTo>
                    <a:lnTo>
                      <a:pt x="3156" y="4372"/>
                    </a:lnTo>
                    <a:lnTo>
                      <a:pt x="3162" y="4380"/>
                    </a:lnTo>
                    <a:lnTo>
                      <a:pt x="3166" y="4382"/>
                    </a:lnTo>
                    <a:lnTo>
                      <a:pt x="3170" y="4384"/>
                    </a:lnTo>
                    <a:lnTo>
                      <a:pt x="3172" y="4392"/>
                    </a:lnTo>
                    <a:lnTo>
                      <a:pt x="3172" y="4392"/>
                    </a:lnTo>
                    <a:lnTo>
                      <a:pt x="3176" y="4398"/>
                    </a:lnTo>
                    <a:lnTo>
                      <a:pt x="3178" y="4400"/>
                    </a:lnTo>
                    <a:lnTo>
                      <a:pt x="3180" y="4400"/>
                    </a:lnTo>
                    <a:lnTo>
                      <a:pt x="3184" y="4396"/>
                    </a:lnTo>
                    <a:lnTo>
                      <a:pt x="3188" y="4392"/>
                    </a:lnTo>
                    <a:lnTo>
                      <a:pt x="3188" y="4392"/>
                    </a:lnTo>
                    <a:lnTo>
                      <a:pt x="3190" y="4388"/>
                    </a:lnTo>
                    <a:lnTo>
                      <a:pt x="3190" y="4384"/>
                    </a:lnTo>
                    <a:lnTo>
                      <a:pt x="3186" y="4376"/>
                    </a:lnTo>
                    <a:lnTo>
                      <a:pt x="3182" y="4364"/>
                    </a:lnTo>
                    <a:lnTo>
                      <a:pt x="3182" y="4360"/>
                    </a:lnTo>
                    <a:lnTo>
                      <a:pt x="3184" y="4356"/>
                    </a:lnTo>
                    <a:lnTo>
                      <a:pt x="3184" y="4356"/>
                    </a:lnTo>
                    <a:lnTo>
                      <a:pt x="3188" y="4348"/>
                    </a:lnTo>
                    <a:lnTo>
                      <a:pt x="3188" y="4344"/>
                    </a:lnTo>
                    <a:lnTo>
                      <a:pt x="3190" y="4338"/>
                    </a:lnTo>
                    <a:lnTo>
                      <a:pt x="3192" y="4332"/>
                    </a:lnTo>
                    <a:lnTo>
                      <a:pt x="3192" y="4332"/>
                    </a:lnTo>
                    <a:close/>
                    <a:moveTo>
                      <a:pt x="3202" y="4390"/>
                    </a:moveTo>
                    <a:lnTo>
                      <a:pt x="3202" y="4390"/>
                    </a:lnTo>
                    <a:lnTo>
                      <a:pt x="3200" y="4392"/>
                    </a:lnTo>
                    <a:lnTo>
                      <a:pt x="3196" y="4392"/>
                    </a:lnTo>
                    <a:lnTo>
                      <a:pt x="3196" y="4392"/>
                    </a:lnTo>
                    <a:lnTo>
                      <a:pt x="3196" y="4392"/>
                    </a:lnTo>
                    <a:lnTo>
                      <a:pt x="3198" y="4394"/>
                    </a:lnTo>
                    <a:lnTo>
                      <a:pt x="3202" y="4396"/>
                    </a:lnTo>
                    <a:lnTo>
                      <a:pt x="3204" y="4396"/>
                    </a:lnTo>
                    <a:lnTo>
                      <a:pt x="3204" y="4396"/>
                    </a:lnTo>
                    <a:lnTo>
                      <a:pt x="3206" y="4394"/>
                    </a:lnTo>
                    <a:lnTo>
                      <a:pt x="3204" y="4390"/>
                    </a:lnTo>
                    <a:lnTo>
                      <a:pt x="3202" y="4388"/>
                    </a:lnTo>
                    <a:lnTo>
                      <a:pt x="3202" y="4390"/>
                    </a:lnTo>
                    <a:lnTo>
                      <a:pt x="3202" y="4390"/>
                    </a:lnTo>
                    <a:close/>
                    <a:moveTo>
                      <a:pt x="3218" y="4324"/>
                    </a:moveTo>
                    <a:lnTo>
                      <a:pt x="3218" y="4324"/>
                    </a:lnTo>
                    <a:lnTo>
                      <a:pt x="3218" y="4318"/>
                    </a:lnTo>
                    <a:lnTo>
                      <a:pt x="3220" y="4314"/>
                    </a:lnTo>
                    <a:lnTo>
                      <a:pt x="3222" y="4310"/>
                    </a:lnTo>
                    <a:lnTo>
                      <a:pt x="3222" y="4308"/>
                    </a:lnTo>
                    <a:lnTo>
                      <a:pt x="3222" y="4308"/>
                    </a:lnTo>
                    <a:lnTo>
                      <a:pt x="3220" y="4300"/>
                    </a:lnTo>
                    <a:lnTo>
                      <a:pt x="3220" y="4292"/>
                    </a:lnTo>
                    <a:lnTo>
                      <a:pt x="3218" y="4290"/>
                    </a:lnTo>
                    <a:lnTo>
                      <a:pt x="3218" y="4290"/>
                    </a:lnTo>
                    <a:lnTo>
                      <a:pt x="3216" y="4298"/>
                    </a:lnTo>
                    <a:lnTo>
                      <a:pt x="3216" y="4298"/>
                    </a:lnTo>
                    <a:lnTo>
                      <a:pt x="3210" y="4312"/>
                    </a:lnTo>
                    <a:lnTo>
                      <a:pt x="3208" y="4316"/>
                    </a:lnTo>
                    <a:lnTo>
                      <a:pt x="3206" y="4324"/>
                    </a:lnTo>
                    <a:lnTo>
                      <a:pt x="3206" y="4324"/>
                    </a:lnTo>
                    <a:lnTo>
                      <a:pt x="3204" y="4334"/>
                    </a:lnTo>
                    <a:lnTo>
                      <a:pt x="3198" y="4342"/>
                    </a:lnTo>
                    <a:lnTo>
                      <a:pt x="3194" y="4348"/>
                    </a:lnTo>
                    <a:lnTo>
                      <a:pt x="3192" y="4354"/>
                    </a:lnTo>
                    <a:lnTo>
                      <a:pt x="3192" y="4354"/>
                    </a:lnTo>
                    <a:lnTo>
                      <a:pt x="3192" y="4362"/>
                    </a:lnTo>
                    <a:lnTo>
                      <a:pt x="3190" y="4374"/>
                    </a:lnTo>
                    <a:lnTo>
                      <a:pt x="3190" y="4374"/>
                    </a:lnTo>
                    <a:lnTo>
                      <a:pt x="3190" y="4380"/>
                    </a:lnTo>
                    <a:lnTo>
                      <a:pt x="3192" y="4380"/>
                    </a:lnTo>
                    <a:lnTo>
                      <a:pt x="3192" y="4380"/>
                    </a:lnTo>
                    <a:lnTo>
                      <a:pt x="3194" y="4376"/>
                    </a:lnTo>
                    <a:lnTo>
                      <a:pt x="3198" y="4368"/>
                    </a:lnTo>
                    <a:lnTo>
                      <a:pt x="3198" y="4368"/>
                    </a:lnTo>
                    <a:lnTo>
                      <a:pt x="3200" y="4362"/>
                    </a:lnTo>
                    <a:lnTo>
                      <a:pt x="3202" y="4360"/>
                    </a:lnTo>
                    <a:lnTo>
                      <a:pt x="3204" y="4358"/>
                    </a:lnTo>
                    <a:lnTo>
                      <a:pt x="3204" y="4352"/>
                    </a:lnTo>
                    <a:lnTo>
                      <a:pt x="3204" y="4352"/>
                    </a:lnTo>
                    <a:lnTo>
                      <a:pt x="3204" y="4348"/>
                    </a:lnTo>
                    <a:lnTo>
                      <a:pt x="3206" y="4344"/>
                    </a:lnTo>
                    <a:lnTo>
                      <a:pt x="3212" y="4340"/>
                    </a:lnTo>
                    <a:lnTo>
                      <a:pt x="3218" y="4332"/>
                    </a:lnTo>
                    <a:lnTo>
                      <a:pt x="3220" y="4328"/>
                    </a:lnTo>
                    <a:lnTo>
                      <a:pt x="3218" y="4324"/>
                    </a:lnTo>
                    <a:lnTo>
                      <a:pt x="3218" y="4324"/>
                    </a:lnTo>
                    <a:close/>
                    <a:moveTo>
                      <a:pt x="3226" y="4342"/>
                    </a:moveTo>
                    <a:lnTo>
                      <a:pt x="3226" y="4342"/>
                    </a:lnTo>
                    <a:lnTo>
                      <a:pt x="3222" y="4350"/>
                    </a:lnTo>
                    <a:lnTo>
                      <a:pt x="3216" y="4354"/>
                    </a:lnTo>
                    <a:lnTo>
                      <a:pt x="3216" y="4354"/>
                    </a:lnTo>
                    <a:lnTo>
                      <a:pt x="3214" y="4356"/>
                    </a:lnTo>
                    <a:lnTo>
                      <a:pt x="3210" y="4360"/>
                    </a:lnTo>
                    <a:lnTo>
                      <a:pt x="3210" y="4364"/>
                    </a:lnTo>
                    <a:lnTo>
                      <a:pt x="3212" y="4368"/>
                    </a:lnTo>
                    <a:lnTo>
                      <a:pt x="3212" y="4368"/>
                    </a:lnTo>
                    <a:lnTo>
                      <a:pt x="3214" y="4370"/>
                    </a:lnTo>
                    <a:lnTo>
                      <a:pt x="3216" y="4372"/>
                    </a:lnTo>
                    <a:lnTo>
                      <a:pt x="3224" y="4372"/>
                    </a:lnTo>
                    <a:lnTo>
                      <a:pt x="3230" y="4370"/>
                    </a:lnTo>
                    <a:lnTo>
                      <a:pt x="3234" y="4368"/>
                    </a:lnTo>
                    <a:lnTo>
                      <a:pt x="3234" y="4368"/>
                    </a:lnTo>
                    <a:lnTo>
                      <a:pt x="3236" y="4366"/>
                    </a:lnTo>
                    <a:lnTo>
                      <a:pt x="3240" y="4366"/>
                    </a:lnTo>
                    <a:lnTo>
                      <a:pt x="3240" y="4364"/>
                    </a:lnTo>
                    <a:lnTo>
                      <a:pt x="3240" y="4362"/>
                    </a:lnTo>
                    <a:lnTo>
                      <a:pt x="3240" y="4362"/>
                    </a:lnTo>
                    <a:lnTo>
                      <a:pt x="3240" y="4356"/>
                    </a:lnTo>
                    <a:lnTo>
                      <a:pt x="3242" y="4352"/>
                    </a:lnTo>
                    <a:lnTo>
                      <a:pt x="3242" y="4346"/>
                    </a:lnTo>
                    <a:lnTo>
                      <a:pt x="3242" y="4344"/>
                    </a:lnTo>
                    <a:lnTo>
                      <a:pt x="3242" y="4344"/>
                    </a:lnTo>
                    <a:lnTo>
                      <a:pt x="3240" y="4344"/>
                    </a:lnTo>
                    <a:lnTo>
                      <a:pt x="3238" y="4346"/>
                    </a:lnTo>
                    <a:lnTo>
                      <a:pt x="3238" y="4348"/>
                    </a:lnTo>
                    <a:lnTo>
                      <a:pt x="3234" y="4348"/>
                    </a:lnTo>
                    <a:lnTo>
                      <a:pt x="3234" y="4348"/>
                    </a:lnTo>
                    <a:lnTo>
                      <a:pt x="3232" y="4346"/>
                    </a:lnTo>
                    <a:lnTo>
                      <a:pt x="3228" y="4342"/>
                    </a:lnTo>
                    <a:lnTo>
                      <a:pt x="3228" y="4340"/>
                    </a:lnTo>
                    <a:lnTo>
                      <a:pt x="3226" y="4342"/>
                    </a:lnTo>
                    <a:lnTo>
                      <a:pt x="3226" y="4342"/>
                    </a:lnTo>
                    <a:close/>
                    <a:moveTo>
                      <a:pt x="3240" y="4278"/>
                    </a:moveTo>
                    <a:lnTo>
                      <a:pt x="3240" y="4278"/>
                    </a:lnTo>
                    <a:lnTo>
                      <a:pt x="3242" y="4278"/>
                    </a:lnTo>
                    <a:lnTo>
                      <a:pt x="3242" y="4274"/>
                    </a:lnTo>
                    <a:lnTo>
                      <a:pt x="3240" y="4270"/>
                    </a:lnTo>
                    <a:lnTo>
                      <a:pt x="3236" y="4270"/>
                    </a:lnTo>
                    <a:lnTo>
                      <a:pt x="3236" y="4270"/>
                    </a:lnTo>
                    <a:lnTo>
                      <a:pt x="3234" y="4270"/>
                    </a:lnTo>
                    <a:lnTo>
                      <a:pt x="3234" y="4274"/>
                    </a:lnTo>
                    <a:lnTo>
                      <a:pt x="3236" y="4278"/>
                    </a:lnTo>
                    <a:lnTo>
                      <a:pt x="3240" y="4278"/>
                    </a:lnTo>
                    <a:lnTo>
                      <a:pt x="3240" y="4278"/>
                    </a:lnTo>
                    <a:close/>
                    <a:moveTo>
                      <a:pt x="3164" y="5116"/>
                    </a:moveTo>
                    <a:lnTo>
                      <a:pt x="3164" y="5116"/>
                    </a:lnTo>
                    <a:lnTo>
                      <a:pt x="3166" y="5118"/>
                    </a:lnTo>
                    <a:lnTo>
                      <a:pt x="3168" y="5116"/>
                    </a:lnTo>
                    <a:lnTo>
                      <a:pt x="3172" y="5110"/>
                    </a:lnTo>
                    <a:lnTo>
                      <a:pt x="3172" y="5110"/>
                    </a:lnTo>
                    <a:lnTo>
                      <a:pt x="3174" y="5106"/>
                    </a:lnTo>
                    <a:lnTo>
                      <a:pt x="3176" y="5104"/>
                    </a:lnTo>
                    <a:lnTo>
                      <a:pt x="3182" y="5102"/>
                    </a:lnTo>
                    <a:lnTo>
                      <a:pt x="3184" y="5102"/>
                    </a:lnTo>
                    <a:lnTo>
                      <a:pt x="3186" y="5100"/>
                    </a:lnTo>
                    <a:lnTo>
                      <a:pt x="3180" y="5092"/>
                    </a:lnTo>
                    <a:lnTo>
                      <a:pt x="3180" y="5092"/>
                    </a:lnTo>
                    <a:lnTo>
                      <a:pt x="3176" y="5086"/>
                    </a:lnTo>
                    <a:lnTo>
                      <a:pt x="3176" y="5082"/>
                    </a:lnTo>
                    <a:lnTo>
                      <a:pt x="3176" y="5078"/>
                    </a:lnTo>
                    <a:lnTo>
                      <a:pt x="3178" y="5076"/>
                    </a:lnTo>
                    <a:lnTo>
                      <a:pt x="3184" y="5070"/>
                    </a:lnTo>
                    <a:lnTo>
                      <a:pt x="3184" y="5064"/>
                    </a:lnTo>
                    <a:lnTo>
                      <a:pt x="3182" y="5058"/>
                    </a:lnTo>
                    <a:lnTo>
                      <a:pt x="3182" y="5058"/>
                    </a:lnTo>
                    <a:lnTo>
                      <a:pt x="3180" y="5054"/>
                    </a:lnTo>
                    <a:lnTo>
                      <a:pt x="3178" y="5052"/>
                    </a:lnTo>
                    <a:lnTo>
                      <a:pt x="3174" y="5054"/>
                    </a:lnTo>
                    <a:lnTo>
                      <a:pt x="3172" y="5058"/>
                    </a:lnTo>
                    <a:lnTo>
                      <a:pt x="3170" y="5070"/>
                    </a:lnTo>
                    <a:lnTo>
                      <a:pt x="3168" y="5086"/>
                    </a:lnTo>
                    <a:lnTo>
                      <a:pt x="3168" y="5086"/>
                    </a:lnTo>
                    <a:lnTo>
                      <a:pt x="3166" y="5094"/>
                    </a:lnTo>
                    <a:lnTo>
                      <a:pt x="3164" y="5100"/>
                    </a:lnTo>
                    <a:lnTo>
                      <a:pt x="3160" y="5108"/>
                    </a:lnTo>
                    <a:lnTo>
                      <a:pt x="3158" y="5110"/>
                    </a:lnTo>
                    <a:lnTo>
                      <a:pt x="3158" y="5112"/>
                    </a:lnTo>
                    <a:lnTo>
                      <a:pt x="3164" y="5116"/>
                    </a:lnTo>
                    <a:lnTo>
                      <a:pt x="3164" y="5116"/>
                    </a:lnTo>
                    <a:close/>
                    <a:moveTo>
                      <a:pt x="3346" y="4866"/>
                    </a:moveTo>
                    <a:lnTo>
                      <a:pt x="3346" y="4866"/>
                    </a:lnTo>
                    <a:lnTo>
                      <a:pt x="3348" y="4862"/>
                    </a:lnTo>
                    <a:lnTo>
                      <a:pt x="3348" y="4858"/>
                    </a:lnTo>
                    <a:lnTo>
                      <a:pt x="3348" y="4852"/>
                    </a:lnTo>
                    <a:lnTo>
                      <a:pt x="3346" y="4852"/>
                    </a:lnTo>
                    <a:lnTo>
                      <a:pt x="3344" y="4852"/>
                    </a:lnTo>
                    <a:lnTo>
                      <a:pt x="3344" y="4852"/>
                    </a:lnTo>
                    <a:lnTo>
                      <a:pt x="3342" y="4856"/>
                    </a:lnTo>
                    <a:lnTo>
                      <a:pt x="3342" y="4860"/>
                    </a:lnTo>
                    <a:lnTo>
                      <a:pt x="3342" y="4864"/>
                    </a:lnTo>
                    <a:lnTo>
                      <a:pt x="3344" y="4866"/>
                    </a:lnTo>
                    <a:lnTo>
                      <a:pt x="3346" y="4866"/>
                    </a:lnTo>
                    <a:lnTo>
                      <a:pt x="3346" y="4866"/>
                    </a:lnTo>
                    <a:close/>
                    <a:moveTo>
                      <a:pt x="3342" y="4998"/>
                    </a:moveTo>
                    <a:lnTo>
                      <a:pt x="3342" y="4998"/>
                    </a:lnTo>
                    <a:lnTo>
                      <a:pt x="3336" y="4992"/>
                    </a:lnTo>
                    <a:lnTo>
                      <a:pt x="3330" y="4990"/>
                    </a:lnTo>
                    <a:lnTo>
                      <a:pt x="3324" y="4986"/>
                    </a:lnTo>
                    <a:lnTo>
                      <a:pt x="3316" y="4986"/>
                    </a:lnTo>
                    <a:lnTo>
                      <a:pt x="3310" y="4986"/>
                    </a:lnTo>
                    <a:lnTo>
                      <a:pt x="3304" y="4988"/>
                    </a:lnTo>
                    <a:lnTo>
                      <a:pt x="3300" y="4992"/>
                    </a:lnTo>
                    <a:lnTo>
                      <a:pt x="3298" y="4996"/>
                    </a:lnTo>
                    <a:lnTo>
                      <a:pt x="3298" y="4996"/>
                    </a:lnTo>
                    <a:lnTo>
                      <a:pt x="3298" y="5002"/>
                    </a:lnTo>
                    <a:lnTo>
                      <a:pt x="3304" y="5010"/>
                    </a:lnTo>
                    <a:lnTo>
                      <a:pt x="3312" y="5016"/>
                    </a:lnTo>
                    <a:lnTo>
                      <a:pt x="3320" y="5024"/>
                    </a:lnTo>
                    <a:lnTo>
                      <a:pt x="3320" y="5024"/>
                    </a:lnTo>
                    <a:lnTo>
                      <a:pt x="3326" y="5026"/>
                    </a:lnTo>
                    <a:lnTo>
                      <a:pt x="3332" y="5026"/>
                    </a:lnTo>
                    <a:lnTo>
                      <a:pt x="3336" y="5024"/>
                    </a:lnTo>
                    <a:lnTo>
                      <a:pt x="3342" y="5020"/>
                    </a:lnTo>
                    <a:lnTo>
                      <a:pt x="3344" y="5016"/>
                    </a:lnTo>
                    <a:lnTo>
                      <a:pt x="3346" y="5010"/>
                    </a:lnTo>
                    <a:lnTo>
                      <a:pt x="3344" y="5004"/>
                    </a:lnTo>
                    <a:lnTo>
                      <a:pt x="3342" y="4998"/>
                    </a:lnTo>
                    <a:lnTo>
                      <a:pt x="3342" y="4998"/>
                    </a:lnTo>
                    <a:close/>
                    <a:moveTo>
                      <a:pt x="3330" y="5214"/>
                    </a:moveTo>
                    <a:lnTo>
                      <a:pt x="3330" y="5214"/>
                    </a:lnTo>
                    <a:lnTo>
                      <a:pt x="3328" y="5212"/>
                    </a:lnTo>
                    <a:lnTo>
                      <a:pt x="3326" y="5210"/>
                    </a:lnTo>
                    <a:lnTo>
                      <a:pt x="3314" y="5210"/>
                    </a:lnTo>
                    <a:lnTo>
                      <a:pt x="3302" y="5214"/>
                    </a:lnTo>
                    <a:lnTo>
                      <a:pt x="3296" y="5216"/>
                    </a:lnTo>
                    <a:lnTo>
                      <a:pt x="3290" y="5220"/>
                    </a:lnTo>
                    <a:lnTo>
                      <a:pt x="3290" y="5220"/>
                    </a:lnTo>
                    <a:lnTo>
                      <a:pt x="3290" y="5224"/>
                    </a:lnTo>
                    <a:lnTo>
                      <a:pt x="3292" y="5224"/>
                    </a:lnTo>
                    <a:lnTo>
                      <a:pt x="3306" y="5224"/>
                    </a:lnTo>
                    <a:lnTo>
                      <a:pt x="3322" y="5220"/>
                    </a:lnTo>
                    <a:lnTo>
                      <a:pt x="3328" y="5216"/>
                    </a:lnTo>
                    <a:lnTo>
                      <a:pt x="3330" y="5214"/>
                    </a:lnTo>
                    <a:lnTo>
                      <a:pt x="3330" y="5214"/>
                    </a:lnTo>
                    <a:close/>
                    <a:moveTo>
                      <a:pt x="3294" y="4936"/>
                    </a:moveTo>
                    <a:lnTo>
                      <a:pt x="3294" y="4936"/>
                    </a:lnTo>
                    <a:lnTo>
                      <a:pt x="3292" y="4938"/>
                    </a:lnTo>
                    <a:lnTo>
                      <a:pt x="3292" y="4942"/>
                    </a:lnTo>
                    <a:lnTo>
                      <a:pt x="3296" y="4956"/>
                    </a:lnTo>
                    <a:lnTo>
                      <a:pt x="3296" y="4956"/>
                    </a:lnTo>
                    <a:lnTo>
                      <a:pt x="3298" y="4960"/>
                    </a:lnTo>
                    <a:lnTo>
                      <a:pt x="3300" y="4960"/>
                    </a:lnTo>
                    <a:lnTo>
                      <a:pt x="3300" y="4956"/>
                    </a:lnTo>
                    <a:lnTo>
                      <a:pt x="3298" y="4950"/>
                    </a:lnTo>
                    <a:lnTo>
                      <a:pt x="3298" y="4950"/>
                    </a:lnTo>
                    <a:lnTo>
                      <a:pt x="3298" y="4944"/>
                    </a:lnTo>
                    <a:lnTo>
                      <a:pt x="3296" y="4938"/>
                    </a:lnTo>
                    <a:lnTo>
                      <a:pt x="3296" y="4936"/>
                    </a:lnTo>
                    <a:lnTo>
                      <a:pt x="3294" y="4936"/>
                    </a:lnTo>
                    <a:lnTo>
                      <a:pt x="3294" y="4936"/>
                    </a:lnTo>
                    <a:close/>
                    <a:moveTo>
                      <a:pt x="3344" y="5246"/>
                    </a:moveTo>
                    <a:lnTo>
                      <a:pt x="3344" y="5246"/>
                    </a:lnTo>
                    <a:lnTo>
                      <a:pt x="3340" y="5244"/>
                    </a:lnTo>
                    <a:lnTo>
                      <a:pt x="3336" y="5244"/>
                    </a:lnTo>
                    <a:lnTo>
                      <a:pt x="3330" y="5248"/>
                    </a:lnTo>
                    <a:lnTo>
                      <a:pt x="3322" y="5250"/>
                    </a:lnTo>
                    <a:lnTo>
                      <a:pt x="3316" y="5250"/>
                    </a:lnTo>
                    <a:lnTo>
                      <a:pt x="3316" y="5250"/>
                    </a:lnTo>
                    <a:lnTo>
                      <a:pt x="3312" y="5250"/>
                    </a:lnTo>
                    <a:lnTo>
                      <a:pt x="3306" y="5252"/>
                    </a:lnTo>
                    <a:lnTo>
                      <a:pt x="3300" y="5254"/>
                    </a:lnTo>
                    <a:lnTo>
                      <a:pt x="3296" y="5254"/>
                    </a:lnTo>
                    <a:lnTo>
                      <a:pt x="3296" y="5254"/>
                    </a:lnTo>
                    <a:lnTo>
                      <a:pt x="3292" y="5254"/>
                    </a:lnTo>
                    <a:lnTo>
                      <a:pt x="3286" y="5254"/>
                    </a:lnTo>
                    <a:lnTo>
                      <a:pt x="3268" y="5258"/>
                    </a:lnTo>
                    <a:lnTo>
                      <a:pt x="3268" y="5258"/>
                    </a:lnTo>
                    <a:lnTo>
                      <a:pt x="3260" y="5262"/>
                    </a:lnTo>
                    <a:lnTo>
                      <a:pt x="3258" y="5266"/>
                    </a:lnTo>
                    <a:lnTo>
                      <a:pt x="3256" y="5272"/>
                    </a:lnTo>
                    <a:lnTo>
                      <a:pt x="3248" y="5278"/>
                    </a:lnTo>
                    <a:lnTo>
                      <a:pt x="3248" y="5278"/>
                    </a:lnTo>
                    <a:lnTo>
                      <a:pt x="3240" y="5284"/>
                    </a:lnTo>
                    <a:lnTo>
                      <a:pt x="3234" y="5286"/>
                    </a:lnTo>
                    <a:lnTo>
                      <a:pt x="3226" y="5290"/>
                    </a:lnTo>
                    <a:lnTo>
                      <a:pt x="3216" y="5296"/>
                    </a:lnTo>
                    <a:lnTo>
                      <a:pt x="3216" y="5296"/>
                    </a:lnTo>
                    <a:lnTo>
                      <a:pt x="3206" y="5304"/>
                    </a:lnTo>
                    <a:lnTo>
                      <a:pt x="3202" y="5310"/>
                    </a:lnTo>
                    <a:lnTo>
                      <a:pt x="3200" y="5322"/>
                    </a:lnTo>
                    <a:lnTo>
                      <a:pt x="3200" y="5322"/>
                    </a:lnTo>
                    <a:lnTo>
                      <a:pt x="3198" y="5326"/>
                    </a:lnTo>
                    <a:lnTo>
                      <a:pt x="3200" y="5328"/>
                    </a:lnTo>
                    <a:lnTo>
                      <a:pt x="3202" y="5330"/>
                    </a:lnTo>
                    <a:lnTo>
                      <a:pt x="3204" y="5330"/>
                    </a:lnTo>
                    <a:lnTo>
                      <a:pt x="3202" y="5332"/>
                    </a:lnTo>
                    <a:lnTo>
                      <a:pt x="3202" y="5332"/>
                    </a:lnTo>
                    <a:lnTo>
                      <a:pt x="3198" y="5336"/>
                    </a:lnTo>
                    <a:lnTo>
                      <a:pt x="3194" y="5340"/>
                    </a:lnTo>
                    <a:lnTo>
                      <a:pt x="3194" y="5342"/>
                    </a:lnTo>
                    <a:lnTo>
                      <a:pt x="3194" y="5344"/>
                    </a:lnTo>
                    <a:lnTo>
                      <a:pt x="3202" y="5346"/>
                    </a:lnTo>
                    <a:lnTo>
                      <a:pt x="3202" y="5346"/>
                    </a:lnTo>
                    <a:lnTo>
                      <a:pt x="3206" y="5346"/>
                    </a:lnTo>
                    <a:lnTo>
                      <a:pt x="3210" y="5344"/>
                    </a:lnTo>
                    <a:lnTo>
                      <a:pt x="3216" y="5340"/>
                    </a:lnTo>
                    <a:lnTo>
                      <a:pt x="3220" y="5336"/>
                    </a:lnTo>
                    <a:lnTo>
                      <a:pt x="3222" y="5336"/>
                    </a:lnTo>
                    <a:lnTo>
                      <a:pt x="3226" y="5336"/>
                    </a:lnTo>
                    <a:lnTo>
                      <a:pt x="3226" y="5336"/>
                    </a:lnTo>
                    <a:lnTo>
                      <a:pt x="3230" y="5336"/>
                    </a:lnTo>
                    <a:lnTo>
                      <a:pt x="3234" y="5334"/>
                    </a:lnTo>
                    <a:lnTo>
                      <a:pt x="3244" y="5320"/>
                    </a:lnTo>
                    <a:lnTo>
                      <a:pt x="3244" y="5320"/>
                    </a:lnTo>
                    <a:lnTo>
                      <a:pt x="3252" y="5312"/>
                    </a:lnTo>
                    <a:lnTo>
                      <a:pt x="3256" y="5306"/>
                    </a:lnTo>
                    <a:lnTo>
                      <a:pt x="3260" y="5300"/>
                    </a:lnTo>
                    <a:lnTo>
                      <a:pt x="3268" y="5294"/>
                    </a:lnTo>
                    <a:lnTo>
                      <a:pt x="3268" y="5294"/>
                    </a:lnTo>
                    <a:lnTo>
                      <a:pt x="3280" y="5288"/>
                    </a:lnTo>
                    <a:lnTo>
                      <a:pt x="3288" y="5286"/>
                    </a:lnTo>
                    <a:lnTo>
                      <a:pt x="3294" y="5284"/>
                    </a:lnTo>
                    <a:lnTo>
                      <a:pt x="3300" y="5280"/>
                    </a:lnTo>
                    <a:lnTo>
                      <a:pt x="3300" y="5280"/>
                    </a:lnTo>
                    <a:lnTo>
                      <a:pt x="3304" y="5278"/>
                    </a:lnTo>
                    <a:lnTo>
                      <a:pt x="3308" y="5278"/>
                    </a:lnTo>
                    <a:lnTo>
                      <a:pt x="3314" y="5276"/>
                    </a:lnTo>
                    <a:lnTo>
                      <a:pt x="3318" y="5272"/>
                    </a:lnTo>
                    <a:lnTo>
                      <a:pt x="3318" y="5272"/>
                    </a:lnTo>
                    <a:lnTo>
                      <a:pt x="3324" y="5266"/>
                    </a:lnTo>
                    <a:lnTo>
                      <a:pt x="3328" y="5266"/>
                    </a:lnTo>
                    <a:lnTo>
                      <a:pt x="3334" y="5264"/>
                    </a:lnTo>
                    <a:lnTo>
                      <a:pt x="3340" y="5260"/>
                    </a:lnTo>
                    <a:lnTo>
                      <a:pt x="3340" y="5260"/>
                    </a:lnTo>
                    <a:lnTo>
                      <a:pt x="3348" y="5252"/>
                    </a:lnTo>
                    <a:lnTo>
                      <a:pt x="3348" y="5248"/>
                    </a:lnTo>
                    <a:lnTo>
                      <a:pt x="3344" y="5246"/>
                    </a:lnTo>
                    <a:lnTo>
                      <a:pt x="3344" y="5246"/>
                    </a:lnTo>
                    <a:close/>
                    <a:moveTo>
                      <a:pt x="3328" y="4618"/>
                    </a:moveTo>
                    <a:lnTo>
                      <a:pt x="3328" y="4618"/>
                    </a:lnTo>
                    <a:lnTo>
                      <a:pt x="3326" y="4622"/>
                    </a:lnTo>
                    <a:lnTo>
                      <a:pt x="3326" y="4628"/>
                    </a:lnTo>
                    <a:lnTo>
                      <a:pt x="3326" y="4628"/>
                    </a:lnTo>
                    <a:lnTo>
                      <a:pt x="3326" y="4630"/>
                    </a:lnTo>
                    <a:lnTo>
                      <a:pt x="3328" y="4632"/>
                    </a:lnTo>
                    <a:lnTo>
                      <a:pt x="3328" y="4634"/>
                    </a:lnTo>
                    <a:lnTo>
                      <a:pt x="3326" y="4638"/>
                    </a:lnTo>
                    <a:lnTo>
                      <a:pt x="3326" y="4638"/>
                    </a:lnTo>
                    <a:lnTo>
                      <a:pt x="3324" y="4642"/>
                    </a:lnTo>
                    <a:lnTo>
                      <a:pt x="3326" y="4644"/>
                    </a:lnTo>
                    <a:lnTo>
                      <a:pt x="3330" y="4642"/>
                    </a:lnTo>
                    <a:lnTo>
                      <a:pt x="3330" y="4640"/>
                    </a:lnTo>
                    <a:lnTo>
                      <a:pt x="3330" y="4640"/>
                    </a:lnTo>
                    <a:lnTo>
                      <a:pt x="3332" y="4636"/>
                    </a:lnTo>
                    <a:lnTo>
                      <a:pt x="3332" y="4632"/>
                    </a:lnTo>
                    <a:lnTo>
                      <a:pt x="3334" y="4630"/>
                    </a:lnTo>
                    <a:lnTo>
                      <a:pt x="3334" y="4628"/>
                    </a:lnTo>
                    <a:lnTo>
                      <a:pt x="3334" y="4628"/>
                    </a:lnTo>
                    <a:lnTo>
                      <a:pt x="3332" y="4624"/>
                    </a:lnTo>
                    <a:lnTo>
                      <a:pt x="3332" y="4620"/>
                    </a:lnTo>
                    <a:lnTo>
                      <a:pt x="3332" y="4618"/>
                    </a:lnTo>
                    <a:lnTo>
                      <a:pt x="3328" y="4618"/>
                    </a:lnTo>
                    <a:lnTo>
                      <a:pt x="3328" y="4618"/>
                    </a:lnTo>
                    <a:close/>
                    <a:moveTo>
                      <a:pt x="3302" y="3114"/>
                    </a:moveTo>
                    <a:lnTo>
                      <a:pt x="3302" y="3114"/>
                    </a:lnTo>
                    <a:lnTo>
                      <a:pt x="3304" y="3116"/>
                    </a:lnTo>
                    <a:lnTo>
                      <a:pt x="3308" y="3114"/>
                    </a:lnTo>
                    <a:lnTo>
                      <a:pt x="3310" y="3112"/>
                    </a:lnTo>
                    <a:lnTo>
                      <a:pt x="3310" y="3108"/>
                    </a:lnTo>
                    <a:lnTo>
                      <a:pt x="3310" y="3108"/>
                    </a:lnTo>
                    <a:lnTo>
                      <a:pt x="3306" y="3108"/>
                    </a:lnTo>
                    <a:lnTo>
                      <a:pt x="3302" y="3110"/>
                    </a:lnTo>
                    <a:lnTo>
                      <a:pt x="3300" y="3112"/>
                    </a:lnTo>
                    <a:lnTo>
                      <a:pt x="3302" y="3114"/>
                    </a:lnTo>
                    <a:lnTo>
                      <a:pt x="3302" y="3114"/>
                    </a:lnTo>
                    <a:close/>
                    <a:moveTo>
                      <a:pt x="3298" y="3086"/>
                    </a:moveTo>
                    <a:lnTo>
                      <a:pt x="3298" y="3086"/>
                    </a:lnTo>
                    <a:lnTo>
                      <a:pt x="3296" y="3088"/>
                    </a:lnTo>
                    <a:lnTo>
                      <a:pt x="3298" y="3090"/>
                    </a:lnTo>
                    <a:lnTo>
                      <a:pt x="3302" y="3096"/>
                    </a:lnTo>
                    <a:lnTo>
                      <a:pt x="3302" y="3096"/>
                    </a:lnTo>
                    <a:lnTo>
                      <a:pt x="3302" y="3098"/>
                    </a:lnTo>
                    <a:lnTo>
                      <a:pt x="3304" y="3094"/>
                    </a:lnTo>
                    <a:lnTo>
                      <a:pt x="3304" y="3094"/>
                    </a:lnTo>
                    <a:lnTo>
                      <a:pt x="3302" y="3088"/>
                    </a:lnTo>
                    <a:lnTo>
                      <a:pt x="3300" y="3086"/>
                    </a:lnTo>
                    <a:lnTo>
                      <a:pt x="3298" y="3086"/>
                    </a:lnTo>
                    <a:lnTo>
                      <a:pt x="3298" y="3086"/>
                    </a:lnTo>
                    <a:close/>
                    <a:moveTo>
                      <a:pt x="3298" y="4354"/>
                    </a:moveTo>
                    <a:lnTo>
                      <a:pt x="3298" y="4354"/>
                    </a:lnTo>
                    <a:lnTo>
                      <a:pt x="3296" y="4358"/>
                    </a:lnTo>
                    <a:lnTo>
                      <a:pt x="3296" y="4362"/>
                    </a:lnTo>
                    <a:lnTo>
                      <a:pt x="3298" y="4362"/>
                    </a:lnTo>
                    <a:lnTo>
                      <a:pt x="3300" y="4364"/>
                    </a:lnTo>
                    <a:lnTo>
                      <a:pt x="3304" y="4362"/>
                    </a:lnTo>
                    <a:lnTo>
                      <a:pt x="3304" y="4360"/>
                    </a:lnTo>
                    <a:lnTo>
                      <a:pt x="3302" y="4356"/>
                    </a:lnTo>
                    <a:lnTo>
                      <a:pt x="3302" y="4356"/>
                    </a:lnTo>
                    <a:lnTo>
                      <a:pt x="3300" y="4348"/>
                    </a:lnTo>
                    <a:lnTo>
                      <a:pt x="3298" y="4354"/>
                    </a:lnTo>
                    <a:lnTo>
                      <a:pt x="3298" y="4354"/>
                    </a:lnTo>
                    <a:close/>
                    <a:moveTo>
                      <a:pt x="3274" y="4930"/>
                    </a:moveTo>
                    <a:lnTo>
                      <a:pt x="3274" y="4930"/>
                    </a:lnTo>
                    <a:lnTo>
                      <a:pt x="3274" y="4932"/>
                    </a:lnTo>
                    <a:lnTo>
                      <a:pt x="3278" y="4934"/>
                    </a:lnTo>
                    <a:lnTo>
                      <a:pt x="3288" y="4934"/>
                    </a:lnTo>
                    <a:lnTo>
                      <a:pt x="3310" y="4928"/>
                    </a:lnTo>
                    <a:lnTo>
                      <a:pt x="3310" y="4928"/>
                    </a:lnTo>
                    <a:lnTo>
                      <a:pt x="3312" y="4926"/>
                    </a:lnTo>
                    <a:lnTo>
                      <a:pt x="3310" y="4926"/>
                    </a:lnTo>
                    <a:lnTo>
                      <a:pt x="3296" y="4924"/>
                    </a:lnTo>
                    <a:lnTo>
                      <a:pt x="3282" y="4924"/>
                    </a:lnTo>
                    <a:lnTo>
                      <a:pt x="3276" y="4926"/>
                    </a:lnTo>
                    <a:lnTo>
                      <a:pt x="3274" y="4930"/>
                    </a:lnTo>
                    <a:lnTo>
                      <a:pt x="3274" y="4930"/>
                    </a:lnTo>
                    <a:close/>
                    <a:moveTo>
                      <a:pt x="3132" y="5104"/>
                    </a:moveTo>
                    <a:lnTo>
                      <a:pt x="3132" y="5104"/>
                    </a:lnTo>
                    <a:lnTo>
                      <a:pt x="3136" y="5106"/>
                    </a:lnTo>
                    <a:lnTo>
                      <a:pt x="3138" y="5104"/>
                    </a:lnTo>
                    <a:lnTo>
                      <a:pt x="3136" y="5096"/>
                    </a:lnTo>
                    <a:lnTo>
                      <a:pt x="3134" y="5090"/>
                    </a:lnTo>
                    <a:lnTo>
                      <a:pt x="3134" y="5090"/>
                    </a:lnTo>
                    <a:lnTo>
                      <a:pt x="3132" y="5086"/>
                    </a:lnTo>
                    <a:lnTo>
                      <a:pt x="3130" y="5088"/>
                    </a:lnTo>
                    <a:lnTo>
                      <a:pt x="3130" y="5096"/>
                    </a:lnTo>
                    <a:lnTo>
                      <a:pt x="3132" y="5104"/>
                    </a:lnTo>
                    <a:lnTo>
                      <a:pt x="3132" y="5104"/>
                    </a:lnTo>
                    <a:close/>
                    <a:moveTo>
                      <a:pt x="3196" y="4912"/>
                    </a:moveTo>
                    <a:lnTo>
                      <a:pt x="3196" y="4912"/>
                    </a:lnTo>
                    <a:lnTo>
                      <a:pt x="3198" y="4908"/>
                    </a:lnTo>
                    <a:lnTo>
                      <a:pt x="3198" y="4904"/>
                    </a:lnTo>
                    <a:lnTo>
                      <a:pt x="3196" y="4900"/>
                    </a:lnTo>
                    <a:lnTo>
                      <a:pt x="3192" y="4900"/>
                    </a:lnTo>
                    <a:lnTo>
                      <a:pt x="3192" y="4900"/>
                    </a:lnTo>
                    <a:lnTo>
                      <a:pt x="3190" y="4902"/>
                    </a:lnTo>
                    <a:lnTo>
                      <a:pt x="3188" y="4904"/>
                    </a:lnTo>
                    <a:lnTo>
                      <a:pt x="3188" y="4908"/>
                    </a:lnTo>
                    <a:lnTo>
                      <a:pt x="3192" y="4912"/>
                    </a:lnTo>
                    <a:lnTo>
                      <a:pt x="3194" y="4912"/>
                    </a:lnTo>
                    <a:lnTo>
                      <a:pt x="3196" y="4912"/>
                    </a:lnTo>
                    <a:lnTo>
                      <a:pt x="3196" y="4912"/>
                    </a:lnTo>
                    <a:close/>
                    <a:moveTo>
                      <a:pt x="3180" y="4896"/>
                    </a:moveTo>
                    <a:lnTo>
                      <a:pt x="3180" y="4896"/>
                    </a:lnTo>
                    <a:lnTo>
                      <a:pt x="3176" y="4896"/>
                    </a:lnTo>
                    <a:lnTo>
                      <a:pt x="3172" y="4900"/>
                    </a:lnTo>
                    <a:lnTo>
                      <a:pt x="3170" y="4906"/>
                    </a:lnTo>
                    <a:lnTo>
                      <a:pt x="3172" y="4916"/>
                    </a:lnTo>
                    <a:lnTo>
                      <a:pt x="3172" y="4916"/>
                    </a:lnTo>
                    <a:lnTo>
                      <a:pt x="3172" y="4916"/>
                    </a:lnTo>
                    <a:lnTo>
                      <a:pt x="3174" y="4916"/>
                    </a:lnTo>
                    <a:lnTo>
                      <a:pt x="3180" y="4908"/>
                    </a:lnTo>
                    <a:lnTo>
                      <a:pt x="3184" y="4900"/>
                    </a:lnTo>
                    <a:lnTo>
                      <a:pt x="3182" y="4898"/>
                    </a:lnTo>
                    <a:lnTo>
                      <a:pt x="3180" y="4896"/>
                    </a:lnTo>
                    <a:lnTo>
                      <a:pt x="3180" y="4896"/>
                    </a:lnTo>
                    <a:close/>
                    <a:moveTo>
                      <a:pt x="3184" y="5356"/>
                    </a:moveTo>
                    <a:lnTo>
                      <a:pt x="3184" y="5356"/>
                    </a:lnTo>
                    <a:lnTo>
                      <a:pt x="3180" y="5360"/>
                    </a:lnTo>
                    <a:lnTo>
                      <a:pt x="3174" y="5364"/>
                    </a:lnTo>
                    <a:lnTo>
                      <a:pt x="3170" y="5366"/>
                    </a:lnTo>
                    <a:lnTo>
                      <a:pt x="3168" y="5370"/>
                    </a:lnTo>
                    <a:lnTo>
                      <a:pt x="3168" y="5370"/>
                    </a:lnTo>
                    <a:lnTo>
                      <a:pt x="3168" y="5372"/>
                    </a:lnTo>
                    <a:lnTo>
                      <a:pt x="3170" y="5372"/>
                    </a:lnTo>
                    <a:lnTo>
                      <a:pt x="3178" y="5370"/>
                    </a:lnTo>
                    <a:lnTo>
                      <a:pt x="3190" y="5362"/>
                    </a:lnTo>
                    <a:lnTo>
                      <a:pt x="3190" y="5362"/>
                    </a:lnTo>
                    <a:lnTo>
                      <a:pt x="3194" y="5358"/>
                    </a:lnTo>
                    <a:lnTo>
                      <a:pt x="3192" y="5352"/>
                    </a:lnTo>
                    <a:lnTo>
                      <a:pt x="3192" y="5350"/>
                    </a:lnTo>
                    <a:lnTo>
                      <a:pt x="3190" y="5350"/>
                    </a:lnTo>
                    <a:lnTo>
                      <a:pt x="3188" y="5352"/>
                    </a:lnTo>
                    <a:lnTo>
                      <a:pt x="3184" y="5356"/>
                    </a:lnTo>
                    <a:lnTo>
                      <a:pt x="3184" y="5356"/>
                    </a:lnTo>
                    <a:close/>
                    <a:moveTo>
                      <a:pt x="3074" y="5152"/>
                    </a:moveTo>
                    <a:lnTo>
                      <a:pt x="3074" y="5152"/>
                    </a:lnTo>
                    <a:lnTo>
                      <a:pt x="3076" y="5154"/>
                    </a:lnTo>
                    <a:lnTo>
                      <a:pt x="3076" y="5154"/>
                    </a:lnTo>
                    <a:lnTo>
                      <a:pt x="3078" y="5144"/>
                    </a:lnTo>
                    <a:lnTo>
                      <a:pt x="3076" y="5132"/>
                    </a:lnTo>
                    <a:lnTo>
                      <a:pt x="3076" y="5122"/>
                    </a:lnTo>
                    <a:lnTo>
                      <a:pt x="3076" y="5122"/>
                    </a:lnTo>
                    <a:lnTo>
                      <a:pt x="3074" y="5122"/>
                    </a:lnTo>
                    <a:lnTo>
                      <a:pt x="3074" y="5124"/>
                    </a:lnTo>
                    <a:lnTo>
                      <a:pt x="3072" y="5130"/>
                    </a:lnTo>
                    <a:lnTo>
                      <a:pt x="3072" y="5142"/>
                    </a:lnTo>
                    <a:lnTo>
                      <a:pt x="3074" y="5152"/>
                    </a:lnTo>
                    <a:lnTo>
                      <a:pt x="3074" y="5152"/>
                    </a:lnTo>
                    <a:close/>
                    <a:moveTo>
                      <a:pt x="3070" y="5308"/>
                    </a:moveTo>
                    <a:lnTo>
                      <a:pt x="3070" y="5308"/>
                    </a:lnTo>
                    <a:lnTo>
                      <a:pt x="3066" y="5308"/>
                    </a:lnTo>
                    <a:lnTo>
                      <a:pt x="3066" y="5306"/>
                    </a:lnTo>
                    <a:lnTo>
                      <a:pt x="3064" y="5304"/>
                    </a:lnTo>
                    <a:lnTo>
                      <a:pt x="3060" y="5298"/>
                    </a:lnTo>
                    <a:lnTo>
                      <a:pt x="3060" y="5298"/>
                    </a:lnTo>
                    <a:lnTo>
                      <a:pt x="3054" y="5294"/>
                    </a:lnTo>
                    <a:lnTo>
                      <a:pt x="3048" y="5294"/>
                    </a:lnTo>
                    <a:lnTo>
                      <a:pt x="3046" y="5296"/>
                    </a:lnTo>
                    <a:lnTo>
                      <a:pt x="3042" y="5296"/>
                    </a:lnTo>
                    <a:lnTo>
                      <a:pt x="3042" y="5296"/>
                    </a:lnTo>
                    <a:lnTo>
                      <a:pt x="3036" y="5294"/>
                    </a:lnTo>
                    <a:lnTo>
                      <a:pt x="3026" y="5294"/>
                    </a:lnTo>
                    <a:lnTo>
                      <a:pt x="3020" y="5296"/>
                    </a:lnTo>
                    <a:lnTo>
                      <a:pt x="3016" y="5298"/>
                    </a:lnTo>
                    <a:lnTo>
                      <a:pt x="3014" y="5302"/>
                    </a:lnTo>
                    <a:lnTo>
                      <a:pt x="3012" y="5306"/>
                    </a:lnTo>
                    <a:lnTo>
                      <a:pt x="3012" y="5306"/>
                    </a:lnTo>
                    <a:lnTo>
                      <a:pt x="3014" y="5310"/>
                    </a:lnTo>
                    <a:lnTo>
                      <a:pt x="3016" y="5312"/>
                    </a:lnTo>
                    <a:lnTo>
                      <a:pt x="3026" y="5316"/>
                    </a:lnTo>
                    <a:lnTo>
                      <a:pt x="3036" y="5318"/>
                    </a:lnTo>
                    <a:lnTo>
                      <a:pt x="3046" y="5322"/>
                    </a:lnTo>
                    <a:lnTo>
                      <a:pt x="3046" y="5322"/>
                    </a:lnTo>
                    <a:lnTo>
                      <a:pt x="3054" y="5328"/>
                    </a:lnTo>
                    <a:lnTo>
                      <a:pt x="3058" y="5334"/>
                    </a:lnTo>
                    <a:lnTo>
                      <a:pt x="3060" y="5338"/>
                    </a:lnTo>
                    <a:lnTo>
                      <a:pt x="3064" y="5340"/>
                    </a:lnTo>
                    <a:lnTo>
                      <a:pt x="3064" y="5340"/>
                    </a:lnTo>
                    <a:lnTo>
                      <a:pt x="3068" y="5340"/>
                    </a:lnTo>
                    <a:lnTo>
                      <a:pt x="3070" y="5342"/>
                    </a:lnTo>
                    <a:lnTo>
                      <a:pt x="3074" y="5342"/>
                    </a:lnTo>
                    <a:lnTo>
                      <a:pt x="3076" y="5340"/>
                    </a:lnTo>
                    <a:lnTo>
                      <a:pt x="3076" y="5340"/>
                    </a:lnTo>
                    <a:lnTo>
                      <a:pt x="3078" y="5338"/>
                    </a:lnTo>
                    <a:lnTo>
                      <a:pt x="3080" y="5338"/>
                    </a:lnTo>
                    <a:lnTo>
                      <a:pt x="3082" y="5336"/>
                    </a:lnTo>
                    <a:lnTo>
                      <a:pt x="3086" y="5332"/>
                    </a:lnTo>
                    <a:lnTo>
                      <a:pt x="3086" y="5332"/>
                    </a:lnTo>
                    <a:lnTo>
                      <a:pt x="3086" y="5330"/>
                    </a:lnTo>
                    <a:lnTo>
                      <a:pt x="3086" y="5326"/>
                    </a:lnTo>
                    <a:lnTo>
                      <a:pt x="3082" y="5320"/>
                    </a:lnTo>
                    <a:lnTo>
                      <a:pt x="3076" y="5312"/>
                    </a:lnTo>
                    <a:lnTo>
                      <a:pt x="3070" y="5308"/>
                    </a:lnTo>
                    <a:lnTo>
                      <a:pt x="3070" y="5308"/>
                    </a:lnTo>
                    <a:close/>
                    <a:moveTo>
                      <a:pt x="3176" y="5238"/>
                    </a:moveTo>
                    <a:lnTo>
                      <a:pt x="3176" y="5238"/>
                    </a:lnTo>
                    <a:lnTo>
                      <a:pt x="3174" y="5234"/>
                    </a:lnTo>
                    <a:lnTo>
                      <a:pt x="3172" y="5234"/>
                    </a:lnTo>
                    <a:lnTo>
                      <a:pt x="3168" y="5234"/>
                    </a:lnTo>
                    <a:lnTo>
                      <a:pt x="3166" y="5238"/>
                    </a:lnTo>
                    <a:lnTo>
                      <a:pt x="3166" y="5240"/>
                    </a:lnTo>
                    <a:lnTo>
                      <a:pt x="3168" y="5240"/>
                    </a:lnTo>
                    <a:lnTo>
                      <a:pt x="3168" y="5240"/>
                    </a:lnTo>
                    <a:lnTo>
                      <a:pt x="3170" y="5242"/>
                    </a:lnTo>
                    <a:lnTo>
                      <a:pt x="3170" y="5242"/>
                    </a:lnTo>
                    <a:lnTo>
                      <a:pt x="3168" y="5246"/>
                    </a:lnTo>
                    <a:lnTo>
                      <a:pt x="3160" y="5248"/>
                    </a:lnTo>
                    <a:lnTo>
                      <a:pt x="3160" y="5248"/>
                    </a:lnTo>
                    <a:lnTo>
                      <a:pt x="3156" y="5252"/>
                    </a:lnTo>
                    <a:lnTo>
                      <a:pt x="3156" y="5256"/>
                    </a:lnTo>
                    <a:lnTo>
                      <a:pt x="3156" y="5258"/>
                    </a:lnTo>
                    <a:lnTo>
                      <a:pt x="3152" y="5260"/>
                    </a:lnTo>
                    <a:lnTo>
                      <a:pt x="3152" y="5260"/>
                    </a:lnTo>
                    <a:lnTo>
                      <a:pt x="3148" y="5260"/>
                    </a:lnTo>
                    <a:lnTo>
                      <a:pt x="3146" y="5260"/>
                    </a:lnTo>
                    <a:lnTo>
                      <a:pt x="3142" y="5256"/>
                    </a:lnTo>
                    <a:lnTo>
                      <a:pt x="3136" y="5252"/>
                    </a:lnTo>
                    <a:lnTo>
                      <a:pt x="3134" y="5250"/>
                    </a:lnTo>
                    <a:lnTo>
                      <a:pt x="3132" y="5252"/>
                    </a:lnTo>
                    <a:lnTo>
                      <a:pt x="3132" y="5252"/>
                    </a:lnTo>
                    <a:lnTo>
                      <a:pt x="3128" y="5254"/>
                    </a:lnTo>
                    <a:lnTo>
                      <a:pt x="3124" y="5254"/>
                    </a:lnTo>
                    <a:lnTo>
                      <a:pt x="3120" y="5254"/>
                    </a:lnTo>
                    <a:lnTo>
                      <a:pt x="3116" y="5256"/>
                    </a:lnTo>
                    <a:lnTo>
                      <a:pt x="3116" y="5256"/>
                    </a:lnTo>
                    <a:lnTo>
                      <a:pt x="3114" y="5258"/>
                    </a:lnTo>
                    <a:lnTo>
                      <a:pt x="3112" y="5256"/>
                    </a:lnTo>
                    <a:lnTo>
                      <a:pt x="3106" y="5254"/>
                    </a:lnTo>
                    <a:lnTo>
                      <a:pt x="3100" y="5250"/>
                    </a:lnTo>
                    <a:lnTo>
                      <a:pt x="3092" y="5246"/>
                    </a:lnTo>
                    <a:lnTo>
                      <a:pt x="3092" y="5246"/>
                    </a:lnTo>
                    <a:lnTo>
                      <a:pt x="3076" y="5242"/>
                    </a:lnTo>
                    <a:lnTo>
                      <a:pt x="3068" y="5242"/>
                    </a:lnTo>
                    <a:lnTo>
                      <a:pt x="3064" y="5242"/>
                    </a:lnTo>
                    <a:lnTo>
                      <a:pt x="3060" y="5246"/>
                    </a:lnTo>
                    <a:lnTo>
                      <a:pt x="3060" y="5246"/>
                    </a:lnTo>
                    <a:lnTo>
                      <a:pt x="3056" y="5250"/>
                    </a:lnTo>
                    <a:lnTo>
                      <a:pt x="3050" y="5252"/>
                    </a:lnTo>
                    <a:lnTo>
                      <a:pt x="3048" y="5256"/>
                    </a:lnTo>
                    <a:lnTo>
                      <a:pt x="3048" y="5262"/>
                    </a:lnTo>
                    <a:lnTo>
                      <a:pt x="3048" y="5262"/>
                    </a:lnTo>
                    <a:lnTo>
                      <a:pt x="3050" y="5270"/>
                    </a:lnTo>
                    <a:lnTo>
                      <a:pt x="3050" y="5272"/>
                    </a:lnTo>
                    <a:lnTo>
                      <a:pt x="3052" y="5272"/>
                    </a:lnTo>
                    <a:lnTo>
                      <a:pt x="3056" y="5270"/>
                    </a:lnTo>
                    <a:lnTo>
                      <a:pt x="3062" y="5268"/>
                    </a:lnTo>
                    <a:lnTo>
                      <a:pt x="3062" y="5268"/>
                    </a:lnTo>
                    <a:lnTo>
                      <a:pt x="3078" y="5270"/>
                    </a:lnTo>
                    <a:lnTo>
                      <a:pt x="3086" y="5272"/>
                    </a:lnTo>
                    <a:lnTo>
                      <a:pt x="3092" y="5274"/>
                    </a:lnTo>
                    <a:lnTo>
                      <a:pt x="3092" y="5274"/>
                    </a:lnTo>
                    <a:lnTo>
                      <a:pt x="3096" y="5278"/>
                    </a:lnTo>
                    <a:lnTo>
                      <a:pt x="3098" y="5276"/>
                    </a:lnTo>
                    <a:lnTo>
                      <a:pt x="3102" y="5274"/>
                    </a:lnTo>
                    <a:lnTo>
                      <a:pt x="3106" y="5274"/>
                    </a:lnTo>
                    <a:lnTo>
                      <a:pt x="3106" y="5274"/>
                    </a:lnTo>
                    <a:lnTo>
                      <a:pt x="3108" y="5274"/>
                    </a:lnTo>
                    <a:lnTo>
                      <a:pt x="3110" y="5272"/>
                    </a:lnTo>
                    <a:lnTo>
                      <a:pt x="3112" y="5270"/>
                    </a:lnTo>
                    <a:lnTo>
                      <a:pt x="3120" y="5272"/>
                    </a:lnTo>
                    <a:lnTo>
                      <a:pt x="3120" y="5272"/>
                    </a:lnTo>
                    <a:lnTo>
                      <a:pt x="3124" y="5272"/>
                    </a:lnTo>
                    <a:lnTo>
                      <a:pt x="3128" y="5272"/>
                    </a:lnTo>
                    <a:lnTo>
                      <a:pt x="3134" y="5270"/>
                    </a:lnTo>
                    <a:lnTo>
                      <a:pt x="3138" y="5268"/>
                    </a:lnTo>
                    <a:lnTo>
                      <a:pt x="3142" y="5266"/>
                    </a:lnTo>
                    <a:lnTo>
                      <a:pt x="3142" y="5266"/>
                    </a:lnTo>
                    <a:lnTo>
                      <a:pt x="3150" y="5266"/>
                    </a:lnTo>
                    <a:lnTo>
                      <a:pt x="3158" y="5264"/>
                    </a:lnTo>
                    <a:lnTo>
                      <a:pt x="3166" y="5260"/>
                    </a:lnTo>
                    <a:lnTo>
                      <a:pt x="3168" y="5258"/>
                    </a:lnTo>
                    <a:lnTo>
                      <a:pt x="3170" y="5254"/>
                    </a:lnTo>
                    <a:lnTo>
                      <a:pt x="3170" y="5254"/>
                    </a:lnTo>
                    <a:lnTo>
                      <a:pt x="3170" y="5252"/>
                    </a:lnTo>
                    <a:lnTo>
                      <a:pt x="3174" y="5248"/>
                    </a:lnTo>
                    <a:lnTo>
                      <a:pt x="3176" y="5244"/>
                    </a:lnTo>
                    <a:lnTo>
                      <a:pt x="3176" y="5238"/>
                    </a:lnTo>
                    <a:lnTo>
                      <a:pt x="3176" y="5238"/>
                    </a:lnTo>
                    <a:close/>
                    <a:moveTo>
                      <a:pt x="3042" y="5268"/>
                    </a:moveTo>
                    <a:lnTo>
                      <a:pt x="3042" y="5268"/>
                    </a:lnTo>
                    <a:lnTo>
                      <a:pt x="3044" y="5266"/>
                    </a:lnTo>
                    <a:lnTo>
                      <a:pt x="3046" y="5264"/>
                    </a:lnTo>
                    <a:lnTo>
                      <a:pt x="3044" y="5262"/>
                    </a:lnTo>
                    <a:lnTo>
                      <a:pt x="3042" y="5260"/>
                    </a:lnTo>
                    <a:lnTo>
                      <a:pt x="3042" y="5260"/>
                    </a:lnTo>
                    <a:lnTo>
                      <a:pt x="3040" y="5262"/>
                    </a:lnTo>
                    <a:lnTo>
                      <a:pt x="3040" y="5266"/>
                    </a:lnTo>
                    <a:lnTo>
                      <a:pt x="3040" y="5268"/>
                    </a:lnTo>
                    <a:lnTo>
                      <a:pt x="3042" y="5268"/>
                    </a:lnTo>
                    <a:lnTo>
                      <a:pt x="3042" y="5268"/>
                    </a:lnTo>
                    <a:close/>
                    <a:moveTo>
                      <a:pt x="3038" y="5258"/>
                    </a:moveTo>
                    <a:lnTo>
                      <a:pt x="3038" y="5258"/>
                    </a:lnTo>
                    <a:lnTo>
                      <a:pt x="3038" y="5258"/>
                    </a:lnTo>
                    <a:lnTo>
                      <a:pt x="3040" y="5256"/>
                    </a:lnTo>
                    <a:lnTo>
                      <a:pt x="3040" y="5254"/>
                    </a:lnTo>
                    <a:lnTo>
                      <a:pt x="3038" y="5252"/>
                    </a:lnTo>
                    <a:lnTo>
                      <a:pt x="3038" y="5252"/>
                    </a:lnTo>
                    <a:lnTo>
                      <a:pt x="3034" y="5250"/>
                    </a:lnTo>
                    <a:lnTo>
                      <a:pt x="3032" y="5250"/>
                    </a:lnTo>
                    <a:lnTo>
                      <a:pt x="3032" y="5252"/>
                    </a:lnTo>
                    <a:lnTo>
                      <a:pt x="3032" y="5252"/>
                    </a:lnTo>
                    <a:lnTo>
                      <a:pt x="3032" y="5258"/>
                    </a:lnTo>
                    <a:lnTo>
                      <a:pt x="3030" y="5262"/>
                    </a:lnTo>
                    <a:lnTo>
                      <a:pt x="3030" y="5262"/>
                    </a:lnTo>
                    <a:lnTo>
                      <a:pt x="3032" y="5266"/>
                    </a:lnTo>
                    <a:lnTo>
                      <a:pt x="3032" y="5264"/>
                    </a:lnTo>
                    <a:lnTo>
                      <a:pt x="3034" y="5260"/>
                    </a:lnTo>
                    <a:lnTo>
                      <a:pt x="3038" y="5258"/>
                    </a:lnTo>
                    <a:lnTo>
                      <a:pt x="3038" y="5258"/>
                    </a:lnTo>
                    <a:close/>
                    <a:moveTo>
                      <a:pt x="2740" y="626"/>
                    </a:moveTo>
                    <a:lnTo>
                      <a:pt x="2740" y="626"/>
                    </a:lnTo>
                    <a:lnTo>
                      <a:pt x="2756" y="630"/>
                    </a:lnTo>
                    <a:lnTo>
                      <a:pt x="2768" y="628"/>
                    </a:lnTo>
                    <a:lnTo>
                      <a:pt x="2778" y="624"/>
                    </a:lnTo>
                    <a:lnTo>
                      <a:pt x="2784" y="618"/>
                    </a:lnTo>
                    <a:lnTo>
                      <a:pt x="2786" y="612"/>
                    </a:lnTo>
                    <a:lnTo>
                      <a:pt x="2786" y="608"/>
                    </a:lnTo>
                    <a:lnTo>
                      <a:pt x="2784" y="604"/>
                    </a:lnTo>
                    <a:lnTo>
                      <a:pt x="2782" y="602"/>
                    </a:lnTo>
                    <a:lnTo>
                      <a:pt x="2776" y="600"/>
                    </a:lnTo>
                    <a:lnTo>
                      <a:pt x="2764" y="598"/>
                    </a:lnTo>
                    <a:lnTo>
                      <a:pt x="2764" y="598"/>
                    </a:lnTo>
                    <a:lnTo>
                      <a:pt x="2748" y="598"/>
                    </a:lnTo>
                    <a:lnTo>
                      <a:pt x="2736" y="598"/>
                    </a:lnTo>
                    <a:lnTo>
                      <a:pt x="2726" y="600"/>
                    </a:lnTo>
                    <a:lnTo>
                      <a:pt x="2720" y="604"/>
                    </a:lnTo>
                    <a:lnTo>
                      <a:pt x="2716" y="608"/>
                    </a:lnTo>
                    <a:lnTo>
                      <a:pt x="2720" y="614"/>
                    </a:lnTo>
                    <a:lnTo>
                      <a:pt x="2726" y="618"/>
                    </a:lnTo>
                    <a:lnTo>
                      <a:pt x="2740" y="626"/>
                    </a:lnTo>
                    <a:lnTo>
                      <a:pt x="2740" y="626"/>
                    </a:lnTo>
                    <a:close/>
                    <a:moveTo>
                      <a:pt x="162" y="3354"/>
                    </a:moveTo>
                    <a:lnTo>
                      <a:pt x="162" y="3354"/>
                    </a:lnTo>
                    <a:lnTo>
                      <a:pt x="160" y="3358"/>
                    </a:lnTo>
                    <a:lnTo>
                      <a:pt x="162" y="3364"/>
                    </a:lnTo>
                    <a:lnTo>
                      <a:pt x="164" y="3366"/>
                    </a:lnTo>
                    <a:lnTo>
                      <a:pt x="166" y="3368"/>
                    </a:lnTo>
                    <a:lnTo>
                      <a:pt x="168" y="3366"/>
                    </a:lnTo>
                    <a:lnTo>
                      <a:pt x="168" y="3366"/>
                    </a:lnTo>
                    <a:lnTo>
                      <a:pt x="168" y="3362"/>
                    </a:lnTo>
                    <a:lnTo>
                      <a:pt x="166" y="3356"/>
                    </a:lnTo>
                    <a:lnTo>
                      <a:pt x="164" y="3352"/>
                    </a:lnTo>
                    <a:lnTo>
                      <a:pt x="162" y="3352"/>
                    </a:lnTo>
                    <a:lnTo>
                      <a:pt x="162" y="3354"/>
                    </a:lnTo>
                    <a:lnTo>
                      <a:pt x="162" y="3354"/>
                    </a:lnTo>
                    <a:close/>
                    <a:moveTo>
                      <a:pt x="3766" y="1952"/>
                    </a:moveTo>
                    <a:lnTo>
                      <a:pt x="3766" y="1952"/>
                    </a:lnTo>
                    <a:lnTo>
                      <a:pt x="3772" y="1954"/>
                    </a:lnTo>
                    <a:lnTo>
                      <a:pt x="3776" y="1954"/>
                    </a:lnTo>
                    <a:lnTo>
                      <a:pt x="3780" y="1950"/>
                    </a:lnTo>
                    <a:lnTo>
                      <a:pt x="3782" y="1944"/>
                    </a:lnTo>
                    <a:lnTo>
                      <a:pt x="3784" y="1940"/>
                    </a:lnTo>
                    <a:lnTo>
                      <a:pt x="3782" y="1934"/>
                    </a:lnTo>
                    <a:lnTo>
                      <a:pt x="3780" y="1930"/>
                    </a:lnTo>
                    <a:lnTo>
                      <a:pt x="3774" y="1928"/>
                    </a:lnTo>
                    <a:lnTo>
                      <a:pt x="3774" y="1928"/>
                    </a:lnTo>
                    <a:lnTo>
                      <a:pt x="3768" y="1928"/>
                    </a:lnTo>
                    <a:lnTo>
                      <a:pt x="3764" y="1930"/>
                    </a:lnTo>
                    <a:lnTo>
                      <a:pt x="3760" y="1932"/>
                    </a:lnTo>
                    <a:lnTo>
                      <a:pt x="3758" y="1936"/>
                    </a:lnTo>
                    <a:lnTo>
                      <a:pt x="3758" y="1938"/>
                    </a:lnTo>
                    <a:lnTo>
                      <a:pt x="3760" y="1944"/>
                    </a:lnTo>
                    <a:lnTo>
                      <a:pt x="3762" y="1948"/>
                    </a:lnTo>
                    <a:lnTo>
                      <a:pt x="3766" y="1952"/>
                    </a:lnTo>
                    <a:lnTo>
                      <a:pt x="3766" y="1952"/>
                    </a:lnTo>
                    <a:close/>
                    <a:moveTo>
                      <a:pt x="3314" y="2942"/>
                    </a:moveTo>
                    <a:lnTo>
                      <a:pt x="3314" y="2942"/>
                    </a:lnTo>
                    <a:lnTo>
                      <a:pt x="3316" y="2940"/>
                    </a:lnTo>
                    <a:lnTo>
                      <a:pt x="3318" y="2936"/>
                    </a:lnTo>
                    <a:lnTo>
                      <a:pt x="3316" y="2932"/>
                    </a:lnTo>
                    <a:lnTo>
                      <a:pt x="3312" y="2930"/>
                    </a:lnTo>
                    <a:lnTo>
                      <a:pt x="3312" y="2930"/>
                    </a:lnTo>
                    <a:lnTo>
                      <a:pt x="3310" y="2930"/>
                    </a:lnTo>
                    <a:lnTo>
                      <a:pt x="3310" y="2932"/>
                    </a:lnTo>
                    <a:lnTo>
                      <a:pt x="3310" y="2936"/>
                    </a:lnTo>
                    <a:lnTo>
                      <a:pt x="3312" y="2940"/>
                    </a:lnTo>
                    <a:lnTo>
                      <a:pt x="3314" y="2942"/>
                    </a:lnTo>
                    <a:lnTo>
                      <a:pt x="3314" y="2942"/>
                    </a:lnTo>
                    <a:close/>
                    <a:moveTo>
                      <a:pt x="3310" y="2998"/>
                    </a:moveTo>
                    <a:lnTo>
                      <a:pt x="3310" y="2998"/>
                    </a:lnTo>
                    <a:lnTo>
                      <a:pt x="3308" y="2998"/>
                    </a:lnTo>
                    <a:lnTo>
                      <a:pt x="3308" y="3002"/>
                    </a:lnTo>
                    <a:lnTo>
                      <a:pt x="3310" y="3004"/>
                    </a:lnTo>
                    <a:lnTo>
                      <a:pt x="3312" y="3006"/>
                    </a:lnTo>
                    <a:lnTo>
                      <a:pt x="3312" y="3006"/>
                    </a:lnTo>
                    <a:lnTo>
                      <a:pt x="3314" y="3006"/>
                    </a:lnTo>
                    <a:lnTo>
                      <a:pt x="3314" y="3002"/>
                    </a:lnTo>
                    <a:lnTo>
                      <a:pt x="3312" y="2998"/>
                    </a:lnTo>
                    <a:lnTo>
                      <a:pt x="3310" y="2998"/>
                    </a:lnTo>
                    <a:lnTo>
                      <a:pt x="3310" y="2998"/>
                    </a:lnTo>
                    <a:close/>
                    <a:moveTo>
                      <a:pt x="468" y="3506"/>
                    </a:moveTo>
                    <a:lnTo>
                      <a:pt x="468" y="3506"/>
                    </a:lnTo>
                    <a:lnTo>
                      <a:pt x="468" y="3508"/>
                    </a:lnTo>
                    <a:lnTo>
                      <a:pt x="466" y="3510"/>
                    </a:lnTo>
                    <a:lnTo>
                      <a:pt x="458" y="3514"/>
                    </a:lnTo>
                    <a:lnTo>
                      <a:pt x="452" y="3518"/>
                    </a:lnTo>
                    <a:lnTo>
                      <a:pt x="450" y="3520"/>
                    </a:lnTo>
                    <a:lnTo>
                      <a:pt x="450" y="3522"/>
                    </a:lnTo>
                    <a:lnTo>
                      <a:pt x="450" y="3522"/>
                    </a:lnTo>
                    <a:lnTo>
                      <a:pt x="452" y="3524"/>
                    </a:lnTo>
                    <a:lnTo>
                      <a:pt x="456" y="3524"/>
                    </a:lnTo>
                    <a:lnTo>
                      <a:pt x="464" y="3520"/>
                    </a:lnTo>
                    <a:lnTo>
                      <a:pt x="476" y="3514"/>
                    </a:lnTo>
                    <a:lnTo>
                      <a:pt x="484" y="3504"/>
                    </a:lnTo>
                    <a:lnTo>
                      <a:pt x="484" y="3504"/>
                    </a:lnTo>
                    <a:lnTo>
                      <a:pt x="486" y="3502"/>
                    </a:lnTo>
                    <a:lnTo>
                      <a:pt x="486" y="3500"/>
                    </a:lnTo>
                    <a:lnTo>
                      <a:pt x="480" y="3502"/>
                    </a:lnTo>
                    <a:lnTo>
                      <a:pt x="468" y="3506"/>
                    </a:lnTo>
                    <a:lnTo>
                      <a:pt x="468" y="3506"/>
                    </a:lnTo>
                    <a:close/>
                    <a:moveTo>
                      <a:pt x="1966" y="4176"/>
                    </a:moveTo>
                    <a:lnTo>
                      <a:pt x="1966" y="4176"/>
                    </a:lnTo>
                    <a:lnTo>
                      <a:pt x="1966" y="4176"/>
                    </a:lnTo>
                    <a:lnTo>
                      <a:pt x="1964" y="4176"/>
                    </a:lnTo>
                    <a:lnTo>
                      <a:pt x="1960" y="4184"/>
                    </a:lnTo>
                    <a:lnTo>
                      <a:pt x="1958" y="4200"/>
                    </a:lnTo>
                    <a:lnTo>
                      <a:pt x="1956" y="4222"/>
                    </a:lnTo>
                    <a:lnTo>
                      <a:pt x="1956" y="4222"/>
                    </a:lnTo>
                    <a:lnTo>
                      <a:pt x="1954" y="4242"/>
                    </a:lnTo>
                    <a:lnTo>
                      <a:pt x="1952" y="4252"/>
                    </a:lnTo>
                    <a:lnTo>
                      <a:pt x="1950" y="4260"/>
                    </a:lnTo>
                    <a:lnTo>
                      <a:pt x="1952" y="4272"/>
                    </a:lnTo>
                    <a:lnTo>
                      <a:pt x="1952" y="4272"/>
                    </a:lnTo>
                    <a:lnTo>
                      <a:pt x="1954" y="4278"/>
                    </a:lnTo>
                    <a:lnTo>
                      <a:pt x="1956" y="4280"/>
                    </a:lnTo>
                    <a:lnTo>
                      <a:pt x="1958" y="4274"/>
                    </a:lnTo>
                    <a:lnTo>
                      <a:pt x="1962" y="4248"/>
                    </a:lnTo>
                    <a:lnTo>
                      <a:pt x="1962" y="4248"/>
                    </a:lnTo>
                    <a:lnTo>
                      <a:pt x="1962" y="4240"/>
                    </a:lnTo>
                    <a:lnTo>
                      <a:pt x="1962" y="4236"/>
                    </a:lnTo>
                    <a:lnTo>
                      <a:pt x="1962" y="4234"/>
                    </a:lnTo>
                    <a:lnTo>
                      <a:pt x="1964" y="4232"/>
                    </a:lnTo>
                    <a:lnTo>
                      <a:pt x="1964" y="4232"/>
                    </a:lnTo>
                    <a:lnTo>
                      <a:pt x="1966" y="4228"/>
                    </a:lnTo>
                    <a:lnTo>
                      <a:pt x="1966" y="4226"/>
                    </a:lnTo>
                    <a:lnTo>
                      <a:pt x="1964" y="4218"/>
                    </a:lnTo>
                    <a:lnTo>
                      <a:pt x="1964" y="4210"/>
                    </a:lnTo>
                    <a:lnTo>
                      <a:pt x="1964" y="4206"/>
                    </a:lnTo>
                    <a:lnTo>
                      <a:pt x="1964" y="4204"/>
                    </a:lnTo>
                    <a:lnTo>
                      <a:pt x="1964" y="4204"/>
                    </a:lnTo>
                    <a:lnTo>
                      <a:pt x="1968" y="4200"/>
                    </a:lnTo>
                    <a:lnTo>
                      <a:pt x="1970" y="4192"/>
                    </a:lnTo>
                    <a:lnTo>
                      <a:pt x="1970" y="4182"/>
                    </a:lnTo>
                    <a:lnTo>
                      <a:pt x="1966" y="4176"/>
                    </a:lnTo>
                    <a:lnTo>
                      <a:pt x="1966" y="4176"/>
                    </a:lnTo>
                    <a:close/>
                    <a:moveTo>
                      <a:pt x="1508" y="4454"/>
                    </a:moveTo>
                    <a:lnTo>
                      <a:pt x="1508" y="4454"/>
                    </a:lnTo>
                    <a:lnTo>
                      <a:pt x="1504" y="4444"/>
                    </a:lnTo>
                    <a:lnTo>
                      <a:pt x="1498" y="4430"/>
                    </a:lnTo>
                    <a:lnTo>
                      <a:pt x="1492" y="4416"/>
                    </a:lnTo>
                    <a:lnTo>
                      <a:pt x="1484" y="4404"/>
                    </a:lnTo>
                    <a:lnTo>
                      <a:pt x="1484" y="4404"/>
                    </a:lnTo>
                    <a:lnTo>
                      <a:pt x="1478" y="4396"/>
                    </a:lnTo>
                    <a:lnTo>
                      <a:pt x="1474" y="4388"/>
                    </a:lnTo>
                    <a:lnTo>
                      <a:pt x="1472" y="4380"/>
                    </a:lnTo>
                    <a:lnTo>
                      <a:pt x="1464" y="4372"/>
                    </a:lnTo>
                    <a:lnTo>
                      <a:pt x="1464" y="4372"/>
                    </a:lnTo>
                    <a:lnTo>
                      <a:pt x="1456" y="4364"/>
                    </a:lnTo>
                    <a:lnTo>
                      <a:pt x="1448" y="4360"/>
                    </a:lnTo>
                    <a:lnTo>
                      <a:pt x="1442" y="4360"/>
                    </a:lnTo>
                    <a:lnTo>
                      <a:pt x="1438" y="4362"/>
                    </a:lnTo>
                    <a:lnTo>
                      <a:pt x="1438" y="4362"/>
                    </a:lnTo>
                    <a:lnTo>
                      <a:pt x="1438" y="4364"/>
                    </a:lnTo>
                    <a:lnTo>
                      <a:pt x="1440" y="4368"/>
                    </a:lnTo>
                    <a:lnTo>
                      <a:pt x="1444" y="4372"/>
                    </a:lnTo>
                    <a:lnTo>
                      <a:pt x="1446" y="4382"/>
                    </a:lnTo>
                    <a:lnTo>
                      <a:pt x="1446" y="4382"/>
                    </a:lnTo>
                    <a:lnTo>
                      <a:pt x="1446" y="4392"/>
                    </a:lnTo>
                    <a:lnTo>
                      <a:pt x="1444" y="4398"/>
                    </a:lnTo>
                    <a:lnTo>
                      <a:pt x="1440" y="4404"/>
                    </a:lnTo>
                    <a:lnTo>
                      <a:pt x="1440" y="4410"/>
                    </a:lnTo>
                    <a:lnTo>
                      <a:pt x="1440" y="4410"/>
                    </a:lnTo>
                    <a:lnTo>
                      <a:pt x="1440" y="4420"/>
                    </a:lnTo>
                    <a:lnTo>
                      <a:pt x="1438" y="4430"/>
                    </a:lnTo>
                    <a:lnTo>
                      <a:pt x="1436" y="4438"/>
                    </a:lnTo>
                    <a:lnTo>
                      <a:pt x="1436" y="4438"/>
                    </a:lnTo>
                    <a:lnTo>
                      <a:pt x="1436" y="4436"/>
                    </a:lnTo>
                    <a:lnTo>
                      <a:pt x="1436" y="4436"/>
                    </a:lnTo>
                    <a:lnTo>
                      <a:pt x="1434" y="4432"/>
                    </a:lnTo>
                    <a:lnTo>
                      <a:pt x="1432" y="4432"/>
                    </a:lnTo>
                    <a:lnTo>
                      <a:pt x="1432" y="4432"/>
                    </a:lnTo>
                    <a:lnTo>
                      <a:pt x="1430" y="4440"/>
                    </a:lnTo>
                    <a:lnTo>
                      <a:pt x="1432" y="4456"/>
                    </a:lnTo>
                    <a:lnTo>
                      <a:pt x="1432" y="4456"/>
                    </a:lnTo>
                    <a:lnTo>
                      <a:pt x="1434" y="4476"/>
                    </a:lnTo>
                    <a:lnTo>
                      <a:pt x="1434" y="4500"/>
                    </a:lnTo>
                    <a:lnTo>
                      <a:pt x="1436" y="4512"/>
                    </a:lnTo>
                    <a:lnTo>
                      <a:pt x="1438" y="4524"/>
                    </a:lnTo>
                    <a:lnTo>
                      <a:pt x="1442" y="4534"/>
                    </a:lnTo>
                    <a:lnTo>
                      <a:pt x="1450" y="4544"/>
                    </a:lnTo>
                    <a:lnTo>
                      <a:pt x="1450" y="4544"/>
                    </a:lnTo>
                    <a:lnTo>
                      <a:pt x="1458" y="4548"/>
                    </a:lnTo>
                    <a:lnTo>
                      <a:pt x="1464" y="4550"/>
                    </a:lnTo>
                    <a:lnTo>
                      <a:pt x="1470" y="4550"/>
                    </a:lnTo>
                    <a:lnTo>
                      <a:pt x="1476" y="4548"/>
                    </a:lnTo>
                    <a:lnTo>
                      <a:pt x="1488" y="4540"/>
                    </a:lnTo>
                    <a:lnTo>
                      <a:pt x="1502" y="4532"/>
                    </a:lnTo>
                    <a:lnTo>
                      <a:pt x="1502" y="4532"/>
                    </a:lnTo>
                    <a:lnTo>
                      <a:pt x="1508" y="4526"/>
                    </a:lnTo>
                    <a:lnTo>
                      <a:pt x="1512" y="4520"/>
                    </a:lnTo>
                    <a:lnTo>
                      <a:pt x="1516" y="4510"/>
                    </a:lnTo>
                    <a:lnTo>
                      <a:pt x="1518" y="4502"/>
                    </a:lnTo>
                    <a:lnTo>
                      <a:pt x="1518" y="4484"/>
                    </a:lnTo>
                    <a:lnTo>
                      <a:pt x="1516" y="4476"/>
                    </a:lnTo>
                    <a:lnTo>
                      <a:pt x="1514" y="4472"/>
                    </a:lnTo>
                    <a:lnTo>
                      <a:pt x="1514" y="4472"/>
                    </a:lnTo>
                    <a:lnTo>
                      <a:pt x="1512" y="4466"/>
                    </a:lnTo>
                    <a:lnTo>
                      <a:pt x="1512" y="4462"/>
                    </a:lnTo>
                    <a:lnTo>
                      <a:pt x="1510" y="4458"/>
                    </a:lnTo>
                    <a:lnTo>
                      <a:pt x="1508" y="4454"/>
                    </a:lnTo>
                    <a:lnTo>
                      <a:pt x="1508" y="4454"/>
                    </a:lnTo>
                    <a:close/>
                    <a:moveTo>
                      <a:pt x="1946" y="4308"/>
                    </a:moveTo>
                    <a:lnTo>
                      <a:pt x="1946" y="4308"/>
                    </a:lnTo>
                    <a:lnTo>
                      <a:pt x="1942" y="4310"/>
                    </a:lnTo>
                    <a:lnTo>
                      <a:pt x="1940" y="4316"/>
                    </a:lnTo>
                    <a:lnTo>
                      <a:pt x="1940" y="4322"/>
                    </a:lnTo>
                    <a:lnTo>
                      <a:pt x="1942" y="4328"/>
                    </a:lnTo>
                    <a:lnTo>
                      <a:pt x="1942" y="4328"/>
                    </a:lnTo>
                    <a:lnTo>
                      <a:pt x="1944" y="4328"/>
                    </a:lnTo>
                    <a:lnTo>
                      <a:pt x="1946" y="4326"/>
                    </a:lnTo>
                    <a:lnTo>
                      <a:pt x="1948" y="4320"/>
                    </a:lnTo>
                    <a:lnTo>
                      <a:pt x="1950" y="4312"/>
                    </a:lnTo>
                    <a:lnTo>
                      <a:pt x="1948" y="4310"/>
                    </a:lnTo>
                    <a:lnTo>
                      <a:pt x="1946" y="4308"/>
                    </a:lnTo>
                    <a:lnTo>
                      <a:pt x="1946" y="4308"/>
                    </a:lnTo>
                    <a:close/>
                    <a:moveTo>
                      <a:pt x="1996" y="4488"/>
                    </a:moveTo>
                    <a:lnTo>
                      <a:pt x="1996" y="4488"/>
                    </a:lnTo>
                    <a:lnTo>
                      <a:pt x="1994" y="4492"/>
                    </a:lnTo>
                    <a:lnTo>
                      <a:pt x="1994" y="4496"/>
                    </a:lnTo>
                    <a:lnTo>
                      <a:pt x="1994" y="4504"/>
                    </a:lnTo>
                    <a:lnTo>
                      <a:pt x="1998" y="4508"/>
                    </a:lnTo>
                    <a:lnTo>
                      <a:pt x="2000" y="4510"/>
                    </a:lnTo>
                    <a:lnTo>
                      <a:pt x="2002" y="4508"/>
                    </a:lnTo>
                    <a:lnTo>
                      <a:pt x="2002" y="4508"/>
                    </a:lnTo>
                    <a:lnTo>
                      <a:pt x="2004" y="4506"/>
                    </a:lnTo>
                    <a:lnTo>
                      <a:pt x="2004" y="4502"/>
                    </a:lnTo>
                    <a:lnTo>
                      <a:pt x="2004" y="4494"/>
                    </a:lnTo>
                    <a:lnTo>
                      <a:pt x="2000" y="4488"/>
                    </a:lnTo>
                    <a:lnTo>
                      <a:pt x="1998" y="4488"/>
                    </a:lnTo>
                    <a:lnTo>
                      <a:pt x="1996" y="4488"/>
                    </a:lnTo>
                    <a:lnTo>
                      <a:pt x="1996" y="4488"/>
                    </a:lnTo>
                    <a:close/>
                    <a:moveTo>
                      <a:pt x="1980" y="4454"/>
                    </a:moveTo>
                    <a:lnTo>
                      <a:pt x="1980" y="4454"/>
                    </a:lnTo>
                    <a:lnTo>
                      <a:pt x="1982" y="4454"/>
                    </a:lnTo>
                    <a:lnTo>
                      <a:pt x="1984" y="4454"/>
                    </a:lnTo>
                    <a:lnTo>
                      <a:pt x="1982" y="4448"/>
                    </a:lnTo>
                    <a:lnTo>
                      <a:pt x="1982" y="4448"/>
                    </a:lnTo>
                    <a:lnTo>
                      <a:pt x="1980" y="4448"/>
                    </a:lnTo>
                    <a:lnTo>
                      <a:pt x="1978" y="4448"/>
                    </a:lnTo>
                    <a:lnTo>
                      <a:pt x="1978" y="4450"/>
                    </a:lnTo>
                    <a:lnTo>
                      <a:pt x="1980" y="4454"/>
                    </a:lnTo>
                    <a:lnTo>
                      <a:pt x="1980" y="4454"/>
                    </a:lnTo>
                    <a:close/>
                    <a:moveTo>
                      <a:pt x="1954" y="4386"/>
                    </a:moveTo>
                    <a:lnTo>
                      <a:pt x="1954" y="4386"/>
                    </a:lnTo>
                    <a:lnTo>
                      <a:pt x="1952" y="4390"/>
                    </a:lnTo>
                    <a:lnTo>
                      <a:pt x="1952" y="4394"/>
                    </a:lnTo>
                    <a:lnTo>
                      <a:pt x="1954" y="4396"/>
                    </a:lnTo>
                    <a:lnTo>
                      <a:pt x="1958" y="4396"/>
                    </a:lnTo>
                    <a:lnTo>
                      <a:pt x="1958" y="4396"/>
                    </a:lnTo>
                    <a:lnTo>
                      <a:pt x="1960" y="4394"/>
                    </a:lnTo>
                    <a:lnTo>
                      <a:pt x="1958" y="4390"/>
                    </a:lnTo>
                    <a:lnTo>
                      <a:pt x="1958" y="4386"/>
                    </a:lnTo>
                    <a:lnTo>
                      <a:pt x="1956" y="4386"/>
                    </a:lnTo>
                    <a:lnTo>
                      <a:pt x="1954" y="4386"/>
                    </a:lnTo>
                    <a:lnTo>
                      <a:pt x="1954" y="4386"/>
                    </a:lnTo>
                    <a:close/>
                    <a:moveTo>
                      <a:pt x="2078" y="4702"/>
                    </a:moveTo>
                    <a:lnTo>
                      <a:pt x="2078" y="4702"/>
                    </a:lnTo>
                    <a:lnTo>
                      <a:pt x="2078" y="4706"/>
                    </a:lnTo>
                    <a:lnTo>
                      <a:pt x="2080" y="4710"/>
                    </a:lnTo>
                    <a:lnTo>
                      <a:pt x="2084" y="4714"/>
                    </a:lnTo>
                    <a:lnTo>
                      <a:pt x="2090" y="4720"/>
                    </a:lnTo>
                    <a:lnTo>
                      <a:pt x="2090" y="4720"/>
                    </a:lnTo>
                    <a:lnTo>
                      <a:pt x="2102" y="4728"/>
                    </a:lnTo>
                    <a:lnTo>
                      <a:pt x="2106" y="4730"/>
                    </a:lnTo>
                    <a:lnTo>
                      <a:pt x="2106" y="4726"/>
                    </a:lnTo>
                    <a:lnTo>
                      <a:pt x="2106" y="4726"/>
                    </a:lnTo>
                    <a:lnTo>
                      <a:pt x="2102" y="4716"/>
                    </a:lnTo>
                    <a:lnTo>
                      <a:pt x="2094" y="4706"/>
                    </a:lnTo>
                    <a:lnTo>
                      <a:pt x="2084" y="4700"/>
                    </a:lnTo>
                    <a:lnTo>
                      <a:pt x="2080" y="4700"/>
                    </a:lnTo>
                    <a:lnTo>
                      <a:pt x="2078" y="4702"/>
                    </a:lnTo>
                    <a:lnTo>
                      <a:pt x="2078" y="4702"/>
                    </a:lnTo>
                    <a:close/>
                    <a:moveTo>
                      <a:pt x="2508" y="4960"/>
                    </a:moveTo>
                    <a:lnTo>
                      <a:pt x="2508" y="4960"/>
                    </a:lnTo>
                    <a:lnTo>
                      <a:pt x="2502" y="4956"/>
                    </a:lnTo>
                    <a:lnTo>
                      <a:pt x="2500" y="4950"/>
                    </a:lnTo>
                    <a:lnTo>
                      <a:pt x="2496" y="4932"/>
                    </a:lnTo>
                    <a:lnTo>
                      <a:pt x="2494" y="4924"/>
                    </a:lnTo>
                    <a:lnTo>
                      <a:pt x="2490" y="4918"/>
                    </a:lnTo>
                    <a:lnTo>
                      <a:pt x="2484" y="4914"/>
                    </a:lnTo>
                    <a:lnTo>
                      <a:pt x="2476" y="4912"/>
                    </a:lnTo>
                    <a:lnTo>
                      <a:pt x="2476" y="4912"/>
                    </a:lnTo>
                    <a:lnTo>
                      <a:pt x="2466" y="4916"/>
                    </a:lnTo>
                    <a:lnTo>
                      <a:pt x="2464" y="4920"/>
                    </a:lnTo>
                    <a:lnTo>
                      <a:pt x="2464" y="4926"/>
                    </a:lnTo>
                    <a:lnTo>
                      <a:pt x="2462" y="4928"/>
                    </a:lnTo>
                    <a:lnTo>
                      <a:pt x="2460" y="4932"/>
                    </a:lnTo>
                    <a:lnTo>
                      <a:pt x="2460" y="4932"/>
                    </a:lnTo>
                    <a:lnTo>
                      <a:pt x="2456" y="4936"/>
                    </a:lnTo>
                    <a:lnTo>
                      <a:pt x="2454" y="4938"/>
                    </a:lnTo>
                    <a:lnTo>
                      <a:pt x="2454" y="4940"/>
                    </a:lnTo>
                    <a:lnTo>
                      <a:pt x="2456" y="4942"/>
                    </a:lnTo>
                    <a:lnTo>
                      <a:pt x="2464" y="4944"/>
                    </a:lnTo>
                    <a:lnTo>
                      <a:pt x="2474" y="4942"/>
                    </a:lnTo>
                    <a:lnTo>
                      <a:pt x="2474" y="4942"/>
                    </a:lnTo>
                    <a:lnTo>
                      <a:pt x="2478" y="4944"/>
                    </a:lnTo>
                    <a:lnTo>
                      <a:pt x="2480" y="4948"/>
                    </a:lnTo>
                    <a:lnTo>
                      <a:pt x="2484" y="4958"/>
                    </a:lnTo>
                    <a:lnTo>
                      <a:pt x="2488" y="4972"/>
                    </a:lnTo>
                    <a:lnTo>
                      <a:pt x="2490" y="4976"/>
                    </a:lnTo>
                    <a:lnTo>
                      <a:pt x="2494" y="4978"/>
                    </a:lnTo>
                    <a:lnTo>
                      <a:pt x="2494" y="4978"/>
                    </a:lnTo>
                    <a:lnTo>
                      <a:pt x="2502" y="4984"/>
                    </a:lnTo>
                    <a:lnTo>
                      <a:pt x="2508" y="4988"/>
                    </a:lnTo>
                    <a:lnTo>
                      <a:pt x="2512" y="4990"/>
                    </a:lnTo>
                    <a:lnTo>
                      <a:pt x="2516" y="4990"/>
                    </a:lnTo>
                    <a:lnTo>
                      <a:pt x="2516" y="4990"/>
                    </a:lnTo>
                    <a:lnTo>
                      <a:pt x="2518" y="4990"/>
                    </a:lnTo>
                    <a:lnTo>
                      <a:pt x="2520" y="4988"/>
                    </a:lnTo>
                    <a:lnTo>
                      <a:pt x="2518" y="4984"/>
                    </a:lnTo>
                    <a:lnTo>
                      <a:pt x="2516" y="4978"/>
                    </a:lnTo>
                    <a:lnTo>
                      <a:pt x="2514" y="4976"/>
                    </a:lnTo>
                    <a:lnTo>
                      <a:pt x="2516" y="4974"/>
                    </a:lnTo>
                    <a:lnTo>
                      <a:pt x="2516" y="4974"/>
                    </a:lnTo>
                    <a:lnTo>
                      <a:pt x="2518" y="4970"/>
                    </a:lnTo>
                    <a:lnTo>
                      <a:pt x="2518" y="4966"/>
                    </a:lnTo>
                    <a:lnTo>
                      <a:pt x="2514" y="4964"/>
                    </a:lnTo>
                    <a:lnTo>
                      <a:pt x="2508" y="4960"/>
                    </a:lnTo>
                    <a:lnTo>
                      <a:pt x="2508" y="4960"/>
                    </a:lnTo>
                    <a:close/>
                    <a:moveTo>
                      <a:pt x="2428" y="4870"/>
                    </a:moveTo>
                    <a:lnTo>
                      <a:pt x="2428" y="4870"/>
                    </a:lnTo>
                    <a:lnTo>
                      <a:pt x="2432" y="4868"/>
                    </a:lnTo>
                    <a:lnTo>
                      <a:pt x="2434" y="4862"/>
                    </a:lnTo>
                    <a:lnTo>
                      <a:pt x="2434" y="4858"/>
                    </a:lnTo>
                    <a:lnTo>
                      <a:pt x="2432" y="4856"/>
                    </a:lnTo>
                    <a:lnTo>
                      <a:pt x="2430" y="4856"/>
                    </a:lnTo>
                    <a:lnTo>
                      <a:pt x="2430" y="4856"/>
                    </a:lnTo>
                    <a:lnTo>
                      <a:pt x="2426" y="4858"/>
                    </a:lnTo>
                    <a:lnTo>
                      <a:pt x="2424" y="4860"/>
                    </a:lnTo>
                    <a:lnTo>
                      <a:pt x="2420" y="4866"/>
                    </a:lnTo>
                    <a:lnTo>
                      <a:pt x="2420" y="4868"/>
                    </a:lnTo>
                    <a:lnTo>
                      <a:pt x="2420" y="4872"/>
                    </a:lnTo>
                    <a:lnTo>
                      <a:pt x="2424" y="4872"/>
                    </a:lnTo>
                    <a:lnTo>
                      <a:pt x="2428" y="4870"/>
                    </a:lnTo>
                    <a:lnTo>
                      <a:pt x="2428" y="4870"/>
                    </a:lnTo>
                    <a:close/>
                    <a:moveTo>
                      <a:pt x="2450" y="4852"/>
                    </a:moveTo>
                    <a:lnTo>
                      <a:pt x="2450" y="4852"/>
                    </a:lnTo>
                    <a:lnTo>
                      <a:pt x="2444" y="4848"/>
                    </a:lnTo>
                    <a:lnTo>
                      <a:pt x="2434" y="4840"/>
                    </a:lnTo>
                    <a:lnTo>
                      <a:pt x="2434" y="4840"/>
                    </a:lnTo>
                    <a:lnTo>
                      <a:pt x="2430" y="4836"/>
                    </a:lnTo>
                    <a:lnTo>
                      <a:pt x="2428" y="4838"/>
                    </a:lnTo>
                    <a:lnTo>
                      <a:pt x="2428" y="4846"/>
                    </a:lnTo>
                    <a:lnTo>
                      <a:pt x="2428" y="4846"/>
                    </a:lnTo>
                    <a:lnTo>
                      <a:pt x="2430" y="4848"/>
                    </a:lnTo>
                    <a:lnTo>
                      <a:pt x="2432" y="4850"/>
                    </a:lnTo>
                    <a:lnTo>
                      <a:pt x="2438" y="4854"/>
                    </a:lnTo>
                    <a:lnTo>
                      <a:pt x="2446" y="4854"/>
                    </a:lnTo>
                    <a:lnTo>
                      <a:pt x="2450" y="4852"/>
                    </a:lnTo>
                    <a:lnTo>
                      <a:pt x="2450" y="4852"/>
                    </a:lnTo>
                    <a:close/>
                    <a:moveTo>
                      <a:pt x="2378" y="4806"/>
                    </a:moveTo>
                    <a:lnTo>
                      <a:pt x="2378" y="4806"/>
                    </a:lnTo>
                    <a:lnTo>
                      <a:pt x="2376" y="4806"/>
                    </a:lnTo>
                    <a:lnTo>
                      <a:pt x="2376" y="4810"/>
                    </a:lnTo>
                    <a:lnTo>
                      <a:pt x="2376" y="4812"/>
                    </a:lnTo>
                    <a:lnTo>
                      <a:pt x="2378" y="4814"/>
                    </a:lnTo>
                    <a:lnTo>
                      <a:pt x="2378" y="4814"/>
                    </a:lnTo>
                    <a:lnTo>
                      <a:pt x="2382" y="4814"/>
                    </a:lnTo>
                    <a:lnTo>
                      <a:pt x="2382" y="4810"/>
                    </a:lnTo>
                    <a:lnTo>
                      <a:pt x="2380" y="4806"/>
                    </a:lnTo>
                    <a:lnTo>
                      <a:pt x="2378" y="4806"/>
                    </a:lnTo>
                    <a:lnTo>
                      <a:pt x="2378" y="4806"/>
                    </a:lnTo>
                    <a:close/>
                    <a:moveTo>
                      <a:pt x="2422" y="4774"/>
                    </a:moveTo>
                    <a:lnTo>
                      <a:pt x="2422" y="4774"/>
                    </a:lnTo>
                    <a:lnTo>
                      <a:pt x="2414" y="4778"/>
                    </a:lnTo>
                    <a:lnTo>
                      <a:pt x="2412" y="4782"/>
                    </a:lnTo>
                    <a:lnTo>
                      <a:pt x="2412" y="4782"/>
                    </a:lnTo>
                    <a:lnTo>
                      <a:pt x="2410" y="4784"/>
                    </a:lnTo>
                    <a:lnTo>
                      <a:pt x="2410" y="4784"/>
                    </a:lnTo>
                    <a:lnTo>
                      <a:pt x="2406" y="4788"/>
                    </a:lnTo>
                    <a:lnTo>
                      <a:pt x="2406" y="4790"/>
                    </a:lnTo>
                    <a:lnTo>
                      <a:pt x="2410" y="4792"/>
                    </a:lnTo>
                    <a:lnTo>
                      <a:pt x="2414" y="4790"/>
                    </a:lnTo>
                    <a:lnTo>
                      <a:pt x="2414" y="4790"/>
                    </a:lnTo>
                    <a:lnTo>
                      <a:pt x="2414" y="4790"/>
                    </a:lnTo>
                    <a:lnTo>
                      <a:pt x="2414" y="4790"/>
                    </a:lnTo>
                    <a:lnTo>
                      <a:pt x="2420" y="4796"/>
                    </a:lnTo>
                    <a:lnTo>
                      <a:pt x="2420" y="4796"/>
                    </a:lnTo>
                    <a:lnTo>
                      <a:pt x="2416" y="4796"/>
                    </a:lnTo>
                    <a:lnTo>
                      <a:pt x="2414" y="4796"/>
                    </a:lnTo>
                    <a:lnTo>
                      <a:pt x="2414" y="4798"/>
                    </a:lnTo>
                    <a:lnTo>
                      <a:pt x="2414" y="4800"/>
                    </a:lnTo>
                    <a:lnTo>
                      <a:pt x="2414" y="4800"/>
                    </a:lnTo>
                    <a:lnTo>
                      <a:pt x="2418" y="4804"/>
                    </a:lnTo>
                    <a:lnTo>
                      <a:pt x="2420" y="4804"/>
                    </a:lnTo>
                    <a:lnTo>
                      <a:pt x="2422" y="4802"/>
                    </a:lnTo>
                    <a:lnTo>
                      <a:pt x="2420" y="4798"/>
                    </a:lnTo>
                    <a:lnTo>
                      <a:pt x="2420" y="4798"/>
                    </a:lnTo>
                    <a:lnTo>
                      <a:pt x="2420" y="4798"/>
                    </a:lnTo>
                    <a:lnTo>
                      <a:pt x="2420" y="4798"/>
                    </a:lnTo>
                    <a:lnTo>
                      <a:pt x="2432" y="4808"/>
                    </a:lnTo>
                    <a:lnTo>
                      <a:pt x="2432" y="4808"/>
                    </a:lnTo>
                    <a:lnTo>
                      <a:pt x="2436" y="4808"/>
                    </a:lnTo>
                    <a:lnTo>
                      <a:pt x="2438" y="4804"/>
                    </a:lnTo>
                    <a:lnTo>
                      <a:pt x="2438" y="4798"/>
                    </a:lnTo>
                    <a:lnTo>
                      <a:pt x="2438" y="4790"/>
                    </a:lnTo>
                    <a:lnTo>
                      <a:pt x="2436" y="4782"/>
                    </a:lnTo>
                    <a:lnTo>
                      <a:pt x="2434" y="4776"/>
                    </a:lnTo>
                    <a:lnTo>
                      <a:pt x="2428" y="4774"/>
                    </a:lnTo>
                    <a:lnTo>
                      <a:pt x="2422" y="4774"/>
                    </a:lnTo>
                    <a:lnTo>
                      <a:pt x="2422" y="4774"/>
                    </a:lnTo>
                    <a:close/>
                    <a:moveTo>
                      <a:pt x="2384" y="4796"/>
                    </a:moveTo>
                    <a:lnTo>
                      <a:pt x="2384" y="4796"/>
                    </a:lnTo>
                    <a:lnTo>
                      <a:pt x="2384" y="4798"/>
                    </a:lnTo>
                    <a:lnTo>
                      <a:pt x="2384" y="4802"/>
                    </a:lnTo>
                    <a:lnTo>
                      <a:pt x="2386" y="4806"/>
                    </a:lnTo>
                    <a:lnTo>
                      <a:pt x="2390" y="4806"/>
                    </a:lnTo>
                    <a:lnTo>
                      <a:pt x="2390" y="4806"/>
                    </a:lnTo>
                    <a:lnTo>
                      <a:pt x="2392" y="4806"/>
                    </a:lnTo>
                    <a:lnTo>
                      <a:pt x="2390" y="4802"/>
                    </a:lnTo>
                    <a:lnTo>
                      <a:pt x="2388" y="4798"/>
                    </a:lnTo>
                    <a:lnTo>
                      <a:pt x="2384" y="4796"/>
                    </a:lnTo>
                    <a:lnTo>
                      <a:pt x="2384" y="4796"/>
                    </a:lnTo>
                    <a:close/>
                    <a:moveTo>
                      <a:pt x="2578" y="4662"/>
                    </a:moveTo>
                    <a:lnTo>
                      <a:pt x="2578" y="4662"/>
                    </a:lnTo>
                    <a:lnTo>
                      <a:pt x="2580" y="4662"/>
                    </a:lnTo>
                    <a:lnTo>
                      <a:pt x="2584" y="4660"/>
                    </a:lnTo>
                    <a:lnTo>
                      <a:pt x="2584" y="4650"/>
                    </a:lnTo>
                    <a:lnTo>
                      <a:pt x="2584" y="4640"/>
                    </a:lnTo>
                    <a:lnTo>
                      <a:pt x="2582" y="4634"/>
                    </a:lnTo>
                    <a:lnTo>
                      <a:pt x="2582" y="4634"/>
                    </a:lnTo>
                    <a:lnTo>
                      <a:pt x="2578" y="4634"/>
                    </a:lnTo>
                    <a:lnTo>
                      <a:pt x="2574" y="4640"/>
                    </a:lnTo>
                    <a:lnTo>
                      <a:pt x="2570" y="4646"/>
                    </a:lnTo>
                    <a:lnTo>
                      <a:pt x="2572" y="4650"/>
                    </a:lnTo>
                    <a:lnTo>
                      <a:pt x="2574" y="4652"/>
                    </a:lnTo>
                    <a:lnTo>
                      <a:pt x="2574" y="4652"/>
                    </a:lnTo>
                    <a:lnTo>
                      <a:pt x="2578" y="4656"/>
                    </a:lnTo>
                    <a:lnTo>
                      <a:pt x="2576" y="4658"/>
                    </a:lnTo>
                    <a:lnTo>
                      <a:pt x="2574" y="4660"/>
                    </a:lnTo>
                    <a:lnTo>
                      <a:pt x="2578" y="4662"/>
                    </a:lnTo>
                    <a:lnTo>
                      <a:pt x="2578" y="4662"/>
                    </a:lnTo>
                    <a:close/>
                    <a:moveTo>
                      <a:pt x="2136" y="4766"/>
                    </a:moveTo>
                    <a:lnTo>
                      <a:pt x="2136" y="4766"/>
                    </a:lnTo>
                    <a:lnTo>
                      <a:pt x="2134" y="4768"/>
                    </a:lnTo>
                    <a:lnTo>
                      <a:pt x="2134" y="4772"/>
                    </a:lnTo>
                    <a:lnTo>
                      <a:pt x="2138" y="4782"/>
                    </a:lnTo>
                    <a:lnTo>
                      <a:pt x="2154" y="4806"/>
                    </a:lnTo>
                    <a:lnTo>
                      <a:pt x="2154" y="4806"/>
                    </a:lnTo>
                    <a:lnTo>
                      <a:pt x="2158" y="4812"/>
                    </a:lnTo>
                    <a:lnTo>
                      <a:pt x="2162" y="4812"/>
                    </a:lnTo>
                    <a:lnTo>
                      <a:pt x="2164" y="4810"/>
                    </a:lnTo>
                    <a:lnTo>
                      <a:pt x="2166" y="4806"/>
                    </a:lnTo>
                    <a:lnTo>
                      <a:pt x="2166" y="4794"/>
                    </a:lnTo>
                    <a:lnTo>
                      <a:pt x="2164" y="4790"/>
                    </a:lnTo>
                    <a:lnTo>
                      <a:pt x="2160" y="4786"/>
                    </a:lnTo>
                    <a:lnTo>
                      <a:pt x="2160" y="4786"/>
                    </a:lnTo>
                    <a:lnTo>
                      <a:pt x="2154" y="4780"/>
                    </a:lnTo>
                    <a:lnTo>
                      <a:pt x="2150" y="4772"/>
                    </a:lnTo>
                    <a:lnTo>
                      <a:pt x="2144" y="4768"/>
                    </a:lnTo>
                    <a:lnTo>
                      <a:pt x="2140" y="4766"/>
                    </a:lnTo>
                    <a:lnTo>
                      <a:pt x="2136" y="4766"/>
                    </a:lnTo>
                    <a:lnTo>
                      <a:pt x="2136" y="4766"/>
                    </a:lnTo>
                    <a:close/>
                    <a:moveTo>
                      <a:pt x="2832" y="5258"/>
                    </a:moveTo>
                    <a:lnTo>
                      <a:pt x="2832" y="5258"/>
                    </a:lnTo>
                    <a:lnTo>
                      <a:pt x="2828" y="5254"/>
                    </a:lnTo>
                    <a:lnTo>
                      <a:pt x="2828" y="5248"/>
                    </a:lnTo>
                    <a:lnTo>
                      <a:pt x="2832" y="5234"/>
                    </a:lnTo>
                    <a:lnTo>
                      <a:pt x="2832" y="5226"/>
                    </a:lnTo>
                    <a:lnTo>
                      <a:pt x="2832" y="5220"/>
                    </a:lnTo>
                    <a:lnTo>
                      <a:pt x="2828" y="5214"/>
                    </a:lnTo>
                    <a:lnTo>
                      <a:pt x="2820" y="5212"/>
                    </a:lnTo>
                    <a:lnTo>
                      <a:pt x="2820" y="5212"/>
                    </a:lnTo>
                    <a:lnTo>
                      <a:pt x="2808" y="5212"/>
                    </a:lnTo>
                    <a:lnTo>
                      <a:pt x="2798" y="5214"/>
                    </a:lnTo>
                    <a:lnTo>
                      <a:pt x="2786" y="5216"/>
                    </a:lnTo>
                    <a:lnTo>
                      <a:pt x="2780" y="5216"/>
                    </a:lnTo>
                    <a:lnTo>
                      <a:pt x="2772" y="5212"/>
                    </a:lnTo>
                    <a:lnTo>
                      <a:pt x="2772" y="5212"/>
                    </a:lnTo>
                    <a:lnTo>
                      <a:pt x="2762" y="5208"/>
                    </a:lnTo>
                    <a:lnTo>
                      <a:pt x="2762" y="5206"/>
                    </a:lnTo>
                    <a:lnTo>
                      <a:pt x="2762" y="5204"/>
                    </a:lnTo>
                    <a:lnTo>
                      <a:pt x="2762" y="5196"/>
                    </a:lnTo>
                    <a:lnTo>
                      <a:pt x="2762" y="5190"/>
                    </a:lnTo>
                    <a:lnTo>
                      <a:pt x="2758" y="5184"/>
                    </a:lnTo>
                    <a:lnTo>
                      <a:pt x="2758" y="5184"/>
                    </a:lnTo>
                    <a:lnTo>
                      <a:pt x="2754" y="5178"/>
                    </a:lnTo>
                    <a:lnTo>
                      <a:pt x="2752" y="5174"/>
                    </a:lnTo>
                    <a:lnTo>
                      <a:pt x="2748" y="5174"/>
                    </a:lnTo>
                    <a:lnTo>
                      <a:pt x="2746" y="5176"/>
                    </a:lnTo>
                    <a:lnTo>
                      <a:pt x="2740" y="5178"/>
                    </a:lnTo>
                    <a:lnTo>
                      <a:pt x="2738" y="5178"/>
                    </a:lnTo>
                    <a:lnTo>
                      <a:pt x="2734" y="5174"/>
                    </a:lnTo>
                    <a:lnTo>
                      <a:pt x="2734" y="5174"/>
                    </a:lnTo>
                    <a:lnTo>
                      <a:pt x="2730" y="5168"/>
                    </a:lnTo>
                    <a:lnTo>
                      <a:pt x="2728" y="5170"/>
                    </a:lnTo>
                    <a:lnTo>
                      <a:pt x="2726" y="5170"/>
                    </a:lnTo>
                    <a:lnTo>
                      <a:pt x="2720" y="5166"/>
                    </a:lnTo>
                    <a:lnTo>
                      <a:pt x="2720" y="5166"/>
                    </a:lnTo>
                    <a:lnTo>
                      <a:pt x="2718" y="5164"/>
                    </a:lnTo>
                    <a:lnTo>
                      <a:pt x="2714" y="5162"/>
                    </a:lnTo>
                    <a:lnTo>
                      <a:pt x="2708" y="5164"/>
                    </a:lnTo>
                    <a:lnTo>
                      <a:pt x="2704" y="5166"/>
                    </a:lnTo>
                    <a:lnTo>
                      <a:pt x="2700" y="5166"/>
                    </a:lnTo>
                    <a:lnTo>
                      <a:pt x="2698" y="5162"/>
                    </a:lnTo>
                    <a:lnTo>
                      <a:pt x="2698" y="5162"/>
                    </a:lnTo>
                    <a:lnTo>
                      <a:pt x="2694" y="5154"/>
                    </a:lnTo>
                    <a:lnTo>
                      <a:pt x="2692" y="5150"/>
                    </a:lnTo>
                    <a:lnTo>
                      <a:pt x="2688" y="5148"/>
                    </a:lnTo>
                    <a:lnTo>
                      <a:pt x="2686" y="5150"/>
                    </a:lnTo>
                    <a:lnTo>
                      <a:pt x="2682" y="5152"/>
                    </a:lnTo>
                    <a:lnTo>
                      <a:pt x="2680" y="5156"/>
                    </a:lnTo>
                    <a:lnTo>
                      <a:pt x="2676" y="5166"/>
                    </a:lnTo>
                    <a:lnTo>
                      <a:pt x="2676" y="5166"/>
                    </a:lnTo>
                    <a:lnTo>
                      <a:pt x="2670" y="5178"/>
                    </a:lnTo>
                    <a:lnTo>
                      <a:pt x="2668" y="5180"/>
                    </a:lnTo>
                    <a:lnTo>
                      <a:pt x="2666" y="5180"/>
                    </a:lnTo>
                    <a:lnTo>
                      <a:pt x="2660" y="5176"/>
                    </a:lnTo>
                    <a:lnTo>
                      <a:pt x="2654" y="5174"/>
                    </a:lnTo>
                    <a:lnTo>
                      <a:pt x="2646" y="5172"/>
                    </a:lnTo>
                    <a:lnTo>
                      <a:pt x="2646" y="5172"/>
                    </a:lnTo>
                    <a:lnTo>
                      <a:pt x="2634" y="5174"/>
                    </a:lnTo>
                    <a:lnTo>
                      <a:pt x="2630" y="5174"/>
                    </a:lnTo>
                    <a:lnTo>
                      <a:pt x="2626" y="5176"/>
                    </a:lnTo>
                    <a:lnTo>
                      <a:pt x="2620" y="5174"/>
                    </a:lnTo>
                    <a:lnTo>
                      <a:pt x="2620" y="5174"/>
                    </a:lnTo>
                    <a:lnTo>
                      <a:pt x="2612" y="5172"/>
                    </a:lnTo>
                    <a:lnTo>
                      <a:pt x="2604" y="5172"/>
                    </a:lnTo>
                    <a:lnTo>
                      <a:pt x="2600" y="5170"/>
                    </a:lnTo>
                    <a:lnTo>
                      <a:pt x="2596" y="5168"/>
                    </a:lnTo>
                    <a:lnTo>
                      <a:pt x="2594" y="5162"/>
                    </a:lnTo>
                    <a:lnTo>
                      <a:pt x="2590" y="5154"/>
                    </a:lnTo>
                    <a:lnTo>
                      <a:pt x="2590" y="5154"/>
                    </a:lnTo>
                    <a:lnTo>
                      <a:pt x="2588" y="5148"/>
                    </a:lnTo>
                    <a:lnTo>
                      <a:pt x="2586" y="5144"/>
                    </a:lnTo>
                    <a:lnTo>
                      <a:pt x="2584" y="5144"/>
                    </a:lnTo>
                    <a:lnTo>
                      <a:pt x="2582" y="5144"/>
                    </a:lnTo>
                    <a:lnTo>
                      <a:pt x="2576" y="5146"/>
                    </a:lnTo>
                    <a:lnTo>
                      <a:pt x="2574" y="5146"/>
                    </a:lnTo>
                    <a:lnTo>
                      <a:pt x="2570" y="5142"/>
                    </a:lnTo>
                    <a:lnTo>
                      <a:pt x="2570" y="5142"/>
                    </a:lnTo>
                    <a:lnTo>
                      <a:pt x="2566" y="5140"/>
                    </a:lnTo>
                    <a:lnTo>
                      <a:pt x="2564" y="5140"/>
                    </a:lnTo>
                    <a:lnTo>
                      <a:pt x="2558" y="5140"/>
                    </a:lnTo>
                    <a:lnTo>
                      <a:pt x="2554" y="5142"/>
                    </a:lnTo>
                    <a:lnTo>
                      <a:pt x="2552" y="5140"/>
                    </a:lnTo>
                    <a:lnTo>
                      <a:pt x="2550" y="5138"/>
                    </a:lnTo>
                    <a:lnTo>
                      <a:pt x="2550" y="5138"/>
                    </a:lnTo>
                    <a:lnTo>
                      <a:pt x="2544" y="5132"/>
                    </a:lnTo>
                    <a:lnTo>
                      <a:pt x="2538" y="5128"/>
                    </a:lnTo>
                    <a:lnTo>
                      <a:pt x="2532" y="5128"/>
                    </a:lnTo>
                    <a:lnTo>
                      <a:pt x="2530" y="5130"/>
                    </a:lnTo>
                    <a:lnTo>
                      <a:pt x="2530" y="5132"/>
                    </a:lnTo>
                    <a:lnTo>
                      <a:pt x="2530" y="5132"/>
                    </a:lnTo>
                    <a:lnTo>
                      <a:pt x="2528" y="5136"/>
                    </a:lnTo>
                    <a:lnTo>
                      <a:pt x="2526" y="5136"/>
                    </a:lnTo>
                    <a:lnTo>
                      <a:pt x="2520" y="5136"/>
                    </a:lnTo>
                    <a:lnTo>
                      <a:pt x="2512" y="5132"/>
                    </a:lnTo>
                    <a:lnTo>
                      <a:pt x="2498" y="5130"/>
                    </a:lnTo>
                    <a:lnTo>
                      <a:pt x="2498" y="5130"/>
                    </a:lnTo>
                    <a:lnTo>
                      <a:pt x="2492" y="5130"/>
                    </a:lnTo>
                    <a:lnTo>
                      <a:pt x="2488" y="5132"/>
                    </a:lnTo>
                    <a:lnTo>
                      <a:pt x="2486" y="5136"/>
                    </a:lnTo>
                    <a:lnTo>
                      <a:pt x="2484" y="5140"/>
                    </a:lnTo>
                    <a:lnTo>
                      <a:pt x="2482" y="5150"/>
                    </a:lnTo>
                    <a:lnTo>
                      <a:pt x="2480" y="5152"/>
                    </a:lnTo>
                    <a:lnTo>
                      <a:pt x="2478" y="5154"/>
                    </a:lnTo>
                    <a:lnTo>
                      <a:pt x="2478" y="5154"/>
                    </a:lnTo>
                    <a:lnTo>
                      <a:pt x="2474" y="5156"/>
                    </a:lnTo>
                    <a:lnTo>
                      <a:pt x="2472" y="5160"/>
                    </a:lnTo>
                    <a:lnTo>
                      <a:pt x="2472" y="5164"/>
                    </a:lnTo>
                    <a:lnTo>
                      <a:pt x="2464" y="5164"/>
                    </a:lnTo>
                    <a:lnTo>
                      <a:pt x="2464" y="5164"/>
                    </a:lnTo>
                    <a:lnTo>
                      <a:pt x="2460" y="5166"/>
                    </a:lnTo>
                    <a:lnTo>
                      <a:pt x="2458" y="5168"/>
                    </a:lnTo>
                    <a:lnTo>
                      <a:pt x="2460" y="5172"/>
                    </a:lnTo>
                    <a:lnTo>
                      <a:pt x="2464" y="5174"/>
                    </a:lnTo>
                    <a:lnTo>
                      <a:pt x="2464" y="5174"/>
                    </a:lnTo>
                    <a:lnTo>
                      <a:pt x="2474" y="5174"/>
                    </a:lnTo>
                    <a:lnTo>
                      <a:pt x="2482" y="5174"/>
                    </a:lnTo>
                    <a:lnTo>
                      <a:pt x="2490" y="5174"/>
                    </a:lnTo>
                    <a:lnTo>
                      <a:pt x="2494" y="5174"/>
                    </a:lnTo>
                    <a:lnTo>
                      <a:pt x="2496" y="5178"/>
                    </a:lnTo>
                    <a:lnTo>
                      <a:pt x="2496" y="5178"/>
                    </a:lnTo>
                    <a:lnTo>
                      <a:pt x="2500" y="5180"/>
                    </a:lnTo>
                    <a:lnTo>
                      <a:pt x="2504" y="5180"/>
                    </a:lnTo>
                    <a:lnTo>
                      <a:pt x="2510" y="5180"/>
                    </a:lnTo>
                    <a:lnTo>
                      <a:pt x="2510" y="5180"/>
                    </a:lnTo>
                    <a:lnTo>
                      <a:pt x="2512" y="5180"/>
                    </a:lnTo>
                    <a:lnTo>
                      <a:pt x="2508" y="5188"/>
                    </a:lnTo>
                    <a:lnTo>
                      <a:pt x="2508" y="5188"/>
                    </a:lnTo>
                    <a:lnTo>
                      <a:pt x="2506" y="5194"/>
                    </a:lnTo>
                    <a:lnTo>
                      <a:pt x="2508" y="5198"/>
                    </a:lnTo>
                    <a:lnTo>
                      <a:pt x="2510" y="5200"/>
                    </a:lnTo>
                    <a:lnTo>
                      <a:pt x="2516" y="5200"/>
                    </a:lnTo>
                    <a:lnTo>
                      <a:pt x="2536" y="5204"/>
                    </a:lnTo>
                    <a:lnTo>
                      <a:pt x="2550" y="5210"/>
                    </a:lnTo>
                    <a:lnTo>
                      <a:pt x="2570" y="5218"/>
                    </a:lnTo>
                    <a:lnTo>
                      <a:pt x="2570" y="5218"/>
                    </a:lnTo>
                    <a:lnTo>
                      <a:pt x="2576" y="5220"/>
                    </a:lnTo>
                    <a:lnTo>
                      <a:pt x="2584" y="5220"/>
                    </a:lnTo>
                    <a:lnTo>
                      <a:pt x="2588" y="5220"/>
                    </a:lnTo>
                    <a:lnTo>
                      <a:pt x="2594" y="5218"/>
                    </a:lnTo>
                    <a:lnTo>
                      <a:pt x="2602" y="5214"/>
                    </a:lnTo>
                    <a:lnTo>
                      <a:pt x="2606" y="5214"/>
                    </a:lnTo>
                    <a:lnTo>
                      <a:pt x="2608" y="5214"/>
                    </a:lnTo>
                    <a:lnTo>
                      <a:pt x="2608" y="5214"/>
                    </a:lnTo>
                    <a:lnTo>
                      <a:pt x="2614" y="5218"/>
                    </a:lnTo>
                    <a:lnTo>
                      <a:pt x="2620" y="5216"/>
                    </a:lnTo>
                    <a:lnTo>
                      <a:pt x="2628" y="5216"/>
                    </a:lnTo>
                    <a:lnTo>
                      <a:pt x="2642" y="5218"/>
                    </a:lnTo>
                    <a:lnTo>
                      <a:pt x="2642" y="5218"/>
                    </a:lnTo>
                    <a:lnTo>
                      <a:pt x="2648" y="5220"/>
                    </a:lnTo>
                    <a:lnTo>
                      <a:pt x="2654" y="5224"/>
                    </a:lnTo>
                    <a:lnTo>
                      <a:pt x="2662" y="5230"/>
                    </a:lnTo>
                    <a:lnTo>
                      <a:pt x="2668" y="5234"/>
                    </a:lnTo>
                    <a:lnTo>
                      <a:pt x="2676" y="5238"/>
                    </a:lnTo>
                    <a:lnTo>
                      <a:pt x="2690" y="5242"/>
                    </a:lnTo>
                    <a:lnTo>
                      <a:pt x="2706" y="5246"/>
                    </a:lnTo>
                    <a:lnTo>
                      <a:pt x="2706" y="5246"/>
                    </a:lnTo>
                    <a:lnTo>
                      <a:pt x="2722" y="5248"/>
                    </a:lnTo>
                    <a:lnTo>
                      <a:pt x="2726" y="5246"/>
                    </a:lnTo>
                    <a:lnTo>
                      <a:pt x="2728" y="5244"/>
                    </a:lnTo>
                    <a:lnTo>
                      <a:pt x="2732" y="5244"/>
                    </a:lnTo>
                    <a:lnTo>
                      <a:pt x="2752" y="5248"/>
                    </a:lnTo>
                    <a:lnTo>
                      <a:pt x="2752" y="5248"/>
                    </a:lnTo>
                    <a:lnTo>
                      <a:pt x="2764" y="5250"/>
                    </a:lnTo>
                    <a:lnTo>
                      <a:pt x="2770" y="5248"/>
                    </a:lnTo>
                    <a:lnTo>
                      <a:pt x="2772" y="5246"/>
                    </a:lnTo>
                    <a:lnTo>
                      <a:pt x="2774" y="5244"/>
                    </a:lnTo>
                    <a:lnTo>
                      <a:pt x="2774" y="5242"/>
                    </a:lnTo>
                    <a:lnTo>
                      <a:pt x="2776" y="5242"/>
                    </a:lnTo>
                    <a:lnTo>
                      <a:pt x="2794" y="5250"/>
                    </a:lnTo>
                    <a:lnTo>
                      <a:pt x="2794" y="5250"/>
                    </a:lnTo>
                    <a:lnTo>
                      <a:pt x="2806" y="5256"/>
                    </a:lnTo>
                    <a:lnTo>
                      <a:pt x="2814" y="5258"/>
                    </a:lnTo>
                    <a:lnTo>
                      <a:pt x="2820" y="5260"/>
                    </a:lnTo>
                    <a:lnTo>
                      <a:pt x="2828" y="5264"/>
                    </a:lnTo>
                    <a:lnTo>
                      <a:pt x="2828" y="5264"/>
                    </a:lnTo>
                    <a:lnTo>
                      <a:pt x="2834" y="5268"/>
                    </a:lnTo>
                    <a:lnTo>
                      <a:pt x="2836" y="5268"/>
                    </a:lnTo>
                    <a:lnTo>
                      <a:pt x="2836" y="5266"/>
                    </a:lnTo>
                    <a:lnTo>
                      <a:pt x="2836" y="5262"/>
                    </a:lnTo>
                    <a:lnTo>
                      <a:pt x="2832" y="5258"/>
                    </a:lnTo>
                    <a:lnTo>
                      <a:pt x="2832" y="5258"/>
                    </a:lnTo>
                    <a:close/>
                    <a:moveTo>
                      <a:pt x="2398" y="4778"/>
                    </a:moveTo>
                    <a:lnTo>
                      <a:pt x="2398" y="4778"/>
                    </a:lnTo>
                    <a:lnTo>
                      <a:pt x="2400" y="4780"/>
                    </a:lnTo>
                    <a:lnTo>
                      <a:pt x="2402" y="4780"/>
                    </a:lnTo>
                    <a:lnTo>
                      <a:pt x="2406" y="4780"/>
                    </a:lnTo>
                    <a:lnTo>
                      <a:pt x="2410" y="4776"/>
                    </a:lnTo>
                    <a:lnTo>
                      <a:pt x="2410" y="4774"/>
                    </a:lnTo>
                    <a:lnTo>
                      <a:pt x="2410" y="4774"/>
                    </a:lnTo>
                    <a:lnTo>
                      <a:pt x="2408" y="4772"/>
                    </a:lnTo>
                    <a:lnTo>
                      <a:pt x="2402" y="4772"/>
                    </a:lnTo>
                    <a:lnTo>
                      <a:pt x="2398" y="4774"/>
                    </a:lnTo>
                    <a:lnTo>
                      <a:pt x="2398" y="4776"/>
                    </a:lnTo>
                    <a:lnTo>
                      <a:pt x="2398" y="4778"/>
                    </a:lnTo>
                    <a:lnTo>
                      <a:pt x="2398" y="4778"/>
                    </a:lnTo>
                    <a:close/>
                    <a:moveTo>
                      <a:pt x="2330" y="4760"/>
                    </a:moveTo>
                    <a:lnTo>
                      <a:pt x="2330" y="4760"/>
                    </a:lnTo>
                    <a:lnTo>
                      <a:pt x="2330" y="4762"/>
                    </a:lnTo>
                    <a:lnTo>
                      <a:pt x="2332" y="4764"/>
                    </a:lnTo>
                    <a:lnTo>
                      <a:pt x="2340" y="4770"/>
                    </a:lnTo>
                    <a:lnTo>
                      <a:pt x="2340" y="4770"/>
                    </a:lnTo>
                    <a:lnTo>
                      <a:pt x="2348" y="4774"/>
                    </a:lnTo>
                    <a:lnTo>
                      <a:pt x="2350" y="4774"/>
                    </a:lnTo>
                    <a:lnTo>
                      <a:pt x="2350" y="4770"/>
                    </a:lnTo>
                    <a:lnTo>
                      <a:pt x="2350" y="4770"/>
                    </a:lnTo>
                    <a:lnTo>
                      <a:pt x="2350" y="4768"/>
                    </a:lnTo>
                    <a:lnTo>
                      <a:pt x="2346" y="4764"/>
                    </a:lnTo>
                    <a:lnTo>
                      <a:pt x="2340" y="4760"/>
                    </a:lnTo>
                    <a:lnTo>
                      <a:pt x="2334" y="4758"/>
                    </a:lnTo>
                    <a:lnTo>
                      <a:pt x="2332" y="4758"/>
                    </a:lnTo>
                    <a:lnTo>
                      <a:pt x="2330" y="4760"/>
                    </a:lnTo>
                    <a:lnTo>
                      <a:pt x="2330" y="4760"/>
                    </a:lnTo>
                    <a:close/>
                    <a:moveTo>
                      <a:pt x="2230" y="4942"/>
                    </a:moveTo>
                    <a:lnTo>
                      <a:pt x="2230" y="4942"/>
                    </a:lnTo>
                    <a:lnTo>
                      <a:pt x="2230" y="4944"/>
                    </a:lnTo>
                    <a:lnTo>
                      <a:pt x="2230" y="4946"/>
                    </a:lnTo>
                    <a:lnTo>
                      <a:pt x="2234" y="4952"/>
                    </a:lnTo>
                    <a:lnTo>
                      <a:pt x="2238" y="4956"/>
                    </a:lnTo>
                    <a:lnTo>
                      <a:pt x="2242" y="4956"/>
                    </a:lnTo>
                    <a:lnTo>
                      <a:pt x="2244" y="4954"/>
                    </a:lnTo>
                    <a:lnTo>
                      <a:pt x="2244" y="4954"/>
                    </a:lnTo>
                    <a:lnTo>
                      <a:pt x="2244" y="4952"/>
                    </a:lnTo>
                    <a:lnTo>
                      <a:pt x="2244" y="4950"/>
                    </a:lnTo>
                    <a:lnTo>
                      <a:pt x="2240" y="4944"/>
                    </a:lnTo>
                    <a:lnTo>
                      <a:pt x="2236" y="4940"/>
                    </a:lnTo>
                    <a:lnTo>
                      <a:pt x="2232" y="4940"/>
                    </a:lnTo>
                    <a:lnTo>
                      <a:pt x="2230" y="4942"/>
                    </a:lnTo>
                    <a:lnTo>
                      <a:pt x="2230" y="4942"/>
                    </a:lnTo>
                    <a:close/>
                    <a:moveTo>
                      <a:pt x="2194" y="4886"/>
                    </a:moveTo>
                    <a:lnTo>
                      <a:pt x="2194" y="4886"/>
                    </a:lnTo>
                    <a:lnTo>
                      <a:pt x="2192" y="4890"/>
                    </a:lnTo>
                    <a:lnTo>
                      <a:pt x="2192" y="4896"/>
                    </a:lnTo>
                    <a:lnTo>
                      <a:pt x="2194" y="4904"/>
                    </a:lnTo>
                    <a:lnTo>
                      <a:pt x="2198" y="4910"/>
                    </a:lnTo>
                    <a:lnTo>
                      <a:pt x="2208" y="4920"/>
                    </a:lnTo>
                    <a:lnTo>
                      <a:pt x="2214" y="4924"/>
                    </a:lnTo>
                    <a:lnTo>
                      <a:pt x="2218" y="4924"/>
                    </a:lnTo>
                    <a:lnTo>
                      <a:pt x="2218" y="4924"/>
                    </a:lnTo>
                    <a:lnTo>
                      <a:pt x="2220" y="4920"/>
                    </a:lnTo>
                    <a:lnTo>
                      <a:pt x="2220" y="4914"/>
                    </a:lnTo>
                    <a:lnTo>
                      <a:pt x="2214" y="4900"/>
                    </a:lnTo>
                    <a:lnTo>
                      <a:pt x="2210" y="4894"/>
                    </a:lnTo>
                    <a:lnTo>
                      <a:pt x="2204" y="4888"/>
                    </a:lnTo>
                    <a:lnTo>
                      <a:pt x="2200" y="4886"/>
                    </a:lnTo>
                    <a:lnTo>
                      <a:pt x="2194" y="4886"/>
                    </a:lnTo>
                    <a:lnTo>
                      <a:pt x="2194" y="4886"/>
                    </a:lnTo>
                    <a:close/>
                    <a:moveTo>
                      <a:pt x="2182" y="4866"/>
                    </a:moveTo>
                    <a:lnTo>
                      <a:pt x="2182" y="4866"/>
                    </a:lnTo>
                    <a:lnTo>
                      <a:pt x="2184" y="4868"/>
                    </a:lnTo>
                    <a:lnTo>
                      <a:pt x="2186" y="4866"/>
                    </a:lnTo>
                    <a:lnTo>
                      <a:pt x="2188" y="4862"/>
                    </a:lnTo>
                    <a:lnTo>
                      <a:pt x="2188" y="4856"/>
                    </a:lnTo>
                    <a:lnTo>
                      <a:pt x="2186" y="4850"/>
                    </a:lnTo>
                    <a:lnTo>
                      <a:pt x="2186" y="4850"/>
                    </a:lnTo>
                    <a:lnTo>
                      <a:pt x="2184" y="4850"/>
                    </a:lnTo>
                    <a:lnTo>
                      <a:pt x="2182" y="4850"/>
                    </a:lnTo>
                    <a:lnTo>
                      <a:pt x="2180" y="4854"/>
                    </a:lnTo>
                    <a:lnTo>
                      <a:pt x="2180" y="4860"/>
                    </a:lnTo>
                    <a:lnTo>
                      <a:pt x="2180" y="4864"/>
                    </a:lnTo>
                    <a:lnTo>
                      <a:pt x="2182" y="4866"/>
                    </a:lnTo>
                    <a:lnTo>
                      <a:pt x="2182" y="4866"/>
                    </a:lnTo>
                    <a:close/>
                    <a:moveTo>
                      <a:pt x="2248" y="4964"/>
                    </a:moveTo>
                    <a:lnTo>
                      <a:pt x="2248" y="4964"/>
                    </a:lnTo>
                    <a:lnTo>
                      <a:pt x="2246" y="4968"/>
                    </a:lnTo>
                    <a:lnTo>
                      <a:pt x="2246" y="4974"/>
                    </a:lnTo>
                    <a:lnTo>
                      <a:pt x="2248" y="4976"/>
                    </a:lnTo>
                    <a:lnTo>
                      <a:pt x="2252" y="4978"/>
                    </a:lnTo>
                    <a:lnTo>
                      <a:pt x="2252" y="4978"/>
                    </a:lnTo>
                    <a:lnTo>
                      <a:pt x="2254" y="4978"/>
                    </a:lnTo>
                    <a:lnTo>
                      <a:pt x="2256" y="4980"/>
                    </a:lnTo>
                    <a:lnTo>
                      <a:pt x="2260" y="4990"/>
                    </a:lnTo>
                    <a:lnTo>
                      <a:pt x="2262" y="4996"/>
                    </a:lnTo>
                    <a:lnTo>
                      <a:pt x="2264" y="4996"/>
                    </a:lnTo>
                    <a:lnTo>
                      <a:pt x="2266" y="4994"/>
                    </a:lnTo>
                    <a:lnTo>
                      <a:pt x="2266" y="4994"/>
                    </a:lnTo>
                    <a:lnTo>
                      <a:pt x="2266" y="4990"/>
                    </a:lnTo>
                    <a:lnTo>
                      <a:pt x="2266" y="4984"/>
                    </a:lnTo>
                    <a:lnTo>
                      <a:pt x="2260" y="4974"/>
                    </a:lnTo>
                    <a:lnTo>
                      <a:pt x="2254" y="4964"/>
                    </a:lnTo>
                    <a:lnTo>
                      <a:pt x="2250" y="4964"/>
                    </a:lnTo>
                    <a:lnTo>
                      <a:pt x="2248" y="4964"/>
                    </a:lnTo>
                    <a:lnTo>
                      <a:pt x="2248" y="4964"/>
                    </a:lnTo>
                    <a:close/>
                    <a:moveTo>
                      <a:pt x="2354" y="4788"/>
                    </a:moveTo>
                    <a:lnTo>
                      <a:pt x="2354" y="4788"/>
                    </a:lnTo>
                    <a:lnTo>
                      <a:pt x="2352" y="4784"/>
                    </a:lnTo>
                    <a:lnTo>
                      <a:pt x="2352" y="4784"/>
                    </a:lnTo>
                    <a:lnTo>
                      <a:pt x="2350" y="4792"/>
                    </a:lnTo>
                    <a:lnTo>
                      <a:pt x="2350" y="4792"/>
                    </a:lnTo>
                    <a:lnTo>
                      <a:pt x="2348" y="4796"/>
                    </a:lnTo>
                    <a:lnTo>
                      <a:pt x="2348" y="4800"/>
                    </a:lnTo>
                    <a:lnTo>
                      <a:pt x="2352" y="4800"/>
                    </a:lnTo>
                    <a:lnTo>
                      <a:pt x="2358" y="4802"/>
                    </a:lnTo>
                    <a:lnTo>
                      <a:pt x="2358" y="4802"/>
                    </a:lnTo>
                    <a:lnTo>
                      <a:pt x="2364" y="4802"/>
                    </a:lnTo>
                    <a:lnTo>
                      <a:pt x="2370" y="4804"/>
                    </a:lnTo>
                    <a:lnTo>
                      <a:pt x="2372" y="4804"/>
                    </a:lnTo>
                    <a:lnTo>
                      <a:pt x="2372" y="4800"/>
                    </a:lnTo>
                    <a:lnTo>
                      <a:pt x="2372" y="4800"/>
                    </a:lnTo>
                    <a:lnTo>
                      <a:pt x="2372" y="4798"/>
                    </a:lnTo>
                    <a:lnTo>
                      <a:pt x="2370" y="4796"/>
                    </a:lnTo>
                    <a:lnTo>
                      <a:pt x="2364" y="4794"/>
                    </a:lnTo>
                    <a:lnTo>
                      <a:pt x="2358" y="4792"/>
                    </a:lnTo>
                    <a:lnTo>
                      <a:pt x="2354" y="4788"/>
                    </a:lnTo>
                    <a:lnTo>
                      <a:pt x="2354" y="4788"/>
                    </a:lnTo>
                    <a:close/>
                    <a:moveTo>
                      <a:pt x="2484" y="5128"/>
                    </a:moveTo>
                    <a:lnTo>
                      <a:pt x="2484" y="5128"/>
                    </a:lnTo>
                    <a:lnTo>
                      <a:pt x="2486" y="5124"/>
                    </a:lnTo>
                    <a:lnTo>
                      <a:pt x="2486" y="5120"/>
                    </a:lnTo>
                    <a:lnTo>
                      <a:pt x="2488" y="5108"/>
                    </a:lnTo>
                    <a:lnTo>
                      <a:pt x="2486" y="5092"/>
                    </a:lnTo>
                    <a:lnTo>
                      <a:pt x="2488" y="5076"/>
                    </a:lnTo>
                    <a:lnTo>
                      <a:pt x="2488" y="5076"/>
                    </a:lnTo>
                    <a:lnTo>
                      <a:pt x="2488" y="5062"/>
                    </a:lnTo>
                    <a:lnTo>
                      <a:pt x="2486" y="5056"/>
                    </a:lnTo>
                    <a:lnTo>
                      <a:pt x="2484" y="5050"/>
                    </a:lnTo>
                    <a:lnTo>
                      <a:pt x="2486" y="5038"/>
                    </a:lnTo>
                    <a:lnTo>
                      <a:pt x="2486" y="5038"/>
                    </a:lnTo>
                    <a:lnTo>
                      <a:pt x="2488" y="5028"/>
                    </a:lnTo>
                    <a:lnTo>
                      <a:pt x="2488" y="5020"/>
                    </a:lnTo>
                    <a:lnTo>
                      <a:pt x="2486" y="5014"/>
                    </a:lnTo>
                    <a:lnTo>
                      <a:pt x="2492" y="5004"/>
                    </a:lnTo>
                    <a:lnTo>
                      <a:pt x="2492" y="5004"/>
                    </a:lnTo>
                    <a:lnTo>
                      <a:pt x="2494" y="4998"/>
                    </a:lnTo>
                    <a:lnTo>
                      <a:pt x="2496" y="4994"/>
                    </a:lnTo>
                    <a:lnTo>
                      <a:pt x="2494" y="4990"/>
                    </a:lnTo>
                    <a:lnTo>
                      <a:pt x="2492" y="4988"/>
                    </a:lnTo>
                    <a:lnTo>
                      <a:pt x="2486" y="4982"/>
                    </a:lnTo>
                    <a:lnTo>
                      <a:pt x="2482" y="4978"/>
                    </a:lnTo>
                    <a:lnTo>
                      <a:pt x="2480" y="4972"/>
                    </a:lnTo>
                    <a:lnTo>
                      <a:pt x="2480" y="4972"/>
                    </a:lnTo>
                    <a:lnTo>
                      <a:pt x="2476" y="4962"/>
                    </a:lnTo>
                    <a:lnTo>
                      <a:pt x="2472" y="4956"/>
                    </a:lnTo>
                    <a:lnTo>
                      <a:pt x="2468" y="4954"/>
                    </a:lnTo>
                    <a:lnTo>
                      <a:pt x="2460" y="4956"/>
                    </a:lnTo>
                    <a:lnTo>
                      <a:pt x="2460" y="4956"/>
                    </a:lnTo>
                    <a:lnTo>
                      <a:pt x="2456" y="4958"/>
                    </a:lnTo>
                    <a:lnTo>
                      <a:pt x="2452" y="4956"/>
                    </a:lnTo>
                    <a:lnTo>
                      <a:pt x="2450" y="4956"/>
                    </a:lnTo>
                    <a:lnTo>
                      <a:pt x="2446" y="4958"/>
                    </a:lnTo>
                    <a:lnTo>
                      <a:pt x="2446" y="4958"/>
                    </a:lnTo>
                    <a:lnTo>
                      <a:pt x="2440" y="4962"/>
                    </a:lnTo>
                    <a:lnTo>
                      <a:pt x="2440" y="4962"/>
                    </a:lnTo>
                    <a:lnTo>
                      <a:pt x="2442" y="4956"/>
                    </a:lnTo>
                    <a:lnTo>
                      <a:pt x="2446" y="4946"/>
                    </a:lnTo>
                    <a:lnTo>
                      <a:pt x="2446" y="4942"/>
                    </a:lnTo>
                    <a:lnTo>
                      <a:pt x="2442" y="4940"/>
                    </a:lnTo>
                    <a:lnTo>
                      <a:pt x="2442" y="4940"/>
                    </a:lnTo>
                    <a:lnTo>
                      <a:pt x="2438" y="4938"/>
                    </a:lnTo>
                    <a:lnTo>
                      <a:pt x="2436" y="4932"/>
                    </a:lnTo>
                    <a:lnTo>
                      <a:pt x="2430" y="4914"/>
                    </a:lnTo>
                    <a:lnTo>
                      <a:pt x="2428" y="4904"/>
                    </a:lnTo>
                    <a:lnTo>
                      <a:pt x="2426" y="4898"/>
                    </a:lnTo>
                    <a:lnTo>
                      <a:pt x="2422" y="4892"/>
                    </a:lnTo>
                    <a:lnTo>
                      <a:pt x="2420" y="4890"/>
                    </a:lnTo>
                    <a:lnTo>
                      <a:pt x="2416" y="4890"/>
                    </a:lnTo>
                    <a:lnTo>
                      <a:pt x="2416" y="4890"/>
                    </a:lnTo>
                    <a:lnTo>
                      <a:pt x="2410" y="4890"/>
                    </a:lnTo>
                    <a:lnTo>
                      <a:pt x="2404" y="4890"/>
                    </a:lnTo>
                    <a:lnTo>
                      <a:pt x="2394" y="4884"/>
                    </a:lnTo>
                    <a:lnTo>
                      <a:pt x="2390" y="4880"/>
                    </a:lnTo>
                    <a:lnTo>
                      <a:pt x="2388" y="4876"/>
                    </a:lnTo>
                    <a:lnTo>
                      <a:pt x="2388" y="4872"/>
                    </a:lnTo>
                    <a:lnTo>
                      <a:pt x="2388" y="4868"/>
                    </a:lnTo>
                    <a:lnTo>
                      <a:pt x="2388" y="4868"/>
                    </a:lnTo>
                    <a:lnTo>
                      <a:pt x="2390" y="4862"/>
                    </a:lnTo>
                    <a:lnTo>
                      <a:pt x="2392" y="4858"/>
                    </a:lnTo>
                    <a:lnTo>
                      <a:pt x="2390" y="4852"/>
                    </a:lnTo>
                    <a:lnTo>
                      <a:pt x="2390" y="4848"/>
                    </a:lnTo>
                    <a:lnTo>
                      <a:pt x="2392" y="4846"/>
                    </a:lnTo>
                    <a:lnTo>
                      <a:pt x="2396" y="4844"/>
                    </a:lnTo>
                    <a:lnTo>
                      <a:pt x="2396" y="4844"/>
                    </a:lnTo>
                    <a:lnTo>
                      <a:pt x="2400" y="4842"/>
                    </a:lnTo>
                    <a:lnTo>
                      <a:pt x="2402" y="4836"/>
                    </a:lnTo>
                    <a:lnTo>
                      <a:pt x="2402" y="4832"/>
                    </a:lnTo>
                    <a:lnTo>
                      <a:pt x="2400" y="4826"/>
                    </a:lnTo>
                    <a:lnTo>
                      <a:pt x="2396" y="4822"/>
                    </a:lnTo>
                    <a:lnTo>
                      <a:pt x="2392" y="4818"/>
                    </a:lnTo>
                    <a:lnTo>
                      <a:pt x="2386" y="4816"/>
                    </a:lnTo>
                    <a:lnTo>
                      <a:pt x="2380" y="4818"/>
                    </a:lnTo>
                    <a:lnTo>
                      <a:pt x="2380" y="4818"/>
                    </a:lnTo>
                    <a:lnTo>
                      <a:pt x="2376" y="4820"/>
                    </a:lnTo>
                    <a:lnTo>
                      <a:pt x="2374" y="4820"/>
                    </a:lnTo>
                    <a:lnTo>
                      <a:pt x="2372" y="4814"/>
                    </a:lnTo>
                    <a:lnTo>
                      <a:pt x="2372" y="4812"/>
                    </a:lnTo>
                    <a:lnTo>
                      <a:pt x="2368" y="4808"/>
                    </a:lnTo>
                    <a:lnTo>
                      <a:pt x="2364" y="4806"/>
                    </a:lnTo>
                    <a:lnTo>
                      <a:pt x="2356" y="4804"/>
                    </a:lnTo>
                    <a:lnTo>
                      <a:pt x="2356" y="4804"/>
                    </a:lnTo>
                    <a:lnTo>
                      <a:pt x="2348" y="4802"/>
                    </a:lnTo>
                    <a:lnTo>
                      <a:pt x="2342" y="4796"/>
                    </a:lnTo>
                    <a:lnTo>
                      <a:pt x="2340" y="4790"/>
                    </a:lnTo>
                    <a:lnTo>
                      <a:pt x="2338" y="4784"/>
                    </a:lnTo>
                    <a:lnTo>
                      <a:pt x="2336" y="4776"/>
                    </a:lnTo>
                    <a:lnTo>
                      <a:pt x="2332" y="4768"/>
                    </a:lnTo>
                    <a:lnTo>
                      <a:pt x="2324" y="4762"/>
                    </a:lnTo>
                    <a:lnTo>
                      <a:pt x="2314" y="4758"/>
                    </a:lnTo>
                    <a:lnTo>
                      <a:pt x="2314" y="4758"/>
                    </a:lnTo>
                    <a:lnTo>
                      <a:pt x="2308" y="4756"/>
                    </a:lnTo>
                    <a:lnTo>
                      <a:pt x="2304" y="4754"/>
                    </a:lnTo>
                    <a:lnTo>
                      <a:pt x="2302" y="4748"/>
                    </a:lnTo>
                    <a:lnTo>
                      <a:pt x="2300" y="4740"/>
                    </a:lnTo>
                    <a:lnTo>
                      <a:pt x="2298" y="4738"/>
                    </a:lnTo>
                    <a:lnTo>
                      <a:pt x="2296" y="4734"/>
                    </a:lnTo>
                    <a:lnTo>
                      <a:pt x="2296" y="4734"/>
                    </a:lnTo>
                    <a:lnTo>
                      <a:pt x="2288" y="4728"/>
                    </a:lnTo>
                    <a:lnTo>
                      <a:pt x="2284" y="4728"/>
                    </a:lnTo>
                    <a:lnTo>
                      <a:pt x="2282" y="4730"/>
                    </a:lnTo>
                    <a:lnTo>
                      <a:pt x="2282" y="4732"/>
                    </a:lnTo>
                    <a:lnTo>
                      <a:pt x="2282" y="4740"/>
                    </a:lnTo>
                    <a:lnTo>
                      <a:pt x="2282" y="4742"/>
                    </a:lnTo>
                    <a:lnTo>
                      <a:pt x="2280" y="4740"/>
                    </a:lnTo>
                    <a:lnTo>
                      <a:pt x="2280" y="4740"/>
                    </a:lnTo>
                    <a:lnTo>
                      <a:pt x="2274" y="4736"/>
                    </a:lnTo>
                    <a:lnTo>
                      <a:pt x="2270" y="4732"/>
                    </a:lnTo>
                    <a:lnTo>
                      <a:pt x="2266" y="4728"/>
                    </a:lnTo>
                    <a:lnTo>
                      <a:pt x="2262" y="4718"/>
                    </a:lnTo>
                    <a:lnTo>
                      <a:pt x="2262" y="4718"/>
                    </a:lnTo>
                    <a:lnTo>
                      <a:pt x="2258" y="4710"/>
                    </a:lnTo>
                    <a:lnTo>
                      <a:pt x="2254" y="4708"/>
                    </a:lnTo>
                    <a:lnTo>
                      <a:pt x="2252" y="4708"/>
                    </a:lnTo>
                    <a:lnTo>
                      <a:pt x="2248" y="4702"/>
                    </a:lnTo>
                    <a:lnTo>
                      <a:pt x="2248" y="4702"/>
                    </a:lnTo>
                    <a:lnTo>
                      <a:pt x="2242" y="4692"/>
                    </a:lnTo>
                    <a:lnTo>
                      <a:pt x="2234" y="4680"/>
                    </a:lnTo>
                    <a:lnTo>
                      <a:pt x="2222" y="4670"/>
                    </a:lnTo>
                    <a:lnTo>
                      <a:pt x="2214" y="4666"/>
                    </a:lnTo>
                    <a:lnTo>
                      <a:pt x="2208" y="4664"/>
                    </a:lnTo>
                    <a:lnTo>
                      <a:pt x="2208" y="4664"/>
                    </a:lnTo>
                    <a:lnTo>
                      <a:pt x="2204" y="4662"/>
                    </a:lnTo>
                    <a:lnTo>
                      <a:pt x="2200" y="4658"/>
                    </a:lnTo>
                    <a:lnTo>
                      <a:pt x="2196" y="4652"/>
                    </a:lnTo>
                    <a:lnTo>
                      <a:pt x="2192" y="4646"/>
                    </a:lnTo>
                    <a:lnTo>
                      <a:pt x="2190" y="4644"/>
                    </a:lnTo>
                    <a:lnTo>
                      <a:pt x="2186" y="4642"/>
                    </a:lnTo>
                    <a:lnTo>
                      <a:pt x="2186" y="4642"/>
                    </a:lnTo>
                    <a:lnTo>
                      <a:pt x="2182" y="4640"/>
                    </a:lnTo>
                    <a:lnTo>
                      <a:pt x="2180" y="4638"/>
                    </a:lnTo>
                    <a:lnTo>
                      <a:pt x="2180" y="4632"/>
                    </a:lnTo>
                    <a:lnTo>
                      <a:pt x="2178" y="4626"/>
                    </a:lnTo>
                    <a:lnTo>
                      <a:pt x="2176" y="4624"/>
                    </a:lnTo>
                    <a:lnTo>
                      <a:pt x="2174" y="4622"/>
                    </a:lnTo>
                    <a:lnTo>
                      <a:pt x="2174" y="4622"/>
                    </a:lnTo>
                    <a:lnTo>
                      <a:pt x="2170" y="4620"/>
                    </a:lnTo>
                    <a:lnTo>
                      <a:pt x="2168" y="4618"/>
                    </a:lnTo>
                    <a:lnTo>
                      <a:pt x="2166" y="4612"/>
                    </a:lnTo>
                    <a:lnTo>
                      <a:pt x="2166" y="4604"/>
                    </a:lnTo>
                    <a:lnTo>
                      <a:pt x="2162" y="4598"/>
                    </a:lnTo>
                    <a:lnTo>
                      <a:pt x="2158" y="4592"/>
                    </a:lnTo>
                    <a:lnTo>
                      <a:pt x="2158" y="4592"/>
                    </a:lnTo>
                    <a:lnTo>
                      <a:pt x="2150" y="4582"/>
                    </a:lnTo>
                    <a:lnTo>
                      <a:pt x="2146" y="4582"/>
                    </a:lnTo>
                    <a:lnTo>
                      <a:pt x="2146" y="4584"/>
                    </a:lnTo>
                    <a:lnTo>
                      <a:pt x="2142" y="4586"/>
                    </a:lnTo>
                    <a:lnTo>
                      <a:pt x="2138" y="4586"/>
                    </a:lnTo>
                    <a:lnTo>
                      <a:pt x="2134" y="4584"/>
                    </a:lnTo>
                    <a:lnTo>
                      <a:pt x="2134" y="4584"/>
                    </a:lnTo>
                    <a:lnTo>
                      <a:pt x="2130" y="4582"/>
                    </a:lnTo>
                    <a:lnTo>
                      <a:pt x="2128" y="4580"/>
                    </a:lnTo>
                    <a:lnTo>
                      <a:pt x="2122" y="4582"/>
                    </a:lnTo>
                    <a:lnTo>
                      <a:pt x="2114" y="4584"/>
                    </a:lnTo>
                    <a:lnTo>
                      <a:pt x="2108" y="4584"/>
                    </a:lnTo>
                    <a:lnTo>
                      <a:pt x="2098" y="4584"/>
                    </a:lnTo>
                    <a:lnTo>
                      <a:pt x="2098" y="4584"/>
                    </a:lnTo>
                    <a:lnTo>
                      <a:pt x="2088" y="4580"/>
                    </a:lnTo>
                    <a:lnTo>
                      <a:pt x="2086" y="4578"/>
                    </a:lnTo>
                    <a:lnTo>
                      <a:pt x="2084" y="4576"/>
                    </a:lnTo>
                    <a:lnTo>
                      <a:pt x="2082" y="4572"/>
                    </a:lnTo>
                    <a:lnTo>
                      <a:pt x="2078" y="4568"/>
                    </a:lnTo>
                    <a:lnTo>
                      <a:pt x="2070" y="4566"/>
                    </a:lnTo>
                    <a:lnTo>
                      <a:pt x="2070" y="4566"/>
                    </a:lnTo>
                    <a:lnTo>
                      <a:pt x="2062" y="4564"/>
                    </a:lnTo>
                    <a:lnTo>
                      <a:pt x="2058" y="4566"/>
                    </a:lnTo>
                    <a:lnTo>
                      <a:pt x="2056" y="4570"/>
                    </a:lnTo>
                    <a:lnTo>
                      <a:pt x="2056" y="4576"/>
                    </a:lnTo>
                    <a:lnTo>
                      <a:pt x="2058" y="4584"/>
                    </a:lnTo>
                    <a:lnTo>
                      <a:pt x="2060" y="4594"/>
                    </a:lnTo>
                    <a:lnTo>
                      <a:pt x="2070" y="4612"/>
                    </a:lnTo>
                    <a:lnTo>
                      <a:pt x="2070" y="4612"/>
                    </a:lnTo>
                    <a:lnTo>
                      <a:pt x="2080" y="4626"/>
                    </a:lnTo>
                    <a:lnTo>
                      <a:pt x="2086" y="4634"/>
                    </a:lnTo>
                    <a:lnTo>
                      <a:pt x="2094" y="4640"/>
                    </a:lnTo>
                    <a:lnTo>
                      <a:pt x="2102" y="4650"/>
                    </a:lnTo>
                    <a:lnTo>
                      <a:pt x="2102" y="4650"/>
                    </a:lnTo>
                    <a:lnTo>
                      <a:pt x="2104" y="4654"/>
                    </a:lnTo>
                    <a:lnTo>
                      <a:pt x="2108" y="4658"/>
                    </a:lnTo>
                    <a:lnTo>
                      <a:pt x="2114" y="4658"/>
                    </a:lnTo>
                    <a:lnTo>
                      <a:pt x="2116" y="4658"/>
                    </a:lnTo>
                    <a:lnTo>
                      <a:pt x="2120" y="4660"/>
                    </a:lnTo>
                    <a:lnTo>
                      <a:pt x="2124" y="4664"/>
                    </a:lnTo>
                    <a:lnTo>
                      <a:pt x="2130" y="4672"/>
                    </a:lnTo>
                    <a:lnTo>
                      <a:pt x="2130" y="4672"/>
                    </a:lnTo>
                    <a:lnTo>
                      <a:pt x="2138" y="4686"/>
                    </a:lnTo>
                    <a:lnTo>
                      <a:pt x="2138" y="4690"/>
                    </a:lnTo>
                    <a:lnTo>
                      <a:pt x="2138" y="4692"/>
                    </a:lnTo>
                    <a:lnTo>
                      <a:pt x="2146" y="4698"/>
                    </a:lnTo>
                    <a:lnTo>
                      <a:pt x="2146" y="4698"/>
                    </a:lnTo>
                    <a:lnTo>
                      <a:pt x="2152" y="4702"/>
                    </a:lnTo>
                    <a:lnTo>
                      <a:pt x="2154" y="4706"/>
                    </a:lnTo>
                    <a:lnTo>
                      <a:pt x="2154" y="4716"/>
                    </a:lnTo>
                    <a:lnTo>
                      <a:pt x="2156" y="4720"/>
                    </a:lnTo>
                    <a:lnTo>
                      <a:pt x="2158" y="4724"/>
                    </a:lnTo>
                    <a:lnTo>
                      <a:pt x="2162" y="4730"/>
                    </a:lnTo>
                    <a:lnTo>
                      <a:pt x="2172" y="4736"/>
                    </a:lnTo>
                    <a:lnTo>
                      <a:pt x="2172" y="4736"/>
                    </a:lnTo>
                    <a:lnTo>
                      <a:pt x="2182" y="4742"/>
                    </a:lnTo>
                    <a:lnTo>
                      <a:pt x="2192" y="4748"/>
                    </a:lnTo>
                    <a:lnTo>
                      <a:pt x="2198" y="4756"/>
                    </a:lnTo>
                    <a:lnTo>
                      <a:pt x="2200" y="4760"/>
                    </a:lnTo>
                    <a:lnTo>
                      <a:pt x="2200" y="4762"/>
                    </a:lnTo>
                    <a:lnTo>
                      <a:pt x="2200" y="4762"/>
                    </a:lnTo>
                    <a:lnTo>
                      <a:pt x="2198" y="4766"/>
                    </a:lnTo>
                    <a:lnTo>
                      <a:pt x="2198" y="4772"/>
                    </a:lnTo>
                    <a:lnTo>
                      <a:pt x="2206" y="4794"/>
                    </a:lnTo>
                    <a:lnTo>
                      <a:pt x="2206" y="4794"/>
                    </a:lnTo>
                    <a:lnTo>
                      <a:pt x="2214" y="4820"/>
                    </a:lnTo>
                    <a:lnTo>
                      <a:pt x="2218" y="4828"/>
                    </a:lnTo>
                    <a:lnTo>
                      <a:pt x="2226" y="4834"/>
                    </a:lnTo>
                    <a:lnTo>
                      <a:pt x="2226" y="4834"/>
                    </a:lnTo>
                    <a:lnTo>
                      <a:pt x="2234" y="4838"/>
                    </a:lnTo>
                    <a:lnTo>
                      <a:pt x="2236" y="4844"/>
                    </a:lnTo>
                    <a:lnTo>
                      <a:pt x="2240" y="4854"/>
                    </a:lnTo>
                    <a:lnTo>
                      <a:pt x="2254" y="4870"/>
                    </a:lnTo>
                    <a:lnTo>
                      <a:pt x="2254" y="4870"/>
                    </a:lnTo>
                    <a:lnTo>
                      <a:pt x="2260" y="4876"/>
                    </a:lnTo>
                    <a:lnTo>
                      <a:pt x="2262" y="4882"/>
                    </a:lnTo>
                    <a:lnTo>
                      <a:pt x="2264" y="4886"/>
                    </a:lnTo>
                    <a:lnTo>
                      <a:pt x="2264" y="4890"/>
                    </a:lnTo>
                    <a:lnTo>
                      <a:pt x="2262" y="4898"/>
                    </a:lnTo>
                    <a:lnTo>
                      <a:pt x="2264" y="4900"/>
                    </a:lnTo>
                    <a:lnTo>
                      <a:pt x="2266" y="4904"/>
                    </a:lnTo>
                    <a:lnTo>
                      <a:pt x="2266" y="4904"/>
                    </a:lnTo>
                    <a:lnTo>
                      <a:pt x="2274" y="4912"/>
                    </a:lnTo>
                    <a:lnTo>
                      <a:pt x="2278" y="4922"/>
                    </a:lnTo>
                    <a:lnTo>
                      <a:pt x="2282" y="4934"/>
                    </a:lnTo>
                    <a:lnTo>
                      <a:pt x="2284" y="4946"/>
                    </a:lnTo>
                    <a:lnTo>
                      <a:pt x="2284" y="4946"/>
                    </a:lnTo>
                    <a:lnTo>
                      <a:pt x="2290" y="4960"/>
                    </a:lnTo>
                    <a:lnTo>
                      <a:pt x="2300" y="4976"/>
                    </a:lnTo>
                    <a:lnTo>
                      <a:pt x="2312" y="4992"/>
                    </a:lnTo>
                    <a:lnTo>
                      <a:pt x="2326" y="5008"/>
                    </a:lnTo>
                    <a:lnTo>
                      <a:pt x="2326" y="5008"/>
                    </a:lnTo>
                    <a:lnTo>
                      <a:pt x="2336" y="5018"/>
                    </a:lnTo>
                    <a:lnTo>
                      <a:pt x="2342" y="5028"/>
                    </a:lnTo>
                    <a:lnTo>
                      <a:pt x="2350" y="5038"/>
                    </a:lnTo>
                    <a:lnTo>
                      <a:pt x="2364" y="5054"/>
                    </a:lnTo>
                    <a:lnTo>
                      <a:pt x="2364" y="5054"/>
                    </a:lnTo>
                    <a:lnTo>
                      <a:pt x="2380" y="5072"/>
                    </a:lnTo>
                    <a:lnTo>
                      <a:pt x="2394" y="5084"/>
                    </a:lnTo>
                    <a:lnTo>
                      <a:pt x="2404" y="5094"/>
                    </a:lnTo>
                    <a:lnTo>
                      <a:pt x="2416" y="5108"/>
                    </a:lnTo>
                    <a:lnTo>
                      <a:pt x="2416" y="5108"/>
                    </a:lnTo>
                    <a:lnTo>
                      <a:pt x="2426" y="5122"/>
                    </a:lnTo>
                    <a:lnTo>
                      <a:pt x="2434" y="5132"/>
                    </a:lnTo>
                    <a:lnTo>
                      <a:pt x="2436" y="5134"/>
                    </a:lnTo>
                    <a:lnTo>
                      <a:pt x="2438" y="5134"/>
                    </a:lnTo>
                    <a:lnTo>
                      <a:pt x="2434" y="5120"/>
                    </a:lnTo>
                    <a:lnTo>
                      <a:pt x="2434" y="5120"/>
                    </a:lnTo>
                    <a:lnTo>
                      <a:pt x="2434" y="5112"/>
                    </a:lnTo>
                    <a:lnTo>
                      <a:pt x="2434" y="5110"/>
                    </a:lnTo>
                    <a:lnTo>
                      <a:pt x="2438" y="5112"/>
                    </a:lnTo>
                    <a:lnTo>
                      <a:pt x="2444" y="5114"/>
                    </a:lnTo>
                    <a:lnTo>
                      <a:pt x="2450" y="5118"/>
                    </a:lnTo>
                    <a:lnTo>
                      <a:pt x="2454" y="5120"/>
                    </a:lnTo>
                    <a:lnTo>
                      <a:pt x="2458" y="5118"/>
                    </a:lnTo>
                    <a:lnTo>
                      <a:pt x="2460" y="5114"/>
                    </a:lnTo>
                    <a:lnTo>
                      <a:pt x="2460" y="5114"/>
                    </a:lnTo>
                    <a:lnTo>
                      <a:pt x="2462" y="5108"/>
                    </a:lnTo>
                    <a:lnTo>
                      <a:pt x="2464" y="5108"/>
                    </a:lnTo>
                    <a:lnTo>
                      <a:pt x="2470" y="5116"/>
                    </a:lnTo>
                    <a:lnTo>
                      <a:pt x="2476" y="5126"/>
                    </a:lnTo>
                    <a:lnTo>
                      <a:pt x="2480" y="5128"/>
                    </a:lnTo>
                    <a:lnTo>
                      <a:pt x="2484" y="5128"/>
                    </a:lnTo>
                    <a:lnTo>
                      <a:pt x="2484" y="5128"/>
                    </a:lnTo>
                    <a:close/>
                    <a:moveTo>
                      <a:pt x="2344" y="4774"/>
                    </a:moveTo>
                    <a:lnTo>
                      <a:pt x="2344" y="4774"/>
                    </a:lnTo>
                    <a:lnTo>
                      <a:pt x="2340" y="4772"/>
                    </a:lnTo>
                    <a:lnTo>
                      <a:pt x="2338" y="4772"/>
                    </a:lnTo>
                    <a:lnTo>
                      <a:pt x="2338" y="4774"/>
                    </a:lnTo>
                    <a:lnTo>
                      <a:pt x="2338" y="4776"/>
                    </a:lnTo>
                    <a:lnTo>
                      <a:pt x="2340" y="4784"/>
                    </a:lnTo>
                    <a:lnTo>
                      <a:pt x="2344" y="4792"/>
                    </a:lnTo>
                    <a:lnTo>
                      <a:pt x="2344" y="4792"/>
                    </a:lnTo>
                    <a:lnTo>
                      <a:pt x="2346" y="4792"/>
                    </a:lnTo>
                    <a:lnTo>
                      <a:pt x="2346" y="4792"/>
                    </a:lnTo>
                    <a:lnTo>
                      <a:pt x="2348" y="4788"/>
                    </a:lnTo>
                    <a:lnTo>
                      <a:pt x="2348" y="4780"/>
                    </a:lnTo>
                    <a:lnTo>
                      <a:pt x="2346" y="4776"/>
                    </a:lnTo>
                    <a:lnTo>
                      <a:pt x="2344" y="4774"/>
                    </a:lnTo>
                    <a:lnTo>
                      <a:pt x="2344" y="4774"/>
                    </a:lnTo>
                    <a:close/>
                    <a:moveTo>
                      <a:pt x="2374" y="4792"/>
                    </a:moveTo>
                    <a:lnTo>
                      <a:pt x="2374" y="4792"/>
                    </a:lnTo>
                    <a:lnTo>
                      <a:pt x="2372" y="4786"/>
                    </a:lnTo>
                    <a:lnTo>
                      <a:pt x="2366" y="4784"/>
                    </a:lnTo>
                    <a:lnTo>
                      <a:pt x="2360" y="4782"/>
                    </a:lnTo>
                    <a:lnTo>
                      <a:pt x="2358" y="4782"/>
                    </a:lnTo>
                    <a:lnTo>
                      <a:pt x="2358" y="4784"/>
                    </a:lnTo>
                    <a:lnTo>
                      <a:pt x="2358" y="4784"/>
                    </a:lnTo>
                    <a:lnTo>
                      <a:pt x="2358" y="4788"/>
                    </a:lnTo>
                    <a:lnTo>
                      <a:pt x="2364" y="4790"/>
                    </a:lnTo>
                    <a:lnTo>
                      <a:pt x="2364" y="4790"/>
                    </a:lnTo>
                    <a:lnTo>
                      <a:pt x="2372" y="4794"/>
                    </a:lnTo>
                    <a:lnTo>
                      <a:pt x="2374" y="4794"/>
                    </a:lnTo>
                    <a:lnTo>
                      <a:pt x="2374" y="4792"/>
                    </a:lnTo>
                    <a:lnTo>
                      <a:pt x="2374" y="4792"/>
                    </a:lnTo>
                    <a:close/>
                    <a:moveTo>
                      <a:pt x="2316" y="4736"/>
                    </a:moveTo>
                    <a:lnTo>
                      <a:pt x="2316" y="4736"/>
                    </a:lnTo>
                    <a:lnTo>
                      <a:pt x="2312" y="4736"/>
                    </a:lnTo>
                    <a:lnTo>
                      <a:pt x="2310" y="4736"/>
                    </a:lnTo>
                    <a:lnTo>
                      <a:pt x="2306" y="4740"/>
                    </a:lnTo>
                    <a:lnTo>
                      <a:pt x="2306" y="4746"/>
                    </a:lnTo>
                    <a:lnTo>
                      <a:pt x="2308" y="4750"/>
                    </a:lnTo>
                    <a:lnTo>
                      <a:pt x="2310" y="4752"/>
                    </a:lnTo>
                    <a:lnTo>
                      <a:pt x="2310" y="4752"/>
                    </a:lnTo>
                    <a:lnTo>
                      <a:pt x="2312" y="4752"/>
                    </a:lnTo>
                    <a:lnTo>
                      <a:pt x="2314" y="4752"/>
                    </a:lnTo>
                    <a:lnTo>
                      <a:pt x="2318" y="4746"/>
                    </a:lnTo>
                    <a:lnTo>
                      <a:pt x="2318" y="4740"/>
                    </a:lnTo>
                    <a:lnTo>
                      <a:pt x="2318" y="4736"/>
                    </a:lnTo>
                    <a:lnTo>
                      <a:pt x="2316" y="4736"/>
                    </a:lnTo>
                    <a:lnTo>
                      <a:pt x="2316" y="4736"/>
                    </a:lnTo>
                    <a:close/>
                    <a:moveTo>
                      <a:pt x="36" y="5458"/>
                    </a:moveTo>
                    <a:lnTo>
                      <a:pt x="36" y="5458"/>
                    </a:lnTo>
                    <a:lnTo>
                      <a:pt x="32" y="5458"/>
                    </a:lnTo>
                    <a:lnTo>
                      <a:pt x="30" y="5460"/>
                    </a:lnTo>
                    <a:lnTo>
                      <a:pt x="32" y="5464"/>
                    </a:lnTo>
                    <a:lnTo>
                      <a:pt x="36" y="5470"/>
                    </a:lnTo>
                    <a:lnTo>
                      <a:pt x="36" y="5470"/>
                    </a:lnTo>
                    <a:lnTo>
                      <a:pt x="38" y="5472"/>
                    </a:lnTo>
                    <a:lnTo>
                      <a:pt x="40" y="5472"/>
                    </a:lnTo>
                    <a:lnTo>
                      <a:pt x="40" y="5468"/>
                    </a:lnTo>
                    <a:lnTo>
                      <a:pt x="40" y="5462"/>
                    </a:lnTo>
                    <a:lnTo>
                      <a:pt x="36" y="5458"/>
                    </a:lnTo>
                    <a:lnTo>
                      <a:pt x="36" y="5458"/>
                    </a:lnTo>
                    <a:close/>
                    <a:moveTo>
                      <a:pt x="2554" y="4992"/>
                    </a:moveTo>
                    <a:lnTo>
                      <a:pt x="2554" y="4992"/>
                    </a:lnTo>
                    <a:lnTo>
                      <a:pt x="2558" y="4998"/>
                    </a:lnTo>
                    <a:lnTo>
                      <a:pt x="2560" y="4998"/>
                    </a:lnTo>
                    <a:lnTo>
                      <a:pt x="2562" y="4996"/>
                    </a:lnTo>
                    <a:lnTo>
                      <a:pt x="2562" y="4996"/>
                    </a:lnTo>
                    <a:lnTo>
                      <a:pt x="2564" y="4994"/>
                    </a:lnTo>
                    <a:lnTo>
                      <a:pt x="2566" y="4994"/>
                    </a:lnTo>
                    <a:lnTo>
                      <a:pt x="2570" y="4994"/>
                    </a:lnTo>
                    <a:lnTo>
                      <a:pt x="2574" y="4994"/>
                    </a:lnTo>
                    <a:lnTo>
                      <a:pt x="2578" y="4988"/>
                    </a:lnTo>
                    <a:lnTo>
                      <a:pt x="2578" y="4988"/>
                    </a:lnTo>
                    <a:lnTo>
                      <a:pt x="2582" y="4980"/>
                    </a:lnTo>
                    <a:lnTo>
                      <a:pt x="2582" y="4976"/>
                    </a:lnTo>
                    <a:lnTo>
                      <a:pt x="2580" y="4974"/>
                    </a:lnTo>
                    <a:lnTo>
                      <a:pt x="2576" y="4968"/>
                    </a:lnTo>
                    <a:lnTo>
                      <a:pt x="2568" y="4964"/>
                    </a:lnTo>
                    <a:lnTo>
                      <a:pt x="2568" y="4964"/>
                    </a:lnTo>
                    <a:lnTo>
                      <a:pt x="2562" y="4962"/>
                    </a:lnTo>
                    <a:lnTo>
                      <a:pt x="2558" y="4964"/>
                    </a:lnTo>
                    <a:lnTo>
                      <a:pt x="2556" y="4968"/>
                    </a:lnTo>
                    <a:lnTo>
                      <a:pt x="2554" y="4972"/>
                    </a:lnTo>
                    <a:lnTo>
                      <a:pt x="2552" y="4982"/>
                    </a:lnTo>
                    <a:lnTo>
                      <a:pt x="2552" y="4988"/>
                    </a:lnTo>
                    <a:lnTo>
                      <a:pt x="2554" y="4992"/>
                    </a:lnTo>
                    <a:lnTo>
                      <a:pt x="2554" y="4992"/>
                    </a:lnTo>
                    <a:close/>
                    <a:moveTo>
                      <a:pt x="8" y="5430"/>
                    </a:moveTo>
                    <a:lnTo>
                      <a:pt x="8" y="5430"/>
                    </a:lnTo>
                    <a:lnTo>
                      <a:pt x="6" y="5434"/>
                    </a:lnTo>
                    <a:lnTo>
                      <a:pt x="6" y="5436"/>
                    </a:lnTo>
                    <a:lnTo>
                      <a:pt x="6" y="5440"/>
                    </a:lnTo>
                    <a:lnTo>
                      <a:pt x="10" y="5444"/>
                    </a:lnTo>
                    <a:lnTo>
                      <a:pt x="14" y="5442"/>
                    </a:lnTo>
                    <a:lnTo>
                      <a:pt x="14" y="5442"/>
                    </a:lnTo>
                    <a:lnTo>
                      <a:pt x="14" y="5438"/>
                    </a:lnTo>
                    <a:lnTo>
                      <a:pt x="14" y="5434"/>
                    </a:lnTo>
                    <a:lnTo>
                      <a:pt x="12" y="5430"/>
                    </a:lnTo>
                    <a:lnTo>
                      <a:pt x="10" y="5430"/>
                    </a:lnTo>
                    <a:lnTo>
                      <a:pt x="8" y="5430"/>
                    </a:lnTo>
                    <a:lnTo>
                      <a:pt x="8" y="5430"/>
                    </a:lnTo>
                    <a:close/>
                    <a:moveTo>
                      <a:pt x="3222" y="4178"/>
                    </a:moveTo>
                    <a:lnTo>
                      <a:pt x="3222" y="4178"/>
                    </a:lnTo>
                    <a:lnTo>
                      <a:pt x="3224" y="4178"/>
                    </a:lnTo>
                    <a:lnTo>
                      <a:pt x="3228" y="4176"/>
                    </a:lnTo>
                    <a:lnTo>
                      <a:pt x="3232" y="4172"/>
                    </a:lnTo>
                    <a:lnTo>
                      <a:pt x="3234" y="4166"/>
                    </a:lnTo>
                    <a:lnTo>
                      <a:pt x="3234" y="4166"/>
                    </a:lnTo>
                    <a:lnTo>
                      <a:pt x="3232" y="4162"/>
                    </a:lnTo>
                    <a:lnTo>
                      <a:pt x="3232" y="4160"/>
                    </a:lnTo>
                    <a:lnTo>
                      <a:pt x="3230" y="4160"/>
                    </a:lnTo>
                    <a:lnTo>
                      <a:pt x="3228" y="4156"/>
                    </a:lnTo>
                    <a:lnTo>
                      <a:pt x="3228" y="4156"/>
                    </a:lnTo>
                    <a:lnTo>
                      <a:pt x="3226" y="4152"/>
                    </a:lnTo>
                    <a:lnTo>
                      <a:pt x="3224" y="4150"/>
                    </a:lnTo>
                    <a:lnTo>
                      <a:pt x="3222" y="4154"/>
                    </a:lnTo>
                    <a:lnTo>
                      <a:pt x="3222" y="4160"/>
                    </a:lnTo>
                    <a:lnTo>
                      <a:pt x="3222" y="4160"/>
                    </a:lnTo>
                    <a:lnTo>
                      <a:pt x="3222" y="4168"/>
                    </a:lnTo>
                    <a:lnTo>
                      <a:pt x="3220" y="4172"/>
                    </a:lnTo>
                    <a:lnTo>
                      <a:pt x="3218" y="4174"/>
                    </a:lnTo>
                    <a:lnTo>
                      <a:pt x="3222" y="4178"/>
                    </a:lnTo>
                    <a:lnTo>
                      <a:pt x="3222" y="4178"/>
                    </a:lnTo>
                    <a:close/>
                    <a:moveTo>
                      <a:pt x="3526" y="3176"/>
                    </a:moveTo>
                    <a:lnTo>
                      <a:pt x="3526" y="3176"/>
                    </a:lnTo>
                    <a:lnTo>
                      <a:pt x="3522" y="3176"/>
                    </a:lnTo>
                    <a:lnTo>
                      <a:pt x="3520" y="3174"/>
                    </a:lnTo>
                    <a:lnTo>
                      <a:pt x="3522" y="3168"/>
                    </a:lnTo>
                    <a:lnTo>
                      <a:pt x="3526" y="3162"/>
                    </a:lnTo>
                    <a:lnTo>
                      <a:pt x="3526" y="3158"/>
                    </a:lnTo>
                    <a:lnTo>
                      <a:pt x="3526" y="3154"/>
                    </a:lnTo>
                    <a:lnTo>
                      <a:pt x="3526" y="3154"/>
                    </a:lnTo>
                    <a:lnTo>
                      <a:pt x="3522" y="3152"/>
                    </a:lnTo>
                    <a:lnTo>
                      <a:pt x="3518" y="3152"/>
                    </a:lnTo>
                    <a:lnTo>
                      <a:pt x="3510" y="3156"/>
                    </a:lnTo>
                    <a:lnTo>
                      <a:pt x="3506" y="3156"/>
                    </a:lnTo>
                    <a:lnTo>
                      <a:pt x="3504" y="3156"/>
                    </a:lnTo>
                    <a:lnTo>
                      <a:pt x="3500" y="3154"/>
                    </a:lnTo>
                    <a:lnTo>
                      <a:pt x="3500" y="3148"/>
                    </a:lnTo>
                    <a:lnTo>
                      <a:pt x="3500" y="3148"/>
                    </a:lnTo>
                    <a:lnTo>
                      <a:pt x="3498" y="3146"/>
                    </a:lnTo>
                    <a:lnTo>
                      <a:pt x="3496" y="3142"/>
                    </a:lnTo>
                    <a:lnTo>
                      <a:pt x="3490" y="3140"/>
                    </a:lnTo>
                    <a:lnTo>
                      <a:pt x="3486" y="3140"/>
                    </a:lnTo>
                    <a:lnTo>
                      <a:pt x="3482" y="3140"/>
                    </a:lnTo>
                    <a:lnTo>
                      <a:pt x="3478" y="3144"/>
                    </a:lnTo>
                    <a:lnTo>
                      <a:pt x="3476" y="3148"/>
                    </a:lnTo>
                    <a:lnTo>
                      <a:pt x="3476" y="3148"/>
                    </a:lnTo>
                    <a:lnTo>
                      <a:pt x="3474" y="3154"/>
                    </a:lnTo>
                    <a:lnTo>
                      <a:pt x="3470" y="3154"/>
                    </a:lnTo>
                    <a:lnTo>
                      <a:pt x="3466" y="3154"/>
                    </a:lnTo>
                    <a:lnTo>
                      <a:pt x="3464" y="3160"/>
                    </a:lnTo>
                    <a:lnTo>
                      <a:pt x="3464" y="3160"/>
                    </a:lnTo>
                    <a:lnTo>
                      <a:pt x="3462" y="3164"/>
                    </a:lnTo>
                    <a:lnTo>
                      <a:pt x="3460" y="3164"/>
                    </a:lnTo>
                    <a:lnTo>
                      <a:pt x="3456" y="3160"/>
                    </a:lnTo>
                    <a:lnTo>
                      <a:pt x="3454" y="3158"/>
                    </a:lnTo>
                    <a:lnTo>
                      <a:pt x="3452" y="3164"/>
                    </a:lnTo>
                    <a:lnTo>
                      <a:pt x="3452" y="3164"/>
                    </a:lnTo>
                    <a:lnTo>
                      <a:pt x="3452" y="3168"/>
                    </a:lnTo>
                    <a:lnTo>
                      <a:pt x="3448" y="3170"/>
                    </a:lnTo>
                    <a:lnTo>
                      <a:pt x="3444" y="3168"/>
                    </a:lnTo>
                    <a:lnTo>
                      <a:pt x="3440" y="3168"/>
                    </a:lnTo>
                    <a:lnTo>
                      <a:pt x="3442" y="3174"/>
                    </a:lnTo>
                    <a:lnTo>
                      <a:pt x="3442" y="3174"/>
                    </a:lnTo>
                    <a:lnTo>
                      <a:pt x="3444" y="3182"/>
                    </a:lnTo>
                    <a:lnTo>
                      <a:pt x="3444" y="3186"/>
                    </a:lnTo>
                    <a:lnTo>
                      <a:pt x="3444" y="3190"/>
                    </a:lnTo>
                    <a:lnTo>
                      <a:pt x="3446" y="3196"/>
                    </a:lnTo>
                    <a:lnTo>
                      <a:pt x="3446" y="3196"/>
                    </a:lnTo>
                    <a:lnTo>
                      <a:pt x="3448" y="3200"/>
                    </a:lnTo>
                    <a:lnTo>
                      <a:pt x="3450" y="3204"/>
                    </a:lnTo>
                    <a:lnTo>
                      <a:pt x="3450" y="3210"/>
                    </a:lnTo>
                    <a:lnTo>
                      <a:pt x="3450" y="3210"/>
                    </a:lnTo>
                    <a:lnTo>
                      <a:pt x="3450" y="3210"/>
                    </a:lnTo>
                    <a:lnTo>
                      <a:pt x="3456" y="3204"/>
                    </a:lnTo>
                    <a:lnTo>
                      <a:pt x="3456" y="3204"/>
                    </a:lnTo>
                    <a:lnTo>
                      <a:pt x="3460" y="3202"/>
                    </a:lnTo>
                    <a:lnTo>
                      <a:pt x="3464" y="3200"/>
                    </a:lnTo>
                    <a:lnTo>
                      <a:pt x="3464" y="3202"/>
                    </a:lnTo>
                    <a:lnTo>
                      <a:pt x="3464" y="3204"/>
                    </a:lnTo>
                    <a:lnTo>
                      <a:pt x="3466" y="3208"/>
                    </a:lnTo>
                    <a:lnTo>
                      <a:pt x="3468" y="3208"/>
                    </a:lnTo>
                    <a:lnTo>
                      <a:pt x="3472" y="3206"/>
                    </a:lnTo>
                    <a:lnTo>
                      <a:pt x="3472" y="3206"/>
                    </a:lnTo>
                    <a:lnTo>
                      <a:pt x="3474" y="3204"/>
                    </a:lnTo>
                    <a:lnTo>
                      <a:pt x="3474" y="3200"/>
                    </a:lnTo>
                    <a:lnTo>
                      <a:pt x="3472" y="3198"/>
                    </a:lnTo>
                    <a:lnTo>
                      <a:pt x="3468" y="3194"/>
                    </a:lnTo>
                    <a:lnTo>
                      <a:pt x="3468" y="3194"/>
                    </a:lnTo>
                    <a:lnTo>
                      <a:pt x="3466" y="3192"/>
                    </a:lnTo>
                    <a:lnTo>
                      <a:pt x="3464" y="3188"/>
                    </a:lnTo>
                    <a:lnTo>
                      <a:pt x="3466" y="3182"/>
                    </a:lnTo>
                    <a:lnTo>
                      <a:pt x="3466" y="3180"/>
                    </a:lnTo>
                    <a:lnTo>
                      <a:pt x="3468" y="3180"/>
                    </a:lnTo>
                    <a:lnTo>
                      <a:pt x="3470" y="3182"/>
                    </a:lnTo>
                    <a:lnTo>
                      <a:pt x="3474" y="3186"/>
                    </a:lnTo>
                    <a:lnTo>
                      <a:pt x="3474" y="3186"/>
                    </a:lnTo>
                    <a:lnTo>
                      <a:pt x="3480" y="3196"/>
                    </a:lnTo>
                    <a:lnTo>
                      <a:pt x="3482" y="3208"/>
                    </a:lnTo>
                    <a:lnTo>
                      <a:pt x="3480" y="3218"/>
                    </a:lnTo>
                    <a:lnTo>
                      <a:pt x="3474" y="3228"/>
                    </a:lnTo>
                    <a:lnTo>
                      <a:pt x="3474" y="3228"/>
                    </a:lnTo>
                    <a:lnTo>
                      <a:pt x="3468" y="3236"/>
                    </a:lnTo>
                    <a:lnTo>
                      <a:pt x="3466" y="3242"/>
                    </a:lnTo>
                    <a:lnTo>
                      <a:pt x="3470" y="3258"/>
                    </a:lnTo>
                    <a:lnTo>
                      <a:pt x="3470" y="3258"/>
                    </a:lnTo>
                    <a:lnTo>
                      <a:pt x="3470" y="3266"/>
                    </a:lnTo>
                    <a:lnTo>
                      <a:pt x="3468" y="3270"/>
                    </a:lnTo>
                    <a:lnTo>
                      <a:pt x="3466" y="3274"/>
                    </a:lnTo>
                    <a:lnTo>
                      <a:pt x="3466" y="3276"/>
                    </a:lnTo>
                    <a:lnTo>
                      <a:pt x="3466" y="3276"/>
                    </a:lnTo>
                    <a:lnTo>
                      <a:pt x="3476" y="3280"/>
                    </a:lnTo>
                    <a:lnTo>
                      <a:pt x="3476" y="3280"/>
                    </a:lnTo>
                    <a:lnTo>
                      <a:pt x="3482" y="3282"/>
                    </a:lnTo>
                    <a:lnTo>
                      <a:pt x="3486" y="3286"/>
                    </a:lnTo>
                    <a:lnTo>
                      <a:pt x="3486" y="3290"/>
                    </a:lnTo>
                    <a:lnTo>
                      <a:pt x="3486" y="3292"/>
                    </a:lnTo>
                    <a:lnTo>
                      <a:pt x="3488" y="3292"/>
                    </a:lnTo>
                    <a:lnTo>
                      <a:pt x="3496" y="3288"/>
                    </a:lnTo>
                    <a:lnTo>
                      <a:pt x="3496" y="3288"/>
                    </a:lnTo>
                    <a:lnTo>
                      <a:pt x="3500" y="3284"/>
                    </a:lnTo>
                    <a:lnTo>
                      <a:pt x="3502" y="3280"/>
                    </a:lnTo>
                    <a:lnTo>
                      <a:pt x="3502" y="3278"/>
                    </a:lnTo>
                    <a:lnTo>
                      <a:pt x="3502" y="3276"/>
                    </a:lnTo>
                    <a:lnTo>
                      <a:pt x="3500" y="3272"/>
                    </a:lnTo>
                    <a:lnTo>
                      <a:pt x="3500" y="3272"/>
                    </a:lnTo>
                    <a:lnTo>
                      <a:pt x="3502" y="3270"/>
                    </a:lnTo>
                    <a:lnTo>
                      <a:pt x="3502" y="3270"/>
                    </a:lnTo>
                    <a:lnTo>
                      <a:pt x="3506" y="3268"/>
                    </a:lnTo>
                    <a:lnTo>
                      <a:pt x="3508" y="3270"/>
                    </a:lnTo>
                    <a:lnTo>
                      <a:pt x="3510" y="3274"/>
                    </a:lnTo>
                    <a:lnTo>
                      <a:pt x="3514" y="3272"/>
                    </a:lnTo>
                    <a:lnTo>
                      <a:pt x="3514" y="3272"/>
                    </a:lnTo>
                    <a:lnTo>
                      <a:pt x="3516" y="3268"/>
                    </a:lnTo>
                    <a:lnTo>
                      <a:pt x="3518" y="3260"/>
                    </a:lnTo>
                    <a:lnTo>
                      <a:pt x="3522" y="3236"/>
                    </a:lnTo>
                    <a:lnTo>
                      <a:pt x="3528" y="3212"/>
                    </a:lnTo>
                    <a:lnTo>
                      <a:pt x="3532" y="3202"/>
                    </a:lnTo>
                    <a:lnTo>
                      <a:pt x="3534" y="3200"/>
                    </a:lnTo>
                    <a:lnTo>
                      <a:pt x="3538" y="3198"/>
                    </a:lnTo>
                    <a:lnTo>
                      <a:pt x="3538" y="3198"/>
                    </a:lnTo>
                    <a:lnTo>
                      <a:pt x="3540" y="3196"/>
                    </a:lnTo>
                    <a:lnTo>
                      <a:pt x="3542" y="3194"/>
                    </a:lnTo>
                    <a:lnTo>
                      <a:pt x="3540" y="3186"/>
                    </a:lnTo>
                    <a:lnTo>
                      <a:pt x="3534" y="3180"/>
                    </a:lnTo>
                    <a:lnTo>
                      <a:pt x="3530" y="3178"/>
                    </a:lnTo>
                    <a:lnTo>
                      <a:pt x="3526" y="3176"/>
                    </a:lnTo>
                    <a:lnTo>
                      <a:pt x="3526" y="3176"/>
                    </a:lnTo>
                    <a:close/>
                    <a:moveTo>
                      <a:pt x="3432" y="3438"/>
                    </a:moveTo>
                    <a:lnTo>
                      <a:pt x="3432" y="3438"/>
                    </a:lnTo>
                    <a:lnTo>
                      <a:pt x="3432" y="3442"/>
                    </a:lnTo>
                    <a:lnTo>
                      <a:pt x="3434" y="3442"/>
                    </a:lnTo>
                    <a:lnTo>
                      <a:pt x="3440" y="3436"/>
                    </a:lnTo>
                    <a:lnTo>
                      <a:pt x="3446" y="3428"/>
                    </a:lnTo>
                    <a:lnTo>
                      <a:pt x="3448" y="3424"/>
                    </a:lnTo>
                    <a:lnTo>
                      <a:pt x="3448" y="3422"/>
                    </a:lnTo>
                    <a:lnTo>
                      <a:pt x="3448" y="3422"/>
                    </a:lnTo>
                    <a:lnTo>
                      <a:pt x="3444" y="3422"/>
                    </a:lnTo>
                    <a:lnTo>
                      <a:pt x="3438" y="3424"/>
                    </a:lnTo>
                    <a:lnTo>
                      <a:pt x="3434" y="3430"/>
                    </a:lnTo>
                    <a:lnTo>
                      <a:pt x="3432" y="3434"/>
                    </a:lnTo>
                    <a:lnTo>
                      <a:pt x="3432" y="3438"/>
                    </a:lnTo>
                    <a:lnTo>
                      <a:pt x="3432" y="3438"/>
                    </a:lnTo>
                    <a:close/>
                    <a:moveTo>
                      <a:pt x="3434" y="3100"/>
                    </a:moveTo>
                    <a:lnTo>
                      <a:pt x="3434" y="3100"/>
                    </a:lnTo>
                    <a:lnTo>
                      <a:pt x="3432" y="3102"/>
                    </a:lnTo>
                    <a:lnTo>
                      <a:pt x="3430" y="3106"/>
                    </a:lnTo>
                    <a:lnTo>
                      <a:pt x="3430" y="3110"/>
                    </a:lnTo>
                    <a:lnTo>
                      <a:pt x="3428" y="3116"/>
                    </a:lnTo>
                    <a:lnTo>
                      <a:pt x="3428" y="3116"/>
                    </a:lnTo>
                    <a:lnTo>
                      <a:pt x="3426" y="3126"/>
                    </a:lnTo>
                    <a:lnTo>
                      <a:pt x="3426" y="3130"/>
                    </a:lnTo>
                    <a:lnTo>
                      <a:pt x="3426" y="3130"/>
                    </a:lnTo>
                    <a:lnTo>
                      <a:pt x="3426" y="3130"/>
                    </a:lnTo>
                    <a:lnTo>
                      <a:pt x="3428" y="3128"/>
                    </a:lnTo>
                    <a:lnTo>
                      <a:pt x="3430" y="3124"/>
                    </a:lnTo>
                    <a:lnTo>
                      <a:pt x="3432" y="3120"/>
                    </a:lnTo>
                    <a:lnTo>
                      <a:pt x="3434" y="3114"/>
                    </a:lnTo>
                    <a:lnTo>
                      <a:pt x="3434" y="3114"/>
                    </a:lnTo>
                    <a:lnTo>
                      <a:pt x="3436" y="3110"/>
                    </a:lnTo>
                    <a:lnTo>
                      <a:pt x="3438" y="3104"/>
                    </a:lnTo>
                    <a:lnTo>
                      <a:pt x="3438" y="3100"/>
                    </a:lnTo>
                    <a:lnTo>
                      <a:pt x="3436" y="3100"/>
                    </a:lnTo>
                    <a:lnTo>
                      <a:pt x="3434" y="3100"/>
                    </a:lnTo>
                    <a:lnTo>
                      <a:pt x="3434" y="3100"/>
                    </a:lnTo>
                    <a:close/>
                    <a:moveTo>
                      <a:pt x="4106" y="2564"/>
                    </a:moveTo>
                    <a:lnTo>
                      <a:pt x="4106" y="2564"/>
                    </a:lnTo>
                    <a:lnTo>
                      <a:pt x="4098" y="2576"/>
                    </a:lnTo>
                    <a:lnTo>
                      <a:pt x="4088" y="2586"/>
                    </a:lnTo>
                    <a:lnTo>
                      <a:pt x="4084" y="2594"/>
                    </a:lnTo>
                    <a:lnTo>
                      <a:pt x="4082" y="2598"/>
                    </a:lnTo>
                    <a:lnTo>
                      <a:pt x="4084" y="2604"/>
                    </a:lnTo>
                    <a:lnTo>
                      <a:pt x="4084" y="2604"/>
                    </a:lnTo>
                    <a:lnTo>
                      <a:pt x="4086" y="2604"/>
                    </a:lnTo>
                    <a:lnTo>
                      <a:pt x="4088" y="2602"/>
                    </a:lnTo>
                    <a:lnTo>
                      <a:pt x="4094" y="2592"/>
                    </a:lnTo>
                    <a:lnTo>
                      <a:pt x="4098" y="2586"/>
                    </a:lnTo>
                    <a:lnTo>
                      <a:pt x="4104" y="2580"/>
                    </a:lnTo>
                    <a:lnTo>
                      <a:pt x="4112" y="2574"/>
                    </a:lnTo>
                    <a:lnTo>
                      <a:pt x="4122" y="2570"/>
                    </a:lnTo>
                    <a:lnTo>
                      <a:pt x="4122" y="2570"/>
                    </a:lnTo>
                    <a:lnTo>
                      <a:pt x="4126" y="2568"/>
                    </a:lnTo>
                    <a:lnTo>
                      <a:pt x="4126" y="2566"/>
                    </a:lnTo>
                    <a:lnTo>
                      <a:pt x="4120" y="2562"/>
                    </a:lnTo>
                    <a:lnTo>
                      <a:pt x="4112" y="2562"/>
                    </a:lnTo>
                    <a:lnTo>
                      <a:pt x="4108" y="2562"/>
                    </a:lnTo>
                    <a:lnTo>
                      <a:pt x="4106" y="2564"/>
                    </a:lnTo>
                    <a:lnTo>
                      <a:pt x="4106" y="2564"/>
                    </a:lnTo>
                    <a:close/>
                    <a:moveTo>
                      <a:pt x="3472" y="4884"/>
                    </a:moveTo>
                    <a:lnTo>
                      <a:pt x="3472" y="4884"/>
                    </a:lnTo>
                    <a:lnTo>
                      <a:pt x="3474" y="4884"/>
                    </a:lnTo>
                    <a:lnTo>
                      <a:pt x="3476" y="4884"/>
                    </a:lnTo>
                    <a:lnTo>
                      <a:pt x="3484" y="4882"/>
                    </a:lnTo>
                    <a:lnTo>
                      <a:pt x="3488" y="4880"/>
                    </a:lnTo>
                    <a:lnTo>
                      <a:pt x="3490" y="4878"/>
                    </a:lnTo>
                    <a:lnTo>
                      <a:pt x="3488" y="4878"/>
                    </a:lnTo>
                    <a:lnTo>
                      <a:pt x="3488" y="4878"/>
                    </a:lnTo>
                    <a:lnTo>
                      <a:pt x="3478" y="4878"/>
                    </a:lnTo>
                    <a:lnTo>
                      <a:pt x="3472" y="4880"/>
                    </a:lnTo>
                    <a:lnTo>
                      <a:pt x="3472" y="4882"/>
                    </a:lnTo>
                    <a:lnTo>
                      <a:pt x="3472" y="4884"/>
                    </a:lnTo>
                    <a:lnTo>
                      <a:pt x="3472" y="4884"/>
                    </a:lnTo>
                    <a:close/>
                    <a:moveTo>
                      <a:pt x="3468" y="3214"/>
                    </a:moveTo>
                    <a:lnTo>
                      <a:pt x="3468" y="3214"/>
                    </a:lnTo>
                    <a:lnTo>
                      <a:pt x="3468" y="3212"/>
                    </a:lnTo>
                    <a:lnTo>
                      <a:pt x="3466" y="3212"/>
                    </a:lnTo>
                    <a:lnTo>
                      <a:pt x="3462" y="3212"/>
                    </a:lnTo>
                    <a:lnTo>
                      <a:pt x="3460" y="3218"/>
                    </a:lnTo>
                    <a:lnTo>
                      <a:pt x="3460" y="3224"/>
                    </a:lnTo>
                    <a:lnTo>
                      <a:pt x="3460" y="3224"/>
                    </a:lnTo>
                    <a:lnTo>
                      <a:pt x="3460" y="3226"/>
                    </a:lnTo>
                    <a:lnTo>
                      <a:pt x="3462" y="3226"/>
                    </a:lnTo>
                    <a:lnTo>
                      <a:pt x="3464" y="3224"/>
                    </a:lnTo>
                    <a:lnTo>
                      <a:pt x="3468" y="3220"/>
                    </a:lnTo>
                    <a:lnTo>
                      <a:pt x="3468" y="3214"/>
                    </a:lnTo>
                    <a:lnTo>
                      <a:pt x="3468" y="3214"/>
                    </a:lnTo>
                    <a:close/>
                    <a:moveTo>
                      <a:pt x="3482" y="3322"/>
                    </a:moveTo>
                    <a:lnTo>
                      <a:pt x="3482" y="3322"/>
                    </a:lnTo>
                    <a:lnTo>
                      <a:pt x="3478" y="3322"/>
                    </a:lnTo>
                    <a:lnTo>
                      <a:pt x="3476" y="3326"/>
                    </a:lnTo>
                    <a:lnTo>
                      <a:pt x="3478" y="3330"/>
                    </a:lnTo>
                    <a:lnTo>
                      <a:pt x="3478" y="3330"/>
                    </a:lnTo>
                    <a:lnTo>
                      <a:pt x="3482" y="3332"/>
                    </a:lnTo>
                    <a:lnTo>
                      <a:pt x="3482" y="3332"/>
                    </a:lnTo>
                    <a:lnTo>
                      <a:pt x="3486" y="3332"/>
                    </a:lnTo>
                    <a:lnTo>
                      <a:pt x="3486" y="3328"/>
                    </a:lnTo>
                    <a:lnTo>
                      <a:pt x="3484" y="3324"/>
                    </a:lnTo>
                    <a:lnTo>
                      <a:pt x="3482" y="3322"/>
                    </a:lnTo>
                    <a:lnTo>
                      <a:pt x="3482" y="3322"/>
                    </a:lnTo>
                    <a:close/>
                    <a:moveTo>
                      <a:pt x="3652" y="3124"/>
                    </a:moveTo>
                    <a:lnTo>
                      <a:pt x="3652" y="3124"/>
                    </a:lnTo>
                    <a:lnTo>
                      <a:pt x="3654" y="3126"/>
                    </a:lnTo>
                    <a:lnTo>
                      <a:pt x="3656" y="3124"/>
                    </a:lnTo>
                    <a:lnTo>
                      <a:pt x="3658" y="3118"/>
                    </a:lnTo>
                    <a:lnTo>
                      <a:pt x="3662" y="3112"/>
                    </a:lnTo>
                    <a:lnTo>
                      <a:pt x="3662" y="3106"/>
                    </a:lnTo>
                    <a:lnTo>
                      <a:pt x="3662" y="3106"/>
                    </a:lnTo>
                    <a:lnTo>
                      <a:pt x="3662" y="3104"/>
                    </a:lnTo>
                    <a:lnTo>
                      <a:pt x="3660" y="3104"/>
                    </a:lnTo>
                    <a:lnTo>
                      <a:pt x="3656" y="3110"/>
                    </a:lnTo>
                    <a:lnTo>
                      <a:pt x="3652" y="3116"/>
                    </a:lnTo>
                    <a:lnTo>
                      <a:pt x="3652" y="3120"/>
                    </a:lnTo>
                    <a:lnTo>
                      <a:pt x="3652" y="3124"/>
                    </a:lnTo>
                    <a:lnTo>
                      <a:pt x="3652" y="3124"/>
                    </a:lnTo>
                    <a:close/>
                    <a:moveTo>
                      <a:pt x="3482" y="4890"/>
                    </a:moveTo>
                    <a:lnTo>
                      <a:pt x="3482" y="4890"/>
                    </a:lnTo>
                    <a:lnTo>
                      <a:pt x="3486" y="4896"/>
                    </a:lnTo>
                    <a:lnTo>
                      <a:pt x="3492" y="4904"/>
                    </a:lnTo>
                    <a:lnTo>
                      <a:pt x="3492" y="4904"/>
                    </a:lnTo>
                    <a:lnTo>
                      <a:pt x="3494" y="4904"/>
                    </a:lnTo>
                    <a:lnTo>
                      <a:pt x="3494" y="4904"/>
                    </a:lnTo>
                    <a:lnTo>
                      <a:pt x="3498" y="4898"/>
                    </a:lnTo>
                    <a:lnTo>
                      <a:pt x="3498" y="4890"/>
                    </a:lnTo>
                    <a:lnTo>
                      <a:pt x="3498" y="4888"/>
                    </a:lnTo>
                    <a:lnTo>
                      <a:pt x="3496" y="4886"/>
                    </a:lnTo>
                    <a:lnTo>
                      <a:pt x="3496" y="4886"/>
                    </a:lnTo>
                    <a:lnTo>
                      <a:pt x="3492" y="4884"/>
                    </a:lnTo>
                    <a:lnTo>
                      <a:pt x="3486" y="4884"/>
                    </a:lnTo>
                    <a:lnTo>
                      <a:pt x="3482" y="4886"/>
                    </a:lnTo>
                    <a:lnTo>
                      <a:pt x="3482" y="4888"/>
                    </a:lnTo>
                    <a:lnTo>
                      <a:pt x="3482" y="4890"/>
                    </a:lnTo>
                    <a:lnTo>
                      <a:pt x="3482" y="4890"/>
                    </a:lnTo>
                    <a:close/>
                    <a:moveTo>
                      <a:pt x="3640" y="3122"/>
                    </a:moveTo>
                    <a:lnTo>
                      <a:pt x="3640" y="3122"/>
                    </a:lnTo>
                    <a:lnTo>
                      <a:pt x="3634" y="3120"/>
                    </a:lnTo>
                    <a:lnTo>
                      <a:pt x="3628" y="3116"/>
                    </a:lnTo>
                    <a:lnTo>
                      <a:pt x="3620" y="3116"/>
                    </a:lnTo>
                    <a:lnTo>
                      <a:pt x="3612" y="3120"/>
                    </a:lnTo>
                    <a:lnTo>
                      <a:pt x="3612" y="3120"/>
                    </a:lnTo>
                    <a:lnTo>
                      <a:pt x="3608" y="3122"/>
                    </a:lnTo>
                    <a:lnTo>
                      <a:pt x="3604" y="3126"/>
                    </a:lnTo>
                    <a:lnTo>
                      <a:pt x="3602" y="3132"/>
                    </a:lnTo>
                    <a:lnTo>
                      <a:pt x="3600" y="3136"/>
                    </a:lnTo>
                    <a:lnTo>
                      <a:pt x="3598" y="3138"/>
                    </a:lnTo>
                    <a:lnTo>
                      <a:pt x="3596" y="3136"/>
                    </a:lnTo>
                    <a:lnTo>
                      <a:pt x="3596" y="3136"/>
                    </a:lnTo>
                    <a:lnTo>
                      <a:pt x="3592" y="3136"/>
                    </a:lnTo>
                    <a:lnTo>
                      <a:pt x="3590" y="3136"/>
                    </a:lnTo>
                    <a:lnTo>
                      <a:pt x="3586" y="3138"/>
                    </a:lnTo>
                    <a:lnTo>
                      <a:pt x="3582" y="3140"/>
                    </a:lnTo>
                    <a:lnTo>
                      <a:pt x="3580" y="3136"/>
                    </a:lnTo>
                    <a:lnTo>
                      <a:pt x="3580" y="3136"/>
                    </a:lnTo>
                    <a:lnTo>
                      <a:pt x="3580" y="3130"/>
                    </a:lnTo>
                    <a:lnTo>
                      <a:pt x="3578" y="3128"/>
                    </a:lnTo>
                    <a:lnTo>
                      <a:pt x="3576" y="3128"/>
                    </a:lnTo>
                    <a:lnTo>
                      <a:pt x="3574" y="3132"/>
                    </a:lnTo>
                    <a:lnTo>
                      <a:pt x="3568" y="3144"/>
                    </a:lnTo>
                    <a:lnTo>
                      <a:pt x="3568" y="3144"/>
                    </a:lnTo>
                    <a:lnTo>
                      <a:pt x="3564" y="3150"/>
                    </a:lnTo>
                    <a:lnTo>
                      <a:pt x="3560" y="3156"/>
                    </a:lnTo>
                    <a:lnTo>
                      <a:pt x="3550" y="3164"/>
                    </a:lnTo>
                    <a:lnTo>
                      <a:pt x="3544" y="3168"/>
                    </a:lnTo>
                    <a:lnTo>
                      <a:pt x="3548" y="3168"/>
                    </a:lnTo>
                    <a:lnTo>
                      <a:pt x="3548" y="3168"/>
                    </a:lnTo>
                    <a:lnTo>
                      <a:pt x="3554" y="3168"/>
                    </a:lnTo>
                    <a:lnTo>
                      <a:pt x="3556" y="3170"/>
                    </a:lnTo>
                    <a:lnTo>
                      <a:pt x="3558" y="3172"/>
                    </a:lnTo>
                    <a:lnTo>
                      <a:pt x="3558" y="3174"/>
                    </a:lnTo>
                    <a:lnTo>
                      <a:pt x="3558" y="3182"/>
                    </a:lnTo>
                    <a:lnTo>
                      <a:pt x="3558" y="3186"/>
                    </a:lnTo>
                    <a:lnTo>
                      <a:pt x="3562" y="3190"/>
                    </a:lnTo>
                    <a:lnTo>
                      <a:pt x="3562" y="3190"/>
                    </a:lnTo>
                    <a:lnTo>
                      <a:pt x="3564" y="3192"/>
                    </a:lnTo>
                    <a:lnTo>
                      <a:pt x="3564" y="3196"/>
                    </a:lnTo>
                    <a:lnTo>
                      <a:pt x="3564" y="3198"/>
                    </a:lnTo>
                    <a:lnTo>
                      <a:pt x="3562" y="3200"/>
                    </a:lnTo>
                    <a:lnTo>
                      <a:pt x="3564" y="3200"/>
                    </a:lnTo>
                    <a:lnTo>
                      <a:pt x="3574" y="3202"/>
                    </a:lnTo>
                    <a:lnTo>
                      <a:pt x="3574" y="3202"/>
                    </a:lnTo>
                    <a:lnTo>
                      <a:pt x="3578" y="3202"/>
                    </a:lnTo>
                    <a:lnTo>
                      <a:pt x="3580" y="3198"/>
                    </a:lnTo>
                    <a:lnTo>
                      <a:pt x="3584" y="3186"/>
                    </a:lnTo>
                    <a:lnTo>
                      <a:pt x="3588" y="3178"/>
                    </a:lnTo>
                    <a:lnTo>
                      <a:pt x="3590" y="3172"/>
                    </a:lnTo>
                    <a:lnTo>
                      <a:pt x="3594" y="3166"/>
                    </a:lnTo>
                    <a:lnTo>
                      <a:pt x="3602" y="3164"/>
                    </a:lnTo>
                    <a:lnTo>
                      <a:pt x="3602" y="3164"/>
                    </a:lnTo>
                    <a:lnTo>
                      <a:pt x="3608" y="3162"/>
                    </a:lnTo>
                    <a:lnTo>
                      <a:pt x="3614" y="3164"/>
                    </a:lnTo>
                    <a:lnTo>
                      <a:pt x="3620" y="3170"/>
                    </a:lnTo>
                    <a:lnTo>
                      <a:pt x="3624" y="3172"/>
                    </a:lnTo>
                    <a:lnTo>
                      <a:pt x="3626" y="3172"/>
                    </a:lnTo>
                    <a:lnTo>
                      <a:pt x="3628" y="3170"/>
                    </a:lnTo>
                    <a:lnTo>
                      <a:pt x="3630" y="3166"/>
                    </a:lnTo>
                    <a:lnTo>
                      <a:pt x="3630" y="3166"/>
                    </a:lnTo>
                    <a:lnTo>
                      <a:pt x="3632" y="3160"/>
                    </a:lnTo>
                    <a:lnTo>
                      <a:pt x="3636" y="3156"/>
                    </a:lnTo>
                    <a:lnTo>
                      <a:pt x="3642" y="3150"/>
                    </a:lnTo>
                    <a:lnTo>
                      <a:pt x="3646" y="3148"/>
                    </a:lnTo>
                    <a:lnTo>
                      <a:pt x="3648" y="3144"/>
                    </a:lnTo>
                    <a:lnTo>
                      <a:pt x="3646" y="3140"/>
                    </a:lnTo>
                    <a:lnTo>
                      <a:pt x="3646" y="3140"/>
                    </a:lnTo>
                    <a:lnTo>
                      <a:pt x="3644" y="3132"/>
                    </a:lnTo>
                    <a:lnTo>
                      <a:pt x="3644" y="3128"/>
                    </a:lnTo>
                    <a:lnTo>
                      <a:pt x="3644" y="3126"/>
                    </a:lnTo>
                    <a:lnTo>
                      <a:pt x="3640" y="3122"/>
                    </a:lnTo>
                    <a:lnTo>
                      <a:pt x="3640" y="3122"/>
                    </a:lnTo>
                    <a:close/>
                    <a:moveTo>
                      <a:pt x="3450" y="4936"/>
                    </a:moveTo>
                    <a:lnTo>
                      <a:pt x="3450" y="4936"/>
                    </a:lnTo>
                    <a:lnTo>
                      <a:pt x="3456" y="4938"/>
                    </a:lnTo>
                    <a:lnTo>
                      <a:pt x="3462" y="4940"/>
                    </a:lnTo>
                    <a:lnTo>
                      <a:pt x="3468" y="4940"/>
                    </a:lnTo>
                    <a:lnTo>
                      <a:pt x="3470" y="4938"/>
                    </a:lnTo>
                    <a:lnTo>
                      <a:pt x="3472" y="4934"/>
                    </a:lnTo>
                    <a:lnTo>
                      <a:pt x="3472" y="4934"/>
                    </a:lnTo>
                    <a:lnTo>
                      <a:pt x="3474" y="4926"/>
                    </a:lnTo>
                    <a:lnTo>
                      <a:pt x="3472" y="4922"/>
                    </a:lnTo>
                    <a:lnTo>
                      <a:pt x="3466" y="4922"/>
                    </a:lnTo>
                    <a:lnTo>
                      <a:pt x="3458" y="4924"/>
                    </a:lnTo>
                    <a:lnTo>
                      <a:pt x="3458" y="4924"/>
                    </a:lnTo>
                    <a:lnTo>
                      <a:pt x="3448" y="4930"/>
                    </a:lnTo>
                    <a:lnTo>
                      <a:pt x="3448" y="4932"/>
                    </a:lnTo>
                    <a:lnTo>
                      <a:pt x="3450" y="4936"/>
                    </a:lnTo>
                    <a:lnTo>
                      <a:pt x="3450" y="4936"/>
                    </a:lnTo>
                    <a:close/>
                    <a:moveTo>
                      <a:pt x="3012" y="5270"/>
                    </a:moveTo>
                    <a:lnTo>
                      <a:pt x="3012" y="5270"/>
                    </a:lnTo>
                    <a:lnTo>
                      <a:pt x="3008" y="5266"/>
                    </a:lnTo>
                    <a:lnTo>
                      <a:pt x="3006" y="5264"/>
                    </a:lnTo>
                    <a:lnTo>
                      <a:pt x="3008" y="5262"/>
                    </a:lnTo>
                    <a:lnTo>
                      <a:pt x="3012" y="5264"/>
                    </a:lnTo>
                    <a:lnTo>
                      <a:pt x="3012" y="5264"/>
                    </a:lnTo>
                    <a:lnTo>
                      <a:pt x="3020" y="5266"/>
                    </a:lnTo>
                    <a:lnTo>
                      <a:pt x="3022" y="5266"/>
                    </a:lnTo>
                    <a:lnTo>
                      <a:pt x="3022" y="5264"/>
                    </a:lnTo>
                    <a:lnTo>
                      <a:pt x="3022" y="5264"/>
                    </a:lnTo>
                    <a:lnTo>
                      <a:pt x="3022" y="5258"/>
                    </a:lnTo>
                    <a:lnTo>
                      <a:pt x="3020" y="5250"/>
                    </a:lnTo>
                    <a:lnTo>
                      <a:pt x="3014" y="5244"/>
                    </a:lnTo>
                    <a:lnTo>
                      <a:pt x="3010" y="5242"/>
                    </a:lnTo>
                    <a:lnTo>
                      <a:pt x="3008" y="5244"/>
                    </a:lnTo>
                    <a:lnTo>
                      <a:pt x="3008" y="5244"/>
                    </a:lnTo>
                    <a:lnTo>
                      <a:pt x="3006" y="5246"/>
                    </a:lnTo>
                    <a:lnTo>
                      <a:pt x="3004" y="5246"/>
                    </a:lnTo>
                    <a:lnTo>
                      <a:pt x="3000" y="5242"/>
                    </a:lnTo>
                    <a:lnTo>
                      <a:pt x="2998" y="5240"/>
                    </a:lnTo>
                    <a:lnTo>
                      <a:pt x="2994" y="5240"/>
                    </a:lnTo>
                    <a:lnTo>
                      <a:pt x="2992" y="5242"/>
                    </a:lnTo>
                    <a:lnTo>
                      <a:pt x="2992" y="5242"/>
                    </a:lnTo>
                    <a:lnTo>
                      <a:pt x="2988" y="5244"/>
                    </a:lnTo>
                    <a:lnTo>
                      <a:pt x="2986" y="5244"/>
                    </a:lnTo>
                    <a:lnTo>
                      <a:pt x="2982" y="5240"/>
                    </a:lnTo>
                    <a:lnTo>
                      <a:pt x="2978" y="5236"/>
                    </a:lnTo>
                    <a:lnTo>
                      <a:pt x="2974" y="5234"/>
                    </a:lnTo>
                    <a:lnTo>
                      <a:pt x="2970" y="5234"/>
                    </a:lnTo>
                    <a:lnTo>
                      <a:pt x="2970" y="5234"/>
                    </a:lnTo>
                    <a:lnTo>
                      <a:pt x="2966" y="5236"/>
                    </a:lnTo>
                    <a:lnTo>
                      <a:pt x="2964" y="5238"/>
                    </a:lnTo>
                    <a:lnTo>
                      <a:pt x="2964" y="5240"/>
                    </a:lnTo>
                    <a:lnTo>
                      <a:pt x="2966" y="5244"/>
                    </a:lnTo>
                    <a:lnTo>
                      <a:pt x="2970" y="5250"/>
                    </a:lnTo>
                    <a:lnTo>
                      <a:pt x="2974" y="5252"/>
                    </a:lnTo>
                    <a:lnTo>
                      <a:pt x="2974" y="5252"/>
                    </a:lnTo>
                    <a:lnTo>
                      <a:pt x="2978" y="5252"/>
                    </a:lnTo>
                    <a:lnTo>
                      <a:pt x="2984" y="5256"/>
                    </a:lnTo>
                    <a:lnTo>
                      <a:pt x="2986" y="5260"/>
                    </a:lnTo>
                    <a:lnTo>
                      <a:pt x="2984" y="5260"/>
                    </a:lnTo>
                    <a:lnTo>
                      <a:pt x="2982" y="5260"/>
                    </a:lnTo>
                    <a:lnTo>
                      <a:pt x="2982" y="5260"/>
                    </a:lnTo>
                    <a:lnTo>
                      <a:pt x="2976" y="5262"/>
                    </a:lnTo>
                    <a:lnTo>
                      <a:pt x="2972" y="5264"/>
                    </a:lnTo>
                    <a:lnTo>
                      <a:pt x="2970" y="5264"/>
                    </a:lnTo>
                    <a:lnTo>
                      <a:pt x="2966" y="5260"/>
                    </a:lnTo>
                    <a:lnTo>
                      <a:pt x="2966" y="5260"/>
                    </a:lnTo>
                    <a:lnTo>
                      <a:pt x="2960" y="5252"/>
                    </a:lnTo>
                    <a:lnTo>
                      <a:pt x="2956" y="5252"/>
                    </a:lnTo>
                    <a:lnTo>
                      <a:pt x="2954" y="5252"/>
                    </a:lnTo>
                    <a:lnTo>
                      <a:pt x="2954" y="5252"/>
                    </a:lnTo>
                    <a:lnTo>
                      <a:pt x="2948" y="5250"/>
                    </a:lnTo>
                    <a:lnTo>
                      <a:pt x="2944" y="5248"/>
                    </a:lnTo>
                    <a:lnTo>
                      <a:pt x="2940" y="5246"/>
                    </a:lnTo>
                    <a:lnTo>
                      <a:pt x="2938" y="5248"/>
                    </a:lnTo>
                    <a:lnTo>
                      <a:pt x="2936" y="5250"/>
                    </a:lnTo>
                    <a:lnTo>
                      <a:pt x="2936" y="5250"/>
                    </a:lnTo>
                    <a:lnTo>
                      <a:pt x="2932" y="5254"/>
                    </a:lnTo>
                    <a:lnTo>
                      <a:pt x="2928" y="5256"/>
                    </a:lnTo>
                    <a:lnTo>
                      <a:pt x="2926" y="5258"/>
                    </a:lnTo>
                    <a:lnTo>
                      <a:pt x="2926" y="5266"/>
                    </a:lnTo>
                    <a:lnTo>
                      <a:pt x="2926" y="5266"/>
                    </a:lnTo>
                    <a:lnTo>
                      <a:pt x="2926" y="5270"/>
                    </a:lnTo>
                    <a:lnTo>
                      <a:pt x="2926" y="5276"/>
                    </a:lnTo>
                    <a:lnTo>
                      <a:pt x="2926" y="5278"/>
                    </a:lnTo>
                    <a:lnTo>
                      <a:pt x="2928" y="5280"/>
                    </a:lnTo>
                    <a:lnTo>
                      <a:pt x="2938" y="5282"/>
                    </a:lnTo>
                    <a:lnTo>
                      <a:pt x="2938" y="5282"/>
                    </a:lnTo>
                    <a:lnTo>
                      <a:pt x="2948" y="5282"/>
                    </a:lnTo>
                    <a:lnTo>
                      <a:pt x="2960" y="5278"/>
                    </a:lnTo>
                    <a:lnTo>
                      <a:pt x="2970" y="5274"/>
                    </a:lnTo>
                    <a:lnTo>
                      <a:pt x="2978" y="5272"/>
                    </a:lnTo>
                    <a:lnTo>
                      <a:pt x="2978" y="5272"/>
                    </a:lnTo>
                    <a:lnTo>
                      <a:pt x="2984" y="5272"/>
                    </a:lnTo>
                    <a:lnTo>
                      <a:pt x="2986" y="5268"/>
                    </a:lnTo>
                    <a:lnTo>
                      <a:pt x="2988" y="5268"/>
                    </a:lnTo>
                    <a:lnTo>
                      <a:pt x="2990" y="5270"/>
                    </a:lnTo>
                    <a:lnTo>
                      <a:pt x="2990" y="5270"/>
                    </a:lnTo>
                    <a:lnTo>
                      <a:pt x="2992" y="5272"/>
                    </a:lnTo>
                    <a:lnTo>
                      <a:pt x="2994" y="5270"/>
                    </a:lnTo>
                    <a:lnTo>
                      <a:pt x="2998" y="5270"/>
                    </a:lnTo>
                    <a:lnTo>
                      <a:pt x="3004" y="5270"/>
                    </a:lnTo>
                    <a:lnTo>
                      <a:pt x="3004" y="5270"/>
                    </a:lnTo>
                    <a:lnTo>
                      <a:pt x="3014" y="5272"/>
                    </a:lnTo>
                    <a:lnTo>
                      <a:pt x="3016" y="5272"/>
                    </a:lnTo>
                    <a:lnTo>
                      <a:pt x="3012" y="5270"/>
                    </a:lnTo>
                    <a:lnTo>
                      <a:pt x="3012" y="5270"/>
                    </a:lnTo>
                    <a:close/>
                    <a:moveTo>
                      <a:pt x="3240" y="4810"/>
                    </a:moveTo>
                    <a:lnTo>
                      <a:pt x="3240" y="4810"/>
                    </a:lnTo>
                    <a:lnTo>
                      <a:pt x="3258" y="4782"/>
                    </a:lnTo>
                    <a:lnTo>
                      <a:pt x="3262" y="4776"/>
                    </a:lnTo>
                    <a:lnTo>
                      <a:pt x="3264" y="4770"/>
                    </a:lnTo>
                    <a:lnTo>
                      <a:pt x="3264" y="4764"/>
                    </a:lnTo>
                    <a:lnTo>
                      <a:pt x="3262" y="4760"/>
                    </a:lnTo>
                    <a:lnTo>
                      <a:pt x="3262" y="4760"/>
                    </a:lnTo>
                    <a:lnTo>
                      <a:pt x="3258" y="4756"/>
                    </a:lnTo>
                    <a:lnTo>
                      <a:pt x="3254" y="4756"/>
                    </a:lnTo>
                    <a:lnTo>
                      <a:pt x="3250" y="4758"/>
                    </a:lnTo>
                    <a:lnTo>
                      <a:pt x="3246" y="4764"/>
                    </a:lnTo>
                    <a:lnTo>
                      <a:pt x="3236" y="4776"/>
                    </a:lnTo>
                    <a:lnTo>
                      <a:pt x="3228" y="4792"/>
                    </a:lnTo>
                    <a:lnTo>
                      <a:pt x="3228" y="4792"/>
                    </a:lnTo>
                    <a:lnTo>
                      <a:pt x="3222" y="4796"/>
                    </a:lnTo>
                    <a:lnTo>
                      <a:pt x="3216" y="4798"/>
                    </a:lnTo>
                    <a:lnTo>
                      <a:pt x="3208" y="4798"/>
                    </a:lnTo>
                    <a:lnTo>
                      <a:pt x="3198" y="4798"/>
                    </a:lnTo>
                    <a:lnTo>
                      <a:pt x="3182" y="4794"/>
                    </a:lnTo>
                    <a:lnTo>
                      <a:pt x="3176" y="4794"/>
                    </a:lnTo>
                    <a:lnTo>
                      <a:pt x="3174" y="4796"/>
                    </a:lnTo>
                    <a:lnTo>
                      <a:pt x="3174" y="4796"/>
                    </a:lnTo>
                    <a:lnTo>
                      <a:pt x="3170" y="4798"/>
                    </a:lnTo>
                    <a:lnTo>
                      <a:pt x="3168" y="4798"/>
                    </a:lnTo>
                    <a:lnTo>
                      <a:pt x="3158" y="4794"/>
                    </a:lnTo>
                    <a:lnTo>
                      <a:pt x="3146" y="4792"/>
                    </a:lnTo>
                    <a:lnTo>
                      <a:pt x="3138" y="4790"/>
                    </a:lnTo>
                    <a:lnTo>
                      <a:pt x="3130" y="4790"/>
                    </a:lnTo>
                    <a:lnTo>
                      <a:pt x="3130" y="4790"/>
                    </a:lnTo>
                    <a:lnTo>
                      <a:pt x="3122" y="4790"/>
                    </a:lnTo>
                    <a:lnTo>
                      <a:pt x="3118" y="4788"/>
                    </a:lnTo>
                    <a:lnTo>
                      <a:pt x="3116" y="4786"/>
                    </a:lnTo>
                    <a:lnTo>
                      <a:pt x="3114" y="4784"/>
                    </a:lnTo>
                    <a:lnTo>
                      <a:pt x="3114" y="4780"/>
                    </a:lnTo>
                    <a:lnTo>
                      <a:pt x="3114" y="4778"/>
                    </a:lnTo>
                    <a:lnTo>
                      <a:pt x="3112" y="4778"/>
                    </a:lnTo>
                    <a:lnTo>
                      <a:pt x="3112" y="4778"/>
                    </a:lnTo>
                    <a:lnTo>
                      <a:pt x="3104" y="4778"/>
                    </a:lnTo>
                    <a:lnTo>
                      <a:pt x="3098" y="4776"/>
                    </a:lnTo>
                    <a:lnTo>
                      <a:pt x="3092" y="4776"/>
                    </a:lnTo>
                    <a:lnTo>
                      <a:pt x="3090" y="4778"/>
                    </a:lnTo>
                    <a:lnTo>
                      <a:pt x="3088" y="4780"/>
                    </a:lnTo>
                    <a:lnTo>
                      <a:pt x="3088" y="4780"/>
                    </a:lnTo>
                    <a:lnTo>
                      <a:pt x="3084" y="4788"/>
                    </a:lnTo>
                    <a:lnTo>
                      <a:pt x="3080" y="4796"/>
                    </a:lnTo>
                    <a:lnTo>
                      <a:pt x="3078" y="4800"/>
                    </a:lnTo>
                    <a:lnTo>
                      <a:pt x="3074" y="4800"/>
                    </a:lnTo>
                    <a:lnTo>
                      <a:pt x="3072" y="4800"/>
                    </a:lnTo>
                    <a:lnTo>
                      <a:pt x="3068" y="4796"/>
                    </a:lnTo>
                    <a:lnTo>
                      <a:pt x="3068" y="4796"/>
                    </a:lnTo>
                    <a:lnTo>
                      <a:pt x="3066" y="4792"/>
                    </a:lnTo>
                    <a:lnTo>
                      <a:pt x="3064" y="4792"/>
                    </a:lnTo>
                    <a:lnTo>
                      <a:pt x="3060" y="4798"/>
                    </a:lnTo>
                    <a:lnTo>
                      <a:pt x="3056" y="4810"/>
                    </a:lnTo>
                    <a:lnTo>
                      <a:pt x="3052" y="4820"/>
                    </a:lnTo>
                    <a:lnTo>
                      <a:pt x="3052" y="4820"/>
                    </a:lnTo>
                    <a:lnTo>
                      <a:pt x="3048" y="4824"/>
                    </a:lnTo>
                    <a:lnTo>
                      <a:pt x="3048" y="4828"/>
                    </a:lnTo>
                    <a:lnTo>
                      <a:pt x="3048" y="4834"/>
                    </a:lnTo>
                    <a:lnTo>
                      <a:pt x="3048" y="4838"/>
                    </a:lnTo>
                    <a:lnTo>
                      <a:pt x="3046" y="4840"/>
                    </a:lnTo>
                    <a:lnTo>
                      <a:pt x="3044" y="4842"/>
                    </a:lnTo>
                    <a:lnTo>
                      <a:pt x="3044" y="4842"/>
                    </a:lnTo>
                    <a:lnTo>
                      <a:pt x="3040" y="4844"/>
                    </a:lnTo>
                    <a:lnTo>
                      <a:pt x="3040" y="4848"/>
                    </a:lnTo>
                    <a:lnTo>
                      <a:pt x="3042" y="4854"/>
                    </a:lnTo>
                    <a:lnTo>
                      <a:pt x="3044" y="4864"/>
                    </a:lnTo>
                    <a:lnTo>
                      <a:pt x="3044" y="4864"/>
                    </a:lnTo>
                    <a:lnTo>
                      <a:pt x="3040" y="4876"/>
                    </a:lnTo>
                    <a:lnTo>
                      <a:pt x="3034" y="4886"/>
                    </a:lnTo>
                    <a:lnTo>
                      <a:pt x="3030" y="4900"/>
                    </a:lnTo>
                    <a:lnTo>
                      <a:pt x="3030" y="4908"/>
                    </a:lnTo>
                    <a:lnTo>
                      <a:pt x="3030" y="4918"/>
                    </a:lnTo>
                    <a:lnTo>
                      <a:pt x="3030" y="4918"/>
                    </a:lnTo>
                    <a:lnTo>
                      <a:pt x="3030" y="4932"/>
                    </a:lnTo>
                    <a:lnTo>
                      <a:pt x="3028" y="4934"/>
                    </a:lnTo>
                    <a:lnTo>
                      <a:pt x="3026" y="4936"/>
                    </a:lnTo>
                    <a:lnTo>
                      <a:pt x="3024" y="4936"/>
                    </a:lnTo>
                    <a:lnTo>
                      <a:pt x="3024" y="4938"/>
                    </a:lnTo>
                    <a:lnTo>
                      <a:pt x="3022" y="4944"/>
                    </a:lnTo>
                    <a:lnTo>
                      <a:pt x="3020" y="4952"/>
                    </a:lnTo>
                    <a:lnTo>
                      <a:pt x="3020" y="4952"/>
                    </a:lnTo>
                    <a:lnTo>
                      <a:pt x="3020" y="4960"/>
                    </a:lnTo>
                    <a:lnTo>
                      <a:pt x="3016" y="4964"/>
                    </a:lnTo>
                    <a:lnTo>
                      <a:pt x="3014" y="4968"/>
                    </a:lnTo>
                    <a:lnTo>
                      <a:pt x="3010" y="4968"/>
                    </a:lnTo>
                    <a:lnTo>
                      <a:pt x="3006" y="4970"/>
                    </a:lnTo>
                    <a:lnTo>
                      <a:pt x="3006" y="4972"/>
                    </a:lnTo>
                    <a:lnTo>
                      <a:pt x="3008" y="4976"/>
                    </a:lnTo>
                    <a:lnTo>
                      <a:pt x="3008" y="4976"/>
                    </a:lnTo>
                    <a:lnTo>
                      <a:pt x="3010" y="4984"/>
                    </a:lnTo>
                    <a:lnTo>
                      <a:pt x="3008" y="4986"/>
                    </a:lnTo>
                    <a:lnTo>
                      <a:pt x="3006" y="4990"/>
                    </a:lnTo>
                    <a:lnTo>
                      <a:pt x="3008" y="5002"/>
                    </a:lnTo>
                    <a:lnTo>
                      <a:pt x="3008" y="5002"/>
                    </a:lnTo>
                    <a:lnTo>
                      <a:pt x="3012" y="5008"/>
                    </a:lnTo>
                    <a:lnTo>
                      <a:pt x="3014" y="5010"/>
                    </a:lnTo>
                    <a:lnTo>
                      <a:pt x="3018" y="5010"/>
                    </a:lnTo>
                    <a:lnTo>
                      <a:pt x="3020" y="5010"/>
                    </a:lnTo>
                    <a:lnTo>
                      <a:pt x="3024" y="5010"/>
                    </a:lnTo>
                    <a:lnTo>
                      <a:pt x="3028" y="5010"/>
                    </a:lnTo>
                    <a:lnTo>
                      <a:pt x="3032" y="5014"/>
                    </a:lnTo>
                    <a:lnTo>
                      <a:pt x="3036" y="5022"/>
                    </a:lnTo>
                    <a:lnTo>
                      <a:pt x="3036" y="5022"/>
                    </a:lnTo>
                    <a:lnTo>
                      <a:pt x="3040" y="5034"/>
                    </a:lnTo>
                    <a:lnTo>
                      <a:pt x="3040" y="5046"/>
                    </a:lnTo>
                    <a:lnTo>
                      <a:pt x="3038" y="5058"/>
                    </a:lnTo>
                    <a:lnTo>
                      <a:pt x="3036" y="5070"/>
                    </a:lnTo>
                    <a:lnTo>
                      <a:pt x="3032" y="5082"/>
                    </a:lnTo>
                    <a:lnTo>
                      <a:pt x="3030" y="5092"/>
                    </a:lnTo>
                    <a:lnTo>
                      <a:pt x="3030" y="5102"/>
                    </a:lnTo>
                    <a:lnTo>
                      <a:pt x="3034" y="5112"/>
                    </a:lnTo>
                    <a:lnTo>
                      <a:pt x="3034" y="5112"/>
                    </a:lnTo>
                    <a:lnTo>
                      <a:pt x="3038" y="5116"/>
                    </a:lnTo>
                    <a:lnTo>
                      <a:pt x="3042" y="5118"/>
                    </a:lnTo>
                    <a:lnTo>
                      <a:pt x="3046" y="5118"/>
                    </a:lnTo>
                    <a:lnTo>
                      <a:pt x="3050" y="5116"/>
                    </a:lnTo>
                    <a:lnTo>
                      <a:pt x="3058" y="5114"/>
                    </a:lnTo>
                    <a:lnTo>
                      <a:pt x="3068" y="5112"/>
                    </a:lnTo>
                    <a:lnTo>
                      <a:pt x="3068" y="5112"/>
                    </a:lnTo>
                    <a:lnTo>
                      <a:pt x="3072" y="5112"/>
                    </a:lnTo>
                    <a:lnTo>
                      <a:pt x="3072" y="5110"/>
                    </a:lnTo>
                    <a:lnTo>
                      <a:pt x="3070" y="5100"/>
                    </a:lnTo>
                    <a:lnTo>
                      <a:pt x="3068" y="5088"/>
                    </a:lnTo>
                    <a:lnTo>
                      <a:pt x="3068" y="5082"/>
                    </a:lnTo>
                    <a:lnTo>
                      <a:pt x="3070" y="5076"/>
                    </a:lnTo>
                    <a:lnTo>
                      <a:pt x="3070" y="5076"/>
                    </a:lnTo>
                    <a:lnTo>
                      <a:pt x="3072" y="5070"/>
                    </a:lnTo>
                    <a:lnTo>
                      <a:pt x="3074" y="5064"/>
                    </a:lnTo>
                    <a:lnTo>
                      <a:pt x="3072" y="5050"/>
                    </a:lnTo>
                    <a:lnTo>
                      <a:pt x="3072" y="5034"/>
                    </a:lnTo>
                    <a:lnTo>
                      <a:pt x="3072" y="5014"/>
                    </a:lnTo>
                    <a:lnTo>
                      <a:pt x="3072" y="5014"/>
                    </a:lnTo>
                    <a:lnTo>
                      <a:pt x="3074" y="5004"/>
                    </a:lnTo>
                    <a:lnTo>
                      <a:pt x="3072" y="4998"/>
                    </a:lnTo>
                    <a:lnTo>
                      <a:pt x="3068" y="4990"/>
                    </a:lnTo>
                    <a:lnTo>
                      <a:pt x="3068" y="4988"/>
                    </a:lnTo>
                    <a:lnTo>
                      <a:pt x="3068" y="4984"/>
                    </a:lnTo>
                    <a:lnTo>
                      <a:pt x="3076" y="4974"/>
                    </a:lnTo>
                    <a:lnTo>
                      <a:pt x="3076" y="4974"/>
                    </a:lnTo>
                    <a:lnTo>
                      <a:pt x="3084" y="4970"/>
                    </a:lnTo>
                    <a:lnTo>
                      <a:pt x="3090" y="4968"/>
                    </a:lnTo>
                    <a:lnTo>
                      <a:pt x="3094" y="4968"/>
                    </a:lnTo>
                    <a:lnTo>
                      <a:pt x="3098" y="4972"/>
                    </a:lnTo>
                    <a:lnTo>
                      <a:pt x="3100" y="4976"/>
                    </a:lnTo>
                    <a:lnTo>
                      <a:pt x="3100" y="4982"/>
                    </a:lnTo>
                    <a:lnTo>
                      <a:pt x="3098" y="4990"/>
                    </a:lnTo>
                    <a:lnTo>
                      <a:pt x="3094" y="4996"/>
                    </a:lnTo>
                    <a:lnTo>
                      <a:pt x="3094" y="4996"/>
                    </a:lnTo>
                    <a:lnTo>
                      <a:pt x="3092" y="5002"/>
                    </a:lnTo>
                    <a:lnTo>
                      <a:pt x="3090" y="5008"/>
                    </a:lnTo>
                    <a:lnTo>
                      <a:pt x="3092" y="5012"/>
                    </a:lnTo>
                    <a:lnTo>
                      <a:pt x="3094" y="5016"/>
                    </a:lnTo>
                    <a:lnTo>
                      <a:pt x="3102" y="5024"/>
                    </a:lnTo>
                    <a:lnTo>
                      <a:pt x="3112" y="5034"/>
                    </a:lnTo>
                    <a:lnTo>
                      <a:pt x="3112" y="5034"/>
                    </a:lnTo>
                    <a:lnTo>
                      <a:pt x="3116" y="5040"/>
                    </a:lnTo>
                    <a:lnTo>
                      <a:pt x="3116" y="5046"/>
                    </a:lnTo>
                    <a:lnTo>
                      <a:pt x="3114" y="5062"/>
                    </a:lnTo>
                    <a:lnTo>
                      <a:pt x="3114" y="5068"/>
                    </a:lnTo>
                    <a:lnTo>
                      <a:pt x="3116" y="5074"/>
                    </a:lnTo>
                    <a:lnTo>
                      <a:pt x="3120" y="5076"/>
                    </a:lnTo>
                    <a:lnTo>
                      <a:pt x="3130" y="5078"/>
                    </a:lnTo>
                    <a:lnTo>
                      <a:pt x="3130" y="5078"/>
                    </a:lnTo>
                    <a:lnTo>
                      <a:pt x="3136" y="5076"/>
                    </a:lnTo>
                    <a:lnTo>
                      <a:pt x="3138" y="5076"/>
                    </a:lnTo>
                    <a:lnTo>
                      <a:pt x="3140" y="5072"/>
                    </a:lnTo>
                    <a:lnTo>
                      <a:pt x="3140" y="5070"/>
                    </a:lnTo>
                    <a:lnTo>
                      <a:pt x="3140" y="5062"/>
                    </a:lnTo>
                    <a:lnTo>
                      <a:pt x="3142" y="5060"/>
                    </a:lnTo>
                    <a:lnTo>
                      <a:pt x="3148" y="5056"/>
                    </a:lnTo>
                    <a:lnTo>
                      <a:pt x="3148" y="5056"/>
                    </a:lnTo>
                    <a:lnTo>
                      <a:pt x="3152" y="5056"/>
                    </a:lnTo>
                    <a:lnTo>
                      <a:pt x="3156" y="5054"/>
                    </a:lnTo>
                    <a:lnTo>
                      <a:pt x="3164" y="5056"/>
                    </a:lnTo>
                    <a:lnTo>
                      <a:pt x="3166" y="5056"/>
                    </a:lnTo>
                    <a:lnTo>
                      <a:pt x="3168" y="5056"/>
                    </a:lnTo>
                    <a:lnTo>
                      <a:pt x="3172" y="5048"/>
                    </a:lnTo>
                    <a:lnTo>
                      <a:pt x="3172" y="5048"/>
                    </a:lnTo>
                    <a:lnTo>
                      <a:pt x="3172" y="5042"/>
                    </a:lnTo>
                    <a:lnTo>
                      <a:pt x="3170" y="5036"/>
                    </a:lnTo>
                    <a:lnTo>
                      <a:pt x="3164" y="5032"/>
                    </a:lnTo>
                    <a:lnTo>
                      <a:pt x="3158" y="5028"/>
                    </a:lnTo>
                    <a:lnTo>
                      <a:pt x="3152" y="5026"/>
                    </a:lnTo>
                    <a:lnTo>
                      <a:pt x="3148" y="5022"/>
                    </a:lnTo>
                    <a:lnTo>
                      <a:pt x="3146" y="5016"/>
                    </a:lnTo>
                    <a:lnTo>
                      <a:pt x="3148" y="5012"/>
                    </a:lnTo>
                    <a:lnTo>
                      <a:pt x="3148" y="5012"/>
                    </a:lnTo>
                    <a:lnTo>
                      <a:pt x="3152" y="5006"/>
                    </a:lnTo>
                    <a:lnTo>
                      <a:pt x="3152" y="4998"/>
                    </a:lnTo>
                    <a:lnTo>
                      <a:pt x="3150" y="4990"/>
                    </a:lnTo>
                    <a:lnTo>
                      <a:pt x="3148" y="4980"/>
                    </a:lnTo>
                    <a:lnTo>
                      <a:pt x="3136" y="4962"/>
                    </a:lnTo>
                    <a:lnTo>
                      <a:pt x="3122" y="4946"/>
                    </a:lnTo>
                    <a:lnTo>
                      <a:pt x="3122" y="4946"/>
                    </a:lnTo>
                    <a:lnTo>
                      <a:pt x="3118" y="4940"/>
                    </a:lnTo>
                    <a:lnTo>
                      <a:pt x="3118" y="4934"/>
                    </a:lnTo>
                    <a:lnTo>
                      <a:pt x="3122" y="4930"/>
                    </a:lnTo>
                    <a:lnTo>
                      <a:pt x="3128" y="4926"/>
                    </a:lnTo>
                    <a:lnTo>
                      <a:pt x="3146" y="4916"/>
                    </a:lnTo>
                    <a:lnTo>
                      <a:pt x="3154" y="4908"/>
                    </a:lnTo>
                    <a:lnTo>
                      <a:pt x="3162" y="4898"/>
                    </a:lnTo>
                    <a:lnTo>
                      <a:pt x="3162" y="4898"/>
                    </a:lnTo>
                    <a:lnTo>
                      <a:pt x="3168" y="4888"/>
                    </a:lnTo>
                    <a:lnTo>
                      <a:pt x="3172" y="4884"/>
                    </a:lnTo>
                    <a:lnTo>
                      <a:pt x="3176" y="4884"/>
                    </a:lnTo>
                    <a:lnTo>
                      <a:pt x="3180" y="4886"/>
                    </a:lnTo>
                    <a:lnTo>
                      <a:pt x="3186" y="4890"/>
                    </a:lnTo>
                    <a:lnTo>
                      <a:pt x="3190" y="4890"/>
                    </a:lnTo>
                    <a:lnTo>
                      <a:pt x="3192" y="4888"/>
                    </a:lnTo>
                    <a:lnTo>
                      <a:pt x="3192" y="4888"/>
                    </a:lnTo>
                    <a:lnTo>
                      <a:pt x="3196" y="4880"/>
                    </a:lnTo>
                    <a:lnTo>
                      <a:pt x="3196" y="4876"/>
                    </a:lnTo>
                    <a:lnTo>
                      <a:pt x="3194" y="4874"/>
                    </a:lnTo>
                    <a:lnTo>
                      <a:pt x="3192" y="4872"/>
                    </a:lnTo>
                    <a:lnTo>
                      <a:pt x="3188" y="4870"/>
                    </a:lnTo>
                    <a:lnTo>
                      <a:pt x="3170" y="4870"/>
                    </a:lnTo>
                    <a:lnTo>
                      <a:pt x="3170" y="4870"/>
                    </a:lnTo>
                    <a:lnTo>
                      <a:pt x="3160" y="4872"/>
                    </a:lnTo>
                    <a:lnTo>
                      <a:pt x="3152" y="4874"/>
                    </a:lnTo>
                    <a:lnTo>
                      <a:pt x="3144" y="4880"/>
                    </a:lnTo>
                    <a:lnTo>
                      <a:pt x="3136" y="4884"/>
                    </a:lnTo>
                    <a:lnTo>
                      <a:pt x="3130" y="4884"/>
                    </a:lnTo>
                    <a:lnTo>
                      <a:pt x="3124" y="4884"/>
                    </a:lnTo>
                    <a:lnTo>
                      <a:pt x="3124" y="4884"/>
                    </a:lnTo>
                    <a:lnTo>
                      <a:pt x="3116" y="4882"/>
                    </a:lnTo>
                    <a:lnTo>
                      <a:pt x="3112" y="4886"/>
                    </a:lnTo>
                    <a:lnTo>
                      <a:pt x="3108" y="4890"/>
                    </a:lnTo>
                    <a:lnTo>
                      <a:pt x="3106" y="4894"/>
                    </a:lnTo>
                    <a:lnTo>
                      <a:pt x="3104" y="4900"/>
                    </a:lnTo>
                    <a:lnTo>
                      <a:pt x="3100" y="4904"/>
                    </a:lnTo>
                    <a:lnTo>
                      <a:pt x="3096" y="4908"/>
                    </a:lnTo>
                    <a:lnTo>
                      <a:pt x="3088" y="4908"/>
                    </a:lnTo>
                    <a:lnTo>
                      <a:pt x="3088" y="4908"/>
                    </a:lnTo>
                    <a:lnTo>
                      <a:pt x="3082" y="4906"/>
                    </a:lnTo>
                    <a:lnTo>
                      <a:pt x="3078" y="4904"/>
                    </a:lnTo>
                    <a:lnTo>
                      <a:pt x="3078" y="4902"/>
                    </a:lnTo>
                    <a:lnTo>
                      <a:pt x="3078" y="4898"/>
                    </a:lnTo>
                    <a:lnTo>
                      <a:pt x="3076" y="4892"/>
                    </a:lnTo>
                    <a:lnTo>
                      <a:pt x="3074" y="4888"/>
                    </a:lnTo>
                    <a:lnTo>
                      <a:pt x="3068" y="4882"/>
                    </a:lnTo>
                    <a:lnTo>
                      <a:pt x="3068" y="4882"/>
                    </a:lnTo>
                    <a:lnTo>
                      <a:pt x="3064" y="4880"/>
                    </a:lnTo>
                    <a:lnTo>
                      <a:pt x="3062" y="4876"/>
                    </a:lnTo>
                    <a:lnTo>
                      <a:pt x="3058" y="4866"/>
                    </a:lnTo>
                    <a:lnTo>
                      <a:pt x="3058" y="4852"/>
                    </a:lnTo>
                    <a:lnTo>
                      <a:pt x="3060" y="4840"/>
                    </a:lnTo>
                    <a:lnTo>
                      <a:pt x="3066" y="4828"/>
                    </a:lnTo>
                    <a:lnTo>
                      <a:pt x="3072" y="4818"/>
                    </a:lnTo>
                    <a:lnTo>
                      <a:pt x="3074" y="4816"/>
                    </a:lnTo>
                    <a:lnTo>
                      <a:pt x="3078" y="4814"/>
                    </a:lnTo>
                    <a:lnTo>
                      <a:pt x="3082" y="4814"/>
                    </a:lnTo>
                    <a:lnTo>
                      <a:pt x="3086" y="4816"/>
                    </a:lnTo>
                    <a:lnTo>
                      <a:pt x="3086" y="4816"/>
                    </a:lnTo>
                    <a:lnTo>
                      <a:pt x="3092" y="4818"/>
                    </a:lnTo>
                    <a:lnTo>
                      <a:pt x="3096" y="4820"/>
                    </a:lnTo>
                    <a:lnTo>
                      <a:pt x="3106" y="4818"/>
                    </a:lnTo>
                    <a:lnTo>
                      <a:pt x="3116" y="4818"/>
                    </a:lnTo>
                    <a:lnTo>
                      <a:pt x="3122" y="4818"/>
                    </a:lnTo>
                    <a:lnTo>
                      <a:pt x="3126" y="4818"/>
                    </a:lnTo>
                    <a:lnTo>
                      <a:pt x="3126" y="4818"/>
                    </a:lnTo>
                    <a:lnTo>
                      <a:pt x="3132" y="4820"/>
                    </a:lnTo>
                    <a:lnTo>
                      <a:pt x="3140" y="4820"/>
                    </a:lnTo>
                    <a:lnTo>
                      <a:pt x="3156" y="4818"/>
                    </a:lnTo>
                    <a:lnTo>
                      <a:pt x="3172" y="4816"/>
                    </a:lnTo>
                    <a:lnTo>
                      <a:pt x="3178" y="4818"/>
                    </a:lnTo>
                    <a:lnTo>
                      <a:pt x="3182" y="4820"/>
                    </a:lnTo>
                    <a:lnTo>
                      <a:pt x="3182" y="4820"/>
                    </a:lnTo>
                    <a:lnTo>
                      <a:pt x="3186" y="4822"/>
                    </a:lnTo>
                    <a:lnTo>
                      <a:pt x="3192" y="4824"/>
                    </a:lnTo>
                    <a:lnTo>
                      <a:pt x="3200" y="4826"/>
                    </a:lnTo>
                    <a:lnTo>
                      <a:pt x="3208" y="4826"/>
                    </a:lnTo>
                    <a:lnTo>
                      <a:pt x="3218" y="4824"/>
                    </a:lnTo>
                    <a:lnTo>
                      <a:pt x="3226" y="4822"/>
                    </a:lnTo>
                    <a:lnTo>
                      <a:pt x="3234" y="4816"/>
                    </a:lnTo>
                    <a:lnTo>
                      <a:pt x="3240" y="4810"/>
                    </a:lnTo>
                    <a:lnTo>
                      <a:pt x="3240" y="4810"/>
                    </a:lnTo>
                    <a:close/>
                    <a:moveTo>
                      <a:pt x="2954" y="5244"/>
                    </a:moveTo>
                    <a:lnTo>
                      <a:pt x="2954" y="5244"/>
                    </a:lnTo>
                    <a:lnTo>
                      <a:pt x="2954" y="5248"/>
                    </a:lnTo>
                    <a:lnTo>
                      <a:pt x="2956" y="5246"/>
                    </a:lnTo>
                    <a:lnTo>
                      <a:pt x="2960" y="5240"/>
                    </a:lnTo>
                    <a:lnTo>
                      <a:pt x="2960" y="5240"/>
                    </a:lnTo>
                    <a:lnTo>
                      <a:pt x="2962" y="5238"/>
                    </a:lnTo>
                    <a:lnTo>
                      <a:pt x="2960" y="5236"/>
                    </a:lnTo>
                    <a:lnTo>
                      <a:pt x="2958" y="5236"/>
                    </a:lnTo>
                    <a:lnTo>
                      <a:pt x="2954" y="5240"/>
                    </a:lnTo>
                    <a:lnTo>
                      <a:pt x="2954" y="5244"/>
                    </a:lnTo>
                    <a:lnTo>
                      <a:pt x="2954" y="5244"/>
                    </a:lnTo>
                    <a:close/>
                    <a:moveTo>
                      <a:pt x="3346" y="4878"/>
                    </a:moveTo>
                    <a:lnTo>
                      <a:pt x="3346" y="4878"/>
                    </a:lnTo>
                    <a:lnTo>
                      <a:pt x="3350" y="4878"/>
                    </a:lnTo>
                    <a:lnTo>
                      <a:pt x="3352" y="4876"/>
                    </a:lnTo>
                    <a:lnTo>
                      <a:pt x="3350" y="4874"/>
                    </a:lnTo>
                    <a:lnTo>
                      <a:pt x="3348" y="4872"/>
                    </a:lnTo>
                    <a:lnTo>
                      <a:pt x="3348" y="4872"/>
                    </a:lnTo>
                    <a:lnTo>
                      <a:pt x="3346" y="4872"/>
                    </a:lnTo>
                    <a:lnTo>
                      <a:pt x="3344" y="4874"/>
                    </a:lnTo>
                    <a:lnTo>
                      <a:pt x="3344" y="4876"/>
                    </a:lnTo>
                    <a:lnTo>
                      <a:pt x="3346" y="4878"/>
                    </a:lnTo>
                    <a:lnTo>
                      <a:pt x="3346" y="4878"/>
                    </a:lnTo>
                    <a:close/>
                    <a:moveTo>
                      <a:pt x="3352" y="4858"/>
                    </a:moveTo>
                    <a:lnTo>
                      <a:pt x="3352" y="4858"/>
                    </a:lnTo>
                    <a:lnTo>
                      <a:pt x="3350" y="4862"/>
                    </a:lnTo>
                    <a:lnTo>
                      <a:pt x="3354" y="4868"/>
                    </a:lnTo>
                    <a:lnTo>
                      <a:pt x="3354" y="4868"/>
                    </a:lnTo>
                    <a:lnTo>
                      <a:pt x="3358" y="4874"/>
                    </a:lnTo>
                    <a:lnTo>
                      <a:pt x="3360" y="4876"/>
                    </a:lnTo>
                    <a:lnTo>
                      <a:pt x="3364" y="4874"/>
                    </a:lnTo>
                    <a:lnTo>
                      <a:pt x="3364" y="4866"/>
                    </a:lnTo>
                    <a:lnTo>
                      <a:pt x="3364" y="4866"/>
                    </a:lnTo>
                    <a:lnTo>
                      <a:pt x="3362" y="4858"/>
                    </a:lnTo>
                    <a:lnTo>
                      <a:pt x="3360" y="4854"/>
                    </a:lnTo>
                    <a:lnTo>
                      <a:pt x="3356" y="4854"/>
                    </a:lnTo>
                    <a:lnTo>
                      <a:pt x="3352" y="4858"/>
                    </a:lnTo>
                    <a:lnTo>
                      <a:pt x="3352" y="4858"/>
                    </a:lnTo>
                    <a:close/>
                    <a:moveTo>
                      <a:pt x="3452" y="4980"/>
                    </a:moveTo>
                    <a:lnTo>
                      <a:pt x="3452" y="4980"/>
                    </a:lnTo>
                    <a:lnTo>
                      <a:pt x="3440" y="4974"/>
                    </a:lnTo>
                    <a:lnTo>
                      <a:pt x="3438" y="4974"/>
                    </a:lnTo>
                    <a:lnTo>
                      <a:pt x="3436" y="4976"/>
                    </a:lnTo>
                    <a:lnTo>
                      <a:pt x="3428" y="4978"/>
                    </a:lnTo>
                    <a:lnTo>
                      <a:pt x="3422" y="4980"/>
                    </a:lnTo>
                    <a:lnTo>
                      <a:pt x="3414" y="4978"/>
                    </a:lnTo>
                    <a:lnTo>
                      <a:pt x="3414" y="4978"/>
                    </a:lnTo>
                    <a:lnTo>
                      <a:pt x="3404" y="4978"/>
                    </a:lnTo>
                    <a:lnTo>
                      <a:pt x="3396" y="4978"/>
                    </a:lnTo>
                    <a:lnTo>
                      <a:pt x="3390" y="4980"/>
                    </a:lnTo>
                    <a:lnTo>
                      <a:pt x="3384" y="4982"/>
                    </a:lnTo>
                    <a:lnTo>
                      <a:pt x="3378" y="4986"/>
                    </a:lnTo>
                    <a:lnTo>
                      <a:pt x="3376" y="4990"/>
                    </a:lnTo>
                    <a:lnTo>
                      <a:pt x="3374" y="4996"/>
                    </a:lnTo>
                    <a:lnTo>
                      <a:pt x="3374" y="5002"/>
                    </a:lnTo>
                    <a:lnTo>
                      <a:pt x="3374" y="5002"/>
                    </a:lnTo>
                    <a:lnTo>
                      <a:pt x="3376" y="5010"/>
                    </a:lnTo>
                    <a:lnTo>
                      <a:pt x="3378" y="5006"/>
                    </a:lnTo>
                    <a:lnTo>
                      <a:pt x="3380" y="4998"/>
                    </a:lnTo>
                    <a:lnTo>
                      <a:pt x="3382" y="4994"/>
                    </a:lnTo>
                    <a:lnTo>
                      <a:pt x="3384" y="4992"/>
                    </a:lnTo>
                    <a:lnTo>
                      <a:pt x="3384" y="4992"/>
                    </a:lnTo>
                    <a:lnTo>
                      <a:pt x="3386" y="4992"/>
                    </a:lnTo>
                    <a:lnTo>
                      <a:pt x="3388" y="4994"/>
                    </a:lnTo>
                    <a:lnTo>
                      <a:pt x="3392" y="5000"/>
                    </a:lnTo>
                    <a:lnTo>
                      <a:pt x="3396" y="5002"/>
                    </a:lnTo>
                    <a:lnTo>
                      <a:pt x="3400" y="5004"/>
                    </a:lnTo>
                    <a:lnTo>
                      <a:pt x="3404" y="5004"/>
                    </a:lnTo>
                    <a:lnTo>
                      <a:pt x="3408" y="5000"/>
                    </a:lnTo>
                    <a:lnTo>
                      <a:pt x="3408" y="5000"/>
                    </a:lnTo>
                    <a:lnTo>
                      <a:pt x="3414" y="4998"/>
                    </a:lnTo>
                    <a:lnTo>
                      <a:pt x="3418" y="4998"/>
                    </a:lnTo>
                    <a:lnTo>
                      <a:pt x="3428" y="5002"/>
                    </a:lnTo>
                    <a:lnTo>
                      <a:pt x="3436" y="5006"/>
                    </a:lnTo>
                    <a:lnTo>
                      <a:pt x="3438" y="5008"/>
                    </a:lnTo>
                    <a:lnTo>
                      <a:pt x="3440" y="5006"/>
                    </a:lnTo>
                    <a:lnTo>
                      <a:pt x="3440" y="5006"/>
                    </a:lnTo>
                    <a:lnTo>
                      <a:pt x="3442" y="5002"/>
                    </a:lnTo>
                    <a:lnTo>
                      <a:pt x="3446" y="5002"/>
                    </a:lnTo>
                    <a:lnTo>
                      <a:pt x="3456" y="5006"/>
                    </a:lnTo>
                    <a:lnTo>
                      <a:pt x="3468" y="5014"/>
                    </a:lnTo>
                    <a:lnTo>
                      <a:pt x="3482" y="5022"/>
                    </a:lnTo>
                    <a:lnTo>
                      <a:pt x="3482" y="5022"/>
                    </a:lnTo>
                    <a:lnTo>
                      <a:pt x="3488" y="5026"/>
                    </a:lnTo>
                    <a:lnTo>
                      <a:pt x="3492" y="5028"/>
                    </a:lnTo>
                    <a:lnTo>
                      <a:pt x="3494" y="5026"/>
                    </a:lnTo>
                    <a:lnTo>
                      <a:pt x="3496" y="5024"/>
                    </a:lnTo>
                    <a:lnTo>
                      <a:pt x="3494" y="5012"/>
                    </a:lnTo>
                    <a:lnTo>
                      <a:pt x="3484" y="4994"/>
                    </a:lnTo>
                    <a:lnTo>
                      <a:pt x="3484" y="4994"/>
                    </a:lnTo>
                    <a:lnTo>
                      <a:pt x="3478" y="4988"/>
                    </a:lnTo>
                    <a:lnTo>
                      <a:pt x="3476" y="4984"/>
                    </a:lnTo>
                    <a:lnTo>
                      <a:pt x="3472" y="4982"/>
                    </a:lnTo>
                    <a:lnTo>
                      <a:pt x="3470" y="4984"/>
                    </a:lnTo>
                    <a:lnTo>
                      <a:pt x="3464" y="4984"/>
                    </a:lnTo>
                    <a:lnTo>
                      <a:pt x="3458" y="4984"/>
                    </a:lnTo>
                    <a:lnTo>
                      <a:pt x="3452" y="4980"/>
                    </a:lnTo>
                    <a:lnTo>
                      <a:pt x="3452" y="4980"/>
                    </a:lnTo>
                    <a:close/>
                    <a:moveTo>
                      <a:pt x="3092" y="4546"/>
                    </a:moveTo>
                    <a:lnTo>
                      <a:pt x="3092" y="4546"/>
                    </a:lnTo>
                    <a:lnTo>
                      <a:pt x="3090" y="4552"/>
                    </a:lnTo>
                    <a:lnTo>
                      <a:pt x="3092" y="4552"/>
                    </a:lnTo>
                    <a:lnTo>
                      <a:pt x="3094" y="4552"/>
                    </a:lnTo>
                    <a:lnTo>
                      <a:pt x="3098" y="4552"/>
                    </a:lnTo>
                    <a:lnTo>
                      <a:pt x="3104" y="4552"/>
                    </a:lnTo>
                    <a:lnTo>
                      <a:pt x="3104" y="4552"/>
                    </a:lnTo>
                    <a:lnTo>
                      <a:pt x="3108" y="4554"/>
                    </a:lnTo>
                    <a:lnTo>
                      <a:pt x="3112" y="4552"/>
                    </a:lnTo>
                    <a:lnTo>
                      <a:pt x="3112" y="4548"/>
                    </a:lnTo>
                    <a:lnTo>
                      <a:pt x="3110" y="4548"/>
                    </a:lnTo>
                    <a:lnTo>
                      <a:pt x="3110" y="4548"/>
                    </a:lnTo>
                    <a:lnTo>
                      <a:pt x="3106" y="4546"/>
                    </a:lnTo>
                    <a:lnTo>
                      <a:pt x="3102" y="4542"/>
                    </a:lnTo>
                    <a:lnTo>
                      <a:pt x="3100" y="4540"/>
                    </a:lnTo>
                    <a:lnTo>
                      <a:pt x="3098" y="4540"/>
                    </a:lnTo>
                    <a:lnTo>
                      <a:pt x="3096" y="4542"/>
                    </a:lnTo>
                    <a:lnTo>
                      <a:pt x="3092" y="4546"/>
                    </a:lnTo>
                    <a:lnTo>
                      <a:pt x="3092" y="4546"/>
                    </a:lnTo>
                    <a:close/>
                    <a:moveTo>
                      <a:pt x="3058" y="4324"/>
                    </a:moveTo>
                    <a:lnTo>
                      <a:pt x="3058" y="4324"/>
                    </a:lnTo>
                    <a:lnTo>
                      <a:pt x="3058" y="4324"/>
                    </a:lnTo>
                    <a:lnTo>
                      <a:pt x="3056" y="4322"/>
                    </a:lnTo>
                    <a:lnTo>
                      <a:pt x="3052" y="4322"/>
                    </a:lnTo>
                    <a:lnTo>
                      <a:pt x="3048" y="4326"/>
                    </a:lnTo>
                    <a:lnTo>
                      <a:pt x="3048" y="4326"/>
                    </a:lnTo>
                    <a:lnTo>
                      <a:pt x="3048" y="4330"/>
                    </a:lnTo>
                    <a:lnTo>
                      <a:pt x="3050" y="4330"/>
                    </a:lnTo>
                    <a:lnTo>
                      <a:pt x="3058" y="4324"/>
                    </a:lnTo>
                    <a:lnTo>
                      <a:pt x="3058" y="4324"/>
                    </a:lnTo>
                    <a:close/>
                    <a:moveTo>
                      <a:pt x="3358" y="4790"/>
                    </a:moveTo>
                    <a:lnTo>
                      <a:pt x="3358" y="4790"/>
                    </a:lnTo>
                    <a:lnTo>
                      <a:pt x="3360" y="4800"/>
                    </a:lnTo>
                    <a:lnTo>
                      <a:pt x="3358" y="4806"/>
                    </a:lnTo>
                    <a:lnTo>
                      <a:pt x="3358" y="4812"/>
                    </a:lnTo>
                    <a:lnTo>
                      <a:pt x="3358" y="4816"/>
                    </a:lnTo>
                    <a:lnTo>
                      <a:pt x="3362" y="4820"/>
                    </a:lnTo>
                    <a:lnTo>
                      <a:pt x="3362" y="4820"/>
                    </a:lnTo>
                    <a:lnTo>
                      <a:pt x="3364" y="4826"/>
                    </a:lnTo>
                    <a:lnTo>
                      <a:pt x="3364" y="4830"/>
                    </a:lnTo>
                    <a:lnTo>
                      <a:pt x="3364" y="4838"/>
                    </a:lnTo>
                    <a:lnTo>
                      <a:pt x="3364" y="4846"/>
                    </a:lnTo>
                    <a:lnTo>
                      <a:pt x="3364" y="4850"/>
                    </a:lnTo>
                    <a:lnTo>
                      <a:pt x="3368" y="4856"/>
                    </a:lnTo>
                    <a:lnTo>
                      <a:pt x="3368" y="4856"/>
                    </a:lnTo>
                    <a:lnTo>
                      <a:pt x="3382" y="4876"/>
                    </a:lnTo>
                    <a:lnTo>
                      <a:pt x="3388" y="4882"/>
                    </a:lnTo>
                    <a:lnTo>
                      <a:pt x="3390" y="4884"/>
                    </a:lnTo>
                    <a:lnTo>
                      <a:pt x="3394" y="4884"/>
                    </a:lnTo>
                    <a:lnTo>
                      <a:pt x="3394" y="4884"/>
                    </a:lnTo>
                    <a:lnTo>
                      <a:pt x="3394" y="4882"/>
                    </a:lnTo>
                    <a:lnTo>
                      <a:pt x="3394" y="4880"/>
                    </a:lnTo>
                    <a:lnTo>
                      <a:pt x="3390" y="4876"/>
                    </a:lnTo>
                    <a:lnTo>
                      <a:pt x="3384" y="4868"/>
                    </a:lnTo>
                    <a:lnTo>
                      <a:pt x="3384" y="4868"/>
                    </a:lnTo>
                    <a:lnTo>
                      <a:pt x="3380" y="4860"/>
                    </a:lnTo>
                    <a:lnTo>
                      <a:pt x="3376" y="4848"/>
                    </a:lnTo>
                    <a:lnTo>
                      <a:pt x="3374" y="4836"/>
                    </a:lnTo>
                    <a:lnTo>
                      <a:pt x="3374" y="4826"/>
                    </a:lnTo>
                    <a:lnTo>
                      <a:pt x="3374" y="4826"/>
                    </a:lnTo>
                    <a:lnTo>
                      <a:pt x="3376" y="4820"/>
                    </a:lnTo>
                    <a:lnTo>
                      <a:pt x="3380" y="4818"/>
                    </a:lnTo>
                    <a:lnTo>
                      <a:pt x="3382" y="4818"/>
                    </a:lnTo>
                    <a:lnTo>
                      <a:pt x="3390" y="4820"/>
                    </a:lnTo>
                    <a:lnTo>
                      <a:pt x="3402" y="4824"/>
                    </a:lnTo>
                    <a:lnTo>
                      <a:pt x="3402" y="4824"/>
                    </a:lnTo>
                    <a:lnTo>
                      <a:pt x="3406" y="4826"/>
                    </a:lnTo>
                    <a:lnTo>
                      <a:pt x="3410" y="4826"/>
                    </a:lnTo>
                    <a:lnTo>
                      <a:pt x="3410" y="4826"/>
                    </a:lnTo>
                    <a:lnTo>
                      <a:pt x="3410" y="4822"/>
                    </a:lnTo>
                    <a:lnTo>
                      <a:pt x="3406" y="4816"/>
                    </a:lnTo>
                    <a:lnTo>
                      <a:pt x="3400" y="4812"/>
                    </a:lnTo>
                    <a:lnTo>
                      <a:pt x="3394" y="4810"/>
                    </a:lnTo>
                    <a:lnTo>
                      <a:pt x="3394" y="4810"/>
                    </a:lnTo>
                    <a:lnTo>
                      <a:pt x="3390" y="4806"/>
                    </a:lnTo>
                    <a:lnTo>
                      <a:pt x="3386" y="4804"/>
                    </a:lnTo>
                    <a:lnTo>
                      <a:pt x="3386" y="4802"/>
                    </a:lnTo>
                    <a:lnTo>
                      <a:pt x="3388" y="4800"/>
                    </a:lnTo>
                    <a:lnTo>
                      <a:pt x="3394" y="4796"/>
                    </a:lnTo>
                    <a:lnTo>
                      <a:pt x="3400" y="4792"/>
                    </a:lnTo>
                    <a:lnTo>
                      <a:pt x="3400" y="4792"/>
                    </a:lnTo>
                    <a:lnTo>
                      <a:pt x="3404" y="4788"/>
                    </a:lnTo>
                    <a:lnTo>
                      <a:pt x="3406" y="4784"/>
                    </a:lnTo>
                    <a:lnTo>
                      <a:pt x="3408" y="4774"/>
                    </a:lnTo>
                    <a:lnTo>
                      <a:pt x="3406" y="4770"/>
                    </a:lnTo>
                    <a:lnTo>
                      <a:pt x="3404" y="4766"/>
                    </a:lnTo>
                    <a:lnTo>
                      <a:pt x="3400" y="4766"/>
                    </a:lnTo>
                    <a:lnTo>
                      <a:pt x="3396" y="4766"/>
                    </a:lnTo>
                    <a:lnTo>
                      <a:pt x="3396" y="4766"/>
                    </a:lnTo>
                    <a:lnTo>
                      <a:pt x="3390" y="4770"/>
                    </a:lnTo>
                    <a:lnTo>
                      <a:pt x="3386" y="4774"/>
                    </a:lnTo>
                    <a:lnTo>
                      <a:pt x="3378" y="4788"/>
                    </a:lnTo>
                    <a:lnTo>
                      <a:pt x="3372" y="4800"/>
                    </a:lnTo>
                    <a:lnTo>
                      <a:pt x="3370" y="4800"/>
                    </a:lnTo>
                    <a:lnTo>
                      <a:pt x="3368" y="4798"/>
                    </a:lnTo>
                    <a:lnTo>
                      <a:pt x="3368" y="4798"/>
                    </a:lnTo>
                    <a:lnTo>
                      <a:pt x="3366" y="4792"/>
                    </a:lnTo>
                    <a:lnTo>
                      <a:pt x="3368" y="4788"/>
                    </a:lnTo>
                    <a:lnTo>
                      <a:pt x="3372" y="4782"/>
                    </a:lnTo>
                    <a:lnTo>
                      <a:pt x="3378" y="4772"/>
                    </a:lnTo>
                    <a:lnTo>
                      <a:pt x="3378" y="4772"/>
                    </a:lnTo>
                    <a:lnTo>
                      <a:pt x="3378" y="4766"/>
                    </a:lnTo>
                    <a:lnTo>
                      <a:pt x="3378" y="4762"/>
                    </a:lnTo>
                    <a:lnTo>
                      <a:pt x="3376" y="4754"/>
                    </a:lnTo>
                    <a:lnTo>
                      <a:pt x="3374" y="4750"/>
                    </a:lnTo>
                    <a:lnTo>
                      <a:pt x="3374" y="4748"/>
                    </a:lnTo>
                    <a:lnTo>
                      <a:pt x="3374" y="4744"/>
                    </a:lnTo>
                    <a:lnTo>
                      <a:pt x="3374" y="4744"/>
                    </a:lnTo>
                    <a:lnTo>
                      <a:pt x="3378" y="4734"/>
                    </a:lnTo>
                    <a:lnTo>
                      <a:pt x="3378" y="4732"/>
                    </a:lnTo>
                    <a:lnTo>
                      <a:pt x="3376" y="4732"/>
                    </a:lnTo>
                    <a:lnTo>
                      <a:pt x="3370" y="4736"/>
                    </a:lnTo>
                    <a:lnTo>
                      <a:pt x="3370" y="4736"/>
                    </a:lnTo>
                    <a:lnTo>
                      <a:pt x="3366" y="4740"/>
                    </a:lnTo>
                    <a:lnTo>
                      <a:pt x="3362" y="4746"/>
                    </a:lnTo>
                    <a:lnTo>
                      <a:pt x="3356" y="4760"/>
                    </a:lnTo>
                    <a:lnTo>
                      <a:pt x="3356" y="4776"/>
                    </a:lnTo>
                    <a:lnTo>
                      <a:pt x="3356" y="4784"/>
                    </a:lnTo>
                    <a:lnTo>
                      <a:pt x="3358" y="4790"/>
                    </a:lnTo>
                    <a:lnTo>
                      <a:pt x="3358" y="4790"/>
                    </a:lnTo>
                    <a:close/>
                    <a:moveTo>
                      <a:pt x="3086" y="4178"/>
                    </a:moveTo>
                    <a:lnTo>
                      <a:pt x="3086" y="4178"/>
                    </a:lnTo>
                    <a:lnTo>
                      <a:pt x="3076" y="4178"/>
                    </a:lnTo>
                    <a:lnTo>
                      <a:pt x="3070" y="4180"/>
                    </a:lnTo>
                    <a:lnTo>
                      <a:pt x="3068" y="4184"/>
                    </a:lnTo>
                    <a:lnTo>
                      <a:pt x="3072" y="4186"/>
                    </a:lnTo>
                    <a:lnTo>
                      <a:pt x="3072" y="4186"/>
                    </a:lnTo>
                    <a:lnTo>
                      <a:pt x="3076" y="4188"/>
                    </a:lnTo>
                    <a:lnTo>
                      <a:pt x="3076" y="4190"/>
                    </a:lnTo>
                    <a:lnTo>
                      <a:pt x="3078" y="4194"/>
                    </a:lnTo>
                    <a:lnTo>
                      <a:pt x="3080" y="4196"/>
                    </a:lnTo>
                    <a:lnTo>
                      <a:pt x="3080" y="4196"/>
                    </a:lnTo>
                    <a:lnTo>
                      <a:pt x="3084" y="4202"/>
                    </a:lnTo>
                    <a:lnTo>
                      <a:pt x="3088" y="4212"/>
                    </a:lnTo>
                    <a:lnTo>
                      <a:pt x="3092" y="4224"/>
                    </a:lnTo>
                    <a:lnTo>
                      <a:pt x="3098" y="4238"/>
                    </a:lnTo>
                    <a:lnTo>
                      <a:pt x="3098" y="4238"/>
                    </a:lnTo>
                    <a:lnTo>
                      <a:pt x="3102" y="4244"/>
                    </a:lnTo>
                    <a:lnTo>
                      <a:pt x="3104" y="4244"/>
                    </a:lnTo>
                    <a:lnTo>
                      <a:pt x="3106" y="4244"/>
                    </a:lnTo>
                    <a:lnTo>
                      <a:pt x="3112" y="4240"/>
                    </a:lnTo>
                    <a:lnTo>
                      <a:pt x="3116" y="4232"/>
                    </a:lnTo>
                    <a:lnTo>
                      <a:pt x="3116" y="4232"/>
                    </a:lnTo>
                    <a:lnTo>
                      <a:pt x="3118" y="4224"/>
                    </a:lnTo>
                    <a:lnTo>
                      <a:pt x="3118" y="4220"/>
                    </a:lnTo>
                    <a:lnTo>
                      <a:pt x="3116" y="4216"/>
                    </a:lnTo>
                    <a:lnTo>
                      <a:pt x="3116" y="4208"/>
                    </a:lnTo>
                    <a:lnTo>
                      <a:pt x="3116" y="4208"/>
                    </a:lnTo>
                    <a:lnTo>
                      <a:pt x="3118" y="4204"/>
                    </a:lnTo>
                    <a:lnTo>
                      <a:pt x="3116" y="4198"/>
                    </a:lnTo>
                    <a:lnTo>
                      <a:pt x="3114" y="4194"/>
                    </a:lnTo>
                    <a:lnTo>
                      <a:pt x="3110" y="4190"/>
                    </a:lnTo>
                    <a:lnTo>
                      <a:pt x="3100" y="4184"/>
                    </a:lnTo>
                    <a:lnTo>
                      <a:pt x="3086" y="4178"/>
                    </a:lnTo>
                    <a:lnTo>
                      <a:pt x="3086" y="4178"/>
                    </a:lnTo>
                    <a:close/>
                    <a:moveTo>
                      <a:pt x="3138" y="4192"/>
                    </a:moveTo>
                    <a:lnTo>
                      <a:pt x="3138" y="4192"/>
                    </a:lnTo>
                    <a:lnTo>
                      <a:pt x="3140" y="4190"/>
                    </a:lnTo>
                    <a:lnTo>
                      <a:pt x="3142" y="4186"/>
                    </a:lnTo>
                    <a:lnTo>
                      <a:pt x="3140" y="4180"/>
                    </a:lnTo>
                    <a:lnTo>
                      <a:pt x="3138" y="4178"/>
                    </a:lnTo>
                    <a:lnTo>
                      <a:pt x="3134" y="4178"/>
                    </a:lnTo>
                    <a:lnTo>
                      <a:pt x="3134" y="4178"/>
                    </a:lnTo>
                    <a:lnTo>
                      <a:pt x="3132" y="4178"/>
                    </a:lnTo>
                    <a:lnTo>
                      <a:pt x="3130" y="4178"/>
                    </a:lnTo>
                    <a:lnTo>
                      <a:pt x="3130" y="4184"/>
                    </a:lnTo>
                    <a:lnTo>
                      <a:pt x="3130" y="4184"/>
                    </a:lnTo>
                    <a:lnTo>
                      <a:pt x="3130" y="4188"/>
                    </a:lnTo>
                    <a:lnTo>
                      <a:pt x="3132" y="4192"/>
                    </a:lnTo>
                    <a:lnTo>
                      <a:pt x="3134" y="4194"/>
                    </a:lnTo>
                    <a:lnTo>
                      <a:pt x="3138" y="4192"/>
                    </a:lnTo>
                    <a:lnTo>
                      <a:pt x="3138" y="4192"/>
                    </a:lnTo>
                    <a:close/>
                    <a:moveTo>
                      <a:pt x="3386" y="4736"/>
                    </a:moveTo>
                    <a:lnTo>
                      <a:pt x="3386" y="4736"/>
                    </a:lnTo>
                    <a:lnTo>
                      <a:pt x="3388" y="4742"/>
                    </a:lnTo>
                    <a:lnTo>
                      <a:pt x="3392" y="4742"/>
                    </a:lnTo>
                    <a:lnTo>
                      <a:pt x="3396" y="4740"/>
                    </a:lnTo>
                    <a:lnTo>
                      <a:pt x="3398" y="4736"/>
                    </a:lnTo>
                    <a:lnTo>
                      <a:pt x="3402" y="4732"/>
                    </a:lnTo>
                    <a:lnTo>
                      <a:pt x="3404" y="4726"/>
                    </a:lnTo>
                    <a:lnTo>
                      <a:pt x="3404" y="4720"/>
                    </a:lnTo>
                    <a:lnTo>
                      <a:pt x="3404" y="4714"/>
                    </a:lnTo>
                    <a:lnTo>
                      <a:pt x="3404" y="4714"/>
                    </a:lnTo>
                    <a:lnTo>
                      <a:pt x="3400" y="4712"/>
                    </a:lnTo>
                    <a:lnTo>
                      <a:pt x="3398" y="4712"/>
                    </a:lnTo>
                    <a:lnTo>
                      <a:pt x="3394" y="4714"/>
                    </a:lnTo>
                    <a:lnTo>
                      <a:pt x="3392" y="4718"/>
                    </a:lnTo>
                    <a:lnTo>
                      <a:pt x="3388" y="4726"/>
                    </a:lnTo>
                    <a:lnTo>
                      <a:pt x="3386" y="4736"/>
                    </a:lnTo>
                    <a:lnTo>
                      <a:pt x="3386" y="4736"/>
                    </a:lnTo>
                    <a:close/>
                    <a:moveTo>
                      <a:pt x="3378" y="4912"/>
                    </a:moveTo>
                    <a:lnTo>
                      <a:pt x="3378" y="4912"/>
                    </a:lnTo>
                    <a:lnTo>
                      <a:pt x="3374" y="4908"/>
                    </a:lnTo>
                    <a:lnTo>
                      <a:pt x="3370" y="4906"/>
                    </a:lnTo>
                    <a:lnTo>
                      <a:pt x="3364" y="4904"/>
                    </a:lnTo>
                    <a:lnTo>
                      <a:pt x="3362" y="4904"/>
                    </a:lnTo>
                    <a:lnTo>
                      <a:pt x="3358" y="4906"/>
                    </a:lnTo>
                    <a:lnTo>
                      <a:pt x="3356" y="4908"/>
                    </a:lnTo>
                    <a:lnTo>
                      <a:pt x="3354" y="4912"/>
                    </a:lnTo>
                    <a:lnTo>
                      <a:pt x="3354" y="4916"/>
                    </a:lnTo>
                    <a:lnTo>
                      <a:pt x="3354" y="4916"/>
                    </a:lnTo>
                    <a:lnTo>
                      <a:pt x="3354" y="4922"/>
                    </a:lnTo>
                    <a:lnTo>
                      <a:pt x="3358" y="4924"/>
                    </a:lnTo>
                    <a:lnTo>
                      <a:pt x="3366" y="4922"/>
                    </a:lnTo>
                    <a:lnTo>
                      <a:pt x="3366" y="4922"/>
                    </a:lnTo>
                    <a:lnTo>
                      <a:pt x="3382" y="4922"/>
                    </a:lnTo>
                    <a:lnTo>
                      <a:pt x="3384" y="4922"/>
                    </a:lnTo>
                    <a:lnTo>
                      <a:pt x="3384" y="4920"/>
                    </a:lnTo>
                    <a:lnTo>
                      <a:pt x="3378" y="4912"/>
                    </a:lnTo>
                    <a:lnTo>
                      <a:pt x="3378" y="4912"/>
                    </a:lnTo>
                    <a:close/>
                    <a:moveTo>
                      <a:pt x="3378" y="5236"/>
                    </a:moveTo>
                    <a:lnTo>
                      <a:pt x="3378" y="5236"/>
                    </a:lnTo>
                    <a:lnTo>
                      <a:pt x="3374" y="5234"/>
                    </a:lnTo>
                    <a:lnTo>
                      <a:pt x="3370" y="5234"/>
                    </a:lnTo>
                    <a:lnTo>
                      <a:pt x="3368" y="5236"/>
                    </a:lnTo>
                    <a:lnTo>
                      <a:pt x="3372" y="5240"/>
                    </a:lnTo>
                    <a:lnTo>
                      <a:pt x="3372" y="5240"/>
                    </a:lnTo>
                    <a:lnTo>
                      <a:pt x="3376" y="5242"/>
                    </a:lnTo>
                    <a:lnTo>
                      <a:pt x="3380" y="5240"/>
                    </a:lnTo>
                    <a:lnTo>
                      <a:pt x="3380" y="5238"/>
                    </a:lnTo>
                    <a:lnTo>
                      <a:pt x="3378" y="5236"/>
                    </a:lnTo>
                    <a:lnTo>
                      <a:pt x="3378" y="5236"/>
                    </a:lnTo>
                    <a:close/>
                    <a:moveTo>
                      <a:pt x="3444" y="5230"/>
                    </a:moveTo>
                    <a:lnTo>
                      <a:pt x="3444" y="5230"/>
                    </a:lnTo>
                    <a:lnTo>
                      <a:pt x="3448" y="5232"/>
                    </a:lnTo>
                    <a:lnTo>
                      <a:pt x="3450" y="5230"/>
                    </a:lnTo>
                    <a:lnTo>
                      <a:pt x="3452" y="5228"/>
                    </a:lnTo>
                    <a:lnTo>
                      <a:pt x="3452" y="5224"/>
                    </a:lnTo>
                    <a:lnTo>
                      <a:pt x="3452" y="5224"/>
                    </a:lnTo>
                    <a:lnTo>
                      <a:pt x="3448" y="5220"/>
                    </a:lnTo>
                    <a:lnTo>
                      <a:pt x="3442" y="5218"/>
                    </a:lnTo>
                    <a:lnTo>
                      <a:pt x="3442" y="5218"/>
                    </a:lnTo>
                    <a:lnTo>
                      <a:pt x="3440" y="5220"/>
                    </a:lnTo>
                    <a:lnTo>
                      <a:pt x="3442" y="5224"/>
                    </a:lnTo>
                    <a:lnTo>
                      <a:pt x="3444" y="5230"/>
                    </a:lnTo>
                    <a:lnTo>
                      <a:pt x="3444" y="5230"/>
                    </a:lnTo>
                    <a:close/>
                    <a:moveTo>
                      <a:pt x="3364" y="4876"/>
                    </a:moveTo>
                    <a:lnTo>
                      <a:pt x="3364" y="4876"/>
                    </a:lnTo>
                    <a:lnTo>
                      <a:pt x="3364" y="4878"/>
                    </a:lnTo>
                    <a:lnTo>
                      <a:pt x="3366" y="4880"/>
                    </a:lnTo>
                    <a:lnTo>
                      <a:pt x="3370" y="4882"/>
                    </a:lnTo>
                    <a:lnTo>
                      <a:pt x="3372" y="4880"/>
                    </a:lnTo>
                    <a:lnTo>
                      <a:pt x="3372" y="4880"/>
                    </a:lnTo>
                    <a:lnTo>
                      <a:pt x="3374" y="4876"/>
                    </a:lnTo>
                    <a:lnTo>
                      <a:pt x="3372" y="4874"/>
                    </a:lnTo>
                    <a:lnTo>
                      <a:pt x="3368" y="4874"/>
                    </a:lnTo>
                    <a:lnTo>
                      <a:pt x="3364" y="4876"/>
                    </a:lnTo>
                    <a:lnTo>
                      <a:pt x="3364" y="4876"/>
                    </a:lnTo>
                    <a:close/>
                    <a:moveTo>
                      <a:pt x="3374" y="5022"/>
                    </a:moveTo>
                    <a:lnTo>
                      <a:pt x="3374" y="5022"/>
                    </a:lnTo>
                    <a:lnTo>
                      <a:pt x="3378" y="5024"/>
                    </a:lnTo>
                    <a:lnTo>
                      <a:pt x="3384" y="5022"/>
                    </a:lnTo>
                    <a:lnTo>
                      <a:pt x="3388" y="5018"/>
                    </a:lnTo>
                    <a:lnTo>
                      <a:pt x="3390" y="5012"/>
                    </a:lnTo>
                    <a:lnTo>
                      <a:pt x="3390" y="5012"/>
                    </a:lnTo>
                    <a:lnTo>
                      <a:pt x="3390" y="5010"/>
                    </a:lnTo>
                    <a:lnTo>
                      <a:pt x="3388" y="5010"/>
                    </a:lnTo>
                    <a:lnTo>
                      <a:pt x="3382" y="5012"/>
                    </a:lnTo>
                    <a:lnTo>
                      <a:pt x="3376" y="5018"/>
                    </a:lnTo>
                    <a:lnTo>
                      <a:pt x="3374" y="5020"/>
                    </a:lnTo>
                    <a:lnTo>
                      <a:pt x="3374" y="5022"/>
                    </a:lnTo>
                    <a:lnTo>
                      <a:pt x="3374" y="5022"/>
                    </a:lnTo>
                    <a:close/>
                    <a:moveTo>
                      <a:pt x="3412" y="3200"/>
                    </a:moveTo>
                    <a:lnTo>
                      <a:pt x="3412" y="3200"/>
                    </a:lnTo>
                    <a:lnTo>
                      <a:pt x="3408" y="3200"/>
                    </a:lnTo>
                    <a:lnTo>
                      <a:pt x="3406" y="3202"/>
                    </a:lnTo>
                    <a:lnTo>
                      <a:pt x="3404" y="3206"/>
                    </a:lnTo>
                    <a:lnTo>
                      <a:pt x="3406" y="3208"/>
                    </a:lnTo>
                    <a:lnTo>
                      <a:pt x="3408" y="3208"/>
                    </a:lnTo>
                    <a:lnTo>
                      <a:pt x="3408" y="3208"/>
                    </a:lnTo>
                    <a:lnTo>
                      <a:pt x="3414" y="3206"/>
                    </a:lnTo>
                    <a:lnTo>
                      <a:pt x="3416" y="3204"/>
                    </a:lnTo>
                    <a:lnTo>
                      <a:pt x="3416" y="3202"/>
                    </a:lnTo>
                    <a:lnTo>
                      <a:pt x="3412" y="3200"/>
                    </a:lnTo>
                    <a:lnTo>
                      <a:pt x="3412" y="3200"/>
                    </a:lnTo>
                    <a:close/>
                    <a:moveTo>
                      <a:pt x="3402" y="3084"/>
                    </a:moveTo>
                    <a:lnTo>
                      <a:pt x="3402" y="3084"/>
                    </a:lnTo>
                    <a:lnTo>
                      <a:pt x="3400" y="3088"/>
                    </a:lnTo>
                    <a:lnTo>
                      <a:pt x="3398" y="3092"/>
                    </a:lnTo>
                    <a:lnTo>
                      <a:pt x="3400" y="3096"/>
                    </a:lnTo>
                    <a:lnTo>
                      <a:pt x="3402" y="3098"/>
                    </a:lnTo>
                    <a:lnTo>
                      <a:pt x="3404" y="3096"/>
                    </a:lnTo>
                    <a:lnTo>
                      <a:pt x="3404" y="3096"/>
                    </a:lnTo>
                    <a:lnTo>
                      <a:pt x="3406" y="3092"/>
                    </a:lnTo>
                    <a:lnTo>
                      <a:pt x="3406" y="3088"/>
                    </a:lnTo>
                    <a:lnTo>
                      <a:pt x="3406" y="3084"/>
                    </a:lnTo>
                    <a:lnTo>
                      <a:pt x="3404" y="3084"/>
                    </a:lnTo>
                    <a:lnTo>
                      <a:pt x="3402" y="3084"/>
                    </a:lnTo>
                    <a:lnTo>
                      <a:pt x="3402" y="3084"/>
                    </a:lnTo>
                    <a:close/>
                    <a:moveTo>
                      <a:pt x="3416" y="3464"/>
                    </a:moveTo>
                    <a:lnTo>
                      <a:pt x="3416" y="3464"/>
                    </a:lnTo>
                    <a:lnTo>
                      <a:pt x="3420" y="3466"/>
                    </a:lnTo>
                    <a:lnTo>
                      <a:pt x="3422" y="3464"/>
                    </a:lnTo>
                    <a:lnTo>
                      <a:pt x="3422" y="3460"/>
                    </a:lnTo>
                    <a:lnTo>
                      <a:pt x="3420" y="3454"/>
                    </a:lnTo>
                    <a:lnTo>
                      <a:pt x="3420" y="3454"/>
                    </a:lnTo>
                    <a:lnTo>
                      <a:pt x="3418" y="3452"/>
                    </a:lnTo>
                    <a:lnTo>
                      <a:pt x="3416" y="3454"/>
                    </a:lnTo>
                    <a:lnTo>
                      <a:pt x="3414" y="3458"/>
                    </a:lnTo>
                    <a:lnTo>
                      <a:pt x="3416" y="3464"/>
                    </a:lnTo>
                    <a:lnTo>
                      <a:pt x="3416" y="3464"/>
                    </a:lnTo>
                    <a:close/>
                    <a:moveTo>
                      <a:pt x="2806" y="3776"/>
                    </a:moveTo>
                    <a:lnTo>
                      <a:pt x="2806" y="3776"/>
                    </a:lnTo>
                    <a:lnTo>
                      <a:pt x="2810" y="3778"/>
                    </a:lnTo>
                    <a:lnTo>
                      <a:pt x="2814" y="3778"/>
                    </a:lnTo>
                    <a:lnTo>
                      <a:pt x="2816" y="3776"/>
                    </a:lnTo>
                    <a:lnTo>
                      <a:pt x="2818" y="3774"/>
                    </a:lnTo>
                    <a:lnTo>
                      <a:pt x="2818" y="3774"/>
                    </a:lnTo>
                    <a:lnTo>
                      <a:pt x="2820" y="3768"/>
                    </a:lnTo>
                    <a:lnTo>
                      <a:pt x="2818" y="3762"/>
                    </a:lnTo>
                    <a:lnTo>
                      <a:pt x="2818" y="3762"/>
                    </a:lnTo>
                    <a:lnTo>
                      <a:pt x="2820" y="3758"/>
                    </a:lnTo>
                    <a:lnTo>
                      <a:pt x="2820" y="3754"/>
                    </a:lnTo>
                    <a:lnTo>
                      <a:pt x="2820" y="3754"/>
                    </a:lnTo>
                    <a:lnTo>
                      <a:pt x="2820" y="3752"/>
                    </a:lnTo>
                    <a:lnTo>
                      <a:pt x="2818" y="3752"/>
                    </a:lnTo>
                    <a:lnTo>
                      <a:pt x="2814" y="3752"/>
                    </a:lnTo>
                    <a:lnTo>
                      <a:pt x="2814" y="3752"/>
                    </a:lnTo>
                    <a:lnTo>
                      <a:pt x="2812" y="3752"/>
                    </a:lnTo>
                    <a:lnTo>
                      <a:pt x="2814" y="3752"/>
                    </a:lnTo>
                    <a:lnTo>
                      <a:pt x="2814" y="3750"/>
                    </a:lnTo>
                    <a:lnTo>
                      <a:pt x="2814" y="3750"/>
                    </a:lnTo>
                    <a:lnTo>
                      <a:pt x="2814" y="3750"/>
                    </a:lnTo>
                    <a:lnTo>
                      <a:pt x="2812" y="3748"/>
                    </a:lnTo>
                    <a:lnTo>
                      <a:pt x="2810" y="3750"/>
                    </a:lnTo>
                    <a:lnTo>
                      <a:pt x="2808" y="3752"/>
                    </a:lnTo>
                    <a:lnTo>
                      <a:pt x="2808" y="3752"/>
                    </a:lnTo>
                    <a:lnTo>
                      <a:pt x="2808" y="3756"/>
                    </a:lnTo>
                    <a:lnTo>
                      <a:pt x="2806" y="3758"/>
                    </a:lnTo>
                    <a:lnTo>
                      <a:pt x="2802" y="3760"/>
                    </a:lnTo>
                    <a:lnTo>
                      <a:pt x="2802" y="3760"/>
                    </a:lnTo>
                    <a:lnTo>
                      <a:pt x="2802" y="3766"/>
                    </a:lnTo>
                    <a:lnTo>
                      <a:pt x="2802" y="3774"/>
                    </a:lnTo>
                    <a:lnTo>
                      <a:pt x="2802" y="3774"/>
                    </a:lnTo>
                    <a:lnTo>
                      <a:pt x="2800" y="3774"/>
                    </a:lnTo>
                    <a:lnTo>
                      <a:pt x="2802" y="3774"/>
                    </a:lnTo>
                    <a:lnTo>
                      <a:pt x="2804" y="3774"/>
                    </a:lnTo>
                    <a:lnTo>
                      <a:pt x="2806" y="3776"/>
                    </a:lnTo>
                    <a:lnTo>
                      <a:pt x="2806" y="3776"/>
                    </a:lnTo>
                    <a:close/>
                    <a:moveTo>
                      <a:pt x="3380" y="3090"/>
                    </a:moveTo>
                    <a:lnTo>
                      <a:pt x="3380" y="3090"/>
                    </a:lnTo>
                    <a:lnTo>
                      <a:pt x="3378" y="3088"/>
                    </a:lnTo>
                    <a:lnTo>
                      <a:pt x="3376" y="3086"/>
                    </a:lnTo>
                    <a:lnTo>
                      <a:pt x="3372" y="3088"/>
                    </a:lnTo>
                    <a:lnTo>
                      <a:pt x="3372" y="3088"/>
                    </a:lnTo>
                    <a:lnTo>
                      <a:pt x="3370" y="3090"/>
                    </a:lnTo>
                    <a:lnTo>
                      <a:pt x="3370" y="3092"/>
                    </a:lnTo>
                    <a:lnTo>
                      <a:pt x="3376" y="3096"/>
                    </a:lnTo>
                    <a:lnTo>
                      <a:pt x="3376" y="3096"/>
                    </a:lnTo>
                    <a:lnTo>
                      <a:pt x="3378" y="3096"/>
                    </a:lnTo>
                    <a:lnTo>
                      <a:pt x="3380" y="3096"/>
                    </a:lnTo>
                    <a:lnTo>
                      <a:pt x="3380" y="3090"/>
                    </a:lnTo>
                    <a:lnTo>
                      <a:pt x="3380" y="3090"/>
                    </a:lnTo>
                    <a:close/>
                    <a:moveTo>
                      <a:pt x="3918" y="2740"/>
                    </a:moveTo>
                    <a:lnTo>
                      <a:pt x="3918" y="2740"/>
                    </a:lnTo>
                    <a:lnTo>
                      <a:pt x="3918" y="2736"/>
                    </a:lnTo>
                    <a:lnTo>
                      <a:pt x="3918" y="2734"/>
                    </a:lnTo>
                    <a:lnTo>
                      <a:pt x="3914" y="2732"/>
                    </a:lnTo>
                    <a:lnTo>
                      <a:pt x="3908" y="2730"/>
                    </a:lnTo>
                    <a:lnTo>
                      <a:pt x="3902" y="2728"/>
                    </a:lnTo>
                    <a:lnTo>
                      <a:pt x="3902" y="2728"/>
                    </a:lnTo>
                    <a:lnTo>
                      <a:pt x="3900" y="2726"/>
                    </a:lnTo>
                    <a:lnTo>
                      <a:pt x="3898" y="2728"/>
                    </a:lnTo>
                    <a:lnTo>
                      <a:pt x="3894" y="2736"/>
                    </a:lnTo>
                    <a:lnTo>
                      <a:pt x="3894" y="2740"/>
                    </a:lnTo>
                    <a:lnTo>
                      <a:pt x="3894" y="2744"/>
                    </a:lnTo>
                    <a:lnTo>
                      <a:pt x="3898" y="2746"/>
                    </a:lnTo>
                    <a:lnTo>
                      <a:pt x="3902" y="2744"/>
                    </a:lnTo>
                    <a:lnTo>
                      <a:pt x="3902" y="2744"/>
                    </a:lnTo>
                    <a:lnTo>
                      <a:pt x="3906" y="2744"/>
                    </a:lnTo>
                    <a:lnTo>
                      <a:pt x="3910" y="2746"/>
                    </a:lnTo>
                    <a:lnTo>
                      <a:pt x="3910" y="2748"/>
                    </a:lnTo>
                    <a:lnTo>
                      <a:pt x="3912" y="2752"/>
                    </a:lnTo>
                    <a:lnTo>
                      <a:pt x="3908" y="2760"/>
                    </a:lnTo>
                    <a:lnTo>
                      <a:pt x="3906" y="2762"/>
                    </a:lnTo>
                    <a:lnTo>
                      <a:pt x="3904" y="2760"/>
                    </a:lnTo>
                    <a:lnTo>
                      <a:pt x="3904" y="2760"/>
                    </a:lnTo>
                    <a:lnTo>
                      <a:pt x="3900" y="2758"/>
                    </a:lnTo>
                    <a:lnTo>
                      <a:pt x="3898" y="2760"/>
                    </a:lnTo>
                    <a:lnTo>
                      <a:pt x="3894" y="2762"/>
                    </a:lnTo>
                    <a:lnTo>
                      <a:pt x="3890" y="2764"/>
                    </a:lnTo>
                    <a:lnTo>
                      <a:pt x="3890" y="2764"/>
                    </a:lnTo>
                    <a:lnTo>
                      <a:pt x="3888" y="2762"/>
                    </a:lnTo>
                    <a:lnTo>
                      <a:pt x="3888" y="2756"/>
                    </a:lnTo>
                    <a:lnTo>
                      <a:pt x="3888" y="2756"/>
                    </a:lnTo>
                    <a:lnTo>
                      <a:pt x="3886" y="2746"/>
                    </a:lnTo>
                    <a:lnTo>
                      <a:pt x="3884" y="2742"/>
                    </a:lnTo>
                    <a:lnTo>
                      <a:pt x="3880" y="2740"/>
                    </a:lnTo>
                    <a:lnTo>
                      <a:pt x="3878" y="2742"/>
                    </a:lnTo>
                    <a:lnTo>
                      <a:pt x="3876" y="2744"/>
                    </a:lnTo>
                    <a:lnTo>
                      <a:pt x="3874" y="2750"/>
                    </a:lnTo>
                    <a:lnTo>
                      <a:pt x="3874" y="2758"/>
                    </a:lnTo>
                    <a:lnTo>
                      <a:pt x="3874" y="2758"/>
                    </a:lnTo>
                    <a:lnTo>
                      <a:pt x="3872" y="2764"/>
                    </a:lnTo>
                    <a:lnTo>
                      <a:pt x="3870" y="2768"/>
                    </a:lnTo>
                    <a:lnTo>
                      <a:pt x="3866" y="2768"/>
                    </a:lnTo>
                    <a:lnTo>
                      <a:pt x="3862" y="2770"/>
                    </a:lnTo>
                    <a:lnTo>
                      <a:pt x="3858" y="2770"/>
                    </a:lnTo>
                    <a:lnTo>
                      <a:pt x="3856" y="2772"/>
                    </a:lnTo>
                    <a:lnTo>
                      <a:pt x="3856" y="2776"/>
                    </a:lnTo>
                    <a:lnTo>
                      <a:pt x="3856" y="2786"/>
                    </a:lnTo>
                    <a:lnTo>
                      <a:pt x="3856" y="2786"/>
                    </a:lnTo>
                    <a:lnTo>
                      <a:pt x="3858" y="2796"/>
                    </a:lnTo>
                    <a:lnTo>
                      <a:pt x="3860" y="2802"/>
                    </a:lnTo>
                    <a:lnTo>
                      <a:pt x="3858" y="2806"/>
                    </a:lnTo>
                    <a:lnTo>
                      <a:pt x="3856" y="2808"/>
                    </a:lnTo>
                    <a:lnTo>
                      <a:pt x="3852" y="2810"/>
                    </a:lnTo>
                    <a:lnTo>
                      <a:pt x="3850" y="2812"/>
                    </a:lnTo>
                    <a:lnTo>
                      <a:pt x="3850" y="2814"/>
                    </a:lnTo>
                    <a:lnTo>
                      <a:pt x="3850" y="2814"/>
                    </a:lnTo>
                    <a:lnTo>
                      <a:pt x="3850" y="2816"/>
                    </a:lnTo>
                    <a:lnTo>
                      <a:pt x="3852" y="2818"/>
                    </a:lnTo>
                    <a:lnTo>
                      <a:pt x="3854" y="2818"/>
                    </a:lnTo>
                    <a:lnTo>
                      <a:pt x="3858" y="2820"/>
                    </a:lnTo>
                    <a:lnTo>
                      <a:pt x="3860" y="2824"/>
                    </a:lnTo>
                    <a:lnTo>
                      <a:pt x="3860" y="2832"/>
                    </a:lnTo>
                    <a:lnTo>
                      <a:pt x="3858" y="2846"/>
                    </a:lnTo>
                    <a:lnTo>
                      <a:pt x="3854" y="2866"/>
                    </a:lnTo>
                    <a:lnTo>
                      <a:pt x="3854" y="2866"/>
                    </a:lnTo>
                    <a:lnTo>
                      <a:pt x="3850" y="2884"/>
                    </a:lnTo>
                    <a:lnTo>
                      <a:pt x="3844" y="2896"/>
                    </a:lnTo>
                    <a:lnTo>
                      <a:pt x="3840" y="2904"/>
                    </a:lnTo>
                    <a:lnTo>
                      <a:pt x="3834" y="2912"/>
                    </a:lnTo>
                    <a:lnTo>
                      <a:pt x="3822" y="2926"/>
                    </a:lnTo>
                    <a:lnTo>
                      <a:pt x="3808" y="2942"/>
                    </a:lnTo>
                    <a:lnTo>
                      <a:pt x="3808" y="2942"/>
                    </a:lnTo>
                    <a:lnTo>
                      <a:pt x="3802" y="2952"/>
                    </a:lnTo>
                    <a:lnTo>
                      <a:pt x="3794" y="2960"/>
                    </a:lnTo>
                    <a:lnTo>
                      <a:pt x="3788" y="2964"/>
                    </a:lnTo>
                    <a:lnTo>
                      <a:pt x="3782" y="2968"/>
                    </a:lnTo>
                    <a:lnTo>
                      <a:pt x="3768" y="2974"/>
                    </a:lnTo>
                    <a:lnTo>
                      <a:pt x="3760" y="2978"/>
                    </a:lnTo>
                    <a:lnTo>
                      <a:pt x="3752" y="2984"/>
                    </a:lnTo>
                    <a:lnTo>
                      <a:pt x="3752" y="2984"/>
                    </a:lnTo>
                    <a:lnTo>
                      <a:pt x="3742" y="2990"/>
                    </a:lnTo>
                    <a:lnTo>
                      <a:pt x="3742" y="2988"/>
                    </a:lnTo>
                    <a:lnTo>
                      <a:pt x="3742" y="2986"/>
                    </a:lnTo>
                    <a:lnTo>
                      <a:pt x="3744" y="2978"/>
                    </a:lnTo>
                    <a:lnTo>
                      <a:pt x="3744" y="2974"/>
                    </a:lnTo>
                    <a:lnTo>
                      <a:pt x="3740" y="2970"/>
                    </a:lnTo>
                    <a:lnTo>
                      <a:pt x="3740" y="2970"/>
                    </a:lnTo>
                    <a:lnTo>
                      <a:pt x="3740" y="2968"/>
                    </a:lnTo>
                    <a:lnTo>
                      <a:pt x="3740" y="2966"/>
                    </a:lnTo>
                    <a:lnTo>
                      <a:pt x="3748" y="2960"/>
                    </a:lnTo>
                    <a:lnTo>
                      <a:pt x="3754" y="2952"/>
                    </a:lnTo>
                    <a:lnTo>
                      <a:pt x="3756" y="2948"/>
                    </a:lnTo>
                    <a:lnTo>
                      <a:pt x="3754" y="2944"/>
                    </a:lnTo>
                    <a:lnTo>
                      <a:pt x="3754" y="2944"/>
                    </a:lnTo>
                    <a:lnTo>
                      <a:pt x="3752" y="2944"/>
                    </a:lnTo>
                    <a:lnTo>
                      <a:pt x="3748" y="2944"/>
                    </a:lnTo>
                    <a:lnTo>
                      <a:pt x="3738" y="2948"/>
                    </a:lnTo>
                    <a:lnTo>
                      <a:pt x="3734" y="2952"/>
                    </a:lnTo>
                    <a:lnTo>
                      <a:pt x="3730" y="2956"/>
                    </a:lnTo>
                    <a:lnTo>
                      <a:pt x="3728" y="2962"/>
                    </a:lnTo>
                    <a:lnTo>
                      <a:pt x="3730" y="2966"/>
                    </a:lnTo>
                    <a:lnTo>
                      <a:pt x="3730" y="2966"/>
                    </a:lnTo>
                    <a:lnTo>
                      <a:pt x="3730" y="2976"/>
                    </a:lnTo>
                    <a:lnTo>
                      <a:pt x="3728" y="2986"/>
                    </a:lnTo>
                    <a:lnTo>
                      <a:pt x="3722" y="2996"/>
                    </a:lnTo>
                    <a:lnTo>
                      <a:pt x="3716" y="3006"/>
                    </a:lnTo>
                    <a:lnTo>
                      <a:pt x="3704" y="3022"/>
                    </a:lnTo>
                    <a:lnTo>
                      <a:pt x="3700" y="3026"/>
                    </a:lnTo>
                    <a:lnTo>
                      <a:pt x="3698" y="3030"/>
                    </a:lnTo>
                    <a:lnTo>
                      <a:pt x="3698" y="3030"/>
                    </a:lnTo>
                    <a:lnTo>
                      <a:pt x="3700" y="3036"/>
                    </a:lnTo>
                    <a:lnTo>
                      <a:pt x="3700" y="3044"/>
                    </a:lnTo>
                    <a:lnTo>
                      <a:pt x="3698" y="3046"/>
                    </a:lnTo>
                    <a:lnTo>
                      <a:pt x="3694" y="3050"/>
                    </a:lnTo>
                    <a:lnTo>
                      <a:pt x="3690" y="3052"/>
                    </a:lnTo>
                    <a:lnTo>
                      <a:pt x="3682" y="3054"/>
                    </a:lnTo>
                    <a:lnTo>
                      <a:pt x="3682" y="3054"/>
                    </a:lnTo>
                    <a:lnTo>
                      <a:pt x="3676" y="3054"/>
                    </a:lnTo>
                    <a:lnTo>
                      <a:pt x="3672" y="3052"/>
                    </a:lnTo>
                    <a:lnTo>
                      <a:pt x="3672" y="3052"/>
                    </a:lnTo>
                    <a:lnTo>
                      <a:pt x="3672" y="3048"/>
                    </a:lnTo>
                    <a:lnTo>
                      <a:pt x="3674" y="3044"/>
                    </a:lnTo>
                    <a:lnTo>
                      <a:pt x="3672" y="3042"/>
                    </a:lnTo>
                    <a:lnTo>
                      <a:pt x="3668" y="3040"/>
                    </a:lnTo>
                    <a:lnTo>
                      <a:pt x="3668" y="3040"/>
                    </a:lnTo>
                    <a:lnTo>
                      <a:pt x="3662" y="3042"/>
                    </a:lnTo>
                    <a:lnTo>
                      <a:pt x="3652" y="3044"/>
                    </a:lnTo>
                    <a:lnTo>
                      <a:pt x="3626" y="3052"/>
                    </a:lnTo>
                    <a:lnTo>
                      <a:pt x="3614" y="3056"/>
                    </a:lnTo>
                    <a:lnTo>
                      <a:pt x="3602" y="3058"/>
                    </a:lnTo>
                    <a:lnTo>
                      <a:pt x="3594" y="3058"/>
                    </a:lnTo>
                    <a:lnTo>
                      <a:pt x="3592" y="3056"/>
                    </a:lnTo>
                    <a:lnTo>
                      <a:pt x="3590" y="3054"/>
                    </a:lnTo>
                    <a:lnTo>
                      <a:pt x="3590" y="3054"/>
                    </a:lnTo>
                    <a:lnTo>
                      <a:pt x="3588" y="3050"/>
                    </a:lnTo>
                    <a:lnTo>
                      <a:pt x="3584" y="3050"/>
                    </a:lnTo>
                    <a:lnTo>
                      <a:pt x="3580" y="3050"/>
                    </a:lnTo>
                    <a:lnTo>
                      <a:pt x="3574" y="3052"/>
                    </a:lnTo>
                    <a:lnTo>
                      <a:pt x="3562" y="3062"/>
                    </a:lnTo>
                    <a:lnTo>
                      <a:pt x="3548" y="3080"/>
                    </a:lnTo>
                    <a:lnTo>
                      <a:pt x="3548" y="3080"/>
                    </a:lnTo>
                    <a:lnTo>
                      <a:pt x="3542" y="3088"/>
                    </a:lnTo>
                    <a:lnTo>
                      <a:pt x="3536" y="3092"/>
                    </a:lnTo>
                    <a:lnTo>
                      <a:pt x="3530" y="3096"/>
                    </a:lnTo>
                    <a:lnTo>
                      <a:pt x="3524" y="3098"/>
                    </a:lnTo>
                    <a:lnTo>
                      <a:pt x="3518" y="3106"/>
                    </a:lnTo>
                    <a:lnTo>
                      <a:pt x="3518" y="3106"/>
                    </a:lnTo>
                    <a:lnTo>
                      <a:pt x="3514" y="3112"/>
                    </a:lnTo>
                    <a:lnTo>
                      <a:pt x="3510" y="3114"/>
                    </a:lnTo>
                    <a:lnTo>
                      <a:pt x="3502" y="3114"/>
                    </a:lnTo>
                    <a:lnTo>
                      <a:pt x="3500" y="3116"/>
                    </a:lnTo>
                    <a:lnTo>
                      <a:pt x="3498" y="3116"/>
                    </a:lnTo>
                    <a:lnTo>
                      <a:pt x="3496" y="3120"/>
                    </a:lnTo>
                    <a:lnTo>
                      <a:pt x="3496" y="3126"/>
                    </a:lnTo>
                    <a:lnTo>
                      <a:pt x="3496" y="3126"/>
                    </a:lnTo>
                    <a:lnTo>
                      <a:pt x="3496" y="3132"/>
                    </a:lnTo>
                    <a:lnTo>
                      <a:pt x="3500" y="3136"/>
                    </a:lnTo>
                    <a:lnTo>
                      <a:pt x="3504" y="3136"/>
                    </a:lnTo>
                    <a:lnTo>
                      <a:pt x="3508" y="3136"/>
                    </a:lnTo>
                    <a:lnTo>
                      <a:pt x="3522" y="3134"/>
                    </a:lnTo>
                    <a:lnTo>
                      <a:pt x="3528" y="3134"/>
                    </a:lnTo>
                    <a:lnTo>
                      <a:pt x="3536" y="3138"/>
                    </a:lnTo>
                    <a:lnTo>
                      <a:pt x="3536" y="3138"/>
                    </a:lnTo>
                    <a:lnTo>
                      <a:pt x="3542" y="3140"/>
                    </a:lnTo>
                    <a:lnTo>
                      <a:pt x="3544" y="3140"/>
                    </a:lnTo>
                    <a:lnTo>
                      <a:pt x="3546" y="3138"/>
                    </a:lnTo>
                    <a:lnTo>
                      <a:pt x="3546" y="3134"/>
                    </a:lnTo>
                    <a:lnTo>
                      <a:pt x="3546" y="3124"/>
                    </a:lnTo>
                    <a:lnTo>
                      <a:pt x="3548" y="3120"/>
                    </a:lnTo>
                    <a:lnTo>
                      <a:pt x="3550" y="3118"/>
                    </a:lnTo>
                    <a:lnTo>
                      <a:pt x="3550" y="3118"/>
                    </a:lnTo>
                    <a:lnTo>
                      <a:pt x="3556" y="3116"/>
                    </a:lnTo>
                    <a:lnTo>
                      <a:pt x="3558" y="3118"/>
                    </a:lnTo>
                    <a:lnTo>
                      <a:pt x="3562" y="3120"/>
                    </a:lnTo>
                    <a:lnTo>
                      <a:pt x="3570" y="3120"/>
                    </a:lnTo>
                    <a:lnTo>
                      <a:pt x="3570" y="3120"/>
                    </a:lnTo>
                    <a:lnTo>
                      <a:pt x="3596" y="3116"/>
                    </a:lnTo>
                    <a:lnTo>
                      <a:pt x="3620" y="3108"/>
                    </a:lnTo>
                    <a:lnTo>
                      <a:pt x="3620" y="3108"/>
                    </a:lnTo>
                    <a:lnTo>
                      <a:pt x="3626" y="3104"/>
                    </a:lnTo>
                    <a:lnTo>
                      <a:pt x="3630" y="3102"/>
                    </a:lnTo>
                    <a:lnTo>
                      <a:pt x="3632" y="3098"/>
                    </a:lnTo>
                    <a:lnTo>
                      <a:pt x="3632" y="3096"/>
                    </a:lnTo>
                    <a:lnTo>
                      <a:pt x="3636" y="3096"/>
                    </a:lnTo>
                    <a:lnTo>
                      <a:pt x="3648" y="3098"/>
                    </a:lnTo>
                    <a:lnTo>
                      <a:pt x="3648" y="3098"/>
                    </a:lnTo>
                    <a:lnTo>
                      <a:pt x="3656" y="3100"/>
                    </a:lnTo>
                    <a:lnTo>
                      <a:pt x="3662" y="3100"/>
                    </a:lnTo>
                    <a:lnTo>
                      <a:pt x="3670" y="3098"/>
                    </a:lnTo>
                    <a:lnTo>
                      <a:pt x="3674" y="3098"/>
                    </a:lnTo>
                    <a:lnTo>
                      <a:pt x="3676" y="3102"/>
                    </a:lnTo>
                    <a:lnTo>
                      <a:pt x="3676" y="3102"/>
                    </a:lnTo>
                    <a:lnTo>
                      <a:pt x="3678" y="3106"/>
                    </a:lnTo>
                    <a:lnTo>
                      <a:pt x="3676" y="3110"/>
                    </a:lnTo>
                    <a:lnTo>
                      <a:pt x="3672" y="3114"/>
                    </a:lnTo>
                    <a:lnTo>
                      <a:pt x="3666" y="3118"/>
                    </a:lnTo>
                    <a:lnTo>
                      <a:pt x="3666" y="3120"/>
                    </a:lnTo>
                    <a:lnTo>
                      <a:pt x="3666" y="3124"/>
                    </a:lnTo>
                    <a:lnTo>
                      <a:pt x="3666" y="3124"/>
                    </a:lnTo>
                    <a:lnTo>
                      <a:pt x="3666" y="3130"/>
                    </a:lnTo>
                    <a:lnTo>
                      <a:pt x="3664" y="3136"/>
                    </a:lnTo>
                    <a:lnTo>
                      <a:pt x="3664" y="3142"/>
                    </a:lnTo>
                    <a:lnTo>
                      <a:pt x="3664" y="3144"/>
                    </a:lnTo>
                    <a:lnTo>
                      <a:pt x="3668" y="3146"/>
                    </a:lnTo>
                    <a:lnTo>
                      <a:pt x="3668" y="3146"/>
                    </a:lnTo>
                    <a:lnTo>
                      <a:pt x="3674" y="3150"/>
                    </a:lnTo>
                    <a:lnTo>
                      <a:pt x="3674" y="3152"/>
                    </a:lnTo>
                    <a:lnTo>
                      <a:pt x="3676" y="3156"/>
                    </a:lnTo>
                    <a:lnTo>
                      <a:pt x="3684" y="3162"/>
                    </a:lnTo>
                    <a:lnTo>
                      <a:pt x="3684" y="3164"/>
                    </a:lnTo>
                    <a:lnTo>
                      <a:pt x="3684" y="3164"/>
                    </a:lnTo>
                    <a:lnTo>
                      <a:pt x="3688" y="3166"/>
                    </a:lnTo>
                    <a:lnTo>
                      <a:pt x="3692" y="3164"/>
                    </a:lnTo>
                    <a:lnTo>
                      <a:pt x="3696" y="3160"/>
                    </a:lnTo>
                    <a:lnTo>
                      <a:pt x="3700" y="3156"/>
                    </a:lnTo>
                    <a:lnTo>
                      <a:pt x="3716" y="3130"/>
                    </a:lnTo>
                    <a:lnTo>
                      <a:pt x="3716" y="3130"/>
                    </a:lnTo>
                    <a:lnTo>
                      <a:pt x="3720" y="3124"/>
                    </a:lnTo>
                    <a:lnTo>
                      <a:pt x="3724" y="3122"/>
                    </a:lnTo>
                    <a:lnTo>
                      <a:pt x="3734" y="3118"/>
                    </a:lnTo>
                    <a:lnTo>
                      <a:pt x="3738" y="3116"/>
                    </a:lnTo>
                    <a:lnTo>
                      <a:pt x="3738" y="3114"/>
                    </a:lnTo>
                    <a:lnTo>
                      <a:pt x="3736" y="3112"/>
                    </a:lnTo>
                    <a:lnTo>
                      <a:pt x="3730" y="3108"/>
                    </a:lnTo>
                    <a:lnTo>
                      <a:pt x="3730" y="3108"/>
                    </a:lnTo>
                    <a:lnTo>
                      <a:pt x="3724" y="3104"/>
                    </a:lnTo>
                    <a:lnTo>
                      <a:pt x="3722" y="3098"/>
                    </a:lnTo>
                    <a:lnTo>
                      <a:pt x="3722" y="3090"/>
                    </a:lnTo>
                    <a:lnTo>
                      <a:pt x="3724" y="3086"/>
                    </a:lnTo>
                    <a:lnTo>
                      <a:pt x="3728" y="3082"/>
                    </a:lnTo>
                    <a:lnTo>
                      <a:pt x="3732" y="3080"/>
                    </a:lnTo>
                    <a:lnTo>
                      <a:pt x="3734" y="3082"/>
                    </a:lnTo>
                    <a:lnTo>
                      <a:pt x="3734" y="3086"/>
                    </a:lnTo>
                    <a:lnTo>
                      <a:pt x="3734" y="3086"/>
                    </a:lnTo>
                    <a:lnTo>
                      <a:pt x="3736" y="3092"/>
                    </a:lnTo>
                    <a:lnTo>
                      <a:pt x="3738" y="3094"/>
                    </a:lnTo>
                    <a:lnTo>
                      <a:pt x="3742" y="3096"/>
                    </a:lnTo>
                    <a:lnTo>
                      <a:pt x="3746" y="3096"/>
                    </a:lnTo>
                    <a:lnTo>
                      <a:pt x="3750" y="3096"/>
                    </a:lnTo>
                    <a:lnTo>
                      <a:pt x="3746" y="3100"/>
                    </a:lnTo>
                    <a:lnTo>
                      <a:pt x="3746" y="3100"/>
                    </a:lnTo>
                    <a:lnTo>
                      <a:pt x="3742" y="3104"/>
                    </a:lnTo>
                    <a:lnTo>
                      <a:pt x="3742" y="3104"/>
                    </a:lnTo>
                    <a:lnTo>
                      <a:pt x="3750" y="3104"/>
                    </a:lnTo>
                    <a:lnTo>
                      <a:pt x="3762" y="3102"/>
                    </a:lnTo>
                    <a:lnTo>
                      <a:pt x="3774" y="3102"/>
                    </a:lnTo>
                    <a:lnTo>
                      <a:pt x="3774" y="3102"/>
                    </a:lnTo>
                    <a:lnTo>
                      <a:pt x="3782" y="3104"/>
                    </a:lnTo>
                    <a:lnTo>
                      <a:pt x="3786" y="3104"/>
                    </a:lnTo>
                    <a:lnTo>
                      <a:pt x="3788" y="3100"/>
                    </a:lnTo>
                    <a:lnTo>
                      <a:pt x="3792" y="3092"/>
                    </a:lnTo>
                    <a:lnTo>
                      <a:pt x="3792" y="3092"/>
                    </a:lnTo>
                    <a:lnTo>
                      <a:pt x="3800" y="3082"/>
                    </a:lnTo>
                    <a:lnTo>
                      <a:pt x="3806" y="3076"/>
                    </a:lnTo>
                    <a:lnTo>
                      <a:pt x="3810" y="3076"/>
                    </a:lnTo>
                    <a:lnTo>
                      <a:pt x="3810" y="3078"/>
                    </a:lnTo>
                    <a:lnTo>
                      <a:pt x="3812" y="3082"/>
                    </a:lnTo>
                    <a:lnTo>
                      <a:pt x="3810" y="3090"/>
                    </a:lnTo>
                    <a:lnTo>
                      <a:pt x="3810" y="3090"/>
                    </a:lnTo>
                    <a:lnTo>
                      <a:pt x="3810" y="3096"/>
                    </a:lnTo>
                    <a:lnTo>
                      <a:pt x="3810" y="3102"/>
                    </a:lnTo>
                    <a:lnTo>
                      <a:pt x="3812" y="3104"/>
                    </a:lnTo>
                    <a:lnTo>
                      <a:pt x="3814" y="3104"/>
                    </a:lnTo>
                    <a:lnTo>
                      <a:pt x="3820" y="3098"/>
                    </a:lnTo>
                    <a:lnTo>
                      <a:pt x="3824" y="3086"/>
                    </a:lnTo>
                    <a:lnTo>
                      <a:pt x="3824" y="3086"/>
                    </a:lnTo>
                    <a:lnTo>
                      <a:pt x="3826" y="3076"/>
                    </a:lnTo>
                    <a:lnTo>
                      <a:pt x="3828" y="3068"/>
                    </a:lnTo>
                    <a:lnTo>
                      <a:pt x="3830" y="3066"/>
                    </a:lnTo>
                    <a:lnTo>
                      <a:pt x="3834" y="3066"/>
                    </a:lnTo>
                    <a:lnTo>
                      <a:pt x="3842" y="3070"/>
                    </a:lnTo>
                    <a:lnTo>
                      <a:pt x="3842" y="3070"/>
                    </a:lnTo>
                    <a:lnTo>
                      <a:pt x="3848" y="3074"/>
                    </a:lnTo>
                    <a:lnTo>
                      <a:pt x="3848" y="3074"/>
                    </a:lnTo>
                    <a:lnTo>
                      <a:pt x="3848" y="3072"/>
                    </a:lnTo>
                    <a:lnTo>
                      <a:pt x="3848" y="3064"/>
                    </a:lnTo>
                    <a:lnTo>
                      <a:pt x="3848" y="3060"/>
                    </a:lnTo>
                    <a:lnTo>
                      <a:pt x="3850" y="3054"/>
                    </a:lnTo>
                    <a:lnTo>
                      <a:pt x="3850" y="3054"/>
                    </a:lnTo>
                    <a:lnTo>
                      <a:pt x="3852" y="3050"/>
                    </a:lnTo>
                    <a:lnTo>
                      <a:pt x="3856" y="3048"/>
                    </a:lnTo>
                    <a:lnTo>
                      <a:pt x="3862" y="3046"/>
                    </a:lnTo>
                    <a:lnTo>
                      <a:pt x="3864" y="3048"/>
                    </a:lnTo>
                    <a:lnTo>
                      <a:pt x="3864" y="3050"/>
                    </a:lnTo>
                    <a:lnTo>
                      <a:pt x="3864" y="3052"/>
                    </a:lnTo>
                    <a:lnTo>
                      <a:pt x="3862" y="3056"/>
                    </a:lnTo>
                    <a:lnTo>
                      <a:pt x="3862" y="3056"/>
                    </a:lnTo>
                    <a:lnTo>
                      <a:pt x="3858" y="3066"/>
                    </a:lnTo>
                    <a:lnTo>
                      <a:pt x="3854" y="3080"/>
                    </a:lnTo>
                    <a:lnTo>
                      <a:pt x="3854" y="3090"/>
                    </a:lnTo>
                    <a:lnTo>
                      <a:pt x="3856" y="3090"/>
                    </a:lnTo>
                    <a:lnTo>
                      <a:pt x="3860" y="3086"/>
                    </a:lnTo>
                    <a:lnTo>
                      <a:pt x="3860" y="3086"/>
                    </a:lnTo>
                    <a:lnTo>
                      <a:pt x="3864" y="3080"/>
                    </a:lnTo>
                    <a:lnTo>
                      <a:pt x="3866" y="3078"/>
                    </a:lnTo>
                    <a:lnTo>
                      <a:pt x="3872" y="3076"/>
                    </a:lnTo>
                    <a:lnTo>
                      <a:pt x="3874" y="3076"/>
                    </a:lnTo>
                    <a:lnTo>
                      <a:pt x="3876" y="3072"/>
                    </a:lnTo>
                    <a:lnTo>
                      <a:pt x="3878" y="3060"/>
                    </a:lnTo>
                    <a:lnTo>
                      <a:pt x="3878" y="3060"/>
                    </a:lnTo>
                    <a:lnTo>
                      <a:pt x="3880" y="3052"/>
                    </a:lnTo>
                    <a:lnTo>
                      <a:pt x="3886" y="3048"/>
                    </a:lnTo>
                    <a:lnTo>
                      <a:pt x="3890" y="3048"/>
                    </a:lnTo>
                    <a:lnTo>
                      <a:pt x="3894" y="3048"/>
                    </a:lnTo>
                    <a:lnTo>
                      <a:pt x="3898" y="3048"/>
                    </a:lnTo>
                    <a:lnTo>
                      <a:pt x="3900" y="3046"/>
                    </a:lnTo>
                    <a:lnTo>
                      <a:pt x="3898" y="3042"/>
                    </a:lnTo>
                    <a:lnTo>
                      <a:pt x="3892" y="3034"/>
                    </a:lnTo>
                    <a:lnTo>
                      <a:pt x="3892" y="3034"/>
                    </a:lnTo>
                    <a:lnTo>
                      <a:pt x="3888" y="3028"/>
                    </a:lnTo>
                    <a:lnTo>
                      <a:pt x="3886" y="3022"/>
                    </a:lnTo>
                    <a:lnTo>
                      <a:pt x="3884" y="3010"/>
                    </a:lnTo>
                    <a:lnTo>
                      <a:pt x="3886" y="3000"/>
                    </a:lnTo>
                    <a:lnTo>
                      <a:pt x="3892" y="2988"/>
                    </a:lnTo>
                    <a:lnTo>
                      <a:pt x="3896" y="2978"/>
                    </a:lnTo>
                    <a:lnTo>
                      <a:pt x="3902" y="2966"/>
                    </a:lnTo>
                    <a:lnTo>
                      <a:pt x="3902" y="2952"/>
                    </a:lnTo>
                    <a:lnTo>
                      <a:pt x="3900" y="2938"/>
                    </a:lnTo>
                    <a:lnTo>
                      <a:pt x="3900" y="2938"/>
                    </a:lnTo>
                    <a:lnTo>
                      <a:pt x="3898" y="2928"/>
                    </a:lnTo>
                    <a:lnTo>
                      <a:pt x="3898" y="2920"/>
                    </a:lnTo>
                    <a:lnTo>
                      <a:pt x="3898" y="2912"/>
                    </a:lnTo>
                    <a:lnTo>
                      <a:pt x="3900" y="2906"/>
                    </a:lnTo>
                    <a:lnTo>
                      <a:pt x="3904" y="2902"/>
                    </a:lnTo>
                    <a:lnTo>
                      <a:pt x="3908" y="2900"/>
                    </a:lnTo>
                    <a:lnTo>
                      <a:pt x="3912" y="2900"/>
                    </a:lnTo>
                    <a:lnTo>
                      <a:pt x="3918" y="2902"/>
                    </a:lnTo>
                    <a:lnTo>
                      <a:pt x="3918" y="2902"/>
                    </a:lnTo>
                    <a:lnTo>
                      <a:pt x="3922" y="2906"/>
                    </a:lnTo>
                    <a:lnTo>
                      <a:pt x="3924" y="2906"/>
                    </a:lnTo>
                    <a:lnTo>
                      <a:pt x="3924" y="2898"/>
                    </a:lnTo>
                    <a:lnTo>
                      <a:pt x="3924" y="2884"/>
                    </a:lnTo>
                    <a:lnTo>
                      <a:pt x="3926" y="2876"/>
                    </a:lnTo>
                    <a:lnTo>
                      <a:pt x="3930" y="2868"/>
                    </a:lnTo>
                    <a:lnTo>
                      <a:pt x="3930" y="2868"/>
                    </a:lnTo>
                    <a:lnTo>
                      <a:pt x="3936" y="2860"/>
                    </a:lnTo>
                    <a:lnTo>
                      <a:pt x="3940" y="2850"/>
                    </a:lnTo>
                    <a:lnTo>
                      <a:pt x="3942" y="2840"/>
                    </a:lnTo>
                    <a:lnTo>
                      <a:pt x="3944" y="2830"/>
                    </a:lnTo>
                    <a:lnTo>
                      <a:pt x="3942" y="2820"/>
                    </a:lnTo>
                    <a:lnTo>
                      <a:pt x="3940" y="2810"/>
                    </a:lnTo>
                    <a:lnTo>
                      <a:pt x="3936" y="2802"/>
                    </a:lnTo>
                    <a:lnTo>
                      <a:pt x="3932" y="2794"/>
                    </a:lnTo>
                    <a:lnTo>
                      <a:pt x="3932" y="2794"/>
                    </a:lnTo>
                    <a:lnTo>
                      <a:pt x="3926" y="2788"/>
                    </a:lnTo>
                    <a:lnTo>
                      <a:pt x="3922" y="2780"/>
                    </a:lnTo>
                    <a:lnTo>
                      <a:pt x="3918" y="2766"/>
                    </a:lnTo>
                    <a:lnTo>
                      <a:pt x="3918" y="2752"/>
                    </a:lnTo>
                    <a:lnTo>
                      <a:pt x="3918" y="2740"/>
                    </a:lnTo>
                    <a:lnTo>
                      <a:pt x="3918" y="2740"/>
                    </a:lnTo>
                    <a:close/>
                    <a:moveTo>
                      <a:pt x="3276" y="3612"/>
                    </a:moveTo>
                    <a:lnTo>
                      <a:pt x="3276" y="3612"/>
                    </a:lnTo>
                    <a:lnTo>
                      <a:pt x="3274" y="3610"/>
                    </a:lnTo>
                    <a:lnTo>
                      <a:pt x="3270" y="3612"/>
                    </a:lnTo>
                    <a:lnTo>
                      <a:pt x="3268" y="3614"/>
                    </a:lnTo>
                    <a:lnTo>
                      <a:pt x="3268" y="3618"/>
                    </a:lnTo>
                    <a:lnTo>
                      <a:pt x="3268" y="3618"/>
                    </a:lnTo>
                    <a:lnTo>
                      <a:pt x="3272" y="3618"/>
                    </a:lnTo>
                    <a:lnTo>
                      <a:pt x="3274" y="3618"/>
                    </a:lnTo>
                    <a:lnTo>
                      <a:pt x="3276" y="3614"/>
                    </a:lnTo>
                    <a:lnTo>
                      <a:pt x="3276" y="3612"/>
                    </a:lnTo>
                    <a:lnTo>
                      <a:pt x="3276" y="3612"/>
                    </a:lnTo>
                    <a:close/>
                    <a:moveTo>
                      <a:pt x="3322" y="3130"/>
                    </a:moveTo>
                    <a:lnTo>
                      <a:pt x="3322" y="3130"/>
                    </a:lnTo>
                    <a:lnTo>
                      <a:pt x="3324" y="3128"/>
                    </a:lnTo>
                    <a:lnTo>
                      <a:pt x="3322" y="3126"/>
                    </a:lnTo>
                    <a:lnTo>
                      <a:pt x="3318" y="3126"/>
                    </a:lnTo>
                    <a:lnTo>
                      <a:pt x="3318" y="3126"/>
                    </a:lnTo>
                    <a:lnTo>
                      <a:pt x="3316" y="3128"/>
                    </a:lnTo>
                    <a:lnTo>
                      <a:pt x="3318" y="3130"/>
                    </a:lnTo>
                    <a:lnTo>
                      <a:pt x="3320" y="3130"/>
                    </a:lnTo>
                    <a:lnTo>
                      <a:pt x="3322" y="3130"/>
                    </a:lnTo>
                    <a:lnTo>
                      <a:pt x="3322" y="3130"/>
                    </a:lnTo>
                    <a:close/>
                    <a:moveTo>
                      <a:pt x="3302" y="3176"/>
                    </a:moveTo>
                    <a:lnTo>
                      <a:pt x="3302" y="3176"/>
                    </a:lnTo>
                    <a:lnTo>
                      <a:pt x="3304" y="3178"/>
                    </a:lnTo>
                    <a:lnTo>
                      <a:pt x="3310" y="3178"/>
                    </a:lnTo>
                    <a:lnTo>
                      <a:pt x="3320" y="3176"/>
                    </a:lnTo>
                    <a:lnTo>
                      <a:pt x="3330" y="3170"/>
                    </a:lnTo>
                    <a:lnTo>
                      <a:pt x="3334" y="3166"/>
                    </a:lnTo>
                    <a:lnTo>
                      <a:pt x="3334" y="3162"/>
                    </a:lnTo>
                    <a:lnTo>
                      <a:pt x="3334" y="3162"/>
                    </a:lnTo>
                    <a:lnTo>
                      <a:pt x="3332" y="3158"/>
                    </a:lnTo>
                    <a:lnTo>
                      <a:pt x="3326" y="3158"/>
                    </a:lnTo>
                    <a:lnTo>
                      <a:pt x="3322" y="3158"/>
                    </a:lnTo>
                    <a:lnTo>
                      <a:pt x="3314" y="3160"/>
                    </a:lnTo>
                    <a:lnTo>
                      <a:pt x="3310" y="3164"/>
                    </a:lnTo>
                    <a:lnTo>
                      <a:pt x="3304" y="3166"/>
                    </a:lnTo>
                    <a:lnTo>
                      <a:pt x="3302" y="3172"/>
                    </a:lnTo>
                    <a:lnTo>
                      <a:pt x="3302" y="3176"/>
                    </a:lnTo>
                    <a:lnTo>
                      <a:pt x="3302" y="3176"/>
                    </a:lnTo>
                    <a:close/>
                    <a:moveTo>
                      <a:pt x="3372" y="3542"/>
                    </a:moveTo>
                    <a:lnTo>
                      <a:pt x="3372" y="3542"/>
                    </a:lnTo>
                    <a:lnTo>
                      <a:pt x="3374" y="3538"/>
                    </a:lnTo>
                    <a:lnTo>
                      <a:pt x="3376" y="3534"/>
                    </a:lnTo>
                    <a:lnTo>
                      <a:pt x="3386" y="3520"/>
                    </a:lnTo>
                    <a:lnTo>
                      <a:pt x="3386" y="3520"/>
                    </a:lnTo>
                    <a:lnTo>
                      <a:pt x="3392" y="3512"/>
                    </a:lnTo>
                    <a:lnTo>
                      <a:pt x="3394" y="3508"/>
                    </a:lnTo>
                    <a:lnTo>
                      <a:pt x="3390" y="3508"/>
                    </a:lnTo>
                    <a:lnTo>
                      <a:pt x="3384" y="3512"/>
                    </a:lnTo>
                    <a:lnTo>
                      <a:pt x="3384" y="3512"/>
                    </a:lnTo>
                    <a:lnTo>
                      <a:pt x="3374" y="3522"/>
                    </a:lnTo>
                    <a:lnTo>
                      <a:pt x="3370" y="3528"/>
                    </a:lnTo>
                    <a:lnTo>
                      <a:pt x="3366" y="3538"/>
                    </a:lnTo>
                    <a:lnTo>
                      <a:pt x="3366" y="3538"/>
                    </a:lnTo>
                    <a:lnTo>
                      <a:pt x="3366" y="3544"/>
                    </a:lnTo>
                    <a:lnTo>
                      <a:pt x="3368" y="3546"/>
                    </a:lnTo>
                    <a:lnTo>
                      <a:pt x="3372" y="3544"/>
                    </a:lnTo>
                    <a:lnTo>
                      <a:pt x="3372" y="3542"/>
                    </a:lnTo>
                    <a:lnTo>
                      <a:pt x="3372" y="3542"/>
                    </a:lnTo>
                    <a:close/>
                    <a:moveTo>
                      <a:pt x="3932" y="2136"/>
                    </a:moveTo>
                    <a:lnTo>
                      <a:pt x="3932" y="2136"/>
                    </a:lnTo>
                    <a:lnTo>
                      <a:pt x="3930" y="2138"/>
                    </a:lnTo>
                    <a:lnTo>
                      <a:pt x="3932" y="2138"/>
                    </a:lnTo>
                    <a:lnTo>
                      <a:pt x="3936" y="2142"/>
                    </a:lnTo>
                    <a:lnTo>
                      <a:pt x="3942" y="2150"/>
                    </a:lnTo>
                    <a:lnTo>
                      <a:pt x="3950" y="2162"/>
                    </a:lnTo>
                    <a:lnTo>
                      <a:pt x="3950" y="2162"/>
                    </a:lnTo>
                    <a:lnTo>
                      <a:pt x="3952" y="2168"/>
                    </a:lnTo>
                    <a:lnTo>
                      <a:pt x="3952" y="2174"/>
                    </a:lnTo>
                    <a:lnTo>
                      <a:pt x="3948" y="2186"/>
                    </a:lnTo>
                    <a:lnTo>
                      <a:pt x="3944" y="2198"/>
                    </a:lnTo>
                    <a:lnTo>
                      <a:pt x="3944" y="2206"/>
                    </a:lnTo>
                    <a:lnTo>
                      <a:pt x="3946" y="2214"/>
                    </a:lnTo>
                    <a:lnTo>
                      <a:pt x="3946" y="2214"/>
                    </a:lnTo>
                    <a:lnTo>
                      <a:pt x="3948" y="2224"/>
                    </a:lnTo>
                    <a:lnTo>
                      <a:pt x="3948" y="2236"/>
                    </a:lnTo>
                    <a:lnTo>
                      <a:pt x="3948" y="2266"/>
                    </a:lnTo>
                    <a:lnTo>
                      <a:pt x="3944" y="2294"/>
                    </a:lnTo>
                    <a:lnTo>
                      <a:pt x="3940" y="2304"/>
                    </a:lnTo>
                    <a:lnTo>
                      <a:pt x="3938" y="2312"/>
                    </a:lnTo>
                    <a:lnTo>
                      <a:pt x="3938" y="2312"/>
                    </a:lnTo>
                    <a:lnTo>
                      <a:pt x="3936" y="2316"/>
                    </a:lnTo>
                    <a:lnTo>
                      <a:pt x="3938" y="2320"/>
                    </a:lnTo>
                    <a:lnTo>
                      <a:pt x="3944" y="2330"/>
                    </a:lnTo>
                    <a:lnTo>
                      <a:pt x="3946" y="2336"/>
                    </a:lnTo>
                    <a:lnTo>
                      <a:pt x="3948" y="2344"/>
                    </a:lnTo>
                    <a:lnTo>
                      <a:pt x="3946" y="2356"/>
                    </a:lnTo>
                    <a:lnTo>
                      <a:pt x="3942" y="2370"/>
                    </a:lnTo>
                    <a:lnTo>
                      <a:pt x="3942" y="2370"/>
                    </a:lnTo>
                    <a:lnTo>
                      <a:pt x="3940" y="2378"/>
                    </a:lnTo>
                    <a:lnTo>
                      <a:pt x="3940" y="2386"/>
                    </a:lnTo>
                    <a:lnTo>
                      <a:pt x="3942" y="2400"/>
                    </a:lnTo>
                    <a:lnTo>
                      <a:pt x="3944" y="2412"/>
                    </a:lnTo>
                    <a:lnTo>
                      <a:pt x="3944" y="2418"/>
                    </a:lnTo>
                    <a:lnTo>
                      <a:pt x="3940" y="2424"/>
                    </a:lnTo>
                    <a:lnTo>
                      <a:pt x="3940" y="2424"/>
                    </a:lnTo>
                    <a:lnTo>
                      <a:pt x="3936" y="2436"/>
                    </a:lnTo>
                    <a:lnTo>
                      <a:pt x="3934" y="2444"/>
                    </a:lnTo>
                    <a:lnTo>
                      <a:pt x="3936" y="2454"/>
                    </a:lnTo>
                    <a:lnTo>
                      <a:pt x="3938" y="2468"/>
                    </a:lnTo>
                    <a:lnTo>
                      <a:pt x="3938" y="2468"/>
                    </a:lnTo>
                    <a:lnTo>
                      <a:pt x="3942" y="2478"/>
                    </a:lnTo>
                    <a:lnTo>
                      <a:pt x="3944" y="2478"/>
                    </a:lnTo>
                    <a:lnTo>
                      <a:pt x="3946" y="2478"/>
                    </a:lnTo>
                    <a:lnTo>
                      <a:pt x="3950" y="2470"/>
                    </a:lnTo>
                    <a:lnTo>
                      <a:pt x="3954" y="2456"/>
                    </a:lnTo>
                    <a:lnTo>
                      <a:pt x="3954" y="2456"/>
                    </a:lnTo>
                    <a:lnTo>
                      <a:pt x="3958" y="2442"/>
                    </a:lnTo>
                    <a:lnTo>
                      <a:pt x="3962" y="2434"/>
                    </a:lnTo>
                    <a:lnTo>
                      <a:pt x="3966" y="2432"/>
                    </a:lnTo>
                    <a:lnTo>
                      <a:pt x="3968" y="2432"/>
                    </a:lnTo>
                    <a:lnTo>
                      <a:pt x="3972" y="2434"/>
                    </a:lnTo>
                    <a:lnTo>
                      <a:pt x="3972" y="2434"/>
                    </a:lnTo>
                    <a:lnTo>
                      <a:pt x="3976" y="2438"/>
                    </a:lnTo>
                    <a:lnTo>
                      <a:pt x="3980" y="2440"/>
                    </a:lnTo>
                    <a:lnTo>
                      <a:pt x="3984" y="2438"/>
                    </a:lnTo>
                    <a:lnTo>
                      <a:pt x="3990" y="2440"/>
                    </a:lnTo>
                    <a:lnTo>
                      <a:pt x="3990" y="2440"/>
                    </a:lnTo>
                    <a:lnTo>
                      <a:pt x="3994" y="2442"/>
                    </a:lnTo>
                    <a:lnTo>
                      <a:pt x="3996" y="2446"/>
                    </a:lnTo>
                    <a:lnTo>
                      <a:pt x="3998" y="2456"/>
                    </a:lnTo>
                    <a:lnTo>
                      <a:pt x="4000" y="2464"/>
                    </a:lnTo>
                    <a:lnTo>
                      <a:pt x="4000" y="2466"/>
                    </a:lnTo>
                    <a:lnTo>
                      <a:pt x="4002" y="2466"/>
                    </a:lnTo>
                    <a:lnTo>
                      <a:pt x="4002" y="2466"/>
                    </a:lnTo>
                    <a:lnTo>
                      <a:pt x="4006" y="2454"/>
                    </a:lnTo>
                    <a:lnTo>
                      <a:pt x="4006" y="2448"/>
                    </a:lnTo>
                    <a:lnTo>
                      <a:pt x="4004" y="2444"/>
                    </a:lnTo>
                    <a:lnTo>
                      <a:pt x="4002" y="2434"/>
                    </a:lnTo>
                    <a:lnTo>
                      <a:pt x="4002" y="2434"/>
                    </a:lnTo>
                    <a:lnTo>
                      <a:pt x="4002" y="2426"/>
                    </a:lnTo>
                    <a:lnTo>
                      <a:pt x="4002" y="2426"/>
                    </a:lnTo>
                    <a:lnTo>
                      <a:pt x="3998" y="2426"/>
                    </a:lnTo>
                    <a:lnTo>
                      <a:pt x="3992" y="2426"/>
                    </a:lnTo>
                    <a:lnTo>
                      <a:pt x="3992" y="2426"/>
                    </a:lnTo>
                    <a:lnTo>
                      <a:pt x="3990" y="2422"/>
                    </a:lnTo>
                    <a:lnTo>
                      <a:pt x="3986" y="2420"/>
                    </a:lnTo>
                    <a:lnTo>
                      <a:pt x="3984" y="2410"/>
                    </a:lnTo>
                    <a:lnTo>
                      <a:pt x="3980" y="2400"/>
                    </a:lnTo>
                    <a:lnTo>
                      <a:pt x="3976" y="2394"/>
                    </a:lnTo>
                    <a:lnTo>
                      <a:pt x="3972" y="2390"/>
                    </a:lnTo>
                    <a:lnTo>
                      <a:pt x="3972" y="2390"/>
                    </a:lnTo>
                    <a:lnTo>
                      <a:pt x="3966" y="2382"/>
                    </a:lnTo>
                    <a:lnTo>
                      <a:pt x="3964" y="2372"/>
                    </a:lnTo>
                    <a:lnTo>
                      <a:pt x="3964" y="2362"/>
                    </a:lnTo>
                    <a:lnTo>
                      <a:pt x="3964" y="2350"/>
                    </a:lnTo>
                    <a:lnTo>
                      <a:pt x="3970" y="2328"/>
                    </a:lnTo>
                    <a:lnTo>
                      <a:pt x="3978" y="2314"/>
                    </a:lnTo>
                    <a:lnTo>
                      <a:pt x="3978" y="2314"/>
                    </a:lnTo>
                    <a:lnTo>
                      <a:pt x="3980" y="2308"/>
                    </a:lnTo>
                    <a:lnTo>
                      <a:pt x="3982" y="2304"/>
                    </a:lnTo>
                    <a:lnTo>
                      <a:pt x="3982" y="2294"/>
                    </a:lnTo>
                    <a:lnTo>
                      <a:pt x="3984" y="2290"/>
                    </a:lnTo>
                    <a:lnTo>
                      <a:pt x="3984" y="2288"/>
                    </a:lnTo>
                    <a:lnTo>
                      <a:pt x="3988" y="2284"/>
                    </a:lnTo>
                    <a:lnTo>
                      <a:pt x="3994" y="2282"/>
                    </a:lnTo>
                    <a:lnTo>
                      <a:pt x="3994" y="2282"/>
                    </a:lnTo>
                    <a:lnTo>
                      <a:pt x="4004" y="2280"/>
                    </a:lnTo>
                    <a:lnTo>
                      <a:pt x="4014" y="2280"/>
                    </a:lnTo>
                    <a:lnTo>
                      <a:pt x="4026" y="2286"/>
                    </a:lnTo>
                    <a:lnTo>
                      <a:pt x="4036" y="2294"/>
                    </a:lnTo>
                    <a:lnTo>
                      <a:pt x="4036" y="2294"/>
                    </a:lnTo>
                    <a:lnTo>
                      <a:pt x="4048" y="2314"/>
                    </a:lnTo>
                    <a:lnTo>
                      <a:pt x="4052" y="2316"/>
                    </a:lnTo>
                    <a:lnTo>
                      <a:pt x="4052" y="2312"/>
                    </a:lnTo>
                    <a:lnTo>
                      <a:pt x="4052" y="2312"/>
                    </a:lnTo>
                    <a:lnTo>
                      <a:pt x="4048" y="2302"/>
                    </a:lnTo>
                    <a:lnTo>
                      <a:pt x="4040" y="2294"/>
                    </a:lnTo>
                    <a:lnTo>
                      <a:pt x="4034" y="2282"/>
                    </a:lnTo>
                    <a:lnTo>
                      <a:pt x="4032" y="2276"/>
                    </a:lnTo>
                    <a:lnTo>
                      <a:pt x="4030" y="2268"/>
                    </a:lnTo>
                    <a:lnTo>
                      <a:pt x="4030" y="2268"/>
                    </a:lnTo>
                    <a:lnTo>
                      <a:pt x="4026" y="2252"/>
                    </a:lnTo>
                    <a:lnTo>
                      <a:pt x="4020" y="2234"/>
                    </a:lnTo>
                    <a:lnTo>
                      <a:pt x="4012" y="2214"/>
                    </a:lnTo>
                    <a:lnTo>
                      <a:pt x="4010" y="2206"/>
                    </a:lnTo>
                    <a:lnTo>
                      <a:pt x="4010" y="2196"/>
                    </a:lnTo>
                    <a:lnTo>
                      <a:pt x="4010" y="2196"/>
                    </a:lnTo>
                    <a:lnTo>
                      <a:pt x="4008" y="2180"/>
                    </a:lnTo>
                    <a:lnTo>
                      <a:pt x="4004" y="2168"/>
                    </a:lnTo>
                    <a:lnTo>
                      <a:pt x="4002" y="2158"/>
                    </a:lnTo>
                    <a:lnTo>
                      <a:pt x="3998" y="2148"/>
                    </a:lnTo>
                    <a:lnTo>
                      <a:pt x="3998" y="2148"/>
                    </a:lnTo>
                    <a:lnTo>
                      <a:pt x="3998" y="2144"/>
                    </a:lnTo>
                    <a:lnTo>
                      <a:pt x="3998" y="2144"/>
                    </a:lnTo>
                    <a:lnTo>
                      <a:pt x="3994" y="2146"/>
                    </a:lnTo>
                    <a:lnTo>
                      <a:pt x="3994" y="2146"/>
                    </a:lnTo>
                    <a:lnTo>
                      <a:pt x="3992" y="2146"/>
                    </a:lnTo>
                    <a:lnTo>
                      <a:pt x="3992" y="2138"/>
                    </a:lnTo>
                    <a:lnTo>
                      <a:pt x="3992" y="2138"/>
                    </a:lnTo>
                    <a:lnTo>
                      <a:pt x="3994" y="2128"/>
                    </a:lnTo>
                    <a:lnTo>
                      <a:pt x="3994" y="2128"/>
                    </a:lnTo>
                    <a:lnTo>
                      <a:pt x="3992" y="2128"/>
                    </a:lnTo>
                    <a:lnTo>
                      <a:pt x="3990" y="2128"/>
                    </a:lnTo>
                    <a:lnTo>
                      <a:pt x="3988" y="2124"/>
                    </a:lnTo>
                    <a:lnTo>
                      <a:pt x="3988" y="2124"/>
                    </a:lnTo>
                    <a:lnTo>
                      <a:pt x="3988" y="2116"/>
                    </a:lnTo>
                    <a:lnTo>
                      <a:pt x="3988" y="2108"/>
                    </a:lnTo>
                    <a:lnTo>
                      <a:pt x="3992" y="2096"/>
                    </a:lnTo>
                    <a:lnTo>
                      <a:pt x="3994" y="2090"/>
                    </a:lnTo>
                    <a:lnTo>
                      <a:pt x="3996" y="2082"/>
                    </a:lnTo>
                    <a:lnTo>
                      <a:pt x="3996" y="2072"/>
                    </a:lnTo>
                    <a:lnTo>
                      <a:pt x="3994" y="2058"/>
                    </a:lnTo>
                    <a:lnTo>
                      <a:pt x="3994" y="2058"/>
                    </a:lnTo>
                    <a:lnTo>
                      <a:pt x="3990" y="2042"/>
                    </a:lnTo>
                    <a:lnTo>
                      <a:pt x="3988" y="2036"/>
                    </a:lnTo>
                    <a:lnTo>
                      <a:pt x="3986" y="2034"/>
                    </a:lnTo>
                    <a:lnTo>
                      <a:pt x="3988" y="2032"/>
                    </a:lnTo>
                    <a:lnTo>
                      <a:pt x="3988" y="2032"/>
                    </a:lnTo>
                    <a:lnTo>
                      <a:pt x="3988" y="2028"/>
                    </a:lnTo>
                    <a:lnTo>
                      <a:pt x="3986" y="2026"/>
                    </a:lnTo>
                    <a:lnTo>
                      <a:pt x="3984" y="2026"/>
                    </a:lnTo>
                    <a:lnTo>
                      <a:pt x="3982" y="2022"/>
                    </a:lnTo>
                    <a:lnTo>
                      <a:pt x="3982" y="2022"/>
                    </a:lnTo>
                    <a:lnTo>
                      <a:pt x="3982" y="2014"/>
                    </a:lnTo>
                    <a:lnTo>
                      <a:pt x="3978" y="2010"/>
                    </a:lnTo>
                    <a:lnTo>
                      <a:pt x="3978" y="2006"/>
                    </a:lnTo>
                    <a:lnTo>
                      <a:pt x="3980" y="2000"/>
                    </a:lnTo>
                    <a:lnTo>
                      <a:pt x="3980" y="2000"/>
                    </a:lnTo>
                    <a:lnTo>
                      <a:pt x="3984" y="1994"/>
                    </a:lnTo>
                    <a:lnTo>
                      <a:pt x="3982" y="1988"/>
                    </a:lnTo>
                    <a:lnTo>
                      <a:pt x="3978" y="1984"/>
                    </a:lnTo>
                    <a:lnTo>
                      <a:pt x="3974" y="1976"/>
                    </a:lnTo>
                    <a:lnTo>
                      <a:pt x="3974" y="1976"/>
                    </a:lnTo>
                    <a:lnTo>
                      <a:pt x="3970" y="1972"/>
                    </a:lnTo>
                    <a:lnTo>
                      <a:pt x="3970" y="1974"/>
                    </a:lnTo>
                    <a:lnTo>
                      <a:pt x="3966" y="1978"/>
                    </a:lnTo>
                    <a:lnTo>
                      <a:pt x="3962" y="1980"/>
                    </a:lnTo>
                    <a:lnTo>
                      <a:pt x="3958" y="1982"/>
                    </a:lnTo>
                    <a:lnTo>
                      <a:pt x="3958" y="1982"/>
                    </a:lnTo>
                    <a:lnTo>
                      <a:pt x="3954" y="1982"/>
                    </a:lnTo>
                    <a:lnTo>
                      <a:pt x="3954" y="1984"/>
                    </a:lnTo>
                    <a:lnTo>
                      <a:pt x="3960" y="1990"/>
                    </a:lnTo>
                    <a:lnTo>
                      <a:pt x="3966" y="1998"/>
                    </a:lnTo>
                    <a:lnTo>
                      <a:pt x="3968" y="2004"/>
                    </a:lnTo>
                    <a:lnTo>
                      <a:pt x="3970" y="2008"/>
                    </a:lnTo>
                    <a:lnTo>
                      <a:pt x="3970" y="2008"/>
                    </a:lnTo>
                    <a:lnTo>
                      <a:pt x="3966" y="2016"/>
                    </a:lnTo>
                    <a:lnTo>
                      <a:pt x="3964" y="2018"/>
                    </a:lnTo>
                    <a:lnTo>
                      <a:pt x="3962" y="2018"/>
                    </a:lnTo>
                    <a:lnTo>
                      <a:pt x="3960" y="2020"/>
                    </a:lnTo>
                    <a:lnTo>
                      <a:pt x="3960" y="2020"/>
                    </a:lnTo>
                    <a:lnTo>
                      <a:pt x="3960" y="2024"/>
                    </a:lnTo>
                    <a:lnTo>
                      <a:pt x="3962" y="2024"/>
                    </a:lnTo>
                    <a:lnTo>
                      <a:pt x="3964" y="2026"/>
                    </a:lnTo>
                    <a:lnTo>
                      <a:pt x="3966" y="2028"/>
                    </a:lnTo>
                    <a:lnTo>
                      <a:pt x="3966" y="2030"/>
                    </a:lnTo>
                    <a:lnTo>
                      <a:pt x="3962" y="2034"/>
                    </a:lnTo>
                    <a:lnTo>
                      <a:pt x="3962" y="2034"/>
                    </a:lnTo>
                    <a:lnTo>
                      <a:pt x="3958" y="2038"/>
                    </a:lnTo>
                    <a:lnTo>
                      <a:pt x="3954" y="2038"/>
                    </a:lnTo>
                    <a:lnTo>
                      <a:pt x="3954" y="2036"/>
                    </a:lnTo>
                    <a:lnTo>
                      <a:pt x="3952" y="2034"/>
                    </a:lnTo>
                    <a:lnTo>
                      <a:pt x="3952" y="2030"/>
                    </a:lnTo>
                    <a:lnTo>
                      <a:pt x="3950" y="2028"/>
                    </a:lnTo>
                    <a:lnTo>
                      <a:pt x="3946" y="2030"/>
                    </a:lnTo>
                    <a:lnTo>
                      <a:pt x="3946" y="2030"/>
                    </a:lnTo>
                    <a:lnTo>
                      <a:pt x="3940" y="2032"/>
                    </a:lnTo>
                    <a:lnTo>
                      <a:pt x="3936" y="2034"/>
                    </a:lnTo>
                    <a:lnTo>
                      <a:pt x="3932" y="2036"/>
                    </a:lnTo>
                    <a:lnTo>
                      <a:pt x="3934" y="2044"/>
                    </a:lnTo>
                    <a:lnTo>
                      <a:pt x="3934" y="2044"/>
                    </a:lnTo>
                    <a:lnTo>
                      <a:pt x="3936" y="2054"/>
                    </a:lnTo>
                    <a:lnTo>
                      <a:pt x="3938" y="2066"/>
                    </a:lnTo>
                    <a:lnTo>
                      <a:pt x="3936" y="2078"/>
                    </a:lnTo>
                    <a:lnTo>
                      <a:pt x="3930" y="2090"/>
                    </a:lnTo>
                    <a:lnTo>
                      <a:pt x="3930" y="2090"/>
                    </a:lnTo>
                    <a:lnTo>
                      <a:pt x="3928" y="2098"/>
                    </a:lnTo>
                    <a:lnTo>
                      <a:pt x="3928" y="2104"/>
                    </a:lnTo>
                    <a:lnTo>
                      <a:pt x="3930" y="2108"/>
                    </a:lnTo>
                    <a:lnTo>
                      <a:pt x="3928" y="2118"/>
                    </a:lnTo>
                    <a:lnTo>
                      <a:pt x="3928" y="2118"/>
                    </a:lnTo>
                    <a:lnTo>
                      <a:pt x="3926" y="2124"/>
                    </a:lnTo>
                    <a:lnTo>
                      <a:pt x="3928" y="2128"/>
                    </a:lnTo>
                    <a:lnTo>
                      <a:pt x="3930" y="2132"/>
                    </a:lnTo>
                    <a:lnTo>
                      <a:pt x="3934" y="2134"/>
                    </a:lnTo>
                    <a:lnTo>
                      <a:pt x="3934" y="2136"/>
                    </a:lnTo>
                    <a:lnTo>
                      <a:pt x="3932" y="2136"/>
                    </a:lnTo>
                    <a:lnTo>
                      <a:pt x="3932" y="2136"/>
                    </a:lnTo>
                    <a:close/>
                    <a:moveTo>
                      <a:pt x="4070" y="2610"/>
                    </a:moveTo>
                    <a:lnTo>
                      <a:pt x="4070" y="2610"/>
                    </a:lnTo>
                    <a:lnTo>
                      <a:pt x="4068" y="2602"/>
                    </a:lnTo>
                    <a:lnTo>
                      <a:pt x="4068" y="2594"/>
                    </a:lnTo>
                    <a:lnTo>
                      <a:pt x="4070" y="2586"/>
                    </a:lnTo>
                    <a:lnTo>
                      <a:pt x="4072" y="2580"/>
                    </a:lnTo>
                    <a:lnTo>
                      <a:pt x="4078" y="2572"/>
                    </a:lnTo>
                    <a:lnTo>
                      <a:pt x="4078" y="2570"/>
                    </a:lnTo>
                    <a:lnTo>
                      <a:pt x="4076" y="2568"/>
                    </a:lnTo>
                    <a:lnTo>
                      <a:pt x="4076" y="2568"/>
                    </a:lnTo>
                    <a:lnTo>
                      <a:pt x="4072" y="2570"/>
                    </a:lnTo>
                    <a:lnTo>
                      <a:pt x="4068" y="2572"/>
                    </a:lnTo>
                    <a:lnTo>
                      <a:pt x="4062" y="2582"/>
                    </a:lnTo>
                    <a:lnTo>
                      <a:pt x="4054" y="2590"/>
                    </a:lnTo>
                    <a:lnTo>
                      <a:pt x="4050" y="2592"/>
                    </a:lnTo>
                    <a:lnTo>
                      <a:pt x="4044" y="2592"/>
                    </a:lnTo>
                    <a:lnTo>
                      <a:pt x="4044" y="2592"/>
                    </a:lnTo>
                    <a:lnTo>
                      <a:pt x="4040" y="2592"/>
                    </a:lnTo>
                    <a:lnTo>
                      <a:pt x="4038" y="2590"/>
                    </a:lnTo>
                    <a:lnTo>
                      <a:pt x="4036" y="2586"/>
                    </a:lnTo>
                    <a:lnTo>
                      <a:pt x="4034" y="2582"/>
                    </a:lnTo>
                    <a:lnTo>
                      <a:pt x="4032" y="2580"/>
                    </a:lnTo>
                    <a:lnTo>
                      <a:pt x="4028" y="2578"/>
                    </a:lnTo>
                    <a:lnTo>
                      <a:pt x="4022" y="2578"/>
                    </a:lnTo>
                    <a:lnTo>
                      <a:pt x="4022" y="2578"/>
                    </a:lnTo>
                    <a:lnTo>
                      <a:pt x="4012" y="2576"/>
                    </a:lnTo>
                    <a:lnTo>
                      <a:pt x="4004" y="2570"/>
                    </a:lnTo>
                    <a:lnTo>
                      <a:pt x="3994" y="2562"/>
                    </a:lnTo>
                    <a:lnTo>
                      <a:pt x="3984" y="2554"/>
                    </a:lnTo>
                    <a:lnTo>
                      <a:pt x="3966" y="2534"/>
                    </a:lnTo>
                    <a:lnTo>
                      <a:pt x="3952" y="2516"/>
                    </a:lnTo>
                    <a:lnTo>
                      <a:pt x="3952" y="2516"/>
                    </a:lnTo>
                    <a:lnTo>
                      <a:pt x="3946" y="2510"/>
                    </a:lnTo>
                    <a:lnTo>
                      <a:pt x="3940" y="2506"/>
                    </a:lnTo>
                    <a:lnTo>
                      <a:pt x="3934" y="2504"/>
                    </a:lnTo>
                    <a:lnTo>
                      <a:pt x="3930" y="2504"/>
                    </a:lnTo>
                    <a:lnTo>
                      <a:pt x="3926" y="2508"/>
                    </a:lnTo>
                    <a:lnTo>
                      <a:pt x="3924" y="2512"/>
                    </a:lnTo>
                    <a:lnTo>
                      <a:pt x="3924" y="2520"/>
                    </a:lnTo>
                    <a:lnTo>
                      <a:pt x="3928" y="2530"/>
                    </a:lnTo>
                    <a:lnTo>
                      <a:pt x="3928" y="2530"/>
                    </a:lnTo>
                    <a:lnTo>
                      <a:pt x="3932" y="2540"/>
                    </a:lnTo>
                    <a:lnTo>
                      <a:pt x="3932" y="2546"/>
                    </a:lnTo>
                    <a:lnTo>
                      <a:pt x="3932" y="2552"/>
                    </a:lnTo>
                    <a:lnTo>
                      <a:pt x="3930" y="2556"/>
                    </a:lnTo>
                    <a:lnTo>
                      <a:pt x="3928" y="2564"/>
                    </a:lnTo>
                    <a:lnTo>
                      <a:pt x="3926" y="2568"/>
                    </a:lnTo>
                    <a:lnTo>
                      <a:pt x="3928" y="2574"/>
                    </a:lnTo>
                    <a:lnTo>
                      <a:pt x="3928" y="2574"/>
                    </a:lnTo>
                    <a:lnTo>
                      <a:pt x="3928" y="2580"/>
                    </a:lnTo>
                    <a:lnTo>
                      <a:pt x="3928" y="2584"/>
                    </a:lnTo>
                    <a:lnTo>
                      <a:pt x="3922" y="2594"/>
                    </a:lnTo>
                    <a:lnTo>
                      <a:pt x="3918" y="2602"/>
                    </a:lnTo>
                    <a:lnTo>
                      <a:pt x="3916" y="2606"/>
                    </a:lnTo>
                    <a:lnTo>
                      <a:pt x="3916" y="2610"/>
                    </a:lnTo>
                    <a:lnTo>
                      <a:pt x="3916" y="2610"/>
                    </a:lnTo>
                    <a:lnTo>
                      <a:pt x="3918" y="2620"/>
                    </a:lnTo>
                    <a:lnTo>
                      <a:pt x="3918" y="2630"/>
                    </a:lnTo>
                    <a:lnTo>
                      <a:pt x="3914" y="2634"/>
                    </a:lnTo>
                    <a:lnTo>
                      <a:pt x="3912" y="2636"/>
                    </a:lnTo>
                    <a:lnTo>
                      <a:pt x="3906" y="2636"/>
                    </a:lnTo>
                    <a:lnTo>
                      <a:pt x="3900" y="2632"/>
                    </a:lnTo>
                    <a:lnTo>
                      <a:pt x="3900" y="2632"/>
                    </a:lnTo>
                    <a:lnTo>
                      <a:pt x="3886" y="2626"/>
                    </a:lnTo>
                    <a:lnTo>
                      <a:pt x="3876" y="2624"/>
                    </a:lnTo>
                    <a:lnTo>
                      <a:pt x="3874" y="2624"/>
                    </a:lnTo>
                    <a:lnTo>
                      <a:pt x="3872" y="2628"/>
                    </a:lnTo>
                    <a:lnTo>
                      <a:pt x="3874" y="2630"/>
                    </a:lnTo>
                    <a:lnTo>
                      <a:pt x="3878" y="2636"/>
                    </a:lnTo>
                    <a:lnTo>
                      <a:pt x="3878" y="2636"/>
                    </a:lnTo>
                    <a:lnTo>
                      <a:pt x="3880" y="2640"/>
                    </a:lnTo>
                    <a:lnTo>
                      <a:pt x="3880" y="2642"/>
                    </a:lnTo>
                    <a:lnTo>
                      <a:pt x="3878" y="2648"/>
                    </a:lnTo>
                    <a:lnTo>
                      <a:pt x="3872" y="2656"/>
                    </a:lnTo>
                    <a:lnTo>
                      <a:pt x="3866" y="2662"/>
                    </a:lnTo>
                    <a:lnTo>
                      <a:pt x="3858" y="2670"/>
                    </a:lnTo>
                    <a:lnTo>
                      <a:pt x="3854" y="2676"/>
                    </a:lnTo>
                    <a:lnTo>
                      <a:pt x="3852" y="2680"/>
                    </a:lnTo>
                    <a:lnTo>
                      <a:pt x="3852" y="2682"/>
                    </a:lnTo>
                    <a:lnTo>
                      <a:pt x="3854" y="2686"/>
                    </a:lnTo>
                    <a:lnTo>
                      <a:pt x="3856" y="2690"/>
                    </a:lnTo>
                    <a:lnTo>
                      <a:pt x="3856" y="2690"/>
                    </a:lnTo>
                    <a:lnTo>
                      <a:pt x="3862" y="2694"/>
                    </a:lnTo>
                    <a:lnTo>
                      <a:pt x="3866" y="2700"/>
                    </a:lnTo>
                    <a:lnTo>
                      <a:pt x="3866" y="2706"/>
                    </a:lnTo>
                    <a:lnTo>
                      <a:pt x="3864" y="2710"/>
                    </a:lnTo>
                    <a:lnTo>
                      <a:pt x="3860" y="2722"/>
                    </a:lnTo>
                    <a:lnTo>
                      <a:pt x="3862" y="2726"/>
                    </a:lnTo>
                    <a:lnTo>
                      <a:pt x="3864" y="2732"/>
                    </a:lnTo>
                    <a:lnTo>
                      <a:pt x="3864" y="2732"/>
                    </a:lnTo>
                    <a:lnTo>
                      <a:pt x="3866" y="2734"/>
                    </a:lnTo>
                    <a:lnTo>
                      <a:pt x="3870" y="2736"/>
                    </a:lnTo>
                    <a:lnTo>
                      <a:pt x="3874" y="2732"/>
                    </a:lnTo>
                    <a:lnTo>
                      <a:pt x="3880" y="2720"/>
                    </a:lnTo>
                    <a:lnTo>
                      <a:pt x="3880" y="2720"/>
                    </a:lnTo>
                    <a:lnTo>
                      <a:pt x="3884" y="2712"/>
                    </a:lnTo>
                    <a:lnTo>
                      <a:pt x="3888" y="2710"/>
                    </a:lnTo>
                    <a:lnTo>
                      <a:pt x="3890" y="2712"/>
                    </a:lnTo>
                    <a:lnTo>
                      <a:pt x="3896" y="2714"/>
                    </a:lnTo>
                    <a:lnTo>
                      <a:pt x="3900" y="2714"/>
                    </a:lnTo>
                    <a:lnTo>
                      <a:pt x="3908" y="2712"/>
                    </a:lnTo>
                    <a:lnTo>
                      <a:pt x="3908" y="2712"/>
                    </a:lnTo>
                    <a:lnTo>
                      <a:pt x="3912" y="2710"/>
                    </a:lnTo>
                    <a:lnTo>
                      <a:pt x="3910" y="2706"/>
                    </a:lnTo>
                    <a:lnTo>
                      <a:pt x="3894" y="2698"/>
                    </a:lnTo>
                    <a:lnTo>
                      <a:pt x="3886" y="2692"/>
                    </a:lnTo>
                    <a:lnTo>
                      <a:pt x="3878" y="2686"/>
                    </a:lnTo>
                    <a:lnTo>
                      <a:pt x="3874" y="2680"/>
                    </a:lnTo>
                    <a:lnTo>
                      <a:pt x="3874" y="2676"/>
                    </a:lnTo>
                    <a:lnTo>
                      <a:pt x="3876" y="2672"/>
                    </a:lnTo>
                    <a:lnTo>
                      <a:pt x="3876" y="2672"/>
                    </a:lnTo>
                    <a:lnTo>
                      <a:pt x="3882" y="2666"/>
                    </a:lnTo>
                    <a:lnTo>
                      <a:pt x="3886" y="2666"/>
                    </a:lnTo>
                    <a:lnTo>
                      <a:pt x="3888" y="2668"/>
                    </a:lnTo>
                    <a:lnTo>
                      <a:pt x="3892" y="2670"/>
                    </a:lnTo>
                    <a:lnTo>
                      <a:pt x="3896" y="2674"/>
                    </a:lnTo>
                    <a:lnTo>
                      <a:pt x="3900" y="2676"/>
                    </a:lnTo>
                    <a:lnTo>
                      <a:pt x="3906" y="2676"/>
                    </a:lnTo>
                    <a:lnTo>
                      <a:pt x="3912" y="2674"/>
                    </a:lnTo>
                    <a:lnTo>
                      <a:pt x="3912" y="2674"/>
                    </a:lnTo>
                    <a:lnTo>
                      <a:pt x="3918" y="2670"/>
                    </a:lnTo>
                    <a:lnTo>
                      <a:pt x="3924" y="2668"/>
                    </a:lnTo>
                    <a:lnTo>
                      <a:pt x="3930" y="2666"/>
                    </a:lnTo>
                    <a:lnTo>
                      <a:pt x="3936" y="2668"/>
                    </a:lnTo>
                    <a:lnTo>
                      <a:pt x="3954" y="2678"/>
                    </a:lnTo>
                    <a:lnTo>
                      <a:pt x="3984" y="2698"/>
                    </a:lnTo>
                    <a:lnTo>
                      <a:pt x="3984" y="2698"/>
                    </a:lnTo>
                    <a:lnTo>
                      <a:pt x="3992" y="2700"/>
                    </a:lnTo>
                    <a:lnTo>
                      <a:pt x="3996" y="2698"/>
                    </a:lnTo>
                    <a:lnTo>
                      <a:pt x="4000" y="2692"/>
                    </a:lnTo>
                    <a:lnTo>
                      <a:pt x="4002" y="2684"/>
                    </a:lnTo>
                    <a:lnTo>
                      <a:pt x="4008" y="2664"/>
                    </a:lnTo>
                    <a:lnTo>
                      <a:pt x="4012" y="2656"/>
                    </a:lnTo>
                    <a:lnTo>
                      <a:pt x="4018" y="2652"/>
                    </a:lnTo>
                    <a:lnTo>
                      <a:pt x="4018" y="2652"/>
                    </a:lnTo>
                    <a:lnTo>
                      <a:pt x="4030" y="2648"/>
                    </a:lnTo>
                    <a:lnTo>
                      <a:pt x="4042" y="2646"/>
                    </a:lnTo>
                    <a:lnTo>
                      <a:pt x="4054" y="2644"/>
                    </a:lnTo>
                    <a:lnTo>
                      <a:pt x="4068" y="2640"/>
                    </a:lnTo>
                    <a:lnTo>
                      <a:pt x="4068" y="2640"/>
                    </a:lnTo>
                    <a:lnTo>
                      <a:pt x="4090" y="2630"/>
                    </a:lnTo>
                    <a:lnTo>
                      <a:pt x="4096" y="2626"/>
                    </a:lnTo>
                    <a:lnTo>
                      <a:pt x="4096" y="2624"/>
                    </a:lnTo>
                    <a:lnTo>
                      <a:pt x="4094" y="2622"/>
                    </a:lnTo>
                    <a:lnTo>
                      <a:pt x="4094" y="2622"/>
                    </a:lnTo>
                    <a:lnTo>
                      <a:pt x="4092" y="2620"/>
                    </a:lnTo>
                    <a:lnTo>
                      <a:pt x="4090" y="2620"/>
                    </a:lnTo>
                    <a:lnTo>
                      <a:pt x="4084" y="2622"/>
                    </a:lnTo>
                    <a:lnTo>
                      <a:pt x="4082" y="2622"/>
                    </a:lnTo>
                    <a:lnTo>
                      <a:pt x="4078" y="2622"/>
                    </a:lnTo>
                    <a:lnTo>
                      <a:pt x="4074" y="2618"/>
                    </a:lnTo>
                    <a:lnTo>
                      <a:pt x="4070" y="2610"/>
                    </a:lnTo>
                    <a:lnTo>
                      <a:pt x="4070" y="2610"/>
                    </a:lnTo>
                    <a:close/>
                    <a:moveTo>
                      <a:pt x="3802" y="2924"/>
                    </a:moveTo>
                    <a:lnTo>
                      <a:pt x="3802" y="2924"/>
                    </a:lnTo>
                    <a:lnTo>
                      <a:pt x="3806" y="2916"/>
                    </a:lnTo>
                    <a:lnTo>
                      <a:pt x="3806" y="2908"/>
                    </a:lnTo>
                    <a:lnTo>
                      <a:pt x="3804" y="2906"/>
                    </a:lnTo>
                    <a:lnTo>
                      <a:pt x="3802" y="2904"/>
                    </a:lnTo>
                    <a:lnTo>
                      <a:pt x="3800" y="2906"/>
                    </a:lnTo>
                    <a:lnTo>
                      <a:pt x="3796" y="2910"/>
                    </a:lnTo>
                    <a:lnTo>
                      <a:pt x="3796" y="2910"/>
                    </a:lnTo>
                    <a:lnTo>
                      <a:pt x="3792" y="2914"/>
                    </a:lnTo>
                    <a:lnTo>
                      <a:pt x="3792" y="2918"/>
                    </a:lnTo>
                    <a:lnTo>
                      <a:pt x="3792" y="2922"/>
                    </a:lnTo>
                    <a:lnTo>
                      <a:pt x="3792" y="2924"/>
                    </a:lnTo>
                    <a:lnTo>
                      <a:pt x="3794" y="2926"/>
                    </a:lnTo>
                    <a:lnTo>
                      <a:pt x="3798" y="2928"/>
                    </a:lnTo>
                    <a:lnTo>
                      <a:pt x="3800" y="2926"/>
                    </a:lnTo>
                    <a:lnTo>
                      <a:pt x="3802" y="2924"/>
                    </a:lnTo>
                    <a:lnTo>
                      <a:pt x="3802" y="2924"/>
                    </a:lnTo>
                    <a:close/>
                    <a:moveTo>
                      <a:pt x="3594" y="3018"/>
                    </a:moveTo>
                    <a:lnTo>
                      <a:pt x="3594" y="3018"/>
                    </a:lnTo>
                    <a:lnTo>
                      <a:pt x="3596" y="3016"/>
                    </a:lnTo>
                    <a:lnTo>
                      <a:pt x="3596" y="3014"/>
                    </a:lnTo>
                    <a:lnTo>
                      <a:pt x="3594" y="3010"/>
                    </a:lnTo>
                    <a:lnTo>
                      <a:pt x="3592" y="3010"/>
                    </a:lnTo>
                    <a:lnTo>
                      <a:pt x="3592" y="3010"/>
                    </a:lnTo>
                    <a:lnTo>
                      <a:pt x="3590" y="3012"/>
                    </a:lnTo>
                    <a:lnTo>
                      <a:pt x="3588" y="3014"/>
                    </a:lnTo>
                    <a:lnTo>
                      <a:pt x="3590" y="3018"/>
                    </a:lnTo>
                    <a:lnTo>
                      <a:pt x="3594" y="3018"/>
                    </a:lnTo>
                    <a:lnTo>
                      <a:pt x="3594" y="3018"/>
                    </a:lnTo>
                    <a:close/>
                    <a:moveTo>
                      <a:pt x="3048" y="4040"/>
                    </a:moveTo>
                    <a:lnTo>
                      <a:pt x="3048" y="4040"/>
                    </a:lnTo>
                    <a:lnTo>
                      <a:pt x="3046" y="4042"/>
                    </a:lnTo>
                    <a:lnTo>
                      <a:pt x="3044" y="4044"/>
                    </a:lnTo>
                    <a:lnTo>
                      <a:pt x="3042" y="4050"/>
                    </a:lnTo>
                    <a:lnTo>
                      <a:pt x="3044" y="4056"/>
                    </a:lnTo>
                    <a:lnTo>
                      <a:pt x="3046" y="4062"/>
                    </a:lnTo>
                    <a:lnTo>
                      <a:pt x="3046" y="4062"/>
                    </a:lnTo>
                    <a:lnTo>
                      <a:pt x="3048" y="4064"/>
                    </a:lnTo>
                    <a:lnTo>
                      <a:pt x="3050" y="4068"/>
                    </a:lnTo>
                    <a:lnTo>
                      <a:pt x="3052" y="4098"/>
                    </a:lnTo>
                    <a:lnTo>
                      <a:pt x="3052" y="4098"/>
                    </a:lnTo>
                    <a:lnTo>
                      <a:pt x="3054" y="4116"/>
                    </a:lnTo>
                    <a:lnTo>
                      <a:pt x="3056" y="4120"/>
                    </a:lnTo>
                    <a:lnTo>
                      <a:pt x="3058" y="4120"/>
                    </a:lnTo>
                    <a:lnTo>
                      <a:pt x="3062" y="4120"/>
                    </a:lnTo>
                    <a:lnTo>
                      <a:pt x="3064" y="4122"/>
                    </a:lnTo>
                    <a:lnTo>
                      <a:pt x="3066" y="4126"/>
                    </a:lnTo>
                    <a:lnTo>
                      <a:pt x="3066" y="4126"/>
                    </a:lnTo>
                    <a:lnTo>
                      <a:pt x="3070" y="4134"/>
                    </a:lnTo>
                    <a:lnTo>
                      <a:pt x="3074" y="4138"/>
                    </a:lnTo>
                    <a:lnTo>
                      <a:pt x="3076" y="4134"/>
                    </a:lnTo>
                    <a:lnTo>
                      <a:pt x="3076" y="4128"/>
                    </a:lnTo>
                    <a:lnTo>
                      <a:pt x="3076" y="4128"/>
                    </a:lnTo>
                    <a:lnTo>
                      <a:pt x="3078" y="4120"/>
                    </a:lnTo>
                    <a:lnTo>
                      <a:pt x="3078" y="4118"/>
                    </a:lnTo>
                    <a:lnTo>
                      <a:pt x="3082" y="4118"/>
                    </a:lnTo>
                    <a:lnTo>
                      <a:pt x="3086" y="4122"/>
                    </a:lnTo>
                    <a:lnTo>
                      <a:pt x="3086" y="4122"/>
                    </a:lnTo>
                    <a:lnTo>
                      <a:pt x="3090" y="4126"/>
                    </a:lnTo>
                    <a:lnTo>
                      <a:pt x="3092" y="4130"/>
                    </a:lnTo>
                    <a:lnTo>
                      <a:pt x="3090" y="4134"/>
                    </a:lnTo>
                    <a:lnTo>
                      <a:pt x="3086" y="4140"/>
                    </a:lnTo>
                    <a:lnTo>
                      <a:pt x="3086" y="4140"/>
                    </a:lnTo>
                    <a:lnTo>
                      <a:pt x="3080" y="4146"/>
                    </a:lnTo>
                    <a:lnTo>
                      <a:pt x="3076" y="4156"/>
                    </a:lnTo>
                    <a:lnTo>
                      <a:pt x="3078" y="4164"/>
                    </a:lnTo>
                    <a:lnTo>
                      <a:pt x="3078" y="4166"/>
                    </a:lnTo>
                    <a:lnTo>
                      <a:pt x="3082" y="4166"/>
                    </a:lnTo>
                    <a:lnTo>
                      <a:pt x="3082" y="4166"/>
                    </a:lnTo>
                    <a:lnTo>
                      <a:pt x="3084" y="4164"/>
                    </a:lnTo>
                    <a:lnTo>
                      <a:pt x="3088" y="4166"/>
                    </a:lnTo>
                    <a:lnTo>
                      <a:pt x="3092" y="4170"/>
                    </a:lnTo>
                    <a:lnTo>
                      <a:pt x="3096" y="4174"/>
                    </a:lnTo>
                    <a:lnTo>
                      <a:pt x="3100" y="4176"/>
                    </a:lnTo>
                    <a:lnTo>
                      <a:pt x="3104" y="4178"/>
                    </a:lnTo>
                    <a:lnTo>
                      <a:pt x="3104" y="4178"/>
                    </a:lnTo>
                    <a:lnTo>
                      <a:pt x="3112" y="4176"/>
                    </a:lnTo>
                    <a:lnTo>
                      <a:pt x="3112" y="4174"/>
                    </a:lnTo>
                    <a:lnTo>
                      <a:pt x="3112" y="4168"/>
                    </a:lnTo>
                    <a:lnTo>
                      <a:pt x="3112" y="4166"/>
                    </a:lnTo>
                    <a:lnTo>
                      <a:pt x="3116" y="4164"/>
                    </a:lnTo>
                    <a:lnTo>
                      <a:pt x="3116" y="4164"/>
                    </a:lnTo>
                    <a:lnTo>
                      <a:pt x="3120" y="4160"/>
                    </a:lnTo>
                    <a:lnTo>
                      <a:pt x="3124" y="4160"/>
                    </a:lnTo>
                    <a:lnTo>
                      <a:pt x="3138" y="4172"/>
                    </a:lnTo>
                    <a:lnTo>
                      <a:pt x="3138" y="4172"/>
                    </a:lnTo>
                    <a:lnTo>
                      <a:pt x="3144" y="4176"/>
                    </a:lnTo>
                    <a:lnTo>
                      <a:pt x="3148" y="4180"/>
                    </a:lnTo>
                    <a:lnTo>
                      <a:pt x="3152" y="4188"/>
                    </a:lnTo>
                    <a:lnTo>
                      <a:pt x="3154" y="4196"/>
                    </a:lnTo>
                    <a:lnTo>
                      <a:pt x="3156" y="4198"/>
                    </a:lnTo>
                    <a:lnTo>
                      <a:pt x="3158" y="4198"/>
                    </a:lnTo>
                    <a:lnTo>
                      <a:pt x="3158" y="4198"/>
                    </a:lnTo>
                    <a:lnTo>
                      <a:pt x="3162" y="4198"/>
                    </a:lnTo>
                    <a:lnTo>
                      <a:pt x="3162" y="4196"/>
                    </a:lnTo>
                    <a:lnTo>
                      <a:pt x="3162" y="4188"/>
                    </a:lnTo>
                    <a:lnTo>
                      <a:pt x="3154" y="4170"/>
                    </a:lnTo>
                    <a:lnTo>
                      <a:pt x="3154" y="4170"/>
                    </a:lnTo>
                    <a:lnTo>
                      <a:pt x="3154" y="4166"/>
                    </a:lnTo>
                    <a:lnTo>
                      <a:pt x="3154" y="4164"/>
                    </a:lnTo>
                    <a:lnTo>
                      <a:pt x="3160" y="4164"/>
                    </a:lnTo>
                    <a:lnTo>
                      <a:pt x="3164" y="4168"/>
                    </a:lnTo>
                    <a:lnTo>
                      <a:pt x="3168" y="4174"/>
                    </a:lnTo>
                    <a:lnTo>
                      <a:pt x="3168" y="4174"/>
                    </a:lnTo>
                    <a:lnTo>
                      <a:pt x="3172" y="4180"/>
                    </a:lnTo>
                    <a:lnTo>
                      <a:pt x="3176" y="4182"/>
                    </a:lnTo>
                    <a:lnTo>
                      <a:pt x="3180" y="4186"/>
                    </a:lnTo>
                    <a:lnTo>
                      <a:pt x="3184" y="4192"/>
                    </a:lnTo>
                    <a:lnTo>
                      <a:pt x="3184" y="4192"/>
                    </a:lnTo>
                    <a:lnTo>
                      <a:pt x="3186" y="4198"/>
                    </a:lnTo>
                    <a:lnTo>
                      <a:pt x="3186" y="4202"/>
                    </a:lnTo>
                    <a:lnTo>
                      <a:pt x="3188" y="4206"/>
                    </a:lnTo>
                    <a:lnTo>
                      <a:pt x="3196" y="4210"/>
                    </a:lnTo>
                    <a:lnTo>
                      <a:pt x="3196" y="4210"/>
                    </a:lnTo>
                    <a:lnTo>
                      <a:pt x="3206" y="4216"/>
                    </a:lnTo>
                    <a:lnTo>
                      <a:pt x="3210" y="4218"/>
                    </a:lnTo>
                    <a:lnTo>
                      <a:pt x="3212" y="4222"/>
                    </a:lnTo>
                    <a:lnTo>
                      <a:pt x="3212" y="4228"/>
                    </a:lnTo>
                    <a:lnTo>
                      <a:pt x="3212" y="4228"/>
                    </a:lnTo>
                    <a:lnTo>
                      <a:pt x="3216" y="4232"/>
                    </a:lnTo>
                    <a:lnTo>
                      <a:pt x="3218" y="4230"/>
                    </a:lnTo>
                    <a:lnTo>
                      <a:pt x="3220" y="4224"/>
                    </a:lnTo>
                    <a:lnTo>
                      <a:pt x="3222" y="4216"/>
                    </a:lnTo>
                    <a:lnTo>
                      <a:pt x="3222" y="4216"/>
                    </a:lnTo>
                    <a:lnTo>
                      <a:pt x="3222" y="4208"/>
                    </a:lnTo>
                    <a:lnTo>
                      <a:pt x="3220" y="4204"/>
                    </a:lnTo>
                    <a:lnTo>
                      <a:pt x="3218" y="4202"/>
                    </a:lnTo>
                    <a:lnTo>
                      <a:pt x="3210" y="4200"/>
                    </a:lnTo>
                    <a:lnTo>
                      <a:pt x="3210" y="4200"/>
                    </a:lnTo>
                    <a:lnTo>
                      <a:pt x="3206" y="4200"/>
                    </a:lnTo>
                    <a:lnTo>
                      <a:pt x="3206" y="4196"/>
                    </a:lnTo>
                    <a:lnTo>
                      <a:pt x="3206" y="4194"/>
                    </a:lnTo>
                    <a:lnTo>
                      <a:pt x="3206" y="4192"/>
                    </a:lnTo>
                    <a:lnTo>
                      <a:pt x="3204" y="4186"/>
                    </a:lnTo>
                    <a:lnTo>
                      <a:pt x="3198" y="4182"/>
                    </a:lnTo>
                    <a:lnTo>
                      <a:pt x="3198" y="4182"/>
                    </a:lnTo>
                    <a:lnTo>
                      <a:pt x="3196" y="4178"/>
                    </a:lnTo>
                    <a:lnTo>
                      <a:pt x="3194" y="4174"/>
                    </a:lnTo>
                    <a:lnTo>
                      <a:pt x="3196" y="4174"/>
                    </a:lnTo>
                    <a:lnTo>
                      <a:pt x="3198" y="4174"/>
                    </a:lnTo>
                    <a:lnTo>
                      <a:pt x="3206" y="4174"/>
                    </a:lnTo>
                    <a:lnTo>
                      <a:pt x="3210" y="4172"/>
                    </a:lnTo>
                    <a:lnTo>
                      <a:pt x="3212" y="4172"/>
                    </a:lnTo>
                    <a:lnTo>
                      <a:pt x="3212" y="4172"/>
                    </a:lnTo>
                    <a:lnTo>
                      <a:pt x="3214" y="4168"/>
                    </a:lnTo>
                    <a:lnTo>
                      <a:pt x="3210" y="4164"/>
                    </a:lnTo>
                    <a:lnTo>
                      <a:pt x="3194" y="4156"/>
                    </a:lnTo>
                    <a:lnTo>
                      <a:pt x="3194" y="4156"/>
                    </a:lnTo>
                    <a:lnTo>
                      <a:pt x="3190" y="4154"/>
                    </a:lnTo>
                    <a:lnTo>
                      <a:pt x="3186" y="4156"/>
                    </a:lnTo>
                    <a:lnTo>
                      <a:pt x="3186" y="4158"/>
                    </a:lnTo>
                    <a:lnTo>
                      <a:pt x="3184" y="4162"/>
                    </a:lnTo>
                    <a:lnTo>
                      <a:pt x="3184" y="4170"/>
                    </a:lnTo>
                    <a:lnTo>
                      <a:pt x="3182" y="4172"/>
                    </a:lnTo>
                    <a:lnTo>
                      <a:pt x="3180" y="4170"/>
                    </a:lnTo>
                    <a:lnTo>
                      <a:pt x="3180" y="4170"/>
                    </a:lnTo>
                    <a:lnTo>
                      <a:pt x="3178" y="4168"/>
                    </a:lnTo>
                    <a:lnTo>
                      <a:pt x="3176" y="4164"/>
                    </a:lnTo>
                    <a:lnTo>
                      <a:pt x="3176" y="4158"/>
                    </a:lnTo>
                    <a:lnTo>
                      <a:pt x="3176" y="4154"/>
                    </a:lnTo>
                    <a:lnTo>
                      <a:pt x="3174" y="4150"/>
                    </a:lnTo>
                    <a:lnTo>
                      <a:pt x="3170" y="4146"/>
                    </a:lnTo>
                    <a:lnTo>
                      <a:pt x="3164" y="4142"/>
                    </a:lnTo>
                    <a:lnTo>
                      <a:pt x="3164" y="4142"/>
                    </a:lnTo>
                    <a:lnTo>
                      <a:pt x="3158" y="4140"/>
                    </a:lnTo>
                    <a:lnTo>
                      <a:pt x="3154" y="4140"/>
                    </a:lnTo>
                    <a:lnTo>
                      <a:pt x="3152" y="4140"/>
                    </a:lnTo>
                    <a:lnTo>
                      <a:pt x="3150" y="4142"/>
                    </a:lnTo>
                    <a:lnTo>
                      <a:pt x="3148" y="4146"/>
                    </a:lnTo>
                    <a:lnTo>
                      <a:pt x="3148" y="4146"/>
                    </a:lnTo>
                    <a:lnTo>
                      <a:pt x="3144" y="4146"/>
                    </a:lnTo>
                    <a:lnTo>
                      <a:pt x="3144" y="4146"/>
                    </a:lnTo>
                    <a:lnTo>
                      <a:pt x="3142" y="4146"/>
                    </a:lnTo>
                    <a:lnTo>
                      <a:pt x="3140" y="4148"/>
                    </a:lnTo>
                    <a:lnTo>
                      <a:pt x="3140" y="4152"/>
                    </a:lnTo>
                    <a:lnTo>
                      <a:pt x="3140" y="4158"/>
                    </a:lnTo>
                    <a:lnTo>
                      <a:pt x="3138" y="4158"/>
                    </a:lnTo>
                    <a:lnTo>
                      <a:pt x="3136" y="4158"/>
                    </a:lnTo>
                    <a:lnTo>
                      <a:pt x="3136" y="4158"/>
                    </a:lnTo>
                    <a:lnTo>
                      <a:pt x="3130" y="4156"/>
                    </a:lnTo>
                    <a:lnTo>
                      <a:pt x="3126" y="4152"/>
                    </a:lnTo>
                    <a:lnTo>
                      <a:pt x="3122" y="4142"/>
                    </a:lnTo>
                    <a:lnTo>
                      <a:pt x="3120" y="4132"/>
                    </a:lnTo>
                    <a:lnTo>
                      <a:pt x="3120" y="4124"/>
                    </a:lnTo>
                    <a:lnTo>
                      <a:pt x="3120" y="4124"/>
                    </a:lnTo>
                    <a:lnTo>
                      <a:pt x="3120" y="4120"/>
                    </a:lnTo>
                    <a:lnTo>
                      <a:pt x="3120" y="4116"/>
                    </a:lnTo>
                    <a:lnTo>
                      <a:pt x="3116" y="4104"/>
                    </a:lnTo>
                    <a:lnTo>
                      <a:pt x="3112" y="4092"/>
                    </a:lnTo>
                    <a:lnTo>
                      <a:pt x="3112" y="4086"/>
                    </a:lnTo>
                    <a:lnTo>
                      <a:pt x="3116" y="4082"/>
                    </a:lnTo>
                    <a:lnTo>
                      <a:pt x="3116" y="4082"/>
                    </a:lnTo>
                    <a:lnTo>
                      <a:pt x="3120" y="4072"/>
                    </a:lnTo>
                    <a:lnTo>
                      <a:pt x="3120" y="4066"/>
                    </a:lnTo>
                    <a:lnTo>
                      <a:pt x="3120" y="4062"/>
                    </a:lnTo>
                    <a:lnTo>
                      <a:pt x="3124" y="4054"/>
                    </a:lnTo>
                    <a:lnTo>
                      <a:pt x="3124" y="4054"/>
                    </a:lnTo>
                    <a:lnTo>
                      <a:pt x="3128" y="4052"/>
                    </a:lnTo>
                    <a:lnTo>
                      <a:pt x="3130" y="4050"/>
                    </a:lnTo>
                    <a:lnTo>
                      <a:pt x="3132" y="4052"/>
                    </a:lnTo>
                    <a:lnTo>
                      <a:pt x="3134" y="4052"/>
                    </a:lnTo>
                    <a:lnTo>
                      <a:pt x="3136" y="4056"/>
                    </a:lnTo>
                    <a:lnTo>
                      <a:pt x="3136" y="4056"/>
                    </a:lnTo>
                    <a:lnTo>
                      <a:pt x="3138" y="4056"/>
                    </a:lnTo>
                    <a:lnTo>
                      <a:pt x="3138" y="4056"/>
                    </a:lnTo>
                    <a:lnTo>
                      <a:pt x="3144" y="4046"/>
                    </a:lnTo>
                    <a:lnTo>
                      <a:pt x="3148" y="4034"/>
                    </a:lnTo>
                    <a:lnTo>
                      <a:pt x="3154" y="4008"/>
                    </a:lnTo>
                    <a:lnTo>
                      <a:pt x="3154" y="4008"/>
                    </a:lnTo>
                    <a:lnTo>
                      <a:pt x="3154" y="4006"/>
                    </a:lnTo>
                    <a:lnTo>
                      <a:pt x="3152" y="4002"/>
                    </a:lnTo>
                    <a:lnTo>
                      <a:pt x="3146" y="3992"/>
                    </a:lnTo>
                    <a:lnTo>
                      <a:pt x="3144" y="3986"/>
                    </a:lnTo>
                    <a:lnTo>
                      <a:pt x="3142" y="3978"/>
                    </a:lnTo>
                    <a:lnTo>
                      <a:pt x="3142" y="3970"/>
                    </a:lnTo>
                    <a:lnTo>
                      <a:pt x="3144" y="3960"/>
                    </a:lnTo>
                    <a:lnTo>
                      <a:pt x="3144" y="3960"/>
                    </a:lnTo>
                    <a:lnTo>
                      <a:pt x="3148" y="3944"/>
                    </a:lnTo>
                    <a:lnTo>
                      <a:pt x="3146" y="3936"/>
                    </a:lnTo>
                    <a:lnTo>
                      <a:pt x="3146" y="3934"/>
                    </a:lnTo>
                    <a:lnTo>
                      <a:pt x="3142" y="3934"/>
                    </a:lnTo>
                    <a:lnTo>
                      <a:pt x="3140" y="3936"/>
                    </a:lnTo>
                    <a:lnTo>
                      <a:pt x="3136" y="3942"/>
                    </a:lnTo>
                    <a:lnTo>
                      <a:pt x="3136" y="3942"/>
                    </a:lnTo>
                    <a:lnTo>
                      <a:pt x="3132" y="3946"/>
                    </a:lnTo>
                    <a:lnTo>
                      <a:pt x="3126" y="3944"/>
                    </a:lnTo>
                    <a:lnTo>
                      <a:pt x="3122" y="3942"/>
                    </a:lnTo>
                    <a:lnTo>
                      <a:pt x="3114" y="3938"/>
                    </a:lnTo>
                    <a:lnTo>
                      <a:pt x="3100" y="3930"/>
                    </a:lnTo>
                    <a:lnTo>
                      <a:pt x="3094" y="3926"/>
                    </a:lnTo>
                    <a:lnTo>
                      <a:pt x="3086" y="3928"/>
                    </a:lnTo>
                    <a:lnTo>
                      <a:pt x="3086" y="3928"/>
                    </a:lnTo>
                    <a:lnTo>
                      <a:pt x="3076" y="3932"/>
                    </a:lnTo>
                    <a:lnTo>
                      <a:pt x="3076" y="3936"/>
                    </a:lnTo>
                    <a:lnTo>
                      <a:pt x="3074" y="3938"/>
                    </a:lnTo>
                    <a:lnTo>
                      <a:pt x="3074" y="3946"/>
                    </a:lnTo>
                    <a:lnTo>
                      <a:pt x="3074" y="3952"/>
                    </a:lnTo>
                    <a:lnTo>
                      <a:pt x="3072" y="3958"/>
                    </a:lnTo>
                    <a:lnTo>
                      <a:pt x="3072" y="3958"/>
                    </a:lnTo>
                    <a:lnTo>
                      <a:pt x="3068" y="3966"/>
                    </a:lnTo>
                    <a:lnTo>
                      <a:pt x="3068" y="3972"/>
                    </a:lnTo>
                    <a:lnTo>
                      <a:pt x="3068" y="3986"/>
                    </a:lnTo>
                    <a:lnTo>
                      <a:pt x="3070" y="4000"/>
                    </a:lnTo>
                    <a:lnTo>
                      <a:pt x="3068" y="4010"/>
                    </a:lnTo>
                    <a:lnTo>
                      <a:pt x="3066" y="4018"/>
                    </a:lnTo>
                    <a:lnTo>
                      <a:pt x="3066" y="4018"/>
                    </a:lnTo>
                    <a:lnTo>
                      <a:pt x="3064" y="4026"/>
                    </a:lnTo>
                    <a:lnTo>
                      <a:pt x="3062" y="4032"/>
                    </a:lnTo>
                    <a:lnTo>
                      <a:pt x="3064" y="4038"/>
                    </a:lnTo>
                    <a:lnTo>
                      <a:pt x="3066" y="4040"/>
                    </a:lnTo>
                    <a:lnTo>
                      <a:pt x="3068" y="4046"/>
                    </a:lnTo>
                    <a:lnTo>
                      <a:pt x="3070" y="4050"/>
                    </a:lnTo>
                    <a:lnTo>
                      <a:pt x="3068" y="4054"/>
                    </a:lnTo>
                    <a:lnTo>
                      <a:pt x="3068" y="4054"/>
                    </a:lnTo>
                    <a:lnTo>
                      <a:pt x="3066" y="4058"/>
                    </a:lnTo>
                    <a:lnTo>
                      <a:pt x="3062" y="4060"/>
                    </a:lnTo>
                    <a:lnTo>
                      <a:pt x="3060" y="4056"/>
                    </a:lnTo>
                    <a:lnTo>
                      <a:pt x="3058" y="4054"/>
                    </a:lnTo>
                    <a:lnTo>
                      <a:pt x="3052" y="4044"/>
                    </a:lnTo>
                    <a:lnTo>
                      <a:pt x="3050" y="4042"/>
                    </a:lnTo>
                    <a:lnTo>
                      <a:pt x="3048" y="4040"/>
                    </a:lnTo>
                    <a:lnTo>
                      <a:pt x="3048" y="4040"/>
                    </a:lnTo>
                    <a:close/>
                    <a:moveTo>
                      <a:pt x="3012" y="4336"/>
                    </a:moveTo>
                    <a:lnTo>
                      <a:pt x="3012" y="4336"/>
                    </a:lnTo>
                    <a:lnTo>
                      <a:pt x="2996" y="4362"/>
                    </a:lnTo>
                    <a:lnTo>
                      <a:pt x="2978" y="4384"/>
                    </a:lnTo>
                    <a:lnTo>
                      <a:pt x="2978" y="4384"/>
                    </a:lnTo>
                    <a:lnTo>
                      <a:pt x="2960" y="4400"/>
                    </a:lnTo>
                    <a:lnTo>
                      <a:pt x="2950" y="4412"/>
                    </a:lnTo>
                    <a:lnTo>
                      <a:pt x="2948" y="4420"/>
                    </a:lnTo>
                    <a:lnTo>
                      <a:pt x="2944" y="4428"/>
                    </a:lnTo>
                    <a:lnTo>
                      <a:pt x="2944" y="4428"/>
                    </a:lnTo>
                    <a:lnTo>
                      <a:pt x="2944" y="4432"/>
                    </a:lnTo>
                    <a:lnTo>
                      <a:pt x="2946" y="4434"/>
                    </a:lnTo>
                    <a:lnTo>
                      <a:pt x="2946" y="4434"/>
                    </a:lnTo>
                    <a:lnTo>
                      <a:pt x="2950" y="4432"/>
                    </a:lnTo>
                    <a:lnTo>
                      <a:pt x="2954" y="4426"/>
                    </a:lnTo>
                    <a:lnTo>
                      <a:pt x="2960" y="4422"/>
                    </a:lnTo>
                    <a:lnTo>
                      <a:pt x="2960" y="4422"/>
                    </a:lnTo>
                    <a:lnTo>
                      <a:pt x="2968" y="4410"/>
                    </a:lnTo>
                    <a:lnTo>
                      <a:pt x="2994" y="4388"/>
                    </a:lnTo>
                    <a:lnTo>
                      <a:pt x="2994" y="4388"/>
                    </a:lnTo>
                    <a:lnTo>
                      <a:pt x="3002" y="4380"/>
                    </a:lnTo>
                    <a:lnTo>
                      <a:pt x="3006" y="4372"/>
                    </a:lnTo>
                    <a:lnTo>
                      <a:pt x="3008" y="4368"/>
                    </a:lnTo>
                    <a:lnTo>
                      <a:pt x="3008" y="4364"/>
                    </a:lnTo>
                    <a:lnTo>
                      <a:pt x="3010" y="4358"/>
                    </a:lnTo>
                    <a:lnTo>
                      <a:pt x="3012" y="4356"/>
                    </a:lnTo>
                    <a:lnTo>
                      <a:pt x="3016" y="4354"/>
                    </a:lnTo>
                    <a:lnTo>
                      <a:pt x="3016" y="4354"/>
                    </a:lnTo>
                    <a:lnTo>
                      <a:pt x="3022" y="4352"/>
                    </a:lnTo>
                    <a:lnTo>
                      <a:pt x="3024" y="4350"/>
                    </a:lnTo>
                    <a:lnTo>
                      <a:pt x="3028" y="4344"/>
                    </a:lnTo>
                    <a:lnTo>
                      <a:pt x="3030" y="4338"/>
                    </a:lnTo>
                    <a:lnTo>
                      <a:pt x="3030" y="4336"/>
                    </a:lnTo>
                    <a:lnTo>
                      <a:pt x="3034" y="4336"/>
                    </a:lnTo>
                    <a:lnTo>
                      <a:pt x="3034" y="4336"/>
                    </a:lnTo>
                    <a:lnTo>
                      <a:pt x="3038" y="4334"/>
                    </a:lnTo>
                    <a:lnTo>
                      <a:pt x="3042" y="4330"/>
                    </a:lnTo>
                    <a:lnTo>
                      <a:pt x="3044" y="4324"/>
                    </a:lnTo>
                    <a:lnTo>
                      <a:pt x="3042" y="4316"/>
                    </a:lnTo>
                    <a:lnTo>
                      <a:pt x="3042" y="4316"/>
                    </a:lnTo>
                    <a:lnTo>
                      <a:pt x="3040" y="4312"/>
                    </a:lnTo>
                    <a:lnTo>
                      <a:pt x="3040" y="4306"/>
                    </a:lnTo>
                    <a:lnTo>
                      <a:pt x="3040" y="4296"/>
                    </a:lnTo>
                    <a:lnTo>
                      <a:pt x="3040" y="4288"/>
                    </a:lnTo>
                    <a:lnTo>
                      <a:pt x="3038" y="4286"/>
                    </a:lnTo>
                    <a:lnTo>
                      <a:pt x="3036" y="4284"/>
                    </a:lnTo>
                    <a:lnTo>
                      <a:pt x="3036" y="4284"/>
                    </a:lnTo>
                    <a:lnTo>
                      <a:pt x="3034" y="4284"/>
                    </a:lnTo>
                    <a:lnTo>
                      <a:pt x="3032" y="4286"/>
                    </a:lnTo>
                    <a:lnTo>
                      <a:pt x="3032" y="4294"/>
                    </a:lnTo>
                    <a:lnTo>
                      <a:pt x="3030" y="4302"/>
                    </a:lnTo>
                    <a:lnTo>
                      <a:pt x="3028" y="4304"/>
                    </a:lnTo>
                    <a:lnTo>
                      <a:pt x="3026" y="4306"/>
                    </a:lnTo>
                    <a:lnTo>
                      <a:pt x="3026" y="4306"/>
                    </a:lnTo>
                    <a:lnTo>
                      <a:pt x="3024" y="4306"/>
                    </a:lnTo>
                    <a:lnTo>
                      <a:pt x="3024" y="4308"/>
                    </a:lnTo>
                    <a:lnTo>
                      <a:pt x="3026" y="4312"/>
                    </a:lnTo>
                    <a:lnTo>
                      <a:pt x="3028" y="4318"/>
                    </a:lnTo>
                    <a:lnTo>
                      <a:pt x="3028" y="4322"/>
                    </a:lnTo>
                    <a:lnTo>
                      <a:pt x="3026" y="4326"/>
                    </a:lnTo>
                    <a:lnTo>
                      <a:pt x="3026" y="4326"/>
                    </a:lnTo>
                    <a:lnTo>
                      <a:pt x="3022" y="4330"/>
                    </a:lnTo>
                    <a:lnTo>
                      <a:pt x="3020" y="4328"/>
                    </a:lnTo>
                    <a:lnTo>
                      <a:pt x="3018" y="4328"/>
                    </a:lnTo>
                    <a:lnTo>
                      <a:pt x="3012" y="4336"/>
                    </a:lnTo>
                    <a:lnTo>
                      <a:pt x="3012" y="4336"/>
                    </a:lnTo>
                    <a:close/>
                    <a:moveTo>
                      <a:pt x="3126" y="3596"/>
                    </a:moveTo>
                    <a:lnTo>
                      <a:pt x="3126" y="3596"/>
                    </a:lnTo>
                    <a:lnTo>
                      <a:pt x="3122" y="3592"/>
                    </a:lnTo>
                    <a:lnTo>
                      <a:pt x="3118" y="3590"/>
                    </a:lnTo>
                    <a:lnTo>
                      <a:pt x="3116" y="3590"/>
                    </a:lnTo>
                    <a:lnTo>
                      <a:pt x="3114" y="3590"/>
                    </a:lnTo>
                    <a:lnTo>
                      <a:pt x="3110" y="3594"/>
                    </a:lnTo>
                    <a:lnTo>
                      <a:pt x="3104" y="3598"/>
                    </a:lnTo>
                    <a:lnTo>
                      <a:pt x="3104" y="3598"/>
                    </a:lnTo>
                    <a:lnTo>
                      <a:pt x="3098" y="3600"/>
                    </a:lnTo>
                    <a:lnTo>
                      <a:pt x="3092" y="3608"/>
                    </a:lnTo>
                    <a:lnTo>
                      <a:pt x="3072" y="3644"/>
                    </a:lnTo>
                    <a:lnTo>
                      <a:pt x="3072" y="3644"/>
                    </a:lnTo>
                    <a:lnTo>
                      <a:pt x="3062" y="3662"/>
                    </a:lnTo>
                    <a:lnTo>
                      <a:pt x="3060" y="3678"/>
                    </a:lnTo>
                    <a:lnTo>
                      <a:pt x="3060" y="3694"/>
                    </a:lnTo>
                    <a:lnTo>
                      <a:pt x="3062" y="3712"/>
                    </a:lnTo>
                    <a:lnTo>
                      <a:pt x="3062" y="3712"/>
                    </a:lnTo>
                    <a:lnTo>
                      <a:pt x="3066" y="3726"/>
                    </a:lnTo>
                    <a:lnTo>
                      <a:pt x="3070" y="3730"/>
                    </a:lnTo>
                    <a:lnTo>
                      <a:pt x="3074" y="3734"/>
                    </a:lnTo>
                    <a:lnTo>
                      <a:pt x="3078" y="3742"/>
                    </a:lnTo>
                    <a:lnTo>
                      <a:pt x="3078" y="3742"/>
                    </a:lnTo>
                    <a:lnTo>
                      <a:pt x="3082" y="3752"/>
                    </a:lnTo>
                    <a:lnTo>
                      <a:pt x="3086" y="3762"/>
                    </a:lnTo>
                    <a:lnTo>
                      <a:pt x="3088" y="3764"/>
                    </a:lnTo>
                    <a:lnTo>
                      <a:pt x="3090" y="3762"/>
                    </a:lnTo>
                    <a:lnTo>
                      <a:pt x="3090" y="3756"/>
                    </a:lnTo>
                    <a:lnTo>
                      <a:pt x="3090" y="3748"/>
                    </a:lnTo>
                    <a:lnTo>
                      <a:pt x="3090" y="3748"/>
                    </a:lnTo>
                    <a:lnTo>
                      <a:pt x="3092" y="3738"/>
                    </a:lnTo>
                    <a:lnTo>
                      <a:pt x="3094" y="3730"/>
                    </a:lnTo>
                    <a:lnTo>
                      <a:pt x="3096" y="3726"/>
                    </a:lnTo>
                    <a:lnTo>
                      <a:pt x="3098" y="3722"/>
                    </a:lnTo>
                    <a:lnTo>
                      <a:pt x="3102" y="3718"/>
                    </a:lnTo>
                    <a:lnTo>
                      <a:pt x="3106" y="3712"/>
                    </a:lnTo>
                    <a:lnTo>
                      <a:pt x="3110" y="3702"/>
                    </a:lnTo>
                    <a:lnTo>
                      <a:pt x="3114" y="3690"/>
                    </a:lnTo>
                    <a:lnTo>
                      <a:pt x="3114" y="3690"/>
                    </a:lnTo>
                    <a:lnTo>
                      <a:pt x="3120" y="3662"/>
                    </a:lnTo>
                    <a:lnTo>
                      <a:pt x="3126" y="3644"/>
                    </a:lnTo>
                    <a:lnTo>
                      <a:pt x="3130" y="3632"/>
                    </a:lnTo>
                    <a:lnTo>
                      <a:pt x="3130" y="3628"/>
                    </a:lnTo>
                    <a:lnTo>
                      <a:pt x="3128" y="3622"/>
                    </a:lnTo>
                    <a:lnTo>
                      <a:pt x="3128" y="3622"/>
                    </a:lnTo>
                    <a:lnTo>
                      <a:pt x="3128" y="3618"/>
                    </a:lnTo>
                    <a:lnTo>
                      <a:pt x="3128" y="3614"/>
                    </a:lnTo>
                    <a:lnTo>
                      <a:pt x="3130" y="3610"/>
                    </a:lnTo>
                    <a:lnTo>
                      <a:pt x="3132" y="3608"/>
                    </a:lnTo>
                    <a:lnTo>
                      <a:pt x="3132" y="3604"/>
                    </a:lnTo>
                    <a:lnTo>
                      <a:pt x="3130" y="3600"/>
                    </a:lnTo>
                    <a:lnTo>
                      <a:pt x="3126" y="3596"/>
                    </a:lnTo>
                    <a:lnTo>
                      <a:pt x="3126" y="3596"/>
                    </a:lnTo>
                    <a:close/>
                    <a:moveTo>
                      <a:pt x="4186" y="2510"/>
                    </a:moveTo>
                    <a:lnTo>
                      <a:pt x="4186" y="2510"/>
                    </a:lnTo>
                    <a:lnTo>
                      <a:pt x="4182" y="2506"/>
                    </a:lnTo>
                    <a:lnTo>
                      <a:pt x="4182" y="2510"/>
                    </a:lnTo>
                    <a:lnTo>
                      <a:pt x="4180" y="2516"/>
                    </a:lnTo>
                    <a:lnTo>
                      <a:pt x="4180" y="2518"/>
                    </a:lnTo>
                    <a:lnTo>
                      <a:pt x="4176" y="2522"/>
                    </a:lnTo>
                    <a:lnTo>
                      <a:pt x="4176" y="2522"/>
                    </a:lnTo>
                    <a:lnTo>
                      <a:pt x="4166" y="2526"/>
                    </a:lnTo>
                    <a:lnTo>
                      <a:pt x="4156" y="2534"/>
                    </a:lnTo>
                    <a:lnTo>
                      <a:pt x="4148" y="2544"/>
                    </a:lnTo>
                    <a:lnTo>
                      <a:pt x="4140" y="2558"/>
                    </a:lnTo>
                    <a:lnTo>
                      <a:pt x="4140" y="2558"/>
                    </a:lnTo>
                    <a:lnTo>
                      <a:pt x="4140" y="2560"/>
                    </a:lnTo>
                    <a:lnTo>
                      <a:pt x="4140" y="2562"/>
                    </a:lnTo>
                    <a:lnTo>
                      <a:pt x="4142" y="2564"/>
                    </a:lnTo>
                    <a:lnTo>
                      <a:pt x="4144" y="2562"/>
                    </a:lnTo>
                    <a:lnTo>
                      <a:pt x="4152" y="2556"/>
                    </a:lnTo>
                    <a:lnTo>
                      <a:pt x="4162" y="2546"/>
                    </a:lnTo>
                    <a:lnTo>
                      <a:pt x="4162" y="2546"/>
                    </a:lnTo>
                    <a:lnTo>
                      <a:pt x="4170" y="2536"/>
                    </a:lnTo>
                    <a:lnTo>
                      <a:pt x="4176" y="2532"/>
                    </a:lnTo>
                    <a:lnTo>
                      <a:pt x="4182" y="2528"/>
                    </a:lnTo>
                    <a:lnTo>
                      <a:pt x="4192" y="2522"/>
                    </a:lnTo>
                    <a:lnTo>
                      <a:pt x="4192" y="2522"/>
                    </a:lnTo>
                    <a:lnTo>
                      <a:pt x="4196" y="2518"/>
                    </a:lnTo>
                    <a:lnTo>
                      <a:pt x="4202" y="2516"/>
                    </a:lnTo>
                    <a:lnTo>
                      <a:pt x="4212" y="2512"/>
                    </a:lnTo>
                    <a:lnTo>
                      <a:pt x="4216" y="2510"/>
                    </a:lnTo>
                    <a:lnTo>
                      <a:pt x="4218" y="2508"/>
                    </a:lnTo>
                    <a:lnTo>
                      <a:pt x="4218" y="2506"/>
                    </a:lnTo>
                    <a:lnTo>
                      <a:pt x="4216" y="2502"/>
                    </a:lnTo>
                    <a:lnTo>
                      <a:pt x="4216" y="2502"/>
                    </a:lnTo>
                    <a:lnTo>
                      <a:pt x="4214" y="2500"/>
                    </a:lnTo>
                    <a:lnTo>
                      <a:pt x="4210" y="2500"/>
                    </a:lnTo>
                    <a:lnTo>
                      <a:pt x="4204" y="2504"/>
                    </a:lnTo>
                    <a:lnTo>
                      <a:pt x="4194" y="2510"/>
                    </a:lnTo>
                    <a:lnTo>
                      <a:pt x="4190" y="2510"/>
                    </a:lnTo>
                    <a:lnTo>
                      <a:pt x="4186" y="2510"/>
                    </a:lnTo>
                    <a:lnTo>
                      <a:pt x="4186" y="2510"/>
                    </a:lnTo>
                    <a:close/>
                    <a:moveTo>
                      <a:pt x="3264" y="4226"/>
                    </a:moveTo>
                    <a:lnTo>
                      <a:pt x="3264" y="4226"/>
                    </a:lnTo>
                    <a:lnTo>
                      <a:pt x="3258" y="4226"/>
                    </a:lnTo>
                    <a:lnTo>
                      <a:pt x="3250" y="4226"/>
                    </a:lnTo>
                    <a:lnTo>
                      <a:pt x="3242" y="4228"/>
                    </a:lnTo>
                    <a:lnTo>
                      <a:pt x="3234" y="4226"/>
                    </a:lnTo>
                    <a:lnTo>
                      <a:pt x="3234" y="4226"/>
                    </a:lnTo>
                    <a:lnTo>
                      <a:pt x="3230" y="4226"/>
                    </a:lnTo>
                    <a:lnTo>
                      <a:pt x="3228" y="4228"/>
                    </a:lnTo>
                    <a:lnTo>
                      <a:pt x="3228" y="4234"/>
                    </a:lnTo>
                    <a:lnTo>
                      <a:pt x="3234" y="4244"/>
                    </a:lnTo>
                    <a:lnTo>
                      <a:pt x="3242" y="4252"/>
                    </a:lnTo>
                    <a:lnTo>
                      <a:pt x="3242" y="4252"/>
                    </a:lnTo>
                    <a:lnTo>
                      <a:pt x="3246" y="4258"/>
                    </a:lnTo>
                    <a:lnTo>
                      <a:pt x="3248" y="4260"/>
                    </a:lnTo>
                    <a:lnTo>
                      <a:pt x="3250" y="4262"/>
                    </a:lnTo>
                    <a:lnTo>
                      <a:pt x="3254" y="4264"/>
                    </a:lnTo>
                    <a:lnTo>
                      <a:pt x="3254" y="4264"/>
                    </a:lnTo>
                    <a:lnTo>
                      <a:pt x="3258" y="4266"/>
                    </a:lnTo>
                    <a:lnTo>
                      <a:pt x="3258" y="4268"/>
                    </a:lnTo>
                    <a:lnTo>
                      <a:pt x="3256" y="4272"/>
                    </a:lnTo>
                    <a:lnTo>
                      <a:pt x="3254" y="4276"/>
                    </a:lnTo>
                    <a:lnTo>
                      <a:pt x="3254" y="4276"/>
                    </a:lnTo>
                    <a:lnTo>
                      <a:pt x="3252" y="4276"/>
                    </a:lnTo>
                    <a:lnTo>
                      <a:pt x="3252" y="4278"/>
                    </a:lnTo>
                    <a:lnTo>
                      <a:pt x="3256" y="4282"/>
                    </a:lnTo>
                    <a:lnTo>
                      <a:pt x="3260" y="4288"/>
                    </a:lnTo>
                    <a:lnTo>
                      <a:pt x="3264" y="4296"/>
                    </a:lnTo>
                    <a:lnTo>
                      <a:pt x="3264" y="4296"/>
                    </a:lnTo>
                    <a:lnTo>
                      <a:pt x="3266" y="4298"/>
                    </a:lnTo>
                    <a:lnTo>
                      <a:pt x="3268" y="4300"/>
                    </a:lnTo>
                    <a:lnTo>
                      <a:pt x="3272" y="4298"/>
                    </a:lnTo>
                    <a:lnTo>
                      <a:pt x="3276" y="4298"/>
                    </a:lnTo>
                    <a:lnTo>
                      <a:pt x="3280" y="4298"/>
                    </a:lnTo>
                    <a:lnTo>
                      <a:pt x="3282" y="4300"/>
                    </a:lnTo>
                    <a:lnTo>
                      <a:pt x="3282" y="4300"/>
                    </a:lnTo>
                    <a:lnTo>
                      <a:pt x="3286" y="4302"/>
                    </a:lnTo>
                    <a:lnTo>
                      <a:pt x="3288" y="4300"/>
                    </a:lnTo>
                    <a:lnTo>
                      <a:pt x="3286" y="4296"/>
                    </a:lnTo>
                    <a:lnTo>
                      <a:pt x="3282" y="4292"/>
                    </a:lnTo>
                    <a:lnTo>
                      <a:pt x="3282" y="4292"/>
                    </a:lnTo>
                    <a:lnTo>
                      <a:pt x="3282" y="4290"/>
                    </a:lnTo>
                    <a:lnTo>
                      <a:pt x="3282" y="4288"/>
                    </a:lnTo>
                    <a:lnTo>
                      <a:pt x="3282" y="4284"/>
                    </a:lnTo>
                    <a:lnTo>
                      <a:pt x="3278" y="4280"/>
                    </a:lnTo>
                    <a:lnTo>
                      <a:pt x="3278" y="4280"/>
                    </a:lnTo>
                    <a:lnTo>
                      <a:pt x="3276" y="4276"/>
                    </a:lnTo>
                    <a:lnTo>
                      <a:pt x="3276" y="4272"/>
                    </a:lnTo>
                    <a:lnTo>
                      <a:pt x="3276" y="4260"/>
                    </a:lnTo>
                    <a:lnTo>
                      <a:pt x="3276" y="4248"/>
                    </a:lnTo>
                    <a:lnTo>
                      <a:pt x="3276" y="4242"/>
                    </a:lnTo>
                    <a:lnTo>
                      <a:pt x="3274" y="4240"/>
                    </a:lnTo>
                    <a:lnTo>
                      <a:pt x="3274" y="4240"/>
                    </a:lnTo>
                    <a:lnTo>
                      <a:pt x="3270" y="4236"/>
                    </a:lnTo>
                    <a:lnTo>
                      <a:pt x="3270" y="4234"/>
                    </a:lnTo>
                    <a:lnTo>
                      <a:pt x="3268" y="4230"/>
                    </a:lnTo>
                    <a:lnTo>
                      <a:pt x="3264" y="4226"/>
                    </a:lnTo>
                    <a:lnTo>
                      <a:pt x="3264" y="4226"/>
                    </a:lnTo>
                    <a:close/>
                    <a:moveTo>
                      <a:pt x="2906" y="4970"/>
                    </a:moveTo>
                    <a:lnTo>
                      <a:pt x="2906" y="4970"/>
                    </a:lnTo>
                    <a:lnTo>
                      <a:pt x="2908" y="4964"/>
                    </a:lnTo>
                    <a:lnTo>
                      <a:pt x="2910" y="4962"/>
                    </a:lnTo>
                    <a:lnTo>
                      <a:pt x="2914" y="4960"/>
                    </a:lnTo>
                    <a:lnTo>
                      <a:pt x="2918" y="4958"/>
                    </a:lnTo>
                    <a:lnTo>
                      <a:pt x="2918" y="4956"/>
                    </a:lnTo>
                    <a:lnTo>
                      <a:pt x="2918" y="4950"/>
                    </a:lnTo>
                    <a:lnTo>
                      <a:pt x="2916" y="4942"/>
                    </a:lnTo>
                    <a:lnTo>
                      <a:pt x="2916" y="4942"/>
                    </a:lnTo>
                    <a:lnTo>
                      <a:pt x="2914" y="4932"/>
                    </a:lnTo>
                    <a:lnTo>
                      <a:pt x="2914" y="4924"/>
                    </a:lnTo>
                    <a:lnTo>
                      <a:pt x="2916" y="4918"/>
                    </a:lnTo>
                    <a:lnTo>
                      <a:pt x="2920" y="4912"/>
                    </a:lnTo>
                    <a:lnTo>
                      <a:pt x="2930" y="4902"/>
                    </a:lnTo>
                    <a:lnTo>
                      <a:pt x="2934" y="4898"/>
                    </a:lnTo>
                    <a:lnTo>
                      <a:pt x="2938" y="4892"/>
                    </a:lnTo>
                    <a:lnTo>
                      <a:pt x="2938" y="4892"/>
                    </a:lnTo>
                    <a:lnTo>
                      <a:pt x="2940" y="4888"/>
                    </a:lnTo>
                    <a:lnTo>
                      <a:pt x="2944" y="4886"/>
                    </a:lnTo>
                    <a:lnTo>
                      <a:pt x="2952" y="4882"/>
                    </a:lnTo>
                    <a:lnTo>
                      <a:pt x="2954" y="4882"/>
                    </a:lnTo>
                    <a:lnTo>
                      <a:pt x="2958" y="4878"/>
                    </a:lnTo>
                    <a:lnTo>
                      <a:pt x="2958" y="4872"/>
                    </a:lnTo>
                    <a:lnTo>
                      <a:pt x="2958" y="4862"/>
                    </a:lnTo>
                    <a:lnTo>
                      <a:pt x="2958" y="4862"/>
                    </a:lnTo>
                    <a:lnTo>
                      <a:pt x="2956" y="4840"/>
                    </a:lnTo>
                    <a:lnTo>
                      <a:pt x="2958" y="4822"/>
                    </a:lnTo>
                    <a:lnTo>
                      <a:pt x="2962" y="4808"/>
                    </a:lnTo>
                    <a:lnTo>
                      <a:pt x="2964" y="4804"/>
                    </a:lnTo>
                    <a:lnTo>
                      <a:pt x="2968" y="4800"/>
                    </a:lnTo>
                    <a:lnTo>
                      <a:pt x="2968" y="4800"/>
                    </a:lnTo>
                    <a:lnTo>
                      <a:pt x="2972" y="4796"/>
                    </a:lnTo>
                    <a:lnTo>
                      <a:pt x="2974" y="4792"/>
                    </a:lnTo>
                    <a:lnTo>
                      <a:pt x="2978" y="4792"/>
                    </a:lnTo>
                    <a:lnTo>
                      <a:pt x="2982" y="4796"/>
                    </a:lnTo>
                    <a:lnTo>
                      <a:pt x="2982" y="4796"/>
                    </a:lnTo>
                    <a:lnTo>
                      <a:pt x="2988" y="4800"/>
                    </a:lnTo>
                    <a:lnTo>
                      <a:pt x="2992" y="4802"/>
                    </a:lnTo>
                    <a:lnTo>
                      <a:pt x="3002" y="4802"/>
                    </a:lnTo>
                    <a:lnTo>
                      <a:pt x="3010" y="4800"/>
                    </a:lnTo>
                    <a:lnTo>
                      <a:pt x="3012" y="4798"/>
                    </a:lnTo>
                    <a:lnTo>
                      <a:pt x="3014" y="4796"/>
                    </a:lnTo>
                    <a:lnTo>
                      <a:pt x="3014" y="4796"/>
                    </a:lnTo>
                    <a:lnTo>
                      <a:pt x="3012" y="4792"/>
                    </a:lnTo>
                    <a:lnTo>
                      <a:pt x="3006" y="4786"/>
                    </a:lnTo>
                    <a:lnTo>
                      <a:pt x="2988" y="4770"/>
                    </a:lnTo>
                    <a:lnTo>
                      <a:pt x="2980" y="4760"/>
                    </a:lnTo>
                    <a:lnTo>
                      <a:pt x="2972" y="4752"/>
                    </a:lnTo>
                    <a:lnTo>
                      <a:pt x="2970" y="4744"/>
                    </a:lnTo>
                    <a:lnTo>
                      <a:pt x="2970" y="4742"/>
                    </a:lnTo>
                    <a:lnTo>
                      <a:pt x="2970" y="4738"/>
                    </a:lnTo>
                    <a:lnTo>
                      <a:pt x="2970" y="4738"/>
                    </a:lnTo>
                    <a:lnTo>
                      <a:pt x="2974" y="4734"/>
                    </a:lnTo>
                    <a:lnTo>
                      <a:pt x="2976" y="4730"/>
                    </a:lnTo>
                    <a:lnTo>
                      <a:pt x="2974" y="4726"/>
                    </a:lnTo>
                    <a:lnTo>
                      <a:pt x="2972" y="4722"/>
                    </a:lnTo>
                    <a:lnTo>
                      <a:pt x="2966" y="4714"/>
                    </a:lnTo>
                    <a:lnTo>
                      <a:pt x="2964" y="4708"/>
                    </a:lnTo>
                    <a:lnTo>
                      <a:pt x="2962" y="4702"/>
                    </a:lnTo>
                    <a:lnTo>
                      <a:pt x="2962" y="4702"/>
                    </a:lnTo>
                    <a:lnTo>
                      <a:pt x="2960" y="4696"/>
                    </a:lnTo>
                    <a:lnTo>
                      <a:pt x="2958" y="4692"/>
                    </a:lnTo>
                    <a:lnTo>
                      <a:pt x="2954" y="4690"/>
                    </a:lnTo>
                    <a:lnTo>
                      <a:pt x="2950" y="4686"/>
                    </a:lnTo>
                    <a:lnTo>
                      <a:pt x="2948" y="4684"/>
                    </a:lnTo>
                    <a:lnTo>
                      <a:pt x="2950" y="4678"/>
                    </a:lnTo>
                    <a:lnTo>
                      <a:pt x="2950" y="4678"/>
                    </a:lnTo>
                    <a:lnTo>
                      <a:pt x="2950" y="4672"/>
                    </a:lnTo>
                    <a:lnTo>
                      <a:pt x="2952" y="4668"/>
                    </a:lnTo>
                    <a:lnTo>
                      <a:pt x="2956" y="4666"/>
                    </a:lnTo>
                    <a:lnTo>
                      <a:pt x="2958" y="4666"/>
                    </a:lnTo>
                    <a:lnTo>
                      <a:pt x="2964" y="4666"/>
                    </a:lnTo>
                    <a:lnTo>
                      <a:pt x="2966" y="4666"/>
                    </a:lnTo>
                    <a:lnTo>
                      <a:pt x="2966" y="4666"/>
                    </a:lnTo>
                    <a:lnTo>
                      <a:pt x="2966" y="4666"/>
                    </a:lnTo>
                    <a:lnTo>
                      <a:pt x="2966" y="4662"/>
                    </a:lnTo>
                    <a:lnTo>
                      <a:pt x="2964" y="4658"/>
                    </a:lnTo>
                    <a:lnTo>
                      <a:pt x="2956" y="4648"/>
                    </a:lnTo>
                    <a:lnTo>
                      <a:pt x="2956" y="4648"/>
                    </a:lnTo>
                    <a:lnTo>
                      <a:pt x="2954" y="4644"/>
                    </a:lnTo>
                    <a:lnTo>
                      <a:pt x="2954" y="4642"/>
                    </a:lnTo>
                    <a:lnTo>
                      <a:pt x="2954" y="4640"/>
                    </a:lnTo>
                    <a:lnTo>
                      <a:pt x="2956" y="4638"/>
                    </a:lnTo>
                    <a:lnTo>
                      <a:pt x="2956" y="4638"/>
                    </a:lnTo>
                    <a:lnTo>
                      <a:pt x="2958" y="4638"/>
                    </a:lnTo>
                    <a:lnTo>
                      <a:pt x="2960" y="4636"/>
                    </a:lnTo>
                    <a:lnTo>
                      <a:pt x="2958" y="4630"/>
                    </a:lnTo>
                    <a:lnTo>
                      <a:pt x="2958" y="4628"/>
                    </a:lnTo>
                    <a:lnTo>
                      <a:pt x="2966" y="4632"/>
                    </a:lnTo>
                    <a:lnTo>
                      <a:pt x="2966" y="4632"/>
                    </a:lnTo>
                    <a:lnTo>
                      <a:pt x="2972" y="4636"/>
                    </a:lnTo>
                    <a:lnTo>
                      <a:pt x="2976" y="4636"/>
                    </a:lnTo>
                    <a:lnTo>
                      <a:pt x="2980" y="4632"/>
                    </a:lnTo>
                    <a:lnTo>
                      <a:pt x="2986" y="4632"/>
                    </a:lnTo>
                    <a:lnTo>
                      <a:pt x="2986" y="4632"/>
                    </a:lnTo>
                    <a:lnTo>
                      <a:pt x="2992" y="4630"/>
                    </a:lnTo>
                    <a:lnTo>
                      <a:pt x="2998" y="4628"/>
                    </a:lnTo>
                    <a:lnTo>
                      <a:pt x="2998" y="4626"/>
                    </a:lnTo>
                    <a:lnTo>
                      <a:pt x="2998" y="4624"/>
                    </a:lnTo>
                    <a:lnTo>
                      <a:pt x="2990" y="4618"/>
                    </a:lnTo>
                    <a:lnTo>
                      <a:pt x="2990" y="4618"/>
                    </a:lnTo>
                    <a:lnTo>
                      <a:pt x="2982" y="4610"/>
                    </a:lnTo>
                    <a:lnTo>
                      <a:pt x="2980" y="4606"/>
                    </a:lnTo>
                    <a:lnTo>
                      <a:pt x="2982" y="4602"/>
                    </a:lnTo>
                    <a:lnTo>
                      <a:pt x="2986" y="4598"/>
                    </a:lnTo>
                    <a:lnTo>
                      <a:pt x="2986" y="4598"/>
                    </a:lnTo>
                    <a:lnTo>
                      <a:pt x="2988" y="4598"/>
                    </a:lnTo>
                    <a:lnTo>
                      <a:pt x="2990" y="4598"/>
                    </a:lnTo>
                    <a:lnTo>
                      <a:pt x="2994" y="4600"/>
                    </a:lnTo>
                    <a:lnTo>
                      <a:pt x="3002" y="4600"/>
                    </a:lnTo>
                    <a:lnTo>
                      <a:pt x="3002" y="4600"/>
                    </a:lnTo>
                    <a:lnTo>
                      <a:pt x="3014" y="4596"/>
                    </a:lnTo>
                    <a:lnTo>
                      <a:pt x="3020" y="4592"/>
                    </a:lnTo>
                    <a:lnTo>
                      <a:pt x="3024" y="4586"/>
                    </a:lnTo>
                    <a:lnTo>
                      <a:pt x="3024" y="4580"/>
                    </a:lnTo>
                    <a:lnTo>
                      <a:pt x="3024" y="4580"/>
                    </a:lnTo>
                    <a:lnTo>
                      <a:pt x="3022" y="4578"/>
                    </a:lnTo>
                    <a:lnTo>
                      <a:pt x="3022" y="4576"/>
                    </a:lnTo>
                    <a:lnTo>
                      <a:pt x="3018" y="4576"/>
                    </a:lnTo>
                    <a:lnTo>
                      <a:pt x="3014" y="4578"/>
                    </a:lnTo>
                    <a:lnTo>
                      <a:pt x="3012" y="4578"/>
                    </a:lnTo>
                    <a:lnTo>
                      <a:pt x="3010" y="4576"/>
                    </a:lnTo>
                    <a:lnTo>
                      <a:pt x="3010" y="4576"/>
                    </a:lnTo>
                    <a:lnTo>
                      <a:pt x="3006" y="4572"/>
                    </a:lnTo>
                    <a:lnTo>
                      <a:pt x="3004" y="4572"/>
                    </a:lnTo>
                    <a:lnTo>
                      <a:pt x="3000" y="4570"/>
                    </a:lnTo>
                    <a:lnTo>
                      <a:pt x="2998" y="4566"/>
                    </a:lnTo>
                    <a:lnTo>
                      <a:pt x="2998" y="4566"/>
                    </a:lnTo>
                    <a:lnTo>
                      <a:pt x="2994" y="4562"/>
                    </a:lnTo>
                    <a:lnTo>
                      <a:pt x="2988" y="4560"/>
                    </a:lnTo>
                    <a:lnTo>
                      <a:pt x="2984" y="4560"/>
                    </a:lnTo>
                    <a:lnTo>
                      <a:pt x="2982" y="4560"/>
                    </a:lnTo>
                    <a:lnTo>
                      <a:pt x="2982" y="4560"/>
                    </a:lnTo>
                    <a:lnTo>
                      <a:pt x="2976" y="4564"/>
                    </a:lnTo>
                    <a:lnTo>
                      <a:pt x="2974" y="4564"/>
                    </a:lnTo>
                    <a:lnTo>
                      <a:pt x="2972" y="4562"/>
                    </a:lnTo>
                    <a:lnTo>
                      <a:pt x="2972" y="4562"/>
                    </a:lnTo>
                    <a:lnTo>
                      <a:pt x="2972" y="4560"/>
                    </a:lnTo>
                    <a:lnTo>
                      <a:pt x="2974" y="4558"/>
                    </a:lnTo>
                    <a:lnTo>
                      <a:pt x="2976" y="4556"/>
                    </a:lnTo>
                    <a:lnTo>
                      <a:pt x="2976" y="4550"/>
                    </a:lnTo>
                    <a:lnTo>
                      <a:pt x="2976" y="4550"/>
                    </a:lnTo>
                    <a:lnTo>
                      <a:pt x="2974" y="4548"/>
                    </a:lnTo>
                    <a:lnTo>
                      <a:pt x="2972" y="4548"/>
                    </a:lnTo>
                    <a:lnTo>
                      <a:pt x="2968" y="4548"/>
                    </a:lnTo>
                    <a:lnTo>
                      <a:pt x="2964" y="4550"/>
                    </a:lnTo>
                    <a:lnTo>
                      <a:pt x="2962" y="4550"/>
                    </a:lnTo>
                    <a:lnTo>
                      <a:pt x="2960" y="4548"/>
                    </a:lnTo>
                    <a:lnTo>
                      <a:pt x="2960" y="4548"/>
                    </a:lnTo>
                    <a:lnTo>
                      <a:pt x="2960" y="4542"/>
                    </a:lnTo>
                    <a:lnTo>
                      <a:pt x="2960" y="4536"/>
                    </a:lnTo>
                    <a:lnTo>
                      <a:pt x="2962" y="4530"/>
                    </a:lnTo>
                    <a:lnTo>
                      <a:pt x="2958" y="4522"/>
                    </a:lnTo>
                    <a:lnTo>
                      <a:pt x="2958" y="4522"/>
                    </a:lnTo>
                    <a:lnTo>
                      <a:pt x="2954" y="4518"/>
                    </a:lnTo>
                    <a:lnTo>
                      <a:pt x="2952" y="4520"/>
                    </a:lnTo>
                    <a:lnTo>
                      <a:pt x="2952" y="4520"/>
                    </a:lnTo>
                    <a:lnTo>
                      <a:pt x="2948" y="4520"/>
                    </a:lnTo>
                    <a:lnTo>
                      <a:pt x="2946" y="4518"/>
                    </a:lnTo>
                    <a:lnTo>
                      <a:pt x="2944" y="4510"/>
                    </a:lnTo>
                    <a:lnTo>
                      <a:pt x="2942" y="4504"/>
                    </a:lnTo>
                    <a:lnTo>
                      <a:pt x="2940" y="4502"/>
                    </a:lnTo>
                    <a:lnTo>
                      <a:pt x="2938" y="4502"/>
                    </a:lnTo>
                    <a:lnTo>
                      <a:pt x="2938" y="4502"/>
                    </a:lnTo>
                    <a:lnTo>
                      <a:pt x="2936" y="4504"/>
                    </a:lnTo>
                    <a:lnTo>
                      <a:pt x="2934" y="4508"/>
                    </a:lnTo>
                    <a:lnTo>
                      <a:pt x="2932" y="4514"/>
                    </a:lnTo>
                    <a:lnTo>
                      <a:pt x="2928" y="4520"/>
                    </a:lnTo>
                    <a:lnTo>
                      <a:pt x="2928" y="4520"/>
                    </a:lnTo>
                    <a:lnTo>
                      <a:pt x="2926" y="4522"/>
                    </a:lnTo>
                    <a:lnTo>
                      <a:pt x="2924" y="4520"/>
                    </a:lnTo>
                    <a:lnTo>
                      <a:pt x="2926" y="4512"/>
                    </a:lnTo>
                    <a:lnTo>
                      <a:pt x="2928" y="4504"/>
                    </a:lnTo>
                    <a:lnTo>
                      <a:pt x="2926" y="4500"/>
                    </a:lnTo>
                    <a:lnTo>
                      <a:pt x="2924" y="4500"/>
                    </a:lnTo>
                    <a:lnTo>
                      <a:pt x="2924" y="4500"/>
                    </a:lnTo>
                    <a:lnTo>
                      <a:pt x="2920" y="4502"/>
                    </a:lnTo>
                    <a:lnTo>
                      <a:pt x="2918" y="4506"/>
                    </a:lnTo>
                    <a:lnTo>
                      <a:pt x="2916" y="4514"/>
                    </a:lnTo>
                    <a:lnTo>
                      <a:pt x="2910" y="4528"/>
                    </a:lnTo>
                    <a:lnTo>
                      <a:pt x="2910" y="4528"/>
                    </a:lnTo>
                    <a:lnTo>
                      <a:pt x="2904" y="4538"/>
                    </a:lnTo>
                    <a:lnTo>
                      <a:pt x="2900" y="4542"/>
                    </a:lnTo>
                    <a:lnTo>
                      <a:pt x="2896" y="4544"/>
                    </a:lnTo>
                    <a:lnTo>
                      <a:pt x="2896" y="4548"/>
                    </a:lnTo>
                    <a:lnTo>
                      <a:pt x="2896" y="4548"/>
                    </a:lnTo>
                    <a:lnTo>
                      <a:pt x="2894" y="4556"/>
                    </a:lnTo>
                    <a:lnTo>
                      <a:pt x="2892" y="4558"/>
                    </a:lnTo>
                    <a:lnTo>
                      <a:pt x="2890" y="4560"/>
                    </a:lnTo>
                    <a:lnTo>
                      <a:pt x="2890" y="4562"/>
                    </a:lnTo>
                    <a:lnTo>
                      <a:pt x="2890" y="4562"/>
                    </a:lnTo>
                    <a:lnTo>
                      <a:pt x="2888" y="4570"/>
                    </a:lnTo>
                    <a:lnTo>
                      <a:pt x="2884" y="4572"/>
                    </a:lnTo>
                    <a:lnTo>
                      <a:pt x="2882" y="4574"/>
                    </a:lnTo>
                    <a:lnTo>
                      <a:pt x="2880" y="4572"/>
                    </a:lnTo>
                    <a:lnTo>
                      <a:pt x="2880" y="4572"/>
                    </a:lnTo>
                    <a:lnTo>
                      <a:pt x="2876" y="4570"/>
                    </a:lnTo>
                    <a:lnTo>
                      <a:pt x="2874" y="4572"/>
                    </a:lnTo>
                    <a:lnTo>
                      <a:pt x="2868" y="4580"/>
                    </a:lnTo>
                    <a:lnTo>
                      <a:pt x="2868" y="4580"/>
                    </a:lnTo>
                    <a:lnTo>
                      <a:pt x="2868" y="4582"/>
                    </a:lnTo>
                    <a:lnTo>
                      <a:pt x="2868" y="4584"/>
                    </a:lnTo>
                    <a:lnTo>
                      <a:pt x="2872" y="4586"/>
                    </a:lnTo>
                    <a:lnTo>
                      <a:pt x="2876" y="4592"/>
                    </a:lnTo>
                    <a:lnTo>
                      <a:pt x="2874" y="4594"/>
                    </a:lnTo>
                    <a:lnTo>
                      <a:pt x="2872" y="4598"/>
                    </a:lnTo>
                    <a:lnTo>
                      <a:pt x="2872" y="4598"/>
                    </a:lnTo>
                    <a:lnTo>
                      <a:pt x="2868" y="4602"/>
                    </a:lnTo>
                    <a:lnTo>
                      <a:pt x="2864" y="4600"/>
                    </a:lnTo>
                    <a:lnTo>
                      <a:pt x="2862" y="4600"/>
                    </a:lnTo>
                    <a:lnTo>
                      <a:pt x="2858" y="4604"/>
                    </a:lnTo>
                    <a:lnTo>
                      <a:pt x="2854" y="4608"/>
                    </a:lnTo>
                    <a:lnTo>
                      <a:pt x="2854" y="4604"/>
                    </a:lnTo>
                    <a:lnTo>
                      <a:pt x="2854" y="4604"/>
                    </a:lnTo>
                    <a:lnTo>
                      <a:pt x="2856" y="4598"/>
                    </a:lnTo>
                    <a:lnTo>
                      <a:pt x="2856" y="4596"/>
                    </a:lnTo>
                    <a:lnTo>
                      <a:pt x="2854" y="4596"/>
                    </a:lnTo>
                    <a:lnTo>
                      <a:pt x="2850" y="4598"/>
                    </a:lnTo>
                    <a:lnTo>
                      <a:pt x="2850" y="4598"/>
                    </a:lnTo>
                    <a:lnTo>
                      <a:pt x="2844" y="4602"/>
                    </a:lnTo>
                    <a:lnTo>
                      <a:pt x="2836" y="4610"/>
                    </a:lnTo>
                    <a:lnTo>
                      <a:pt x="2828" y="4616"/>
                    </a:lnTo>
                    <a:lnTo>
                      <a:pt x="2822" y="4618"/>
                    </a:lnTo>
                    <a:lnTo>
                      <a:pt x="2816" y="4618"/>
                    </a:lnTo>
                    <a:lnTo>
                      <a:pt x="2816" y="4618"/>
                    </a:lnTo>
                    <a:lnTo>
                      <a:pt x="2814" y="4618"/>
                    </a:lnTo>
                    <a:lnTo>
                      <a:pt x="2812" y="4618"/>
                    </a:lnTo>
                    <a:lnTo>
                      <a:pt x="2812" y="4630"/>
                    </a:lnTo>
                    <a:lnTo>
                      <a:pt x="2812" y="4630"/>
                    </a:lnTo>
                    <a:lnTo>
                      <a:pt x="2810" y="4634"/>
                    </a:lnTo>
                    <a:lnTo>
                      <a:pt x="2806" y="4640"/>
                    </a:lnTo>
                    <a:lnTo>
                      <a:pt x="2798" y="4652"/>
                    </a:lnTo>
                    <a:lnTo>
                      <a:pt x="2786" y="4666"/>
                    </a:lnTo>
                    <a:lnTo>
                      <a:pt x="2780" y="4674"/>
                    </a:lnTo>
                    <a:lnTo>
                      <a:pt x="2778" y="4684"/>
                    </a:lnTo>
                    <a:lnTo>
                      <a:pt x="2778" y="4684"/>
                    </a:lnTo>
                    <a:lnTo>
                      <a:pt x="2774" y="4688"/>
                    </a:lnTo>
                    <a:lnTo>
                      <a:pt x="2766" y="4692"/>
                    </a:lnTo>
                    <a:lnTo>
                      <a:pt x="2746" y="4696"/>
                    </a:lnTo>
                    <a:lnTo>
                      <a:pt x="2724" y="4700"/>
                    </a:lnTo>
                    <a:lnTo>
                      <a:pt x="2716" y="4704"/>
                    </a:lnTo>
                    <a:lnTo>
                      <a:pt x="2712" y="4706"/>
                    </a:lnTo>
                    <a:lnTo>
                      <a:pt x="2712" y="4706"/>
                    </a:lnTo>
                    <a:lnTo>
                      <a:pt x="2710" y="4710"/>
                    </a:lnTo>
                    <a:lnTo>
                      <a:pt x="2708" y="4716"/>
                    </a:lnTo>
                    <a:lnTo>
                      <a:pt x="2710" y="4724"/>
                    </a:lnTo>
                    <a:lnTo>
                      <a:pt x="2708" y="4728"/>
                    </a:lnTo>
                    <a:lnTo>
                      <a:pt x="2708" y="4728"/>
                    </a:lnTo>
                    <a:lnTo>
                      <a:pt x="2704" y="4726"/>
                    </a:lnTo>
                    <a:lnTo>
                      <a:pt x="2704" y="4726"/>
                    </a:lnTo>
                    <a:lnTo>
                      <a:pt x="2702" y="4724"/>
                    </a:lnTo>
                    <a:lnTo>
                      <a:pt x="2700" y="4724"/>
                    </a:lnTo>
                    <a:lnTo>
                      <a:pt x="2698" y="4728"/>
                    </a:lnTo>
                    <a:lnTo>
                      <a:pt x="2698" y="4734"/>
                    </a:lnTo>
                    <a:lnTo>
                      <a:pt x="2700" y="4738"/>
                    </a:lnTo>
                    <a:lnTo>
                      <a:pt x="2700" y="4738"/>
                    </a:lnTo>
                    <a:lnTo>
                      <a:pt x="2702" y="4738"/>
                    </a:lnTo>
                    <a:lnTo>
                      <a:pt x="2702" y="4740"/>
                    </a:lnTo>
                    <a:lnTo>
                      <a:pt x="2700" y="4742"/>
                    </a:lnTo>
                    <a:lnTo>
                      <a:pt x="2698" y="4750"/>
                    </a:lnTo>
                    <a:lnTo>
                      <a:pt x="2698" y="4750"/>
                    </a:lnTo>
                    <a:lnTo>
                      <a:pt x="2696" y="4756"/>
                    </a:lnTo>
                    <a:lnTo>
                      <a:pt x="2692" y="4760"/>
                    </a:lnTo>
                    <a:lnTo>
                      <a:pt x="2692" y="4764"/>
                    </a:lnTo>
                    <a:lnTo>
                      <a:pt x="2696" y="4768"/>
                    </a:lnTo>
                    <a:lnTo>
                      <a:pt x="2696" y="4768"/>
                    </a:lnTo>
                    <a:lnTo>
                      <a:pt x="2698" y="4772"/>
                    </a:lnTo>
                    <a:lnTo>
                      <a:pt x="2698" y="4774"/>
                    </a:lnTo>
                    <a:lnTo>
                      <a:pt x="2690" y="4768"/>
                    </a:lnTo>
                    <a:lnTo>
                      <a:pt x="2690" y="4768"/>
                    </a:lnTo>
                    <a:lnTo>
                      <a:pt x="2684" y="4766"/>
                    </a:lnTo>
                    <a:lnTo>
                      <a:pt x="2678" y="4766"/>
                    </a:lnTo>
                    <a:lnTo>
                      <a:pt x="2672" y="4764"/>
                    </a:lnTo>
                    <a:lnTo>
                      <a:pt x="2672" y="4762"/>
                    </a:lnTo>
                    <a:lnTo>
                      <a:pt x="2672" y="4760"/>
                    </a:lnTo>
                    <a:lnTo>
                      <a:pt x="2672" y="4760"/>
                    </a:lnTo>
                    <a:lnTo>
                      <a:pt x="2674" y="4756"/>
                    </a:lnTo>
                    <a:lnTo>
                      <a:pt x="2672" y="4756"/>
                    </a:lnTo>
                    <a:lnTo>
                      <a:pt x="2670" y="4756"/>
                    </a:lnTo>
                    <a:lnTo>
                      <a:pt x="2666" y="4754"/>
                    </a:lnTo>
                    <a:lnTo>
                      <a:pt x="2666" y="4754"/>
                    </a:lnTo>
                    <a:lnTo>
                      <a:pt x="2664" y="4752"/>
                    </a:lnTo>
                    <a:lnTo>
                      <a:pt x="2664" y="4754"/>
                    </a:lnTo>
                    <a:lnTo>
                      <a:pt x="2662" y="4756"/>
                    </a:lnTo>
                    <a:lnTo>
                      <a:pt x="2656" y="4758"/>
                    </a:lnTo>
                    <a:lnTo>
                      <a:pt x="2656" y="4758"/>
                    </a:lnTo>
                    <a:lnTo>
                      <a:pt x="2650" y="4758"/>
                    </a:lnTo>
                    <a:lnTo>
                      <a:pt x="2644" y="4756"/>
                    </a:lnTo>
                    <a:lnTo>
                      <a:pt x="2640" y="4750"/>
                    </a:lnTo>
                    <a:lnTo>
                      <a:pt x="2638" y="4742"/>
                    </a:lnTo>
                    <a:lnTo>
                      <a:pt x="2638" y="4742"/>
                    </a:lnTo>
                    <a:lnTo>
                      <a:pt x="2632" y="4744"/>
                    </a:lnTo>
                    <a:lnTo>
                      <a:pt x="2628" y="4746"/>
                    </a:lnTo>
                    <a:lnTo>
                      <a:pt x="2622" y="4750"/>
                    </a:lnTo>
                    <a:lnTo>
                      <a:pt x="2620" y="4758"/>
                    </a:lnTo>
                    <a:lnTo>
                      <a:pt x="2618" y="4764"/>
                    </a:lnTo>
                    <a:lnTo>
                      <a:pt x="2618" y="4764"/>
                    </a:lnTo>
                    <a:lnTo>
                      <a:pt x="2614" y="4772"/>
                    </a:lnTo>
                    <a:lnTo>
                      <a:pt x="2610" y="4780"/>
                    </a:lnTo>
                    <a:lnTo>
                      <a:pt x="2606" y="4802"/>
                    </a:lnTo>
                    <a:lnTo>
                      <a:pt x="2606" y="4812"/>
                    </a:lnTo>
                    <a:lnTo>
                      <a:pt x="2608" y="4820"/>
                    </a:lnTo>
                    <a:lnTo>
                      <a:pt x="2610" y="4826"/>
                    </a:lnTo>
                    <a:lnTo>
                      <a:pt x="2616" y="4830"/>
                    </a:lnTo>
                    <a:lnTo>
                      <a:pt x="2616" y="4830"/>
                    </a:lnTo>
                    <a:lnTo>
                      <a:pt x="2620" y="4834"/>
                    </a:lnTo>
                    <a:lnTo>
                      <a:pt x="2620" y="4836"/>
                    </a:lnTo>
                    <a:lnTo>
                      <a:pt x="2616" y="4844"/>
                    </a:lnTo>
                    <a:lnTo>
                      <a:pt x="2614" y="4848"/>
                    </a:lnTo>
                    <a:lnTo>
                      <a:pt x="2614" y="4854"/>
                    </a:lnTo>
                    <a:lnTo>
                      <a:pt x="2614" y="4858"/>
                    </a:lnTo>
                    <a:lnTo>
                      <a:pt x="2618" y="4864"/>
                    </a:lnTo>
                    <a:lnTo>
                      <a:pt x="2618" y="4864"/>
                    </a:lnTo>
                    <a:lnTo>
                      <a:pt x="2622" y="4870"/>
                    </a:lnTo>
                    <a:lnTo>
                      <a:pt x="2624" y="4874"/>
                    </a:lnTo>
                    <a:lnTo>
                      <a:pt x="2624" y="4876"/>
                    </a:lnTo>
                    <a:lnTo>
                      <a:pt x="2622" y="4878"/>
                    </a:lnTo>
                    <a:lnTo>
                      <a:pt x="2620" y="4880"/>
                    </a:lnTo>
                    <a:lnTo>
                      <a:pt x="2626" y="4882"/>
                    </a:lnTo>
                    <a:lnTo>
                      <a:pt x="2626" y="4882"/>
                    </a:lnTo>
                    <a:lnTo>
                      <a:pt x="2630" y="4886"/>
                    </a:lnTo>
                    <a:lnTo>
                      <a:pt x="2632" y="4888"/>
                    </a:lnTo>
                    <a:lnTo>
                      <a:pt x="2632" y="4890"/>
                    </a:lnTo>
                    <a:lnTo>
                      <a:pt x="2630" y="4892"/>
                    </a:lnTo>
                    <a:lnTo>
                      <a:pt x="2628" y="4898"/>
                    </a:lnTo>
                    <a:lnTo>
                      <a:pt x="2626" y="4900"/>
                    </a:lnTo>
                    <a:lnTo>
                      <a:pt x="2628" y="4902"/>
                    </a:lnTo>
                    <a:lnTo>
                      <a:pt x="2628" y="4902"/>
                    </a:lnTo>
                    <a:lnTo>
                      <a:pt x="2632" y="4904"/>
                    </a:lnTo>
                    <a:lnTo>
                      <a:pt x="2634" y="4904"/>
                    </a:lnTo>
                    <a:lnTo>
                      <a:pt x="2640" y="4900"/>
                    </a:lnTo>
                    <a:lnTo>
                      <a:pt x="2646" y="4898"/>
                    </a:lnTo>
                    <a:lnTo>
                      <a:pt x="2650" y="4898"/>
                    </a:lnTo>
                    <a:lnTo>
                      <a:pt x="2652" y="4902"/>
                    </a:lnTo>
                    <a:lnTo>
                      <a:pt x="2652" y="4902"/>
                    </a:lnTo>
                    <a:lnTo>
                      <a:pt x="2652" y="4908"/>
                    </a:lnTo>
                    <a:lnTo>
                      <a:pt x="2652" y="4910"/>
                    </a:lnTo>
                    <a:lnTo>
                      <a:pt x="2650" y="4918"/>
                    </a:lnTo>
                    <a:lnTo>
                      <a:pt x="2648" y="4926"/>
                    </a:lnTo>
                    <a:lnTo>
                      <a:pt x="2648" y="4934"/>
                    </a:lnTo>
                    <a:lnTo>
                      <a:pt x="2652" y="4942"/>
                    </a:lnTo>
                    <a:lnTo>
                      <a:pt x="2652" y="4942"/>
                    </a:lnTo>
                    <a:lnTo>
                      <a:pt x="2658" y="4960"/>
                    </a:lnTo>
                    <a:lnTo>
                      <a:pt x="2660" y="4972"/>
                    </a:lnTo>
                    <a:lnTo>
                      <a:pt x="2660" y="4980"/>
                    </a:lnTo>
                    <a:lnTo>
                      <a:pt x="2660" y="4984"/>
                    </a:lnTo>
                    <a:lnTo>
                      <a:pt x="2660" y="4986"/>
                    </a:lnTo>
                    <a:lnTo>
                      <a:pt x="2666" y="4986"/>
                    </a:lnTo>
                    <a:lnTo>
                      <a:pt x="2666" y="4986"/>
                    </a:lnTo>
                    <a:lnTo>
                      <a:pt x="2678" y="4988"/>
                    </a:lnTo>
                    <a:lnTo>
                      <a:pt x="2684" y="4992"/>
                    </a:lnTo>
                    <a:lnTo>
                      <a:pt x="2692" y="4992"/>
                    </a:lnTo>
                    <a:lnTo>
                      <a:pt x="2698" y="4986"/>
                    </a:lnTo>
                    <a:lnTo>
                      <a:pt x="2698" y="4986"/>
                    </a:lnTo>
                    <a:lnTo>
                      <a:pt x="2702" y="4982"/>
                    </a:lnTo>
                    <a:lnTo>
                      <a:pt x="2706" y="4982"/>
                    </a:lnTo>
                    <a:lnTo>
                      <a:pt x="2712" y="4982"/>
                    </a:lnTo>
                    <a:lnTo>
                      <a:pt x="2716" y="4984"/>
                    </a:lnTo>
                    <a:lnTo>
                      <a:pt x="2720" y="4986"/>
                    </a:lnTo>
                    <a:lnTo>
                      <a:pt x="2722" y="4992"/>
                    </a:lnTo>
                    <a:lnTo>
                      <a:pt x="2724" y="4996"/>
                    </a:lnTo>
                    <a:lnTo>
                      <a:pt x="2724" y="5002"/>
                    </a:lnTo>
                    <a:lnTo>
                      <a:pt x="2724" y="5002"/>
                    </a:lnTo>
                    <a:lnTo>
                      <a:pt x="2724" y="5010"/>
                    </a:lnTo>
                    <a:lnTo>
                      <a:pt x="2726" y="5012"/>
                    </a:lnTo>
                    <a:lnTo>
                      <a:pt x="2728" y="5012"/>
                    </a:lnTo>
                    <a:lnTo>
                      <a:pt x="2734" y="5010"/>
                    </a:lnTo>
                    <a:lnTo>
                      <a:pt x="2740" y="5004"/>
                    </a:lnTo>
                    <a:lnTo>
                      <a:pt x="2740" y="5004"/>
                    </a:lnTo>
                    <a:lnTo>
                      <a:pt x="2742" y="5002"/>
                    </a:lnTo>
                    <a:lnTo>
                      <a:pt x="2746" y="5002"/>
                    </a:lnTo>
                    <a:lnTo>
                      <a:pt x="2754" y="5004"/>
                    </a:lnTo>
                    <a:lnTo>
                      <a:pt x="2756" y="5004"/>
                    </a:lnTo>
                    <a:lnTo>
                      <a:pt x="2760" y="5004"/>
                    </a:lnTo>
                    <a:lnTo>
                      <a:pt x="2764" y="5002"/>
                    </a:lnTo>
                    <a:lnTo>
                      <a:pt x="2768" y="4998"/>
                    </a:lnTo>
                    <a:lnTo>
                      <a:pt x="2768" y="4998"/>
                    </a:lnTo>
                    <a:lnTo>
                      <a:pt x="2770" y="4992"/>
                    </a:lnTo>
                    <a:lnTo>
                      <a:pt x="2774" y="4990"/>
                    </a:lnTo>
                    <a:lnTo>
                      <a:pt x="2776" y="4990"/>
                    </a:lnTo>
                    <a:lnTo>
                      <a:pt x="2778" y="4992"/>
                    </a:lnTo>
                    <a:lnTo>
                      <a:pt x="2784" y="4996"/>
                    </a:lnTo>
                    <a:lnTo>
                      <a:pt x="2788" y="4998"/>
                    </a:lnTo>
                    <a:lnTo>
                      <a:pt x="2792" y="4998"/>
                    </a:lnTo>
                    <a:lnTo>
                      <a:pt x="2792" y="4998"/>
                    </a:lnTo>
                    <a:lnTo>
                      <a:pt x="2794" y="4998"/>
                    </a:lnTo>
                    <a:lnTo>
                      <a:pt x="2796" y="5000"/>
                    </a:lnTo>
                    <a:lnTo>
                      <a:pt x="2796" y="5004"/>
                    </a:lnTo>
                    <a:lnTo>
                      <a:pt x="2796" y="5006"/>
                    </a:lnTo>
                    <a:lnTo>
                      <a:pt x="2798" y="5008"/>
                    </a:lnTo>
                    <a:lnTo>
                      <a:pt x="2800" y="5008"/>
                    </a:lnTo>
                    <a:lnTo>
                      <a:pt x="2806" y="5006"/>
                    </a:lnTo>
                    <a:lnTo>
                      <a:pt x="2806" y="5006"/>
                    </a:lnTo>
                    <a:lnTo>
                      <a:pt x="2814" y="5004"/>
                    </a:lnTo>
                    <a:lnTo>
                      <a:pt x="2820" y="5004"/>
                    </a:lnTo>
                    <a:lnTo>
                      <a:pt x="2826" y="5008"/>
                    </a:lnTo>
                    <a:lnTo>
                      <a:pt x="2830" y="5012"/>
                    </a:lnTo>
                    <a:lnTo>
                      <a:pt x="2834" y="5016"/>
                    </a:lnTo>
                    <a:lnTo>
                      <a:pt x="2836" y="5022"/>
                    </a:lnTo>
                    <a:lnTo>
                      <a:pt x="2836" y="5030"/>
                    </a:lnTo>
                    <a:lnTo>
                      <a:pt x="2836" y="5036"/>
                    </a:lnTo>
                    <a:lnTo>
                      <a:pt x="2836" y="5036"/>
                    </a:lnTo>
                    <a:lnTo>
                      <a:pt x="2836" y="5040"/>
                    </a:lnTo>
                    <a:lnTo>
                      <a:pt x="2840" y="5042"/>
                    </a:lnTo>
                    <a:lnTo>
                      <a:pt x="2846" y="5040"/>
                    </a:lnTo>
                    <a:lnTo>
                      <a:pt x="2852" y="5036"/>
                    </a:lnTo>
                    <a:lnTo>
                      <a:pt x="2868" y="5026"/>
                    </a:lnTo>
                    <a:lnTo>
                      <a:pt x="2876" y="5024"/>
                    </a:lnTo>
                    <a:lnTo>
                      <a:pt x="2882" y="5022"/>
                    </a:lnTo>
                    <a:lnTo>
                      <a:pt x="2882" y="5022"/>
                    </a:lnTo>
                    <a:lnTo>
                      <a:pt x="2886" y="5020"/>
                    </a:lnTo>
                    <a:lnTo>
                      <a:pt x="2890" y="5018"/>
                    </a:lnTo>
                    <a:lnTo>
                      <a:pt x="2894" y="5008"/>
                    </a:lnTo>
                    <a:lnTo>
                      <a:pt x="2896" y="4996"/>
                    </a:lnTo>
                    <a:lnTo>
                      <a:pt x="2898" y="4986"/>
                    </a:lnTo>
                    <a:lnTo>
                      <a:pt x="2898" y="4986"/>
                    </a:lnTo>
                    <a:lnTo>
                      <a:pt x="2898" y="4982"/>
                    </a:lnTo>
                    <a:lnTo>
                      <a:pt x="2902" y="4980"/>
                    </a:lnTo>
                    <a:lnTo>
                      <a:pt x="2904" y="4978"/>
                    </a:lnTo>
                    <a:lnTo>
                      <a:pt x="2906" y="4970"/>
                    </a:lnTo>
                    <a:lnTo>
                      <a:pt x="2906" y="4970"/>
                    </a:lnTo>
                    <a:close/>
                    <a:moveTo>
                      <a:pt x="2606" y="3938"/>
                    </a:moveTo>
                    <a:lnTo>
                      <a:pt x="2606" y="3938"/>
                    </a:lnTo>
                    <a:lnTo>
                      <a:pt x="2616" y="3942"/>
                    </a:lnTo>
                    <a:lnTo>
                      <a:pt x="2622" y="3944"/>
                    </a:lnTo>
                    <a:lnTo>
                      <a:pt x="2624" y="3944"/>
                    </a:lnTo>
                    <a:lnTo>
                      <a:pt x="2626" y="3944"/>
                    </a:lnTo>
                    <a:lnTo>
                      <a:pt x="2626" y="3944"/>
                    </a:lnTo>
                    <a:lnTo>
                      <a:pt x="2630" y="3948"/>
                    </a:lnTo>
                    <a:lnTo>
                      <a:pt x="2634" y="3950"/>
                    </a:lnTo>
                    <a:lnTo>
                      <a:pt x="2638" y="3948"/>
                    </a:lnTo>
                    <a:lnTo>
                      <a:pt x="2640" y="3942"/>
                    </a:lnTo>
                    <a:lnTo>
                      <a:pt x="2640" y="3942"/>
                    </a:lnTo>
                    <a:lnTo>
                      <a:pt x="2640" y="3940"/>
                    </a:lnTo>
                    <a:lnTo>
                      <a:pt x="2642" y="3940"/>
                    </a:lnTo>
                    <a:lnTo>
                      <a:pt x="2646" y="3940"/>
                    </a:lnTo>
                    <a:lnTo>
                      <a:pt x="2652" y="3938"/>
                    </a:lnTo>
                    <a:lnTo>
                      <a:pt x="2654" y="3938"/>
                    </a:lnTo>
                    <a:lnTo>
                      <a:pt x="2654" y="3934"/>
                    </a:lnTo>
                    <a:lnTo>
                      <a:pt x="2654" y="3934"/>
                    </a:lnTo>
                    <a:lnTo>
                      <a:pt x="2656" y="3930"/>
                    </a:lnTo>
                    <a:lnTo>
                      <a:pt x="2658" y="3928"/>
                    </a:lnTo>
                    <a:lnTo>
                      <a:pt x="2664" y="3926"/>
                    </a:lnTo>
                    <a:lnTo>
                      <a:pt x="2666" y="3924"/>
                    </a:lnTo>
                    <a:lnTo>
                      <a:pt x="2670" y="3922"/>
                    </a:lnTo>
                    <a:lnTo>
                      <a:pt x="2670" y="3918"/>
                    </a:lnTo>
                    <a:lnTo>
                      <a:pt x="2672" y="3912"/>
                    </a:lnTo>
                    <a:lnTo>
                      <a:pt x="2672" y="3912"/>
                    </a:lnTo>
                    <a:lnTo>
                      <a:pt x="2674" y="3902"/>
                    </a:lnTo>
                    <a:lnTo>
                      <a:pt x="2678" y="3892"/>
                    </a:lnTo>
                    <a:lnTo>
                      <a:pt x="2684" y="3884"/>
                    </a:lnTo>
                    <a:lnTo>
                      <a:pt x="2690" y="3878"/>
                    </a:lnTo>
                    <a:lnTo>
                      <a:pt x="2690" y="3878"/>
                    </a:lnTo>
                    <a:lnTo>
                      <a:pt x="2692" y="3874"/>
                    </a:lnTo>
                    <a:lnTo>
                      <a:pt x="2692" y="3868"/>
                    </a:lnTo>
                    <a:lnTo>
                      <a:pt x="2690" y="3862"/>
                    </a:lnTo>
                    <a:lnTo>
                      <a:pt x="2686" y="3858"/>
                    </a:lnTo>
                    <a:lnTo>
                      <a:pt x="2686" y="3858"/>
                    </a:lnTo>
                    <a:lnTo>
                      <a:pt x="2682" y="3856"/>
                    </a:lnTo>
                    <a:lnTo>
                      <a:pt x="2680" y="3854"/>
                    </a:lnTo>
                    <a:lnTo>
                      <a:pt x="2676" y="3852"/>
                    </a:lnTo>
                    <a:lnTo>
                      <a:pt x="2674" y="3854"/>
                    </a:lnTo>
                    <a:lnTo>
                      <a:pt x="2674" y="3854"/>
                    </a:lnTo>
                    <a:lnTo>
                      <a:pt x="2670" y="3856"/>
                    </a:lnTo>
                    <a:lnTo>
                      <a:pt x="2666" y="3856"/>
                    </a:lnTo>
                    <a:lnTo>
                      <a:pt x="2660" y="3856"/>
                    </a:lnTo>
                    <a:lnTo>
                      <a:pt x="2654" y="3858"/>
                    </a:lnTo>
                    <a:lnTo>
                      <a:pt x="2654" y="3858"/>
                    </a:lnTo>
                    <a:lnTo>
                      <a:pt x="2652" y="3860"/>
                    </a:lnTo>
                    <a:lnTo>
                      <a:pt x="2648" y="3860"/>
                    </a:lnTo>
                    <a:lnTo>
                      <a:pt x="2642" y="3858"/>
                    </a:lnTo>
                    <a:lnTo>
                      <a:pt x="2636" y="3858"/>
                    </a:lnTo>
                    <a:lnTo>
                      <a:pt x="2634" y="3858"/>
                    </a:lnTo>
                    <a:lnTo>
                      <a:pt x="2632" y="3862"/>
                    </a:lnTo>
                    <a:lnTo>
                      <a:pt x="2632" y="3862"/>
                    </a:lnTo>
                    <a:lnTo>
                      <a:pt x="2630" y="3864"/>
                    </a:lnTo>
                    <a:lnTo>
                      <a:pt x="2626" y="3864"/>
                    </a:lnTo>
                    <a:lnTo>
                      <a:pt x="2622" y="3862"/>
                    </a:lnTo>
                    <a:lnTo>
                      <a:pt x="2620" y="3864"/>
                    </a:lnTo>
                    <a:lnTo>
                      <a:pt x="2618" y="3866"/>
                    </a:lnTo>
                    <a:lnTo>
                      <a:pt x="2618" y="3866"/>
                    </a:lnTo>
                    <a:lnTo>
                      <a:pt x="2616" y="3870"/>
                    </a:lnTo>
                    <a:lnTo>
                      <a:pt x="2616" y="3872"/>
                    </a:lnTo>
                    <a:lnTo>
                      <a:pt x="2614" y="3874"/>
                    </a:lnTo>
                    <a:lnTo>
                      <a:pt x="2608" y="3882"/>
                    </a:lnTo>
                    <a:lnTo>
                      <a:pt x="2608" y="3882"/>
                    </a:lnTo>
                    <a:lnTo>
                      <a:pt x="2604" y="3886"/>
                    </a:lnTo>
                    <a:lnTo>
                      <a:pt x="2598" y="3890"/>
                    </a:lnTo>
                    <a:lnTo>
                      <a:pt x="2596" y="3896"/>
                    </a:lnTo>
                    <a:lnTo>
                      <a:pt x="2596" y="3908"/>
                    </a:lnTo>
                    <a:lnTo>
                      <a:pt x="2596" y="3908"/>
                    </a:lnTo>
                    <a:lnTo>
                      <a:pt x="2596" y="3920"/>
                    </a:lnTo>
                    <a:lnTo>
                      <a:pt x="2596" y="3926"/>
                    </a:lnTo>
                    <a:lnTo>
                      <a:pt x="2600" y="3932"/>
                    </a:lnTo>
                    <a:lnTo>
                      <a:pt x="2606" y="3938"/>
                    </a:lnTo>
                    <a:lnTo>
                      <a:pt x="2606" y="3938"/>
                    </a:lnTo>
                    <a:close/>
                    <a:moveTo>
                      <a:pt x="3234" y="3626"/>
                    </a:moveTo>
                    <a:lnTo>
                      <a:pt x="3234" y="3626"/>
                    </a:lnTo>
                    <a:lnTo>
                      <a:pt x="3234" y="3624"/>
                    </a:lnTo>
                    <a:lnTo>
                      <a:pt x="3232" y="3624"/>
                    </a:lnTo>
                    <a:lnTo>
                      <a:pt x="3226" y="3626"/>
                    </a:lnTo>
                    <a:lnTo>
                      <a:pt x="3222" y="3632"/>
                    </a:lnTo>
                    <a:lnTo>
                      <a:pt x="3222" y="3634"/>
                    </a:lnTo>
                    <a:lnTo>
                      <a:pt x="3224" y="3636"/>
                    </a:lnTo>
                    <a:lnTo>
                      <a:pt x="3224" y="3636"/>
                    </a:lnTo>
                    <a:lnTo>
                      <a:pt x="3226" y="3636"/>
                    </a:lnTo>
                    <a:lnTo>
                      <a:pt x="3230" y="3634"/>
                    </a:lnTo>
                    <a:lnTo>
                      <a:pt x="3234" y="3626"/>
                    </a:lnTo>
                    <a:lnTo>
                      <a:pt x="3234" y="3626"/>
                    </a:lnTo>
                    <a:close/>
                    <a:moveTo>
                      <a:pt x="3140" y="4236"/>
                    </a:moveTo>
                    <a:lnTo>
                      <a:pt x="3140" y="4236"/>
                    </a:lnTo>
                    <a:lnTo>
                      <a:pt x="3142" y="4224"/>
                    </a:lnTo>
                    <a:lnTo>
                      <a:pt x="3142" y="4222"/>
                    </a:lnTo>
                    <a:lnTo>
                      <a:pt x="3138" y="4224"/>
                    </a:lnTo>
                    <a:lnTo>
                      <a:pt x="3138" y="4224"/>
                    </a:lnTo>
                    <a:lnTo>
                      <a:pt x="3136" y="4226"/>
                    </a:lnTo>
                    <a:lnTo>
                      <a:pt x="3136" y="4226"/>
                    </a:lnTo>
                    <a:lnTo>
                      <a:pt x="3136" y="4230"/>
                    </a:lnTo>
                    <a:lnTo>
                      <a:pt x="3134" y="4236"/>
                    </a:lnTo>
                    <a:lnTo>
                      <a:pt x="3134" y="4236"/>
                    </a:lnTo>
                    <a:lnTo>
                      <a:pt x="3134" y="4240"/>
                    </a:lnTo>
                    <a:lnTo>
                      <a:pt x="3136" y="4242"/>
                    </a:lnTo>
                    <a:lnTo>
                      <a:pt x="3138" y="4242"/>
                    </a:lnTo>
                    <a:lnTo>
                      <a:pt x="3140" y="4236"/>
                    </a:lnTo>
                    <a:lnTo>
                      <a:pt x="3140" y="4236"/>
                    </a:lnTo>
                    <a:close/>
                    <a:moveTo>
                      <a:pt x="3216" y="3638"/>
                    </a:moveTo>
                    <a:lnTo>
                      <a:pt x="3216" y="3638"/>
                    </a:lnTo>
                    <a:lnTo>
                      <a:pt x="3216" y="3634"/>
                    </a:lnTo>
                    <a:lnTo>
                      <a:pt x="3212" y="3632"/>
                    </a:lnTo>
                    <a:lnTo>
                      <a:pt x="3208" y="3632"/>
                    </a:lnTo>
                    <a:lnTo>
                      <a:pt x="3208" y="3632"/>
                    </a:lnTo>
                    <a:lnTo>
                      <a:pt x="3206" y="3636"/>
                    </a:lnTo>
                    <a:lnTo>
                      <a:pt x="3206" y="3636"/>
                    </a:lnTo>
                    <a:lnTo>
                      <a:pt x="3208" y="3638"/>
                    </a:lnTo>
                    <a:lnTo>
                      <a:pt x="3210" y="3640"/>
                    </a:lnTo>
                    <a:lnTo>
                      <a:pt x="3214" y="3640"/>
                    </a:lnTo>
                    <a:lnTo>
                      <a:pt x="3216" y="3638"/>
                    </a:lnTo>
                    <a:lnTo>
                      <a:pt x="3216" y="3638"/>
                    </a:lnTo>
                    <a:close/>
                    <a:moveTo>
                      <a:pt x="3130" y="4102"/>
                    </a:moveTo>
                    <a:lnTo>
                      <a:pt x="3130" y="4102"/>
                    </a:lnTo>
                    <a:lnTo>
                      <a:pt x="3128" y="4106"/>
                    </a:lnTo>
                    <a:lnTo>
                      <a:pt x="3128" y="4108"/>
                    </a:lnTo>
                    <a:lnTo>
                      <a:pt x="3132" y="4120"/>
                    </a:lnTo>
                    <a:lnTo>
                      <a:pt x="3132" y="4120"/>
                    </a:lnTo>
                    <a:lnTo>
                      <a:pt x="3134" y="4124"/>
                    </a:lnTo>
                    <a:lnTo>
                      <a:pt x="3136" y="4124"/>
                    </a:lnTo>
                    <a:lnTo>
                      <a:pt x="3136" y="4120"/>
                    </a:lnTo>
                    <a:lnTo>
                      <a:pt x="3136" y="4116"/>
                    </a:lnTo>
                    <a:lnTo>
                      <a:pt x="3136" y="4116"/>
                    </a:lnTo>
                    <a:lnTo>
                      <a:pt x="3134" y="4104"/>
                    </a:lnTo>
                    <a:lnTo>
                      <a:pt x="3132" y="4102"/>
                    </a:lnTo>
                    <a:lnTo>
                      <a:pt x="3130" y="4102"/>
                    </a:lnTo>
                    <a:lnTo>
                      <a:pt x="3130" y="4102"/>
                    </a:lnTo>
                    <a:close/>
                    <a:moveTo>
                      <a:pt x="3462" y="5402"/>
                    </a:moveTo>
                    <a:lnTo>
                      <a:pt x="3462" y="5402"/>
                    </a:lnTo>
                    <a:lnTo>
                      <a:pt x="3462" y="5410"/>
                    </a:lnTo>
                    <a:lnTo>
                      <a:pt x="3462" y="5414"/>
                    </a:lnTo>
                    <a:lnTo>
                      <a:pt x="3466" y="5416"/>
                    </a:lnTo>
                    <a:lnTo>
                      <a:pt x="3472" y="5418"/>
                    </a:lnTo>
                    <a:lnTo>
                      <a:pt x="3472" y="5418"/>
                    </a:lnTo>
                    <a:lnTo>
                      <a:pt x="3476" y="5418"/>
                    </a:lnTo>
                    <a:lnTo>
                      <a:pt x="3478" y="5416"/>
                    </a:lnTo>
                    <a:lnTo>
                      <a:pt x="3478" y="5412"/>
                    </a:lnTo>
                    <a:lnTo>
                      <a:pt x="3474" y="5404"/>
                    </a:lnTo>
                    <a:lnTo>
                      <a:pt x="3474" y="5404"/>
                    </a:lnTo>
                    <a:lnTo>
                      <a:pt x="3468" y="5398"/>
                    </a:lnTo>
                    <a:lnTo>
                      <a:pt x="3464" y="5394"/>
                    </a:lnTo>
                    <a:lnTo>
                      <a:pt x="3462" y="5396"/>
                    </a:lnTo>
                    <a:lnTo>
                      <a:pt x="3462" y="5402"/>
                    </a:lnTo>
                    <a:lnTo>
                      <a:pt x="3462" y="5402"/>
                    </a:lnTo>
                    <a:close/>
                    <a:moveTo>
                      <a:pt x="4244" y="2492"/>
                    </a:moveTo>
                    <a:lnTo>
                      <a:pt x="4244" y="2492"/>
                    </a:lnTo>
                    <a:lnTo>
                      <a:pt x="4244" y="2496"/>
                    </a:lnTo>
                    <a:lnTo>
                      <a:pt x="4248" y="2496"/>
                    </a:lnTo>
                    <a:lnTo>
                      <a:pt x="4256" y="2492"/>
                    </a:lnTo>
                    <a:lnTo>
                      <a:pt x="4264" y="2486"/>
                    </a:lnTo>
                    <a:lnTo>
                      <a:pt x="4280" y="2470"/>
                    </a:lnTo>
                    <a:lnTo>
                      <a:pt x="4284" y="2464"/>
                    </a:lnTo>
                    <a:lnTo>
                      <a:pt x="4284" y="2460"/>
                    </a:lnTo>
                    <a:lnTo>
                      <a:pt x="4284" y="2460"/>
                    </a:lnTo>
                    <a:lnTo>
                      <a:pt x="4282" y="2460"/>
                    </a:lnTo>
                    <a:lnTo>
                      <a:pt x="4276" y="2460"/>
                    </a:lnTo>
                    <a:lnTo>
                      <a:pt x="4266" y="2466"/>
                    </a:lnTo>
                    <a:lnTo>
                      <a:pt x="4254" y="2476"/>
                    </a:lnTo>
                    <a:lnTo>
                      <a:pt x="4248" y="2484"/>
                    </a:lnTo>
                    <a:lnTo>
                      <a:pt x="4244" y="2492"/>
                    </a:lnTo>
                    <a:lnTo>
                      <a:pt x="4244" y="2492"/>
                    </a:lnTo>
                    <a:close/>
                    <a:moveTo>
                      <a:pt x="4364" y="2396"/>
                    </a:moveTo>
                    <a:lnTo>
                      <a:pt x="4364" y="2396"/>
                    </a:lnTo>
                    <a:lnTo>
                      <a:pt x="4368" y="2398"/>
                    </a:lnTo>
                    <a:lnTo>
                      <a:pt x="4370" y="2396"/>
                    </a:lnTo>
                    <a:lnTo>
                      <a:pt x="4370" y="2394"/>
                    </a:lnTo>
                    <a:lnTo>
                      <a:pt x="4368" y="2392"/>
                    </a:lnTo>
                    <a:lnTo>
                      <a:pt x="4368" y="2392"/>
                    </a:lnTo>
                    <a:lnTo>
                      <a:pt x="4366" y="2390"/>
                    </a:lnTo>
                    <a:lnTo>
                      <a:pt x="4364" y="2392"/>
                    </a:lnTo>
                    <a:lnTo>
                      <a:pt x="4364" y="2394"/>
                    </a:lnTo>
                    <a:lnTo>
                      <a:pt x="4364" y="2396"/>
                    </a:lnTo>
                    <a:lnTo>
                      <a:pt x="4364" y="2396"/>
                    </a:lnTo>
                    <a:close/>
                    <a:moveTo>
                      <a:pt x="4388" y="2374"/>
                    </a:moveTo>
                    <a:lnTo>
                      <a:pt x="4388" y="2374"/>
                    </a:lnTo>
                    <a:lnTo>
                      <a:pt x="4392" y="2376"/>
                    </a:lnTo>
                    <a:lnTo>
                      <a:pt x="4392" y="2374"/>
                    </a:lnTo>
                    <a:lnTo>
                      <a:pt x="4394" y="2370"/>
                    </a:lnTo>
                    <a:lnTo>
                      <a:pt x="4392" y="2368"/>
                    </a:lnTo>
                    <a:lnTo>
                      <a:pt x="4392" y="2368"/>
                    </a:lnTo>
                    <a:lnTo>
                      <a:pt x="4390" y="2366"/>
                    </a:lnTo>
                    <a:lnTo>
                      <a:pt x="4388" y="2368"/>
                    </a:lnTo>
                    <a:lnTo>
                      <a:pt x="4388" y="2372"/>
                    </a:lnTo>
                    <a:lnTo>
                      <a:pt x="4388" y="2374"/>
                    </a:lnTo>
                    <a:lnTo>
                      <a:pt x="4388" y="2374"/>
                    </a:lnTo>
                    <a:close/>
                    <a:moveTo>
                      <a:pt x="264" y="3518"/>
                    </a:moveTo>
                    <a:lnTo>
                      <a:pt x="264" y="3518"/>
                    </a:lnTo>
                    <a:lnTo>
                      <a:pt x="266" y="3518"/>
                    </a:lnTo>
                    <a:lnTo>
                      <a:pt x="264" y="3518"/>
                    </a:lnTo>
                    <a:lnTo>
                      <a:pt x="264" y="3518"/>
                    </a:lnTo>
                    <a:lnTo>
                      <a:pt x="264" y="3518"/>
                    </a:lnTo>
                    <a:lnTo>
                      <a:pt x="264" y="3518"/>
                    </a:lnTo>
                    <a:close/>
                    <a:moveTo>
                      <a:pt x="5798" y="1166"/>
                    </a:moveTo>
                    <a:lnTo>
                      <a:pt x="5798" y="1166"/>
                    </a:lnTo>
                    <a:lnTo>
                      <a:pt x="5790" y="1156"/>
                    </a:lnTo>
                    <a:lnTo>
                      <a:pt x="5782" y="1148"/>
                    </a:lnTo>
                    <a:lnTo>
                      <a:pt x="5772" y="1144"/>
                    </a:lnTo>
                    <a:lnTo>
                      <a:pt x="5760" y="1140"/>
                    </a:lnTo>
                    <a:lnTo>
                      <a:pt x="5732" y="1138"/>
                    </a:lnTo>
                    <a:lnTo>
                      <a:pt x="5698" y="1136"/>
                    </a:lnTo>
                    <a:lnTo>
                      <a:pt x="5698" y="1136"/>
                    </a:lnTo>
                    <a:lnTo>
                      <a:pt x="5692" y="1138"/>
                    </a:lnTo>
                    <a:lnTo>
                      <a:pt x="5688" y="1140"/>
                    </a:lnTo>
                    <a:lnTo>
                      <a:pt x="5686" y="1144"/>
                    </a:lnTo>
                    <a:lnTo>
                      <a:pt x="5686" y="1148"/>
                    </a:lnTo>
                    <a:lnTo>
                      <a:pt x="5690" y="1160"/>
                    </a:lnTo>
                    <a:lnTo>
                      <a:pt x="5696" y="1172"/>
                    </a:lnTo>
                    <a:lnTo>
                      <a:pt x="5702" y="1184"/>
                    </a:lnTo>
                    <a:lnTo>
                      <a:pt x="5704" y="1190"/>
                    </a:lnTo>
                    <a:lnTo>
                      <a:pt x="5704" y="1192"/>
                    </a:lnTo>
                    <a:lnTo>
                      <a:pt x="5700" y="1192"/>
                    </a:lnTo>
                    <a:lnTo>
                      <a:pt x="5684" y="1186"/>
                    </a:lnTo>
                    <a:lnTo>
                      <a:pt x="5684" y="1186"/>
                    </a:lnTo>
                    <a:lnTo>
                      <a:pt x="5676" y="1180"/>
                    </a:lnTo>
                    <a:lnTo>
                      <a:pt x="5670" y="1174"/>
                    </a:lnTo>
                    <a:lnTo>
                      <a:pt x="5666" y="1168"/>
                    </a:lnTo>
                    <a:lnTo>
                      <a:pt x="5664" y="1162"/>
                    </a:lnTo>
                    <a:lnTo>
                      <a:pt x="5664" y="1150"/>
                    </a:lnTo>
                    <a:lnTo>
                      <a:pt x="5666" y="1138"/>
                    </a:lnTo>
                    <a:lnTo>
                      <a:pt x="5666" y="1126"/>
                    </a:lnTo>
                    <a:lnTo>
                      <a:pt x="5664" y="1120"/>
                    </a:lnTo>
                    <a:lnTo>
                      <a:pt x="5660" y="1114"/>
                    </a:lnTo>
                    <a:lnTo>
                      <a:pt x="5654" y="1106"/>
                    </a:lnTo>
                    <a:lnTo>
                      <a:pt x="5646" y="1100"/>
                    </a:lnTo>
                    <a:lnTo>
                      <a:pt x="5634" y="1092"/>
                    </a:lnTo>
                    <a:lnTo>
                      <a:pt x="5618" y="1084"/>
                    </a:lnTo>
                    <a:lnTo>
                      <a:pt x="5618" y="1084"/>
                    </a:lnTo>
                    <a:lnTo>
                      <a:pt x="5580" y="1068"/>
                    </a:lnTo>
                    <a:lnTo>
                      <a:pt x="5546" y="1050"/>
                    </a:lnTo>
                    <a:lnTo>
                      <a:pt x="5478" y="1014"/>
                    </a:lnTo>
                    <a:lnTo>
                      <a:pt x="5478" y="1008"/>
                    </a:lnTo>
                    <a:lnTo>
                      <a:pt x="5478" y="1008"/>
                    </a:lnTo>
                    <a:lnTo>
                      <a:pt x="5448" y="994"/>
                    </a:lnTo>
                    <a:lnTo>
                      <a:pt x="5418" y="982"/>
                    </a:lnTo>
                    <a:lnTo>
                      <a:pt x="5386" y="970"/>
                    </a:lnTo>
                    <a:lnTo>
                      <a:pt x="5356" y="962"/>
                    </a:lnTo>
                    <a:lnTo>
                      <a:pt x="5356" y="962"/>
                    </a:lnTo>
                    <a:lnTo>
                      <a:pt x="5310" y="952"/>
                    </a:lnTo>
                    <a:lnTo>
                      <a:pt x="5294" y="946"/>
                    </a:lnTo>
                    <a:lnTo>
                      <a:pt x="5270" y="944"/>
                    </a:lnTo>
                    <a:lnTo>
                      <a:pt x="5210" y="940"/>
                    </a:lnTo>
                    <a:lnTo>
                      <a:pt x="5210" y="940"/>
                    </a:lnTo>
                    <a:lnTo>
                      <a:pt x="5170" y="936"/>
                    </a:lnTo>
                    <a:lnTo>
                      <a:pt x="5144" y="930"/>
                    </a:lnTo>
                    <a:lnTo>
                      <a:pt x="5126" y="924"/>
                    </a:lnTo>
                    <a:lnTo>
                      <a:pt x="5116" y="918"/>
                    </a:lnTo>
                    <a:lnTo>
                      <a:pt x="5108" y="916"/>
                    </a:lnTo>
                    <a:lnTo>
                      <a:pt x="5102" y="918"/>
                    </a:lnTo>
                    <a:lnTo>
                      <a:pt x="5096" y="926"/>
                    </a:lnTo>
                    <a:lnTo>
                      <a:pt x="5086" y="942"/>
                    </a:lnTo>
                    <a:lnTo>
                      <a:pt x="5086" y="942"/>
                    </a:lnTo>
                    <a:lnTo>
                      <a:pt x="5080" y="950"/>
                    </a:lnTo>
                    <a:lnTo>
                      <a:pt x="5078" y="958"/>
                    </a:lnTo>
                    <a:lnTo>
                      <a:pt x="5078" y="964"/>
                    </a:lnTo>
                    <a:lnTo>
                      <a:pt x="5080" y="968"/>
                    </a:lnTo>
                    <a:lnTo>
                      <a:pt x="5084" y="972"/>
                    </a:lnTo>
                    <a:lnTo>
                      <a:pt x="5088" y="974"/>
                    </a:lnTo>
                    <a:lnTo>
                      <a:pt x="5100" y="978"/>
                    </a:lnTo>
                    <a:lnTo>
                      <a:pt x="5110" y="982"/>
                    </a:lnTo>
                    <a:lnTo>
                      <a:pt x="5114" y="986"/>
                    </a:lnTo>
                    <a:lnTo>
                      <a:pt x="5116" y="988"/>
                    </a:lnTo>
                    <a:lnTo>
                      <a:pt x="5116" y="992"/>
                    </a:lnTo>
                    <a:lnTo>
                      <a:pt x="5114" y="998"/>
                    </a:lnTo>
                    <a:lnTo>
                      <a:pt x="5108" y="1004"/>
                    </a:lnTo>
                    <a:lnTo>
                      <a:pt x="5100" y="1012"/>
                    </a:lnTo>
                    <a:lnTo>
                      <a:pt x="5100" y="1012"/>
                    </a:lnTo>
                    <a:lnTo>
                      <a:pt x="5084" y="1024"/>
                    </a:lnTo>
                    <a:lnTo>
                      <a:pt x="5076" y="1028"/>
                    </a:lnTo>
                    <a:lnTo>
                      <a:pt x="5072" y="1030"/>
                    </a:lnTo>
                    <a:lnTo>
                      <a:pt x="5068" y="1028"/>
                    </a:lnTo>
                    <a:lnTo>
                      <a:pt x="5064" y="1026"/>
                    </a:lnTo>
                    <a:lnTo>
                      <a:pt x="5058" y="1020"/>
                    </a:lnTo>
                    <a:lnTo>
                      <a:pt x="5052" y="1012"/>
                    </a:lnTo>
                    <a:lnTo>
                      <a:pt x="5044" y="1004"/>
                    </a:lnTo>
                    <a:lnTo>
                      <a:pt x="5040" y="1000"/>
                    </a:lnTo>
                    <a:lnTo>
                      <a:pt x="5034" y="996"/>
                    </a:lnTo>
                    <a:lnTo>
                      <a:pt x="5028" y="996"/>
                    </a:lnTo>
                    <a:lnTo>
                      <a:pt x="5020" y="994"/>
                    </a:lnTo>
                    <a:lnTo>
                      <a:pt x="5020" y="994"/>
                    </a:lnTo>
                    <a:lnTo>
                      <a:pt x="5012" y="994"/>
                    </a:lnTo>
                    <a:lnTo>
                      <a:pt x="5006" y="992"/>
                    </a:lnTo>
                    <a:lnTo>
                      <a:pt x="5004" y="990"/>
                    </a:lnTo>
                    <a:lnTo>
                      <a:pt x="5002" y="988"/>
                    </a:lnTo>
                    <a:lnTo>
                      <a:pt x="5000" y="978"/>
                    </a:lnTo>
                    <a:lnTo>
                      <a:pt x="5000" y="970"/>
                    </a:lnTo>
                    <a:lnTo>
                      <a:pt x="5000" y="962"/>
                    </a:lnTo>
                    <a:lnTo>
                      <a:pt x="4998" y="960"/>
                    </a:lnTo>
                    <a:lnTo>
                      <a:pt x="4994" y="958"/>
                    </a:lnTo>
                    <a:lnTo>
                      <a:pt x="4988" y="956"/>
                    </a:lnTo>
                    <a:lnTo>
                      <a:pt x="4980" y="958"/>
                    </a:lnTo>
                    <a:lnTo>
                      <a:pt x="4958" y="964"/>
                    </a:lnTo>
                    <a:lnTo>
                      <a:pt x="4958" y="964"/>
                    </a:lnTo>
                    <a:lnTo>
                      <a:pt x="4944" y="968"/>
                    </a:lnTo>
                    <a:lnTo>
                      <a:pt x="4930" y="970"/>
                    </a:lnTo>
                    <a:lnTo>
                      <a:pt x="4920" y="972"/>
                    </a:lnTo>
                    <a:lnTo>
                      <a:pt x="4908" y="972"/>
                    </a:lnTo>
                    <a:lnTo>
                      <a:pt x="4890" y="968"/>
                    </a:lnTo>
                    <a:lnTo>
                      <a:pt x="4870" y="964"/>
                    </a:lnTo>
                    <a:lnTo>
                      <a:pt x="4850" y="958"/>
                    </a:lnTo>
                    <a:lnTo>
                      <a:pt x="4828" y="954"/>
                    </a:lnTo>
                    <a:lnTo>
                      <a:pt x="4814" y="954"/>
                    </a:lnTo>
                    <a:lnTo>
                      <a:pt x="4800" y="954"/>
                    </a:lnTo>
                    <a:lnTo>
                      <a:pt x="4784" y="956"/>
                    </a:lnTo>
                    <a:lnTo>
                      <a:pt x="4766" y="958"/>
                    </a:lnTo>
                    <a:lnTo>
                      <a:pt x="4766" y="958"/>
                    </a:lnTo>
                    <a:lnTo>
                      <a:pt x="4732" y="966"/>
                    </a:lnTo>
                    <a:lnTo>
                      <a:pt x="4706" y="966"/>
                    </a:lnTo>
                    <a:lnTo>
                      <a:pt x="4686" y="964"/>
                    </a:lnTo>
                    <a:lnTo>
                      <a:pt x="4674" y="960"/>
                    </a:lnTo>
                    <a:lnTo>
                      <a:pt x="4668" y="956"/>
                    </a:lnTo>
                    <a:lnTo>
                      <a:pt x="4666" y="952"/>
                    </a:lnTo>
                    <a:lnTo>
                      <a:pt x="4662" y="944"/>
                    </a:lnTo>
                    <a:lnTo>
                      <a:pt x="4664" y="934"/>
                    </a:lnTo>
                    <a:lnTo>
                      <a:pt x="4668" y="924"/>
                    </a:lnTo>
                    <a:lnTo>
                      <a:pt x="4668" y="924"/>
                    </a:lnTo>
                    <a:lnTo>
                      <a:pt x="4670" y="918"/>
                    </a:lnTo>
                    <a:lnTo>
                      <a:pt x="4670" y="912"/>
                    </a:lnTo>
                    <a:lnTo>
                      <a:pt x="4668" y="906"/>
                    </a:lnTo>
                    <a:lnTo>
                      <a:pt x="4662" y="898"/>
                    </a:lnTo>
                    <a:lnTo>
                      <a:pt x="4656" y="892"/>
                    </a:lnTo>
                    <a:lnTo>
                      <a:pt x="4648" y="884"/>
                    </a:lnTo>
                    <a:lnTo>
                      <a:pt x="4636" y="878"/>
                    </a:lnTo>
                    <a:lnTo>
                      <a:pt x="4624" y="872"/>
                    </a:lnTo>
                    <a:lnTo>
                      <a:pt x="4608" y="868"/>
                    </a:lnTo>
                    <a:lnTo>
                      <a:pt x="4592" y="862"/>
                    </a:lnTo>
                    <a:lnTo>
                      <a:pt x="4572" y="860"/>
                    </a:lnTo>
                    <a:lnTo>
                      <a:pt x="4552" y="856"/>
                    </a:lnTo>
                    <a:lnTo>
                      <a:pt x="4528" y="856"/>
                    </a:lnTo>
                    <a:lnTo>
                      <a:pt x="4504" y="856"/>
                    </a:lnTo>
                    <a:lnTo>
                      <a:pt x="4476" y="860"/>
                    </a:lnTo>
                    <a:lnTo>
                      <a:pt x="4448" y="864"/>
                    </a:lnTo>
                    <a:lnTo>
                      <a:pt x="4448" y="864"/>
                    </a:lnTo>
                    <a:lnTo>
                      <a:pt x="4420" y="868"/>
                    </a:lnTo>
                    <a:lnTo>
                      <a:pt x="4396" y="870"/>
                    </a:lnTo>
                    <a:lnTo>
                      <a:pt x="4374" y="868"/>
                    </a:lnTo>
                    <a:lnTo>
                      <a:pt x="4358" y="866"/>
                    </a:lnTo>
                    <a:lnTo>
                      <a:pt x="4342" y="860"/>
                    </a:lnTo>
                    <a:lnTo>
                      <a:pt x="4328" y="854"/>
                    </a:lnTo>
                    <a:lnTo>
                      <a:pt x="4318" y="848"/>
                    </a:lnTo>
                    <a:lnTo>
                      <a:pt x="4308" y="840"/>
                    </a:lnTo>
                    <a:lnTo>
                      <a:pt x="4292" y="822"/>
                    </a:lnTo>
                    <a:lnTo>
                      <a:pt x="4278" y="804"/>
                    </a:lnTo>
                    <a:lnTo>
                      <a:pt x="4264" y="788"/>
                    </a:lnTo>
                    <a:lnTo>
                      <a:pt x="4256" y="782"/>
                    </a:lnTo>
                    <a:lnTo>
                      <a:pt x="4246" y="778"/>
                    </a:lnTo>
                    <a:lnTo>
                      <a:pt x="4246" y="778"/>
                    </a:lnTo>
                    <a:lnTo>
                      <a:pt x="4228" y="772"/>
                    </a:lnTo>
                    <a:lnTo>
                      <a:pt x="4214" y="768"/>
                    </a:lnTo>
                    <a:lnTo>
                      <a:pt x="4186" y="768"/>
                    </a:lnTo>
                    <a:lnTo>
                      <a:pt x="4154" y="764"/>
                    </a:lnTo>
                    <a:lnTo>
                      <a:pt x="4130" y="762"/>
                    </a:lnTo>
                    <a:lnTo>
                      <a:pt x="4100" y="754"/>
                    </a:lnTo>
                    <a:lnTo>
                      <a:pt x="4100" y="754"/>
                    </a:lnTo>
                    <a:lnTo>
                      <a:pt x="4068" y="748"/>
                    </a:lnTo>
                    <a:lnTo>
                      <a:pt x="4044" y="744"/>
                    </a:lnTo>
                    <a:lnTo>
                      <a:pt x="4002" y="740"/>
                    </a:lnTo>
                    <a:lnTo>
                      <a:pt x="3964" y="738"/>
                    </a:lnTo>
                    <a:lnTo>
                      <a:pt x="3944" y="734"/>
                    </a:lnTo>
                    <a:lnTo>
                      <a:pt x="3922" y="730"/>
                    </a:lnTo>
                    <a:lnTo>
                      <a:pt x="3922" y="730"/>
                    </a:lnTo>
                    <a:lnTo>
                      <a:pt x="3902" y="724"/>
                    </a:lnTo>
                    <a:lnTo>
                      <a:pt x="3892" y="724"/>
                    </a:lnTo>
                    <a:lnTo>
                      <a:pt x="3892" y="726"/>
                    </a:lnTo>
                    <a:lnTo>
                      <a:pt x="3890" y="728"/>
                    </a:lnTo>
                    <a:lnTo>
                      <a:pt x="3890" y="734"/>
                    </a:lnTo>
                    <a:lnTo>
                      <a:pt x="3892" y="740"/>
                    </a:lnTo>
                    <a:lnTo>
                      <a:pt x="3890" y="744"/>
                    </a:lnTo>
                    <a:lnTo>
                      <a:pt x="3888" y="746"/>
                    </a:lnTo>
                    <a:lnTo>
                      <a:pt x="3882" y="750"/>
                    </a:lnTo>
                    <a:lnTo>
                      <a:pt x="3876" y="752"/>
                    </a:lnTo>
                    <a:lnTo>
                      <a:pt x="3854" y="754"/>
                    </a:lnTo>
                    <a:lnTo>
                      <a:pt x="3854" y="754"/>
                    </a:lnTo>
                    <a:lnTo>
                      <a:pt x="3842" y="756"/>
                    </a:lnTo>
                    <a:lnTo>
                      <a:pt x="3834" y="758"/>
                    </a:lnTo>
                    <a:lnTo>
                      <a:pt x="3830" y="764"/>
                    </a:lnTo>
                    <a:lnTo>
                      <a:pt x="3830" y="768"/>
                    </a:lnTo>
                    <a:lnTo>
                      <a:pt x="3832" y="776"/>
                    </a:lnTo>
                    <a:lnTo>
                      <a:pt x="3836" y="782"/>
                    </a:lnTo>
                    <a:lnTo>
                      <a:pt x="3846" y="798"/>
                    </a:lnTo>
                    <a:lnTo>
                      <a:pt x="3856" y="812"/>
                    </a:lnTo>
                    <a:lnTo>
                      <a:pt x="3860" y="818"/>
                    </a:lnTo>
                    <a:lnTo>
                      <a:pt x="3862" y="822"/>
                    </a:lnTo>
                    <a:lnTo>
                      <a:pt x="3860" y="826"/>
                    </a:lnTo>
                    <a:lnTo>
                      <a:pt x="3856" y="828"/>
                    </a:lnTo>
                    <a:lnTo>
                      <a:pt x="3848" y="826"/>
                    </a:lnTo>
                    <a:lnTo>
                      <a:pt x="3836" y="824"/>
                    </a:lnTo>
                    <a:lnTo>
                      <a:pt x="3836" y="824"/>
                    </a:lnTo>
                    <a:lnTo>
                      <a:pt x="3810" y="818"/>
                    </a:lnTo>
                    <a:lnTo>
                      <a:pt x="3792" y="818"/>
                    </a:lnTo>
                    <a:lnTo>
                      <a:pt x="3778" y="818"/>
                    </a:lnTo>
                    <a:lnTo>
                      <a:pt x="3770" y="820"/>
                    </a:lnTo>
                    <a:lnTo>
                      <a:pt x="3760" y="824"/>
                    </a:lnTo>
                    <a:lnTo>
                      <a:pt x="3750" y="824"/>
                    </a:lnTo>
                    <a:lnTo>
                      <a:pt x="3736" y="824"/>
                    </a:lnTo>
                    <a:lnTo>
                      <a:pt x="3716" y="820"/>
                    </a:lnTo>
                    <a:lnTo>
                      <a:pt x="3716" y="820"/>
                    </a:lnTo>
                    <a:lnTo>
                      <a:pt x="3704" y="818"/>
                    </a:lnTo>
                    <a:lnTo>
                      <a:pt x="3694" y="818"/>
                    </a:lnTo>
                    <a:lnTo>
                      <a:pt x="3686" y="818"/>
                    </a:lnTo>
                    <a:lnTo>
                      <a:pt x="3676" y="820"/>
                    </a:lnTo>
                    <a:lnTo>
                      <a:pt x="3662" y="826"/>
                    </a:lnTo>
                    <a:lnTo>
                      <a:pt x="3650" y="832"/>
                    </a:lnTo>
                    <a:lnTo>
                      <a:pt x="3638" y="836"/>
                    </a:lnTo>
                    <a:lnTo>
                      <a:pt x="3632" y="838"/>
                    </a:lnTo>
                    <a:lnTo>
                      <a:pt x="3624" y="836"/>
                    </a:lnTo>
                    <a:lnTo>
                      <a:pt x="3616" y="836"/>
                    </a:lnTo>
                    <a:lnTo>
                      <a:pt x="3608" y="832"/>
                    </a:lnTo>
                    <a:lnTo>
                      <a:pt x="3598" y="826"/>
                    </a:lnTo>
                    <a:lnTo>
                      <a:pt x="3586" y="818"/>
                    </a:lnTo>
                    <a:lnTo>
                      <a:pt x="3586" y="818"/>
                    </a:lnTo>
                    <a:lnTo>
                      <a:pt x="3576" y="812"/>
                    </a:lnTo>
                    <a:lnTo>
                      <a:pt x="3566" y="810"/>
                    </a:lnTo>
                    <a:lnTo>
                      <a:pt x="3558" y="810"/>
                    </a:lnTo>
                    <a:lnTo>
                      <a:pt x="3552" y="814"/>
                    </a:lnTo>
                    <a:lnTo>
                      <a:pt x="3546" y="820"/>
                    </a:lnTo>
                    <a:lnTo>
                      <a:pt x="3540" y="828"/>
                    </a:lnTo>
                    <a:lnTo>
                      <a:pt x="3530" y="848"/>
                    </a:lnTo>
                    <a:lnTo>
                      <a:pt x="3520" y="864"/>
                    </a:lnTo>
                    <a:lnTo>
                      <a:pt x="3514" y="872"/>
                    </a:lnTo>
                    <a:lnTo>
                      <a:pt x="3508" y="876"/>
                    </a:lnTo>
                    <a:lnTo>
                      <a:pt x="3500" y="878"/>
                    </a:lnTo>
                    <a:lnTo>
                      <a:pt x="3492" y="878"/>
                    </a:lnTo>
                    <a:lnTo>
                      <a:pt x="3482" y="872"/>
                    </a:lnTo>
                    <a:lnTo>
                      <a:pt x="3470" y="864"/>
                    </a:lnTo>
                    <a:lnTo>
                      <a:pt x="3470" y="864"/>
                    </a:lnTo>
                    <a:lnTo>
                      <a:pt x="3428" y="824"/>
                    </a:lnTo>
                    <a:lnTo>
                      <a:pt x="3402" y="796"/>
                    </a:lnTo>
                    <a:lnTo>
                      <a:pt x="3390" y="784"/>
                    </a:lnTo>
                    <a:lnTo>
                      <a:pt x="3380" y="776"/>
                    </a:lnTo>
                    <a:lnTo>
                      <a:pt x="3368" y="768"/>
                    </a:lnTo>
                    <a:lnTo>
                      <a:pt x="3352" y="762"/>
                    </a:lnTo>
                    <a:lnTo>
                      <a:pt x="3352" y="762"/>
                    </a:lnTo>
                    <a:lnTo>
                      <a:pt x="3346" y="760"/>
                    </a:lnTo>
                    <a:lnTo>
                      <a:pt x="3342" y="760"/>
                    </a:lnTo>
                    <a:lnTo>
                      <a:pt x="3338" y="762"/>
                    </a:lnTo>
                    <a:lnTo>
                      <a:pt x="3338" y="764"/>
                    </a:lnTo>
                    <a:lnTo>
                      <a:pt x="3340" y="772"/>
                    </a:lnTo>
                    <a:lnTo>
                      <a:pt x="3344" y="782"/>
                    </a:lnTo>
                    <a:lnTo>
                      <a:pt x="3348" y="792"/>
                    </a:lnTo>
                    <a:lnTo>
                      <a:pt x="3350" y="798"/>
                    </a:lnTo>
                    <a:lnTo>
                      <a:pt x="3348" y="798"/>
                    </a:lnTo>
                    <a:lnTo>
                      <a:pt x="3346" y="798"/>
                    </a:lnTo>
                    <a:lnTo>
                      <a:pt x="3336" y="790"/>
                    </a:lnTo>
                    <a:lnTo>
                      <a:pt x="3336" y="790"/>
                    </a:lnTo>
                    <a:lnTo>
                      <a:pt x="3318" y="778"/>
                    </a:lnTo>
                    <a:lnTo>
                      <a:pt x="3296" y="766"/>
                    </a:lnTo>
                    <a:lnTo>
                      <a:pt x="3270" y="754"/>
                    </a:lnTo>
                    <a:lnTo>
                      <a:pt x="3242" y="744"/>
                    </a:lnTo>
                    <a:lnTo>
                      <a:pt x="3208" y="734"/>
                    </a:lnTo>
                    <a:lnTo>
                      <a:pt x="3170" y="728"/>
                    </a:lnTo>
                    <a:lnTo>
                      <a:pt x="3128" y="722"/>
                    </a:lnTo>
                    <a:lnTo>
                      <a:pt x="3082" y="716"/>
                    </a:lnTo>
                    <a:lnTo>
                      <a:pt x="3082" y="716"/>
                    </a:lnTo>
                    <a:lnTo>
                      <a:pt x="3030" y="712"/>
                    </a:lnTo>
                    <a:lnTo>
                      <a:pt x="3012" y="708"/>
                    </a:lnTo>
                    <a:lnTo>
                      <a:pt x="3000" y="704"/>
                    </a:lnTo>
                    <a:lnTo>
                      <a:pt x="2994" y="702"/>
                    </a:lnTo>
                    <a:lnTo>
                      <a:pt x="2992" y="698"/>
                    </a:lnTo>
                    <a:lnTo>
                      <a:pt x="2992" y="694"/>
                    </a:lnTo>
                    <a:lnTo>
                      <a:pt x="2994" y="690"/>
                    </a:lnTo>
                    <a:lnTo>
                      <a:pt x="3002" y="684"/>
                    </a:lnTo>
                    <a:lnTo>
                      <a:pt x="3008" y="678"/>
                    </a:lnTo>
                    <a:lnTo>
                      <a:pt x="3008" y="676"/>
                    </a:lnTo>
                    <a:lnTo>
                      <a:pt x="3006" y="674"/>
                    </a:lnTo>
                    <a:lnTo>
                      <a:pt x="3002" y="672"/>
                    </a:lnTo>
                    <a:lnTo>
                      <a:pt x="2992" y="670"/>
                    </a:lnTo>
                    <a:lnTo>
                      <a:pt x="2992" y="670"/>
                    </a:lnTo>
                    <a:lnTo>
                      <a:pt x="2946" y="666"/>
                    </a:lnTo>
                    <a:lnTo>
                      <a:pt x="2904" y="664"/>
                    </a:lnTo>
                    <a:lnTo>
                      <a:pt x="2864" y="664"/>
                    </a:lnTo>
                    <a:lnTo>
                      <a:pt x="2844" y="666"/>
                    </a:lnTo>
                    <a:lnTo>
                      <a:pt x="2822" y="670"/>
                    </a:lnTo>
                    <a:lnTo>
                      <a:pt x="2822" y="670"/>
                    </a:lnTo>
                    <a:lnTo>
                      <a:pt x="2814" y="670"/>
                    </a:lnTo>
                    <a:lnTo>
                      <a:pt x="2806" y="670"/>
                    </a:lnTo>
                    <a:lnTo>
                      <a:pt x="2800" y="670"/>
                    </a:lnTo>
                    <a:lnTo>
                      <a:pt x="2794" y="668"/>
                    </a:lnTo>
                    <a:lnTo>
                      <a:pt x="2790" y="662"/>
                    </a:lnTo>
                    <a:lnTo>
                      <a:pt x="2786" y="654"/>
                    </a:lnTo>
                    <a:lnTo>
                      <a:pt x="2784" y="648"/>
                    </a:lnTo>
                    <a:lnTo>
                      <a:pt x="2780" y="644"/>
                    </a:lnTo>
                    <a:lnTo>
                      <a:pt x="2778" y="642"/>
                    </a:lnTo>
                    <a:lnTo>
                      <a:pt x="2774" y="642"/>
                    </a:lnTo>
                    <a:lnTo>
                      <a:pt x="2762" y="648"/>
                    </a:lnTo>
                    <a:lnTo>
                      <a:pt x="2762" y="648"/>
                    </a:lnTo>
                    <a:lnTo>
                      <a:pt x="2748" y="654"/>
                    </a:lnTo>
                    <a:lnTo>
                      <a:pt x="2738" y="654"/>
                    </a:lnTo>
                    <a:lnTo>
                      <a:pt x="2730" y="652"/>
                    </a:lnTo>
                    <a:lnTo>
                      <a:pt x="2722" y="648"/>
                    </a:lnTo>
                    <a:lnTo>
                      <a:pt x="2714" y="644"/>
                    </a:lnTo>
                    <a:lnTo>
                      <a:pt x="2704" y="640"/>
                    </a:lnTo>
                    <a:lnTo>
                      <a:pt x="2692" y="638"/>
                    </a:lnTo>
                    <a:lnTo>
                      <a:pt x="2676" y="640"/>
                    </a:lnTo>
                    <a:lnTo>
                      <a:pt x="2676" y="640"/>
                    </a:lnTo>
                    <a:lnTo>
                      <a:pt x="2660" y="644"/>
                    </a:lnTo>
                    <a:lnTo>
                      <a:pt x="2652" y="650"/>
                    </a:lnTo>
                    <a:lnTo>
                      <a:pt x="2650" y="658"/>
                    </a:lnTo>
                    <a:lnTo>
                      <a:pt x="2648" y="664"/>
                    </a:lnTo>
                    <a:lnTo>
                      <a:pt x="2642" y="672"/>
                    </a:lnTo>
                    <a:lnTo>
                      <a:pt x="2634" y="680"/>
                    </a:lnTo>
                    <a:lnTo>
                      <a:pt x="2614" y="686"/>
                    </a:lnTo>
                    <a:lnTo>
                      <a:pt x="2586" y="692"/>
                    </a:lnTo>
                    <a:lnTo>
                      <a:pt x="2586" y="692"/>
                    </a:lnTo>
                    <a:lnTo>
                      <a:pt x="2554" y="696"/>
                    </a:lnTo>
                    <a:lnTo>
                      <a:pt x="2530" y="698"/>
                    </a:lnTo>
                    <a:lnTo>
                      <a:pt x="2516" y="696"/>
                    </a:lnTo>
                    <a:lnTo>
                      <a:pt x="2512" y="694"/>
                    </a:lnTo>
                    <a:lnTo>
                      <a:pt x="2512" y="692"/>
                    </a:lnTo>
                    <a:lnTo>
                      <a:pt x="2512" y="690"/>
                    </a:lnTo>
                    <a:lnTo>
                      <a:pt x="2516" y="686"/>
                    </a:lnTo>
                    <a:lnTo>
                      <a:pt x="2528" y="676"/>
                    </a:lnTo>
                    <a:lnTo>
                      <a:pt x="2550" y="666"/>
                    </a:lnTo>
                    <a:lnTo>
                      <a:pt x="2580" y="652"/>
                    </a:lnTo>
                    <a:lnTo>
                      <a:pt x="2580" y="652"/>
                    </a:lnTo>
                    <a:lnTo>
                      <a:pt x="2610" y="640"/>
                    </a:lnTo>
                    <a:lnTo>
                      <a:pt x="2632" y="628"/>
                    </a:lnTo>
                    <a:lnTo>
                      <a:pt x="2660" y="610"/>
                    </a:lnTo>
                    <a:lnTo>
                      <a:pt x="2672" y="602"/>
                    </a:lnTo>
                    <a:lnTo>
                      <a:pt x="2688" y="594"/>
                    </a:lnTo>
                    <a:lnTo>
                      <a:pt x="2706" y="586"/>
                    </a:lnTo>
                    <a:lnTo>
                      <a:pt x="2734" y="576"/>
                    </a:lnTo>
                    <a:lnTo>
                      <a:pt x="2734" y="576"/>
                    </a:lnTo>
                    <a:lnTo>
                      <a:pt x="2762" y="566"/>
                    </a:lnTo>
                    <a:lnTo>
                      <a:pt x="2782" y="554"/>
                    </a:lnTo>
                    <a:lnTo>
                      <a:pt x="2788" y="548"/>
                    </a:lnTo>
                    <a:lnTo>
                      <a:pt x="2794" y="542"/>
                    </a:lnTo>
                    <a:lnTo>
                      <a:pt x="2802" y="528"/>
                    </a:lnTo>
                    <a:lnTo>
                      <a:pt x="2806" y="514"/>
                    </a:lnTo>
                    <a:lnTo>
                      <a:pt x="2806" y="502"/>
                    </a:lnTo>
                    <a:lnTo>
                      <a:pt x="2802" y="490"/>
                    </a:lnTo>
                    <a:lnTo>
                      <a:pt x="2798" y="478"/>
                    </a:lnTo>
                    <a:lnTo>
                      <a:pt x="2798" y="478"/>
                    </a:lnTo>
                    <a:lnTo>
                      <a:pt x="2792" y="470"/>
                    </a:lnTo>
                    <a:lnTo>
                      <a:pt x="2784" y="464"/>
                    </a:lnTo>
                    <a:lnTo>
                      <a:pt x="2776" y="462"/>
                    </a:lnTo>
                    <a:lnTo>
                      <a:pt x="2768" y="460"/>
                    </a:lnTo>
                    <a:lnTo>
                      <a:pt x="2748" y="454"/>
                    </a:lnTo>
                    <a:lnTo>
                      <a:pt x="2738" y="448"/>
                    </a:lnTo>
                    <a:lnTo>
                      <a:pt x="2724" y="438"/>
                    </a:lnTo>
                    <a:lnTo>
                      <a:pt x="2724" y="438"/>
                    </a:lnTo>
                    <a:lnTo>
                      <a:pt x="2712" y="430"/>
                    </a:lnTo>
                    <a:lnTo>
                      <a:pt x="2700" y="426"/>
                    </a:lnTo>
                    <a:lnTo>
                      <a:pt x="2686" y="424"/>
                    </a:lnTo>
                    <a:lnTo>
                      <a:pt x="2672" y="424"/>
                    </a:lnTo>
                    <a:lnTo>
                      <a:pt x="2644" y="428"/>
                    </a:lnTo>
                    <a:lnTo>
                      <a:pt x="2628" y="428"/>
                    </a:lnTo>
                    <a:lnTo>
                      <a:pt x="2612" y="426"/>
                    </a:lnTo>
                    <a:lnTo>
                      <a:pt x="2612" y="426"/>
                    </a:lnTo>
                    <a:lnTo>
                      <a:pt x="2598" y="424"/>
                    </a:lnTo>
                    <a:lnTo>
                      <a:pt x="2590" y="424"/>
                    </a:lnTo>
                    <a:lnTo>
                      <a:pt x="2582" y="426"/>
                    </a:lnTo>
                    <a:lnTo>
                      <a:pt x="2578" y="428"/>
                    </a:lnTo>
                    <a:lnTo>
                      <a:pt x="2574" y="432"/>
                    </a:lnTo>
                    <a:lnTo>
                      <a:pt x="2566" y="436"/>
                    </a:lnTo>
                    <a:lnTo>
                      <a:pt x="2554" y="440"/>
                    </a:lnTo>
                    <a:lnTo>
                      <a:pt x="2538" y="444"/>
                    </a:lnTo>
                    <a:lnTo>
                      <a:pt x="2538" y="444"/>
                    </a:lnTo>
                    <a:lnTo>
                      <a:pt x="2516" y="444"/>
                    </a:lnTo>
                    <a:lnTo>
                      <a:pt x="2512" y="444"/>
                    </a:lnTo>
                    <a:lnTo>
                      <a:pt x="2512" y="442"/>
                    </a:lnTo>
                    <a:lnTo>
                      <a:pt x="2516" y="436"/>
                    </a:lnTo>
                    <a:lnTo>
                      <a:pt x="2528" y="428"/>
                    </a:lnTo>
                    <a:lnTo>
                      <a:pt x="2538" y="420"/>
                    </a:lnTo>
                    <a:lnTo>
                      <a:pt x="2540" y="416"/>
                    </a:lnTo>
                    <a:lnTo>
                      <a:pt x="2542" y="412"/>
                    </a:lnTo>
                    <a:lnTo>
                      <a:pt x="2540" y="410"/>
                    </a:lnTo>
                    <a:lnTo>
                      <a:pt x="2534" y="406"/>
                    </a:lnTo>
                    <a:lnTo>
                      <a:pt x="2524" y="404"/>
                    </a:lnTo>
                    <a:lnTo>
                      <a:pt x="2508" y="402"/>
                    </a:lnTo>
                    <a:lnTo>
                      <a:pt x="2508" y="402"/>
                    </a:lnTo>
                    <a:lnTo>
                      <a:pt x="2478" y="400"/>
                    </a:lnTo>
                    <a:lnTo>
                      <a:pt x="2458" y="398"/>
                    </a:lnTo>
                    <a:lnTo>
                      <a:pt x="2448" y="394"/>
                    </a:lnTo>
                    <a:lnTo>
                      <a:pt x="2446" y="394"/>
                    </a:lnTo>
                    <a:lnTo>
                      <a:pt x="2446" y="392"/>
                    </a:lnTo>
                    <a:lnTo>
                      <a:pt x="2450" y="388"/>
                    </a:lnTo>
                    <a:lnTo>
                      <a:pt x="2458" y="386"/>
                    </a:lnTo>
                    <a:lnTo>
                      <a:pt x="2486" y="378"/>
                    </a:lnTo>
                    <a:lnTo>
                      <a:pt x="2486" y="378"/>
                    </a:lnTo>
                    <a:lnTo>
                      <a:pt x="2492" y="376"/>
                    </a:lnTo>
                    <a:lnTo>
                      <a:pt x="2496" y="374"/>
                    </a:lnTo>
                    <a:lnTo>
                      <a:pt x="2496" y="370"/>
                    </a:lnTo>
                    <a:lnTo>
                      <a:pt x="2496" y="366"/>
                    </a:lnTo>
                    <a:lnTo>
                      <a:pt x="2492" y="364"/>
                    </a:lnTo>
                    <a:lnTo>
                      <a:pt x="2486" y="360"/>
                    </a:lnTo>
                    <a:lnTo>
                      <a:pt x="2470" y="352"/>
                    </a:lnTo>
                    <a:lnTo>
                      <a:pt x="2448" y="348"/>
                    </a:lnTo>
                    <a:lnTo>
                      <a:pt x="2422" y="348"/>
                    </a:lnTo>
                    <a:lnTo>
                      <a:pt x="2408" y="348"/>
                    </a:lnTo>
                    <a:lnTo>
                      <a:pt x="2392" y="352"/>
                    </a:lnTo>
                    <a:lnTo>
                      <a:pt x="2378" y="356"/>
                    </a:lnTo>
                    <a:lnTo>
                      <a:pt x="2362" y="362"/>
                    </a:lnTo>
                    <a:lnTo>
                      <a:pt x="2362" y="362"/>
                    </a:lnTo>
                    <a:lnTo>
                      <a:pt x="2342" y="370"/>
                    </a:lnTo>
                    <a:lnTo>
                      <a:pt x="2326" y="380"/>
                    </a:lnTo>
                    <a:lnTo>
                      <a:pt x="2314" y="388"/>
                    </a:lnTo>
                    <a:lnTo>
                      <a:pt x="2304" y="396"/>
                    </a:lnTo>
                    <a:lnTo>
                      <a:pt x="2296" y="402"/>
                    </a:lnTo>
                    <a:lnTo>
                      <a:pt x="2292" y="408"/>
                    </a:lnTo>
                    <a:lnTo>
                      <a:pt x="2286" y="420"/>
                    </a:lnTo>
                    <a:lnTo>
                      <a:pt x="2284" y="428"/>
                    </a:lnTo>
                    <a:lnTo>
                      <a:pt x="2280" y="434"/>
                    </a:lnTo>
                    <a:lnTo>
                      <a:pt x="2276" y="436"/>
                    </a:lnTo>
                    <a:lnTo>
                      <a:pt x="2272" y="438"/>
                    </a:lnTo>
                    <a:lnTo>
                      <a:pt x="2256" y="440"/>
                    </a:lnTo>
                    <a:lnTo>
                      <a:pt x="2256" y="440"/>
                    </a:lnTo>
                    <a:lnTo>
                      <a:pt x="2224" y="442"/>
                    </a:lnTo>
                    <a:lnTo>
                      <a:pt x="2208" y="444"/>
                    </a:lnTo>
                    <a:lnTo>
                      <a:pt x="2206" y="444"/>
                    </a:lnTo>
                    <a:lnTo>
                      <a:pt x="2206" y="446"/>
                    </a:lnTo>
                    <a:lnTo>
                      <a:pt x="2206" y="448"/>
                    </a:lnTo>
                    <a:lnTo>
                      <a:pt x="2210" y="452"/>
                    </a:lnTo>
                    <a:lnTo>
                      <a:pt x="2208" y="456"/>
                    </a:lnTo>
                    <a:lnTo>
                      <a:pt x="2206" y="458"/>
                    </a:lnTo>
                    <a:lnTo>
                      <a:pt x="2192" y="464"/>
                    </a:lnTo>
                    <a:lnTo>
                      <a:pt x="2162" y="472"/>
                    </a:lnTo>
                    <a:lnTo>
                      <a:pt x="2162" y="472"/>
                    </a:lnTo>
                    <a:lnTo>
                      <a:pt x="2132" y="478"/>
                    </a:lnTo>
                    <a:lnTo>
                      <a:pt x="2118" y="478"/>
                    </a:lnTo>
                    <a:lnTo>
                      <a:pt x="2114" y="476"/>
                    </a:lnTo>
                    <a:lnTo>
                      <a:pt x="2112" y="474"/>
                    </a:lnTo>
                    <a:lnTo>
                      <a:pt x="2112" y="470"/>
                    </a:lnTo>
                    <a:lnTo>
                      <a:pt x="2110" y="468"/>
                    </a:lnTo>
                    <a:lnTo>
                      <a:pt x="2108" y="464"/>
                    </a:lnTo>
                    <a:lnTo>
                      <a:pt x="2106" y="462"/>
                    </a:lnTo>
                    <a:lnTo>
                      <a:pt x="2098" y="462"/>
                    </a:lnTo>
                    <a:lnTo>
                      <a:pt x="2076" y="460"/>
                    </a:lnTo>
                    <a:lnTo>
                      <a:pt x="2034" y="464"/>
                    </a:lnTo>
                    <a:lnTo>
                      <a:pt x="2034" y="464"/>
                    </a:lnTo>
                    <a:lnTo>
                      <a:pt x="1994" y="472"/>
                    </a:lnTo>
                    <a:lnTo>
                      <a:pt x="1982" y="474"/>
                    </a:lnTo>
                    <a:lnTo>
                      <a:pt x="1974" y="478"/>
                    </a:lnTo>
                    <a:lnTo>
                      <a:pt x="1970" y="482"/>
                    </a:lnTo>
                    <a:lnTo>
                      <a:pt x="1968" y="484"/>
                    </a:lnTo>
                    <a:lnTo>
                      <a:pt x="1970" y="490"/>
                    </a:lnTo>
                    <a:lnTo>
                      <a:pt x="1970" y="494"/>
                    </a:lnTo>
                    <a:lnTo>
                      <a:pt x="1970" y="496"/>
                    </a:lnTo>
                    <a:lnTo>
                      <a:pt x="1968" y="500"/>
                    </a:lnTo>
                    <a:lnTo>
                      <a:pt x="1964" y="502"/>
                    </a:lnTo>
                    <a:lnTo>
                      <a:pt x="1954" y="504"/>
                    </a:lnTo>
                    <a:lnTo>
                      <a:pt x="1942" y="506"/>
                    </a:lnTo>
                    <a:lnTo>
                      <a:pt x="1898" y="512"/>
                    </a:lnTo>
                    <a:lnTo>
                      <a:pt x="1898" y="512"/>
                    </a:lnTo>
                    <a:lnTo>
                      <a:pt x="1850" y="516"/>
                    </a:lnTo>
                    <a:lnTo>
                      <a:pt x="1818" y="522"/>
                    </a:lnTo>
                    <a:lnTo>
                      <a:pt x="1800" y="526"/>
                    </a:lnTo>
                    <a:lnTo>
                      <a:pt x="1790" y="532"/>
                    </a:lnTo>
                    <a:lnTo>
                      <a:pt x="1784" y="538"/>
                    </a:lnTo>
                    <a:lnTo>
                      <a:pt x="1776" y="542"/>
                    </a:lnTo>
                    <a:lnTo>
                      <a:pt x="1764" y="546"/>
                    </a:lnTo>
                    <a:lnTo>
                      <a:pt x="1742" y="550"/>
                    </a:lnTo>
                    <a:lnTo>
                      <a:pt x="1742" y="550"/>
                    </a:lnTo>
                    <a:lnTo>
                      <a:pt x="1728" y="550"/>
                    </a:lnTo>
                    <a:lnTo>
                      <a:pt x="1718" y="554"/>
                    </a:lnTo>
                    <a:lnTo>
                      <a:pt x="1708" y="558"/>
                    </a:lnTo>
                    <a:lnTo>
                      <a:pt x="1698" y="562"/>
                    </a:lnTo>
                    <a:lnTo>
                      <a:pt x="1692" y="566"/>
                    </a:lnTo>
                    <a:lnTo>
                      <a:pt x="1686" y="572"/>
                    </a:lnTo>
                    <a:lnTo>
                      <a:pt x="1682" y="578"/>
                    </a:lnTo>
                    <a:lnTo>
                      <a:pt x="1680" y="584"/>
                    </a:lnTo>
                    <a:lnTo>
                      <a:pt x="1678" y="590"/>
                    </a:lnTo>
                    <a:lnTo>
                      <a:pt x="1678" y="596"/>
                    </a:lnTo>
                    <a:lnTo>
                      <a:pt x="1680" y="602"/>
                    </a:lnTo>
                    <a:lnTo>
                      <a:pt x="1682" y="608"/>
                    </a:lnTo>
                    <a:lnTo>
                      <a:pt x="1686" y="612"/>
                    </a:lnTo>
                    <a:lnTo>
                      <a:pt x="1690" y="616"/>
                    </a:lnTo>
                    <a:lnTo>
                      <a:pt x="1696" y="618"/>
                    </a:lnTo>
                    <a:lnTo>
                      <a:pt x="1704" y="620"/>
                    </a:lnTo>
                    <a:lnTo>
                      <a:pt x="1704" y="620"/>
                    </a:lnTo>
                    <a:lnTo>
                      <a:pt x="1716" y="622"/>
                    </a:lnTo>
                    <a:lnTo>
                      <a:pt x="1724" y="624"/>
                    </a:lnTo>
                    <a:lnTo>
                      <a:pt x="1726" y="628"/>
                    </a:lnTo>
                    <a:lnTo>
                      <a:pt x="1724" y="634"/>
                    </a:lnTo>
                    <a:lnTo>
                      <a:pt x="1716" y="638"/>
                    </a:lnTo>
                    <a:lnTo>
                      <a:pt x="1704" y="644"/>
                    </a:lnTo>
                    <a:lnTo>
                      <a:pt x="1690" y="648"/>
                    </a:lnTo>
                    <a:lnTo>
                      <a:pt x="1672" y="652"/>
                    </a:lnTo>
                    <a:lnTo>
                      <a:pt x="1672" y="652"/>
                    </a:lnTo>
                    <a:lnTo>
                      <a:pt x="1638" y="658"/>
                    </a:lnTo>
                    <a:lnTo>
                      <a:pt x="1604" y="662"/>
                    </a:lnTo>
                    <a:lnTo>
                      <a:pt x="1542" y="662"/>
                    </a:lnTo>
                    <a:lnTo>
                      <a:pt x="1514" y="662"/>
                    </a:lnTo>
                    <a:lnTo>
                      <a:pt x="1490" y="666"/>
                    </a:lnTo>
                    <a:lnTo>
                      <a:pt x="1480" y="668"/>
                    </a:lnTo>
                    <a:lnTo>
                      <a:pt x="1470" y="672"/>
                    </a:lnTo>
                    <a:lnTo>
                      <a:pt x="1462" y="676"/>
                    </a:lnTo>
                    <a:lnTo>
                      <a:pt x="1458" y="682"/>
                    </a:lnTo>
                    <a:lnTo>
                      <a:pt x="1458" y="682"/>
                    </a:lnTo>
                    <a:lnTo>
                      <a:pt x="1450" y="692"/>
                    </a:lnTo>
                    <a:lnTo>
                      <a:pt x="1450" y="696"/>
                    </a:lnTo>
                    <a:lnTo>
                      <a:pt x="1452" y="698"/>
                    </a:lnTo>
                    <a:lnTo>
                      <a:pt x="1456" y="702"/>
                    </a:lnTo>
                    <a:lnTo>
                      <a:pt x="1462" y="704"/>
                    </a:lnTo>
                    <a:lnTo>
                      <a:pt x="1470" y="706"/>
                    </a:lnTo>
                    <a:lnTo>
                      <a:pt x="1476" y="710"/>
                    </a:lnTo>
                    <a:lnTo>
                      <a:pt x="1476" y="714"/>
                    </a:lnTo>
                    <a:lnTo>
                      <a:pt x="1476" y="718"/>
                    </a:lnTo>
                    <a:lnTo>
                      <a:pt x="1476" y="724"/>
                    </a:lnTo>
                    <a:lnTo>
                      <a:pt x="1472" y="732"/>
                    </a:lnTo>
                    <a:lnTo>
                      <a:pt x="1472" y="732"/>
                    </a:lnTo>
                    <a:lnTo>
                      <a:pt x="1468" y="738"/>
                    </a:lnTo>
                    <a:lnTo>
                      <a:pt x="1468" y="744"/>
                    </a:lnTo>
                    <a:lnTo>
                      <a:pt x="1468" y="748"/>
                    </a:lnTo>
                    <a:lnTo>
                      <a:pt x="1472" y="752"/>
                    </a:lnTo>
                    <a:lnTo>
                      <a:pt x="1480" y="756"/>
                    </a:lnTo>
                    <a:lnTo>
                      <a:pt x="1492" y="758"/>
                    </a:lnTo>
                    <a:lnTo>
                      <a:pt x="1506" y="760"/>
                    </a:lnTo>
                    <a:lnTo>
                      <a:pt x="1520" y="764"/>
                    </a:lnTo>
                    <a:lnTo>
                      <a:pt x="1524" y="766"/>
                    </a:lnTo>
                    <a:lnTo>
                      <a:pt x="1528" y="770"/>
                    </a:lnTo>
                    <a:lnTo>
                      <a:pt x="1532" y="774"/>
                    </a:lnTo>
                    <a:lnTo>
                      <a:pt x="1532" y="780"/>
                    </a:lnTo>
                    <a:lnTo>
                      <a:pt x="1532" y="780"/>
                    </a:lnTo>
                    <a:lnTo>
                      <a:pt x="1534" y="786"/>
                    </a:lnTo>
                    <a:lnTo>
                      <a:pt x="1536" y="790"/>
                    </a:lnTo>
                    <a:lnTo>
                      <a:pt x="1540" y="792"/>
                    </a:lnTo>
                    <a:lnTo>
                      <a:pt x="1546" y="794"/>
                    </a:lnTo>
                    <a:lnTo>
                      <a:pt x="1556" y="796"/>
                    </a:lnTo>
                    <a:lnTo>
                      <a:pt x="1568" y="796"/>
                    </a:lnTo>
                    <a:lnTo>
                      <a:pt x="1580" y="798"/>
                    </a:lnTo>
                    <a:lnTo>
                      <a:pt x="1584" y="800"/>
                    </a:lnTo>
                    <a:lnTo>
                      <a:pt x="1586" y="804"/>
                    </a:lnTo>
                    <a:lnTo>
                      <a:pt x="1588" y="806"/>
                    </a:lnTo>
                    <a:lnTo>
                      <a:pt x="1588" y="812"/>
                    </a:lnTo>
                    <a:lnTo>
                      <a:pt x="1586" y="818"/>
                    </a:lnTo>
                    <a:lnTo>
                      <a:pt x="1582" y="828"/>
                    </a:lnTo>
                    <a:lnTo>
                      <a:pt x="1582" y="828"/>
                    </a:lnTo>
                    <a:lnTo>
                      <a:pt x="1578" y="836"/>
                    </a:lnTo>
                    <a:lnTo>
                      <a:pt x="1576" y="844"/>
                    </a:lnTo>
                    <a:lnTo>
                      <a:pt x="1576" y="852"/>
                    </a:lnTo>
                    <a:lnTo>
                      <a:pt x="1578" y="858"/>
                    </a:lnTo>
                    <a:lnTo>
                      <a:pt x="1582" y="868"/>
                    </a:lnTo>
                    <a:lnTo>
                      <a:pt x="1590" y="876"/>
                    </a:lnTo>
                    <a:lnTo>
                      <a:pt x="1596" y="882"/>
                    </a:lnTo>
                    <a:lnTo>
                      <a:pt x="1598" y="886"/>
                    </a:lnTo>
                    <a:lnTo>
                      <a:pt x="1598" y="890"/>
                    </a:lnTo>
                    <a:lnTo>
                      <a:pt x="1598" y="896"/>
                    </a:lnTo>
                    <a:lnTo>
                      <a:pt x="1596" y="900"/>
                    </a:lnTo>
                    <a:lnTo>
                      <a:pt x="1590" y="906"/>
                    </a:lnTo>
                    <a:lnTo>
                      <a:pt x="1584" y="912"/>
                    </a:lnTo>
                    <a:lnTo>
                      <a:pt x="1584" y="912"/>
                    </a:lnTo>
                    <a:lnTo>
                      <a:pt x="1570" y="922"/>
                    </a:lnTo>
                    <a:lnTo>
                      <a:pt x="1566" y="924"/>
                    </a:lnTo>
                    <a:lnTo>
                      <a:pt x="1564" y="922"/>
                    </a:lnTo>
                    <a:lnTo>
                      <a:pt x="1566" y="912"/>
                    </a:lnTo>
                    <a:lnTo>
                      <a:pt x="1568" y="898"/>
                    </a:lnTo>
                    <a:lnTo>
                      <a:pt x="1572" y="884"/>
                    </a:lnTo>
                    <a:lnTo>
                      <a:pt x="1572" y="878"/>
                    </a:lnTo>
                    <a:lnTo>
                      <a:pt x="1572" y="872"/>
                    </a:lnTo>
                    <a:lnTo>
                      <a:pt x="1570" y="866"/>
                    </a:lnTo>
                    <a:lnTo>
                      <a:pt x="1566" y="864"/>
                    </a:lnTo>
                    <a:lnTo>
                      <a:pt x="1560" y="864"/>
                    </a:lnTo>
                    <a:lnTo>
                      <a:pt x="1552" y="866"/>
                    </a:lnTo>
                    <a:lnTo>
                      <a:pt x="1552" y="866"/>
                    </a:lnTo>
                    <a:lnTo>
                      <a:pt x="1542" y="868"/>
                    </a:lnTo>
                    <a:lnTo>
                      <a:pt x="1538" y="868"/>
                    </a:lnTo>
                    <a:lnTo>
                      <a:pt x="1536" y="866"/>
                    </a:lnTo>
                    <a:lnTo>
                      <a:pt x="1536" y="864"/>
                    </a:lnTo>
                    <a:lnTo>
                      <a:pt x="1542" y="856"/>
                    </a:lnTo>
                    <a:lnTo>
                      <a:pt x="1550" y="844"/>
                    </a:lnTo>
                    <a:lnTo>
                      <a:pt x="1560" y="832"/>
                    </a:lnTo>
                    <a:lnTo>
                      <a:pt x="1562" y="826"/>
                    </a:lnTo>
                    <a:lnTo>
                      <a:pt x="1564" y="820"/>
                    </a:lnTo>
                    <a:lnTo>
                      <a:pt x="1562" y="816"/>
                    </a:lnTo>
                    <a:lnTo>
                      <a:pt x="1558" y="812"/>
                    </a:lnTo>
                    <a:lnTo>
                      <a:pt x="1552" y="810"/>
                    </a:lnTo>
                    <a:lnTo>
                      <a:pt x="1540" y="810"/>
                    </a:lnTo>
                    <a:lnTo>
                      <a:pt x="1540" y="810"/>
                    </a:lnTo>
                    <a:lnTo>
                      <a:pt x="1518" y="810"/>
                    </a:lnTo>
                    <a:lnTo>
                      <a:pt x="1504" y="806"/>
                    </a:lnTo>
                    <a:lnTo>
                      <a:pt x="1492" y="798"/>
                    </a:lnTo>
                    <a:lnTo>
                      <a:pt x="1482" y="792"/>
                    </a:lnTo>
                    <a:lnTo>
                      <a:pt x="1472" y="782"/>
                    </a:lnTo>
                    <a:lnTo>
                      <a:pt x="1460" y="774"/>
                    </a:lnTo>
                    <a:lnTo>
                      <a:pt x="1442" y="768"/>
                    </a:lnTo>
                    <a:lnTo>
                      <a:pt x="1416" y="762"/>
                    </a:lnTo>
                    <a:lnTo>
                      <a:pt x="1416" y="762"/>
                    </a:lnTo>
                    <a:lnTo>
                      <a:pt x="1400" y="760"/>
                    </a:lnTo>
                    <a:lnTo>
                      <a:pt x="1386" y="760"/>
                    </a:lnTo>
                    <a:lnTo>
                      <a:pt x="1374" y="760"/>
                    </a:lnTo>
                    <a:lnTo>
                      <a:pt x="1364" y="762"/>
                    </a:lnTo>
                    <a:lnTo>
                      <a:pt x="1358" y="764"/>
                    </a:lnTo>
                    <a:lnTo>
                      <a:pt x="1352" y="768"/>
                    </a:lnTo>
                    <a:lnTo>
                      <a:pt x="1346" y="776"/>
                    </a:lnTo>
                    <a:lnTo>
                      <a:pt x="1342" y="784"/>
                    </a:lnTo>
                    <a:lnTo>
                      <a:pt x="1340" y="790"/>
                    </a:lnTo>
                    <a:lnTo>
                      <a:pt x="1336" y="794"/>
                    </a:lnTo>
                    <a:lnTo>
                      <a:pt x="1334" y="794"/>
                    </a:lnTo>
                    <a:lnTo>
                      <a:pt x="1330" y="792"/>
                    </a:lnTo>
                    <a:lnTo>
                      <a:pt x="1330" y="792"/>
                    </a:lnTo>
                    <a:lnTo>
                      <a:pt x="1316" y="788"/>
                    </a:lnTo>
                    <a:lnTo>
                      <a:pt x="1302" y="788"/>
                    </a:lnTo>
                    <a:lnTo>
                      <a:pt x="1292" y="792"/>
                    </a:lnTo>
                    <a:lnTo>
                      <a:pt x="1284" y="796"/>
                    </a:lnTo>
                    <a:lnTo>
                      <a:pt x="1282" y="800"/>
                    </a:lnTo>
                    <a:lnTo>
                      <a:pt x="1282" y="804"/>
                    </a:lnTo>
                    <a:lnTo>
                      <a:pt x="1282" y="808"/>
                    </a:lnTo>
                    <a:lnTo>
                      <a:pt x="1284" y="812"/>
                    </a:lnTo>
                    <a:lnTo>
                      <a:pt x="1288" y="816"/>
                    </a:lnTo>
                    <a:lnTo>
                      <a:pt x="1294" y="820"/>
                    </a:lnTo>
                    <a:lnTo>
                      <a:pt x="1314" y="828"/>
                    </a:lnTo>
                    <a:lnTo>
                      <a:pt x="1314" y="828"/>
                    </a:lnTo>
                    <a:lnTo>
                      <a:pt x="1332" y="834"/>
                    </a:lnTo>
                    <a:lnTo>
                      <a:pt x="1342" y="840"/>
                    </a:lnTo>
                    <a:lnTo>
                      <a:pt x="1344" y="842"/>
                    </a:lnTo>
                    <a:lnTo>
                      <a:pt x="1344" y="844"/>
                    </a:lnTo>
                    <a:lnTo>
                      <a:pt x="1340" y="846"/>
                    </a:lnTo>
                    <a:lnTo>
                      <a:pt x="1332" y="848"/>
                    </a:lnTo>
                    <a:lnTo>
                      <a:pt x="1318" y="848"/>
                    </a:lnTo>
                    <a:lnTo>
                      <a:pt x="1280" y="844"/>
                    </a:lnTo>
                    <a:lnTo>
                      <a:pt x="1280" y="844"/>
                    </a:lnTo>
                    <a:lnTo>
                      <a:pt x="1270" y="842"/>
                    </a:lnTo>
                    <a:lnTo>
                      <a:pt x="1264" y="840"/>
                    </a:lnTo>
                    <a:lnTo>
                      <a:pt x="1260" y="836"/>
                    </a:lnTo>
                    <a:lnTo>
                      <a:pt x="1256" y="830"/>
                    </a:lnTo>
                    <a:lnTo>
                      <a:pt x="1256" y="824"/>
                    </a:lnTo>
                    <a:lnTo>
                      <a:pt x="1256" y="818"/>
                    </a:lnTo>
                    <a:lnTo>
                      <a:pt x="1260" y="804"/>
                    </a:lnTo>
                    <a:lnTo>
                      <a:pt x="1264" y="788"/>
                    </a:lnTo>
                    <a:lnTo>
                      <a:pt x="1268" y="772"/>
                    </a:lnTo>
                    <a:lnTo>
                      <a:pt x="1270" y="758"/>
                    </a:lnTo>
                    <a:lnTo>
                      <a:pt x="1268" y="750"/>
                    </a:lnTo>
                    <a:lnTo>
                      <a:pt x="1266" y="744"/>
                    </a:lnTo>
                    <a:lnTo>
                      <a:pt x="1266" y="744"/>
                    </a:lnTo>
                    <a:lnTo>
                      <a:pt x="1258" y="734"/>
                    </a:lnTo>
                    <a:lnTo>
                      <a:pt x="1250" y="726"/>
                    </a:lnTo>
                    <a:lnTo>
                      <a:pt x="1244" y="722"/>
                    </a:lnTo>
                    <a:lnTo>
                      <a:pt x="1240" y="722"/>
                    </a:lnTo>
                    <a:lnTo>
                      <a:pt x="1236" y="724"/>
                    </a:lnTo>
                    <a:lnTo>
                      <a:pt x="1234" y="730"/>
                    </a:lnTo>
                    <a:lnTo>
                      <a:pt x="1234" y="738"/>
                    </a:lnTo>
                    <a:lnTo>
                      <a:pt x="1238" y="752"/>
                    </a:lnTo>
                    <a:lnTo>
                      <a:pt x="1238" y="752"/>
                    </a:lnTo>
                    <a:lnTo>
                      <a:pt x="1240" y="762"/>
                    </a:lnTo>
                    <a:lnTo>
                      <a:pt x="1238" y="772"/>
                    </a:lnTo>
                    <a:lnTo>
                      <a:pt x="1236" y="778"/>
                    </a:lnTo>
                    <a:lnTo>
                      <a:pt x="1230" y="784"/>
                    </a:lnTo>
                    <a:lnTo>
                      <a:pt x="1224" y="788"/>
                    </a:lnTo>
                    <a:lnTo>
                      <a:pt x="1216" y="792"/>
                    </a:lnTo>
                    <a:lnTo>
                      <a:pt x="1198" y="798"/>
                    </a:lnTo>
                    <a:lnTo>
                      <a:pt x="1182" y="804"/>
                    </a:lnTo>
                    <a:lnTo>
                      <a:pt x="1176" y="808"/>
                    </a:lnTo>
                    <a:lnTo>
                      <a:pt x="1170" y="812"/>
                    </a:lnTo>
                    <a:lnTo>
                      <a:pt x="1168" y="818"/>
                    </a:lnTo>
                    <a:lnTo>
                      <a:pt x="1168" y="824"/>
                    </a:lnTo>
                    <a:lnTo>
                      <a:pt x="1172" y="832"/>
                    </a:lnTo>
                    <a:lnTo>
                      <a:pt x="1178" y="842"/>
                    </a:lnTo>
                    <a:lnTo>
                      <a:pt x="1178" y="842"/>
                    </a:lnTo>
                    <a:lnTo>
                      <a:pt x="1200" y="870"/>
                    </a:lnTo>
                    <a:lnTo>
                      <a:pt x="1208" y="878"/>
                    </a:lnTo>
                    <a:lnTo>
                      <a:pt x="1212" y="886"/>
                    </a:lnTo>
                    <a:lnTo>
                      <a:pt x="1212" y="894"/>
                    </a:lnTo>
                    <a:lnTo>
                      <a:pt x="1210" y="902"/>
                    </a:lnTo>
                    <a:lnTo>
                      <a:pt x="1204" y="912"/>
                    </a:lnTo>
                    <a:lnTo>
                      <a:pt x="1194" y="926"/>
                    </a:lnTo>
                    <a:lnTo>
                      <a:pt x="1194" y="926"/>
                    </a:lnTo>
                    <a:lnTo>
                      <a:pt x="1184" y="940"/>
                    </a:lnTo>
                    <a:lnTo>
                      <a:pt x="1180" y="950"/>
                    </a:lnTo>
                    <a:lnTo>
                      <a:pt x="1180" y="956"/>
                    </a:lnTo>
                    <a:lnTo>
                      <a:pt x="1182" y="962"/>
                    </a:lnTo>
                    <a:lnTo>
                      <a:pt x="1190" y="974"/>
                    </a:lnTo>
                    <a:lnTo>
                      <a:pt x="1192" y="982"/>
                    </a:lnTo>
                    <a:lnTo>
                      <a:pt x="1194" y="992"/>
                    </a:lnTo>
                    <a:lnTo>
                      <a:pt x="1194" y="992"/>
                    </a:lnTo>
                    <a:lnTo>
                      <a:pt x="1194" y="996"/>
                    </a:lnTo>
                    <a:lnTo>
                      <a:pt x="1196" y="1000"/>
                    </a:lnTo>
                    <a:lnTo>
                      <a:pt x="1200" y="1002"/>
                    </a:lnTo>
                    <a:lnTo>
                      <a:pt x="1204" y="1002"/>
                    </a:lnTo>
                    <a:lnTo>
                      <a:pt x="1218" y="1000"/>
                    </a:lnTo>
                    <a:lnTo>
                      <a:pt x="1234" y="996"/>
                    </a:lnTo>
                    <a:lnTo>
                      <a:pt x="1254" y="992"/>
                    </a:lnTo>
                    <a:lnTo>
                      <a:pt x="1276" y="992"/>
                    </a:lnTo>
                    <a:lnTo>
                      <a:pt x="1288" y="992"/>
                    </a:lnTo>
                    <a:lnTo>
                      <a:pt x="1298" y="994"/>
                    </a:lnTo>
                    <a:lnTo>
                      <a:pt x="1310" y="998"/>
                    </a:lnTo>
                    <a:lnTo>
                      <a:pt x="1322" y="1004"/>
                    </a:lnTo>
                    <a:lnTo>
                      <a:pt x="1322" y="1004"/>
                    </a:lnTo>
                    <a:lnTo>
                      <a:pt x="1340" y="1016"/>
                    </a:lnTo>
                    <a:lnTo>
                      <a:pt x="1352" y="1028"/>
                    </a:lnTo>
                    <a:lnTo>
                      <a:pt x="1358" y="1036"/>
                    </a:lnTo>
                    <a:lnTo>
                      <a:pt x="1360" y="1044"/>
                    </a:lnTo>
                    <a:lnTo>
                      <a:pt x="1360" y="1050"/>
                    </a:lnTo>
                    <a:lnTo>
                      <a:pt x="1356" y="1054"/>
                    </a:lnTo>
                    <a:lnTo>
                      <a:pt x="1350" y="1066"/>
                    </a:lnTo>
                    <a:lnTo>
                      <a:pt x="1350" y="1066"/>
                    </a:lnTo>
                    <a:lnTo>
                      <a:pt x="1342" y="1078"/>
                    </a:lnTo>
                    <a:lnTo>
                      <a:pt x="1334" y="1092"/>
                    </a:lnTo>
                    <a:lnTo>
                      <a:pt x="1332" y="1096"/>
                    </a:lnTo>
                    <a:lnTo>
                      <a:pt x="1330" y="1098"/>
                    </a:lnTo>
                    <a:lnTo>
                      <a:pt x="1330" y="1092"/>
                    </a:lnTo>
                    <a:lnTo>
                      <a:pt x="1332" y="1082"/>
                    </a:lnTo>
                    <a:lnTo>
                      <a:pt x="1332" y="1082"/>
                    </a:lnTo>
                    <a:lnTo>
                      <a:pt x="1334" y="1066"/>
                    </a:lnTo>
                    <a:lnTo>
                      <a:pt x="1334" y="1052"/>
                    </a:lnTo>
                    <a:lnTo>
                      <a:pt x="1330" y="1038"/>
                    </a:lnTo>
                    <a:lnTo>
                      <a:pt x="1322" y="1026"/>
                    </a:lnTo>
                    <a:lnTo>
                      <a:pt x="1318" y="1020"/>
                    </a:lnTo>
                    <a:lnTo>
                      <a:pt x="1312" y="1016"/>
                    </a:lnTo>
                    <a:lnTo>
                      <a:pt x="1304" y="1014"/>
                    </a:lnTo>
                    <a:lnTo>
                      <a:pt x="1298" y="1012"/>
                    </a:lnTo>
                    <a:lnTo>
                      <a:pt x="1288" y="1010"/>
                    </a:lnTo>
                    <a:lnTo>
                      <a:pt x="1278" y="1010"/>
                    </a:lnTo>
                    <a:lnTo>
                      <a:pt x="1266" y="1012"/>
                    </a:lnTo>
                    <a:lnTo>
                      <a:pt x="1254" y="1016"/>
                    </a:lnTo>
                    <a:lnTo>
                      <a:pt x="1254" y="1016"/>
                    </a:lnTo>
                    <a:lnTo>
                      <a:pt x="1242" y="1020"/>
                    </a:lnTo>
                    <a:lnTo>
                      <a:pt x="1234" y="1026"/>
                    </a:lnTo>
                    <a:lnTo>
                      <a:pt x="1228" y="1032"/>
                    </a:lnTo>
                    <a:lnTo>
                      <a:pt x="1224" y="1036"/>
                    </a:lnTo>
                    <a:lnTo>
                      <a:pt x="1222" y="1044"/>
                    </a:lnTo>
                    <a:lnTo>
                      <a:pt x="1222" y="1050"/>
                    </a:lnTo>
                    <a:lnTo>
                      <a:pt x="1226" y="1062"/>
                    </a:lnTo>
                    <a:lnTo>
                      <a:pt x="1230" y="1076"/>
                    </a:lnTo>
                    <a:lnTo>
                      <a:pt x="1234" y="1088"/>
                    </a:lnTo>
                    <a:lnTo>
                      <a:pt x="1234" y="1092"/>
                    </a:lnTo>
                    <a:lnTo>
                      <a:pt x="1232" y="1098"/>
                    </a:lnTo>
                    <a:lnTo>
                      <a:pt x="1228" y="1102"/>
                    </a:lnTo>
                    <a:lnTo>
                      <a:pt x="1222" y="1106"/>
                    </a:lnTo>
                    <a:lnTo>
                      <a:pt x="1222" y="1106"/>
                    </a:lnTo>
                    <a:lnTo>
                      <a:pt x="1210" y="1112"/>
                    </a:lnTo>
                    <a:lnTo>
                      <a:pt x="1202" y="1120"/>
                    </a:lnTo>
                    <a:lnTo>
                      <a:pt x="1198" y="1128"/>
                    </a:lnTo>
                    <a:lnTo>
                      <a:pt x="1196" y="1136"/>
                    </a:lnTo>
                    <a:lnTo>
                      <a:pt x="1194" y="1144"/>
                    </a:lnTo>
                    <a:lnTo>
                      <a:pt x="1188" y="1152"/>
                    </a:lnTo>
                    <a:lnTo>
                      <a:pt x="1180" y="1160"/>
                    </a:lnTo>
                    <a:lnTo>
                      <a:pt x="1166" y="1168"/>
                    </a:lnTo>
                    <a:lnTo>
                      <a:pt x="1166" y="1168"/>
                    </a:lnTo>
                    <a:lnTo>
                      <a:pt x="1152" y="1176"/>
                    </a:lnTo>
                    <a:lnTo>
                      <a:pt x="1144" y="1184"/>
                    </a:lnTo>
                    <a:lnTo>
                      <a:pt x="1136" y="1196"/>
                    </a:lnTo>
                    <a:lnTo>
                      <a:pt x="1130" y="1200"/>
                    </a:lnTo>
                    <a:lnTo>
                      <a:pt x="1118" y="1202"/>
                    </a:lnTo>
                    <a:lnTo>
                      <a:pt x="1100" y="1200"/>
                    </a:lnTo>
                    <a:lnTo>
                      <a:pt x="1070" y="1196"/>
                    </a:lnTo>
                    <a:lnTo>
                      <a:pt x="1070" y="1196"/>
                    </a:lnTo>
                    <a:lnTo>
                      <a:pt x="1044" y="1190"/>
                    </a:lnTo>
                    <a:lnTo>
                      <a:pt x="1036" y="1186"/>
                    </a:lnTo>
                    <a:lnTo>
                      <a:pt x="1036" y="1186"/>
                    </a:lnTo>
                    <a:lnTo>
                      <a:pt x="1040" y="1184"/>
                    </a:lnTo>
                    <a:lnTo>
                      <a:pt x="1052" y="1180"/>
                    </a:lnTo>
                    <a:lnTo>
                      <a:pt x="1072" y="1176"/>
                    </a:lnTo>
                    <a:lnTo>
                      <a:pt x="1094" y="1168"/>
                    </a:lnTo>
                    <a:lnTo>
                      <a:pt x="1104" y="1162"/>
                    </a:lnTo>
                    <a:lnTo>
                      <a:pt x="1114" y="1156"/>
                    </a:lnTo>
                    <a:lnTo>
                      <a:pt x="1122" y="1148"/>
                    </a:lnTo>
                    <a:lnTo>
                      <a:pt x="1128" y="1138"/>
                    </a:lnTo>
                    <a:lnTo>
                      <a:pt x="1128" y="1138"/>
                    </a:lnTo>
                    <a:lnTo>
                      <a:pt x="1138" y="1122"/>
                    </a:lnTo>
                    <a:lnTo>
                      <a:pt x="1146" y="1112"/>
                    </a:lnTo>
                    <a:lnTo>
                      <a:pt x="1154" y="1106"/>
                    </a:lnTo>
                    <a:lnTo>
                      <a:pt x="1160" y="1104"/>
                    </a:lnTo>
                    <a:lnTo>
                      <a:pt x="1166" y="1100"/>
                    </a:lnTo>
                    <a:lnTo>
                      <a:pt x="1170" y="1096"/>
                    </a:lnTo>
                    <a:lnTo>
                      <a:pt x="1174" y="1088"/>
                    </a:lnTo>
                    <a:lnTo>
                      <a:pt x="1176" y="1072"/>
                    </a:lnTo>
                    <a:lnTo>
                      <a:pt x="1176" y="1072"/>
                    </a:lnTo>
                    <a:lnTo>
                      <a:pt x="1176" y="1058"/>
                    </a:lnTo>
                    <a:lnTo>
                      <a:pt x="1174" y="1044"/>
                    </a:lnTo>
                    <a:lnTo>
                      <a:pt x="1166" y="1034"/>
                    </a:lnTo>
                    <a:lnTo>
                      <a:pt x="1160" y="1026"/>
                    </a:lnTo>
                    <a:lnTo>
                      <a:pt x="1152" y="1016"/>
                    </a:lnTo>
                    <a:lnTo>
                      <a:pt x="1146" y="1004"/>
                    </a:lnTo>
                    <a:lnTo>
                      <a:pt x="1142" y="988"/>
                    </a:lnTo>
                    <a:lnTo>
                      <a:pt x="1142" y="968"/>
                    </a:lnTo>
                    <a:lnTo>
                      <a:pt x="1142" y="968"/>
                    </a:lnTo>
                    <a:lnTo>
                      <a:pt x="1150" y="928"/>
                    </a:lnTo>
                    <a:lnTo>
                      <a:pt x="1152" y="910"/>
                    </a:lnTo>
                    <a:lnTo>
                      <a:pt x="1154" y="896"/>
                    </a:lnTo>
                    <a:lnTo>
                      <a:pt x="1152" y="882"/>
                    </a:lnTo>
                    <a:lnTo>
                      <a:pt x="1148" y="868"/>
                    </a:lnTo>
                    <a:lnTo>
                      <a:pt x="1140" y="856"/>
                    </a:lnTo>
                    <a:lnTo>
                      <a:pt x="1126" y="844"/>
                    </a:lnTo>
                    <a:lnTo>
                      <a:pt x="1126" y="844"/>
                    </a:lnTo>
                    <a:lnTo>
                      <a:pt x="1116" y="832"/>
                    </a:lnTo>
                    <a:lnTo>
                      <a:pt x="1114" y="828"/>
                    </a:lnTo>
                    <a:lnTo>
                      <a:pt x="1112" y="824"/>
                    </a:lnTo>
                    <a:lnTo>
                      <a:pt x="1114" y="822"/>
                    </a:lnTo>
                    <a:lnTo>
                      <a:pt x="1118" y="818"/>
                    </a:lnTo>
                    <a:lnTo>
                      <a:pt x="1126" y="812"/>
                    </a:lnTo>
                    <a:lnTo>
                      <a:pt x="1136" y="804"/>
                    </a:lnTo>
                    <a:lnTo>
                      <a:pt x="1146" y="796"/>
                    </a:lnTo>
                    <a:lnTo>
                      <a:pt x="1150" y="790"/>
                    </a:lnTo>
                    <a:lnTo>
                      <a:pt x="1154" y="782"/>
                    </a:lnTo>
                    <a:lnTo>
                      <a:pt x="1156" y="774"/>
                    </a:lnTo>
                    <a:lnTo>
                      <a:pt x="1156" y="764"/>
                    </a:lnTo>
                    <a:lnTo>
                      <a:pt x="1156" y="764"/>
                    </a:lnTo>
                    <a:lnTo>
                      <a:pt x="1156" y="754"/>
                    </a:lnTo>
                    <a:lnTo>
                      <a:pt x="1152" y="744"/>
                    </a:lnTo>
                    <a:lnTo>
                      <a:pt x="1148" y="738"/>
                    </a:lnTo>
                    <a:lnTo>
                      <a:pt x="1142" y="732"/>
                    </a:lnTo>
                    <a:lnTo>
                      <a:pt x="1134" y="728"/>
                    </a:lnTo>
                    <a:lnTo>
                      <a:pt x="1126" y="724"/>
                    </a:lnTo>
                    <a:lnTo>
                      <a:pt x="1106" y="722"/>
                    </a:lnTo>
                    <a:lnTo>
                      <a:pt x="1086" y="722"/>
                    </a:lnTo>
                    <a:lnTo>
                      <a:pt x="1064" y="724"/>
                    </a:lnTo>
                    <a:lnTo>
                      <a:pt x="1044" y="724"/>
                    </a:lnTo>
                    <a:lnTo>
                      <a:pt x="1028" y="722"/>
                    </a:lnTo>
                    <a:lnTo>
                      <a:pt x="1028" y="722"/>
                    </a:lnTo>
                    <a:lnTo>
                      <a:pt x="1020" y="722"/>
                    </a:lnTo>
                    <a:lnTo>
                      <a:pt x="1012" y="722"/>
                    </a:lnTo>
                    <a:lnTo>
                      <a:pt x="1006" y="726"/>
                    </a:lnTo>
                    <a:lnTo>
                      <a:pt x="1002" y="732"/>
                    </a:lnTo>
                    <a:lnTo>
                      <a:pt x="994" y="748"/>
                    </a:lnTo>
                    <a:lnTo>
                      <a:pt x="988" y="766"/>
                    </a:lnTo>
                    <a:lnTo>
                      <a:pt x="980" y="788"/>
                    </a:lnTo>
                    <a:lnTo>
                      <a:pt x="970" y="808"/>
                    </a:lnTo>
                    <a:lnTo>
                      <a:pt x="964" y="816"/>
                    </a:lnTo>
                    <a:lnTo>
                      <a:pt x="958" y="824"/>
                    </a:lnTo>
                    <a:lnTo>
                      <a:pt x="948" y="832"/>
                    </a:lnTo>
                    <a:lnTo>
                      <a:pt x="938" y="838"/>
                    </a:lnTo>
                    <a:lnTo>
                      <a:pt x="938" y="838"/>
                    </a:lnTo>
                    <a:lnTo>
                      <a:pt x="916" y="848"/>
                    </a:lnTo>
                    <a:lnTo>
                      <a:pt x="908" y="854"/>
                    </a:lnTo>
                    <a:lnTo>
                      <a:pt x="906" y="858"/>
                    </a:lnTo>
                    <a:lnTo>
                      <a:pt x="904" y="862"/>
                    </a:lnTo>
                    <a:lnTo>
                      <a:pt x="906" y="866"/>
                    </a:lnTo>
                    <a:lnTo>
                      <a:pt x="912" y="874"/>
                    </a:lnTo>
                    <a:lnTo>
                      <a:pt x="920" y="884"/>
                    </a:lnTo>
                    <a:lnTo>
                      <a:pt x="922" y="888"/>
                    </a:lnTo>
                    <a:lnTo>
                      <a:pt x="926" y="894"/>
                    </a:lnTo>
                    <a:lnTo>
                      <a:pt x="926" y="902"/>
                    </a:lnTo>
                    <a:lnTo>
                      <a:pt x="926" y="910"/>
                    </a:lnTo>
                    <a:lnTo>
                      <a:pt x="922" y="918"/>
                    </a:lnTo>
                    <a:lnTo>
                      <a:pt x="916" y="928"/>
                    </a:lnTo>
                    <a:lnTo>
                      <a:pt x="916" y="928"/>
                    </a:lnTo>
                    <a:lnTo>
                      <a:pt x="912" y="938"/>
                    </a:lnTo>
                    <a:lnTo>
                      <a:pt x="910" y="948"/>
                    </a:lnTo>
                    <a:lnTo>
                      <a:pt x="912" y="954"/>
                    </a:lnTo>
                    <a:lnTo>
                      <a:pt x="916" y="962"/>
                    </a:lnTo>
                    <a:lnTo>
                      <a:pt x="924" y="968"/>
                    </a:lnTo>
                    <a:lnTo>
                      <a:pt x="932" y="974"/>
                    </a:lnTo>
                    <a:lnTo>
                      <a:pt x="952" y="986"/>
                    </a:lnTo>
                    <a:lnTo>
                      <a:pt x="974" y="996"/>
                    </a:lnTo>
                    <a:lnTo>
                      <a:pt x="982" y="1002"/>
                    </a:lnTo>
                    <a:lnTo>
                      <a:pt x="990" y="1008"/>
                    </a:lnTo>
                    <a:lnTo>
                      <a:pt x="996" y="1014"/>
                    </a:lnTo>
                    <a:lnTo>
                      <a:pt x="998" y="1022"/>
                    </a:lnTo>
                    <a:lnTo>
                      <a:pt x="998" y="1030"/>
                    </a:lnTo>
                    <a:lnTo>
                      <a:pt x="992" y="1040"/>
                    </a:lnTo>
                    <a:lnTo>
                      <a:pt x="992" y="1040"/>
                    </a:lnTo>
                    <a:lnTo>
                      <a:pt x="982" y="1054"/>
                    </a:lnTo>
                    <a:lnTo>
                      <a:pt x="978" y="1058"/>
                    </a:lnTo>
                    <a:lnTo>
                      <a:pt x="974" y="1060"/>
                    </a:lnTo>
                    <a:lnTo>
                      <a:pt x="970" y="1060"/>
                    </a:lnTo>
                    <a:lnTo>
                      <a:pt x="966" y="1060"/>
                    </a:lnTo>
                    <a:lnTo>
                      <a:pt x="956" y="1052"/>
                    </a:lnTo>
                    <a:lnTo>
                      <a:pt x="942" y="1040"/>
                    </a:lnTo>
                    <a:lnTo>
                      <a:pt x="918" y="1024"/>
                    </a:lnTo>
                    <a:lnTo>
                      <a:pt x="884" y="1004"/>
                    </a:lnTo>
                    <a:lnTo>
                      <a:pt x="862" y="994"/>
                    </a:lnTo>
                    <a:lnTo>
                      <a:pt x="838" y="984"/>
                    </a:lnTo>
                    <a:lnTo>
                      <a:pt x="838" y="984"/>
                    </a:lnTo>
                    <a:lnTo>
                      <a:pt x="810" y="974"/>
                    </a:lnTo>
                    <a:lnTo>
                      <a:pt x="786" y="966"/>
                    </a:lnTo>
                    <a:lnTo>
                      <a:pt x="762" y="960"/>
                    </a:lnTo>
                    <a:lnTo>
                      <a:pt x="742" y="956"/>
                    </a:lnTo>
                    <a:lnTo>
                      <a:pt x="724" y="954"/>
                    </a:lnTo>
                    <a:lnTo>
                      <a:pt x="706" y="952"/>
                    </a:lnTo>
                    <a:lnTo>
                      <a:pt x="692" y="952"/>
                    </a:lnTo>
                    <a:lnTo>
                      <a:pt x="678" y="954"/>
                    </a:lnTo>
                    <a:lnTo>
                      <a:pt x="668" y="956"/>
                    </a:lnTo>
                    <a:lnTo>
                      <a:pt x="660" y="960"/>
                    </a:lnTo>
                    <a:lnTo>
                      <a:pt x="654" y="964"/>
                    </a:lnTo>
                    <a:lnTo>
                      <a:pt x="650" y="968"/>
                    </a:lnTo>
                    <a:lnTo>
                      <a:pt x="650" y="974"/>
                    </a:lnTo>
                    <a:lnTo>
                      <a:pt x="650" y="980"/>
                    </a:lnTo>
                    <a:lnTo>
                      <a:pt x="654" y="986"/>
                    </a:lnTo>
                    <a:lnTo>
                      <a:pt x="660" y="994"/>
                    </a:lnTo>
                    <a:lnTo>
                      <a:pt x="660" y="994"/>
                    </a:lnTo>
                    <a:lnTo>
                      <a:pt x="664" y="998"/>
                    </a:lnTo>
                    <a:lnTo>
                      <a:pt x="664" y="1004"/>
                    </a:lnTo>
                    <a:lnTo>
                      <a:pt x="664" y="1010"/>
                    </a:lnTo>
                    <a:lnTo>
                      <a:pt x="662" y="1016"/>
                    </a:lnTo>
                    <a:lnTo>
                      <a:pt x="654" y="1028"/>
                    </a:lnTo>
                    <a:lnTo>
                      <a:pt x="642" y="1038"/>
                    </a:lnTo>
                    <a:lnTo>
                      <a:pt x="628" y="1044"/>
                    </a:lnTo>
                    <a:lnTo>
                      <a:pt x="622" y="1046"/>
                    </a:lnTo>
                    <a:lnTo>
                      <a:pt x="618" y="1046"/>
                    </a:lnTo>
                    <a:lnTo>
                      <a:pt x="612" y="1046"/>
                    </a:lnTo>
                    <a:lnTo>
                      <a:pt x="608" y="1042"/>
                    </a:lnTo>
                    <a:lnTo>
                      <a:pt x="606" y="1038"/>
                    </a:lnTo>
                    <a:lnTo>
                      <a:pt x="606" y="1030"/>
                    </a:lnTo>
                    <a:lnTo>
                      <a:pt x="606" y="1030"/>
                    </a:lnTo>
                    <a:lnTo>
                      <a:pt x="604" y="1018"/>
                    </a:lnTo>
                    <a:lnTo>
                      <a:pt x="602" y="1010"/>
                    </a:lnTo>
                    <a:lnTo>
                      <a:pt x="596" y="1006"/>
                    </a:lnTo>
                    <a:lnTo>
                      <a:pt x="590" y="1006"/>
                    </a:lnTo>
                    <a:lnTo>
                      <a:pt x="582" y="1010"/>
                    </a:lnTo>
                    <a:lnTo>
                      <a:pt x="570" y="1016"/>
                    </a:lnTo>
                    <a:lnTo>
                      <a:pt x="542" y="1034"/>
                    </a:lnTo>
                    <a:lnTo>
                      <a:pt x="542" y="1034"/>
                    </a:lnTo>
                    <a:lnTo>
                      <a:pt x="526" y="1042"/>
                    </a:lnTo>
                    <a:lnTo>
                      <a:pt x="520" y="1042"/>
                    </a:lnTo>
                    <a:lnTo>
                      <a:pt x="516" y="1042"/>
                    </a:lnTo>
                    <a:lnTo>
                      <a:pt x="506" y="1040"/>
                    </a:lnTo>
                    <a:lnTo>
                      <a:pt x="498" y="1036"/>
                    </a:lnTo>
                    <a:lnTo>
                      <a:pt x="488" y="1032"/>
                    </a:lnTo>
                    <a:lnTo>
                      <a:pt x="478" y="1032"/>
                    </a:lnTo>
                    <a:lnTo>
                      <a:pt x="470" y="1032"/>
                    </a:lnTo>
                    <a:lnTo>
                      <a:pt x="462" y="1034"/>
                    </a:lnTo>
                    <a:lnTo>
                      <a:pt x="440" y="1046"/>
                    </a:lnTo>
                    <a:lnTo>
                      <a:pt x="440" y="1046"/>
                    </a:lnTo>
                    <a:lnTo>
                      <a:pt x="420" y="1056"/>
                    </a:lnTo>
                    <a:lnTo>
                      <a:pt x="412" y="1060"/>
                    </a:lnTo>
                    <a:lnTo>
                      <a:pt x="406" y="1060"/>
                    </a:lnTo>
                    <a:lnTo>
                      <a:pt x="400" y="1060"/>
                    </a:lnTo>
                    <a:lnTo>
                      <a:pt x="396" y="1058"/>
                    </a:lnTo>
                    <a:lnTo>
                      <a:pt x="392" y="1054"/>
                    </a:lnTo>
                    <a:lnTo>
                      <a:pt x="390" y="1052"/>
                    </a:lnTo>
                    <a:lnTo>
                      <a:pt x="388" y="1042"/>
                    </a:lnTo>
                    <a:lnTo>
                      <a:pt x="392" y="1030"/>
                    </a:lnTo>
                    <a:lnTo>
                      <a:pt x="396" y="1020"/>
                    </a:lnTo>
                    <a:lnTo>
                      <a:pt x="406" y="1012"/>
                    </a:lnTo>
                    <a:lnTo>
                      <a:pt x="406" y="1012"/>
                    </a:lnTo>
                    <a:lnTo>
                      <a:pt x="410" y="1006"/>
                    </a:lnTo>
                    <a:lnTo>
                      <a:pt x="412" y="1004"/>
                    </a:lnTo>
                    <a:lnTo>
                      <a:pt x="410" y="1004"/>
                    </a:lnTo>
                    <a:lnTo>
                      <a:pt x="402" y="1004"/>
                    </a:lnTo>
                    <a:lnTo>
                      <a:pt x="388" y="1008"/>
                    </a:lnTo>
                    <a:lnTo>
                      <a:pt x="368" y="1014"/>
                    </a:lnTo>
                    <a:lnTo>
                      <a:pt x="342" y="1024"/>
                    </a:lnTo>
                    <a:lnTo>
                      <a:pt x="312" y="1038"/>
                    </a:lnTo>
                    <a:lnTo>
                      <a:pt x="276" y="1054"/>
                    </a:lnTo>
                    <a:lnTo>
                      <a:pt x="276" y="1054"/>
                    </a:lnTo>
                    <a:lnTo>
                      <a:pt x="242" y="1070"/>
                    </a:lnTo>
                    <a:lnTo>
                      <a:pt x="216" y="1078"/>
                    </a:lnTo>
                    <a:lnTo>
                      <a:pt x="196" y="1084"/>
                    </a:lnTo>
                    <a:lnTo>
                      <a:pt x="180" y="1086"/>
                    </a:lnTo>
                    <a:lnTo>
                      <a:pt x="168" y="1088"/>
                    </a:lnTo>
                    <a:lnTo>
                      <a:pt x="158" y="1094"/>
                    </a:lnTo>
                    <a:lnTo>
                      <a:pt x="152" y="1106"/>
                    </a:lnTo>
                    <a:lnTo>
                      <a:pt x="144" y="1124"/>
                    </a:lnTo>
                    <a:lnTo>
                      <a:pt x="144" y="1124"/>
                    </a:lnTo>
                    <a:lnTo>
                      <a:pt x="138" y="1142"/>
                    </a:lnTo>
                    <a:lnTo>
                      <a:pt x="132" y="1152"/>
                    </a:lnTo>
                    <a:lnTo>
                      <a:pt x="126" y="1158"/>
                    </a:lnTo>
                    <a:lnTo>
                      <a:pt x="120" y="1158"/>
                    </a:lnTo>
                    <a:lnTo>
                      <a:pt x="106" y="1156"/>
                    </a:lnTo>
                    <a:lnTo>
                      <a:pt x="98" y="1156"/>
                    </a:lnTo>
                    <a:lnTo>
                      <a:pt x="86" y="1160"/>
                    </a:lnTo>
                    <a:lnTo>
                      <a:pt x="86" y="1160"/>
                    </a:lnTo>
                    <a:lnTo>
                      <a:pt x="78" y="1164"/>
                    </a:lnTo>
                    <a:lnTo>
                      <a:pt x="78" y="1164"/>
                    </a:lnTo>
                    <a:lnTo>
                      <a:pt x="54" y="1230"/>
                    </a:lnTo>
                    <a:lnTo>
                      <a:pt x="44" y="1256"/>
                    </a:lnTo>
                    <a:lnTo>
                      <a:pt x="36" y="1274"/>
                    </a:lnTo>
                    <a:lnTo>
                      <a:pt x="36" y="1274"/>
                    </a:lnTo>
                    <a:lnTo>
                      <a:pt x="28" y="1292"/>
                    </a:lnTo>
                    <a:lnTo>
                      <a:pt x="20" y="1312"/>
                    </a:lnTo>
                    <a:lnTo>
                      <a:pt x="8" y="1346"/>
                    </a:lnTo>
                    <a:lnTo>
                      <a:pt x="0" y="1382"/>
                    </a:lnTo>
                    <a:lnTo>
                      <a:pt x="0" y="1562"/>
                    </a:lnTo>
                    <a:lnTo>
                      <a:pt x="60" y="1706"/>
                    </a:lnTo>
                    <a:lnTo>
                      <a:pt x="180" y="1898"/>
                    </a:lnTo>
                    <a:lnTo>
                      <a:pt x="236" y="2142"/>
                    </a:lnTo>
                    <a:lnTo>
                      <a:pt x="172" y="2176"/>
                    </a:lnTo>
                    <a:lnTo>
                      <a:pt x="166" y="2200"/>
                    </a:lnTo>
                    <a:lnTo>
                      <a:pt x="124" y="2214"/>
                    </a:lnTo>
                    <a:lnTo>
                      <a:pt x="124" y="2214"/>
                    </a:lnTo>
                    <a:lnTo>
                      <a:pt x="104" y="2206"/>
                    </a:lnTo>
                    <a:lnTo>
                      <a:pt x="92" y="2204"/>
                    </a:lnTo>
                    <a:lnTo>
                      <a:pt x="86" y="2204"/>
                    </a:lnTo>
                    <a:lnTo>
                      <a:pt x="84" y="2208"/>
                    </a:lnTo>
                    <a:lnTo>
                      <a:pt x="84" y="2208"/>
                    </a:lnTo>
                    <a:lnTo>
                      <a:pt x="70" y="2258"/>
                    </a:lnTo>
                    <a:lnTo>
                      <a:pt x="60" y="2304"/>
                    </a:lnTo>
                    <a:lnTo>
                      <a:pt x="76" y="2364"/>
                    </a:lnTo>
                    <a:lnTo>
                      <a:pt x="114" y="2388"/>
                    </a:lnTo>
                    <a:lnTo>
                      <a:pt x="142" y="2422"/>
                    </a:lnTo>
                    <a:lnTo>
                      <a:pt x="148" y="2454"/>
                    </a:lnTo>
                    <a:lnTo>
                      <a:pt x="130" y="2486"/>
                    </a:lnTo>
                    <a:lnTo>
                      <a:pt x="98" y="2508"/>
                    </a:lnTo>
                    <a:lnTo>
                      <a:pt x="70" y="2552"/>
                    </a:lnTo>
                    <a:lnTo>
                      <a:pt x="80" y="2588"/>
                    </a:lnTo>
                    <a:lnTo>
                      <a:pt x="132" y="2652"/>
                    </a:lnTo>
                    <a:lnTo>
                      <a:pt x="156" y="2704"/>
                    </a:lnTo>
                    <a:lnTo>
                      <a:pt x="182" y="2744"/>
                    </a:lnTo>
                    <a:lnTo>
                      <a:pt x="180" y="2776"/>
                    </a:lnTo>
                    <a:lnTo>
                      <a:pt x="182" y="2792"/>
                    </a:lnTo>
                    <a:lnTo>
                      <a:pt x="186" y="2844"/>
                    </a:lnTo>
                    <a:lnTo>
                      <a:pt x="190" y="2864"/>
                    </a:lnTo>
                    <a:lnTo>
                      <a:pt x="190" y="2864"/>
                    </a:lnTo>
                    <a:lnTo>
                      <a:pt x="186" y="2882"/>
                    </a:lnTo>
                    <a:lnTo>
                      <a:pt x="188" y="2896"/>
                    </a:lnTo>
                    <a:lnTo>
                      <a:pt x="188" y="2896"/>
                    </a:lnTo>
                    <a:lnTo>
                      <a:pt x="182" y="2898"/>
                    </a:lnTo>
                    <a:lnTo>
                      <a:pt x="178" y="2898"/>
                    </a:lnTo>
                    <a:lnTo>
                      <a:pt x="176" y="2896"/>
                    </a:lnTo>
                    <a:lnTo>
                      <a:pt x="176" y="2894"/>
                    </a:lnTo>
                    <a:lnTo>
                      <a:pt x="174" y="2888"/>
                    </a:lnTo>
                    <a:lnTo>
                      <a:pt x="172" y="2886"/>
                    </a:lnTo>
                    <a:lnTo>
                      <a:pt x="170" y="2886"/>
                    </a:lnTo>
                    <a:lnTo>
                      <a:pt x="170" y="2886"/>
                    </a:lnTo>
                    <a:lnTo>
                      <a:pt x="172" y="2886"/>
                    </a:lnTo>
                    <a:lnTo>
                      <a:pt x="174" y="2888"/>
                    </a:lnTo>
                    <a:lnTo>
                      <a:pt x="176" y="2894"/>
                    </a:lnTo>
                    <a:lnTo>
                      <a:pt x="176" y="2896"/>
                    </a:lnTo>
                    <a:lnTo>
                      <a:pt x="178" y="2898"/>
                    </a:lnTo>
                    <a:lnTo>
                      <a:pt x="182" y="2898"/>
                    </a:lnTo>
                    <a:lnTo>
                      <a:pt x="188" y="2896"/>
                    </a:lnTo>
                    <a:lnTo>
                      <a:pt x="174" y="2986"/>
                    </a:lnTo>
                    <a:lnTo>
                      <a:pt x="174" y="3028"/>
                    </a:lnTo>
                    <a:lnTo>
                      <a:pt x="168" y="3124"/>
                    </a:lnTo>
                    <a:lnTo>
                      <a:pt x="174" y="3168"/>
                    </a:lnTo>
                    <a:lnTo>
                      <a:pt x="210" y="3264"/>
                    </a:lnTo>
                    <a:lnTo>
                      <a:pt x="248" y="3338"/>
                    </a:lnTo>
                    <a:lnTo>
                      <a:pt x="248" y="3362"/>
                    </a:lnTo>
                    <a:lnTo>
                      <a:pt x="248" y="3362"/>
                    </a:lnTo>
                    <a:lnTo>
                      <a:pt x="248" y="3362"/>
                    </a:lnTo>
                    <a:lnTo>
                      <a:pt x="248" y="3362"/>
                    </a:lnTo>
                    <a:lnTo>
                      <a:pt x="254" y="3368"/>
                    </a:lnTo>
                    <a:lnTo>
                      <a:pt x="258" y="3372"/>
                    </a:lnTo>
                    <a:lnTo>
                      <a:pt x="262" y="3384"/>
                    </a:lnTo>
                    <a:lnTo>
                      <a:pt x="264" y="3394"/>
                    </a:lnTo>
                    <a:lnTo>
                      <a:pt x="268" y="3400"/>
                    </a:lnTo>
                    <a:lnTo>
                      <a:pt x="272" y="3406"/>
                    </a:lnTo>
                    <a:lnTo>
                      <a:pt x="272" y="3406"/>
                    </a:lnTo>
                    <a:lnTo>
                      <a:pt x="276" y="3412"/>
                    </a:lnTo>
                    <a:lnTo>
                      <a:pt x="278" y="3416"/>
                    </a:lnTo>
                    <a:lnTo>
                      <a:pt x="278" y="3424"/>
                    </a:lnTo>
                    <a:lnTo>
                      <a:pt x="280" y="3432"/>
                    </a:lnTo>
                    <a:lnTo>
                      <a:pt x="282" y="3438"/>
                    </a:lnTo>
                    <a:lnTo>
                      <a:pt x="286" y="3444"/>
                    </a:lnTo>
                    <a:lnTo>
                      <a:pt x="286" y="3444"/>
                    </a:lnTo>
                    <a:lnTo>
                      <a:pt x="294" y="3452"/>
                    </a:lnTo>
                    <a:lnTo>
                      <a:pt x="302" y="3456"/>
                    </a:lnTo>
                    <a:lnTo>
                      <a:pt x="320" y="3464"/>
                    </a:lnTo>
                    <a:lnTo>
                      <a:pt x="334" y="3470"/>
                    </a:lnTo>
                    <a:lnTo>
                      <a:pt x="338" y="3474"/>
                    </a:lnTo>
                    <a:lnTo>
                      <a:pt x="338" y="3478"/>
                    </a:lnTo>
                    <a:lnTo>
                      <a:pt x="338" y="3478"/>
                    </a:lnTo>
                    <a:lnTo>
                      <a:pt x="338" y="3480"/>
                    </a:lnTo>
                    <a:lnTo>
                      <a:pt x="340" y="3484"/>
                    </a:lnTo>
                    <a:lnTo>
                      <a:pt x="350" y="3490"/>
                    </a:lnTo>
                    <a:lnTo>
                      <a:pt x="360" y="3496"/>
                    </a:lnTo>
                    <a:lnTo>
                      <a:pt x="366" y="3500"/>
                    </a:lnTo>
                    <a:lnTo>
                      <a:pt x="366" y="3500"/>
                    </a:lnTo>
                    <a:lnTo>
                      <a:pt x="374" y="3508"/>
                    </a:lnTo>
                    <a:lnTo>
                      <a:pt x="382" y="3512"/>
                    </a:lnTo>
                    <a:lnTo>
                      <a:pt x="388" y="3514"/>
                    </a:lnTo>
                    <a:lnTo>
                      <a:pt x="394" y="3514"/>
                    </a:lnTo>
                    <a:lnTo>
                      <a:pt x="404" y="3516"/>
                    </a:lnTo>
                    <a:lnTo>
                      <a:pt x="410" y="3516"/>
                    </a:lnTo>
                    <a:lnTo>
                      <a:pt x="414" y="3522"/>
                    </a:lnTo>
                    <a:lnTo>
                      <a:pt x="414" y="3522"/>
                    </a:lnTo>
                    <a:lnTo>
                      <a:pt x="420" y="3524"/>
                    </a:lnTo>
                    <a:lnTo>
                      <a:pt x="424" y="3526"/>
                    </a:lnTo>
                    <a:lnTo>
                      <a:pt x="428" y="3524"/>
                    </a:lnTo>
                    <a:lnTo>
                      <a:pt x="432" y="3522"/>
                    </a:lnTo>
                    <a:lnTo>
                      <a:pt x="442" y="3514"/>
                    </a:lnTo>
                    <a:lnTo>
                      <a:pt x="446" y="3512"/>
                    </a:lnTo>
                    <a:lnTo>
                      <a:pt x="450" y="3512"/>
                    </a:lnTo>
                    <a:lnTo>
                      <a:pt x="450" y="3512"/>
                    </a:lnTo>
                    <a:lnTo>
                      <a:pt x="456" y="3510"/>
                    </a:lnTo>
                    <a:lnTo>
                      <a:pt x="458" y="3508"/>
                    </a:lnTo>
                    <a:lnTo>
                      <a:pt x="462" y="3504"/>
                    </a:lnTo>
                    <a:lnTo>
                      <a:pt x="464" y="3502"/>
                    </a:lnTo>
                    <a:lnTo>
                      <a:pt x="468" y="3502"/>
                    </a:lnTo>
                    <a:lnTo>
                      <a:pt x="468" y="3502"/>
                    </a:lnTo>
                    <a:lnTo>
                      <a:pt x="472" y="3500"/>
                    </a:lnTo>
                    <a:lnTo>
                      <a:pt x="476" y="3498"/>
                    </a:lnTo>
                    <a:lnTo>
                      <a:pt x="480" y="3494"/>
                    </a:lnTo>
                    <a:lnTo>
                      <a:pt x="482" y="3492"/>
                    </a:lnTo>
                    <a:lnTo>
                      <a:pt x="488" y="3490"/>
                    </a:lnTo>
                    <a:lnTo>
                      <a:pt x="492" y="3490"/>
                    </a:lnTo>
                    <a:lnTo>
                      <a:pt x="500" y="3492"/>
                    </a:lnTo>
                    <a:lnTo>
                      <a:pt x="500" y="3492"/>
                    </a:lnTo>
                    <a:lnTo>
                      <a:pt x="508" y="3496"/>
                    </a:lnTo>
                    <a:lnTo>
                      <a:pt x="514" y="3502"/>
                    </a:lnTo>
                    <a:lnTo>
                      <a:pt x="518" y="3512"/>
                    </a:lnTo>
                    <a:lnTo>
                      <a:pt x="520" y="3522"/>
                    </a:lnTo>
                    <a:lnTo>
                      <a:pt x="524" y="3542"/>
                    </a:lnTo>
                    <a:lnTo>
                      <a:pt x="526" y="3558"/>
                    </a:lnTo>
                    <a:lnTo>
                      <a:pt x="526" y="3558"/>
                    </a:lnTo>
                    <a:lnTo>
                      <a:pt x="528" y="3562"/>
                    </a:lnTo>
                    <a:lnTo>
                      <a:pt x="532" y="3564"/>
                    </a:lnTo>
                    <a:lnTo>
                      <a:pt x="542" y="3566"/>
                    </a:lnTo>
                    <a:lnTo>
                      <a:pt x="550" y="3568"/>
                    </a:lnTo>
                    <a:lnTo>
                      <a:pt x="554" y="3570"/>
                    </a:lnTo>
                    <a:lnTo>
                      <a:pt x="558" y="3572"/>
                    </a:lnTo>
                    <a:lnTo>
                      <a:pt x="558" y="3572"/>
                    </a:lnTo>
                    <a:lnTo>
                      <a:pt x="562" y="3576"/>
                    </a:lnTo>
                    <a:lnTo>
                      <a:pt x="566" y="3574"/>
                    </a:lnTo>
                    <a:lnTo>
                      <a:pt x="570" y="3574"/>
                    </a:lnTo>
                    <a:lnTo>
                      <a:pt x="580" y="3574"/>
                    </a:lnTo>
                    <a:lnTo>
                      <a:pt x="580" y="3574"/>
                    </a:lnTo>
                    <a:lnTo>
                      <a:pt x="586" y="3574"/>
                    </a:lnTo>
                    <a:lnTo>
                      <a:pt x="590" y="3576"/>
                    </a:lnTo>
                    <a:lnTo>
                      <a:pt x="596" y="3580"/>
                    </a:lnTo>
                    <a:lnTo>
                      <a:pt x="600" y="3584"/>
                    </a:lnTo>
                    <a:lnTo>
                      <a:pt x="604" y="3584"/>
                    </a:lnTo>
                    <a:lnTo>
                      <a:pt x="608" y="3582"/>
                    </a:lnTo>
                    <a:lnTo>
                      <a:pt x="608" y="3582"/>
                    </a:lnTo>
                    <a:lnTo>
                      <a:pt x="614" y="3580"/>
                    </a:lnTo>
                    <a:lnTo>
                      <a:pt x="620" y="3582"/>
                    </a:lnTo>
                    <a:lnTo>
                      <a:pt x="636" y="3584"/>
                    </a:lnTo>
                    <a:lnTo>
                      <a:pt x="650" y="3588"/>
                    </a:lnTo>
                    <a:lnTo>
                      <a:pt x="652" y="3588"/>
                    </a:lnTo>
                    <a:lnTo>
                      <a:pt x="654" y="3586"/>
                    </a:lnTo>
                    <a:lnTo>
                      <a:pt x="654" y="3586"/>
                    </a:lnTo>
                    <a:lnTo>
                      <a:pt x="654" y="3582"/>
                    </a:lnTo>
                    <a:lnTo>
                      <a:pt x="656" y="3580"/>
                    </a:lnTo>
                    <a:lnTo>
                      <a:pt x="658" y="3582"/>
                    </a:lnTo>
                    <a:lnTo>
                      <a:pt x="662" y="3586"/>
                    </a:lnTo>
                    <a:lnTo>
                      <a:pt x="662" y="3586"/>
                    </a:lnTo>
                    <a:lnTo>
                      <a:pt x="664" y="3590"/>
                    </a:lnTo>
                    <a:lnTo>
                      <a:pt x="670" y="3592"/>
                    </a:lnTo>
                    <a:lnTo>
                      <a:pt x="678" y="3594"/>
                    </a:lnTo>
                    <a:lnTo>
                      <a:pt x="688" y="3598"/>
                    </a:lnTo>
                    <a:lnTo>
                      <a:pt x="688" y="3598"/>
                    </a:lnTo>
                    <a:lnTo>
                      <a:pt x="692" y="3600"/>
                    </a:lnTo>
                    <a:lnTo>
                      <a:pt x="696" y="3600"/>
                    </a:lnTo>
                    <a:lnTo>
                      <a:pt x="696" y="3596"/>
                    </a:lnTo>
                    <a:lnTo>
                      <a:pt x="698" y="3592"/>
                    </a:lnTo>
                    <a:lnTo>
                      <a:pt x="700" y="3592"/>
                    </a:lnTo>
                    <a:lnTo>
                      <a:pt x="702" y="3592"/>
                    </a:lnTo>
                    <a:lnTo>
                      <a:pt x="702" y="3592"/>
                    </a:lnTo>
                    <a:lnTo>
                      <a:pt x="706" y="3598"/>
                    </a:lnTo>
                    <a:lnTo>
                      <a:pt x="710" y="3600"/>
                    </a:lnTo>
                    <a:lnTo>
                      <a:pt x="712" y="3600"/>
                    </a:lnTo>
                    <a:lnTo>
                      <a:pt x="716" y="3598"/>
                    </a:lnTo>
                    <a:lnTo>
                      <a:pt x="724" y="3594"/>
                    </a:lnTo>
                    <a:lnTo>
                      <a:pt x="726" y="3592"/>
                    </a:lnTo>
                    <a:lnTo>
                      <a:pt x="730" y="3594"/>
                    </a:lnTo>
                    <a:lnTo>
                      <a:pt x="730" y="3594"/>
                    </a:lnTo>
                    <a:lnTo>
                      <a:pt x="732" y="3594"/>
                    </a:lnTo>
                    <a:lnTo>
                      <a:pt x="734" y="3594"/>
                    </a:lnTo>
                    <a:lnTo>
                      <a:pt x="738" y="3590"/>
                    </a:lnTo>
                    <a:lnTo>
                      <a:pt x="740" y="3588"/>
                    </a:lnTo>
                    <a:lnTo>
                      <a:pt x="746" y="3588"/>
                    </a:lnTo>
                    <a:lnTo>
                      <a:pt x="752" y="3588"/>
                    </a:lnTo>
                    <a:lnTo>
                      <a:pt x="762" y="3590"/>
                    </a:lnTo>
                    <a:lnTo>
                      <a:pt x="762" y="3590"/>
                    </a:lnTo>
                    <a:lnTo>
                      <a:pt x="770" y="3594"/>
                    </a:lnTo>
                    <a:lnTo>
                      <a:pt x="774" y="3594"/>
                    </a:lnTo>
                    <a:lnTo>
                      <a:pt x="776" y="3592"/>
                    </a:lnTo>
                    <a:lnTo>
                      <a:pt x="778" y="3590"/>
                    </a:lnTo>
                    <a:lnTo>
                      <a:pt x="780" y="3588"/>
                    </a:lnTo>
                    <a:lnTo>
                      <a:pt x="782" y="3586"/>
                    </a:lnTo>
                    <a:lnTo>
                      <a:pt x="786" y="3586"/>
                    </a:lnTo>
                    <a:lnTo>
                      <a:pt x="794" y="3586"/>
                    </a:lnTo>
                    <a:lnTo>
                      <a:pt x="794" y="3586"/>
                    </a:lnTo>
                    <a:lnTo>
                      <a:pt x="810" y="3590"/>
                    </a:lnTo>
                    <a:lnTo>
                      <a:pt x="820" y="3594"/>
                    </a:lnTo>
                    <a:lnTo>
                      <a:pt x="824" y="3594"/>
                    </a:lnTo>
                    <a:lnTo>
                      <a:pt x="828" y="3590"/>
                    </a:lnTo>
                    <a:lnTo>
                      <a:pt x="828" y="3590"/>
                    </a:lnTo>
                    <a:lnTo>
                      <a:pt x="832" y="3588"/>
                    </a:lnTo>
                    <a:lnTo>
                      <a:pt x="840" y="3586"/>
                    </a:lnTo>
                    <a:lnTo>
                      <a:pt x="866" y="3582"/>
                    </a:lnTo>
                    <a:lnTo>
                      <a:pt x="892" y="3582"/>
                    </a:lnTo>
                    <a:lnTo>
                      <a:pt x="900" y="3584"/>
                    </a:lnTo>
                    <a:lnTo>
                      <a:pt x="904" y="3586"/>
                    </a:lnTo>
                    <a:lnTo>
                      <a:pt x="904" y="3588"/>
                    </a:lnTo>
                    <a:lnTo>
                      <a:pt x="904" y="3588"/>
                    </a:lnTo>
                    <a:lnTo>
                      <a:pt x="904" y="3598"/>
                    </a:lnTo>
                    <a:lnTo>
                      <a:pt x="904" y="3606"/>
                    </a:lnTo>
                    <a:lnTo>
                      <a:pt x="904" y="3608"/>
                    </a:lnTo>
                    <a:lnTo>
                      <a:pt x="906" y="3610"/>
                    </a:lnTo>
                    <a:lnTo>
                      <a:pt x="916" y="3612"/>
                    </a:lnTo>
                    <a:lnTo>
                      <a:pt x="916" y="3612"/>
                    </a:lnTo>
                    <a:lnTo>
                      <a:pt x="920" y="3612"/>
                    </a:lnTo>
                    <a:lnTo>
                      <a:pt x="924" y="3614"/>
                    </a:lnTo>
                    <a:lnTo>
                      <a:pt x="926" y="3616"/>
                    </a:lnTo>
                    <a:lnTo>
                      <a:pt x="926" y="3620"/>
                    </a:lnTo>
                    <a:lnTo>
                      <a:pt x="926" y="3626"/>
                    </a:lnTo>
                    <a:lnTo>
                      <a:pt x="926" y="3630"/>
                    </a:lnTo>
                    <a:lnTo>
                      <a:pt x="928" y="3634"/>
                    </a:lnTo>
                    <a:lnTo>
                      <a:pt x="928" y="3634"/>
                    </a:lnTo>
                    <a:lnTo>
                      <a:pt x="932" y="3638"/>
                    </a:lnTo>
                    <a:lnTo>
                      <a:pt x="932" y="3642"/>
                    </a:lnTo>
                    <a:lnTo>
                      <a:pt x="932" y="3646"/>
                    </a:lnTo>
                    <a:lnTo>
                      <a:pt x="934" y="3652"/>
                    </a:lnTo>
                    <a:lnTo>
                      <a:pt x="934" y="3652"/>
                    </a:lnTo>
                    <a:lnTo>
                      <a:pt x="938" y="3654"/>
                    </a:lnTo>
                    <a:lnTo>
                      <a:pt x="936" y="3656"/>
                    </a:lnTo>
                    <a:lnTo>
                      <a:pt x="936" y="3658"/>
                    </a:lnTo>
                    <a:lnTo>
                      <a:pt x="940" y="3662"/>
                    </a:lnTo>
                    <a:lnTo>
                      <a:pt x="940" y="3662"/>
                    </a:lnTo>
                    <a:lnTo>
                      <a:pt x="944" y="3664"/>
                    </a:lnTo>
                    <a:lnTo>
                      <a:pt x="946" y="3664"/>
                    </a:lnTo>
                    <a:lnTo>
                      <a:pt x="950" y="3664"/>
                    </a:lnTo>
                    <a:lnTo>
                      <a:pt x="952" y="3662"/>
                    </a:lnTo>
                    <a:lnTo>
                      <a:pt x="956" y="3664"/>
                    </a:lnTo>
                    <a:lnTo>
                      <a:pt x="958" y="3666"/>
                    </a:lnTo>
                    <a:lnTo>
                      <a:pt x="962" y="3670"/>
                    </a:lnTo>
                    <a:lnTo>
                      <a:pt x="962" y="3670"/>
                    </a:lnTo>
                    <a:lnTo>
                      <a:pt x="966" y="3674"/>
                    </a:lnTo>
                    <a:lnTo>
                      <a:pt x="972" y="3676"/>
                    </a:lnTo>
                    <a:lnTo>
                      <a:pt x="976" y="3680"/>
                    </a:lnTo>
                    <a:lnTo>
                      <a:pt x="982" y="3690"/>
                    </a:lnTo>
                    <a:lnTo>
                      <a:pt x="982" y="3690"/>
                    </a:lnTo>
                    <a:lnTo>
                      <a:pt x="986" y="3696"/>
                    </a:lnTo>
                    <a:lnTo>
                      <a:pt x="992" y="3702"/>
                    </a:lnTo>
                    <a:lnTo>
                      <a:pt x="1000" y="3708"/>
                    </a:lnTo>
                    <a:lnTo>
                      <a:pt x="1008" y="3712"/>
                    </a:lnTo>
                    <a:lnTo>
                      <a:pt x="1016" y="3716"/>
                    </a:lnTo>
                    <a:lnTo>
                      <a:pt x="1024" y="3716"/>
                    </a:lnTo>
                    <a:lnTo>
                      <a:pt x="1032" y="3716"/>
                    </a:lnTo>
                    <a:lnTo>
                      <a:pt x="1038" y="3712"/>
                    </a:lnTo>
                    <a:lnTo>
                      <a:pt x="1038" y="3712"/>
                    </a:lnTo>
                    <a:lnTo>
                      <a:pt x="1044" y="3708"/>
                    </a:lnTo>
                    <a:lnTo>
                      <a:pt x="1048" y="3708"/>
                    </a:lnTo>
                    <a:lnTo>
                      <a:pt x="1052" y="3710"/>
                    </a:lnTo>
                    <a:lnTo>
                      <a:pt x="1052" y="3714"/>
                    </a:lnTo>
                    <a:lnTo>
                      <a:pt x="1050" y="3720"/>
                    </a:lnTo>
                    <a:lnTo>
                      <a:pt x="1046" y="3726"/>
                    </a:lnTo>
                    <a:lnTo>
                      <a:pt x="1040" y="3730"/>
                    </a:lnTo>
                    <a:lnTo>
                      <a:pt x="1028" y="3734"/>
                    </a:lnTo>
                    <a:lnTo>
                      <a:pt x="1028" y="3734"/>
                    </a:lnTo>
                    <a:lnTo>
                      <a:pt x="1016" y="3736"/>
                    </a:lnTo>
                    <a:lnTo>
                      <a:pt x="1006" y="3734"/>
                    </a:lnTo>
                    <a:lnTo>
                      <a:pt x="992" y="3732"/>
                    </a:lnTo>
                    <a:lnTo>
                      <a:pt x="992" y="3734"/>
                    </a:lnTo>
                    <a:lnTo>
                      <a:pt x="992" y="3734"/>
                    </a:lnTo>
                    <a:lnTo>
                      <a:pt x="994" y="3740"/>
                    </a:lnTo>
                    <a:lnTo>
                      <a:pt x="1018" y="3770"/>
                    </a:lnTo>
                    <a:lnTo>
                      <a:pt x="1018" y="3770"/>
                    </a:lnTo>
                    <a:lnTo>
                      <a:pt x="1048" y="3804"/>
                    </a:lnTo>
                    <a:lnTo>
                      <a:pt x="1060" y="3814"/>
                    </a:lnTo>
                    <a:lnTo>
                      <a:pt x="1070" y="3820"/>
                    </a:lnTo>
                    <a:lnTo>
                      <a:pt x="1078" y="3822"/>
                    </a:lnTo>
                    <a:lnTo>
                      <a:pt x="1090" y="3818"/>
                    </a:lnTo>
                    <a:lnTo>
                      <a:pt x="1102" y="3810"/>
                    </a:lnTo>
                    <a:lnTo>
                      <a:pt x="1116" y="3798"/>
                    </a:lnTo>
                    <a:lnTo>
                      <a:pt x="1116" y="3798"/>
                    </a:lnTo>
                    <a:lnTo>
                      <a:pt x="1124" y="3790"/>
                    </a:lnTo>
                    <a:lnTo>
                      <a:pt x="1128" y="3782"/>
                    </a:lnTo>
                    <a:lnTo>
                      <a:pt x="1128" y="3772"/>
                    </a:lnTo>
                    <a:lnTo>
                      <a:pt x="1128" y="3764"/>
                    </a:lnTo>
                    <a:lnTo>
                      <a:pt x="1128" y="3756"/>
                    </a:lnTo>
                    <a:lnTo>
                      <a:pt x="1128" y="3750"/>
                    </a:lnTo>
                    <a:lnTo>
                      <a:pt x="1132" y="3744"/>
                    </a:lnTo>
                    <a:lnTo>
                      <a:pt x="1138" y="3742"/>
                    </a:lnTo>
                    <a:lnTo>
                      <a:pt x="1138" y="3742"/>
                    </a:lnTo>
                    <a:lnTo>
                      <a:pt x="1144" y="3740"/>
                    </a:lnTo>
                    <a:lnTo>
                      <a:pt x="1148" y="3740"/>
                    </a:lnTo>
                    <a:lnTo>
                      <a:pt x="1148" y="3742"/>
                    </a:lnTo>
                    <a:lnTo>
                      <a:pt x="1146" y="3746"/>
                    </a:lnTo>
                    <a:lnTo>
                      <a:pt x="1142" y="3754"/>
                    </a:lnTo>
                    <a:lnTo>
                      <a:pt x="1142" y="3760"/>
                    </a:lnTo>
                    <a:lnTo>
                      <a:pt x="1144" y="3764"/>
                    </a:lnTo>
                    <a:lnTo>
                      <a:pt x="1144" y="3764"/>
                    </a:lnTo>
                    <a:lnTo>
                      <a:pt x="1146" y="3770"/>
                    </a:lnTo>
                    <a:lnTo>
                      <a:pt x="1146" y="3774"/>
                    </a:lnTo>
                    <a:lnTo>
                      <a:pt x="1144" y="3778"/>
                    </a:lnTo>
                    <a:lnTo>
                      <a:pt x="1144" y="3782"/>
                    </a:lnTo>
                    <a:lnTo>
                      <a:pt x="1144" y="3788"/>
                    </a:lnTo>
                    <a:lnTo>
                      <a:pt x="1146" y="3794"/>
                    </a:lnTo>
                    <a:lnTo>
                      <a:pt x="1150" y="3804"/>
                    </a:lnTo>
                    <a:lnTo>
                      <a:pt x="1150" y="3804"/>
                    </a:lnTo>
                    <a:lnTo>
                      <a:pt x="1154" y="3814"/>
                    </a:lnTo>
                    <a:lnTo>
                      <a:pt x="1154" y="3822"/>
                    </a:lnTo>
                    <a:lnTo>
                      <a:pt x="1150" y="3838"/>
                    </a:lnTo>
                    <a:lnTo>
                      <a:pt x="1148" y="3848"/>
                    </a:lnTo>
                    <a:lnTo>
                      <a:pt x="1148" y="3864"/>
                    </a:lnTo>
                    <a:lnTo>
                      <a:pt x="1148" y="3884"/>
                    </a:lnTo>
                    <a:lnTo>
                      <a:pt x="1152" y="3912"/>
                    </a:lnTo>
                    <a:lnTo>
                      <a:pt x="1152" y="3912"/>
                    </a:lnTo>
                    <a:lnTo>
                      <a:pt x="1170" y="4010"/>
                    </a:lnTo>
                    <a:lnTo>
                      <a:pt x="1176" y="4042"/>
                    </a:lnTo>
                    <a:lnTo>
                      <a:pt x="1184" y="4060"/>
                    </a:lnTo>
                    <a:lnTo>
                      <a:pt x="1184" y="4060"/>
                    </a:lnTo>
                    <a:lnTo>
                      <a:pt x="1194" y="4084"/>
                    </a:lnTo>
                    <a:lnTo>
                      <a:pt x="1210" y="4122"/>
                    </a:lnTo>
                    <a:lnTo>
                      <a:pt x="1224" y="4164"/>
                    </a:lnTo>
                    <a:lnTo>
                      <a:pt x="1230" y="4184"/>
                    </a:lnTo>
                    <a:lnTo>
                      <a:pt x="1232" y="4204"/>
                    </a:lnTo>
                    <a:lnTo>
                      <a:pt x="1232" y="4204"/>
                    </a:lnTo>
                    <a:lnTo>
                      <a:pt x="1236" y="4220"/>
                    </a:lnTo>
                    <a:lnTo>
                      <a:pt x="1240" y="4232"/>
                    </a:lnTo>
                    <a:lnTo>
                      <a:pt x="1254" y="4256"/>
                    </a:lnTo>
                    <a:lnTo>
                      <a:pt x="1262" y="4268"/>
                    </a:lnTo>
                    <a:lnTo>
                      <a:pt x="1268" y="4284"/>
                    </a:lnTo>
                    <a:lnTo>
                      <a:pt x="1276" y="4304"/>
                    </a:lnTo>
                    <a:lnTo>
                      <a:pt x="1282" y="4330"/>
                    </a:lnTo>
                    <a:lnTo>
                      <a:pt x="1282" y="4330"/>
                    </a:lnTo>
                    <a:lnTo>
                      <a:pt x="1290" y="4358"/>
                    </a:lnTo>
                    <a:lnTo>
                      <a:pt x="1296" y="4384"/>
                    </a:lnTo>
                    <a:lnTo>
                      <a:pt x="1306" y="4406"/>
                    </a:lnTo>
                    <a:lnTo>
                      <a:pt x="1314" y="4424"/>
                    </a:lnTo>
                    <a:lnTo>
                      <a:pt x="1324" y="4436"/>
                    </a:lnTo>
                    <a:lnTo>
                      <a:pt x="1328" y="4442"/>
                    </a:lnTo>
                    <a:lnTo>
                      <a:pt x="1334" y="4444"/>
                    </a:lnTo>
                    <a:lnTo>
                      <a:pt x="1338" y="4446"/>
                    </a:lnTo>
                    <a:lnTo>
                      <a:pt x="1344" y="4446"/>
                    </a:lnTo>
                    <a:lnTo>
                      <a:pt x="1348" y="4444"/>
                    </a:lnTo>
                    <a:lnTo>
                      <a:pt x="1354" y="4440"/>
                    </a:lnTo>
                    <a:lnTo>
                      <a:pt x="1354" y="4440"/>
                    </a:lnTo>
                    <a:lnTo>
                      <a:pt x="1362" y="4432"/>
                    </a:lnTo>
                    <a:lnTo>
                      <a:pt x="1366" y="4424"/>
                    </a:lnTo>
                    <a:lnTo>
                      <a:pt x="1368" y="4416"/>
                    </a:lnTo>
                    <a:lnTo>
                      <a:pt x="1368" y="4410"/>
                    </a:lnTo>
                    <a:lnTo>
                      <a:pt x="1368" y="4406"/>
                    </a:lnTo>
                    <a:lnTo>
                      <a:pt x="1372" y="4400"/>
                    </a:lnTo>
                    <a:lnTo>
                      <a:pt x="1376" y="4396"/>
                    </a:lnTo>
                    <a:lnTo>
                      <a:pt x="1384" y="4394"/>
                    </a:lnTo>
                    <a:lnTo>
                      <a:pt x="1384" y="4394"/>
                    </a:lnTo>
                    <a:lnTo>
                      <a:pt x="1402" y="4390"/>
                    </a:lnTo>
                    <a:lnTo>
                      <a:pt x="1412" y="4390"/>
                    </a:lnTo>
                    <a:lnTo>
                      <a:pt x="1418" y="4390"/>
                    </a:lnTo>
                    <a:lnTo>
                      <a:pt x="1420" y="4390"/>
                    </a:lnTo>
                    <a:lnTo>
                      <a:pt x="1420" y="4388"/>
                    </a:lnTo>
                    <a:lnTo>
                      <a:pt x="1420" y="4388"/>
                    </a:lnTo>
                    <a:lnTo>
                      <a:pt x="1420" y="4386"/>
                    </a:lnTo>
                    <a:lnTo>
                      <a:pt x="1416" y="4384"/>
                    </a:lnTo>
                    <a:lnTo>
                      <a:pt x="1408" y="4382"/>
                    </a:lnTo>
                    <a:lnTo>
                      <a:pt x="1404" y="4380"/>
                    </a:lnTo>
                    <a:lnTo>
                      <a:pt x="1400" y="4376"/>
                    </a:lnTo>
                    <a:lnTo>
                      <a:pt x="1402" y="4370"/>
                    </a:lnTo>
                    <a:lnTo>
                      <a:pt x="1406" y="4362"/>
                    </a:lnTo>
                    <a:lnTo>
                      <a:pt x="1406" y="4362"/>
                    </a:lnTo>
                    <a:lnTo>
                      <a:pt x="1410" y="4354"/>
                    </a:lnTo>
                    <a:lnTo>
                      <a:pt x="1412" y="4348"/>
                    </a:lnTo>
                    <a:lnTo>
                      <a:pt x="1412" y="4342"/>
                    </a:lnTo>
                    <a:lnTo>
                      <a:pt x="1414" y="4340"/>
                    </a:lnTo>
                    <a:lnTo>
                      <a:pt x="1414" y="4340"/>
                    </a:lnTo>
                    <a:lnTo>
                      <a:pt x="1428" y="4338"/>
                    </a:lnTo>
                    <a:lnTo>
                      <a:pt x="1428" y="4338"/>
                    </a:lnTo>
                    <a:lnTo>
                      <a:pt x="1434" y="4336"/>
                    </a:lnTo>
                    <a:lnTo>
                      <a:pt x="1436" y="4334"/>
                    </a:lnTo>
                    <a:lnTo>
                      <a:pt x="1438" y="4332"/>
                    </a:lnTo>
                    <a:lnTo>
                      <a:pt x="1438" y="4322"/>
                    </a:lnTo>
                    <a:lnTo>
                      <a:pt x="1436" y="4312"/>
                    </a:lnTo>
                    <a:lnTo>
                      <a:pt x="1434" y="4298"/>
                    </a:lnTo>
                    <a:lnTo>
                      <a:pt x="1432" y="4284"/>
                    </a:lnTo>
                    <a:lnTo>
                      <a:pt x="1434" y="4266"/>
                    </a:lnTo>
                    <a:lnTo>
                      <a:pt x="1440" y="4246"/>
                    </a:lnTo>
                    <a:lnTo>
                      <a:pt x="1440" y="4246"/>
                    </a:lnTo>
                    <a:lnTo>
                      <a:pt x="1448" y="4226"/>
                    </a:lnTo>
                    <a:lnTo>
                      <a:pt x="1454" y="4206"/>
                    </a:lnTo>
                    <a:lnTo>
                      <a:pt x="1456" y="4196"/>
                    </a:lnTo>
                    <a:lnTo>
                      <a:pt x="1454" y="4186"/>
                    </a:lnTo>
                    <a:lnTo>
                      <a:pt x="1452" y="4172"/>
                    </a:lnTo>
                    <a:lnTo>
                      <a:pt x="1448" y="4154"/>
                    </a:lnTo>
                    <a:lnTo>
                      <a:pt x="1448" y="4154"/>
                    </a:lnTo>
                    <a:lnTo>
                      <a:pt x="1448" y="4144"/>
                    </a:lnTo>
                    <a:lnTo>
                      <a:pt x="1450" y="4138"/>
                    </a:lnTo>
                    <a:lnTo>
                      <a:pt x="1450" y="4128"/>
                    </a:lnTo>
                    <a:lnTo>
                      <a:pt x="1446" y="4108"/>
                    </a:lnTo>
                    <a:lnTo>
                      <a:pt x="1446" y="4108"/>
                    </a:lnTo>
                    <a:lnTo>
                      <a:pt x="1444" y="4098"/>
                    </a:lnTo>
                    <a:lnTo>
                      <a:pt x="1442" y="4088"/>
                    </a:lnTo>
                    <a:lnTo>
                      <a:pt x="1444" y="4082"/>
                    </a:lnTo>
                    <a:lnTo>
                      <a:pt x="1444" y="4076"/>
                    </a:lnTo>
                    <a:lnTo>
                      <a:pt x="1448" y="4074"/>
                    </a:lnTo>
                    <a:lnTo>
                      <a:pt x="1452" y="4070"/>
                    </a:lnTo>
                    <a:lnTo>
                      <a:pt x="1460" y="4068"/>
                    </a:lnTo>
                    <a:lnTo>
                      <a:pt x="1470" y="4066"/>
                    </a:lnTo>
                    <a:lnTo>
                      <a:pt x="1480" y="4064"/>
                    </a:lnTo>
                    <a:lnTo>
                      <a:pt x="1488" y="4058"/>
                    </a:lnTo>
                    <a:lnTo>
                      <a:pt x="1490" y="4054"/>
                    </a:lnTo>
                    <a:lnTo>
                      <a:pt x="1492" y="4050"/>
                    </a:lnTo>
                    <a:lnTo>
                      <a:pt x="1492" y="4050"/>
                    </a:lnTo>
                    <a:lnTo>
                      <a:pt x="1494" y="4040"/>
                    </a:lnTo>
                    <a:lnTo>
                      <a:pt x="1496" y="4038"/>
                    </a:lnTo>
                    <a:lnTo>
                      <a:pt x="1498" y="4038"/>
                    </a:lnTo>
                    <a:lnTo>
                      <a:pt x="1502" y="4040"/>
                    </a:lnTo>
                    <a:lnTo>
                      <a:pt x="1506" y="4042"/>
                    </a:lnTo>
                    <a:lnTo>
                      <a:pt x="1512" y="4042"/>
                    </a:lnTo>
                    <a:lnTo>
                      <a:pt x="1520" y="4040"/>
                    </a:lnTo>
                    <a:lnTo>
                      <a:pt x="1530" y="4032"/>
                    </a:lnTo>
                    <a:lnTo>
                      <a:pt x="1530" y="4032"/>
                    </a:lnTo>
                    <a:lnTo>
                      <a:pt x="1536" y="4024"/>
                    </a:lnTo>
                    <a:lnTo>
                      <a:pt x="1538" y="4020"/>
                    </a:lnTo>
                    <a:lnTo>
                      <a:pt x="1538" y="4016"/>
                    </a:lnTo>
                    <a:lnTo>
                      <a:pt x="1538" y="4014"/>
                    </a:lnTo>
                    <a:lnTo>
                      <a:pt x="1538" y="4010"/>
                    </a:lnTo>
                    <a:lnTo>
                      <a:pt x="1542" y="4004"/>
                    </a:lnTo>
                    <a:lnTo>
                      <a:pt x="1550" y="3996"/>
                    </a:lnTo>
                    <a:lnTo>
                      <a:pt x="1566" y="3982"/>
                    </a:lnTo>
                    <a:lnTo>
                      <a:pt x="1566" y="3982"/>
                    </a:lnTo>
                    <a:lnTo>
                      <a:pt x="1584" y="3966"/>
                    </a:lnTo>
                    <a:lnTo>
                      <a:pt x="1600" y="3950"/>
                    </a:lnTo>
                    <a:lnTo>
                      <a:pt x="1624" y="3918"/>
                    </a:lnTo>
                    <a:lnTo>
                      <a:pt x="1644" y="3892"/>
                    </a:lnTo>
                    <a:lnTo>
                      <a:pt x="1654" y="3880"/>
                    </a:lnTo>
                    <a:lnTo>
                      <a:pt x="1666" y="3870"/>
                    </a:lnTo>
                    <a:lnTo>
                      <a:pt x="1666" y="3870"/>
                    </a:lnTo>
                    <a:lnTo>
                      <a:pt x="1674" y="3866"/>
                    </a:lnTo>
                    <a:lnTo>
                      <a:pt x="1680" y="3864"/>
                    </a:lnTo>
                    <a:lnTo>
                      <a:pt x="1688" y="3864"/>
                    </a:lnTo>
                    <a:lnTo>
                      <a:pt x="1692" y="3864"/>
                    </a:lnTo>
                    <a:lnTo>
                      <a:pt x="1696" y="3860"/>
                    </a:lnTo>
                    <a:lnTo>
                      <a:pt x="1704" y="3852"/>
                    </a:lnTo>
                    <a:lnTo>
                      <a:pt x="1714" y="3840"/>
                    </a:lnTo>
                    <a:lnTo>
                      <a:pt x="1714" y="3840"/>
                    </a:lnTo>
                    <a:lnTo>
                      <a:pt x="1722" y="3828"/>
                    </a:lnTo>
                    <a:lnTo>
                      <a:pt x="1724" y="3816"/>
                    </a:lnTo>
                    <a:lnTo>
                      <a:pt x="1724" y="3808"/>
                    </a:lnTo>
                    <a:lnTo>
                      <a:pt x="1722" y="3802"/>
                    </a:lnTo>
                    <a:lnTo>
                      <a:pt x="1720" y="3796"/>
                    </a:lnTo>
                    <a:lnTo>
                      <a:pt x="1720" y="3790"/>
                    </a:lnTo>
                    <a:lnTo>
                      <a:pt x="1724" y="3784"/>
                    </a:lnTo>
                    <a:lnTo>
                      <a:pt x="1736" y="3778"/>
                    </a:lnTo>
                    <a:lnTo>
                      <a:pt x="1736" y="3778"/>
                    </a:lnTo>
                    <a:lnTo>
                      <a:pt x="1748" y="3772"/>
                    </a:lnTo>
                    <a:lnTo>
                      <a:pt x="1756" y="3766"/>
                    </a:lnTo>
                    <a:lnTo>
                      <a:pt x="1768" y="3758"/>
                    </a:lnTo>
                    <a:lnTo>
                      <a:pt x="1770" y="3756"/>
                    </a:lnTo>
                    <a:lnTo>
                      <a:pt x="1772" y="3756"/>
                    </a:lnTo>
                    <a:lnTo>
                      <a:pt x="1774" y="3766"/>
                    </a:lnTo>
                    <a:lnTo>
                      <a:pt x="1774" y="3766"/>
                    </a:lnTo>
                    <a:lnTo>
                      <a:pt x="1774" y="3772"/>
                    </a:lnTo>
                    <a:lnTo>
                      <a:pt x="1778" y="3776"/>
                    </a:lnTo>
                    <a:lnTo>
                      <a:pt x="1780" y="3778"/>
                    </a:lnTo>
                    <a:lnTo>
                      <a:pt x="1784" y="3778"/>
                    </a:lnTo>
                    <a:lnTo>
                      <a:pt x="1790" y="3774"/>
                    </a:lnTo>
                    <a:lnTo>
                      <a:pt x="1794" y="3774"/>
                    </a:lnTo>
                    <a:lnTo>
                      <a:pt x="1798" y="3774"/>
                    </a:lnTo>
                    <a:lnTo>
                      <a:pt x="1798" y="3774"/>
                    </a:lnTo>
                    <a:lnTo>
                      <a:pt x="1804" y="3776"/>
                    </a:lnTo>
                    <a:lnTo>
                      <a:pt x="1808" y="3776"/>
                    </a:lnTo>
                    <a:lnTo>
                      <a:pt x="1810" y="3774"/>
                    </a:lnTo>
                    <a:lnTo>
                      <a:pt x="1808" y="3768"/>
                    </a:lnTo>
                    <a:lnTo>
                      <a:pt x="1808" y="3768"/>
                    </a:lnTo>
                    <a:lnTo>
                      <a:pt x="1806" y="3760"/>
                    </a:lnTo>
                    <a:lnTo>
                      <a:pt x="1806" y="3758"/>
                    </a:lnTo>
                    <a:lnTo>
                      <a:pt x="1810" y="3756"/>
                    </a:lnTo>
                    <a:lnTo>
                      <a:pt x="1810" y="3756"/>
                    </a:lnTo>
                    <a:lnTo>
                      <a:pt x="1812" y="3762"/>
                    </a:lnTo>
                    <a:lnTo>
                      <a:pt x="1816" y="3766"/>
                    </a:lnTo>
                    <a:lnTo>
                      <a:pt x="1818" y="3766"/>
                    </a:lnTo>
                    <a:lnTo>
                      <a:pt x="1820" y="3766"/>
                    </a:lnTo>
                    <a:lnTo>
                      <a:pt x="1824" y="3766"/>
                    </a:lnTo>
                    <a:lnTo>
                      <a:pt x="1826" y="3766"/>
                    </a:lnTo>
                    <a:lnTo>
                      <a:pt x="1828" y="3768"/>
                    </a:lnTo>
                    <a:lnTo>
                      <a:pt x="1828" y="3768"/>
                    </a:lnTo>
                    <a:lnTo>
                      <a:pt x="1830" y="3770"/>
                    </a:lnTo>
                    <a:lnTo>
                      <a:pt x="1832" y="3770"/>
                    </a:lnTo>
                    <a:lnTo>
                      <a:pt x="1836" y="3764"/>
                    </a:lnTo>
                    <a:lnTo>
                      <a:pt x="1842" y="3760"/>
                    </a:lnTo>
                    <a:lnTo>
                      <a:pt x="1844" y="3760"/>
                    </a:lnTo>
                    <a:lnTo>
                      <a:pt x="1848" y="3762"/>
                    </a:lnTo>
                    <a:lnTo>
                      <a:pt x="1848" y="3762"/>
                    </a:lnTo>
                    <a:lnTo>
                      <a:pt x="1852" y="3766"/>
                    </a:lnTo>
                    <a:lnTo>
                      <a:pt x="1856" y="3764"/>
                    </a:lnTo>
                    <a:lnTo>
                      <a:pt x="1860" y="3762"/>
                    </a:lnTo>
                    <a:lnTo>
                      <a:pt x="1864" y="3756"/>
                    </a:lnTo>
                    <a:lnTo>
                      <a:pt x="1866" y="3748"/>
                    </a:lnTo>
                    <a:lnTo>
                      <a:pt x="1868" y="3740"/>
                    </a:lnTo>
                    <a:lnTo>
                      <a:pt x="1868" y="3734"/>
                    </a:lnTo>
                    <a:lnTo>
                      <a:pt x="1866" y="3726"/>
                    </a:lnTo>
                    <a:lnTo>
                      <a:pt x="1866" y="3726"/>
                    </a:lnTo>
                    <a:lnTo>
                      <a:pt x="1864" y="3716"/>
                    </a:lnTo>
                    <a:lnTo>
                      <a:pt x="1866" y="3706"/>
                    </a:lnTo>
                    <a:lnTo>
                      <a:pt x="1866" y="3698"/>
                    </a:lnTo>
                    <a:lnTo>
                      <a:pt x="1866" y="3690"/>
                    </a:lnTo>
                    <a:lnTo>
                      <a:pt x="1866" y="3690"/>
                    </a:lnTo>
                    <a:lnTo>
                      <a:pt x="1864" y="3686"/>
                    </a:lnTo>
                    <a:lnTo>
                      <a:pt x="1866" y="3684"/>
                    </a:lnTo>
                    <a:lnTo>
                      <a:pt x="1868" y="3680"/>
                    </a:lnTo>
                    <a:lnTo>
                      <a:pt x="1868" y="3680"/>
                    </a:lnTo>
                    <a:lnTo>
                      <a:pt x="1870" y="3676"/>
                    </a:lnTo>
                    <a:lnTo>
                      <a:pt x="1872" y="3678"/>
                    </a:lnTo>
                    <a:lnTo>
                      <a:pt x="1872" y="3684"/>
                    </a:lnTo>
                    <a:lnTo>
                      <a:pt x="1876" y="3710"/>
                    </a:lnTo>
                    <a:lnTo>
                      <a:pt x="1876" y="3710"/>
                    </a:lnTo>
                    <a:lnTo>
                      <a:pt x="1880" y="3720"/>
                    </a:lnTo>
                    <a:lnTo>
                      <a:pt x="1882" y="3724"/>
                    </a:lnTo>
                    <a:lnTo>
                      <a:pt x="1884" y="3726"/>
                    </a:lnTo>
                    <a:lnTo>
                      <a:pt x="1888" y="3726"/>
                    </a:lnTo>
                    <a:lnTo>
                      <a:pt x="1890" y="3726"/>
                    </a:lnTo>
                    <a:lnTo>
                      <a:pt x="1898" y="3722"/>
                    </a:lnTo>
                    <a:lnTo>
                      <a:pt x="1898" y="3722"/>
                    </a:lnTo>
                    <a:lnTo>
                      <a:pt x="1900" y="3720"/>
                    </a:lnTo>
                    <a:lnTo>
                      <a:pt x="1904" y="3720"/>
                    </a:lnTo>
                    <a:lnTo>
                      <a:pt x="1906" y="3722"/>
                    </a:lnTo>
                    <a:lnTo>
                      <a:pt x="1910" y="3726"/>
                    </a:lnTo>
                    <a:lnTo>
                      <a:pt x="1916" y="3738"/>
                    </a:lnTo>
                    <a:lnTo>
                      <a:pt x="1922" y="3760"/>
                    </a:lnTo>
                    <a:lnTo>
                      <a:pt x="1922" y="3760"/>
                    </a:lnTo>
                    <a:lnTo>
                      <a:pt x="1926" y="3768"/>
                    </a:lnTo>
                    <a:lnTo>
                      <a:pt x="1928" y="3772"/>
                    </a:lnTo>
                    <a:lnTo>
                      <a:pt x="1928" y="3774"/>
                    </a:lnTo>
                    <a:lnTo>
                      <a:pt x="1928" y="3780"/>
                    </a:lnTo>
                    <a:lnTo>
                      <a:pt x="1928" y="3780"/>
                    </a:lnTo>
                    <a:lnTo>
                      <a:pt x="1926" y="3786"/>
                    </a:lnTo>
                    <a:lnTo>
                      <a:pt x="1926" y="3792"/>
                    </a:lnTo>
                    <a:lnTo>
                      <a:pt x="1930" y="3804"/>
                    </a:lnTo>
                    <a:lnTo>
                      <a:pt x="1930" y="3804"/>
                    </a:lnTo>
                    <a:lnTo>
                      <a:pt x="1934" y="3814"/>
                    </a:lnTo>
                    <a:lnTo>
                      <a:pt x="1936" y="3810"/>
                    </a:lnTo>
                    <a:lnTo>
                      <a:pt x="1936" y="3800"/>
                    </a:lnTo>
                    <a:lnTo>
                      <a:pt x="1936" y="3800"/>
                    </a:lnTo>
                    <a:lnTo>
                      <a:pt x="1938" y="3806"/>
                    </a:lnTo>
                    <a:lnTo>
                      <a:pt x="1942" y="3816"/>
                    </a:lnTo>
                    <a:lnTo>
                      <a:pt x="1946" y="3828"/>
                    </a:lnTo>
                    <a:lnTo>
                      <a:pt x="1952" y="3838"/>
                    </a:lnTo>
                    <a:lnTo>
                      <a:pt x="1952" y="3838"/>
                    </a:lnTo>
                    <a:lnTo>
                      <a:pt x="1968" y="3862"/>
                    </a:lnTo>
                    <a:lnTo>
                      <a:pt x="1972" y="3864"/>
                    </a:lnTo>
                    <a:lnTo>
                      <a:pt x="1974" y="3860"/>
                    </a:lnTo>
                    <a:lnTo>
                      <a:pt x="1974" y="3860"/>
                    </a:lnTo>
                    <a:lnTo>
                      <a:pt x="1976" y="3856"/>
                    </a:lnTo>
                    <a:lnTo>
                      <a:pt x="1978" y="3854"/>
                    </a:lnTo>
                    <a:lnTo>
                      <a:pt x="1980" y="3854"/>
                    </a:lnTo>
                    <a:lnTo>
                      <a:pt x="1982" y="3854"/>
                    </a:lnTo>
                    <a:lnTo>
                      <a:pt x="1990" y="3862"/>
                    </a:lnTo>
                    <a:lnTo>
                      <a:pt x="1994" y="3870"/>
                    </a:lnTo>
                    <a:lnTo>
                      <a:pt x="1994" y="3870"/>
                    </a:lnTo>
                    <a:lnTo>
                      <a:pt x="1998" y="3876"/>
                    </a:lnTo>
                    <a:lnTo>
                      <a:pt x="2004" y="3882"/>
                    </a:lnTo>
                    <a:lnTo>
                      <a:pt x="2008" y="3886"/>
                    </a:lnTo>
                    <a:lnTo>
                      <a:pt x="2008" y="3888"/>
                    </a:lnTo>
                    <a:lnTo>
                      <a:pt x="2006" y="3890"/>
                    </a:lnTo>
                    <a:lnTo>
                      <a:pt x="2006" y="3890"/>
                    </a:lnTo>
                    <a:lnTo>
                      <a:pt x="2002" y="3892"/>
                    </a:lnTo>
                    <a:lnTo>
                      <a:pt x="2000" y="3892"/>
                    </a:lnTo>
                    <a:lnTo>
                      <a:pt x="1996" y="3890"/>
                    </a:lnTo>
                    <a:lnTo>
                      <a:pt x="1992" y="3886"/>
                    </a:lnTo>
                    <a:lnTo>
                      <a:pt x="1990" y="3886"/>
                    </a:lnTo>
                    <a:lnTo>
                      <a:pt x="1988" y="3888"/>
                    </a:lnTo>
                    <a:lnTo>
                      <a:pt x="1988" y="3888"/>
                    </a:lnTo>
                    <a:lnTo>
                      <a:pt x="1986" y="3890"/>
                    </a:lnTo>
                    <a:lnTo>
                      <a:pt x="1986" y="3894"/>
                    </a:lnTo>
                    <a:lnTo>
                      <a:pt x="1992" y="3904"/>
                    </a:lnTo>
                    <a:lnTo>
                      <a:pt x="1998" y="3910"/>
                    </a:lnTo>
                    <a:lnTo>
                      <a:pt x="2000" y="3912"/>
                    </a:lnTo>
                    <a:lnTo>
                      <a:pt x="2000" y="3910"/>
                    </a:lnTo>
                    <a:lnTo>
                      <a:pt x="2000" y="3910"/>
                    </a:lnTo>
                    <a:lnTo>
                      <a:pt x="2002" y="3904"/>
                    </a:lnTo>
                    <a:lnTo>
                      <a:pt x="2004" y="3900"/>
                    </a:lnTo>
                    <a:lnTo>
                      <a:pt x="2006" y="3900"/>
                    </a:lnTo>
                    <a:lnTo>
                      <a:pt x="2006" y="3900"/>
                    </a:lnTo>
                    <a:lnTo>
                      <a:pt x="2010" y="3912"/>
                    </a:lnTo>
                    <a:lnTo>
                      <a:pt x="2010" y="3912"/>
                    </a:lnTo>
                    <a:lnTo>
                      <a:pt x="2016" y="3930"/>
                    </a:lnTo>
                    <a:lnTo>
                      <a:pt x="2024" y="3950"/>
                    </a:lnTo>
                    <a:lnTo>
                      <a:pt x="2028" y="3960"/>
                    </a:lnTo>
                    <a:lnTo>
                      <a:pt x="2032" y="3972"/>
                    </a:lnTo>
                    <a:lnTo>
                      <a:pt x="2032" y="3982"/>
                    </a:lnTo>
                    <a:lnTo>
                      <a:pt x="2030" y="3992"/>
                    </a:lnTo>
                    <a:lnTo>
                      <a:pt x="2030" y="3992"/>
                    </a:lnTo>
                    <a:lnTo>
                      <a:pt x="2016" y="4034"/>
                    </a:lnTo>
                    <a:lnTo>
                      <a:pt x="2014" y="4050"/>
                    </a:lnTo>
                    <a:lnTo>
                      <a:pt x="2014" y="4056"/>
                    </a:lnTo>
                    <a:lnTo>
                      <a:pt x="2016" y="4058"/>
                    </a:lnTo>
                    <a:lnTo>
                      <a:pt x="2016" y="4058"/>
                    </a:lnTo>
                    <a:lnTo>
                      <a:pt x="2020" y="4058"/>
                    </a:lnTo>
                    <a:lnTo>
                      <a:pt x="2022" y="4056"/>
                    </a:lnTo>
                    <a:lnTo>
                      <a:pt x="2026" y="4050"/>
                    </a:lnTo>
                    <a:lnTo>
                      <a:pt x="2028" y="4044"/>
                    </a:lnTo>
                    <a:lnTo>
                      <a:pt x="2030" y="4042"/>
                    </a:lnTo>
                    <a:lnTo>
                      <a:pt x="2034" y="4042"/>
                    </a:lnTo>
                    <a:lnTo>
                      <a:pt x="2034" y="4042"/>
                    </a:lnTo>
                    <a:lnTo>
                      <a:pt x="2036" y="4042"/>
                    </a:lnTo>
                    <a:lnTo>
                      <a:pt x="2036" y="4044"/>
                    </a:lnTo>
                    <a:lnTo>
                      <a:pt x="2032" y="4048"/>
                    </a:lnTo>
                    <a:lnTo>
                      <a:pt x="2032" y="4054"/>
                    </a:lnTo>
                    <a:lnTo>
                      <a:pt x="2032" y="4056"/>
                    </a:lnTo>
                    <a:lnTo>
                      <a:pt x="2036" y="4060"/>
                    </a:lnTo>
                    <a:lnTo>
                      <a:pt x="2036" y="4060"/>
                    </a:lnTo>
                    <a:lnTo>
                      <a:pt x="2040" y="4064"/>
                    </a:lnTo>
                    <a:lnTo>
                      <a:pt x="2042" y="4064"/>
                    </a:lnTo>
                    <a:lnTo>
                      <a:pt x="2046" y="4062"/>
                    </a:lnTo>
                    <a:lnTo>
                      <a:pt x="2048" y="4060"/>
                    </a:lnTo>
                    <a:lnTo>
                      <a:pt x="2050" y="4060"/>
                    </a:lnTo>
                    <a:lnTo>
                      <a:pt x="2052" y="4062"/>
                    </a:lnTo>
                    <a:lnTo>
                      <a:pt x="2056" y="4066"/>
                    </a:lnTo>
                    <a:lnTo>
                      <a:pt x="2056" y="4066"/>
                    </a:lnTo>
                    <a:lnTo>
                      <a:pt x="2062" y="4070"/>
                    </a:lnTo>
                    <a:lnTo>
                      <a:pt x="2066" y="4068"/>
                    </a:lnTo>
                    <a:lnTo>
                      <a:pt x="2068" y="4066"/>
                    </a:lnTo>
                    <a:lnTo>
                      <a:pt x="2072" y="4060"/>
                    </a:lnTo>
                    <a:lnTo>
                      <a:pt x="2080" y="4048"/>
                    </a:lnTo>
                    <a:lnTo>
                      <a:pt x="2086" y="4042"/>
                    </a:lnTo>
                    <a:lnTo>
                      <a:pt x="2092" y="4038"/>
                    </a:lnTo>
                    <a:lnTo>
                      <a:pt x="2092" y="4038"/>
                    </a:lnTo>
                    <a:lnTo>
                      <a:pt x="2106" y="4032"/>
                    </a:lnTo>
                    <a:lnTo>
                      <a:pt x="2112" y="4028"/>
                    </a:lnTo>
                    <a:lnTo>
                      <a:pt x="2118" y="4024"/>
                    </a:lnTo>
                    <a:lnTo>
                      <a:pt x="2122" y="4016"/>
                    </a:lnTo>
                    <a:lnTo>
                      <a:pt x="2124" y="4008"/>
                    </a:lnTo>
                    <a:lnTo>
                      <a:pt x="2126" y="3998"/>
                    </a:lnTo>
                    <a:lnTo>
                      <a:pt x="2122" y="3986"/>
                    </a:lnTo>
                    <a:lnTo>
                      <a:pt x="2122" y="3986"/>
                    </a:lnTo>
                    <a:lnTo>
                      <a:pt x="2128" y="3990"/>
                    </a:lnTo>
                    <a:lnTo>
                      <a:pt x="2130" y="3992"/>
                    </a:lnTo>
                    <a:lnTo>
                      <a:pt x="2132" y="3998"/>
                    </a:lnTo>
                    <a:lnTo>
                      <a:pt x="2132" y="3998"/>
                    </a:lnTo>
                    <a:lnTo>
                      <a:pt x="2132" y="4002"/>
                    </a:lnTo>
                    <a:lnTo>
                      <a:pt x="2136" y="4004"/>
                    </a:lnTo>
                    <a:lnTo>
                      <a:pt x="2138" y="4008"/>
                    </a:lnTo>
                    <a:lnTo>
                      <a:pt x="2140" y="4020"/>
                    </a:lnTo>
                    <a:lnTo>
                      <a:pt x="2140" y="4020"/>
                    </a:lnTo>
                    <a:lnTo>
                      <a:pt x="2144" y="4028"/>
                    </a:lnTo>
                    <a:lnTo>
                      <a:pt x="2146" y="4030"/>
                    </a:lnTo>
                    <a:lnTo>
                      <a:pt x="2148" y="4032"/>
                    </a:lnTo>
                    <a:lnTo>
                      <a:pt x="2152" y="4030"/>
                    </a:lnTo>
                    <a:lnTo>
                      <a:pt x="2156" y="4028"/>
                    </a:lnTo>
                    <a:lnTo>
                      <a:pt x="2156" y="4028"/>
                    </a:lnTo>
                    <a:lnTo>
                      <a:pt x="2158" y="4028"/>
                    </a:lnTo>
                    <a:lnTo>
                      <a:pt x="2158" y="4028"/>
                    </a:lnTo>
                    <a:lnTo>
                      <a:pt x="2156" y="4032"/>
                    </a:lnTo>
                    <a:lnTo>
                      <a:pt x="2152" y="4040"/>
                    </a:lnTo>
                    <a:lnTo>
                      <a:pt x="2150" y="4046"/>
                    </a:lnTo>
                    <a:lnTo>
                      <a:pt x="2150" y="4046"/>
                    </a:lnTo>
                    <a:lnTo>
                      <a:pt x="2150" y="4052"/>
                    </a:lnTo>
                    <a:lnTo>
                      <a:pt x="2154" y="4060"/>
                    </a:lnTo>
                    <a:lnTo>
                      <a:pt x="2156" y="4070"/>
                    </a:lnTo>
                    <a:lnTo>
                      <a:pt x="2158" y="4092"/>
                    </a:lnTo>
                    <a:lnTo>
                      <a:pt x="2158" y="4092"/>
                    </a:lnTo>
                    <a:lnTo>
                      <a:pt x="2160" y="4114"/>
                    </a:lnTo>
                    <a:lnTo>
                      <a:pt x="2164" y="4128"/>
                    </a:lnTo>
                    <a:lnTo>
                      <a:pt x="2168" y="4140"/>
                    </a:lnTo>
                    <a:lnTo>
                      <a:pt x="2172" y="4154"/>
                    </a:lnTo>
                    <a:lnTo>
                      <a:pt x="2172" y="4154"/>
                    </a:lnTo>
                    <a:lnTo>
                      <a:pt x="2172" y="4172"/>
                    </a:lnTo>
                    <a:lnTo>
                      <a:pt x="2174" y="4172"/>
                    </a:lnTo>
                    <a:lnTo>
                      <a:pt x="2174" y="4172"/>
                    </a:lnTo>
                    <a:lnTo>
                      <a:pt x="2176" y="4166"/>
                    </a:lnTo>
                    <a:lnTo>
                      <a:pt x="2178" y="4168"/>
                    </a:lnTo>
                    <a:lnTo>
                      <a:pt x="2180" y="4172"/>
                    </a:lnTo>
                    <a:lnTo>
                      <a:pt x="2180" y="4172"/>
                    </a:lnTo>
                    <a:lnTo>
                      <a:pt x="2184" y="4186"/>
                    </a:lnTo>
                    <a:lnTo>
                      <a:pt x="2188" y="4198"/>
                    </a:lnTo>
                    <a:lnTo>
                      <a:pt x="2190" y="4208"/>
                    </a:lnTo>
                    <a:lnTo>
                      <a:pt x="2192" y="4216"/>
                    </a:lnTo>
                    <a:lnTo>
                      <a:pt x="2192" y="4216"/>
                    </a:lnTo>
                    <a:lnTo>
                      <a:pt x="2194" y="4224"/>
                    </a:lnTo>
                    <a:lnTo>
                      <a:pt x="2192" y="4232"/>
                    </a:lnTo>
                    <a:lnTo>
                      <a:pt x="2192" y="4240"/>
                    </a:lnTo>
                    <a:lnTo>
                      <a:pt x="2192" y="4242"/>
                    </a:lnTo>
                    <a:lnTo>
                      <a:pt x="2194" y="4246"/>
                    </a:lnTo>
                    <a:lnTo>
                      <a:pt x="2194" y="4246"/>
                    </a:lnTo>
                    <a:lnTo>
                      <a:pt x="2194" y="4248"/>
                    </a:lnTo>
                    <a:lnTo>
                      <a:pt x="2194" y="4250"/>
                    </a:lnTo>
                    <a:lnTo>
                      <a:pt x="2192" y="4258"/>
                    </a:lnTo>
                    <a:lnTo>
                      <a:pt x="2190" y="4266"/>
                    </a:lnTo>
                    <a:lnTo>
                      <a:pt x="2192" y="4268"/>
                    </a:lnTo>
                    <a:lnTo>
                      <a:pt x="2196" y="4268"/>
                    </a:lnTo>
                    <a:lnTo>
                      <a:pt x="2196" y="4268"/>
                    </a:lnTo>
                    <a:lnTo>
                      <a:pt x="2198" y="4268"/>
                    </a:lnTo>
                    <a:lnTo>
                      <a:pt x="2200" y="4270"/>
                    </a:lnTo>
                    <a:lnTo>
                      <a:pt x="2200" y="4276"/>
                    </a:lnTo>
                    <a:lnTo>
                      <a:pt x="2196" y="4286"/>
                    </a:lnTo>
                    <a:lnTo>
                      <a:pt x="2196" y="4298"/>
                    </a:lnTo>
                    <a:lnTo>
                      <a:pt x="2196" y="4298"/>
                    </a:lnTo>
                    <a:lnTo>
                      <a:pt x="2194" y="4306"/>
                    </a:lnTo>
                    <a:lnTo>
                      <a:pt x="2192" y="4310"/>
                    </a:lnTo>
                    <a:lnTo>
                      <a:pt x="2190" y="4320"/>
                    </a:lnTo>
                    <a:lnTo>
                      <a:pt x="2188" y="4344"/>
                    </a:lnTo>
                    <a:lnTo>
                      <a:pt x="2188" y="4344"/>
                    </a:lnTo>
                    <a:lnTo>
                      <a:pt x="2188" y="4352"/>
                    </a:lnTo>
                    <a:lnTo>
                      <a:pt x="2190" y="4352"/>
                    </a:lnTo>
                    <a:lnTo>
                      <a:pt x="2190" y="4352"/>
                    </a:lnTo>
                    <a:lnTo>
                      <a:pt x="2198" y="4336"/>
                    </a:lnTo>
                    <a:lnTo>
                      <a:pt x="2198" y="4336"/>
                    </a:lnTo>
                    <a:lnTo>
                      <a:pt x="2198" y="4340"/>
                    </a:lnTo>
                    <a:lnTo>
                      <a:pt x="2198" y="4346"/>
                    </a:lnTo>
                    <a:lnTo>
                      <a:pt x="2190" y="4360"/>
                    </a:lnTo>
                    <a:lnTo>
                      <a:pt x="2190" y="4360"/>
                    </a:lnTo>
                    <a:lnTo>
                      <a:pt x="2186" y="4368"/>
                    </a:lnTo>
                    <a:lnTo>
                      <a:pt x="2188" y="4372"/>
                    </a:lnTo>
                    <a:lnTo>
                      <a:pt x="2188" y="4374"/>
                    </a:lnTo>
                    <a:lnTo>
                      <a:pt x="2186" y="4380"/>
                    </a:lnTo>
                    <a:lnTo>
                      <a:pt x="2186" y="4380"/>
                    </a:lnTo>
                    <a:lnTo>
                      <a:pt x="2182" y="4390"/>
                    </a:lnTo>
                    <a:lnTo>
                      <a:pt x="2182" y="4396"/>
                    </a:lnTo>
                    <a:lnTo>
                      <a:pt x="2182" y="4400"/>
                    </a:lnTo>
                    <a:lnTo>
                      <a:pt x="2180" y="4406"/>
                    </a:lnTo>
                    <a:lnTo>
                      <a:pt x="2180" y="4406"/>
                    </a:lnTo>
                    <a:lnTo>
                      <a:pt x="2178" y="4416"/>
                    </a:lnTo>
                    <a:lnTo>
                      <a:pt x="2176" y="4426"/>
                    </a:lnTo>
                    <a:lnTo>
                      <a:pt x="2178" y="4434"/>
                    </a:lnTo>
                    <a:lnTo>
                      <a:pt x="2180" y="4440"/>
                    </a:lnTo>
                    <a:lnTo>
                      <a:pt x="2180" y="4440"/>
                    </a:lnTo>
                    <a:lnTo>
                      <a:pt x="2182" y="4442"/>
                    </a:lnTo>
                    <a:lnTo>
                      <a:pt x="2184" y="4442"/>
                    </a:lnTo>
                    <a:lnTo>
                      <a:pt x="2186" y="4438"/>
                    </a:lnTo>
                    <a:lnTo>
                      <a:pt x="2190" y="4432"/>
                    </a:lnTo>
                    <a:lnTo>
                      <a:pt x="2190" y="4430"/>
                    </a:lnTo>
                    <a:lnTo>
                      <a:pt x="2192" y="4430"/>
                    </a:lnTo>
                    <a:lnTo>
                      <a:pt x="2192" y="4430"/>
                    </a:lnTo>
                    <a:lnTo>
                      <a:pt x="2198" y="4438"/>
                    </a:lnTo>
                    <a:lnTo>
                      <a:pt x="2204" y="4450"/>
                    </a:lnTo>
                    <a:lnTo>
                      <a:pt x="2210" y="4464"/>
                    </a:lnTo>
                    <a:lnTo>
                      <a:pt x="2220" y="4480"/>
                    </a:lnTo>
                    <a:lnTo>
                      <a:pt x="2220" y="4480"/>
                    </a:lnTo>
                    <a:lnTo>
                      <a:pt x="2224" y="4484"/>
                    </a:lnTo>
                    <a:lnTo>
                      <a:pt x="2228" y="4484"/>
                    </a:lnTo>
                    <a:lnTo>
                      <a:pt x="2232" y="4486"/>
                    </a:lnTo>
                    <a:lnTo>
                      <a:pt x="2234" y="4488"/>
                    </a:lnTo>
                    <a:lnTo>
                      <a:pt x="2234" y="4488"/>
                    </a:lnTo>
                    <a:lnTo>
                      <a:pt x="2234" y="4494"/>
                    </a:lnTo>
                    <a:lnTo>
                      <a:pt x="2234" y="4498"/>
                    </a:lnTo>
                    <a:lnTo>
                      <a:pt x="2236" y="4502"/>
                    </a:lnTo>
                    <a:lnTo>
                      <a:pt x="2238" y="4508"/>
                    </a:lnTo>
                    <a:lnTo>
                      <a:pt x="2238" y="4508"/>
                    </a:lnTo>
                    <a:lnTo>
                      <a:pt x="2248" y="4516"/>
                    </a:lnTo>
                    <a:lnTo>
                      <a:pt x="2254" y="4526"/>
                    </a:lnTo>
                    <a:lnTo>
                      <a:pt x="2254" y="4526"/>
                    </a:lnTo>
                    <a:lnTo>
                      <a:pt x="2258" y="4536"/>
                    </a:lnTo>
                    <a:lnTo>
                      <a:pt x="2262" y="4544"/>
                    </a:lnTo>
                    <a:lnTo>
                      <a:pt x="2266" y="4562"/>
                    </a:lnTo>
                    <a:lnTo>
                      <a:pt x="2266" y="4578"/>
                    </a:lnTo>
                    <a:lnTo>
                      <a:pt x="2266" y="4588"/>
                    </a:lnTo>
                    <a:lnTo>
                      <a:pt x="2266" y="4588"/>
                    </a:lnTo>
                    <a:lnTo>
                      <a:pt x="2264" y="4592"/>
                    </a:lnTo>
                    <a:lnTo>
                      <a:pt x="2264" y="4596"/>
                    </a:lnTo>
                    <a:lnTo>
                      <a:pt x="2268" y="4600"/>
                    </a:lnTo>
                    <a:lnTo>
                      <a:pt x="2270" y="4602"/>
                    </a:lnTo>
                    <a:lnTo>
                      <a:pt x="2272" y="4606"/>
                    </a:lnTo>
                    <a:lnTo>
                      <a:pt x="2274" y="4612"/>
                    </a:lnTo>
                    <a:lnTo>
                      <a:pt x="2272" y="4622"/>
                    </a:lnTo>
                    <a:lnTo>
                      <a:pt x="2272" y="4622"/>
                    </a:lnTo>
                    <a:lnTo>
                      <a:pt x="2272" y="4634"/>
                    </a:lnTo>
                    <a:lnTo>
                      <a:pt x="2276" y="4638"/>
                    </a:lnTo>
                    <a:lnTo>
                      <a:pt x="2278" y="4640"/>
                    </a:lnTo>
                    <a:lnTo>
                      <a:pt x="2278" y="4644"/>
                    </a:lnTo>
                    <a:lnTo>
                      <a:pt x="2278" y="4644"/>
                    </a:lnTo>
                    <a:lnTo>
                      <a:pt x="2278" y="4648"/>
                    </a:lnTo>
                    <a:lnTo>
                      <a:pt x="2282" y="4654"/>
                    </a:lnTo>
                    <a:lnTo>
                      <a:pt x="2292" y="4666"/>
                    </a:lnTo>
                    <a:lnTo>
                      <a:pt x="2296" y="4672"/>
                    </a:lnTo>
                    <a:lnTo>
                      <a:pt x="2300" y="4680"/>
                    </a:lnTo>
                    <a:lnTo>
                      <a:pt x="2302" y="4688"/>
                    </a:lnTo>
                    <a:lnTo>
                      <a:pt x="2302" y="4696"/>
                    </a:lnTo>
                    <a:lnTo>
                      <a:pt x="2302" y="4696"/>
                    </a:lnTo>
                    <a:lnTo>
                      <a:pt x="2302" y="4700"/>
                    </a:lnTo>
                    <a:lnTo>
                      <a:pt x="2302" y="4702"/>
                    </a:lnTo>
                    <a:lnTo>
                      <a:pt x="2308" y="4708"/>
                    </a:lnTo>
                    <a:lnTo>
                      <a:pt x="2320" y="4716"/>
                    </a:lnTo>
                    <a:lnTo>
                      <a:pt x="2330" y="4724"/>
                    </a:lnTo>
                    <a:lnTo>
                      <a:pt x="2344" y="4736"/>
                    </a:lnTo>
                    <a:lnTo>
                      <a:pt x="2344" y="4736"/>
                    </a:lnTo>
                    <a:lnTo>
                      <a:pt x="2354" y="4746"/>
                    </a:lnTo>
                    <a:lnTo>
                      <a:pt x="2364" y="4754"/>
                    </a:lnTo>
                    <a:lnTo>
                      <a:pt x="2376" y="4760"/>
                    </a:lnTo>
                    <a:lnTo>
                      <a:pt x="2382" y="4764"/>
                    </a:lnTo>
                    <a:lnTo>
                      <a:pt x="2384" y="4766"/>
                    </a:lnTo>
                    <a:lnTo>
                      <a:pt x="2386" y="4770"/>
                    </a:lnTo>
                    <a:lnTo>
                      <a:pt x="2386" y="4770"/>
                    </a:lnTo>
                    <a:lnTo>
                      <a:pt x="2390" y="4776"/>
                    </a:lnTo>
                    <a:lnTo>
                      <a:pt x="2392" y="4774"/>
                    </a:lnTo>
                    <a:lnTo>
                      <a:pt x="2396" y="4770"/>
                    </a:lnTo>
                    <a:lnTo>
                      <a:pt x="2400" y="4770"/>
                    </a:lnTo>
                    <a:lnTo>
                      <a:pt x="2404" y="4770"/>
                    </a:lnTo>
                    <a:lnTo>
                      <a:pt x="2404" y="4770"/>
                    </a:lnTo>
                    <a:lnTo>
                      <a:pt x="2408" y="4770"/>
                    </a:lnTo>
                    <a:lnTo>
                      <a:pt x="2410" y="4768"/>
                    </a:lnTo>
                    <a:lnTo>
                      <a:pt x="2410" y="4764"/>
                    </a:lnTo>
                    <a:lnTo>
                      <a:pt x="2414" y="4764"/>
                    </a:lnTo>
                    <a:lnTo>
                      <a:pt x="2414" y="4764"/>
                    </a:lnTo>
                    <a:lnTo>
                      <a:pt x="2416" y="4766"/>
                    </a:lnTo>
                    <a:lnTo>
                      <a:pt x="2414" y="4770"/>
                    </a:lnTo>
                    <a:lnTo>
                      <a:pt x="2414" y="4772"/>
                    </a:lnTo>
                    <a:lnTo>
                      <a:pt x="2418" y="4774"/>
                    </a:lnTo>
                    <a:lnTo>
                      <a:pt x="2418" y="4774"/>
                    </a:lnTo>
                    <a:lnTo>
                      <a:pt x="2420" y="4774"/>
                    </a:lnTo>
                    <a:lnTo>
                      <a:pt x="2422" y="4772"/>
                    </a:lnTo>
                    <a:lnTo>
                      <a:pt x="2422" y="4766"/>
                    </a:lnTo>
                    <a:lnTo>
                      <a:pt x="2420" y="4756"/>
                    </a:lnTo>
                    <a:lnTo>
                      <a:pt x="2416" y="4750"/>
                    </a:lnTo>
                    <a:lnTo>
                      <a:pt x="2416" y="4750"/>
                    </a:lnTo>
                    <a:lnTo>
                      <a:pt x="2414" y="4744"/>
                    </a:lnTo>
                    <a:lnTo>
                      <a:pt x="2412" y="4740"/>
                    </a:lnTo>
                    <a:lnTo>
                      <a:pt x="2410" y="4730"/>
                    </a:lnTo>
                    <a:lnTo>
                      <a:pt x="2406" y="4718"/>
                    </a:lnTo>
                    <a:lnTo>
                      <a:pt x="2402" y="4714"/>
                    </a:lnTo>
                    <a:lnTo>
                      <a:pt x="2398" y="4708"/>
                    </a:lnTo>
                    <a:lnTo>
                      <a:pt x="2398" y="4708"/>
                    </a:lnTo>
                    <a:lnTo>
                      <a:pt x="2392" y="4704"/>
                    </a:lnTo>
                    <a:lnTo>
                      <a:pt x="2388" y="4698"/>
                    </a:lnTo>
                    <a:lnTo>
                      <a:pt x="2388" y="4690"/>
                    </a:lnTo>
                    <a:lnTo>
                      <a:pt x="2388" y="4684"/>
                    </a:lnTo>
                    <a:lnTo>
                      <a:pt x="2390" y="4672"/>
                    </a:lnTo>
                    <a:lnTo>
                      <a:pt x="2390" y="4668"/>
                    </a:lnTo>
                    <a:lnTo>
                      <a:pt x="2386" y="4664"/>
                    </a:lnTo>
                    <a:lnTo>
                      <a:pt x="2386" y="4664"/>
                    </a:lnTo>
                    <a:lnTo>
                      <a:pt x="2384" y="4658"/>
                    </a:lnTo>
                    <a:lnTo>
                      <a:pt x="2386" y="4654"/>
                    </a:lnTo>
                    <a:lnTo>
                      <a:pt x="2386" y="4648"/>
                    </a:lnTo>
                    <a:lnTo>
                      <a:pt x="2388" y="4642"/>
                    </a:lnTo>
                    <a:lnTo>
                      <a:pt x="2388" y="4642"/>
                    </a:lnTo>
                    <a:lnTo>
                      <a:pt x="2388" y="4636"/>
                    </a:lnTo>
                    <a:lnTo>
                      <a:pt x="2388" y="4628"/>
                    </a:lnTo>
                    <a:lnTo>
                      <a:pt x="2390" y="4616"/>
                    </a:lnTo>
                    <a:lnTo>
                      <a:pt x="2386" y="4600"/>
                    </a:lnTo>
                    <a:lnTo>
                      <a:pt x="2386" y="4600"/>
                    </a:lnTo>
                    <a:lnTo>
                      <a:pt x="2384" y="4592"/>
                    </a:lnTo>
                    <a:lnTo>
                      <a:pt x="2378" y="4584"/>
                    </a:lnTo>
                    <a:lnTo>
                      <a:pt x="2366" y="4570"/>
                    </a:lnTo>
                    <a:lnTo>
                      <a:pt x="2354" y="4558"/>
                    </a:lnTo>
                    <a:lnTo>
                      <a:pt x="2350" y="4552"/>
                    </a:lnTo>
                    <a:lnTo>
                      <a:pt x="2348" y="4546"/>
                    </a:lnTo>
                    <a:lnTo>
                      <a:pt x="2348" y="4546"/>
                    </a:lnTo>
                    <a:lnTo>
                      <a:pt x="2344" y="4540"/>
                    </a:lnTo>
                    <a:lnTo>
                      <a:pt x="2342" y="4538"/>
                    </a:lnTo>
                    <a:lnTo>
                      <a:pt x="2334" y="4536"/>
                    </a:lnTo>
                    <a:lnTo>
                      <a:pt x="2334" y="4536"/>
                    </a:lnTo>
                    <a:lnTo>
                      <a:pt x="2324" y="4526"/>
                    </a:lnTo>
                    <a:lnTo>
                      <a:pt x="2310" y="4508"/>
                    </a:lnTo>
                    <a:lnTo>
                      <a:pt x="2310" y="4508"/>
                    </a:lnTo>
                    <a:lnTo>
                      <a:pt x="2306" y="4502"/>
                    </a:lnTo>
                    <a:lnTo>
                      <a:pt x="2304" y="4502"/>
                    </a:lnTo>
                    <a:lnTo>
                      <a:pt x="2300" y="4504"/>
                    </a:lnTo>
                    <a:lnTo>
                      <a:pt x="2296" y="4504"/>
                    </a:lnTo>
                    <a:lnTo>
                      <a:pt x="2292" y="4504"/>
                    </a:lnTo>
                    <a:lnTo>
                      <a:pt x="2286" y="4500"/>
                    </a:lnTo>
                    <a:lnTo>
                      <a:pt x="2276" y="4494"/>
                    </a:lnTo>
                    <a:lnTo>
                      <a:pt x="2276" y="4494"/>
                    </a:lnTo>
                    <a:lnTo>
                      <a:pt x="2272" y="4486"/>
                    </a:lnTo>
                    <a:lnTo>
                      <a:pt x="2270" y="4476"/>
                    </a:lnTo>
                    <a:lnTo>
                      <a:pt x="2264" y="4454"/>
                    </a:lnTo>
                    <a:lnTo>
                      <a:pt x="2262" y="4434"/>
                    </a:lnTo>
                    <a:lnTo>
                      <a:pt x="2260" y="4428"/>
                    </a:lnTo>
                    <a:lnTo>
                      <a:pt x="2258" y="4426"/>
                    </a:lnTo>
                    <a:lnTo>
                      <a:pt x="2258" y="4426"/>
                    </a:lnTo>
                    <a:lnTo>
                      <a:pt x="2258" y="4426"/>
                    </a:lnTo>
                    <a:lnTo>
                      <a:pt x="2254" y="4426"/>
                    </a:lnTo>
                    <a:lnTo>
                      <a:pt x="2252" y="4424"/>
                    </a:lnTo>
                    <a:lnTo>
                      <a:pt x="2248" y="4416"/>
                    </a:lnTo>
                    <a:lnTo>
                      <a:pt x="2244" y="4402"/>
                    </a:lnTo>
                    <a:lnTo>
                      <a:pt x="2244" y="4388"/>
                    </a:lnTo>
                    <a:lnTo>
                      <a:pt x="2244" y="4388"/>
                    </a:lnTo>
                    <a:lnTo>
                      <a:pt x="2242" y="4386"/>
                    </a:lnTo>
                    <a:lnTo>
                      <a:pt x="2240" y="4384"/>
                    </a:lnTo>
                    <a:lnTo>
                      <a:pt x="2230" y="4388"/>
                    </a:lnTo>
                    <a:lnTo>
                      <a:pt x="2226" y="4390"/>
                    </a:lnTo>
                    <a:lnTo>
                      <a:pt x="2222" y="4390"/>
                    </a:lnTo>
                    <a:lnTo>
                      <a:pt x="2220" y="4388"/>
                    </a:lnTo>
                    <a:lnTo>
                      <a:pt x="2220" y="4382"/>
                    </a:lnTo>
                    <a:lnTo>
                      <a:pt x="2220" y="4382"/>
                    </a:lnTo>
                    <a:lnTo>
                      <a:pt x="2218" y="4352"/>
                    </a:lnTo>
                    <a:lnTo>
                      <a:pt x="2218" y="4330"/>
                    </a:lnTo>
                    <a:lnTo>
                      <a:pt x="2220" y="4320"/>
                    </a:lnTo>
                    <a:lnTo>
                      <a:pt x="2224" y="4316"/>
                    </a:lnTo>
                    <a:lnTo>
                      <a:pt x="2224" y="4316"/>
                    </a:lnTo>
                    <a:lnTo>
                      <a:pt x="2226" y="4310"/>
                    </a:lnTo>
                    <a:lnTo>
                      <a:pt x="2228" y="4306"/>
                    </a:lnTo>
                    <a:lnTo>
                      <a:pt x="2232" y="4296"/>
                    </a:lnTo>
                    <a:lnTo>
                      <a:pt x="2234" y="4284"/>
                    </a:lnTo>
                    <a:lnTo>
                      <a:pt x="2236" y="4274"/>
                    </a:lnTo>
                    <a:lnTo>
                      <a:pt x="2236" y="4274"/>
                    </a:lnTo>
                    <a:lnTo>
                      <a:pt x="2242" y="4258"/>
                    </a:lnTo>
                    <a:lnTo>
                      <a:pt x="2248" y="4232"/>
                    </a:lnTo>
                    <a:lnTo>
                      <a:pt x="2252" y="4208"/>
                    </a:lnTo>
                    <a:lnTo>
                      <a:pt x="2252" y="4200"/>
                    </a:lnTo>
                    <a:lnTo>
                      <a:pt x="2252" y="4196"/>
                    </a:lnTo>
                    <a:lnTo>
                      <a:pt x="2252" y="4196"/>
                    </a:lnTo>
                    <a:lnTo>
                      <a:pt x="2248" y="4192"/>
                    </a:lnTo>
                    <a:lnTo>
                      <a:pt x="2248" y="4190"/>
                    </a:lnTo>
                    <a:lnTo>
                      <a:pt x="2248" y="4186"/>
                    </a:lnTo>
                    <a:lnTo>
                      <a:pt x="2250" y="4184"/>
                    </a:lnTo>
                    <a:lnTo>
                      <a:pt x="2252" y="4180"/>
                    </a:lnTo>
                    <a:lnTo>
                      <a:pt x="2256" y="4178"/>
                    </a:lnTo>
                    <a:lnTo>
                      <a:pt x="2272" y="4176"/>
                    </a:lnTo>
                    <a:lnTo>
                      <a:pt x="2272" y="4176"/>
                    </a:lnTo>
                    <a:lnTo>
                      <a:pt x="2278" y="4178"/>
                    </a:lnTo>
                    <a:lnTo>
                      <a:pt x="2282" y="4180"/>
                    </a:lnTo>
                    <a:lnTo>
                      <a:pt x="2286" y="4182"/>
                    </a:lnTo>
                    <a:lnTo>
                      <a:pt x="2286" y="4184"/>
                    </a:lnTo>
                    <a:lnTo>
                      <a:pt x="2284" y="4194"/>
                    </a:lnTo>
                    <a:lnTo>
                      <a:pt x="2282" y="4210"/>
                    </a:lnTo>
                    <a:lnTo>
                      <a:pt x="2282" y="4210"/>
                    </a:lnTo>
                    <a:lnTo>
                      <a:pt x="2282" y="4220"/>
                    </a:lnTo>
                    <a:lnTo>
                      <a:pt x="2284" y="4222"/>
                    </a:lnTo>
                    <a:lnTo>
                      <a:pt x="2286" y="4222"/>
                    </a:lnTo>
                    <a:lnTo>
                      <a:pt x="2292" y="4222"/>
                    </a:lnTo>
                    <a:lnTo>
                      <a:pt x="2296" y="4222"/>
                    </a:lnTo>
                    <a:lnTo>
                      <a:pt x="2300" y="4222"/>
                    </a:lnTo>
                    <a:lnTo>
                      <a:pt x="2300" y="4222"/>
                    </a:lnTo>
                    <a:lnTo>
                      <a:pt x="2304" y="4224"/>
                    </a:lnTo>
                    <a:lnTo>
                      <a:pt x="2306" y="4224"/>
                    </a:lnTo>
                    <a:lnTo>
                      <a:pt x="2310" y="4220"/>
                    </a:lnTo>
                    <a:lnTo>
                      <a:pt x="2316" y="4218"/>
                    </a:lnTo>
                    <a:lnTo>
                      <a:pt x="2318" y="4218"/>
                    </a:lnTo>
                    <a:lnTo>
                      <a:pt x="2322" y="4220"/>
                    </a:lnTo>
                    <a:lnTo>
                      <a:pt x="2322" y="4220"/>
                    </a:lnTo>
                    <a:lnTo>
                      <a:pt x="2330" y="4228"/>
                    </a:lnTo>
                    <a:lnTo>
                      <a:pt x="2336" y="4236"/>
                    </a:lnTo>
                    <a:lnTo>
                      <a:pt x="2342" y="4244"/>
                    </a:lnTo>
                    <a:lnTo>
                      <a:pt x="2346" y="4246"/>
                    </a:lnTo>
                    <a:lnTo>
                      <a:pt x="2350" y="4248"/>
                    </a:lnTo>
                    <a:lnTo>
                      <a:pt x="2350" y="4248"/>
                    </a:lnTo>
                    <a:lnTo>
                      <a:pt x="2354" y="4250"/>
                    </a:lnTo>
                    <a:lnTo>
                      <a:pt x="2356" y="4252"/>
                    </a:lnTo>
                    <a:lnTo>
                      <a:pt x="2360" y="4258"/>
                    </a:lnTo>
                    <a:lnTo>
                      <a:pt x="2362" y="4266"/>
                    </a:lnTo>
                    <a:lnTo>
                      <a:pt x="2364" y="4268"/>
                    </a:lnTo>
                    <a:lnTo>
                      <a:pt x="2368" y="4268"/>
                    </a:lnTo>
                    <a:lnTo>
                      <a:pt x="2368" y="4268"/>
                    </a:lnTo>
                    <a:lnTo>
                      <a:pt x="2362" y="4256"/>
                    </a:lnTo>
                    <a:lnTo>
                      <a:pt x="2362" y="4246"/>
                    </a:lnTo>
                    <a:lnTo>
                      <a:pt x="2362" y="4246"/>
                    </a:lnTo>
                    <a:lnTo>
                      <a:pt x="2362" y="4256"/>
                    </a:lnTo>
                    <a:lnTo>
                      <a:pt x="2368" y="4268"/>
                    </a:lnTo>
                    <a:lnTo>
                      <a:pt x="2368" y="4268"/>
                    </a:lnTo>
                    <a:lnTo>
                      <a:pt x="2374" y="4280"/>
                    </a:lnTo>
                    <a:lnTo>
                      <a:pt x="2376" y="4286"/>
                    </a:lnTo>
                    <a:lnTo>
                      <a:pt x="2374" y="4292"/>
                    </a:lnTo>
                    <a:lnTo>
                      <a:pt x="2374" y="4300"/>
                    </a:lnTo>
                    <a:lnTo>
                      <a:pt x="2374" y="4300"/>
                    </a:lnTo>
                    <a:lnTo>
                      <a:pt x="2376" y="4310"/>
                    </a:lnTo>
                    <a:lnTo>
                      <a:pt x="2376" y="4310"/>
                    </a:lnTo>
                    <a:lnTo>
                      <a:pt x="2378" y="4310"/>
                    </a:lnTo>
                    <a:lnTo>
                      <a:pt x="2380" y="4308"/>
                    </a:lnTo>
                    <a:lnTo>
                      <a:pt x="2386" y="4308"/>
                    </a:lnTo>
                    <a:lnTo>
                      <a:pt x="2386" y="4308"/>
                    </a:lnTo>
                    <a:lnTo>
                      <a:pt x="2388" y="4308"/>
                    </a:lnTo>
                    <a:lnTo>
                      <a:pt x="2388" y="4304"/>
                    </a:lnTo>
                    <a:lnTo>
                      <a:pt x="2388" y="4298"/>
                    </a:lnTo>
                    <a:lnTo>
                      <a:pt x="2388" y="4296"/>
                    </a:lnTo>
                    <a:lnTo>
                      <a:pt x="2390" y="4294"/>
                    </a:lnTo>
                    <a:lnTo>
                      <a:pt x="2392" y="4296"/>
                    </a:lnTo>
                    <a:lnTo>
                      <a:pt x="2396" y="4300"/>
                    </a:lnTo>
                    <a:lnTo>
                      <a:pt x="2396" y="4300"/>
                    </a:lnTo>
                    <a:lnTo>
                      <a:pt x="2398" y="4304"/>
                    </a:lnTo>
                    <a:lnTo>
                      <a:pt x="2398" y="4308"/>
                    </a:lnTo>
                    <a:lnTo>
                      <a:pt x="2394" y="4314"/>
                    </a:lnTo>
                    <a:lnTo>
                      <a:pt x="2390" y="4320"/>
                    </a:lnTo>
                    <a:lnTo>
                      <a:pt x="2390" y="4322"/>
                    </a:lnTo>
                    <a:lnTo>
                      <a:pt x="2392" y="4324"/>
                    </a:lnTo>
                    <a:lnTo>
                      <a:pt x="2392" y="4324"/>
                    </a:lnTo>
                    <a:lnTo>
                      <a:pt x="2396" y="4326"/>
                    </a:lnTo>
                    <a:lnTo>
                      <a:pt x="2398" y="4326"/>
                    </a:lnTo>
                    <a:lnTo>
                      <a:pt x="2402" y="4324"/>
                    </a:lnTo>
                    <a:lnTo>
                      <a:pt x="2404" y="4322"/>
                    </a:lnTo>
                    <a:lnTo>
                      <a:pt x="2406" y="4320"/>
                    </a:lnTo>
                    <a:lnTo>
                      <a:pt x="2406" y="4322"/>
                    </a:lnTo>
                    <a:lnTo>
                      <a:pt x="2406" y="4322"/>
                    </a:lnTo>
                    <a:lnTo>
                      <a:pt x="2412" y="4324"/>
                    </a:lnTo>
                    <a:lnTo>
                      <a:pt x="2416" y="4324"/>
                    </a:lnTo>
                    <a:lnTo>
                      <a:pt x="2422" y="4326"/>
                    </a:lnTo>
                    <a:lnTo>
                      <a:pt x="2424" y="4328"/>
                    </a:lnTo>
                    <a:lnTo>
                      <a:pt x="2428" y="4334"/>
                    </a:lnTo>
                    <a:lnTo>
                      <a:pt x="2428" y="4334"/>
                    </a:lnTo>
                    <a:lnTo>
                      <a:pt x="2430" y="4340"/>
                    </a:lnTo>
                    <a:lnTo>
                      <a:pt x="2434" y="4344"/>
                    </a:lnTo>
                    <a:lnTo>
                      <a:pt x="2436" y="4344"/>
                    </a:lnTo>
                    <a:lnTo>
                      <a:pt x="2438" y="4344"/>
                    </a:lnTo>
                    <a:lnTo>
                      <a:pt x="2444" y="4342"/>
                    </a:lnTo>
                    <a:lnTo>
                      <a:pt x="2446" y="4342"/>
                    </a:lnTo>
                    <a:lnTo>
                      <a:pt x="2450" y="4346"/>
                    </a:lnTo>
                    <a:lnTo>
                      <a:pt x="2450" y="4346"/>
                    </a:lnTo>
                    <a:lnTo>
                      <a:pt x="2452" y="4350"/>
                    </a:lnTo>
                    <a:lnTo>
                      <a:pt x="2452" y="4352"/>
                    </a:lnTo>
                    <a:lnTo>
                      <a:pt x="2448" y="4360"/>
                    </a:lnTo>
                    <a:lnTo>
                      <a:pt x="2444" y="4370"/>
                    </a:lnTo>
                    <a:lnTo>
                      <a:pt x="2442" y="4378"/>
                    </a:lnTo>
                    <a:lnTo>
                      <a:pt x="2440" y="4388"/>
                    </a:lnTo>
                    <a:lnTo>
                      <a:pt x="2440" y="4388"/>
                    </a:lnTo>
                    <a:lnTo>
                      <a:pt x="2440" y="4410"/>
                    </a:lnTo>
                    <a:lnTo>
                      <a:pt x="2442" y="4422"/>
                    </a:lnTo>
                    <a:lnTo>
                      <a:pt x="2444" y="4424"/>
                    </a:lnTo>
                    <a:lnTo>
                      <a:pt x="2446" y="4424"/>
                    </a:lnTo>
                    <a:lnTo>
                      <a:pt x="2450" y="4422"/>
                    </a:lnTo>
                    <a:lnTo>
                      <a:pt x="2456" y="4416"/>
                    </a:lnTo>
                    <a:lnTo>
                      <a:pt x="2456" y="4416"/>
                    </a:lnTo>
                    <a:lnTo>
                      <a:pt x="2478" y="4396"/>
                    </a:lnTo>
                    <a:lnTo>
                      <a:pt x="2488" y="4388"/>
                    </a:lnTo>
                    <a:lnTo>
                      <a:pt x="2496" y="4384"/>
                    </a:lnTo>
                    <a:lnTo>
                      <a:pt x="2496" y="4384"/>
                    </a:lnTo>
                    <a:lnTo>
                      <a:pt x="2500" y="4382"/>
                    </a:lnTo>
                    <a:lnTo>
                      <a:pt x="2502" y="4380"/>
                    </a:lnTo>
                    <a:lnTo>
                      <a:pt x="2502" y="4376"/>
                    </a:lnTo>
                    <a:lnTo>
                      <a:pt x="2502" y="4374"/>
                    </a:lnTo>
                    <a:lnTo>
                      <a:pt x="2508" y="4372"/>
                    </a:lnTo>
                    <a:lnTo>
                      <a:pt x="2508" y="4372"/>
                    </a:lnTo>
                    <a:lnTo>
                      <a:pt x="2512" y="4370"/>
                    </a:lnTo>
                    <a:lnTo>
                      <a:pt x="2516" y="4364"/>
                    </a:lnTo>
                    <a:lnTo>
                      <a:pt x="2520" y="4346"/>
                    </a:lnTo>
                    <a:lnTo>
                      <a:pt x="2524" y="4328"/>
                    </a:lnTo>
                    <a:lnTo>
                      <a:pt x="2526" y="4324"/>
                    </a:lnTo>
                    <a:lnTo>
                      <a:pt x="2526" y="4322"/>
                    </a:lnTo>
                    <a:lnTo>
                      <a:pt x="2528" y="4324"/>
                    </a:lnTo>
                    <a:lnTo>
                      <a:pt x="2528" y="4324"/>
                    </a:lnTo>
                    <a:lnTo>
                      <a:pt x="2534" y="4328"/>
                    </a:lnTo>
                    <a:lnTo>
                      <a:pt x="2536" y="4330"/>
                    </a:lnTo>
                    <a:lnTo>
                      <a:pt x="2538" y="4332"/>
                    </a:lnTo>
                    <a:lnTo>
                      <a:pt x="2544" y="4332"/>
                    </a:lnTo>
                    <a:lnTo>
                      <a:pt x="2548" y="4330"/>
                    </a:lnTo>
                    <a:lnTo>
                      <a:pt x="2556" y="4326"/>
                    </a:lnTo>
                    <a:lnTo>
                      <a:pt x="2566" y="4318"/>
                    </a:lnTo>
                    <a:lnTo>
                      <a:pt x="2566" y="4318"/>
                    </a:lnTo>
                    <a:lnTo>
                      <a:pt x="2576" y="4310"/>
                    </a:lnTo>
                    <a:lnTo>
                      <a:pt x="2584" y="4304"/>
                    </a:lnTo>
                    <a:lnTo>
                      <a:pt x="2598" y="4296"/>
                    </a:lnTo>
                    <a:lnTo>
                      <a:pt x="2604" y="4292"/>
                    </a:lnTo>
                    <a:lnTo>
                      <a:pt x="2610" y="4286"/>
                    </a:lnTo>
                    <a:lnTo>
                      <a:pt x="2614" y="4280"/>
                    </a:lnTo>
                    <a:lnTo>
                      <a:pt x="2618" y="4272"/>
                    </a:lnTo>
                    <a:lnTo>
                      <a:pt x="2618" y="4272"/>
                    </a:lnTo>
                    <a:lnTo>
                      <a:pt x="2622" y="4252"/>
                    </a:lnTo>
                    <a:lnTo>
                      <a:pt x="2622" y="4238"/>
                    </a:lnTo>
                    <a:lnTo>
                      <a:pt x="2624" y="4228"/>
                    </a:lnTo>
                    <a:lnTo>
                      <a:pt x="2624" y="4224"/>
                    </a:lnTo>
                    <a:lnTo>
                      <a:pt x="2626" y="4222"/>
                    </a:lnTo>
                    <a:lnTo>
                      <a:pt x="2626" y="4222"/>
                    </a:lnTo>
                    <a:lnTo>
                      <a:pt x="2628" y="4222"/>
                    </a:lnTo>
                    <a:lnTo>
                      <a:pt x="2630" y="4220"/>
                    </a:lnTo>
                    <a:lnTo>
                      <a:pt x="2630" y="4214"/>
                    </a:lnTo>
                    <a:lnTo>
                      <a:pt x="2628" y="4206"/>
                    </a:lnTo>
                    <a:lnTo>
                      <a:pt x="2624" y="4198"/>
                    </a:lnTo>
                    <a:lnTo>
                      <a:pt x="2624" y="4198"/>
                    </a:lnTo>
                    <a:lnTo>
                      <a:pt x="2622" y="4194"/>
                    </a:lnTo>
                    <a:lnTo>
                      <a:pt x="2622" y="4190"/>
                    </a:lnTo>
                    <a:lnTo>
                      <a:pt x="2624" y="4174"/>
                    </a:lnTo>
                    <a:lnTo>
                      <a:pt x="2624" y="4152"/>
                    </a:lnTo>
                    <a:lnTo>
                      <a:pt x="2622" y="4138"/>
                    </a:lnTo>
                    <a:lnTo>
                      <a:pt x="2616" y="4122"/>
                    </a:lnTo>
                    <a:lnTo>
                      <a:pt x="2616" y="4122"/>
                    </a:lnTo>
                    <a:lnTo>
                      <a:pt x="2606" y="4096"/>
                    </a:lnTo>
                    <a:lnTo>
                      <a:pt x="2598" y="4080"/>
                    </a:lnTo>
                    <a:lnTo>
                      <a:pt x="2590" y="4068"/>
                    </a:lnTo>
                    <a:lnTo>
                      <a:pt x="2584" y="4056"/>
                    </a:lnTo>
                    <a:lnTo>
                      <a:pt x="2584" y="4056"/>
                    </a:lnTo>
                    <a:lnTo>
                      <a:pt x="2580" y="4046"/>
                    </a:lnTo>
                    <a:lnTo>
                      <a:pt x="2572" y="4042"/>
                    </a:lnTo>
                    <a:lnTo>
                      <a:pt x="2562" y="4034"/>
                    </a:lnTo>
                    <a:lnTo>
                      <a:pt x="2548" y="4020"/>
                    </a:lnTo>
                    <a:lnTo>
                      <a:pt x="2548" y="4020"/>
                    </a:lnTo>
                    <a:lnTo>
                      <a:pt x="2534" y="4002"/>
                    </a:lnTo>
                    <a:lnTo>
                      <a:pt x="2522" y="3986"/>
                    </a:lnTo>
                    <a:lnTo>
                      <a:pt x="2514" y="3972"/>
                    </a:lnTo>
                    <a:lnTo>
                      <a:pt x="2510" y="3966"/>
                    </a:lnTo>
                    <a:lnTo>
                      <a:pt x="2510" y="3960"/>
                    </a:lnTo>
                    <a:lnTo>
                      <a:pt x="2510" y="3960"/>
                    </a:lnTo>
                    <a:lnTo>
                      <a:pt x="2508" y="3954"/>
                    </a:lnTo>
                    <a:lnTo>
                      <a:pt x="2506" y="3950"/>
                    </a:lnTo>
                    <a:lnTo>
                      <a:pt x="2500" y="3946"/>
                    </a:lnTo>
                    <a:lnTo>
                      <a:pt x="2492" y="3940"/>
                    </a:lnTo>
                    <a:lnTo>
                      <a:pt x="2486" y="3934"/>
                    </a:lnTo>
                    <a:lnTo>
                      <a:pt x="2482" y="3926"/>
                    </a:lnTo>
                    <a:lnTo>
                      <a:pt x="2482" y="3926"/>
                    </a:lnTo>
                    <a:lnTo>
                      <a:pt x="2478" y="3916"/>
                    </a:lnTo>
                    <a:lnTo>
                      <a:pt x="2478" y="3904"/>
                    </a:lnTo>
                    <a:lnTo>
                      <a:pt x="2480" y="3894"/>
                    </a:lnTo>
                    <a:lnTo>
                      <a:pt x="2482" y="3884"/>
                    </a:lnTo>
                    <a:lnTo>
                      <a:pt x="2486" y="3874"/>
                    </a:lnTo>
                    <a:lnTo>
                      <a:pt x="2492" y="3864"/>
                    </a:lnTo>
                    <a:lnTo>
                      <a:pt x="2498" y="3856"/>
                    </a:lnTo>
                    <a:lnTo>
                      <a:pt x="2506" y="3848"/>
                    </a:lnTo>
                    <a:lnTo>
                      <a:pt x="2506" y="3848"/>
                    </a:lnTo>
                    <a:lnTo>
                      <a:pt x="2512" y="3842"/>
                    </a:lnTo>
                    <a:lnTo>
                      <a:pt x="2516" y="3836"/>
                    </a:lnTo>
                    <a:lnTo>
                      <a:pt x="2518" y="3826"/>
                    </a:lnTo>
                    <a:lnTo>
                      <a:pt x="2520" y="3816"/>
                    </a:lnTo>
                    <a:lnTo>
                      <a:pt x="2522" y="3812"/>
                    </a:lnTo>
                    <a:lnTo>
                      <a:pt x="2526" y="3808"/>
                    </a:lnTo>
                    <a:lnTo>
                      <a:pt x="2526" y="3808"/>
                    </a:lnTo>
                    <a:lnTo>
                      <a:pt x="2532" y="3806"/>
                    </a:lnTo>
                    <a:lnTo>
                      <a:pt x="2534" y="3806"/>
                    </a:lnTo>
                    <a:lnTo>
                      <a:pt x="2536" y="3808"/>
                    </a:lnTo>
                    <a:lnTo>
                      <a:pt x="2540" y="3808"/>
                    </a:lnTo>
                    <a:lnTo>
                      <a:pt x="2540" y="3808"/>
                    </a:lnTo>
                    <a:lnTo>
                      <a:pt x="2544" y="3804"/>
                    </a:lnTo>
                    <a:lnTo>
                      <a:pt x="2546" y="3800"/>
                    </a:lnTo>
                    <a:lnTo>
                      <a:pt x="2548" y="3794"/>
                    </a:lnTo>
                    <a:lnTo>
                      <a:pt x="2554" y="3790"/>
                    </a:lnTo>
                    <a:lnTo>
                      <a:pt x="2554" y="3790"/>
                    </a:lnTo>
                    <a:lnTo>
                      <a:pt x="2562" y="3784"/>
                    </a:lnTo>
                    <a:lnTo>
                      <a:pt x="2568" y="3782"/>
                    </a:lnTo>
                    <a:lnTo>
                      <a:pt x="2572" y="3782"/>
                    </a:lnTo>
                    <a:lnTo>
                      <a:pt x="2574" y="3778"/>
                    </a:lnTo>
                    <a:lnTo>
                      <a:pt x="2574" y="3778"/>
                    </a:lnTo>
                    <a:lnTo>
                      <a:pt x="2576" y="3780"/>
                    </a:lnTo>
                    <a:lnTo>
                      <a:pt x="2578" y="3780"/>
                    </a:lnTo>
                    <a:lnTo>
                      <a:pt x="2582" y="3780"/>
                    </a:lnTo>
                    <a:lnTo>
                      <a:pt x="2584" y="3776"/>
                    </a:lnTo>
                    <a:lnTo>
                      <a:pt x="2584" y="3776"/>
                    </a:lnTo>
                    <a:lnTo>
                      <a:pt x="2584" y="3774"/>
                    </a:lnTo>
                    <a:lnTo>
                      <a:pt x="2586" y="3776"/>
                    </a:lnTo>
                    <a:lnTo>
                      <a:pt x="2590" y="3778"/>
                    </a:lnTo>
                    <a:lnTo>
                      <a:pt x="2592" y="3778"/>
                    </a:lnTo>
                    <a:lnTo>
                      <a:pt x="2592" y="3778"/>
                    </a:lnTo>
                    <a:lnTo>
                      <a:pt x="2594" y="3774"/>
                    </a:lnTo>
                    <a:lnTo>
                      <a:pt x="2592" y="3772"/>
                    </a:lnTo>
                    <a:lnTo>
                      <a:pt x="2592" y="3768"/>
                    </a:lnTo>
                    <a:lnTo>
                      <a:pt x="2592" y="3762"/>
                    </a:lnTo>
                    <a:lnTo>
                      <a:pt x="2592" y="3762"/>
                    </a:lnTo>
                    <a:lnTo>
                      <a:pt x="2592" y="3760"/>
                    </a:lnTo>
                    <a:lnTo>
                      <a:pt x="2594" y="3762"/>
                    </a:lnTo>
                    <a:lnTo>
                      <a:pt x="2596" y="3766"/>
                    </a:lnTo>
                    <a:lnTo>
                      <a:pt x="2602" y="3772"/>
                    </a:lnTo>
                    <a:lnTo>
                      <a:pt x="2604" y="3774"/>
                    </a:lnTo>
                    <a:lnTo>
                      <a:pt x="2610" y="3776"/>
                    </a:lnTo>
                    <a:lnTo>
                      <a:pt x="2610" y="3776"/>
                    </a:lnTo>
                    <a:lnTo>
                      <a:pt x="2614" y="3776"/>
                    </a:lnTo>
                    <a:lnTo>
                      <a:pt x="2616" y="3778"/>
                    </a:lnTo>
                    <a:lnTo>
                      <a:pt x="2614" y="3782"/>
                    </a:lnTo>
                    <a:lnTo>
                      <a:pt x="2614" y="3784"/>
                    </a:lnTo>
                    <a:lnTo>
                      <a:pt x="2616" y="3786"/>
                    </a:lnTo>
                    <a:lnTo>
                      <a:pt x="2620" y="3786"/>
                    </a:lnTo>
                    <a:lnTo>
                      <a:pt x="2620" y="3786"/>
                    </a:lnTo>
                    <a:lnTo>
                      <a:pt x="2630" y="3784"/>
                    </a:lnTo>
                    <a:lnTo>
                      <a:pt x="2632" y="3782"/>
                    </a:lnTo>
                    <a:lnTo>
                      <a:pt x="2634" y="3778"/>
                    </a:lnTo>
                    <a:lnTo>
                      <a:pt x="2634" y="3778"/>
                    </a:lnTo>
                    <a:lnTo>
                      <a:pt x="2632" y="3772"/>
                    </a:lnTo>
                    <a:lnTo>
                      <a:pt x="2634" y="3772"/>
                    </a:lnTo>
                    <a:lnTo>
                      <a:pt x="2636" y="3778"/>
                    </a:lnTo>
                    <a:lnTo>
                      <a:pt x="2636" y="3778"/>
                    </a:lnTo>
                    <a:lnTo>
                      <a:pt x="2640" y="3782"/>
                    </a:lnTo>
                    <a:lnTo>
                      <a:pt x="2642" y="3782"/>
                    </a:lnTo>
                    <a:lnTo>
                      <a:pt x="2644" y="3782"/>
                    </a:lnTo>
                    <a:lnTo>
                      <a:pt x="2648" y="3784"/>
                    </a:lnTo>
                    <a:lnTo>
                      <a:pt x="2648" y="3784"/>
                    </a:lnTo>
                    <a:lnTo>
                      <a:pt x="2648" y="3786"/>
                    </a:lnTo>
                    <a:lnTo>
                      <a:pt x="2646" y="3788"/>
                    </a:lnTo>
                    <a:lnTo>
                      <a:pt x="2642" y="3794"/>
                    </a:lnTo>
                    <a:lnTo>
                      <a:pt x="2640" y="3802"/>
                    </a:lnTo>
                    <a:lnTo>
                      <a:pt x="2640" y="3802"/>
                    </a:lnTo>
                    <a:lnTo>
                      <a:pt x="2638" y="3810"/>
                    </a:lnTo>
                    <a:lnTo>
                      <a:pt x="2640" y="3816"/>
                    </a:lnTo>
                    <a:lnTo>
                      <a:pt x="2642" y="3818"/>
                    </a:lnTo>
                    <a:lnTo>
                      <a:pt x="2642" y="3820"/>
                    </a:lnTo>
                    <a:lnTo>
                      <a:pt x="2642" y="3820"/>
                    </a:lnTo>
                    <a:lnTo>
                      <a:pt x="2642" y="3824"/>
                    </a:lnTo>
                    <a:lnTo>
                      <a:pt x="2644" y="3828"/>
                    </a:lnTo>
                    <a:lnTo>
                      <a:pt x="2646" y="3832"/>
                    </a:lnTo>
                    <a:lnTo>
                      <a:pt x="2648" y="3836"/>
                    </a:lnTo>
                    <a:lnTo>
                      <a:pt x="2648" y="3836"/>
                    </a:lnTo>
                    <a:lnTo>
                      <a:pt x="2648" y="3840"/>
                    </a:lnTo>
                    <a:lnTo>
                      <a:pt x="2648" y="3842"/>
                    </a:lnTo>
                    <a:lnTo>
                      <a:pt x="2652" y="3844"/>
                    </a:lnTo>
                    <a:lnTo>
                      <a:pt x="2664" y="3842"/>
                    </a:lnTo>
                    <a:lnTo>
                      <a:pt x="2664" y="3842"/>
                    </a:lnTo>
                    <a:lnTo>
                      <a:pt x="2672" y="3838"/>
                    </a:lnTo>
                    <a:lnTo>
                      <a:pt x="2674" y="3836"/>
                    </a:lnTo>
                    <a:lnTo>
                      <a:pt x="2674" y="3834"/>
                    </a:lnTo>
                    <a:lnTo>
                      <a:pt x="2670" y="3828"/>
                    </a:lnTo>
                    <a:lnTo>
                      <a:pt x="2668" y="3820"/>
                    </a:lnTo>
                    <a:lnTo>
                      <a:pt x="2668" y="3820"/>
                    </a:lnTo>
                    <a:lnTo>
                      <a:pt x="2666" y="3814"/>
                    </a:lnTo>
                    <a:lnTo>
                      <a:pt x="2662" y="3812"/>
                    </a:lnTo>
                    <a:lnTo>
                      <a:pt x="2660" y="3812"/>
                    </a:lnTo>
                    <a:lnTo>
                      <a:pt x="2658" y="3810"/>
                    </a:lnTo>
                    <a:lnTo>
                      <a:pt x="2658" y="3810"/>
                    </a:lnTo>
                    <a:lnTo>
                      <a:pt x="2660" y="3804"/>
                    </a:lnTo>
                    <a:lnTo>
                      <a:pt x="2666" y="3800"/>
                    </a:lnTo>
                    <a:lnTo>
                      <a:pt x="2684" y="3788"/>
                    </a:lnTo>
                    <a:lnTo>
                      <a:pt x="2684" y="3788"/>
                    </a:lnTo>
                    <a:lnTo>
                      <a:pt x="2692" y="3784"/>
                    </a:lnTo>
                    <a:lnTo>
                      <a:pt x="2698" y="3782"/>
                    </a:lnTo>
                    <a:lnTo>
                      <a:pt x="2704" y="3784"/>
                    </a:lnTo>
                    <a:lnTo>
                      <a:pt x="2716" y="3780"/>
                    </a:lnTo>
                    <a:lnTo>
                      <a:pt x="2716" y="3780"/>
                    </a:lnTo>
                    <a:lnTo>
                      <a:pt x="2722" y="3778"/>
                    </a:lnTo>
                    <a:lnTo>
                      <a:pt x="2726" y="3774"/>
                    </a:lnTo>
                    <a:lnTo>
                      <a:pt x="2730" y="3768"/>
                    </a:lnTo>
                    <a:lnTo>
                      <a:pt x="2730" y="3764"/>
                    </a:lnTo>
                    <a:lnTo>
                      <a:pt x="2736" y="3766"/>
                    </a:lnTo>
                    <a:lnTo>
                      <a:pt x="2736" y="3766"/>
                    </a:lnTo>
                    <a:lnTo>
                      <a:pt x="2740" y="3768"/>
                    </a:lnTo>
                    <a:lnTo>
                      <a:pt x="2742" y="3772"/>
                    </a:lnTo>
                    <a:lnTo>
                      <a:pt x="2742" y="3772"/>
                    </a:lnTo>
                    <a:lnTo>
                      <a:pt x="2746" y="3768"/>
                    </a:lnTo>
                    <a:lnTo>
                      <a:pt x="2746" y="3768"/>
                    </a:lnTo>
                    <a:lnTo>
                      <a:pt x="2750" y="3764"/>
                    </a:lnTo>
                    <a:lnTo>
                      <a:pt x="2752" y="3766"/>
                    </a:lnTo>
                    <a:lnTo>
                      <a:pt x="2754" y="3768"/>
                    </a:lnTo>
                    <a:lnTo>
                      <a:pt x="2758" y="3764"/>
                    </a:lnTo>
                    <a:lnTo>
                      <a:pt x="2758" y="3764"/>
                    </a:lnTo>
                    <a:lnTo>
                      <a:pt x="2762" y="3760"/>
                    </a:lnTo>
                    <a:lnTo>
                      <a:pt x="2764" y="3760"/>
                    </a:lnTo>
                    <a:lnTo>
                      <a:pt x="2768" y="3760"/>
                    </a:lnTo>
                    <a:lnTo>
                      <a:pt x="2772" y="3762"/>
                    </a:lnTo>
                    <a:lnTo>
                      <a:pt x="2774" y="3760"/>
                    </a:lnTo>
                    <a:lnTo>
                      <a:pt x="2774" y="3756"/>
                    </a:lnTo>
                    <a:lnTo>
                      <a:pt x="2774" y="3756"/>
                    </a:lnTo>
                    <a:lnTo>
                      <a:pt x="2776" y="3750"/>
                    </a:lnTo>
                    <a:lnTo>
                      <a:pt x="2778" y="3752"/>
                    </a:lnTo>
                    <a:lnTo>
                      <a:pt x="2780" y="3754"/>
                    </a:lnTo>
                    <a:lnTo>
                      <a:pt x="2782" y="3754"/>
                    </a:lnTo>
                    <a:lnTo>
                      <a:pt x="2784" y="3752"/>
                    </a:lnTo>
                    <a:lnTo>
                      <a:pt x="2784" y="3752"/>
                    </a:lnTo>
                    <a:lnTo>
                      <a:pt x="2788" y="3748"/>
                    </a:lnTo>
                    <a:lnTo>
                      <a:pt x="2790" y="3748"/>
                    </a:lnTo>
                    <a:lnTo>
                      <a:pt x="2792" y="3748"/>
                    </a:lnTo>
                    <a:lnTo>
                      <a:pt x="2796" y="3744"/>
                    </a:lnTo>
                    <a:lnTo>
                      <a:pt x="2796" y="3744"/>
                    </a:lnTo>
                    <a:lnTo>
                      <a:pt x="2798" y="3740"/>
                    </a:lnTo>
                    <a:lnTo>
                      <a:pt x="2798" y="3736"/>
                    </a:lnTo>
                    <a:lnTo>
                      <a:pt x="2794" y="3724"/>
                    </a:lnTo>
                    <a:lnTo>
                      <a:pt x="2792" y="3714"/>
                    </a:lnTo>
                    <a:lnTo>
                      <a:pt x="2790" y="3712"/>
                    </a:lnTo>
                    <a:lnTo>
                      <a:pt x="2792" y="3708"/>
                    </a:lnTo>
                    <a:lnTo>
                      <a:pt x="2792" y="3708"/>
                    </a:lnTo>
                    <a:lnTo>
                      <a:pt x="2794" y="3708"/>
                    </a:lnTo>
                    <a:lnTo>
                      <a:pt x="2796" y="3710"/>
                    </a:lnTo>
                    <a:lnTo>
                      <a:pt x="2804" y="3720"/>
                    </a:lnTo>
                    <a:lnTo>
                      <a:pt x="2804" y="3720"/>
                    </a:lnTo>
                    <a:lnTo>
                      <a:pt x="2808" y="3726"/>
                    </a:lnTo>
                    <a:lnTo>
                      <a:pt x="2808" y="3726"/>
                    </a:lnTo>
                    <a:lnTo>
                      <a:pt x="2812" y="3730"/>
                    </a:lnTo>
                    <a:lnTo>
                      <a:pt x="2810" y="3734"/>
                    </a:lnTo>
                    <a:lnTo>
                      <a:pt x="2810" y="3738"/>
                    </a:lnTo>
                    <a:lnTo>
                      <a:pt x="2812" y="3738"/>
                    </a:lnTo>
                    <a:lnTo>
                      <a:pt x="2812" y="3738"/>
                    </a:lnTo>
                    <a:lnTo>
                      <a:pt x="2818" y="3740"/>
                    </a:lnTo>
                    <a:lnTo>
                      <a:pt x="2820" y="3742"/>
                    </a:lnTo>
                    <a:lnTo>
                      <a:pt x="2824" y="3742"/>
                    </a:lnTo>
                    <a:lnTo>
                      <a:pt x="2826" y="3740"/>
                    </a:lnTo>
                    <a:lnTo>
                      <a:pt x="2826" y="3740"/>
                    </a:lnTo>
                    <a:lnTo>
                      <a:pt x="2828" y="3736"/>
                    </a:lnTo>
                    <a:lnTo>
                      <a:pt x="2828" y="3734"/>
                    </a:lnTo>
                    <a:lnTo>
                      <a:pt x="2826" y="3730"/>
                    </a:lnTo>
                    <a:lnTo>
                      <a:pt x="2826" y="3726"/>
                    </a:lnTo>
                    <a:lnTo>
                      <a:pt x="2826" y="3726"/>
                    </a:lnTo>
                    <a:lnTo>
                      <a:pt x="2826" y="3724"/>
                    </a:lnTo>
                    <a:lnTo>
                      <a:pt x="2828" y="3724"/>
                    </a:lnTo>
                    <a:lnTo>
                      <a:pt x="2830" y="3728"/>
                    </a:lnTo>
                    <a:lnTo>
                      <a:pt x="2834" y="3730"/>
                    </a:lnTo>
                    <a:lnTo>
                      <a:pt x="2836" y="3732"/>
                    </a:lnTo>
                    <a:lnTo>
                      <a:pt x="2838" y="3730"/>
                    </a:lnTo>
                    <a:lnTo>
                      <a:pt x="2838" y="3730"/>
                    </a:lnTo>
                    <a:lnTo>
                      <a:pt x="2840" y="3728"/>
                    </a:lnTo>
                    <a:lnTo>
                      <a:pt x="2838" y="3724"/>
                    </a:lnTo>
                    <a:lnTo>
                      <a:pt x="2838" y="3724"/>
                    </a:lnTo>
                    <a:lnTo>
                      <a:pt x="2836" y="3720"/>
                    </a:lnTo>
                    <a:lnTo>
                      <a:pt x="2838" y="3718"/>
                    </a:lnTo>
                    <a:lnTo>
                      <a:pt x="2840" y="3716"/>
                    </a:lnTo>
                    <a:lnTo>
                      <a:pt x="2840" y="3716"/>
                    </a:lnTo>
                    <a:lnTo>
                      <a:pt x="2842" y="3716"/>
                    </a:lnTo>
                    <a:lnTo>
                      <a:pt x="2844" y="3718"/>
                    </a:lnTo>
                    <a:lnTo>
                      <a:pt x="2846" y="3724"/>
                    </a:lnTo>
                    <a:lnTo>
                      <a:pt x="2846" y="3726"/>
                    </a:lnTo>
                    <a:lnTo>
                      <a:pt x="2848" y="3728"/>
                    </a:lnTo>
                    <a:lnTo>
                      <a:pt x="2850" y="3728"/>
                    </a:lnTo>
                    <a:lnTo>
                      <a:pt x="2854" y="3724"/>
                    </a:lnTo>
                    <a:lnTo>
                      <a:pt x="2854" y="3724"/>
                    </a:lnTo>
                    <a:lnTo>
                      <a:pt x="2860" y="3718"/>
                    </a:lnTo>
                    <a:lnTo>
                      <a:pt x="2864" y="3716"/>
                    </a:lnTo>
                    <a:lnTo>
                      <a:pt x="2874" y="3722"/>
                    </a:lnTo>
                    <a:lnTo>
                      <a:pt x="2874" y="3722"/>
                    </a:lnTo>
                    <a:lnTo>
                      <a:pt x="2876" y="3722"/>
                    </a:lnTo>
                    <a:lnTo>
                      <a:pt x="2878" y="3722"/>
                    </a:lnTo>
                    <a:lnTo>
                      <a:pt x="2878" y="3718"/>
                    </a:lnTo>
                    <a:lnTo>
                      <a:pt x="2878" y="3714"/>
                    </a:lnTo>
                    <a:lnTo>
                      <a:pt x="2878" y="3712"/>
                    </a:lnTo>
                    <a:lnTo>
                      <a:pt x="2880" y="3712"/>
                    </a:lnTo>
                    <a:lnTo>
                      <a:pt x="2880" y="3712"/>
                    </a:lnTo>
                    <a:lnTo>
                      <a:pt x="2882" y="3712"/>
                    </a:lnTo>
                    <a:lnTo>
                      <a:pt x="2882" y="3712"/>
                    </a:lnTo>
                    <a:lnTo>
                      <a:pt x="2884" y="3716"/>
                    </a:lnTo>
                    <a:lnTo>
                      <a:pt x="2886" y="3718"/>
                    </a:lnTo>
                    <a:lnTo>
                      <a:pt x="2894" y="3716"/>
                    </a:lnTo>
                    <a:lnTo>
                      <a:pt x="2894" y="3716"/>
                    </a:lnTo>
                    <a:lnTo>
                      <a:pt x="2902" y="3712"/>
                    </a:lnTo>
                    <a:lnTo>
                      <a:pt x="2910" y="3710"/>
                    </a:lnTo>
                    <a:lnTo>
                      <a:pt x="2914" y="3706"/>
                    </a:lnTo>
                    <a:lnTo>
                      <a:pt x="2916" y="3702"/>
                    </a:lnTo>
                    <a:lnTo>
                      <a:pt x="2916" y="3702"/>
                    </a:lnTo>
                    <a:lnTo>
                      <a:pt x="2918" y="3698"/>
                    </a:lnTo>
                    <a:lnTo>
                      <a:pt x="2918" y="3696"/>
                    </a:lnTo>
                    <a:lnTo>
                      <a:pt x="2922" y="3694"/>
                    </a:lnTo>
                    <a:lnTo>
                      <a:pt x="2926" y="3692"/>
                    </a:lnTo>
                    <a:lnTo>
                      <a:pt x="2924" y="3690"/>
                    </a:lnTo>
                    <a:lnTo>
                      <a:pt x="2924" y="3690"/>
                    </a:lnTo>
                    <a:lnTo>
                      <a:pt x="2922" y="3688"/>
                    </a:lnTo>
                    <a:lnTo>
                      <a:pt x="2924" y="3686"/>
                    </a:lnTo>
                    <a:lnTo>
                      <a:pt x="2926" y="3684"/>
                    </a:lnTo>
                    <a:lnTo>
                      <a:pt x="2930" y="3678"/>
                    </a:lnTo>
                    <a:lnTo>
                      <a:pt x="2930" y="3678"/>
                    </a:lnTo>
                    <a:lnTo>
                      <a:pt x="2932" y="3674"/>
                    </a:lnTo>
                    <a:lnTo>
                      <a:pt x="2936" y="3674"/>
                    </a:lnTo>
                    <a:lnTo>
                      <a:pt x="2940" y="3674"/>
                    </a:lnTo>
                    <a:lnTo>
                      <a:pt x="2944" y="3672"/>
                    </a:lnTo>
                    <a:lnTo>
                      <a:pt x="2948" y="3668"/>
                    </a:lnTo>
                    <a:lnTo>
                      <a:pt x="2948" y="3668"/>
                    </a:lnTo>
                    <a:lnTo>
                      <a:pt x="2954" y="3662"/>
                    </a:lnTo>
                    <a:lnTo>
                      <a:pt x="2956" y="3662"/>
                    </a:lnTo>
                    <a:lnTo>
                      <a:pt x="2956" y="3664"/>
                    </a:lnTo>
                    <a:lnTo>
                      <a:pt x="2958" y="3666"/>
                    </a:lnTo>
                    <a:lnTo>
                      <a:pt x="2960" y="3662"/>
                    </a:lnTo>
                    <a:lnTo>
                      <a:pt x="2960" y="3662"/>
                    </a:lnTo>
                    <a:lnTo>
                      <a:pt x="2974" y="3648"/>
                    </a:lnTo>
                    <a:lnTo>
                      <a:pt x="2980" y="3642"/>
                    </a:lnTo>
                    <a:lnTo>
                      <a:pt x="2980" y="3638"/>
                    </a:lnTo>
                    <a:lnTo>
                      <a:pt x="2978" y="3636"/>
                    </a:lnTo>
                    <a:lnTo>
                      <a:pt x="2978" y="3636"/>
                    </a:lnTo>
                    <a:lnTo>
                      <a:pt x="2976" y="3632"/>
                    </a:lnTo>
                    <a:lnTo>
                      <a:pt x="2978" y="3626"/>
                    </a:lnTo>
                    <a:lnTo>
                      <a:pt x="2980" y="3624"/>
                    </a:lnTo>
                    <a:lnTo>
                      <a:pt x="2982" y="3624"/>
                    </a:lnTo>
                    <a:lnTo>
                      <a:pt x="2984" y="3626"/>
                    </a:lnTo>
                    <a:lnTo>
                      <a:pt x="2984" y="3626"/>
                    </a:lnTo>
                    <a:lnTo>
                      <a:pt x="2986" y="3628"/>
                    </a:lnTo>
                    <a:lnTo>
                      <a:pt x="2988" y="3626"/>
                    </a:lnTo>
                    <a:lnTo>
                      <a:pt x="2990" y="3626"/>
                    </a:lnTo>
                    <a:lnTo>
                      <a:pt x="2994" y="3628"/>
                    </a:lnTo>
                    <a:lnTo>
                      <a:pt x="2994" y="3628"/>
                    </a:lnTo>
                    <a:lnTo>
                      <a:pt x="2998" y="3630"/>
                    </a:lnTo>
                    <a:lnTo>
                      <a:pt x="2998" y="3630"/>
                    </a:lnTo>
                    <a:lnTo>
                      <a:pt x="3000" y="3624"/>
                    </a:lnTo>
                    <a:lnTo>
                      <a:pt x="3004" y="3616"/>
                    </a:lnTo>
                    <a:lnTo>
                      <a:pt x="3008" y="3614"/>
                    </a:lnTo>
                    <a:lnTo>
                      <a:pt x="3012" y="3610"/>
                    </a:lnTo>
                    <a:lnTo>
                      <a:pt x="3012" y="3610"/>
                    </a:lnTo>
                    <a:lnTo>
                      <a:pt x="3016" y="3608"/>
                    </a:lnTo>
                    <a:lnTo>
                      <a:pt x="3016" y="3606"/>
                    </a:lnTo>
                    <a:lnTo>
                      <a:pt x="3012" y="3602"/>
                    </a:lnTo>
                    <a:lnTo>
                      <a:pt x="3010" y="3598"/>
                    </a:lnTo>
                    <a:lnTo>
                      <a:pt x="3010" y="3594"/>
                    </a:lnTo>
                    <a:lnTo>
                      <a:pt x="3010" y="3594"/>
                    </a:lnTo>
                    <a:lnTo>
                      <a:pt x="3012" y="3590"/>
                    </a:lnTo>
                    <a:lnTo>
                      <a:pt x="3014" y="3594"/>
                    </a:lnTo>
                    <a:lnTo>
                      <a:pt x="3018" y="3596"/>
                    </a:lnTo>
                    <a:lnTo>
                      <a:pt x="3022" y="3596"/>
                    </a:lnTo>
                    <a:lnTo>
                      <a:pt x="3026" y="3594"/>
                    </a:lnTo>
                    <a:lnTo>
                      <a:pt x="3026" y="3594"/>
                    </a:lnTo>
                    <a:lnTo>
                      <a:pt x="3030" y="3590"/>
                    </a:lnTo>
                    <a:lnTo>
                      <a:pt x="3030" y="3588"/>
                    </a:lnTo>
                    <a:lnTo>
                      <a:pt x="3028" y="3588"/>
                    </a:lnTo>
                    <a:lnTo>
                      <a:pt x="3024" y="3588"/>
                    </a:lnTo>
                    <a:lnTo>
                      <a:pt x="3020" y="3586"/>
                    </a:lnTo>
                    <a:lnTo>
                      <a:pt x="3020" y="3586"/>
                    </a:lnTo>
                    <a:lnTo>
                      <a:pt x="3020" y="3582"/>
                    </a:lnTo>
                    <a:lnTo>
                      <a:pt x="3022" y="3578"/>
                    </a:lnTo>
                    <a:lnTo>
                      <a:pt x="3024" y="3576"/>
                    </a:lnTo>
                    <a:lnTo>
                      <a:pt x="3026" y="3576"/>
                    </a:lnTo>
                    <a:lnTo>
                      <a:pt x="3030" y="3578"/>
                    </a:lnTo>
                    <a:lnTo>
                      <a:pt x="3032" y="3580"/>
                    </a:lnTo>
                    <a:lnTo>
                      <a:pt x="3032" y="3580"/>
                    </a:lnTo>
                    <a:lnTo>
                      <a:pt x="3038" y="3586"/>
                    </a:lnTo>
                    <a:lnTo>
                      <a:pt x="3040" y="3586"/>
                    </a:lnTo>
                    <a:lnTo>
                      <a:pt x="3042" y="3582"/>
                    </a:lnTo>
                    <a:lnTo>
                      <a:pt x="3038" y="3576"/>
                    </a:lnTo>
                    <a:lnTo>
                      <a:pt x="3038" y="3576"/>
                    </a:lnTo>
                    <a:lnTo>
                      <a:pt x="3036" y="3572"/>
                    </a:lnTo>
                    <a:lnTo>
                      <a:pt x="3038" y="3568"/>
                    </a:lnTo>
                    <a:lnTo>
                      <a:pt x="3042" y="3558"/>
                    </a:lnTo>
                    <a:lnTo>
                      <a:pt x="3044" y="3552"/>
                    </a:lnTo>
                    <a:lnTo>
                      <a:pt x="3044" y="3552"/>
                    </a:lnTo>
                    <a:lnTo>
                      <a:pt x="3040" y="3552"/>
                    </a:lnTo>
                    <a:lnTo>
                      <a:pt x="3040" y="3552"/>
                    </a:lnTo>
                    <a:lnTo>
                      <a:pt x="3038" y="3552"/>
                    </a:lnTo>
                    <a:lnTo>
                      <a:pt x="3036" y="3550"/>
                    </a:lnTo>
                    <a:lnTo>
                      <a:pt x="3038" y="3546"/>
                    </a:lnTo>
                    <a:lnTo>
                      <a:pt x="3042" y="3540"/>
                    </a:lnTo>
                    <a:lnTo>
                      <a:pt x="3048" y="3536"/>
                    </a:lnTo>
                    <a:lnTo>
                      <a:pt x="3048" y="3536"/>
                    </a:lnTo>
                    <a:lnTo>
                      <a:pt x="3052" y="3534"/>
                    </a:lnTo>
                    <a:lnTo>
                      <a:pt x="3052" y="3532"/>
                    </a:lnTo>
                    <a:lnTo>
                      <a:pt x="3050" y="3532"/>
                    </a:lnTo>
                    <a:lnTo>
                      <a:pt x="3046" y="3526"/>
                    </a:lnTo>
                    <a:lnTo>
                      <a:pt x="3046" y="3526"/>
                    </a:lnTo>
                    <a:lnTo>
                      <a:pt x="3042" y="3522"/>
                    </a:lnTo>
                    <a:lnTo>
                      <a:pt x="3040" y="3518"/>
                    </a:lnTo>
                    <a:lnTo>
                      <a:pt x="3038" y="3518"/>
                    </a:lnTo>
                    <a:lnTo>
                      <a:pt x="3042" y="3516"/>
                    </a:lnTo>
                    <a:lnTo>
                      <a:pt x="3042" y="3516"/>
                    </a:lnTo>
                    <a:lnTo>
                      <a:pt x="3046" y="3514"/>
                    </a:lnTo>
                    <a:lnTo>
                      <a:pt x="3046" y="3516"/>
                    </a:lnTo>
                    <a:lnTo>
                      <a:pt x="3048" y="3520"/>
                    </a:lnTo>
                    <a:lnTo>
                      <a:pt x="3050" y="3524"/>
                    </a:lnTo>
                    <a:lnTo>
                      <a:pt x="3054" y="3524"/>
                    </a:lnTo>
                    <a:lnTo>
                      <a:pt x="3058" y="3522"/>
                    </a:lnTo>
                    <a:lnTo>
                      <a:pt x="3058" y="3522"/>
                    </a:lnTo>
                    <a:lnTo>
                      <a:pt x="3060" y="3520"/>
                    </a:lnTo>
                    <a:lnTo>
                      <a:pt x="3062" y="3518"/>
                    </a:lnTo>
                    <a:lnTo>
                      <a:pt x="3062" y="3512"/>
                    </a:lnTo>
                    <a:lnTo>
                      <a:pt x="3060" y="3510"/>
                    </a:lnTo>
                    <a:lnTo>
                      <a:pt x="3060" y="3508"/>
                    </a:lnTo>
                    <a:lnTo>
                      <a:pt x="3062" y="3506"/>
                    </a:lnTo>
                    <a:lnTo>
                      <a:pt x="3062" y="3506"/>
                    </a:lnTo>
                    <a:lnTo>
                      <a:pt x="3068" y="3502"/>
                    </a:lnTo>
                    <a:lnTo>
                      <a:pt x="3074" y="3492"/>
                    </a:lnTo>
                    <a:lnTo>
                      <a:pt x="3080" y="3482"/>
                    </a:lnTo>
                    <a:lnTo>
                      <a:pt x="3080" y="3478"/>
                    </a:lnTo>
                    <a:lnTo>
                      <a:pt x="3080" y="3474"/>
                    </a:lnTo>
                    <a:lnTo>
                      <a:pt x="3080" y="3474"/>
                    </a:lnTo>
                    <a:lnTo>
                      <a:pt x="3080" y="3470"/>
                    </a:lnTo>
                    <a:lnTo>
                      <a:pt x="3080" y="3468"/>
                    </a:lnTo>
                    <a:lnTo>
                      <a:pt x="3084" y="3462"/>
                    </a:lnTo>
                    <a:lnTo>
                      <a:pt x="3090" y="3454"/>
                    </a:lnTo>
                    <a:lnTo>
                      <a:pt x="3098" y="3440"/>
                    </a:lnTo>
                    <a:lnTo>
                      <a:pt x="3098" y="3440"/>
                    </a:lnTo>
                    <a:lnTo>
                      <a:pt x="3100" y="3436"/>
                    </a:lnTo>
                    <a:lnTo>
                      <a:pt x="3102" y="3432"/>
                    </a:lnTo>
                    <a:lnTo>
                      <a:pt x="3104" y="3434"/>
                    </a:lnTo>
                    <a:lnTo>
                      <a:pt x="3106" y="3436"/>
                    </a:lnTo>
                    <a:lnTo>
                      <a:pt x="3108" y="3440"/>
                    </a:lnTo>
                    <a:lnTo>
                      <a:pt x="3110" y="3440"/>
                    </a:lnTo>
                    <a:lnTo>
                      <a:pt x="3112" y="3440"/>
                    </a:lnTo>
                    <a:lnTo>
                      <a:pt x="3112" y="3440"/>
                    </a:lnTo>
                    <a:lnTo>
                      <a:pt x="3116" y="3436"/>
                    </a:lnTo>
                    <a:lnTo>
                      <a:pt x="3120" y="3434"/>
                    </a:lnTo>
                    <a:lnTo>
                      <a:pt x="3120" y="3434"/>
                    </a:lnTo>
                    <a:lnTo>
                      <a:pt x="3122" y="3432"/>
                    </a:lnTo>
                    <a:lnTo>
                      <a:pt x="3118" y="3424"/>
                    </a:lnTo>
                    <a:lnTo>
                      <a:pt x="3118" y="3424"/>
                    </a:lnTo>
                    <a:lnTo>
                      <a:pt x="3116" y="3420"/>
                    </a:lnTo>
                    <a:lnTo>
                      <a:pt x="3116" y="3416"/>
                    </a:lnTo>
                    <a:lnTo>
                      <a:pt x="3118" y="3414"/>
                    </a:lnTo>
                    <a:lnTo>
                      <a:pt x="3118" y="3414"/>
                    </a:lnTo>
                    <a:lnTo>
                      <a:pt x="3122" y="3412"/>
                    </a:lnTo>
                    <a:lnTo>
                      <a:pt x="3122" y="3410"/>
                    </a:lnTo>
                    <a:lnTo>
                      <a:pt x="3122" y="3408"/>
                    </a:lnTo>
                    <a:lnTo>
                      <a:pt x="3122" y="3408"/>
                    </a:lnTo>
                    <a:lnTo>
                      <a:pt x="3122" y="3402"/>
                    </a:lnTo>
                    <a:lnTo>
                      <a:pt x="3122" y="3400"/>
                    </a:lnTo>
                    <a:lnTo>
                      <a:pt x="3124" y="3398"/>
                    </a:lnTo>
                    <a:lnTo>
                      <a:pt x="3120" y="3392"/>
                    </a:lnTo>
                    <a:lnTo>
                      <a:pt x="3120" y="3392"/>
                    </a:lnTo>
                    <a:lnTo>
                      <a:pt x="3118" y="3390"/>
                    </a:lnTo>
                    <a:lnTo>
                      <a:pt x="3118" y="3390"/>
                    </a:lnTo>
                    <a:lnTo>
                      <a:pt x="3124" y="3390"/>
                    </a:lnTo>
                    <a:lnTo>
                      <a:pt x="3128" y="3390"/>
                    </a:lnTo>
                    <a:lnTo>
                      <a:pt x="3132" y="3388"/>
                    </a:lnTo>
                    <a:lnTo>
                      <a:pt x="3134" y="3384"/>
                    </a:lnTo>
                    <a:lnTo>
                      <a:pt x="3134" y="3376"/>
                    </a:lnTo>
                    <a:lnTo>
                      <a:pt x="3134" y="3376"/>
                    </a:lnTo>
                    <a:lnTo>
                      <a:pt x="3134" y="3370"/>
                    </a:lnTo>
                    <a:lnTo>
                      <a:pt x="3132" y="3366"/>
                    </a:lnTo>
                    <a:lnTo>
                      <a:pt x="3128" y="3362"/>
                    </a:lnTo>
                    <a:lnTo>
                      <a:pt x="3128" y="3362"/>
                    </a:lnTo>
                    <a:lnTo>
                      <a:pt x="3128" y="3362"/>
                    </a:lnTo>
                    <a:lnTo>
                      <a:pt x="3136" y="3356"/>
                    </a:lnTo>
                    <a:lnTo>
                      <a:pt x="3136" y="3356"/>
                    </a:lnTo>
                    <a:lnTo>
                      <a:pt x="3140" y="3352"/>
                    </a:lnTo>
                    <a:lnTo>
                      <a:pt x="3136" y="3350"/>
                    </a:lnTo>
                    <a:lnTo>
                      <a:pt x="3128" y="3348"/>
                    </a:lnTo>
                    <a:lnTo>
                      <a:pt x="3122" y="3344"/>
                    </a:lnTo>
                    <a:lnTo>
                      <a:pt x="3118" y="3338"/>
                    </a:lnTo>
                    <a:lnTo>
                      <a:pt x="3118" y="3338"/>
                    </a:lnTo>
                    <a:lnTo>
                      <a:pt x="3112" y="3332"/>
                    </a:lnTo>
                    <a:lnTo>
                      <a:pt x="3108" y="3330"/>
                    </a:lnTo>
                    <a:lnTo>
                      <a:pt x="3102" y="3330"/>
                    </a:lnTo>
                    <a:lnTo>
                      <a:pt x="3096" y="3334"/>
                    </a:lnTo>
                    <a:lnTo>
                      <a:pt x="3086" y="3338"/>
                    </a:lnTo>
                    <a:lnTo>
                      <a:pt x="3082" y="3338"/>
                    </a:lnTo>
                    <a:lnTo>
                      <a:pt x="3078" y="3334"/>
                    </a:lnTo>
                    <a:lnTo>
                      <a:pt x="3078" y="3334"/>
                    </a:lnTo>
                    <a:lnTo>
                      <a:pt x="3076" y="3332"/>
                    </a:lnTo>
                    <a:lnTo>
                      <a:pt x="3074" y="3330"/>
                    </a:lnTo>
                    <a:lnTo>
                      <a:pt x="3070" y="3332"/>
                    </a:lnTo>
                    <a:lnTo>
                      <a:pt x="3070" y="3332"/>
                    </a:lnTo>
                    <a:lnTo>
                      <a:pt x="3070" y="3328"/>
                    </a:lnTo>
                    <a:lnTo>
                      <a:pt x="3070" y="3328"/>
                    </a:lnTo>
                    <a:lnTo>
                      <a:pt x="3072" y="3326"/>
                    </a:lnTo>
                    <a:lnTo>
                      <a:pt x="3074" y="3324"/>
                    </a:lnTo>
                    <a:lnTo>
                      <a:pt x="3082" y="3326"/>
                    </a:lnTo>
                    <a:lnTo>
                      <a:pt x="3088" y="3326"/>
                    </a:lnTo>
                    <a:lnTo>
                      <a:pt x="3090" y="3326"/>
                    </a:lnTo>
                    <a:lnTo>
                      <a:pt x="3092" y="3324"/>
                    </a:lnTo>
                    <a:lnTo>
                      <a:pt x="3092" y="3324"/>
                    </a:lnTo>
                    <a:lnTo>
                      <a:pt x="3098" y="3316"/>
                    </a:lnTo>
                    <a:lnTo>
                      <a:pt x="3106" y="3310"/>
                    </a:lnTo>
                    <a:lnTo>
                      <a:pt x="3116" y="3304"/>
                    </a:lnTo>
                    <a:lnTo>
                      <a:pt x="3124" y="3302"/>
                    </a:lnTo>
                    <a:lnTo>
                      <a:pt x="3124" y="3302"/>
                    </a:lnTo>
                    <a:lnTo>
                      <a:pt x="3128" y="3300"/>
                    </a:lnTo>
                    <a:lnTo>
                      <a:pt x="3132" y="3298"/>
                    </a:lnTo>
                    <a:lnTo>
                      <a:pt x="3132" y="3294"/>
                    </a:lnTo>
                    <a:lnTo>
                      <a:pt x="3130" y="3290"/>
                    </a:lnTo>
                    <a:lnTo>
                      <a:pt x="3122" y="3278"/>
                    </a:lnTo>
                    <a:lnTo>
                      <a:pt x="3110" y="3268"/>
                    </a:lnTo>
                    <a:lnTo>
                      <a:pt x="3110" y="3268"/>
                    </a:lnTo>
                    <a:lnTo>
                      <a:pt x="3100" y="3258"/>
                    </a:lnTo>
                    <a:lnTo>
                      <a:pt x="3090" y="3254"/>
                    </a:lnTo>
                    <a:lnTo>
                      <a:pt x="3086" y="3252"/>
                    </a:lnTo>
                    <a:lnTo>
                      <a:pt x="3086" y="3250"/>
                    </a:lnTo>
                    <a:lnTo>
                      <a:pt x="3086" y="3248"/>
                    </a:lnTo>
                    <a:lnTo>
                      <a:pt x="3086" y="3248"/>
                    </a:lnTo>
                    <a:lnTo>
                      <a:pt x="3086" y="3246"/>
                    </a:lnTo>
                    <a:lnTo>
                      <a:pt x="3086" y="3244"/>
                    </a:lnTo>
                    <a:lnTo>
                      <a:pt x="3082" y="3242"/>
                    </a:lnTo>
                    <a:lnTo>
                      <a:pt x="3078" y="3240"/>
                    </a:lnTo>
                    <a:lnTo>
                      <a:pt x="3074" y="3242"/>
                    </a:lnTo>
                    <a:lnTo>
                      <a:pt x="3074" y="3242"/>
                    </a:lnTo>
                    <a:lnTo>
                      <a:pt x="3068" y="3246"/>
                    </a:lnTo>
                    <a:lnTo>
                      <a:pt x="3062" y="3246"/>
                    </a:lnTo>
                    <a:lnTo>
                      <a:pt x="3056" y="3244"/>
                    </a:lnTo>
                    <a:lnTo>
                      <a:pt x="3050" y="3242"/>
                    </a:lnTo>
                    <a:lnTo>
                      <a:pt x="3046" y="3236"/>
                    </a:lnTo>
                    <a:lnTo>
                      <a:pt x="3044" y="3232"/>
                    </a:lnTo>
                    <a:lnTo>
                      <a:pt x="3042" y="3228"/>
                    </a:lnTo>
                    <a:lnTo>
                      <a:pt x="3044" y="3224"/>
                    </a:lnTo>
                    <a:lnTo>
                      <a:pt x="3044" y="3224"/>
                    </a:lnTo>
                    <a:lnTo>
                      <a:pt x="3046" y="3224"/>
                    </a:lnTo>
                    <a:lnTo>
                      <a:pt x="3048" y="3224"/>
                    </a:lnTo>
                    <a:lnTo>
                      <a:pt x="3052" y="3230"/>
                    </a:lnTo>
                    <a:lnTo>
                      <a:pt x="3056" y="3238"/>
                    </a:lnTo>
                    <a:lnTo>
                      <a:pt x="3060" y="3242"/>
                    </a:lnTo>
                    <a:lnTo>
                      <a:pt x="3060" y="3242"/>
                    </a:lnTo>
                    <a:lnTo>
                      <a:pt x="3062" y="3244"/>
                    </a:lnTo>
                    <a:lnTo>
                      <a:pt x="3066" y="3242"/>
                    </a:lnTo>
                    <a:lnTo>
                      <a:pt x="3072" y="3240"/>
                    </a:lnTo>
                    <a:lnTo>
                      <a:pt x="3078" y="3236"/>
                    </a:lnTo>
                    <a:lnTo>
                      <a:pt x="3080" y="3236"/>
                    </a:lnTo>
                    <a:lnTo>
                      <a:pt x="3084" y="3236"/>
                    </a:lnTo>
                    <a:lnTo>
                      <a:pt x="3084" y="3236"/>
                    </a:lnTo>
                    <a:lnTo>
                      <a:pt x="3088" y="3240"/>
                    </a:lnTo>
                    <a:lnTo>
                      <a:pt x="3090" y="3242"/>
                    </a:lnTo>
                    <a:lnTo>
                      <a:pt x="3092" y="3246"/>
                    </a:lnTo>
                    <a:lnTo>
                      <a:pt x="3094" y="3248"/>
                    </a:lnTo>
                    <a:lnTo>
                      <a:pt x="3094" y="3248"/>
                    </a:lnTo>
                    <a:lnTo>
                      <a:pt x="3098" y="3248"/>
                    </a:lnTo>
                    <a:lnTo>
                      <a:pt x="3104" y="3248"/>
                    </a:lnTo>
                    <a:lnTo>
                      <a:pt x="3110" y="3250"/>
                    </a:lnTo>
                    <a:lnTo>
                      <a:pt x="3122" y="3256"/>
                    </a:lnTo>
                    <a:lnTo>
                      <a:pt x="3122" y="3256"/>
                    </a:lnTo>
                    <a:lnTo>
                      <a:pt x="3128" y="3258"/>
                    </a:lnTo>
                    <a:lnTo>
                      <a:pt x="3130" y="3258"/>
                    </a:lnTo>
                    <a:lnTo>
                      <a:pt x="3132" y="3256"/>
                    </a:lnTo>
                    <a:lnTo>
                      <a:pt x="3132" y="3254"/>
                    </a:lnTo>
                    <a:lnTo>
                      <a:pt x="3128" y="3244"/>
                    </a:lnTo>
                    <a:lnTo>
                      <a:pt x="3120" y="3236"/>
                    </a:lnTo>
                    <a:lnTo>
                      <a:pt x="3120" y="3236"/>
                    </a:lnTo>
                    <a:lnTo>
                      <a:pt x="3114" y="3230"/>
                    </a:lnTo>
                    <a:lnTo>
                      <a:pt x="3112" y="3226"/>
                    </a:lnTo>
                    <a:lnTo>
                      <a:pt x="3108" y="3220"/>
                    </a:lnTo>
                    <a:lnTo>
                      <a:pt x="3100" y="3212"/>
                    </a:lnTo>
                    <a:lnTo>
                      <a:pt x="3100" y="3212"/>
                    </a:lnTo>
                    <a:lnTo>
                      <a:pt x="3092" y="3206"/>
                    </a:lnTo>
                    <a:lnTo>
                      <a:pt x="3090" y="3200"/>
                    </a:lnTo>
                    <a:lnTo>
                      <a:pt x="3090" y="3192"/>
                    </a:lnTo>
                    <a:lnTo>
                      <a:pt x="3088" y="3186"/>
                    </a:lnTo>
                    <a:lnTo>
                      <a:pt x="3086" y="3178"/>
                    </a:lnTo>
                    <a:lnTo>
                      <a:pt x="3086" y="3178"/>
                    </a:lnTo>
                    <a:lnTo>
                      <a:pt x="3082" y="3168"/>
                    </a:lnTo>
                    <a:lnTo>
                      <a:pt x="3078" y="3158"/>
                    </a:lnTo>
                    <a:lnTo>
                      <a:pt x="3072" y="3138"/>
                    </a:lnTo>
                    <a:lnTo>
                      <a:pt x="3070" y="3130"/>
                    </a:lnTo>
                    <a:lnTo>
                      <a:pt x="3066" y="3122"/>
                    </a:lnTo>
                    <a:lnTo>
                      <a:pt x="3060" y="3116"/>
                    </a:lnTo>
                    <a:lnTo>
                      <a:pt x="3052" y="3112"/>
                    </a:lnTo>
                    <a:lnTo>
                      <a:pt x="3052" y="3112"/>
                    </a:lnTo>
                    <a:lnTo>
                      <a:pt x="3044" y="3108"/>
                    </a:lnTo>
                    <a:lnTo>
                      <a:pt x="3040" y="3104"/>
                    </a:lnTo>
                    <a:lnTo>
                      <a:pt x="3036" y="3098"/>
                    </a:lnTo>
                    <a:lnTo>
                      <a:pt x="3034" y="3094"/>
                    </a:lnTo>
                    <a:lnTo>
                      <a:pt x="3032" y="3094"/>
                    </a:lnTo>
                    <a:lnTo>
                      <a:pt x="3026" y="3096"/>
                    </a:lnTo>
                    <a:lnTo>
                      <a:pt x="3026" y="3096"/>
                    </a:lnTo>
                    <a:lnTo>
                      <a:pt x="3022" y="3096"/>
                    </a:lnTo>
                    <a:lnTo>
                      <a:pt x="3022" y="3092"/>
                    </a:lnTo>
                    <a:lnTo>
                      <a:pt x="3024" y="3084"/>
                    </a:lnTo>
                    <a:lnTo>
                      <a:pt x="3026" y="3076"/>
                    </a:lnTo>
                    <a:lnTo>
                      <a:pt x="3038" y="3058"/>
                    </a:lnTo>
                    <a:lnTo>
                      <a:pt x="3044" y="3052"/>
                    </a:lnTo>
                    <a:lnTo>
                      <a:pt x="3048" y="3048"/>
                    </a:lnTo>
                    <a:lnTo>
                      <a:pt x="3048" y="3048"/>
                    </a:lnTo>
                    <a:lnTo>
                      <a:pt x="3054" y="3044"/>
                    </a:lnTo>
                    <a:lnTo>
                      <a:pt x="3056" y="3042"/>
                    </a:lnTo>
                    <a:lnTo>
                      <a:pt x="3058" y="3038"/>
                    </a:lnTo>
                    <a:lnTo>
                      <a:pt x="3062" y="3034"/>
                    </a:lnTo>
                    <a:lnTo>
                      <a:pt x="3062" y="3034"/>
                    </a:lnTo>
                    <a:lnTo>
                      <a:pt x="3064" y="3032"/>
                    </a:lnTo>
                    <a:lnTo>
                      <a:pt x="3064" y="3028"/>
                    </a:lnTo>
                    <a:lnTo>
                      <a:pt x="3062" y="3024"/>
                    </a:lnTo>
                    <a:lnTo>
                      <a:pt x="3060" y="3020"/>
                    </a:lnTo>
                    <a:lnTo>
                      <a:pt x="3060" y="3018"/>
                    </a:lnTo>
                    <a:lnTo>
                      <a:pt x="3062" y="3018"/>
                    </a:lnTo>
                    <a:lnTo>
                      <a:pt x="3062" y="3018"/>
                    </a:lnTo>
                    <a:lnTo>
                      <a:pt x="3064" y="3016"/>
                    </a:lnTo>
                    <a:lnTo>
                      <a:pt x="3066" y="3016"/>
                    </a:lnTo>
                    <a:lnTo>
                      <a:pt x="3066" y="3020"/>
                    </a:lnTo>
                    <a:lnTo>
                      <a:pt x="3068" y="3022"/>
                    </a:lnTo>
                    <a:lnTo>
                      <a:pt x="3070" y="3024"/>
                    </a:lnTo>
                    <a:lnTo>
                      <a:pt x="3072" y="3024"/>
                    </a:lnTo>
                    <a:lnTo>
                      <a:pt x="3076" y="3022"/>
                    </a:lnTo>
                    <a:lnTo>
                      <a:pt x="3076" y="3022"/>
                    </a:lnTo>
                    <a:lnTo>
                      <a:pt x="3080" y="3020"/>
                    </a:lnTo>
                    <a:lnTo>
                      <a:pt x="3082" y="3018"/>
                    </a:lnTo>
                    <a:lnTo>
                      <a:pt x="3084" y="3012"/>
                    </a:lnTo>
                    <a:lnTo>
                      <a:pt x="3086" y="3008"/>
                    </a:lnTo>
                    <a:lnTo>
                      <a:pt x="3088" y="3006"/>
                    </a:lnTo>
                    <a:lnTo>
                      <a:pt x="3090" y="3008"/>
                    </a:lnTo>
                    <a:lnTo>
                      <a:pt x="3090" y="3008"/>
                    </a:lnTo>
                    <a:lnTo>
                      <a:pt x="3092" y="3008"/>
                    </a:lnTo>
                    <a:lnTo>
                      <a:pt x="3094" y="3006"/>
                    </a:lnTo>
                    <a:lnTo>
                      <a:pt x="3096" y="3002"/>
                    </a:lnTo>
                    <a:lnTo>
                      <a:pt x="3100" y="2996"/>
                    </a:lnTo>
                    <a:lnTo>
                      <a:pt x="3106" y="2990"/>
                    </a:lnTo>
                    <a:lnTo>
                      <a:pt x="3106" y="2990"/>
                    </a:lnTo>
                    <a:lnTo>
                      <a:pt x="3114" y="2988"/>
                    </a:lnTo>
                    <a:lnTo>
                      <a:pt x="3118" y="2988"/>
                    </a:lnTo>
                    <a:lnTo>
                      <a:pt x="3122" y="2986"/>
                    </a:lnTo>
                    <a:lnTo>
                      <a:pt x="3128" y="2982"/>
                    </a:lnTo>
                    <a:lnTo>
                      <a:pt x="3128" y="2982"/>
                    </a:lnTo>
                    <a:lnTo>
                      <a:pt x="3134" y="2976"/>
                    </a:lnTo>
                    <a:lnTo>
                      <a:pt x="3136" y="2976"/>
                    </a:lnTo>
                    <a:lnTo>
                      <a:pt x="3138" y="2978"/>
                    </a:lnTo>
                    <a:lnTo>
                      <a:pt x="3140" y="2978"/>
                    </a:lnTo>
                    <a:lnTo>
                      <a:pt x="3140" y="2978"/>
                    </a:lnTo>
                    <a:lnTo>
                      <a:pt x="3142" y="2976"/>
                    </a:lnTo>
                    <a:lnTo>
                      <a:pt x="3142" y="2978"/>
                    </a:lnTo>
                    <a:lnTo>
                      <a:pt x="3144" y="2980"/>
                    </a:lnTo>
                    <a:lnTo>
                      <a:pt x="3144" y="2982"/>
                    </a:lnTo>
                    <a:lnTo>
                      <a:pt x="3144" y="2982"/>
                    </a:lnTo>
                    <a:lnTo>
                      <a:pt x="3148" y="2984"/>
                    </a:lnTo>
                    <a:lnTo>
                      <a:pt x="3152" y="2982"/>
                    </a:lnTo>
                    <a:lnTo>
                      <a:pt x="3152" y="2982"/>
                    </a:lnTo>
                    <a:lnTo>
                      <a:pt x="3156" y="2980"/>
                    </a:lnTo>
                    <a:lnTo>
                      <a:pt x="3158" y="2978"/>
                    </a:lnTo>
                    <a:lnTo>
                      <a:pt x="3156" y="2974"/>
                    </a:lnTo>
                    <a:lnTo>
                      <a:pt x="3156" y="2972"/>
                    </a:lnTo>
                    <a:lnTo>
                      <a:pt x="3156" y="2970"/>
                    </a:lnTo>
                    <a:lnTo>
                      <a:pt x="3158" y="2966"/>
                    </a:lnTo>
                    <a:lnTo>
                      <a:pt x="3162" y="2960"/>
                    </a:lnTo>
                    <a:lnTo>
                      <a:pt x="3162" y="2960"/>
                    </a:lnTo>
                    <a:lnTo>
                      <a:pt x="3164" y="2958"/>
                    </a:lnTo>
                    <a:lnTo>
                      <a:pt x="3164" y="2956"/>
                    </a:lnTo>
                    <a:lnTo>
                      <a:pt x="3158" y="2952"/>
                    </a:lnTo>
                    <a:lnTo>
                      <a:pt x="3150" y="2950"/>
                    </a:lnTo>
                    <a:lnTo>
                      <a:pt x="3144" y="2946"/>
                    </a:lnTo>
                    <a:lnTo>
                      <a:pt x="3144" y="2946"/>
                    </a:lnTo>
                    <a:lnTo>
                      <a:pt x="3140" y="2942"/>
                    </a:lnTo>
                    <a:lnTo>
                      <a:pt x="3138" y="2944"/>
                    </a:lnTo>
                    <a:lnTo>
                      <a:pt x="3134" y="2948"/>
                    </a:lnTo>
                    <a:lnTo>
                      <a:pt x="3132" y="2948"/>
                    </a:lnTo>
                    <a:lnTo>
                      <a:pt x="3126" y="2950"/>
                    </a:lnTo>
                    <a:lnTo>
                      <a:pt x="3126" y="2950"/>
                    </a:lnTo>
                    <a:lnTo>
                      <a:pt x="3116" y="2948"/>
                    </a:lnTo>
                    <a:lnTo>
                      <a:pt x="3114" y="2944"/>
                    </a:lnTo>
                    <a:lnTo>
                      <a:pt x="3112" y="2942"/>
                    </a:lnTo>
                    <a:lnTo>
                      <a:pt x="3108" y="2942"/>
                    </a:lnTo>
                    <a:lnTo>
                      <a:pt x="3108" y="2942"/>
                    </a:lnTo>
                    <a:lnTo>
                      <a:pt x="3102" y="2942"/>
                    </a:lnTo>
                    <a:lnTo>
                      <a:pt x="3102" y="2942"/>
                    </a:lnTo>
                    <a:lnTo>
                      <a:pt x="3100" y="2938"/>
                    </a:lnTo>
                    <a:lnTo>
                      <a:pt x="3096" y="2934"/>
                    </a:lnTo>
                    <a:lnTo>
                      <a:pt x="3096" y="2934"/>
                    </a:lnTo>
                    <a:lnTo>
                      <a:pt x="3094" y="2930"/>
                    </a:lnTo>
                    <a:lnTo>
                      <a:pt x="3090" y="2930"/>
                    </a:lnTo>
                    <a:lnTo>
                      <a:pt x="3080" y="2930"/>
                    </a:lnTo>
                    <a:lnTo>
                      <a:pt x="3072" y="2934"/>
                    </a:lnTo>
                    <a:lnTo>
                      <a:pt x="3066" y="2940"/>
                    </a:lnTo>
                    <a:lnTo>
                      <a:pt x="3066" y="2940"/>
                    </a:lnTo>
                    <a:lnTo>
                      <a:pt x="3062" y="2946"/>
                    </a:lnTo>
                    <a:lnTo>
                      <a:pt x="3056" y="2950"/>
                    </a:lnTo>
                    <a:lnTo>
                      <a:pt x="3052" y="2952"/>
                    </a:lnTo>
                    <a:lnTo>
                      <a:pt x="3050" y="2954"/>
                    </a:lnTo>
                    <a:lnTo>
                      <a:pt x="3050" y="2958"/>
                    </a:lnTo>
                    <a:lnTo>
                      <a:pt x="3050" y="2958"/>
                    </a:lnTo>
                    <a:lnTo>
                      <a:pt x="3052" y="2962"/>
                    </a:lnTo>
                    <a:lnTo>
                      <a:pt x="3050" y="2964"/>
                    </a:lnTo>
                    <a:lnTo>
                      <a:pt x="3044" y="2966"/>
                    </a:lnTo>
                    <a:lnTo>
                      <a:pt x="3032" y="2968"/>
                    </a:lnTo>
                    <a:lnTo>
                      <a:pt x="3032" y="2968"/>
                    </a:lnTo>
                    <a:lnTo>
                      <a:pt x="3026" y="2968"/>
                    </a:lnTo>
                    <a:lnTo>
                      <a:pt x="3020" y="2964"/>
                    </a:lnTo>
                    <a:lnTo>
                      <a:pt x="3018" y="2960"/>
                    </a:lnTo>
                    <a:lnTo>
                      <a:pt x="3014" y="2956"/>
                    </a:lnTo>
                    <a:lnTo>
                      <a:pt x="3014" y="2946"/>
                    </a:lnTo>
                    <a:lnTo>
                      <a:pt x="3014" y="2940"/>
                    </a:lnTo>
                    <a:lnTo>
                      <a:pt x="3016" y="2938"/>
                    </a:lnTo>
                    <a:lnTo>
                      <a:pt x="3016" y="2938"/>
                    </a:lnTo>
                    <a:lnTo>
                      <a:pt x="3018" y="2934"/>
                    </a:lnTo>
                    <a:lnTo>
                      <a:pt x="3018" y="2930"/>
                    </a:lnTo>
                    <a:lnTo>
                      <a:pt x="3014" y="2922"/>
                    </a:lnTo>
                    <a:lnTo>
                      <a:pt x="3008" y="2914"/>
                    </a:lnTo>
                    <a:lnTo>
                      <a:pt x="3004" y="2912"/>
                    </a:lnTo>
                    <a:lnTo>
                      <a:pt x="3002" y="2912"/>
                    </a:lnTo>
                    <a:lnTo>
                      <a:pt x="3002" y="2912"/>
                    </a:lnTo>
                    <a:lnTo>
                      <a:pt x="2996" y="2914"/>
                    </a:lnTo>
                    <a:lnTo>
                      <a:pt x="2988" y="2914"/>
                    </a:lnTo>
                    <a:lnTo>
                      <a:pt x="2980" y="2914"/>
                    </a:lnTo>
                    <a:lnTo>
                      <a:pt x="2976" y="2912"/>
                    </a:lnTo>
                    <a:lnTo>
                      <a:pt x="2974" y="2910"/>
                    </a:lnTo>
                    <a:lnTo>
                      <a:pt x="2974" y="2910"/>
                    </a:lnTo>
                    <a:lnTo>
                      <a:pt x="2970" y="2906"/>
                    </a:lnTo>
                    <a:lnTo>
                      <a:pt x="2966" y="2904"/>
                    </a:lnTo>
                    <a:lnTo>
                      <a:pt x="2962" y="2900"/>
                    </a:lnTo>
                    <a:lnTo>
                      <a:pt x="2958" y="2890"/>
                    </a:lnTo>
                    <a:lnTo>
                      <a:pt x="2958" y="2890"/>
                    </a:lnTo>
                    <a:lnTo>
                      <a:pt x="2958" y="2880"/>
                    </a:lnTo>
                    <a:lnTo>
                      <a:pt x="2960" y="2872"/>
                    </a:lnTo>
                    <a:lnTo>
                      <a:pt x="2962" y="2868"/>
                    </a:lnTo>
                    <a:lnTo>
                      <a:pt x="2964" y="2862"/>
                    </a:lnTo>
                    <a:lnTo>
                      <a:pt x="2964" y="2862"/>
                    </a:lnTo>
                    <a:lnTo>
                      <a:pt x="2966" y="2856"/>
                    </a:lnTo>
                    <a:lnTo>
                      <a:pt x="2970" y="2854"/>
                    </a:lnTo>
                    <a:lnTo>
                      <a:pt x="2976" y="2854"/>
                    </a:lnTo>
                    <a:lnTo>
                      <a:pt x="2982" y="2860"/>
                    </a:lnTo>
                    <a:lnTo>
                      <a:pt x="2982" y="2860"/>
                    </a:lnTo>
                    <a:lnTo>
                      <a:pt x="2986" y="2864"/>
                    </a:lnTo>
                    <a:lnTo>
                      <a:pt x="2988" y="2864"/>
                    </a:lnTo>
                    <a:lnTo>
                      <a:pt x="2992" y="2862"/>
                    </a:lnTo>
                    <a:lnTo>
                      <a:pt x="2996" y="2856"/>
                    </a:lnTo>
                    <a:lnTo>
                      <a:pt x="3000" y="2856"/>
                    </a:lnTo>
                    <a:lnTo>
                      <a:pt x="3002" y="2856"/>
                    </a:lnTo>
                    <a:lnTo>
                      <a:pt x="3002" y="2856"/>
                    </a:lnTo>
                    <a:lnTo>
                      <a:pt x="3010" y="2856"/>
                    </a:lnTo>
                    <a:lnTo>
                      <a:pt x="3018" y="2854"/>
                    </a:lnTo>
                    <a:lnTo>
                      <a:pt x="3024" y="2846"/>
                    </a:lnTo>
                    <a:lnTo>
                      <a:pt x="3026" y="2836"/>
                    </a:lnTo>
                    <a:lnTo>
                      <a:pt x="3026" y="2836"/>
                    </a:lnTo>
                    <a:lnTo>
                      <a:pt x="3026" y="2830"/>
                    </a:lnTo>
                    <a:lnTo>
                      <a:pt x="3032" y="2824"/>
                    </a:lnTo>
                    <a:lnTo>
                      <a:pt x="3044" y="2814"/>
                    </a:lnTo>
                    <a:lnTo>
                      <a:pt x="3058" y="2806"/>
                    </a:lnTo>
                    <a:lnTo>
                      <a:pt x="3070" y="2802"/>
                    </a:lnTo>
                    <a:lnTo>
                      <a:pt x="3070" y="2802"/>
                    </a:lnTo>
                    <a:lnTo>
                      <a:pt x="3076" y="2798"/>
                    </a:lnTo>
                    <a:lnTo>
                      <a:pt x="3078" y="2794"/>
                    </a:lnTo>
                    <a:lnTo>
                      <a:pt x="3080" y="2786"/>
                    </a:lnTo>
                    <a:lnTo>
                      <a:pt x="3088" y="2778"/>
                    </a:lnTo>
                    <a:lnTo>
                      <a:pt x="3088" y="2778"/>
                    </a:lnTo>
                    <a:lnTo>
                      <a:pt x="3094" y="2770"/>
                    </a:lnTo>
                    <a:lnTo>
                      <a:pt x="3094" y="2768"/>
                    </a:lnTo>
                    <a:lnTo>
                      <a:pt x="3096" y="2766"/>
                    </a:lnTo>
                    <a:lnTo>
                      <a:pt x="3100" y="2762"/>
                    </a:lnTo>
                    <a:lnTo>
                      <a:pt x="3100" y="2762"/>
                    </a:lnTo>
                    <a:lnTo>
                      <a:pt x="3104" y="2760"/>
                    </a:lnTo>
                    <a:lnTo>
                      <a:pt x="3108" y="2760"/>
                    </a:lnTo>
                    <a:lnTo>
                      <a:pt x="3114" y="2760"/>
                    </a:lnTo>
                    <a:lnTo>
                      <a:pt x="3120" y="2762"/>
                    </a:lnTo>
                    <a:lnTo>
                      <a:pt x="3122" y="2762"/>
                    </a:lnTo>
                    <a:lnTo>
                      <a:pt x="3124" y="2762"/>
                    </a:lnTo>
                    <a:lnTo>
                      <a:pt x="3124" y="2762"/>
                    </a:lnTo>
                    <a:lnTo>
                      <a:pt x="3128" y="2760"/>
                    </a:lnTo>
                    <a:lnTo>
                      <a:pt x="3130" y="2760"/>
                    </a:lnTo>
                    <a:lnTo>
                      <a:pt x="3132" y="2764"/>
                    </a:lnTo>
                    <a:lnTo>
                      <a:pt x="3138" y="2770"/>
                    </a:lnTo>
                    <a:lnTo>
                      <a:pt x="3138" y="2770"/>
                    </a:lnTo>
                    <a:lnTo>
                      <a:pt x="3144" y="2778"/>
                    </a:lnTo>
                    <a:lnTo>
                      <a:pt x="3146" y="2782"/>
                    </a:lnTo>
                    <a:lnTo>
                      <a:pt x="3144" y="2790"/>
                    </a:lnTo>
                    <a:lnTo>
                      <a:pt x="3138" y="2800"/>
                    </a:lnTo>
                    <a:lnTo>
                      <a:pt x="3138" y="2800"/>
                    </a:lnTo>
                    <a:lnTo>
                      <a:pt x="3132" y="2806"/>
                    </a:lnTo>
                    <a:lnTo>
                      <a:pt x="3128" y="2810"/>
                    </a:lnTo>
                    <a:lnTo>
                      <a:pt x="3120" y="2816"/>
                    </a:lnTo>
                    <a:lnTo>
                      <a:pt x="3114" y="2820"/>
                    </a:lnTo>
                    <a:lnTo>
                      <a:pt x="3114" y="2822"/>
                    </a:lnTo>
                    <a:lnTo>
                      <a:pt x="3114" y="2824"/>
                    </a:lnTo>
                    <a:lnTo>
                      <a:pt x="3114" y="2824"/>
                    </a:lnTo>
                    <a:lnTo>
                      <a:pt x="3116" y="2826"/>
                    </a:lnTo>
                    <a:lnTo>
                      <a:pt x="3114" y="2828"/>
                    </a:lnTo>
                    <a:lnTo>
                      <a:pt x="3110" y="2832"/>
                    </a:lnTo>
                    <a:lnTo>
                      <a:pt x="3104" y="2834"/>
                    </a:lnTo>
                    <a:lnTo>
                      <a:pt x="3104" y="2836"/>
                    </a:lnTo>
                    <a:lnTo>
                      <a:pt x="3106" y="2836"/>
                    </a:lnTo>
                    <a:lnTo>
                      <a:pt x="3106" y="2836"/>
                    </a:lnTo>
                    <a:lnTo>
                      <a:pt x="3110" y="2840"/>
                    </a:lnTo>
                    <a:lnTo>
                      <a:pt x="3116" y="2844"/>
                    </a:lnTo>
                    <a:lnTo>
                      <a:pt x="3120" y="2850"/>
                    </a:lnTo>
                    <a:lnTo>
                      <a:pt x="3122" y="2854"/>
                    </a:lnTo>
                    <a:lnTo>
                      <a:pt x="3122" y="2858"/>
                    </a:lnTo>
                    <a:lnTo>
                      <a:pt x="3122" y="2858"/>
                    </a:lnTo>
                    <a:lnTo>
                      <a:pt x="3120" y="2862"/>
                    </a:lnTo>
                    <a:lnTo>
                      <a:pt x="3118" y="2864"/>
                    </a:lnTo>
                    <a:lnTo>
                      <a:pt x="3116" y="2862"/>
                    </a:lnTo>
                    <a:lnTo>
                      <a:pt x="3112" y="2860"/>
                    </a:lnTo>
                    <a:lnTo>
                      <a:pt x="3110" y="2862"/>
                    </a:lnTo>
                    <a:lnTo>
                      <a:pt x="3108" y="2864"/>
                    </a:lnTo>
                    <a:lnTo>
                      <a:pt x="3108" y="2864"/>
                    </a:lnTo>
                    <a:lnTo>
                      <a:pt x="3106" y="2868"/>
                    </a:lnTo>
                    <a:lnTo>
                      <a:pt x="3102" y="2868"/>
                    </a:lnTo>
                    <a:lnTo>
                      <a:pt x="3102" y="2868"/>
                    </a:lnTo>
                    <a:lnTo>
                      <a:pt x="3100" y="2876"/>
                    </a:lnTo>
                    <a:lnTo>
                      <a:pt x="3100" y="2876"/>
                    </a:lnTo>
                    <a:lnTo>
                      <a:pt x="3100" y="2880"/>
                    </a:lnTo>
                    <a:lnTo>
                      <a:pt x="3102" y="2882"/>
                    </a:lnTo>
                    <a:lnTo>
                      <a:pt x="3104" y="2882"/>
                    </a:lnTo>
                    <a:lnTo>
                      <a:pt x="3106" y="2880"/>
                    </a:lnTo>
                    <a:lnTo>
                      <a:pt x="3112" y="2878"/>
                    </a:lnTo>
                    <a:lnTo>
                      <a:pt x="3120" y="2874"/>
                    </a:lnTo>
                    <a:lnTo>
                      <a:pt x="3120" y="2874"/>
                    </a:lnTo>
                    <a:lnTo>
                      <a:pt x="3124" y="2874"/>
                    </a:lnTo>
                    <a:lnTo>
                      <a:pt x="3124" y="2872"/>
                    </a:lnTo>
                    <a:lnTo>
                      <a:pt x="3124" y="2868"/>
                    </a:lnTo>
                    <a:lnTo>
                      <a:pt x="3124" y="2866"/>
                    </a:lnTo>
                    <a:lnTo>
                      <a:pt x="3124" y="2866"/>
                    </a:lnTo>
                    <a:lnTo>
                      <a:pt x="3128" y="2866"/>
                    </a:lnTo>
                    <a:lnTo>
                      <a:pt x="3132" y="2866"/>
                    </a:lnTo>
                    <a:lnTo>
                      <a:pt x="3136" y="2864"/>
                    </a:lnTo>
                    <a:lnTo>
                      <a:pt x="3142" y="2856"/>
                    </a:lnTo>
                    <a:lnTo>
                      <a:pt x="3142" y="2856"/>
                    </a:lnTo>
                    <a:lnTo>
                      <a:pt x="3148" y="2848"/>
                    </a:lnTo>
                    <a:lnTo>
                      <a:pt x="3152" y="2844"/>
                    </a:lnTo>
                    <a:lnTo>
                      <a:pt x="3156" y="2840"/>
                    </a:lnTo>
                    <a:lnTo>
                      <a:pt x="3162" y="2836"/>
                    </a:lnTo>
                    <a:lnTo>
                      <a:pt x="3162" y="2836"/>
                    </a:lnTo>
                    <a:lnTo>
                      <a:pt x="3164" y="2834"/>
                    </a:lnTo>
                    <a:lnTo>
                      <a:pt x="3168" y="2832"/>
                    </a:lnTo>
                    <a:lnTo>
                      <a:pt x="3176" y="2830"/>
                    </a:lnTo>
                    <a:lnTo>
                      <a:pt x="3182" y="2830"/>
                    </a:lnTo>
                    <a:lnTo>
                      <a:pt x="3186" y="2828"/>
                    </a:lnTo>
                    <a:lnTo>
                      <a:pt x="3188" y="2826"/>
                    </a:lnTo>
                    <a:lnTo>
                      <a:pt x="3188" y="2826"/>
                    </a:lnTo>
                    <a:lnTo>
                      <a:pt x="3190" y="2822"/>
                    </a:lnTo>
                    <a:lnTo>
                      <a:pt x="3194" y="2822"/>
                    </a:lnTo>
                    <a:lnTo>
                      <a:pt x="3196" y="2824"/>
                    </a:lnTo>
                    <a:lnTo>
                      <a:pt x="3200" y="2822"/>
                    </a:lnTo>
                    <a:lnTo>
                      <a:pt x="3200" y="2822"/>
                    </a:lnTo>
                    <a:lnTo>
                      <a:pt x="3202" y="2820"/>
                    </a:lnTo>
                    <a:lnTo>
                      <a:pt x="3206" y="2820"/>
                    </a:lnTo>
                    <a:lnTo>
                      <a:pt x="3212" y="2820"/>
                    </a:lnTo>
                    <a:lnTo>
                      <a:pt x="3220" y="2818"/>
                    </a:lnTo>
                    <a:lnTo>
                      <a:pt x="3226" y="2816"/>
                    </a:lnTo>
                    <a:lnTo>
                      <a:pt x="3230" y="2812"/>
                    </a:lnTo>
                    <a:lnTo>
                      <a:pt x="3232" y="2808"/>
                    </a:lnTo>
                    <a:lnTo>
                      <a:pt x="3230" y="2812"/>
                    </a:lnTo>
                    <a:lnTo>
                      <a:pt x="3230" y="2812"/>
                    </a:lnTo>
                    <a:lnTo>
                      <a:pt x="3232" y="2818"/>
                    </a:lnTo>
                    <a:lnTo>
                      <a:pt x="3236" y="2824"/>
                    </a:lnTo>
                    <a:lnTo>
                      <a:pt x="3242" y="2828"/>
                    </a:lnTo>
                    <a:lnTo>
                      <a:pt x="3244" y="2830"/>
                    </a:lnTo>
                    <a:lnTo>
                      <a:pt x="3246" y="2828"/>
                    </a:lnTo>
                    <a:lnTo>
                      <a:pt x="3246" y="2828"/>
                    </a:lnTo>
                    <a:lnTo>
                      <a:pt x="3250" y="2828"/>
                    </a:lnTo>
                    <a:lnTo>
                      <a:pt x="3254" y="2828"/>
                    </a:lnTo>
                    <a:lnTo>
                      <a:pt x="3264" y="2832"/>
                    </a:lnTo>
                    <a:lnTo>
                      <a:pt x="3268" y="2836"/>
                    </a:lnTo>
                    <a:lnTo>
                      <a:pt x="3272" y="2840"/>
                    </a:lnTo>
                    <a:lnTo>
                      <a:pt x="3274" y="2846"/>
                    </a:lnTo>
                    <a:lnTo>
                      <a:pt x="3272" y="2850"/>
                    </a:lnTo>
                    <a:lnTo>
                      <a:pt x="3272" y="2850"/>
                    </a:lnTo>
                    <a:lnTo>
                      <a:pt x="3264" y="2868"/>
                    </a:lnTo>
                    <a:lnTo>
                      <a:pt x="3262" y="2876"/>
                    </a:lnTo>
                    <a:lnTo>
                      <a:pt x="3262" y="2878"/>
                    </a:lnTo>
                    <a:lnTo>
                      <a:pt x="3264" y="2880"/>
                    </a:lnTo>
                    <a:lnTo>
                      <a:pt x="3264" y="2880"/>
                    </a:lnTo>
                    <a:lnTo>
                      <a:pt x="3266" y="2884"/>
                    </a:lnTo>
                    <a:lnTo>
                      <a:pt x="3262" y="2886"/>
                    </a:lnTo>
                    <a:lnTo>
                      <a:pt x="3258" y="2892"/>
                    </a:lnTo>
                    <a:lnTo>
                      <a:pt x="3254" y="2900"/>
                    </a:lnTo>
                    <a:lnTo>
                      <a:pt x="3254" y="2900"/>
                    </a:lnTo>
                    <a:lnTo>
                      <a:pt x="3250" y="2906"/>
                    </a:lnTo>
                    <a:lnTo>
                      <a:pt x="3248" y="2910"/>
                    </a:lnTo>
                    <a:lnTo>
                      <a:pt x="3244" y="2914"/>
                    </a:lnTo>
                    <a:lnTo>
                      <a:pt x="3242" y="2914"/>
                    </a:lnTo>
                    <a:lnTo>
                      <a:pt x="3242" y="2914"/>
                    </a:lnTo>
                    <a:lnTo>
                      <a:pt x="3252" y="2916"/>
                    </a:lnTo>
                    <a:lnTo>
                      <a:pt x="3252" y="2916"/>
                    </a:lnTo>
                    <a:lnTo>
                      <a:pt x="3258" y="2918"/>
                    </a:lnTo>
                    <a:lnTo>
                      <a:pt x="3260" y="2918"/>
                    </a:lnTo>
                    <a:lnTo>
                      <a:pt x="3258" y="2920"/>
                    </a:lnTo>
                    <a:lnTo>
                      <a:pt x="3258" y="2922"/>
                    </a:lnTo>
                    <a:lnTo>
                      <a:pt x="3254" y="2924"/>
                    </a:lnTo>
                    <a:lnTo>
                      <a:pt x="3256" y="2926"/>
                    </a:lnTo>
                    <a:lnTo>
                      <a:pt x="3262" y="2928"/>
                    </a:lnTo>
                    <a:lnTo>
                      <a:pt x="3262" y="2928"/>
                    </a:lnTo>
                    <a:lnTo>
                      <a:pt x="3268" y="2928"/>
                    </a:lnTo>
                    <a:lnTo>
                      <a:pt x="3270" y="2930"/>
                    </a:lnTo>
                    <a:lnTo>
                      <a:pt x="3270" y="2932"/>
                    </a:lnTo>
                    <a:lnTo>
                      <a:pt x="3270" y="2934"/>
                    </a:lnTo>
                    <a:lnTo>
                      <a:pt x="3270" y="2938"/>
                    </a:lnTo>
                    <a:lnTo>
                      <a:pt x="3274" y="2936"/>
                    </a:lnTo>
                    <a:lnTo>
                      <a:pt x="3274" y="2936"/>
                    </a:lnTo>
                    <a:lnTo>
                      <a:pt x="3278" y="2934"/>
                    </a:lnTo>
                    <a:lnTo>
                      <a:pt x="3280" y="2930"/>
                    </a:lnTo>
                    <a:lnTo>
                      <a:pt x="3282" y="2924"/>
                    </a:lnTo>
                    <a:lnTo>
                      <a:pt x="3284" y="2922"/>
                    </a:lnTo>
                    <a:lnTo>
                      <a:pt x="3284" y="2922"/>
                    </a:lnTo>
                    <a:lnTo>
                      <a:pt x="3292" y="2926"/>
                    </a:lnTo>
                    <a:lnTo>
                      <a:pt x="3292" y="2926"/>
                    </a:lnTo>
                    <a:lnTo>
                      <a:pt x="3300" y="2934"/>
                    </a:lnTo>
                    <a:lnTo>
                      <a:pt x="3302" y="2934"/>
                    </a:lnTo>
                    <a:lnTo>
                      <a:pt x="3304" y="2930"/>
                    </a:lnTo>
                    <a:lnTo>
                      <a:pt x="3304" y="2930"/>
                    </a:lnTo>
                    <a:lnTo>
                      <a:pt x="3304" y="2928"/>
                    </a:lnTo>
                    <a:lnTo>
                      <a:pt x="3306" y="2926"/>
                    </a:lnTo>
                    <a:lnTo>
                      <a:pt x="3312" y="2928"/>
                    </a:lnTo>
                    <a:lnTo>
                      <a:pt x="3318" y="2930"/>
                    </a:lnTo>
                    <a:lnTo>
                      <a:pt x="3324" y="2930"/>
                    </a:lnTo>
                    <a:lnTo>
                      <a:pt x="3324" y="2930"/>
                    </a:lnTo>
                    <a:lnTo>
                      <a:pt x="3324" y="2934"/>
                    </a:lnTo>
                    <a:lnTo>
                      <a:pt x="3324" y="2934"/>
                    </a:lnTo>
                    <a:lnTo>
                      <a:pt x="3322" y="2934"/>
                    </a:lnTo>
                    <a:lnTo>
                      <a:pt x="3320" y="2938"/>
                    </a:lnTo>
                    <a:lnTo>
                      <a:pt x="3320" y="2938"/>
                    </a:lnTo>
                    <a:lnTo>
                      <a:pt x="3320" y="2942"/>
                    </a:lnTo>
                    <a:lnTo>
                      <a:pt x="3324" y="2948"/>
                    </a:lnTo>
                    <a:lnTo>
                      <a:pt x="3326" y="2954"/>
                    </a:lnTo>
                    <a:lnTo>
                      <a:pt x="3326" y="2958"/>
                    </a:lnTo>
                    <a:lnTo>
                      <a:pt x="3324" y="2960"/>
                    </a:lnTo>
                    <a:lnTo>
                      <a:pt x="3324" y="2960"/>
                    </a:lnTo>
                    <a:lnTo>
                      <a:pt x="3324" y="2962"/>
                    </a:lnTo>
                    <a:lnTo>
                      <a:pt x="3324" y="2966"/>
                    </a:lnTo>
                    <a:lnTo>
                      <a:pt x="3328" y="2970"/>
                    </a:lnTo>
                    <a:lnTo>
                      <a:pt x="3332" y="2974"/>
                    </a:lnTo>
                    <a:lnTo>
                      <a:pt x="3334" y="2976"/>
                    </a:lnTo>
                    <a:lnTo>
                      <a:pt x="3334" y="2980"/>
                    </a:lnTo>
                    <a:lnTo>
                      <a:pt x="3334" y="2980"/>
                    </a:lnTo>
                    <a:lnTo>
                      <a:pt x="3332" y="2982"/>
                    </a:lnTo>
                    <a:lnTo>
                      <a:pt x="3330" y="2980"/>
                    </a:lnTo>
                    <a:lnTo>
                      <a:pt x="3328" y="2976"/>
                    </a:lnTo>
                    <a:lnTo>
                      <a:pt x="3326" y="2974"/>
                    </a:lnTo>
                    <a:lnTo>
                      <a:pt x="3322" y="2974"/>
                    </a:lnTo>
                    <a:lnTo>
                      <a:pt x="3322" y="2974"/>
                    </a:lnTo>
                    <a:lnTo>
                      <a:pt x="3312" y="2974"/>
                    </a:lnTo>
                    <a:lnTo>
                      <a:pt x="3310" y="2974"/>
                    </a:lnTo>
                    <a:lnTo>
                      <a:pt x="3312" y="2978"/>
                    </a:lnTo>
                    <a:lnTo>
                      <a:pt x="3312" y="2978"/>
                    </a:lnTo>
                    <a:lnTo>
                      <a:pt x="3312" y="2980"/>
                    </a:lnTo>
                    <a:lnTo>
                      <a:pt x="3312" y="2982"/>
                    </a:lnTo>
                    <a:lnTo>
                      <a:pt x="3310" y="2982"/>
                    </a:lnTo>
                    <a:lnTo>
                      <a:pt x="3308" y="2980"/>
                    </a:lnTo>
                    <a:lnTo>
                      <a:pt x="3308" y="2980"/>
                    </a:lnTo>
                    <a:lnTo>
                      <a:pt x="3306" y="2980"/>
                    </a:lnTo>
                    <a:lnTo>
                      <a:pt x="3302" y="2984"/>
                    </a:lnTo>
                    <a:lnTo>
                      <a:pt x="3302" y="2988"/>
                    </a:lnTo>
                    <a:lnTo>
                      <a:pt x="3304" y="2992"/>
                    </a:lnTo>
                    <a:lnTo>
                      <a:pt x="3304" y="2992"/>
                    </a:lnTo>
                    <a:lnTo>
                      <a:pt x="3308" y="2994"/>
                    </a:lnTo>
                    <a:lnTo>
                      <a:pt x="3312" y="2992"/>
                    </a:lnTo>
                    <a:lnTo>
                      <a:pt x="3314" y="2992"/>
                    </a:lnTo>
                    <a:lnTo>
                      <a:pt x="3316" y="2998"/>
                    </a:lnTo>
                    <a:lnTo>
                      <a:pt x="3316" y="2998"/>
                    </a:lnTo>
                    <a:lnTo>
                      <a:pt x="3318" y="3014"/>
                    </a:lnTo>
                    <a:lnTo>
                      <a:pt x="3318" y="3020"/>
                    </a:lnTo>
                    <a:lnTo>
                      <a:pt x="3320" y="3022"/>
                    </a:lnTo>
                    <a:lnTo>
                      <a:pt x="3320" y="3022"/>
                    </a:lnTo>
                    <a:lnTo>
                      <a:pt x="3324" y="3026"/>
                    </a:lnTo>
                    <a:lnTo>
                      <a:pt x="3324" y="3028"/>
                    </a:lnTo>
                    <a:lnTo>
                      <a:pt x="3322" y="3030"/>
                    </a:lnTo>
                    <a:lnTo>
                      <a:pt x="3324" y="3034"/>
                    </a:lnTo>
                    <a:lnTo>
                      <a:pt x="3324" y="3034"/>
                    </a:lnTo>
                    <a:lnTo>
                      <a:pt x="3326" y="3038"/>
                    </a:lnTo>
                    <a:lnTo>
                      <a:pt x="3324" y="3042"/>
                    </a:lnTo>
                    <a:lnTo>
                      <a:pt x="3320" y="3046"/>
                    </a:lnTo>
                    <a:lnTo>
                      <a:pt x="3316" y="3054"/>
                    </a:lnTo>
                    <a:lnTo>
                      <a:pt x="3316" y="3054"/>
                    </a:lnTo>
                    <a:lnTo>
                      <a:pt x="3308" y="3070"/>
                    </a:lnTo>
                    <a:lnTo>
                      <a:pt x="3308" y="3076"/>
                    </a:lnTo>
                    <a:lnTo>
                      <a:pt x="3308" y="3078"/>
                    </a:lnTo>
                    <a:lnTo>
                      <a:pt x="3308" y="3078"/>
                    </a:lnTo>
                    <a:lnTo>
                      <a:pt x="3310" y="3082"/>
                    </a:lnTo>
                    <a:lnTo>
                      <a:pt x="3310" y="3084"/>
                    </a:lnTo>
                    <a:lnTo>
                      <a:pt x="3312" y="3088"/>
                    </a:lnTo>
                    <a:lnTo>
                      <a:pt x="3312" y="3092"/>
                    </a:lnTo>
                    <a:lnTo>
                      <a:pt x="3312" y="3092"/>
                    </a:lnTo>
                    <a:lnTo>
                      <a:pt x="3314" y="3096"/>
                    </a:lnTo>
                    <a:lnTo>
                      <a:pt x="3312" y="3096"/>
                    </a:lnTo>
                    <a:lnTo>
                      <a:pt x="3308" y="3096"/>
                    </a:lnTo>
                    <a:lnTo>
                      <a:pt x="3308" y="3100"/>
                    </a:lnTo>
                    <a:lnTo>
                      <a:pt x="3308" y="3100"/>
                    </a:lnTo>
                    <a:lnTo>
                      <a:pt x="3310" y="3104"/>
                    </a:lnTo>
                    <a:lnTo>
                      <a:pt x="3312" y="3104"/>
                    </a:lnTo>
                    <a:lnTo>
                      <a:pt x="3316" y="3104"/>
                    </a:lnTo>
                    <a:lnTo>
                      <a:pt x="3316" y="3110"/>
                    </a:lnTo>
                    <a:lnTo>
                      <a:pt x="3316" y="3110"/>
                    </a:lnTo>
                    <a:lnTo>
                      <a:pt x="3316" y="3116"/>
                    </a:lnTo>
                    <a:lnTo>
                      <a:pt x="3318" y="3118"/>
                    </a:lnTo>
                    <a:lnTo>
                      <a:pt x="3322" y="3116"/>
                    </a:lnTo>
                    <a:lnTo>
                      <a:pt x="3326" y="3110"/>
                    </a:lnTo>
                    <a:lnTo>
                      <a:pt x="3326" y="3110"/>
                    </a:lnTo>
                    <a:lnTo>
                      <a:pt x="3330" y="3104"/>
                    </a:lnTo>
                    <a:lnTo>
                      <a:pt x="3330" y="3104"/>
                    </a:lnTo>
                    <a:lnTo>
                      <a:pt x="3330" y="3106"/>
                    </a:lnTo>
                    <a:lnTo>
                      <a:pt x="3330" y="3110"/>
                    </a:lnTo>
                    <a:lnTo>
                      <a:pt x="3330" y="3112"/>
                    </a:lnTo>
                    <a:lnTo>
                      <a:pt x="3330" y="3112"/>
                    </a:lnTo>
                    <a:lnTo>
                      <a:pt x="3334" y="3110"/>
                    </a:lnTo>
                    <a:lnTo>
                      <a:pt x="3334" y="3108"/>
                    </a:lnTo>
                    <a:lnTo>
                      <a:pt x="3338" y="3102"/>
                    </a:lnTo>
                    <a:lnTo>
                      <a:pt x="3342" y="3098"/>
                    </a:lnTo>
                    <a:lnTo>
                      <a:pt x="3342" y="3098"/>
                    </a:lnTo>
                    <a:lnTo>
                      <a:pt x="3346" y="3094"/>
                    </a:lnTo>
                    <a:lnTo>
                      <a:pt x="3348" y="3094"/>
                    </a:lnTo>
                    <a:lnTo>
                      <a:pt x="3348" y="3096"/>
                    </a:lnTo>
                    <a:lnTo>
                      <a:pt x="3346" y="3100"/>
                    </a:lnTo>
                    <a:lnTo>
                      <a:pt x="3346" y="3100"/>
                    </a:lnTo>
                    <a:lnTo>
                      <a:pt x="3344" y="3106"/>
                    </a:lnTo>
                    <a:lnTo>
                      <a:pt x="3346" y="3108"/>
                    </a:lnTo>
                    <a:lnTo>
                      <a:pt x="3350" y="3110"/>
                    </a:lnTo>
                    <a:lnTo>
                      <a:pt x="3354" y="3108"/>
                    </a:lnTo>
                    <a:lnTo>
                      <a:pt x="3354" y="3108"/>
                    </a:lnTo>
                    <a:lnTo>
                      <a:pt x="3356" y="3106"/>
                    </a:lnTo>
                    <a:lnTo>
                      <a:pt x="3356" y="3104"/>
                    </a:lnTo>
                    <a:lnTo>
                      <a:pt x="3354" y="3096"/>
                    </a:lnTo>
                    <a:lnTo>
                      <a:pt x="3354" y="3096"/>
                    </a:lnTo>
                    <a:lnTo>
                      <a:pt x="3354" y="3094"/>
                    </a:lnTo>
                    <a:lnTo>
                      <a:pt x="3356" y="3092"/>
                    </a:lnTo>
                    <a:lnTo>
                      <a:pt x="3358" y="3092"/>
                    </a:lnTo>
                    <a:lnTo>
                      <a:pt x="3358" y="3094"/>
                    </a:lnTo>
                    <a:lnTo>
                      <a:pt x="3358" y="3094"/>
                    </a:lnTo>
                    <a:lnTo>
                      <a:pt x="3360" y="3102"/>
                    </a:lnTo>
                    <a:lnTo>
                      <a:pt x="3362" y="3100"/>
                    </a:lnTo>
                    <a:lnTo>
                      <a:pt x="3366" y="3096"/>
                    </a:lnTo>
                    <a:lnTo>
                      <a:pt x="3366" y="3096"/>
                    </a:lnTo>
                    <a:lnTo>
                      <a:pt x="3368" y="3094"/>
                    </a:lnTo>
                    <a:lnTo>
                      <a:pt x="3368" y="3092"/>
                    </a:lnTo>
                    <a:lnTo>
                      <a:pt x="3364" y="3088"/>
                    </a:lnTo>
                    <a:lnTo>
                      <a:pt x="3362" y="3086"/>
                    </a:lnTo>
                    <a:lnTo>
                      <a:pt x="3366" y="3084"/>
                    </a:lnTo>
                    <a:lnTo>
                      <a:pt x="3366" y="3084"/>
                    </a:lnTo>
                    <a:lnTo>
                      <a:pt x="3376" y="3084"/>
                    </a:lnTo>
                    <a:lnTo>
                      <a:pt x="3384" y="3086"/>
                    </a:lnTo>
                    <a:lnTo>
                      <a:pt x="3390" y="3090"/>
                    </a:lnTo>
                    <a:lnTo>
                      <a:pt x="3394" y="3090"/>
                    </a:lnTo>
                    <a:lnTo>
                      <a:pt x="3394" y="3090"/>
                    </a:lnTo>
                    <a:lnTo>
                      <a:pt x="3396" y="3088"/>
                    </a:lnTo>
                    <a:lnTo>
                      <a:pt x="3396" y="3084"/>
                    </a:lnTo>
                    <a:lnTo>
                      <a:pt x="3396" y="3082"/>
                    </a:lnTo>
                    <a:lnTo>
                      <a:pt x="3400" y="3078"/>
                    </a:lnTo>
                    <a:lnTo>
                      <a:pt x="3400" y="3078"/>
                    </a:lnTo>
                    <a:lnTo>
                      <a:pt x="3406" y="3076"/>
                    </a:lnTo>
                    <a:lnTo>
                      <a:pt x="3412" y="3078"/>
                    </a:lnTo>
                    <a:lnTo>
                      <a:pt x="3418" y="3078"/>
                    </a:lnTo>
                    <a:lnTo>
                      <a:pt x="3422" y="3076"/>
                    </a:lnTo>
                    <a:lnTo>
                      <a:pt x="3422" y="3076"/>
                    </a:lnTo>
                    <a:lnTo>
                      <a:pt x="3428" y="3070"/>
                    </a:lnTo>
                    <a:lnTo>
                      <a:pt x="3434" y="3058"/>
                    </a:lnTo>
                    <a:lnTo>
                      <a:pt x="3438" y="3044"/>
                    </a:lnTo>
                    <a:lnTo>
                      <a:pt x="3440" y="3032"/>
                    </a:lnTo>
                    <a:lnTo>
                      <a:pt x="3440" y="3032"/>
                    </a:lnTo>
                    <a:lnTo>
                      <a:pt x="3440" y="3026"/>
                    </a:lnTo>
                    <a:lnTo>
                      <a:pt x="3436" y="3026"/>
                    </a:lnTo>
                    <a:lnTo>
                      <a:pt x="3434" y="3026"/>
                    </a:lnTo>
                    <a:lnTo>
                      <a:pt x="3432" y="3018"/>
                    </a:lnTo>
                    <a:lnTo>
                      <a:pt x="3432" y="3018"/>
                    </a:lnTo>
                    <a:lnTo>
                      <a:pt x="3434" y="3008"/>
                    </a:lnTo>
                    <a:lnTo>
                      <a:pt x="3436" y="3002"/>
                    </a:lnTo>
                    <a:lnTo>
                      <a:pt x="3436" y="2994"/>
                    </a:lnTo>
                    <a:lnTo>
                      <a:pt x="3436" y="2980"/>
                    </a:lnTo>
                    <a:lnTo>
                      <a:pt x="3436" y="2980"/>
                    </a:lnTo>
                    <a:lnTo>
                      <a:pt x="3432" y="2964"/>
                    </a:lnTo>
                    <a:lnTo>
                      <a:pt x="3426" y="2948"/>
                    </a:lnTo>
                    <a:lnTo>
                      <a:pt x="3418" y="2934"/>
                    </a:lnTo>
                    <a:lnTo>
                      <a:pt x="3410" y="2922"/>
                    </a:lnTo>
                    <a:lnTo>
                      <a:pt x="3410" y="2922"/>
                    </a:lnTo>
                    <a:lnTo>
                      <a:pt x="3402" y="2910"/>
                    </a:lnTo>
                    <a:lnTo>
                      <a:pt x="3398" y="2902"/>
                    </a:lnTo>
                    <a:lnTo>
                      <a:pt x="3392" y="2886"/>
                    </a:lnTo>
                    <a:lnTo>
                      <a:pt x="3392" y="2886"/>
                    </a:lnTo>
                    <a:lnTo>
                      <a:pt x="3388" y="2882"/>
                    </a:lnTo>
                    <a:lnTo>
                      <a:pt x="3386" y="2880"/>
                    </a:lnTo>
                    <a:lnTo>
                      <a:pt x="3380" y="2876"/>
                    </a:lnTo>
                    <a:lnTo>
                      <a:pt x="3374" y="2866"/>
                    </a:lnTo>
                    <a:lnTo>
                      <a:pt x="3374" y="2866"/>
                    </a:lnTo>
                    <a:lnTo>
                      <a:pt x="3370" y="2862"/>
                    </a:lnTo>
                    <a:lnTo>
                      <a:pt x="3366" y="2858"/>
                    </a:lnTo>
                    <a:lnTo>
                      <a:pt x="3360" y="2856"/>
                    </a:lnTo>
                    <a:lnTo>
                      <a:pt x="3354" y="2856"/>
                    </a:lnTo>
                    <a:lnTo>
                      <a:pt x="3352" y="2852"/>
                    </a:lnTo>
                    <a:lnTo>
                      <a:pt x="3352" y="2852"/>
                    </a:lnTo>
                    <a:lnTo>
                      <a:pt x="3352" y="2850"/>
                    </a:lnTo>
                    <a:lnTo>
                      <a:pt x="3354" y="2848"/>
                    </a:lnTo>
                    <a:lnTo>
                      <a:pt x="3356" y="2848"/>
                    </a:lnTo>
                    <a:lnTo>
                      <a:pt x="3358" y="2848"/>
                    </a:lnTo>
                    <a:lnTo>
                      <a:pt x="3360" y="2848"/>
                    </a:lnTo>
                    <a:lnTo>
                      <a:pt x="3360" y="2838"/>
                    </a:lnTo>
                    <a:lnTo>
                      <a:pt x="3360" y="2838"/>
                    </a:lnTo>
                    <a:lnTo>
                      <a:pt x="3358" y="2830"/>
                    </a:lnTo>
                    <a:lnTo>
                      <a:pt x="3358" y="2826"/>
                    </a:lnTo>
                    <a:lnTo>
                      <a:pt x="3360" y="2822"/>
                    </a:lnTo>
                    <a:lnTo>
                      <a:pt x="3362" y="2822"/>
                    </a:lnTo>
                    <a:lnTo>
                      <a:pt x="3368" y="2820"/>
                    </a:lnTo>
                    <a:lnTo>
                      <a:pt x="3372" y="2818"/>
                    </a:lnTo>
                    <a:lnTo>
                      <a:pt x="3374" y="2814"/>
                    </a:lnTo>
                    <a:lnTo>
                      <a:pt x="3374" y="2814"/>
                    </a:lnTo>
                    <a:lnTo>
                      <a:pt x="3376" y="2810"/>
                    </a:lnTo>
                    <a:lnTo>
                      <a:pt x="3378" y="2808"/>
                    </a:lnTo>
                    <a:lnTo>
                      <a:pt x="3384" y="2810"/>
                    </a:lnTo>
                    <a:lnTo>
                      <a:pt x="3386" y="2810"/>
                    </a:lnTo>
                    <a:lnTo>
                      <a:pt x="3390" y="2810"/>
                    </a:lnTo>
                    <a:lnTo>
                      <a:pt x="3396" y="2806"/>
                    </a:lnTo>
                    <a:lnTo>
                      <a:pt x="3402" y="2800"/>
                    </a:lnTo>
                    <a:lnTo>
                      <a:pt x="3402" y="2800"/>
                    </a:lnTo>
                    <a:lnTo>
                      <a:pt x="3426" y="2776"/>
                    </a:lnTo>
                    <a:lnTo>
                      <a:pt x="3434" y="2768"/>
                    </a:lnTo>
                    <a:lnTo>
                      <a:pt x="3442" y="2766"/>
                    </a:lnTo>
                    <a:lnTo>
                      <a:pt x="3442" y="2766"/>
                    </a:lnTo>
                    <a:lnTo>
                      <a:pt x="3444" y="2764"/>
                    </a:lnTo>
                    <a:lnTo>
                      <a:pt x="3446" y="2762"/>
                    </a:lnTo>
                    <a:lnTo>
                      <a:pt x="3448" y="2754"/>
                    </a:lnTo>
                    <a:lnTo>
                      <a:pt x="3448" y="2746"/>
                    </a:lnTo>
                    <a:lnTo>
                      <a:pt x="3448" y="2738"/>
                    </a:lnTo>
                    <a:lnTo>
                      <a:pt x="3448" y="2738"/>
                    </a:lnTo>
                    <a:lnTo>
                      <a:pt x="3448" y="2734"/>
                    </a:lnTo>
                    <a:lnTo>
                      <a:pt x="3448" y="2732"/>
                    </a:lnTo>
                    <a:lnTo>
                      <a:pt x="3446" y="2730"/>
                    </a:lnTo>
                    <a:lnTo>
                      <a:pt x="3444" y="2728"/>
                    </a:lnTo>
                    <a:lnTo>
                      <a:pt x="3444" y="2724"/>
                    </a:lnTo>
                    <a:lnTo>
                      <a:pt x="3450" y="2714"/>
                    </a:lnTo>
                    <a:lnTo>
                      <a:pt x="3450" y="2714"/>
                    </a:lnTo>
                    <a:lnTo>
                      <a:pt x="3464" y="2694"/>
                    </a:lnTo>
                    <a:lnTo>
                      <a:pt x="3474" y="2684"/>
                    </a:lnTo>
                    <a:lnTo>
                      <a:pt x="3474" y="2684"/>
                    </a:lnTo>
                    <a:lnTo>
                      <a:pt x="3478" y="2682"/>
                    </a:lnTo>
                    <a:lnTo>
                      <a:pt x="3480" y="2684"/>
                    </a:lnTo>
                    <a:lnTo>
                      <a:pt x="3482" y="2684"/>
                    </a:lnTo>
                    <a:lnTo>
                      <a:pt x="3488" y="2682"/>
                    </a:lnTo>
                    <a:lnTo>
                      <a:pt x="3488" y="2682"/>
                    </a:lnTo>
                    <a:lnTo>
                      <a:pt x="3488" y="2682"/>
                    </a:lnTo>
                    <a:lnTo>
                      <a:pt x="3492" y="2678"/>
                    </a:lnTo>
                    <a:lnTo>
                      <a:pt x="3492" y="2674"/>
                    </a:lnTo>
                    <a:lnTo>
                      <a:pt x="3492" y="2666"/>
                    </a:lnTo>
                    <a:lnTo>
                      <a:pt x="3492" y="2664"/>
                    </a:lnTo>
                    <a:lnTo>
                      <a:pt x="3498" y="2664"/>
                    </a:lnTo>
                    <a:lnTo>
                      <a:pt x="3498" y="2664"/>
                    </a:lnTo>
                    <a:lnTo>
                      <a:pt x="3506" y="2666"/>
                    </a:lnTo>
                    <a:lnTo>
                      <a:pt x="3510" y="2664"/>
                    </a:lnTo>
                    <a:lnTo>
                      <a:pt x="3514" y="2658"/>
                    </a:lnTo>
                    <a:lnTo>
                      <a:pt x="3518" y="2650"/>
                    </a:lnTo>
                    <a:lnTo>
                      <a:pt x="3518" y="2650"/>
                    </a:lnTo>
                    <a:lnTo>
                      <a:pt x="3524" y="2640"/>
                    </a:lnTo>
                    <a:lnTo>
                      <a:pt x="3524" y="2632"/>
                    </a:lnTo>
                    <a:lnTo>
                      <a:pt x="3526" y="2628"/>
                    </a:lnTo>
                    <a:lnTo>
                      <a:pt x="3528" y="2626"/>
                    </a:lnTo>
                    <a:lnTo>
                      <a:pt x="3532" y="2626"/>
                    </a:lnTo>
                    <a:lnTo>
                      <a:pt x="3532" y="2626"/>
                    </a:lnTo>
                    <a:lnTo>
                      <a:pt x="3536" y="2626"/>
                    </a:lnTo>
                    <a:lnTo>
                      <a:pt x="3536" y="2628"/>
                    </a:lnTo>
                    <a:lnTo>
                      <a:pt x="3536" y="2634"/>
                    </a:lnTo>
                    <a:lnTo>
                      <a:pt x="3534" y="2638"/>
                    </a:lnTo>
                    <a:lnTo>
                      <a:pt x="3536" y="2638"/>
                    </a:lnTo>
                    <a:lnTo>
                      <a:pt x="3538" y="2638"/>
                    </a:lnTo>
                    <a:lnTo>
                      <a:pt x="3542" y="2636"/>
                    </a:lnTo>
                    <a:lnTo>
                      <a:pt x="3542" y="2636"/>
                    </a:lnTo>
                    <a:lnTo>
                      <a:pt x="3548" y="2632"/>
                    </a:lnTo>
                    <a:lnTo>
                      <a:pt x="3550" y="2632"/>
                    </a:lnTo>
                    <a:lnTo>
                      <a:pt x="3552" y="2634"/>
                    </a:lnTo>
                    <a:lnTo>
                      <a:pt x="3552" y="2638"/>
                    </a:lnTo>
                    <a:lnTo>
                      <a:pt x="3552" y="2646"/>
                    </a:lnTo>
                    <a:lnTo>
                      <a:pt x="3554" y="2648"/>
                    </a:lnTo>
                    <a:lnTo>
                      <a:pt x="3556" y="2650"/>
                    </a:lnTo>
                    <a:lnTo>
                      <a:pt x="3556" y="2650"/>
                    </a:lnTo>
                    <a:lnTo>
                      <a:pt x="3570" y="2654"/>
                    </a:lnTo>
                    <a:lnTo>
                      <a:pt x="3580" y="2660"/>
                    </a:lnTo>
                    <a:lnTo>
                      <a:pt x="3580" y="2660"/>
                    </a:lnTo>
                    <a:lnTo>
                      <a:pt x="3584" y="2660"/>
                    </a:lnTo>
                    <a:lnTo>
                      <a:pt x="3590" y="2658"/>
                    </a:lnTo>
                    <a:lnTo>
                      <a:pt x="3598" y="2656"/>
                    </a:lnTo>
                    <a:lnTo>
                      <a:pt x="3608" y="2652"/>
                    </a:lnTo>
                    <a:lnTo>
                      <a:pt x="3608" y="2652"/>
                    </a:lnTo>
                    <a:lnTo>
                      <a:pt x="3616" y="2650"/>
                    </a:lnTo>
                    <a:lnTo>
                      <a:pt x="3622" y="2644"/>
                    </a:lnTo>
                    <a:lnTo>
                      <a:pt x="3632" y="2638"/>
                    </a:lnTo>
                    <a:lnTo>
                      <a:pt x="3648" y="2628"/>
                    </a:lnTo>
                    <a:lnTo>
                      <a:pt x="3648" y="2628"/>
                    </a:lnTo>
                    <a:lnTo>
                      <a:pt x="3658" y="2620"/>
                    </a:lnTo>
                    <a:lnTo>
                      <a:pt x="3666" y="2610"/>
                    </a:lnTo>
                    <a:lnTo>
                      <a:pt x="3686" y="2584"/>
                    </a:lnTo>
                    <a:lnTo>
                      <a:pt x="3712" y="2550"/>
                    </a:lnTo>
                    <a:lnTo>
                      <a:pt x="3728" y="2530"/>
                    </a:lnTo>
                    <a:lnTo>
                      <a:pt x="3748" y="2508"/>
                    </a:lnTo>
                    <a:lnTo>
                      <a:pt x="3748" y="2508"/>
                    </a:lnTo>
                    <a:lnTo>
                      <a:pt x="3768" y="2488"/>
                    </a:lnTo>
                    <a:lnTo>
                      <a:pt x="3780" y="2468"/>
                    </a:lnTo>
                    <a:lnTo>
                      <a:pt x="3790" y="2454"/>
                    </a:lnTo>
                    <a:lnTo>
                      <a:pt x="3796" y="2440"/>
                    </a:lnTo>
                    <a:lnTo>
                      <a:pt x="3804" y="2418"/>
                    </a:lnTo>
                    <a:lnTo>
                      <a:pt x="3808" y="2408"/>
                    </a:lnTo>
                    <a:lnTo>
                      <a:pt x="3816" y="2400"/>
                    </a:lnTo>
                    <a:lnTo>
                      <a:pt x="3816" y="2400"/>
                    </a:lnTo>
                    <a:lnTo>
                      <a:pt x="3824" y="2394"/>
                    </a:lnTo>
                    <a:lnTo>
                      <a:pt x="3828" y="2388"/>
                    </a:lnTo>
                    <a:lnTo>
                      <a:pt x="3832" y="2378"/>
                    </a:lnTo>
                    <a:lnTo>
                      <a:pt x="3834" y="2372"/>
                    </a:lnTo>
                    <a:lnTo>
                      <a:pt x="3838" y="2366"/>
                    </a:lnTo>
                    <a:lnTo>
                      <a:pt x="3844" y="2358"/>
                    </a:lnTo>
                    <a:lnTo>
                      <a:pt x="3854" y="2346"/>
                    </a:lnTo>
                    <a:lnTo>
                      <a:pt x="3854" y="2346"/>
                    </a:lnTo>
                    <a:lnTo>
                      <a:pt x="3860" y="2340"/>
                    </a:lnTo>
                    <a:lnTo>
                      <a:pt x="3866" y="2334"/>
                    </a:lnTo>
                    <a:lnTo>
                      <a:pt x="3874" y="2316"/>
                    </a:lnTo>
                    <a:lnTo>
                      <a:pt x="3880" y="2296"/>
                    </a:lnTo>
                    <a:lnTo>
                      <a:pt x="3882" y="2276"/>
                    </a:lnTo>
                    <a:lnTo>
                      <a:pt x="3884" y="2256"/>
                    </a:lnTo>
                    <a:lnTo>
                      <a:pt x="3884" y="2238"/>
                    </a:lnTo>
                    <a:lnTo>
                      <a:pt x="3882" y="2224"/>
                    </a:lnTo>
                    <a:lnTo>
                      <a:pt x="3880" y="2212"/>
                    </a:lnTo>
                    <a:lnTo>
                      <a:pt x="3880" y="2212"/>
                    </a:lnTo>
                    <a:lnTo>
                      <a:pt x="3878" y="2204"/>
                    </a:lnTo>
                    <a:lnTo>
                      <a:pt x="3878" y="2198"/>
                    </a:lnTo>
                    <a:lnTo>
                      <a:pt x="3880" y="2192"/>
                    </a:lnTo>
                    <a:lnTo>
                      <a:pt x="3882" y="2188"/>
                    </a:lnTo>
                    <a:lnTo>
                      <a:pt x="3888" y="2178"/>
                    </a:lnTo>
                    <a:lnTo>
                      <a:pt x="3892" y="2170"/>
                    </a:lnTo>
                    <a:lnTo>
                      <a:pt x="3896" y="2160"/>
                    </a:lnTo>
                    <a:lnTo>
                      <a:pt x="3896" y="2160"/>
                    </a:lnTo>
                    <a:lnTo>
                      <a:pt x="3898" y="2150"/>
                    </a:lnTo>
                    <a:lnTo>
                      <a:pt x="3904" y="2142"/>
                    </a:lnTo>
                    <a:lnTo>
                      <a:pt x="3914" y="2128"/>
                    </a:lnTo>
                    <a:lnTo>
                      <a:pt x="3920" y="2122"/>
                    </a:lnTo>
                    <a:lnTo>
                      <a:pt x="3922" y="2116"/>
                    </a:lnTo>
                    <a:lnTo>
                      <a:pt x="3920" y="2110"/>
                    </a:lnTo>
                    <a:lnTo>
                      <a:pt x="3916" y="2104"/>
                    </a:lnTo>
                    <a:lnTo>
                      <a:pt x="3916" y="2104"/>
                    </a:lnTo>
                    <a:lnTo>
                      <a:pt x="3910" y="2098"/>
                    </a:lnTo>
                    <a:lnTo>
                      <a:pt x="3908" y="2094"/>
                    </a:lnTo>
                    <a:lnTo>
                      <a:pt x="3908" y="2090"/>
                    </a:lnTo>
                    <a:lnTo>
                      <a:pt x="3910" y="2086"/>
                    </a:lnTo>
                    <a:lnTo>
                      <a:pt x="3910" y="2078"/>
                    </a:lnTo>
                    <a:lnTo>
                      <a:pt x="3910" y="2072"/>
                    </a:lnTo>
                    <a:lnTo>
                      <a:pt x="3906" y="2066"/>
                    </a:lnTo>
                    <a:lnTo>
                      <a:pt x="3906" y="2066"/>
                    </a:lnTo>
                    <a:lnTo>
                      <a:pt x="3904" y="2062"/>
                    </a:lnTo>
                    <a:lnTo>
                      <a:pt x="3906" y="2058"/>
                    </a:lnTo>
                    <a:lnTo>
                      <a:pt x="3914" y="2052"/>
                    </a:lnTo>
                    <a:lnTo>
                      <a:pt x="3918" y="2050"/>
                    </a:lnTo>
                    <a:lnTo>
                      <a:pt x="3920" y="2046"/>
                    </a:lnTo>
                    <a:lnTo>
                      <a:pt x="3918" y="2042"/>
                    </a:lnTo>
                    <a:lnTo>
                      <a:pt x="3910" y="2034"/>
                    </a:lnTo>
                    <a:lnTo>
                      <a:pt x="3910" y="2034"/>
                    </a:lnTo>
                    <a:lnTo>
                      <a:pt x="3892" y="2020"/>
                    </a:lnTo>
                    <a:lnTo>
                      <a:pt x="3880" y="2010"/>
                    </a:lnTo>
                    <a:lnTo>
                      <a:pt x="3864" y="1990"/>
                    </a:lnTo>
                    <a:lnTo>
                      <a:pt x="3864" y="1990"/>
                    </a:lnTo>
                    <a:lnTo>
                      <a:pt x="3858" y="1986"/>
                    </a:lnTo>
                    <a:lnTo>
                      <a:pt x="3854" y="1984"/>
                    </a:lnTo>
                    <a:lnTo>
                      <a:pt x="3842" y="1984"/>
                    </a:lnTo>
                    <a:lnTo>
                      <a:pt x="3832" y="1986"/>
                    </a:lnTo>
                    <a:lnTo>
                      <a:pt x="3826" y="1986"/>
                    </a:lnTo>
                    <a:lnTo>
                      <a:pt x="3820" y="1984"/>
                    </a:lnTo>
                    <a:lnTo>
                      <a:pt x="3820" y="1984"/>
                    </a:lnTo>
                    <a:lnTo>
                      <a:pt x="3814" y="1982"/>
                    </a:lnTo>
                    <a:lnTo>
                      <a:pt x="3812" y="1984"/>
                    </a:lnTo>
                    <a:lnTo>
                      <a:pt x="3808" y="1996"/>
                    </a:lnTo>
                    <a:lnTo>
                      <a:pt x="3804" y="2004"/>
                    </a:lnTo>
                    <a:lnTo>
                      <a:pt x="3800" y="2012"/>
                    </a:lnTo>
                    <a:lnTo>
                      <a:pt x="3792" y="2018"/>
                    </a:lnTo>
                    <a:lnTo>
                      <a:pt x="3780" y="2024"/>
                    </a:lnTo>
                    <a:lnTo>
                      <a:pt x="3780" y="2024"/>
                    </a:lnTo>
                    <a:lnTo>
                      <a:pt x="3772" y="2026"/>
                    </a:lnTo>
                    <a:lnTo>
                      <a:pt x="3766" y="2026"/>
                    </a:lnTo>
                    <a:lnTo>
                      <a:pt x="3764" y="2024"/>
                    </a:lnTo>
                    <a:lnTo>
                      <a:pt x="3762" y="2022"/>
                    </a:lnTo>
                    <a:lnTo>
                      <a:pt x="3760" y="2018"/>
                    </a:lnTo>
                    <a:lnTo>
                      <a:pt x="3762" y="2014"/>
                    </a:lnTo>
                    <a:lnTo>
                      <a:pt x="3764" y="2002"/>
                    </a:lnTo>
                    <a:lnTo>
                      <a:pt x="3768" y="1992"/>
                    </a:lnTo>
                    <a:lnTo>
                      <a:pt x="3772" y="1984"/>
                    </a:lnTo>
                    <a:lnTo>
                      <a:pt x="3770" y="1982"/>
                    </a:lnTo>
                    <a:lnTo>
                      <a:pt x="3768" y="1980"/>
                    </a:lnTo>
                    <a:lnTo>
                      <a:pt x="3766" y="1980"/>
                    </a:lnTo>
                    <a:lnTo>
                      <a:pt x="3760" y="1982"/>
                    </a:lnTo>
                    <a:lnTo>
                      <a:pt x="3760" y="1982"/>
                    </a:lnTo>
                    <a:lnTo>
                      <a:pt x="3750" y="1986"/>
                    </a:lnTo>
                    <a:lnTo>
                      <a:pt x="3746" y="1992"/>
                    </a:lnTo>
                    <a:lnTo>
                      <a:pt x="3746" y="1996"/>
                    </a:lnTo>
                    <a:lnTo>
                      <a:pt x="3748" y="2000"/>
                    </a:lnTo>
                    <a:lnTo>
                      <a:pt x="3750" y="2002"/>
                    </a:lnTo>
                    <a:lnTo>
                      <a:pt x="3750" y="2004"/>
                    </a:lnTo>
                    <a:lnTo>
                      <a:pt x="3746" y="2008"/>
                    </a:lnTo>
                    <a:lnTo>
                      <a:pt x="3738" y="2008"/>
                    </a:lnTo>
                    <a:lnTo>
                      <a:pt x="3738" y="2008"/>
                    </a:lnTo>
                    <a:lnTo>
                      <a:pt x="3732" y="2008"/>
                    </a:lnTo>
                    <a:lnTo>
                      <a:pt x="3730" y="2008"/>
                    </a:lnTo>
                    <a:lnTo>
                      <a:pt x="3728" y="2006"/>
                    </a:lnTo>
                    <a:lnTo>
                      <a:pt x="3728" y="2002"/>
                    </a:lnTo>
                    <a:lnTo>
                      <a:pt x="3730" y="1994"/>
                    </a:lnTo>
                    <a:lnTo>
                      <a:pt x="3734" y="1986"/>
                    </a:lnTo>
                    <a:lnTo>
                      <a:pt x="3736" y="1976"/>
                    </a:lnTo>
                    <a:lnTo>
                      <a:pt x="3736" y="1972"/>
                    </a:lnTo>
                    <a:lnTo>
                      <a:pt x="3734" y="1968"/>
                    </a:lnTo>
                    <a:lnTo>
                      <a:pt x="3732" y="1966"/>
                    </a:lnTo>
                    <a:lnTo>
                      <a:pt x="3728" y="1962"/>
                    </a:lnTo>
                    <a:lnTo>
                      <a:pt x="3722" y="1962"/>
                    </a:lnTo>
                    <a:lnTo>
                      <a:pt x="3714" y="1960"/>
                    </a:lnTo>
                    <a:lnTo>
                      <a:pt x="3714" y="1960"/>
                    </a:lnTo>
                    <a:lnTo>
                      <a:pt x="3696" y="1962"/>
                    </a:lnTo>
                    <a:lnTo>
                      <a:pt x="3682" y="1960"/>
                    </a:lnTo>
                    <a:lnTo>
                      <a:pt x="3672" y="1958"/>
                    </a:lnTo>
                    <a:lnTo>
                      <a:pt x="3666" y="1954"/>
                    </a:lnTo>
                    <a:lnTo>
                      <a:pt x="3666" y="1950"/>
                    </a:lnTo>
                    <a:lnTo>
                      <a:pt x="3666" y="1948"/>
                    </a:lnTo>
                    <a:lnTo>
                      <a:pt x="3674" y="1938"/>
                    </a:lnTo>
                    <a:lnTo>
                      <a:pt x="3686" y="1928"/>
                    </a:lnTo>
                    <a:lnTo>
                      <a:pt x="3706" y="1912"/>
                    </a:lnTo>
                    <a:lnTo>
                      <a:pt x="3706" y="1912"/>
                    </a:lnTo>
                    <a:lnTo>
                      <a:pt x="3746" y="1886"/>
                    </a:lnTo>
                    <a:lnTo>
                      <a:pt x="3768" y="1868"/>
                    </a:lnTo>
                    <a:lnTo>
                      <a:pt x="3776" y="1862"/>
                    </a:lnTo>
                    <a:lnTo>
                      <a:pt x="3782" y="1852"/>
                    </a:lnTo>
                    <a:lnTo>
                      <a:pt x="3788" y="1844"/>
                    </a:lnTo>
                    <a:lnTo>
                      <a:pt x="3794" y="1832"/>
                    </a:lnTo>
                    <a:lnTo>
                      <a:pt x="3794" y="1832"/>
                    </a:lnTo>
                    <a:lnTo>
                      <a:pt x="3802" y="1818"/>
                    </a:lnTo>
                    <a:lnTo>
                      <a:pt x="3812" y="1808"/>
                    </a:lnTo>
                    <a:lnTo>
                      <a:pt x="3824" y="1800"/>
                    </a:lnTo>
                    <a:lnTo>
                      <a:pt x="3838" y="1790"/>
                    </a:lnTo>
                    <a:lnTo>
                      <a:pt x="3852" y="1782"/>
                    </a:lnTo>
                    <a:lnTo>
                      <a:pt x="3866" y="1772"/>
                    </a:lnTo>
                    <a:lnTo>
                      <a:pt x="3878" y="1760"/>
                    </a:lnTo>
                    <a:lnTo>
                      <a:pt x="3882" y="1752"/>
                    </a:lnTo>
                    <a:lnTo>
                      <a:pt x="3886" y="1746"/>
                    </a:lnTo>
                    <a:lnTo>
                      <a:pt x="3886" y="1746"/>
                    </a:lnTo>
                    <a:lnTo>
                      <a:pt x="3894" y="1728"/>
                    </a:lnTo>
                    <a:lnTo>
                      <a:pt x="3908" y="1712"/>
                    </a:lnTo>
                    <a:lnTo>
                      <a:pt x="3926" y="1696"/>
                    </a:lnTo>
                    <a:lnTo>
                      <a:pt x="3944" y="1682"/>
                    </a:lnTo>
                    <a:lnTo>
                      <a:pt x="3966" y="1672"/>
                    </a:lnTo>
                    <a:lnTo>
                      <a:pt x="3986" y="1664"/>
                    </a:lnTo>
                    <a:lnTo>
                      <a:pt x="4006" y="1660"/>
                    </a:lnTo>
                    <a:lnTo>
                      <a:pt x="4014" y="1660"/>
                    </a:lnTo>
                    <a:lnTo>
                      <a:pt x="4022" y="1662"/>
                    </a:lnTo>
                    <a:lnTo>
                      <a:pt x="4022" y="1662"/>
                    </a:lnTo>
                    <a:lnTo>
                      <a:pt x="4036" y="1664"/>
                    </a:lnTo>
                    <a:lnTo>
                      <a:pt x="4048" y="1666"/>
                    </a:lnTo>
                    <a:lnTo>
                      <a:pt x="4068" y="1664"/>
                    </a:lnTo>
                    <a:lnTo>
                      <a:pt x="4082" y="1664"/>
                    </a:lnTo>
                    <a:lnTo>
                      <a:pt x="4090" y="1666"/>
                    </a:lnTo>
                    <a:lnTo>
                      <a:pt x="4098" y="1670"/>
                    </a:lnTo>
                    <a:lnTo>
                      <a:pt x="4098" y="1670"/>
                    </a:lnTo>
                    <a:lnTo>
                      <a:pt x="4104" y="1672"/>
                    </a:lnTo>
                    <a:lnTo>
                      <a:pt x="4108" y="1672"/>
                    </a:lnTo>
                    <a:lnTo>
                      <a:pt x="4110" y="1670"/>
                    </a:lnTo>
                    <a:lnTo>
                      <a:pt x="4112" y="1666"/>
                    </a:lnTo>
                    <a:lnTo>
                      <a:pt x="4116" y="1662"/>
                    </a:lnTo>
                    <a:lnTo>
                      <a:pt x="4124" y="1660"/>
                    </a:lnTo>
                    <a:lnTo>
                      <a:pt x="4136" y="1658"/>
                    </a:lnTo>
                    <a:lnTo>
                      <a:pt x="4154" y="1660"/>
                    </a:lnTo>
                    <a:lnTo>
                      <a:pt x="4154" y="1660"/>
                    </a:lnTo>
                    <a:lnTo>
                      <a:pt x="4188" y="1668"/>
                    </a:lnTo>
                    <a:lnTo>
                      <a:pt x="4200" y="1670"/>
                    </a:lnTo>
                    <a:lnTo>
                      <a:pt x="4208" y="1670"/>
                    </a:lnTo>
                    <a:lnTo>
                      <a:pt x="4214" y="1670"/>
                    </a:lnTo>
                    <a:lnTo>
                      <a:pt x="4220" y="1666"/>
                    </a:lnTo>
                    <a:lnTo>
                      <a:pt x="4224" y="1658"/>
                    </a:lnTo>
                    <a:lnTo>
                      <a:pt x="4228" y="1648"/>
                    </a:lnTo>
                    <a:lnTo>
                      <a:pt x="4228" y="1648"/>
                    </a:lnTo>
                    <a:lnTo>
                      <a:pt x="4230" y="1646"/>
                    </a:lnTo>
                    <a:lnTo>
                      <a:pt x="4236" y="1644"/>
                    </a:lnTo>
                    <a:lnTo>
                      <a:pt x="4250" y="1642"/>
                    </a:lnTo>
                    <a:lnTo>
                      <a:pt x="4272" y="1642"/>
                    </a:lnTo>
                    <a:lnTo>
                      <a:pt x="4294" y="1644"/>
                    </a:lnTo>
                    <a:lnTo>
                      <a:pt x="4314" y="1648"/>
                    </a:lnTo>
                    <a:lnTo>
                      <a:pt x="4322" y="1652"/>
                    </a:lnTo>
                    <a:lnTo>
                      <a:pt x="4328" y="1656"/>
                    </a:lnTo>
                    <a:lnTo>
                      <a:pt x="4330" y="1660"/>
                    </a:lnTo>
                    <a:lnTo>
                      <a:pt x="4330" y="1664"/>
                    </a:lnTo>
                    <a:lnTo>
                      <a:pt x="4328" y="1670"/>
                    </a:lnTo>
                    <a:lnTo>
                      <a:pt x="4320" y="1676"/>
                    </a:lnTo>
                    <a:lnTo>
                      <a:pt x="4320" y="1676"/>
                    </a:lnTo>
                    <a:lnTo>
                      <a:pt x="4314" y="1682"/>
                    </a:lnTo>
                    <a:lnTo>
                      <a:pt x="4312" y="1686"/>
                    </a:lnTo>
                    <a:lnTo>
                      <a:pt x="4312" y="1688"/>
                    </a:lnTo>
                    <a:lnTo>
                      <a:pt x="4314" y="1690"/>
                    </a:lnTo>
                    <a:lnTo>
                      <a:pt x="4324" y="1692"/>
                    </a:lnTo>
                    <a:lnTo>
                      <a:pt x="4340" y="1690"/>
                    </a:lnTo>
                    <a:lnTo>
                      <a:pt x="4358" y="1688"/>
                    </a:lnTo>
                    <a:lnTo>
                      <a:pt x="4374" y="1684"/>
                    </a:lnTo>
                    <a:lnTo>
                      <a:pt x="4386" y="1680"/>
                    </a:lnTo>
                    <a:lnTo>
                      <a:pt x="4394" y="1676"/>
                    </a:lnTo>
                    <a:lnTo>
                      <a:pt x="4394" y="1676"/>
                    </a:lnTo>
                    <a:lnTo>
                      <a:pt x="4398" y="1670"/>
                    </a:lnTo>
                    <a:lnTo>
                      <a:pt x="4404" y="1670"/>
                    </a:lnTo>
                    <a:lnTo>
                      <a:pt x="4410" y="1674"/>
                    </a:lnTo>
                    <a:lnTo>
                      <a:pt x="4418" y="1678"/>
                    </a:lnTo>
                    <a:lnTo>
                      <a:pt x="4426" y="1682"/>
                    </a:lnTo>
                    <a:lnTo>
                      <a:pt x="4436" y="1684"/>
                    </a:lnTo>
                    <a:lnTo>
                      <a:pt x="4448" y="1682"/>
                    </a:lnTo>
                    <a:lnTo>
                      <a:pt x="4454" y="1680"/>
                    </a:lnTo>
                    <a:lnTo>
                      <a:pt x="4462" y="1676"/>
                    </a:lnTo>
                    <a:lnTo>
                      <a:pt x="4462" y="1676"/>
                    </a:lnTo>
                    <a:lnTo>
                      <a:pt x="4466" y="1672"/>
                    </a:lnTo>
                    <a:lnTo>
                      <a:pt x="4468" y="1668"/>
                    </a:lnTo>
                    <a:lnTo>
                      <a:pt x="4468" y="1664"/>
                    </a:lnTo>
                    <a:lnTo>
                      <a:pt x="4466" y="1660"/>
                    </a:lnTo>
                    <a:lnTo>
                      <a:pt x="4458" y="1652"/>
                    </a:lnTo>
                    <a:lnTo>
                      <a:pt x="4448" y="1646"/>
                    </a:lnTo>
                    <a:lnTo>
                      <a:pt x="4442" y="1642"/>
                    </a:lnTo>
                    <a:lnTo>
                      <a:pt x="4440" y="1636"/>
                    </a:lnTo>
                    <a:lnTo>
                      <a:pt x="4438" y="1632"/>
                    </a:lnTo>
                    <a:lnTo>
                      <a:pt x="4438" y="1626"/>
                    </a:lnTo>
                    <a:lnTo>
                      <a:pt x="4440" y="1618"/>
                    </a:lnTo>
                    <a:lnTo>
                      <a:pt x="4446" y="1612"/>
                    </a:lnTo>
                    <a:lnTo>
                      <a:pt x="4456" y="1602"/>
                    </a:lnTo>
                    <a:lnTo>
                      <a:pt x="4468" y="1592"/>
                    </a:lnTo>
                    <a:lnTo>
                      <a:pt x="4468" y="1592"/>
                    </a:lnTo>
                    <a:lnTo>
                      <a:pt x="4496" y="1572"/>
                    </a:lnTo>
                    <a:lnTo>
                      <a:pt x="4514" y="1556"/>
                    </a:lnTo>
                    <a:lnTo>
                      <a:pt x="4536" y="1530"/>
                    </a:lnTo>
                    <a:lnTo>
                      <a:pt x="4546" y="1522"/>
                    </a:lnTo>
                    <a:lnTo>
                      <a:pt x="4562" y="1514"/>
                    </a:lnTo>
                    <a:lnTo>
                      <a:pt x="4584" y="1508"/>
                    </a:lnTo>
                    <a:lnTo>
                      <a:pt x="4616" y="1502"/>
                    </a:lnTo>
                    <a:lnTo>
                      <a:pt x="4616" y="1502"/>
                    </a:lnTo>
                    <a:lnTo>
                      <a:pt x="4630" y="1502"/>
                    </a:lnTo>
                    <a:lnTo>
                      <a:pt x="4642" y="1504"/>
                    </a:lnTo>
                    <a:lnTo>
                      <a:pt x="4650" y="1508"/>
                    </a:lnTo>
                    <a:lnTo>
                      <a:pt x="4656" y="1514"/>
                    </a:lnTo>
                    <a:lnTo>
                      <a:pt x="4660" y="1520"/>
                    </a:lnTo>
                    <a:lnTo>
                      <a:pt x="4664" y="1528"/>
                    </a:lnTo>
                    <a:lnTo>
                      <a:pt x="4664" y="1546"/>
                    </a:lnTo>
                    <a:lnTo>
                      <a:pt x="4666" y="1562"/>
                    </a:lnTo>
                    <a:lnTo>
                      <a:pt x="4666" y="1568"/>
                    </a:lnTo>
                    <a:lnTo>
                      <a:pt x="4668" y="1574"/>
                    </a:lnTo>
                    <a:lnTo>
                      <a:pt x="4672" y="1578"/>
                    </a:lnTo>
                    <a:lnTo>
                      <a:pt x="4676" y="1580"/>
                    </a:lnTo>
                    <a:lnTo>
                      <a:pt x="4684" y="1578"/>
                    </a:lnTo>
                    <a:lnTo>
                      <a:pt x="4694" y="1574"/>
                    </a:lnTo>
                    <a:lnTo>
                      <a:pt x="4694" y="1574"/>
                    </a:lnTo>
                    <a:lnTo>
                      <a:pt x="4714" y="1562"/>
                    </a:lnTo>
                    <a:lnTo>
                      <a:pt x="4728" y="1550"/>
                    </a:lnTo>
                    <a:lnTo>
                      <a:pt x="4738" y="1540"/>
                    </a:lnTo>
                    <a:lnTo>
                      <a:pt x="4746" y="1530"/>
                    </a:lnTo>
                    <a:lnTo>
                      <a:pt x="4752" y="1524"/>
                    </a:lnTo>
                    <a:lnTo>
                      <a:pt x="4758" y="1520"/>
                    </a:lnTo>
                    <a:lnTo>
                      <a:pt x="4766" y="1518"/>
                    </a:lnTo>
                    <a:lnTo>
                      <a:pt x="4778" y="1520"/>
                    </a:lnTo>
                    <a:lnTo>
                      <a:pt x="4778" y="1520"/>
                    </a:lnTo>
                    <a:lnTo>
                      <a:pt x="4784" y="1522"/>
                    </a:lnTo>
                    <a:lnTo>
                      <a:pt x="4788" y="1520"/>
                    </a:lnTo>
                    <a:lnTo>
                      <a:pt x="4790" y="1518"/>
                    </a:lnTo>
                    <a:lnTo>
                      <a:pt x="4792" y="1514"/>
                    </a:lnTo>
                    <a:lnTo>
                      <a:pt x="4790" y="1502"/>
                    </a:lnTo>
                    <a:lnTo>
                      <a:pt x="4788" y="1486"/>
                    </a:lnTo>
                    <a:lnTo>
                      <a:pt x="4788" y="1472"/>
                    </a:lnTo>
                    <a:lnTo>
                      <a:pt x="4790" y="1464"/>
                    </a:lnTo>
                    <a:lnTo>
                      <a:pt x="4792" y="1458"/>
                    </a:lnTo>
                    <a:lnTo>
                      <a:pt x="4796" y="1452"/>
                    </a:lnTo>
                    <a:lnTo>
                      <a:pt x="4802" y="1448"/>
                    </a:lnTo>
                    <a:lnTo>
                      <a:pt x="4812" y="1446"/>
                    </a:lnTo>
                    <a:lnTo>
                      <a:pt x="4824" y="1446"/>
                    </a:lnTo>
                    <a:lnTo>
                      <a:pt x="4824" y="1446"/>
                    </a:lnTo>
                    <a:lnTo>
                      <a:pt x="4854" y="1446"/>
                    </a:lnTo>
                    <a:lnTo>
                      <a:pt x="4856" y="1448"/>
                    </a:lnTo>
                    <a:lnTo>
                      <a:pt x="4858" y="1448"/>
                    </a:lnTo>
                    <a:lnTo>
                      <a:pt x="4854" y="1452"/>
                    </a:lnTo>
                    <a:lnTo>
                      <a:pt x="4848" y="1460"/>
                    </a:lnTo>
                    <a:lnTo>
                      <a:pt x="4838" y="1472"/>
                    </a:lnTo>
                    <a:lnTo>
                      <a:pt x="4830" y="1490"/>
                    </a:lnTo>
                    <a:lnTo>
                      <a:pt x="4828" y="1500"/>
                    </a:lnTo>
                    <a:lnTo>
                      <a:pt x="4824" y="1512"/>
                    </a:lnTo>
                    <a:lnTo>
                      <a:pt x="4824" y="1512"/>
                    </a:lnTo>
                    <a:lnTo>
                      <a:pt x="4822" y="1526"/>
                    </a:lnTo>
                    <a:lnTo>
                      <a:pt x="4818" y="1536"/>
                    </a:lnTo>
                    <a:lnTo>
                      <a:pt x="4814" y="1544"/>
                    </a:lnTo>
                    <a:lnTo>
                      <a:pt x="4810" y="1552"/>
                    </a:lnTo>
                    <a:lnTo>
                      <a:pt x="4798" y="1564"/>
                    </a:lnTo>
                    <a:lnTo>
                      <a:pt x="4784" y="1572"/>
                    </a:lnTo>
                    <a:lnTo>
                      <a:pt x="4766" y="1582"/>
                    </a:lnTo>
                    <a:lnTo>
                      <a:pt x="4748" y="1594"/>
                    </a:lnTo>
                    <a:lnTo>
                      <a:pt x="4726" y="1612"/>
                    </a:lnTo>
                    <a:lnTo>
                      <a:pt x="4716" y="1622"/>
                    </a:lnTo>
                    <a:lnTo>
                      <a:pt x="4704" y="1636"/>
                    </a:lnTo>
                    <a:lnTo>
                      <a:pt x="4704" y="1636"/>
                    </a:lnTo>
                    <a:lnTo>
                      <a:pt x="4664" y="1686"/>
                    </a:lnTo>
                    <a:lnTo>
                      <a:pt x="4646" y="1706"/>
                    </a:lnTo>
                    <a:lnTo>
                      <a:pt x="4630" y="1722"/>
                    </a:lnTo>
                    <a:lnTo>
                      <a:pt x="4614" y="1734"/>
                    </a:lnTo>
                    <a:lnTo>
                      <a:pt x="4600" y="1744"/>
                    </a:lnTo>
                    <a:lnTo>
                      <a:pt x="4584" y="1752"/>
                    </a:lnTo>
                    <a:lnTo>
                      <a:pt x="4568" y="1756"/>
                    </a:lnTo>
                    <a:lnTo>
                      <a:pt x="4568" y="1756"/>
                    </a:lnTo>
                    <a:lnTo>
                      <a:pt x="4554" y="1760"/>
                    </a:lnTo>
                    <a:lnTo>
                      <a:pt x="4546" y="1764"/>
                    </a:lnTo>
                    <a:lnTo>
                      <a:pt x="4544" y="1770"/>
                    </a:lnTo>
                    <a:lnTo>
                      <a:pt x="4542" y="1776"/>
                    </a:lnTo>
                    <a:lnTo>
                      <a:pt x="4542" y="1784"/>
                    </a:lnTo>
                    <a:lnTo>
                      <a:pt x="4540" y="1792"/>
                    </a:lnTo>
                    <a:lnTo>
                      <a:pt x="4532" y="1802"/>
                    </a:lnTo>
                    <a:lnTo>
                      <a:pt x="4520" y="1812"/>
                    </a:lnTo>
                    <a:lnTo>
                      <a:pt x="4520" y="1812"/>
                    </a:lnTo>
                    <a:lnTo>
                      <a:pt x="4514" y="1820"/>
                    </a:lnTo>
                    <a:lnTo>
                      <a:pt x="4508" y="1828"/>
                    </a:lnTo>
                    <a:lnTo>
                      <a:pt x="4502" y="1840"/>
                    </a:lnTo>
                    <a:lnTo>
                      <a:pt x="4498" y="1854"/>
                    </a:lnTo>
                    <a:lnTo>
                      <a:pt x="4496" y="1868"/>
                    </a:lnTo>
                    <a:lnTo>
                      <a:pt x="4494" y="1886"/>
                    </a:lnTo>
                    <a:lnTo>
                      <a:pt x="4494" y="1922"/>
                    </a:lnTo>
                    <a:lnTo>
                      <a:pt x="4496" y="1962"/>
                    </a:lnTo>
                    <a:lnTo>
                      <a:pt x="4502" y="2006"/>
                    </a:lnTo>
                    <a:lnTo>
                      <a:pt x="4508" y="2050"/>
                    </a:lnTo>
                    <a:lnTo>
                      <a:pt x="4518" y="2092"/>
                    </a:lnTo>
                    <a:lnTo>
                      <a:pt x="4518" y="2092"/>
                    </a:lnTo>
                    <a:lnTo>
                      <a:pt x="4520" y="2110"/>
                    </a:lnTo>
                    <a:lnTo>
                      <a:pt x="4522" y="2132"/>
                    </a:lnTo>
                    <a:lnTo>
                      <a:pt x="4526" y="2152"/>
                    </a:lnTo>
                    <a:lnTo>
                      <a:pt x="4530" y="2168"/>
                    </a:lnTo>
                    <a:lnTo>
                      <a:pt x="4532" y="2172"/>
                    </a:lnTo>
                    <a:lnTo>
                      <a:pt x="4536" y="2176"/>
                    </a:lnTo>
                    <a:lnTo>
                      <a:pt x="4542" y="2178"/>
                    </a:lnTo>
                    <a:lnTo>
                      <a:pt x="4548" y="2176"/>
                    </a:lnTo>
                    <a:lnTo>
                      <a:pt x="4556" y="2172"/>
                    </a:lnTo>
                    <a:lnTo>
                      <a:pt x="4564" y="2164"/>
                    </a:lnTo>
                    <a:lnTo>
                      <a:pt x="4574" y="2152"/>
                    </a:lnTo>
                    <a:lnTo>
                      <a:pt x="4588" y="2136"/>
                    </a:lnTo>
                    <a:lnTo>
                      <a:pt x="4588" y="2136"/>
                    </a:lnTo>
                    <a:lnTo>
                      <a:pt x="4594" y="2124"/>
                    </a:lnTo>
                    <a:lnTo>
                      <a:pt x="4600" y="2114"/>
                    </a:lnTo>
                    <a:lnTo>
                      <a:pt x="4608" y="2094"/>
                    </a:lnTo>
                    <a:lnTo>
                      <a:pt x="4610" y="2080"/>
                    </a:lnTo>
                    <a:lnTo>
                      <a:pt x="4612" y="2068"/>
                    </a:lnTo>
                    <a:lnTo>
                      <a:pt x="4612" y="2060"/>
                    </a:lnTo>
                    <a:lnTo>
                      <a:pt x="4614" y="2056"/>
                    </a:lnTo>
                    <a:lnTo>
                      <a:pt x="4618" y="2054"/>
                    </a:lnTo>
                    <a:lnTo>
                      <a:pt x="4626" y="2050"/>
                    </a:lnTo>
                    <a:lnTo>
                      <a:pt x="4644" y="2050"/>
                    </a:lnTo>
                    <a:lnTo>
                      <a:pt x="4644" y="2050"/>
                    </a:lnTo>
                    <a:lnTo>
                      <a:pt x="4654" y="2048"/>
                    </a:lnTo>
                    <a:lnTo>
                      <a:pt x="4660" y="2046"/>
                    </a:lnTo>
                    <a:lnTo>
                      <a:pt x="4664" y="2042"/>
                    </a:lnTo>
                    <a:lnTo>
                      <a:pt x="4668" y="2038"/>
                    </a:lnTo>
                    <a:lnTo>
                      <a:pt x="4670" y="2024"/>
                    </a:lnTo>
                    <a:lnTo>
                      <a:pt x="4670" y="2010"/>
                    </a:lnTo>
                    <a:lnTo>
                      <a:pt x="4670" y="1996"/>
                    </a:lnTo>
                    <a:lnTo>
                      <a:pt x="4672" y="1988"/>
                    </a:lnTo>
                    <a:lnTo>
                      <a:pt x="4676" y="1982"/>
                    </a:lnTo>
                    <a:lnTo>
                      <a:pt x="4680" y="1976"/>
                    </a:lnTo>
                    <a:lnTo>
                      <a:pt x="4686" y="1972"/>
                    </a:lnTo>
                    <a:lnTo>
                      <a:pt x="4694" y="1968"/>
                    </a:lnTo>
                    <a:lnTo>
                      <a:pt x="4704" y="1968"/>
                    </a:lnTo>
                    <a:lnTo>
                      <a:pt x="4704" y="1968"/>
                    </a:lnTo>
                    <a:lnTo>
                      <a:pt x="4730" y="1964"/>
                    </a:lnTo>
                    <a:lnTo>
                      <a:pt x="4740" y="1960"/>
                    </a:lnTo>
                    <a:lnTo>
                      <a:pt x="4744" y="1956"/>
                    </a:lnTo>
                    <a:lnTo>
                      <a:pt x="4748" y="1952"/>
                    </a:lnTo>
                    <a:lnTo>
                      <a:pt x="4750" y="1948"/>
                    </a:lnTo>
                    <a:lnTo>
                      <a:pt x="4750" y="1944"/>
                    </a:lnTo>
                    <a:lnTo>
                      <a:pt x="4748" y="1938"/>
                    </a:lnTo>
                    <a:lnTo>
                      <a:pt x="4744" y="1926"/>
                    </a:lnTo>
                    <a:lnTo>
                      <a:pt x="4740" y="1912"/>
                    </a:lnTo>
                    <a:lnTo>
                      <a:pt x="4738" y="1904"/>
                    </a:lnTo>
                    <a:lnTo>
                      <a:pt x="4738" y="1896"/>
                    </a:lnTo>
                    <a:lnTo>
                      <a:pt x="4740" y="1888"/>
                    </a:lnTo>
                    <a:lnTo>
                      <a:pt x="4744" y="1880"/>
                    </a:lnTo>
                    <a:lnTo>
                      <a:pt x="4744" y="1880"/>
                    </a:lnTo>
                    <a:lnTo>
                      <a:pt x="4748" y="1874"/>
                    </a:lnTo>
                    <a:lnTo>
                      <a:pt x="4752" y="1870"/>
                    </a:lnTo>
                    <a:lnTo>
                      <a:pt x="4756" y="1866"/>
                    </a:lnTo>
                    <a:lnTo>
                      <a:pt x="4760" y="1866"/>
                    </a:lnTo>
                    <a:lnTo>
                      <a:pt x="4770" y="1866"/>
                    </a:lnTo>
                    <a:lnTo>
                      <a:pt x="4778" y="1870"/>
                    </a:lnTo>
                    <a:lnTo>
                      <a:pt x="4784" y="1874"/>
                    </a:lnTo>
                    <a:lnTo>
                      <a:pt x="4792" y="1874"/>
                    </a:lnTo>
                    <a:lnTo>
                      <a:pt x="4794" y="1874"/>
                    </a:lnTo>
                    <a:lnTo>
                      <a:pt x="4796" y="1872"/>
                    </a:lnTo>
                    <a:lnTo>
                      <a:pt x="4800" y="1862"/>
                    </a:lnTo>
                    <a:lnTo>
                      <a:pt x="4800" y="1862"/>
                    </a:lnTo>
                    <a:lnTo>
                      <a:pt x="4800" y="1854"/>
                    </a:lnTo>
                    <a:lnTo>
                      <a:pt x="4800" y="1846"/>
                    </a:lnTo>
                    <a:lnTo>
                      <a:pt x="4798" y="1840"/>
                    </a:lnTo>
                    <a:lnTo>
                      <a:pt x="4796" y="1836"/>
                    </a:lnTo>
                    <a:lnTo>
                      <a:pt x="4788" y="1828"/>
                    </a:lnTo>
                    <a:lnTo>
                      <a:pt x="4782" y="1822"/>
                    </a:lnTo>
                    <a:lnTo>
                      <a:pt x="4774" y="1816"/>
                    </a:lnTo>
                    <a:lnTo>
                      <a:pt x="4772" y="1814"/>
                    </a:lnTo>
                    <a:lnTo>
                      <a:pt x="4772" y="1810"/>
                    </a:lnTo>
                    <a:lnTo>
                      <a:pt x="4772" y="1806"/>
                    </a:lnTo>
                    <a:lnTo>
                      <a:pt x="4774" y="1802"/>
                    </a:lnTo>
                    <a:lnTo>
                      <a:pt x="4782" y="1790"/>
                    </a:lnTo>
                    <a:lnTo>
                      <a:pt x="4782" y="1790"/>
                    </a:lnTo>
                    <a:lnTo>
                      <a:pt x="4790" y="1780"/>
                    </a:lnTo>
                    <a:lnTo>
                      <a:pt x="4794" y="1772"/>
                    </a:lnTo>
                    <a:lnTo>
                      <a:pt x="4794" y="1766"/>
                    </a:lnTo>
                    <a:lnTo>
                      <a:pt x="4792" y="1760"/>
                    </a:lnTo>
                    <a:lnTo>
                      <a:pt x="4788" y="1756"/>
                    </a:lnTo>
                    <a:lnTo>
                      <a:pt x="4782" y="1752"/>
                    </a:lnTo>
                    <a:lnTo>
                      <a:pt x="4768" y="1748"/>
                    </a:lnTo>
                    <a:lnTo>
                      <a:pt x="4756" y="1744"/>
                    </a:lnTo>
                    <a:lnTo>
                      <a:pt x="4750" y="1740"/>
                    </a:lnTo>
                    <a:lnTo>
                      <a:pt x="4746" y="1738"/>
                    </a:lnTo>
                    <a:lnTo>
                      <a:pt x="4746" y="1732"/>
                    </a:lnTo>
                    <a:lnTo>
                      <a:pt x="4748" y="1728"/>
                    </a:lnTo>
                    <a:lnTo>
                      <a:pt x="4752" y="1720"/>
                    </a:lnTo>
                    <a:lnTo>
                      <a:pt x="4762" y="1712"/>
                    </a:lnTo>
                    <a:lnTo>
                      <a:pt x="4762" y="1712"/>
                    </a:lnTo>
                    <a:lnTo>
                      <a:pt x="4782" y="1694"/>
                    </a:lnTo>
                    <a:lnTo>
                      <a:pt x="4794" y="1678"/>
                    </a:lnTo>
                    <a:lnTo>
                      <a:pt x="4800" y="1664"/>
                    </a:lnTo>
                    <a:lnTo>
                      <a:pt x="4804" y="1652"/>
                    </a:lnTo>
                    <a:lnTo>
                      <a:pt x="4806" y="1642"/>
                    </a:lnTo>
                    <a:lnTo>
                      <a:pt x="4810" y="1634"/>
                    </a:lnTo>
                    <a:lnTo>
                      <a:pt x="4816" y="1628"/>
                    </a:lnTo>
                    <a:lnTo>
                      <a:pt x="4828" y="1622"/>
                    </a:lnTo>
                    <a:lnTo>
                      <a:pt x="4828" y="1622"/>
                    </a:lnTo>
                    <a:lnTo>
                      <a:pt x="4840" y="1618"/>
                    </a:lnTo>
                    <a:lnTo>
                      <a:pt x="4848" y="1618"/>
                    </a:lnTo>
                    <a:lnTo>
                      <a:pt x="4852" y="1620"/>
                    </a:lnTo>
                    <a:lnTo>
                      <a:pt x="4854" y="1622"/>
                    </a:lnTo>
                    <a:lnTo>
                      <a:pt x="4856" y="1624"/>
                    </a:lnTo>
                    <a:lnTo>
                      <a:pt x="4862" y="1622"/>
                    </a:lnTo>
                    <a:lnTo>
                      <a:pt x="4872" y="1616"/>
                    </a:lnTo>
                    <a:lnTo>
                      <a:pt x="4888" y="1606"/>
                    </a:lnTo>
                    <a:lnTo>
                      <a:pt x="4888" y="1606"/>
                    </a:lnTo>
                    <a:lnTo>
                      <a:pt x="4900" y="1598"/>
                    </a:lnTo>
                    <a:lnTo>
                      <a:pt x="4908" y="1592"/>
                    </a:lnTo>
                    <a:lnTo>
                      <a:pt x="4914" y="1592"/>
                    </a:lnTo>
                    <a:lnTo>
                      <a:pt x="4916" y="1592"/>
                    </a:lnTo>
                    <a:lnTo>
                      <a:pt x="4918" y="1596"/>
                    </a:lnTo>
                    <a:lnTo>
                      <a:pt x="4918" y="1600"/>
                    </a:lnTo>
                    <a:lnTo>
                      <a:pt x="4914" y="1612"/>
                    </a:lnTo>
                    <a:lnTo>
                      <a:pt x="4910" y="1624"/>
                    </a:lnTo>
                    <a:lnTo>
                      <a:pt x="4910" y="1628"/>
                    </a:lnTo>
                    <a:lnTo>
                      <a:pt x="4910" y="1632"/>
                    </a:lnTo>
                    <a:lnTo>
                      <a:pt x="4912" y="1632"/>
                    </a:lnTo>
                    <a:lnTo>
                      <a:pt x="4916" y="1632"/>
                    </a:lnTo>
                    <a:lnTo>
                      <a:pt x="4934" y="1618"/>
                    </a:lnTo>
                    <a:lnTo>
                      <a:pt x="4934" y="1618"/>
                    </a:lnTo>
                    <a:lnTo>
                      <a:pt x="4958" y="1600"/>
                    </a:lnTo>
                    <a:lnTo>
                      <a:pt x="4980" y="1588"/>
                    </a:lnTo>
                    <a:lnTo>
                      <a:pt x="4990" y="1586"/>
                    </a:lnTo>
                    <a:lnTo>
                      <a:pt x="5000" y="1584"/>
                    </a:lnTo>
                    <a:lnTo>
                      <a:pt x="5016" y="1584"/>
                    </a:lnTo>
                    <a:lnTo>
                      <a:pt x="5032" y="1588"/>
                    </a:lnTo>
                    <a:lnTo>
                      <a:pt x="5048" y="1596"/>
                    </a:lnTo>
                    <a:lnTo>
                      <a:pt x="5060" y="1606"/>
                    </a:lnTo>
                    <a:lnTo>
                      <a:pt x="5072" y="1618"/>
                    </a:lnTo>
                    <a:lnTo>
                      <a:pt x="5072" y="1618"/>
                    </a:lnTo>
                    <a:lnTo>
                      <a:pt x="5080" y="1628"/>
                    </a:lnTo>
                    <a:lnTo>
                      <a:pt x="5082" y="1630"/>
                    </a:lnTo>
                    <a:lnTo>
                      <a:pt x="5084" y="1628"/>
                    </a:lnTo>
                    <a:lnTo>
                      <a:pt x="5086" y="1620"/>
                    </a:lnTo>
                    <a:lnTo>
                      <a:pt x="5094" y="1608"/>
                    </a:lnTo>
                    <a:lnTo>
                      <a:pt x="5108" y="1592"/>
                    </a:lnTo>
                    <a:lnTo>
                      <a:pt x="5118" y="1584"/>
                    </a:lnTo>
                    <a:lnTo>
                      <a:pt x="5132" y="1574"/>
                    </a:lnTo>
                    <a:lnTo>
                      <a:pt x="5148" y="1564"/>
                    </a:lnTo>
                    <a:lnTo>
                      <a:pt x="5168" y="1552"/>
                    </a:lnTo>
                    <a:lnTo>
                      <a:pt x="5168" y="1552"/>
                    </a:lnTo>
                    <a:lnTo>
                      <a:pt x="5186" y="1542"/>
                    </a:lnTo>
                    <a:lnTo>
                      <a:pt x="5202" y="1532"/>
                    </a:lnTo>
                    <a:lnTo>
                      <a:pt x="5236" y="1508"/>
                    </a:lnTo>
                    <a:lnTo>
                      <a:pt x="5252" y="1496"/>
                    </a:lnTo>
                    <a:lnTo>
                      <a:pt x="5272" y="1484"/>
                    </a:lnTo>
                    <a:lnTo>
                      <a:pt x="5290" y="1474"/>
                    </a:lnTo>
                    <a:lnTo>
                      <a:pt x="5312" y="1466"/>
                    </a:lnTo>
                    <a:lnTo>
                      <a:pt x="5312" y="1466"/>
                    </a:lnTo>
                    <a:lnTo>
                      <a:pt x="5330" y="1460"/>
                    </a:lnTo>
                    <a:lnTo>
                      <a:pt x="5348" y="1456"/>
                    </a:lnTo>
                    <a:lnTo>
                      <a:pt x="5362" y="1454"/>
                    </a:lnTo>
                    <a:lnTo>
                      <a:pt x="5374" y="1454"/>
                    </a:lnTo>
                    <a:lnTo>
                      <a:pt x="5396" y="1456"/>
                    </a:lnTo>
                    <a:lnTo>
                      <a:pt x="5410" y="1460"/>
                    </a:lnTo>
                    <a:lnTo>
                      <a:pt x="5422" y="1464"/>
                    </a:lnTo>
                    <a:lnTo>
                      <a:pt x="5430" y="1466"/>
                    </a:lnTo>
                    <a:lnTo>
                      <a:pt x="5434" y="1466"/>
                    </a:lnTo>
                    <a:lnTo>
                      <a:pt x="5438" y="1464"/>
                    </a:lnTo>
                    <a:lnTo>
                      <a:pt x="5448" y="1458"/>
                    </a:lnTo>
                    <a:lnTo>
                      <a:pt x="5448" y="1458"/>
                    </a:lnTo>
                    <a:lnTo>
                      <a:pt x="5454" y="1448"/>
                    </a:lnTo>
                    <a:lnTo>
                      <a:pt x="5458" y="1440"/>
                    </a:lnTo>
                    <a:lnTo>
                      <a:pt x="5456" y="1432"/>
                    </a:lnTo>
                    <a:lnTo>
                      <a:pt x="5450" y="1422"/>
                    </a:lnTo>
                    <a:lnTo>
                      <a:pt x="5436" y="1400"/>
                    </a:lnTo>
                    <a:lnTo>
                      <a:pt x="5428" y="1386"/>
                    </a:lnTo>
                    <a:lnTo>
                      <a:pt x="5420" y="1368"/>
                    </a:lnTo>
                    <a:lnTo>
                      <a:pt x="5420" y="1368"/>
                    </a:lnTo>
                    <a:lnTo>
                      <a:pt x="5412" y="1348"/>
                    </a:lnTo>
                    <a:lnTo>
                      <a:pt x="5404" y="1338"/>
                    </a:lnTo>
                    <a:lnTo>
                      <a:pt x="5400" y="1336"/>
                    </a:lnTo>
                    <a:lnTo>
                      <a:pt x="5396" y="1336"/>
                    </a:lnTo>
                    <a:lnTo>
                      <a:pt x="5390" y="1336"/>
                    </a:lnTo>
                    <a:lnTo>
                      <a:pt x="5384" y="1338"/>
                    </a:lnTo>
                    <a:lnTo>
                      <a:pt x="5378" y="1338"/>
                    </a:lnTo>
                    <a:lnTo>
                      <a:pt x="5376" y="1336"/>
                    </a:lnTo>
                    <a:lnTo>
                      <a:pt x="5374" y="1334"/>
                    </a:lnTo>
                    <a:lnTo>
                      <a:pt x="5368" y="1322"/>
                    </a:lnTo>
                    <a:lnTo>
                      <a:pt x="5368" y="1322"/>
                    </a:lnTo>
                    <a:lnTo>
                      <a:pt x="5368" y="1316"/>
                    </a:lnTo>
                    <a:lnTo>
                      <a:pt x="5368" y="1312"/>
                    </a:lnTo>
                    <a:lnTo>
                      <a:pt x="5372" y="1310"/>
                    </a:lnTo>
                    <a:lnTo>
                      <a:pt x="5374" y="1308"/>
                    </a:lnTo>
                    <a:lnTo>
                      <a:pt x="5384" y="1308"/>
                    </a:lnTo>
                    <a:lnTo>
                      <a:pt x="5398" y="1310"/>
                    </a:lnTo>
                    <a:lnTo>
                      <a:pt x="5414" y="1312"/>
                    </a:lnTo>
                    <a:lnTo>
                      <a:pt x="5432" y="1310"/>
                    </a:lnTo>
                    <a:lnTo>
                      <a:pt x="5440" y="1308"/>
                    </a:lnTo>
                    <a:lnTo>
                      <a:pt x="5448" y="1304"/>
                    </a:lnTo>
                    <a:lnTo>
                      <a:pt x="5454" y="1298"/>
                    </a:lnTo>
                    <a:lnTo>
                      <a:pt x="5462" y="1292"/>
                    </a:lnTo>
                    <a:lnTo>
                      <a:pt x="5462" y="1292"/>
                    </a:lnTo>
                    <a:lnTo>
                      <a:pt x="5478" y="1272"/>
                    </a:lnTo>
                    <a:lnTo>
                      <a:pt x="5478" y="1258"/>
                    </a:lnTo>
                    <a:lnTo>
                      <a:pt x="5478" y="1258"/>
                    </a:lnTo>
                    <a:lnTo>
                      <a:pt x="5486" y="1248"/>
                    </a:lnTo>
                    <a:lnTo>
                      <a:pt x="5490" y="1244"/>
                    </a:lnTo>
                    <a:lnTo>
                      <a:pt x="5490" y="1240"/>
                    </a:lnTo>
                    <a:lnTo>
                      <a:pt x="5490" y="1236"/>
                    </a:lnTo>
                    <a:lnTo>
                      <a:pt x="5488" y="1232"/>
                    </a:lnTo>
                    <a:lnTo>
                      <a:pt x="5480" y="1220"/>
                    </a:lnTo>
                    <a:lnTo>
                      <a:pt x="5480" y="1220"/>
                    </a:lnTo>
                    <a:lnTo>
                      <a:pt x="5478" y="1216"/>
                    </a:lnTo>
                    <a:lnTo>
                      <a:pt x="5478" y="1204"/>
                    </a:lnTo>
                    <a:lnTo>
                      <a:pt x="5478" y="1204"/>
                    </a:lnTo>
                    <a:lnTo>
                      <a:pt x="5480" y="1200"/>
                    </a:lnTo>
                    <a:lnTo>
                      <a:pt x="5484" y="1200"/>
                    </a:lnTo>
                    <a:lnTo>
                      <a:pt x="5490" y="1200"/>
                    </a:lnTo>
                    <a:lnTo>
                      <a:pt x="5496" y="1202"/>
                    </a:lnTo>
                    <a:lnTo>
                      <a:pt x="5502" y="1206"/>
                    </a:lnTo>
                    <a:lnTo>
                      <a:pt x="5510" y="1212"/>
                    </a:lnTo>
                    <a:lnTo>
                      <a:pt x="5516" y="1220"/>
                    </a:lnTo>
                    <a:lnTo>
                      <a:pt x="5520" y="1230"/>
                    </a:lnTo>
                    <a:lnTo>
                      <a:pt x="5520" y="1230"/>
                    </a:lnTo>
                    <a:lnTo>
                      <a:pt x="5524" y="1238"/>
                    </a:lnTo>
                    <a:lnTo>
                      <a:pt x="5530" y="1242"/>
                    </a:lnTo>
                    <a:lnTo>
                      <a:pt x="5536" y="1244"/>
                    </a:lnTo>
                    <a:lnTo>
                      <a:pt x="5542" y="1246"/>
                    </a:lnTo>
                    <a:lnTo>
                      <a:pt x="5556" y="1244"/>
                    </a:lnTo>
                    <a:lnTo>
                      <a:pt x="5572" y="1242"/>
                    </a:lnTo>
                    <a:lnTo>
                      <a:pt x="5588" y="1238"/>
                    </a:lnTo>
                    <a:lnTo>
                      <a:pt x="5596" y="1238"/>
                    </a:lnTo>
                    <a:lnTo>
                      <a:pt x="5604" y="1238"/>
                    </a:lnTo>
                    <a:lnTo>
                      <a:pt x="5610" y="1242"/>
                    </a:lnTo>
                    <a:lnTo>
                      <a:pt x="5618" y="1246"/>
                    </a:lnTo>
                    <a:lnTo>
                      <a:pt x="5624" y="1252"/>
                    </a:lnTo>
                    <a:lnTo>
                      <a:pt x="5628" y="1262"/>
                    </a:lnTo>
                    <a:lnTo>
                      <a:pt x="5628" y="1262"/>
                    </a:lnTo>
                    <a:lnTo>
                      <a:pt x="5638" y="1278"/>
                    </a:lnTo>
                    <a:lnTo>
                      <a:pt x="5648" y="1290"/>
                    </a:lnTo>
                    <a:lnTo>
                      <a:pt x="5656" y="1294"/>
                    </a:lnTo>
                    <a:lnTo>
                      <a:pt x="5664" y="1296"/>
                    </a:lnTo>
                    <a:lnTo>
                      <a:pt x="5674" y="1298"/>
                    </a:lnTo>
                    <a:lnTo>
                      <a:pt x="5682" y="1298"/>
                    </a:lnTo>
                    <a:lnTo>
                      <a:pt x="5690" y="1302"/>
                    </a:lnTo>
                    <a:lnTo>
                      <a:pt x="5696" y="1310"/>
                    </a:lnTo>
                    <a:lnTo>
                      <a:pt x="5696" y="1310"/>
                    </a:lnTo>
                    <a:lnTo>
                      <a:pt x="5700" y="1316"/>
                    </a:lnTo>
                    <a:lnTo>
                      <a:pt x="5706" y="1320"/>
                    </a:lnTo>
                    <a:lnTo>
                      <a:pt x="5710" y="1322"/>
                    </a:lnTo>
                    <a:lnTo>
                      <a:pt x="5716" y="1322"/>
                    </a:lnTo>
                    <a:lnTo>
                      <a:pt x="5726" y="1322"/>
                    </a:lnTo>
                    <a:lnTo>
                      <a:pt x="5738" y="1318"/>
                    </a:lnTo>
                    <a:lnTo>
                      <a:pt x="5748" y="1310"/>
                    </a:lnTo>
                    <a:lnTo>
                      <a:pt x="5756" y="1298"/>
                    </a:lnTo>
                    <a:lnTo>
                      <a:pt x="5764" y="1284"/>
                    </a:lnTo>
                    <a:lnTo>
                      <a:pt x="5766" y="1268"/>
                    </a:lnTo>
                    <a:lnTo>
                      <a:pt x="5766" y="1268"/>
                    </a:lnTo>
                    <a:lnTo>
                      <a:pt x="5768" y="1254"/>
                    </a:lnTo>
                    <a:lnTo>
                      <a:pt x="5770" y="1248"/>
                    </a:lnTo>
                    <a:lnTo>
                      <a:pt x="5774" y="1246"/>
                    </a:lnTo>
                    <a:lnTo>
                      <a:pt x="5782" y="1240"/>
                    </a:lnTo>
                    <a:lnTo>
                      <a:pt x="5792" y="1238"/>
                    </a:lnTo>
                    <a:lnTo>
                      <a:pt x="5802" y="1238"/>
                    </a:lnTo>
                    <a:lnTo>
                      <a:pt x="5816" y="1234"/>
                    </a:lnTo>
                    <a:lnTo>
                      <a:pt x="5830" y="1228"/>
                    </a:lnTo>
                    <a:lnTo>
                      <a:pt x="5836" y="1222"/>
                    </a:lnTo>
                    <a:lnTo>
                      <a:pt x="5844" y="1216"/>
                    </a:lnTo>
                    <a:lnTo>
                      <a:pt x="5844" y="1216"/>
                    </a:lnTo>
                    <a:lnTo>
                      <a:pt x="5854" y="1204"/>
                    </a:lnTo>
                    <a:lnTo>
                      <a:pt x="5856" y="1198"/>
                    </a:lnTo>
                    <a:lnTo>
                      <a:pt x="5856" y="1196"/>
                    </a:lnTo>
                    <a:lnTo>
                      <a:pt x="5854" y="1194"/>
                    </a:lnTo>
                    <a:lnTo>
                      <a:pt x="5846" y="1194"/>
                    </a:lnTo>
                    <a:lnTo>
                      <a:pt x="5836" y="1192"/>
                    </a:lnTo>
                    <a:lnTo>
                      <a:pt x="5824" y="1188"/>
                    </a:lnTo>
                    <a:lnTo>
                      <a:pt x="5816" y="1184"/>
                    </a:lnTo>
                    <a:lnTo>
                      <a:pt x="5810" y="1180"/>
                    </a:lnTo>
                    <a:lnTo>
                      <a:pt x="5804" y="1174"/>
                    </a:lnTo>
                    <a:lnTo>
                      <a:pt x="5798" y="1166"/>
                    </a:lnTo>
                    <a:lnTo>
                      <a:pt x="5798" y="116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grpSp>
        <p:sp>
          <p:nvSpPr>
            <p:cNvPr id="52" name="Freeform 16"/>
            <p:cNvSpPr>
              <a:spLocks/>
            </p:cNvSpPr>
            <p:nvPr/>
          </p:nvSpPr>
          <p:spPr bwMode="auto">
            <a:xfrm>
              <a:off x="2253323" y="2479274"/>
              <a:ext cx="1970740" cy="3370286"/>
            </a:xfrm>
            <a:custGeom>
              <a:avLst/>
              <a:gdLst/>
              <a:ahLst/>
              <a:cxnLst>
                <a:cxn ang="0">
                  <a:pos x="5457" y="16108"/>
                </a:cxn>
                <a:cxn ang="0">
                  <a:pos x="5123" y="16028"/>
                </a:cxn>
                <a:cxn ang="0">
                  <a:pos x="4795" y="15934"/>
                </a:cxn>
                <a:cxn ang="0">
                  <a:pos x="4474" y="15829"/>
                </a:cxn>
                <a:cxn ang="0">
                  <a:pos x="4161" y="15715"/>
                </a:cxn>
                <a:cxn ang="0">
                  <a:pos x="3853" y="15595"/>
                </a:cxn>
                <a:cxn ang="0">
                  <a:pos x="3553" y="15471"/>
                </a:cxn>
                <a:cxn ang="0">
                  <a:pos x="2968" y="15220"/>
                </a:cxn>
                <a:cxn ang="0">
                  <a:pos x="2405" y="14982"/>
                </a:cxn>
                <a:cxn ang="0">
                  <a:pos x="2341" y="14581"/>
                </a:cxn>
                <a:cxn ang="0">
                  <a:pos x="2273" y="14148"/>
                </a:cxn>
                <a:cxn ang="0">
                  <a:pos x="2202" y="13687"/>
                </a:cxn>
                <a:cxn ang="0">
                  <a:pos x="2130" y="13206"/>
                </a:cxn>
                <a:cxn ang="0">
                  <a:pos x="2057" y="12714"/>
                </a:cxn>
                <a:cxn ang="0">
                  <a:pos x="1975" y="12181"/>
                </a:cxn>
                <a:cxn ang="0">
                  <a:pos x="1857" y="11570"/>
                </a:cxn>
                <a:cxn ang="0">
                  <a:pos x="1711" y="10900"/>
                </a:cxn>
                <a:cxn ang="0">
                  <a:pos x="1539" y="10187"/>
                </a:cxn>
                <a:cxn ang="0">
                  <a:pos x="1349" y="9445"/>
                </a:cxn>
                <a:cxn ang="0">
                  <a:pos x="1147" y="8689"/>
                </a:cxn>
                <a:cxn ang="0">
                  <a:pos x="939" y="7933"/>
                </a:cxn>
                <a:cxn ang="0">
                  <a:pos x="528" y="6479"/>
                </a:cxn>
                <a:cxn ang="0">
                  <a:pos x="163" y="5200"/>
                </a:cxn>
                <a:cxn ang="0">
                  <a:pos x="99" y="4916"/>
                </a:cxn>
                <a:cxn ang="0">
                  <a:pos x="51" y="4589"/>
                </a:cxn>
                <a:cxn ang="0">
                  <a:pos x="20" y="4226"/>
                </a:cxn>
                <a:cxn ang="0">
                  <a:pos x="4" y="3831"/>
                </a:cxn>
                <a:cxn ang="0">
                  <a:pos x="2" y="3409"/>
                </a:cxn>
                <a:cxn ang="0">
                  <a:pos x="12" y="2964"/>
                </a:cxn>
                <a:cxn ang="0">
                  <a:pos x="32" y="2503"/>
                </a:cxn>
                <a:cxn ang="0">
                  <a:pos x="63" y="2029"/>
                </a:cxn>
                <a:cxn ang="0">
                  <a:pos x="101" y="1550"/>
                </a:cxn>
                <a:cxn ang="0">
                  <a:pos x="146" y="1067"/>
                </a:cxn>
                <a:cxn ang="0">
                  <a:pos x="204" y="648"/>
                </a:cxn>
                <a:cxn ang="0">
                  <a:pos x="276" y="362"/>
                </a:cxn>
                <a:cxn ang="0">
                  <a:pos x="347" y="89"/>
                </a:cxn>
                <a:cxn ang="0">
                  <a:pos x="343" y="433"/>
                </a:cxn>
                <a:cxn ang="0">
                  <a:pos x="319" y="980"/>
                </a:cxn>
                <a:cxn ang="0">
                  <a:pos x="311" y="1306"/>
                </a:cxn>
                <a:cxn ang="0">
                  <a:pos x="308" y="1628"/>
                </a:cxn>
                <a:cxn ang="0">
                  <a:pos x="312" y="1945"/>
                </a:cxn>
                <a:cxn ang="0">
                  <a:pos x="322" y="2253"/>
                </a:cxn>
                <a:cxn ang="0">
                  <a:pos x="340" y="2552"/>
                </a:cxn>
                <a:cxn ang="0">
                  <a:pos x="367" y="2839"/>
                </a:cxn>
                <a:cxn ang="0">
                  <a:pos x="402" y="3112"/>
                </a:cxn>
                <a:cxn ang="0">
                  <a:pos x="472" y="3506"/>
                </a:cxn>
                <a:cxn ang="0">
                  <a:pos x="653" y="4297"/>
                </a:cxn>
                <a:cxn ang="0">
                  <a:pos x="902" y="5247"/>
                </a:cxn>
                <a:cxn ang="0">
                  <a:pos x="1207" y="6314"/>
                </a:cxn>
                <a:cxn ang="0">
                  <a:pos x="1556" y="7453"/>
                </a:cxn>
                <a:cxn ang="0">
                  <a:pos x="1933" y="8619"/>
                </a:cxn>
                <a:cxn ang="0">
                  <a:pos x="2328" y="9768"/>
                </a:cxn>
                <a:cxn ang="0">
                  <a:pos x="2726" y="10857"/>
                </a:cxn>
                <a:cxn ang="0">
                  <a:pos x="3113" y="11842"/>
                </a:cxn>
                <a:cxn ang="0">
                  <a:pos x="3477" y="12677"/>
                </a:cxn>
                <a:cxn ang="0">
                  <a:pos x="3806" y="13320"/>
                </a:cxn>
                <a:cxn ang="0">
                  <a:pos x="4161" y="13883"/>
                </a:cxn>
                <a:cxn ang="0">
                  <a:pos x="4542" y="14464"/>
                </a:cxn>
                <a:cxn ang="0">
                  <a:pos x="4904" y="15008"/>
                </a:cxn>
                <a:cxn ang="0">
                  <a:pos x="5236" y="15499"/>
                </a:cxn>
                <a:cxn ang="0">
                  <a:pos x="5524" y="15920"/>
                </a:cxn>
              </a:cxnLst>
              <a:rect l="0" t="0" r="r" b="b"/>
              <a:pathLst>
                <a:path w="5685" h="16153">
                  <a:moveTo>
                    <a:pt x="5685" y="16153"/>
                  </a:moveTo>
                  <a:lnTo>
                    <a:pt x="5571" y="16132"/>
                  </a:lnTo>
                  <a:lnTo>
                    <a:pt x="5457" y="16108"/>
                  </a:lnTo>
                  <a:lnTo>
                    <a:pt x="5346" y="16083"/>
                  </a:lnTo>
                  <a:lnTo>
                    <a:pt x="5234" y="16057"/>
                  </a:lnTo>
                  <a:lnTo>
                    <a:pt x="5123" y="16028"/>
                  </a:lnTo>
                  <a:lnTo>
                    <a:pt x="5013" y="15999"/>
                  </a:lnTo>
                  <a:lnTo>
                    <a:pt x="4903" y="15967"/>
                  </a:lnTo>
                  <a:lnTo>
                    <a:pt x="4795" y="15934"/>
                  </a:lnTo>
                  <a:lnTo>
                    <a:pt x="4688" y="15901"/>
                  </a:lnTo>
                  <a:lnTo>
                    <a:pt x="4580" y="15866"/>
                  </a:lnTo>
                  <a:lnTo>
                    <a:pt x="4474" y="15829"/>
                  </a:lnTo>
                  <a:lnTo>
                    <a:pt x="4369" y="15792"/>
                  </a:lnTo>
                  <a:lnTo>
                    <a:pt x="4265" y="15755"/>
                  </a:lnTo>
                  <a:lnTo>
                    <a:pt x="4161" y="15715"/>
                  </a:lnTo>
                  <a:lnTo>
                    <a:pt x="4058" y="15676"/>
                  </a:lnTo>
                  <a:lnTo>
                    <a:pt x="3955" y="15636"/>
                  </a:lnTo>
                  <a:lnTo>
                    <a:pt x="3853" y="15595"/>
                  </a:lnTo>
                  <a:lnTo>
                    <a:pt x="3753" y="15554"/>
                  </a:lnTo>
                  <a:lnTo>
                    <a:pt x="3652" y="15512"/>
                  </a:lnTo>
                  <a:lnTo>
                    <a:pt x="3553" y="15471"/>
                  </a:lnTo>
                  <a:lnTo>
                    <a:pt x="3355" y="15387"/>
                  </a:lnTo>
                  <a:lnTo>
                    <a:pt x="3160" y="15302"/>
                  </a:lnTo>
                  <a:lnTo>
                    <a:pt x="2968" y="15220"/>
                  </a:lnTo>
                  <a:lnTo>
                    <a:pt x="2777" y="15138"/>
                  </a:lnTo>
                  <a:lnTo>
                    <a:pt x="2590" y="15059"/>
                  </a:lnTo>
                  <a:lnTo>
                    <a:pt x="2405" y="14982"/>
                  </a:lnTo>
                  <a:lnTo>
                    <a:pt x="2384" y="14852"/>
                  </a:lnTo>
                  <a:lnTo>
                    <a:pt x="2363" y="14719"/>
                  </a:lnTo>
                  <a:lnTo>
                    <a:pt x="2341" y="14581"/>
                  </a:lnTo>
                  <a:lnTo>
                    <a:pt x="2319" y="14440"/>
                  </a:lnTo>
                  <a:lnTo>
                    <a:pt x="2295" y="14295"/>
                  </a:lnTo>
                  <a:lnTo>
                    <a:pt x="2273" y="14148"/>
                  </a:lnTo>
                  <a:lnTo>
                    <a:pt x="2249" y="13996"/>
                  </a:lnTo>
                  <a:lnTo>
                    <a:pt x="2225" y="13843"/>
                  </a:lnTo>
                  <a:lnTo>
                    <a:pt x="2202" y="13687"/>
                  </a:lnTo>
                  <a:lnTo>
                    <a:pt x="2178" y="13529"/>
                  </a:lnTo>
                  <a:lnTo>
                    <a:pt x="2154" y="13369"/>
                  </a:lnTo>
                  <a:lnTo>
                    <a:pt x="2130" y="13206"/>
                  </a:lnTo>
                  <a:lnTo>
                    <a:pt x="2106" y="13044"/>
                  </a:lnTo>
                  <a:lnTo>
                    <a:pt x="2081" y="12880"/>
                  </a:lnTo>
                  <a:lnTo>
                    <a:pt x="2057" y="12714"/>
                  </a:lnTo>
                  <a:lnTo>
                    <a:pt x="2034" y="12549"/>
                  </a:lnTo>
                  <a:lnTo>
                    <a:pt x="2006" y="12370"/>
                  </a:lnTo>
                  <a:lnTo>
                    <a:pt x="1975" y="12181"/>
                  </a:lnTo>
                  <a:lnTo>
                    <a:pt x="1940" y="11985"/>
                  </a:lnTo>
                  <a:lnTo>
                    <a:pt x="1900" y="11781"/>
                  </a:lnTo>
                  <a:lnTo>
                    <a:pt x="1857" y="11570"/>
                  </a:lnTo>
                  <a:lnTo>
                    <a:pt x="1811" y="11352"/>
                  </a:lnTo>
                  <a:lnTo>
                    <a:pt x="1763" y="11128"/>
                  </a:lnTo>
                  <a:lnTo>
                    <a:pt x="1711" y="10900"/>
                  </a:lnTo>
                  <a:lnTo>
                    <a:pt x="1655" y="10667"/>
                  </a:lnTo>
                  <a:lnTo>
                    <a:pt x="1598" y="10428"/>
                  </a:lnTo>
                  <a:lnTo>
                    <a:pt x="1539" y="10187"/>
                  </a:lnTo>
                  <a:lnTo>
                    <a:pt x="1477" y="9942"/>
                  </a:lnTo>
                  <a:lnTo>
                    <a:pt x="1414" y="9695"/>
                  </a:lnTo>
                  <a:lnTo>
                    <a:pt x="1349" y="9445"/>
                  </a:lnTo>
                  <a:lnTo>
                    <a:pt x="1283" y="9194"/>
                  </a:lnTo>
                  <a:lnTo>
                    <a:pt x="1215" y="8942"/>
                  </a:lnTo>
                  <a:lnTo>
                    <a:pt x="1147" y="8689"/>
                  </a:lnTo>
                  <a:lnTo>
                    <a:pt x="1079" y="8436"/>
                  </a:lnTo>
                  <a:lnTo>
                    <a:pt x="1009" y="8183"/>
                  </a:lnTo>
                  <a:lnTo>
                    <a:pt x="939" y="7933"/>
                  </a:lnTo>
                  <a:lnTo>
                    <a:pt x="800" y="7436"/>
                  </a:lnTo>
                  <a:lnTo>
                    <a:pt x="662" y="6950"/>
                  </a:lnTo>
                  <a:lnTo>
                    <a:pt x="528" y="6479"/>
                  </a:lnTo>
                  <a:lnTo>
                    <a:pt x="399" y="6027"/>
                  </a:lnTo>
                  <a:lnTo>
                    <a:pt x="277" y="5600"/>
                  </a:lnTo>
                  <a:lnTo>
                    <a:pt x="163" y="5200"/>
                  </a:lnTo>
                  <a:lnTo>
                    <a:pt x="139" y="5110"/>
                  </a:lnTo>
                  <a:lnTo>
                    <a:pt x="118" y="5015"/>
                  </a:lnTo>
                  <a:lnTo>
                    <a:pt x="99" y="4916"/>
                  </a:lnTo>
                  <a:lnTo>
                    <a:pt x="81" y="4811"/>
                  </a:lnTo>
                  <a:lnTo>
                    <a:pt x="65" y="4702"/>
                  </a:lnTo>
                  <a:lnTo>
                    <a:pt x="51" y="4589"/>
                  </a:lnTo>
                  <a:lnTo>
                    <a:pt x="39" y="4472"/>
                  </a:lnTo>
                  <a:lnTo>
                    <a:pt x="29" y="4350"/>
                  </a:lnTo>
                  <a:lnTo>
                    <a:pt x="20" y="4226"/>
                  </a:lnTo>
                  <a:lnTo>
                    <a:pt x="13" y="4097"/>
                  </a:lnTo>
                  <a:lnTo>
                    <a:pt x="7" y="3965"/>
                  </a:lnTo>
                  <a:lnTo>
                    <a:pt x="4" y="3831"/>
                  </a:lnTo>
                  <a:lnTo>
                    <a:pt x="2" y="3692"/>
                  </a:lnTo>
                  <a:lnTo>
                    <a:pt x="0" y="3552"/>
                  </a:lnTo>
                  <a:lnTo>
                    <a:pt x="2" y="3409"/>
                  </a:lnTo>
                  <a:lnTo>
                    <a:pt x="4" y="3262"/>
                  </a:lnTo>
                  <a:lnTo>
                    <a:pt x="7" y="3114"/>
                  </a:lnTo>
                  <a:lnTo>
                    <a:pt x="12" y="2964"/>
                  </a:lnTo>
                  <a:lnTo>
                    <a:pt x="17" y="2812"/>
                  </a:lnTo>
                  <a:lnTo>
                    <a:pt x="24" y="2658"/>
                  </a:lnTo>
                  <a:lnTo>
                    <a:pt x="32" y="2503"/>
                  </a:lnTo>
                  <a:lnTo>
                    <a:pt x="41" y="2347"/>
                  </a:lnTo>
                  <a:lnTo>
                    <a:pt x="51" y="2189"/>
                  </a:lnTo>
                  <a:lnTo>
                    <a:pt x="63" y="2029"/>
                  </a:lnTo>
                  <a:lnTo>
                    <a:pt x="74" y="1870"/>
                  </a:lnTo>
                  <a:lnTo>
                    <a:pt x="87" y="1710"/>
                  </a:lnTo>
                  <a:lnTo>
                    <a:pt x="101" y="1550"/>
                  </a:lnTo>
                  <a:lnTo>
                    <a:pt x="115" y="1388"/>
                  </a:lnTo>
                  <a:lnTo>
                    <a:pt x="130" y="1227"/>
                  </a:lnTo>
                  <a:lnTo>
                    <a:pt x="146" y="1067"/>
                  </a:lnTo>
                  <a:lnTo>
                    <a:pt x="162" y="906"/>
                  </a:lnTo>
                  <a:lnTo>
                    <a:pt x="179" y="746"/>
                  </a:lnTo>
                  <a:lnTo>
                    <a:pt x="204" y="648"/>
                  </a:lnTo>
                  <a:lnTo>
                    <a:pt x="227" y="552"/>
                  </a:lnTo>
                  <a:lnTo>
                    <a:pt x="252" y="456"/>
                  </a:lnTo>
                  <a:lnTo>
                    <a:pt x="276" y="362"/>
                  </a:lnTo>
                  <a:lnTo>
                    <a:pt x="300" y="270"/>
                  </a:lnTo>
                  <a:lnTo>
                    <a:pt x="323" y="178"/>
                  </a:lnTo>
                  <a:lnTo>
                    <a:pt x="347" y="89"/>
                  </a:lnTo>
                  <a:lnTo>
                    <a:pt x="371" y="0"/>
                  </a:lnTo>
                  <a:lnTo>
                    <a:pt x="356" y="217"/>
                  </a:lnTo>
                  <a:lnTo>
                    <a:pt x="343" y="433"/>
                  </a:lnTo>
                  <a:lnTo>
                    <a:pt x="331" y="652"/>
                  </a:lnTo>
                  <a:lnTo>
                    <a:pt x="322" y="870"/>
                  </a:lnTo>
                  <a:lnTo>
                    <a:pt x="319" y="980"/>
                  </a:lnTo>
                  <a:lnTo>
                    <a:pt x="315" y="1088"/>
                  </a:lnTo>
                  <a:lnTo>
                    <a:pt x="312" y="1197"/>
                  </a:lnTo>
                  <a:lnTo>
                    <a:pt x="311" y="1306"/>
                  </a:lnTo>
                  <a:lnTo>
                    <a:pt x="309" y="1413"/>
                  </a:lnTo>
                  <a:lnTo>
                    <a:pt x="309" y="1520"/>
                  </a:lnTo>
                  <a:lnTo>
                    <a:pt x="308" y="1628"/>
                  </a:lnTo>
                  <a:lnTo>
                    <a:pt x="309" y="1734"/>
                  </a:lnTo>
                  <a:lnTo>
                    <a:pt x="310" y="1840"/>
                  </a:lnTo>
                  <a:lnTo>
                    <a:pt x="312" y="1945"/>
                  </a:lnTo>
                  <a:lnTo>
                    <a:pt x="314" y="2049"/>
                  </a:lnTo>
                  <a:lnTo>
                    <a:pt x="318" y="2151"/>
                  </a:lnTo>
                  <a:lnTo>
                    <a:pt x="322" y="2253"/>
                  </a:lnTo>
                  <a:lnTo>
                    <a:pt x="328" y="2353"/>
                  </a:lnTo>
                  <a:lnTo>
                    <a:pt x="334" y="2454"/>
                  </a:lnTo>
                  <a:lnTo>
                    <a:pt x="340" y="2552"/>
                  </a:lnTo>
                  <a:lnTo>
                    <a:pt x="348" y="2649"/>
                  </a:lnTo>
                  <a:lnTo>
                    <a:pt x="357" y="2745"/>
                  </a:lnTo>
                  <a:lnTo>
                    <a:pt x="367" y="2839"/>
                  </a:lnTo>
                  <a:lnTo>
                    <a:pt x="378" y="2931"/>
                  </a:lnTo>
                  <a:lnTo>
                    <a:pt x="389" y="3023"/>
                  </a:lnTo>
                  <a:lnTo>
                    <a:pt x="402" y="3112"/>
                  </a:lnTo>
                  <a:lnTo>
                    <a:pt x="416" y="3200"/>
                  </a:lnTo>
                  <a:lnTo>
                    <a:pt x="431" y="3285"/>
                  </a:lnTo>
                  <a:lnTo>
                    <a:pt x="472" y="3506"/>
                  </a:lnTo>
                  <a:lnTo>
                    <a:pt x="524" y="3748"/>
                  </a:lnTo>
                  <a:lnTo>
                    <a:pt x="584" y="4014"/>
                  </a:lnTo>
                  <a:lnTo>
                    <a:pt x="653" y="4297"/>
                  </a:lnTo>
                  <a:lnTo>
                    <a:pt x="729" y="4598"/>
                  </a:lnTo>
                  <a:lnTo>
                    <a:pt x="812" y="4916"/>
                  </a:lnTo>
                  <a:lnTo>
                    <a:pt x="902" y="5247"/>
                  </a:lnTo>
                  <a:lnTo>
                    <a:pt x="998" y="5593"/>
                  </a:lnTo>
                  <a:lnTo>
                    <a:pt x="1100" y="5948"/>
                  </a:lnTo>
                  <a:lnTo>
                    <a:pt x="1207" y="6314"/>
                  </a:lnTo>
                  <a:lnTo>
                    <a:pt x="1319" y="6688"/>
                  </a:lnTo>
                  <a:lnTo>
                    <a:pt x="1435" y="7068"/>
                  </a:lnTo>
                  <a:lnTo>
                    <a:pt x="1556" y="7453"/>
                  </a:lnTo>
                  <a:lnTo>
                    <a:pt x="1679" y="7840"/>
                  </a:lnTo>
                  <a:lnTo>
                    <a:pt x="1806" y="8230"/>
                  </a:lnTo>
                  <a:lnTo>
                    <a:pt x="1933" y="8619"/>
                  </a:lnTo>
                  <a:lnTo>
                    <a:pt x="2064" y="9006"/>
                  </a:lnTo>
                  <a:lnTo>
                    <a:pt x="2195" y="9390"/>
                  </a:lnTo>
                  <a:lnTo>
                    <a:pt x="2328" y="9768"/>
                  </a:lnTo>
                  <a:lnTo>
                    <a:pt x="2460" y="10139"/>
                  </a:lnTo>
                  <a:lnTo>
                    <a:pt x="2593" y="10503"/>
                  </a:lnTo>
                  <a:lnTo>
                    <a:pt x="2726" y="10857"/>
                  </a:lnTo>
                  <a:lnTo>
                    <a:pt x="2857" y="11199"/>
                  </a:lnTo>
                  <a:lnTo>
                    <a:pt x="2986" y="11528"/>
                  </a:lnTo>
                  <a:lnTo>
                    <a:pt x="3113" y="11842"/>
                  </a:lnTo>
                  <a:lnTo>
                    <a:pt x="3238" y="12138"/>
                  </a:lnTo>
                  <a:lnTo>
                    <a:pt x="3360" y="12418"/>
                  </a:lnTo>
                  <a:lnTo>
                    <a:pt x="3477" y="12677"/>
                  </a:lnTo>
                  <a:lnTo>
                    <a:pt x="3591" y="12915"/>
                  </a:lnTo>
                  <a:lnTo>
                    <a:pt x="3701" y="13131"/>
                  </a:lnTo>
                  <a:lnTo>
                    <a:pt x="3806" y="13320"/>
                  </a:lnTo>
                  <a:lnTo>
                    <a:pt x="3904" y="13485"/>
                  </a:lnTo>
                  <a:lnTo>
                    <a:pt x="4033" y="13685"/>
                  </a:lnTo>
                  <a:lnTo>
                    <a:pt x="4161" y="13883"/>
                  </a:lnTo>
                  <a:lnTo>
                    <a:pt x="4289" y="14080"/>
                  </a:lnTo>
                  <a:lnTo>
                    <a:pt x="4417" y="14274"/>
                  </a:lnTo>
                  <a:lnTo>
                    <a:pt x="4542" y="14464"/>
                  </a:lnTo>
                  <a:lnTo>
                    <a:pt x="4665" y="14650"/>
                  </a:lnTo>
                  <a:lnTo>
                    <a:pt x="4787" y="14832"/>
                  </a:lnTo>
                  <a:lnTo>
                    <a:pt x="4904" y="15008"/>
                  </a:lnTo>
                  <a:lnTo>
                    <a:pt x="5019" y="15178"/>
                  </a:lnTo>
                  <a:lnTo>
                    <a:pt x="5130" y="15342"/>
                  </a:lnTo>
                  <a:lnTo>
                    <a:pt x="5236" y="15499"/>
                  </a:lnTo>
                  <a:lnTo>
                    <a:pt x="5338" y="15648"/>
                  </a:lnTo>
                  <a:lnTo>
                    <a:pt x="5434" y="15789"/>
                  </a:lnTo>
                  <a:lnTo>
                    <a:pt x="5524" y="15920"/>
                  </a:lnTo>
                  <a:lnTo>
                    <a:pt x="5608" y="16042"/>
                  </a:lnTo>
                  <a:lnTo>
                    <a:pt x="5685" y="16153"/>
                  </a:lnTo>
                  <a:close/>
                </a:path>
              </a:pathLst>
            </a:custGeom>
            <a:gradFill flip="none" rotWithShape="1">
              <a:gsLst>
                <a:gs pos="0">
                  <a:schemeClr val="bg1">
                    <a:lumMod val="100000"/>
                    <a:alpha val="0"/>
                  </a:schemeClr>
                </a:gs>
                <a:gs pos="100000">
                  <a:schemeClr val="bg1">
                    <a:alpha val="46000"/>
                    <a:lumMod val="86000"/>
                  </a:schemeClr>
                </a:gs>
              </a:gsLst>
              <a:lin ang="18900000" scaled="1"/>
              <a:tileRect/>
            </a:gradFill>
            <a:ln w="9525">
              <a:noFill/>
              <a:round/>
              <a:headEnd/>
              <a:tailEnd/>
            </a:ln>
            <a:effectLst>
              <a:outerShdw blurRad="50800" dist="38100" dir="5400000" algn="t" rotWithShape="0">
                <a:prstClr val="black">
                  <a:alpha val="20000"/>
                </a:prstClr>
              </a:outerShdw>
            </a:effectLst>
          </p:spPr>
          <p:txBody>
            <a:bodyPr/>
            <a:lstStyle/>
            <a:p>
              <a:pPr defTabSz="457200">
                <a:defRPr/>
              </a:pPr>
              <a:endParaRPr lang="id-ID">
                <a:solidFill>
                  <a:prstClr val="black"/>
                </a:solidFill>
                <a:latin typeface="+mn-lt"/>
                <a:ea typeface="MS PGothic" pitchFamily="34" charset="-128"/>
                <a:cs typeface="+mn-cs"/>
              </a:endParaRPr>
            </a:p>
          </p:txBody>
        </p:sp>
        <p:sp>
          <p:nvSpPr>
            <p:cNvPr id="53" name="Freeform 17"/>
            <p:cNvSpPr>
              <a:spLocks/>
            </p:cNvSpPr>
            <p:nvPr/>
          </p:nvSpPr>
          <p:spPr bwMode="auto">
            <a:xfrm>
              <a:off x="3596192" y="2687994"/>
              <a:ext cx="579467" cy="1565397"/>
            </a:xfrm>
            <a:custGeom>
              <a:avLst/>
              <a:gdLst/>
              <a:ahLst/>
              <a:cxnLst>
                <a:cxn ang="0">
                  <a:pos x="604" y="38"/>
                </a:cxn>
                <a:cxn ang="0">
                  <a:pos x="679" y="112"/>
                </a:cxn>
                <a:cxn ang="0">
                  <a:pos x="787" y="226"/>
                </a:cxn>
                <a:cxn ang="0">
                  <a:pos x="923" y="366"/>
                </a:cxn>
                <a:cxn ang="0">
                  <a:pos x="1051" y="493"/>
                </a:cxn>
                <a:cxn ang="0">
                  <a:pos x="1174" y="607"/>
                </a:cxn>
                <a:cxn ang="0">
                  <a:pos x="1292" y="709"/>
                </a:cxn>
                <a:cxn ang="0">
                  <a:pos x="1405" y="801"/>
                </a:cxn>
                <a:cxn ang="0">
                  <a:pos x="1513" y="882"/>
                </a:cxn>
                <a:cxn ang="0">
                  <a:pos x="1620" y="953"/>
                </a:cxn>
                <a:cxn ang="0">
                  <a:pos x="1643" y="1050"/>
                </a:cxn>
                <a:cxn ang="0">
                  <a:pos x="1585" y="1181"/>
                </a:cxn>
                <a:cxn ang="0">
                  <a:pos x="1528" y="1313"/>
                </a:cxn>
                <a:cxn ang="0">
                  <a:pos x="1472" y="1444"/>
                </a:cxn>
                <a:cxn ang="0">
                  <a:pos x="1418" y="1575"/>
                </a:cxn>
                <a:cxn ang="0">
                  <a:pos x="1367" y="1705"/>
                </a:cxn>
                <a:cxn ang="0">
                  <a:pos x="1319" y="1834"/>
                </a:cxn>
                <a:cxn ang="0">
                  <a:pos x="1273" y="1960"/>
                </a:cxn>
                <a:cxn ang="0">
                  <a:pos x="1209" y="2151"/>
                </a:cxn>
                <a:cxn ang="0">
                  <a:pos x="1135" y="2455"/>
                </a:cxn>
                <a:cxn ang="0">
                  <a:pos x="1067" y="2812"/>
                </a:cxn>
                <a:cxn ang="0">
                  <a:pos x="1006" y="3211"/>
                </a:cxn>
                <a:cxn ang="0">
                  <a:pos x="953" y="3641"/>
                </a:cxn>
                <a:cxn ang="0">
                  <a:pos x="907" y="4092"/>
                </a:cxn>
                <a:cxn ang="0">
                  <a:pos x="866" y="4555"/>
                </a:cxn>
                <a:cxn ang="0">
                  <a:pos x="831" y="5017"/>
                </a:cxn>
                <a:cxn ang="0">
                  <a:pos x="802" y="5469"/>
                </a:cxn>
                <a:cxn ang="0">
                  <a:pos x="778" y="5902"/>
                </a:cxn>
                <a:cxn ang="0">
                  <a:pos x="750" y="6490"/>
                </a:cxn>
                <a:cxn ang="0">
                  <a:pos x="727" y="7105"/>
                </a:cxn>
                <a:cxn ang="0">
                  <a:pos x="717" y="7452"/>
                </a:cxn>
                <a:cxn ang="0">
                  <a:pos x="706" y="7463"/>
                </a:cxn>
                <a:cxn ang="0">
                  <a:pos x="631" y="7183"/>
                </a:cxn>
                <a:cxn ang="0">
                  <a:pos x="541" y="6818"/>
                </a:cxn>
                <a:cxn ang="0">
                  <a:pos x="471" y="6514"/>
                </a:cxn>
                <a:cxn ang="0">
                  <a:pos x="397" y="6170"/>
                </a:cxn>
                <a:cxn ang="0">
                  <a:pos x="320" y="5791"/>
                </a:cxn>
                <a:cxn ang="0">
                  <a:pos x="244" y="5385"/>
                </a:cxn>
                <a:cxn ang="0">
                  <a:pos x="174" y="4956"/>
                </a:cxn>
                <a:cxn ang="0">
                  <a:pos x="112" y="4513"/>
                </a:cxn>
                <a:cxn ang="0">
                  <a:pos x="60" y="4063"/>
                </a:cxn>
                <a:cxn ang="0">
                  <a:pos x="23" y="3610"/>
                </a:cxn>
                <a:cxn ang="0">
                  <a:pos x="3" y="3163"/>
                </a:cxn>
                <a:cxn ang="0">
                  <a:pos x="3" y="2727"/>
                </a:cxn>
                <a:cxn ang="0">
                  <a:pos x="26" y="2311"/>
                </a:cxn>
                <a:cxn ang="0">
                  <a:pos x="58" y="2037"/>
                </a:cxn>
                <a:cxn ang="0">
                  <a:pos x="79" y="1890"/>
                </a:cxn>
                <a:cxn ang="0">
                  <a:pos x="103" y="1744"/>
                </a:cxn>
                <a:cxn ang="0">
                  <a:pos x="128" y="1601"/>
                </a:cxn>
                <a:cxn ang="0">
                  <a:pos x="170" y="1389"/>
                </a:cxn>
                <a:cxn ang="0">
                  <a:pos x="232" y="1114"/>
                </a:cxn>
                <a:cxn ang="0">
                  <a:pos x="300" y="848"/>
                </a:cxn>
                <a:cxn ang="0">
                  <a:pos x="373" y="593"/>
                </a:cxn>
                <a:cxn ang="0">
                  <a:pos x="449" y="347"/>
                </a:cxn>
                <a:cxn ang="0">
                  <a:pos x="528" y="113"/>
                </a:cxn>
              </a:cxnLst>
              <a:rect l="0" t="0" r="r" b="b"/>
              <a:pathLst>
                <a:path w="1673" h="7500">
                  <a:moveTo>
                    <a:pt x="567" y="0"/>
                  </a:moveTo>
                  <a:lnTo>
                    <a:pt x="604" y="38"/>
                  </a:lnTo>
                  <a:lnTo>
                    <a:pt x="642" y="74"/>
                  </a:lnTo>
                  <a:lnTo>
                    <a:pt x="679" y="112"/>
                  </a:lnTo>
                  <a:lnTo>
                    <a:pt x="716" y="152"/>
                  </a:lnTo>
                  <a:lnTo>
                    <a:pt x="787" y="226"/>
                  </a:lnTo>
                  <a:lnTo>
                    <a:pt x="856" y="298"/>
                  </a:lnTo>
                  <a:lnTo>
                    <a:pt x="923" y="366"/>
                  </a:lnTo>
                  <a:lnTo>
                    <a:pt x="988" y="432"/>
                  </a:lnTo>
                  <a:lnTo>
                    <a:pt x="1051" y="493"/>
                  </a:lnTo>
                  <a:lnTo>
                    <a:pt x="1113" y="551"/>
                  </a:lnTo>
                  <a:lnTo>
                    <a:pt x="1174" y="607"/>
                  </a:lnTo>
                  <a:lnTo>
                    <a:pt x="1233" y="660"/>
                  </a:lnTo>
                  <a:lnTo>
                    <a:pt x="1292" y="709"/>
                  </a:lnTo>
                  <a:lnTo>
                    <a:pt x="1348" y="757"/>
                  </a:lnTo>
                  <a:lnTo>
                    <a:pt x="1405" y="801"/>
                  </a:lnTo>
                  <a:lnTo>
                    <a:pt x="1459" y="842"/>
                  </a:lnTo>
                  <a:lnTo>
                    <a:pt x="1513" y="882"/>
                  </a:lnTo>
                  <a:lnTo>
                    <a:pt x="1567" y="918"/>
                  </a:lnTo>
                  <a:lnTo>
                    <a:pt x="1620" y="953"/>
                  </a:lnTo>
                  <a:lnTo>
                    <a:pt x="1673" y="985"/>
                  </a:lnTo>
                  <a:lnTo>
                    <a:pt x="1643" y="1050"/>
                  </a:lnTo>
                  <a:lnTo>
                    <a:pt x="1614" y="1116"/>
                  </a:lnTo>
                  <a:lnTo>
                    <a:pt x="1585" y="1181"/>
                  </a:lnTo>
                  <a:lnTo>
                    <a:pt x="1556" y="1248"/>
                  </a:lnTo>
                  <a:lnTo>
                    <a:pt x="1528" y="1313"/>
                  </a:lnTo>
                  <a:lnTo>
                    <a:pt x="1499" y="1379"/>
                  </a:lnTo>
                  <a:lnTo>
                    <a:pt x="1472" y="1444"/>
                  </a:lnTo>
                  <a:lnTo>
                    <a:pt x="1445" y="1510"/>
                  </a:lnTo>
                  <a:lnTo>
                    <a:pt x="1418" y="1575"/>
                  </a:lnTo>
                  <a:lnTo>
                    <a:pt x="1392" y="1640"/>
                  </a:lnTo>
                  <a:lnTo>
                    <a:pt x="1367" y="1705"/>
                  </a:lnTo>
                  <a:lnTo>
                    <a:pt x="1343" y="1769"/>
                  </a:lnTo>
                  <a:lnTo>
                    <a:pt x="1319" y="1834"/>
                  </a:lnTo>
                  <a:lnTo>
                    <a:pt x="1295" y="1897"/>
                  </a:lnTo>
                  <a:lnTo>
                    <a:pt x="1273" y="1960"/>
                  </a:lnTo>
                  <a:lnTo>
                    <a:pt x="1250" y="2022"/>
                  </a:lnTo>
                  <a:lnTo>
                    <a:pt x="1209" y="2151"/>
                  </a:lnTo>
                  <a:lnTo>
                    <a:pt x="1171" y="2296"/>
                  </a:lnTo>
                  <a:lnTo>
                    <a:pt x="1135" y="2455"/>
                  </a:lnTo>
                  <a:lnTo>
                    <a:pt x="1100" y="2628"/>
                  </a:lnTo>
                  <a:lnTo>
                    <a:pt x="1067" y="2812"/>
                  </a:lnTo>
                  <a:lnTo>
                    <a:pt x="1036" y="3007"/>
                  </a:lnTo>
                  <a:lnTo>
                    <a:pt x="1006" y="3211"/>
                  </a:lnTo>
                  <a:lnTo>
                    <a:pt x="979" y="3423"/>
                  </a:lnTo>
                  <a:lnTo>
                    <a:pt x="953" y="3641"/>
                  </a:lnTo>
                  <a:lnTo>
                    <a:pt x="929" y="3865"/>
                  </a:lnTo>
                  <a:lnTo>
                    <a:pt x="907" y="4092"/>
                  </a:lnTo>
                  <a:lnTo>
                    <a:pt x="885" y="4322"/>
                  </a:lnTo>
                  <a:lnTo>
                    <a:pt x="866" y="4555"/>
                  </a:lnTo>
                  <a:lnTo>
                    <a:pt x="848" y="4786"/>
                  </a:lnTo>
                  <a:lnTo>
                    <a:pt x="831" y="5017"/>
                  </a:lnTo>
                  <a:lnTo>
                    <a:pt x="817" y="5246"/>
                  </a:lnTo>
                  <a:lnTo>
                    <a:pt x="802" y="5469"/>
                  </a:lnTo>
                  <a:lnTo>
                    <a:pt x="789" y="5689"/>
                  </a:lnTo>
                  <a:lnTo>
                    <a:pt x="778" y="5902"/>
                  </a:lnTo>
                  <a:lnTo>
                    <a:pt x="768" y="6107"/>
                  </a:lnTo>
                  <a:lnTo>
                    <a:pt x="750" y="6490"/>
                  </a:lnTo>
                  <a:lnTo>
                    <a:pt x="736" y="6826"/>
                  </a:lnTo>
                  <a:lnTo>
                    <a:pt x="727" y="7105"/>
                  </a:lnTo>
                  <a:lnTo>
                    <a:pt x="721" y="7318"/>
                  </a:lnTo>
                  <a:lnTo>
                    <a:pt x="717" y="7452"/>
                  </a:lnTo>
                  <a:lnTo>
                    <a:pt x="716" y="7500"/>
                  </a:lnTo>
                  <a:lnTo>
                    <a:pt x="706" y="7463"/>
                  </a:lnTo>
                  <a:lnTo>
                    <a:pt x="677" y="7354"/>
                  </a:lnTo>
                  <a:lnTo>
                    <a:pt x="631" y="7183"/>
                  </a:lnTo>
                  <a:lnTo>
                    <a:pt x="574" y="6952"/>
                  </a:lnTo>
                  <a:lnTo>
                    <a:pt x="541" y="6818"/>
                  </a:lnTo>
                  <a:lnTo>
                    <a:pt x="507" y="6671"/>
                  </a:lnTo>
                  <a:lnTo>
                    <a:pt x="471" y="6514"/>
                  </a:lnTo>
                  <a:lnTo>
                    <a:pt x="434" y="6347"/>
                  </a:lnTo>
                  <a:lnTo>
                    <a:pt x="397" y="6170"/>
                  </a:lnTo>
                  <a:lnTo>
                    <a:pt x="358" y="5984"/>
                  </a:lnTo>
                  <a:lnTo>
                    <a:pt x="320" y="5791"/>
                  </a:lnTo>
                  <a:lnTo>
                    <a:pt x="281" y="5590"/>
                  </a:lnTo>
                  <a:lnTo>
                    <a:pt x="244" y="5385"/>
                  </a:lnTo>
                  <a:lnTo>
                    <a:pt x="209" y="5172"/>
                  </a:lnTo>
                  <a:lnTo>
                    <a:pt x="174" y="4956"/>
                  </a:lnTo>
                  <a:lnTo>
                    <a:pt x="141" y="4736"/>
                  </a:lnTo>
                  <a:lnTo>
                    <a:pt x="112" y="4513"/>
                  </a:lnTo>
                  <a:lnTo>
                    <a:pt x="84" y="4289"/>
                  </a:lnTo>
                  <a:lnTo>
                    <a:pt x="60" y="4063"/>
                  </a:lnTo>
                  <a:lnTo>
                    <a:pt x="40" y="3836"/>
                  </a:lnTo>
                  <a:lnTo>
                    <a:pt x="23" y="3610"/>
                  </a:lnTo>
                  <a:lnTo>
                    <a:pt x="11" y="3386"/>
                  </a:lnTo>
                  <a:lnTo>
                    <a:pt x="3" y="3163"/>
                  </a:lnTo>
                  <a:lnTo>
                    <a:pt x="0" y="2943"/>
                  </a:lnTo>
                  <a:lnTo>
                    <a:pt x="3" y="2727"/>
                  </a:lnTo>
                  <a:lnTo>
                    <a:pt x="12" y="2516"/>
                  </a:lnTo>
                  <a:lnTo>
                    <a:pt x="26" y="2311"/>
                  </a:lnTo>
                  <a:lnTo>
                    <a:pt x="48" y="2111"/>
                  </a:lnTo>
                  <a:lnTo>
                    <a:pt x="58" y="2037"/>
                  </a:lnTo>
                  <a:lnTo>
                    <a:pt x="68" y="1963"/>
                  </a:lnTo>
                  <a:lnTo>
                    <a:pt x="79" y="1890"/>
                  </a:lnTo>
                  <a:lnTo>
                    <a:pt x="91" y="1817"/>
                  </a:lnTo>
                  <a:lnTo>
                    <a:pt x="103" y="1744"/>
                  </a:lnTo>
                  <a:lnTo>
                    <a:pt x="116" y="1672"/>
                  </a:lnTo>
                  <a:lnTo>
                    <a:pt x="128" y="1601"/>
                  </a:lnTo>
                  <a:lnTo>
                    <a:pt x="141" y="1530"/>
                  </a:lnTo>
                  <a:lnTo>
                    <a:pt x="170" y="1389"/>
                  </a:lnTo>
                  <a:lnTo>
                    <a:pt x="200" y="1250"/>
                  </a:lnTo>
                  <a:lnTo>
                    <a:pt x="232" y="1114"/>
                  </a:lnTo>
                  <a:lnTo>
                    <a:pt x="266" y="980"/>
                  </a:lnTo>
                  <a:lnTo>
                    <a:pt x="300" y="848"/>
                  </a:lnTo>
                  <a:lnTo>
                    <a:pt x="336" y="719"/>
                  </a:lnTo>
                  <a:lnTo>
                    <a:pt x="373" y="593"/>
                  </a:lnTo>
                  <a:lnTo>
                    <a:pt x="410" y="469"/>
                  </a:lnTo>
                  <a:lnTo>
                    <a:pt x="449" y="347"/>
                  </a:lnTo>
                  <a:lnTo>
                    <a:pt x="488" y="228"/>
                  </a:lnTo>
                  <a:lnTo>
                    <a:pt x="528" y="113"/>
                  </a:lnTo>
                  <a:lnTo>
                    <a:pt x="567" y="0"/>
                  </a:lnTo>
                  <a:close/>
                </a:path>
              </a:pathLst>
            </a:custGeom>
            <a:gradFill flip="none" rotWithShape="1">
              <a:gsLst>
                <a:gs pos="0">
                  <a:schemeClr val="bg1">
                    <a:alpha val="0"/>
                  </a:schemeClr>
                </a:gs>
                <a:gs pos="100000">
                  <a:schemeClr val="bg1">
                    <a:alpha val="24000"/>
                  </a:schemeClr>
                </a:gs>
                <a:gs pos="39000">
                  <a:schemeClr val="bg1">
                    <a:lumMod val="85000"/>
                    <a:alpha val="11000"/>
                  </a:schemeClr>
                </a:gs>
              </a:gsLst>
              <a:lin ang="600000" scaled="0"/>
              <a:tileRect/>
            </a:gradFill>
            <a:ln w="9525">
              <a:noFill/>
              <a:round/>
              <a:headEnd/>
              <a:tailEnd/>
            </a:ln>
            <a:effectLst>
              <a:outerShdw blurRad="50800" dist="38100" dir="5400000" algn="t" rotWithShape="0">
                <a:prstClr val="black">
                  <a:alpha val="20000"/>
                </a:prstClr>
              </a:outerShdw>
            </a:effectLst>
          </p:spPr>
          <p:txBody>
            <a:bodyPr/>
            <a:lstStyle/>
            <a:p>
              <a:pPr defTabSz="457200">
                <a:defRPr/>
              </a:pPr>
              <a:endParaRPr lang="id-ID">
                <a:solidFill>
                  <a:prstClr val="black"/>
                </a:solidFill>
                <a:latin typeface="+mn-lt"/>
                <a:ea typeface="MS PGothic" pitchFamily="34" charset="-128"/>
                <a:cs typeface="+mn-cs"/>
              </a:endParaRPr>
            </a:p>
          </p:txBody>
        </p:sp>
        <p:sp>
          <p:nvSpPr>
            <p:cNvPr id="54" name="Freeform 17"/>
            <p:cNvSpPr>
              <a:spLocks/>
            </p:cNvSpPr>
            <p:nvPr/>
          </p:nvSpPr>
          <p:spPr bwMode="auto">
            <a:xfrm>
              <a:off x="3445448" y="1855791"/>
              <a:ext cx="618190" cy="1517231"/>
            </a:xfrm>
            <a:custGeom>
              <a:avLst/>
              <a:gdLst/>
              <a:ahLst/>
              <a:cxnLst>
                <a:cxn ang="0">
                  <a:pos x="604" y="38"/>
                </a:cxn>
                <a:cxn ang="0">
                  <a:pos x="679" y="112"/>
                </a:cxn>
                <a:cxn ang="0">
                  <a:pos x="787" y="226"/>
                </a:cxn>
                <a:cxn ang="0">
                  <a:pos x="923" y="366"/>
                </a:cxn>
                <a:cxn ang="0">
                  <a:pos x="1051" y="493"/>
                </a:cxn>
                <a:cxn ang="0">
                  <a:pos x="1174" y="607"/>
                </a:cxn>
                <a:cxn ang="0">
                  <a:pos x="1292" y="709"/>
                </a:cxn>
                <a:cxn ang="0">
                  <a:pos x="1405" y="801"/>
                </a:cxn>
                <a:cxn ang="0">
                  <a:pos x="1513" y="882"/>
                </a:cxn>
                <a:cxn ang="0">
                  <a:pos x="1620" y="953"/>
                </a:cxn>
                <a:cxn ang="0">
                  <a:pos x="1643" y="1050"/>
                </a:cxn>
                <a:cxn ang="0">
                  <a:pos x="1585" y="1181"/>
                </a:cxn>
                <a:cxn ang="0">
                  <a:pos x="1528" y="1313"/>
                </a:cxn>
                <a:cxn ang="0">
                  <a:pos x="1472" y="1444"/>
                </a:cxn>
                <a:cxn ang="0">
                  <a:pos x="1418" y="1575"/>
                </a:cxn>
                <a:cxn ang="0">
                  <a:pos x="1367" y="1705"/>
                </a:cxn>
                <a:cxn ang="0">
                  <a:pos x="1319" y="1834"/>
                </a:cxn>
                <a:cxn ang="0">
                  <a:pos x="1273" y="1960"/>
                </a:cxn>
                <a:cxn ang="0">
                  <a:pos x="1209" y="2151"/>
                </a:cxn>
                <a:cxn ang="0">
                  <a:pos x="1135" y="2455"/>
                </a:cxn>
                <a:cxn ang="0">
                  <a:pos x="1067" y="2812"/>
                </a:cxn>
                <a:cxn ang="0">
                  <a:pos x="1006" y="3211"/>
                </a:cxn>
                <a:cxn ang="0">
                  <a:pos x="953" y="3641"/>
                </a:cxn>
                <a:cxn ang="0">
                  <a:pos x="907" y="4092"/>
                </a:cxn>
                <a:cxn ang="0">
                  <a:pos x="866" y="4555"/>
                </a:cxn>
                <a:cxn ang="0">
                  <a:pos x="831" y="5017"/>
                </a:cxn>
                <a:cxn ang="0">
                  <a:pos x="802" y="5469"/>
                </a:cxn>
                <a:cxn ang="0">
                  <a:pos x="778" y="5902"/>
                </a:cxn>
                <a:cxn ang="0">
                  <a:pos x="750" y="6490"/>
                </a:cxn>
                <a:cxn ang="0">
                  <a:pos x="727" y="7105"/>
                </a:cxn>
                <a:cxn ang="0">
                  <a:pos x="717" y="7452"/>
                </a:cxn>
                <a:cxn ang="0">
                  <a:pos x="706" y="7463"/>
                </a:cxn>
                <a:cxn ang="0">
                  <a:pos x="631" y="7183"/>
                </a:cxn>
                <a:cxn ang="0">
                  <a:pos x="541" y="6818"/>
                </a:cxn>
                <a:cxn ang="0">
                  <a:pos x="471" y="6514"/>
                </a:cxn>
                <a:cxn ang="0">
                  <a:pos x="397" y="6170"/>
                </a:cxn>
                <a:cxn ang="0">
                  <a:pos x="320" y="5791"/>
                </a:cxn>
                <a:cxn ang="0">
                  <a:pos x="244" y="5385"/>
                </a:cxn>
                <a:cxn ang="0">
                  <a:pos x="174" y="4956"/>
                </a:cxn>
                <a:cxn ang="0">
                  <a:pos x="112" y="4513"/>
                </a:cxn>
                <a:cxn ang="0">
                  <a:pos x="60" y="4063"/>
                </a:cxn>
                <a:cxn ang="0">
                  <a:pos x="23" y="3610"/>
                </a:cxn>
                <a:cxn ang="0">
                  <a:pos x="3" y="3163"/>
                </a:cxn>
                <a:cxn ang="0">
                  <a:pos x="3" y="2727"/>
                </a:cxn>
                <a:cxn ang="0">
                  <a:pos x="26" y="2311"/>
                </a:cxn>
                <a:cxn ang="0">
                  <a:pos x="58" y="2037"/>
                </a:cxn>
                <a:cxn ang="0">
                  <a:pos x="79" y="1890"/>
                </a:cxn>
                <a:cxn ang="0">
                  <a:pos x="103" y="1744"/>
                </a:cxn>
                <a:cxn ang="0">
                  <a:pos x="128" y="1601"/>
                </a:cxn>
                <a:cxn ang="0">
                  <a:pos x="170" y="1389"/>
                </a:cxn>
                <a:cxn ang="0">
                  <a:pos x="232" y="1114"/>
                </a:cxn>
                <a:cxn ang="0">
                  <a:pos x="300" y="848"/>
                </a:cxn>
                <a:cxn ang="0">
                  <a:pos x="373" y="593"/>
                </a:cxn>
                <a:cxn ang="0">
                  <a:pos x="449" y="347"/>
                </a:cxn>
                <a:cxn ang="0">
                  <a:pos x="528" y="113"/>
                </a:cxn>
              </a:cxnLst>
              <a:rect l="0" t="0" r="r" b="b"/>
              <a:pathLst>
                <a:path w="1673" h="7500">
                  <a:moveTo>
                    <a:pt x="567" y="0"/>
                  </a:moveTo>
                  <a:lnTo>
                    <a:pt x="604" y="38"/>
                  </a:lnTo>
                  <a:lnTo>
                    <a:pt x="642" y="74"/>
                  </a:lnTo>
                  <a:lnTo>
                    <a:pt x="679" y="112"/>
                  </a:lnTo>
                  <a:lnTo>
                    <a:pt x="716" y="152"/>
                  </a:lnTo>
                  <a:lnTo>
                    <a:pt x="787" y="226"/>
                  </a:lnTo>
                  <a:lnTo>
                    <a:pt x="856" y="298"/>
                  </a:lnTo>
                  <a:lnTo>
                    <a:pt x="923" y="366"/>
                  </a:lnTo>
                  <a:lnTo>
                    <a:pt x="988" y="432"/>
                  </a:lnTo>
                  <a:lnTo>
                    <a:pt x="1051" y="493"/>
                  </a:lnTo>
                  <a:lnTo>
                    <a:pt x="1113" y="551"/>
                  </a:lnTo>
                  <a:lnTo>
                    <a:pt x="1174" y="607"/>
                  </a:lnTo>
                  <a:lnTo>
                    <a:pt x="1233" y="660"/>
                  </a:lnTo>
                  <a:lnTo>
                    <a:pt x="1292" y="709"/>
                  </a:lnTo>
                  <a:lnTo>
                    <a:pt x="1348" y="757"/>
                  </a:lnTo>
                  <a:lnTo>
                    <a:pt x="1405" y="801"/>
                  </a:lnTo>
                  <a:lnTo>
                    <a:pt x="1459" y="842"/>
                  </a:lnTo>
                  <a:lnTo>
                    <a:pt x="1513" y="882"/>
                  </a:lnTo>
                  <a:lnTo>
                    <a:pt x="1567" y="918"/>
                  </a:lnTo>
                  <a:lnTo>
                    <a:pt x="1620" y="953"/>
                  </a:lnTo>
                  <a:lnTo>
                    <a:pt x="1673" y="985"/>
                  </a:lnTo>
                  <a:lnTo>
                    <a:pt x="1643" y="1050"/>
                  </a:lnTo>
                  <a:lnTo>
                    <a:pt x="1614" y="1116"/>
                  </a:lnTo>
                  <a:lnTo>
                    <a:pt x="1585" y="1181"/>
                  </a:lnTo>
                  <a:lnTo>
                    <a:pt x="1556" y="1248"/>
                  </a:lnTo>
                  <a:lnTo>
                    <a:pt x="1528" y="1313"/>
                  </a:lnTo>
                  <a:lnTo>
                    <a:pt x="1499" y="1379"/>
                  </a:lnTo>
                  <a:lnTo>
                    <a:pt x="1472" y="1444"/>
                  </a:lnTo>
                  <a:lnTo>
                    <a:pt x="1445" y="1510"/>
                  </a:lnTo>
                  <a:lnTo>
                    <a:pt x="1418" y="1575"/>
                  </a:lnTo>
                  <a:lnTo>
                    <a:pt x="1392" y="1640"/>
                  </a:lnTo>
                  <a:lnTo>
                    <a:pt x="1367" y="1705"/>
                  </a:lnTo>
                  <a:lnTo>
                    <a:pt x="1343" y="1769"/>
                  </a:lnTo>
                  <a:lnTo>
                    <a:pt x="1319" y="1834"/>
                  </a:lnTo>
                  <a:lnTo>
                    <a:pt x="1295" y="1897"/>
                  </a:lnTo>
                  <a:lnTo>
                    <a:pt x="1273" y="1960"/>
                  </a:lnTo>
                  <a:lnTo>
                    <a:pt x="1250" y="2022"/>
                  </a:lnTo>
                  <a:lnTo>
                    <a:pt x="1209" y="2151"/>
                  </a:lnTo>
                  <a:lnTo>
                    <a:pt x="1171" y="2296"/>
                  </a:lnTo>
                  <a:lnTo>
                    <a:pt x="1135" y="2455"/>
                  </a:lnTo>
                  <a:lnTo>
                    <a:pt x="1100" y="2628"/>
                  </a:lnTo>
                  <a:lnTo>
                    <a:pt x="1067" y="2812"/>
                  </a:lnTo>
                  <a:lnTo>
                    <a:pt x="1036" y="3007"/>
                  </a:lnTo>
                  <a:lnTo>
                    <a:pt x="1006" y="3211"/>
                  </a:lnTo>
                  <a:lnTo>
                    <a:pt x="979" y="3423"/>
                  </a:lnTo>
                  <a:lnTo>
                    <a:pt x="953" y="3641"/>
                  </a:lnTo>
                  <a:lnTo>
                    <a:pt x="929" y="3865"/>
                  </a:lnTo>
                  <a:lnTo>
                    <a:pt x="907" y="4092"/>
                  </a:lnTo>
                  <a:lnTo>
                    <a:pt x="885" y="4322"/>
                  </a:lnTo>
                  <a:lnTo>
                    <a:pt x="866" y="4555"/>
                  </a:lnTo>
                  <a:lnTo>
                    <a:pt x="848" y="4786"/>
                  </a:lnTo>
                  <a:lnTo>
                    <a:pt x="831" y="5017"/>
                  </a:lnTo>
                  <a:lnTo>
                    <a:pt x="817" y="5246"/>
                  </a:lnTo>
                  <a:lnTo>
                    <a:pt x="802" y="5469"/>
                  </a:lnTo>
                  <a:lnTo>
                    <a:pt x="789" y="5689"/>
                  </a:lnTo>
                  <a:lnTo>
                    <a:pt x="778" y="5902"/>
                  </a:lnTo>
                  <a:lnTo>
                    <a:pt x="768" y="6107"/>
                  </a:lnTo>
                  <a:lnTo>
                    <a:pt x="750" y="6490"/>
                  </a:lnTo>
                  <a:lnTo>
                    <a:pt x="736" y="6826"/>
                  </a:lnTo>
                  <a:lnTo>
                    <a:pt x="727" y="7105"/>
                  </a:lnTo>
                  <a:lnTo>
                    <a:pt x="721" y="7318"/>
                  </a:lnTo>
                  <a:lnTo>
                    <a:pt x="717" y="7452"/>
                  </a:lnTo>
                  <a:lnTo>
                    <a:pt x="716" y="7500"/>
                  </a:lnTo>
                  <a:lnTo>
                    <a:pt x="706" y="7463"/>
                  </a:lnTo>
                  <a:lnTo>
                    <a:pt x="677" y="7354"/>
                  </a:lnTo>
                  <a:lnTo>
                    <a:pt x="631" y="7183"/>
                  </a:lnTo>
                  <a:lnTo>
                    <a:pt x="574" y="6952"/>
                  </a:lnTo>
                  <a:lnTo>
                    <a:pt x="541" y="6818"/>
                  </a:lnTo>
                  <a:lnTo>
                    <a:pt x="507" y="6671"/>
                  </a:lnTo>
                  <a:lnTo>
                    <a:pt x="471" y="6514"/>
                  </a:lnTo>
                  <a:lnTo>
                    <a:pt x="434" y="6347"/>
                  </a:lnTo>
                  <a:lnTo>
                    <a:pt x="397" y="6170"/>
                  </a:lnTo>
                  <a:lnTo>
                    <a:pt x="358" y="5984"/>
                  </a:lnTo>
                  <a:lnTo>
                    <a:pt x="320" y="5791"/>
                  </a:lnTo>
                  <a:lnTo>
                    <a:pt x="281" y="5590"/>
                  </a:lnTo>
                  <a:lnTo>
                    <a:pt x="244" y="5385"/>
                  </a:lnTo>
                  <a:lnTo>
                    <a:pt x="209" y="5172"/>
                  </a:lnTo>
                  <a:lnTo>
                    <a:pt x="174" y="4956"/>
                  </a:lnTo>
                  <a:lnTo>
                    <a:pt x="141" y="4736"/>
                  </a:lnTo>
                  <a:lnTo>
                    <a:pt x="112" y="4513"/>
                  </a:lnTo>
                  <a:lnTo>
                    <a:pt x="84" y="4289"/>
                  </a:lnTo>
                  <a:lnTo>
                    <a:pt x="60" y="4063"/>
                  </a:lnTo>
                  <a:lnTo>
                    <a:pt x="40" y="3836"/>
                  </a:lnTo>
                  <a:lnTo>
                    <a:pt x="23" y="3610"/>
                  </a:lnTo>
                  <a:lnTo>
                    <a:pt x="11" y="3386"/>
                  </a:lnTo>
                  <a:lnTo>
                    <a:pt x="3" y="3163"/>
                  </a:lnTo>
                  <a:lnTo>
                    <a:pt x="0" y="2943"/>
                  </a:lnTo>
                  <a:lnTo>
                    <a:pt x="3" y="2727"/>
                  </a:lnTo>
                  <a:lnTo>
                    <a:pt x="12" y="2516"/>
                  </a:lnTo>
                  <a:lnTo>
                    <a:pt x="26" y="2311"/>
                  </a:lnTo>
                  <a:lnTo>
                    <a:pt x="48" y="2111"/>
                  </a:lnTo>
                  <a:lnTo>
                    <a:pt x="58" y="2037"/>
                  </a:lnTo>
                  <a:lnTo>
                    <a:pt x="68" y="1963"/>
                  </a:lnTo>
                  <a:lnTo>
                    <a:pt x="79" y="1890"/>
                  </a:lnTo>
                  <a:lnTo>
                    <a:pt x="91" y="1817"/>
                  </a:lnTo>
                  <a:lnTo>
                    <a:pt x="103" y="1744"/>
                  </a:lnTo>
                  <a:lnTo>
                    <a:pt x="116" y="1672"/>
                  </a:lnTo>
                  <a:lnTo>
                    <a:pt x="128" y="1601"/>
                  </a:lnTo>
                  <a:lnTo>
                    <a:pt x="141" y="1530"/>
                  </a:lnTo>
                  <a:lnTo>
                    <a:pt x="170" y="1389"/>
                  </a:lnTo>
                  <a:lnTo>
                    <a:pt x="200" y="1250"/>
                  </a:lnTo>
                  <a:lnTo>
                    <a:pt x="232" y="1114"/>
                  </a:lnTo>
                  <a:lnTo>
                    <a:pt x="266" y="980"/>
                  </a:lnTo>
                  <a:lnTo>
                    <a:pt x="300" y="848"/>
                  </a:lnTo>
                  <a:lnTo>
                    <a:pt x="336" y="719"/>
                  </a:lnTo>
                  <a:lnTo>
                    <a:pt x="373" y="593"/>
                  </a:lnTo>
                  <a:lnTo>
                    <a:pt x="410" y="469"/>
                  </a:lnTo>
                  <a:lnTo>
                    <a:pt x="449" y="347"/>
                  </a:lnTo>
                  <a:lnTo>
                    <a:pt x="488" y="228"/>
                  </a:lnTo>
                  <a:lnTo>
                    <a:pt x="528" y="113"/>
                  </a:lnTo>
                  <a:lnTo>
                    <a:pt x="567" y="0"/>
                  </a:lnTo>
                  <a:close/>
                </a:path>
              </a:pathLst>
            </a:custGeom>
            <a:gradFill flip="none" rotWithShape="1">
              <a:gsLst>
                <a:gs pos="0">
                  <a:schemeClr val="bg1">
                    <a:alpha val="0"/>
                  </a:schemeClr>
                </a:gs>
                <a:gs pos="100000">
                  <a:schemeClr val="bg1">
                    <a:alpha val="24000"/>
                  </a:schemeClr>
                </a:gs>
                <a:gs pos="39000">
                  <a:schemeClr val="bg1">
                    <a:lumMod val="85000"/>
                    <a:alpha val="11000"/>
                  </a:schemeClr>
                </a:gs>
              </a:gsLst>
              <a:lin ang="600000" scaled="0"/>
              <a:tileRect/>
            </a:gradFill>
            <a:ln w="9525">
              <a:noFill/>
              <a:round/>
              <a:headEnd/>
              <a:tailEnd/>
            </a:ln>
            <a:effectLst>
              <a:outerShdw blurRad="50800" dist="38100" dir="5400000" algn="t" rotWithShape="0">
                <a:prstClr val="black">
                  <a:alpha val="20000"/>
                </a:prstClr>
              </a:outerShdw>
            </a:effectLst>
          </p:spPr>
          <p:txBody>
            <a:bodyPr/>
            <a:lstStyle/>
            <a:p>
              <a:pPr defTabSz="457200">
                <a:defRPr/>
              </a:pPr>
              <a:endParaRPr lang="id-ID">
                <a:solidFill>
                  <a:prstClr val="black"/>
                </a:solidFill>
                <a:latin typeface="+mn-lt"/>
                <a:ea typeface="MS PGothic" pitchFamily="34" charset="-128"/>
                <a:cs typeface="+mn-cs"/>
              </a:endParaRPr>
            </a:p>
          </p:txBody>
        </p:sp>
      </p:grpSp>
      <p:grpSp>
        <p:nvGrpSpPr>
          <p:cNvPr id="251" name="Group 71"/>
          <p:cNvGrpSpPr>
            <a:grpSpLocks/>
          </p:cNvGrpSpPr>
          <p:nvPr/>
        </p:nvGrpSpPr>
        <p:grpSpPr bwMode="auto">
          <a:xfrm>
            <a:off x="1907704" y="4797152"/>
            <a:ext cx="360040" cy="432048"/>
            <a:chOff x="4212399" y="2500313"/>
            <a:chExt cx="975551" cy="1435364"/>
          </a:xfrm>
        </p:grpSpPr>
        <p:grpSp>
          <p:nvGrpSpPr>
            <p:cNvPr id="252" name="Group 72"/>
            <p:cNvGrpSpPr>
              <a:grpSpLocks/>
            </p:cNvGrpSpPr>
            <p:nvPr/>
          </p:nvGrpSpPr>
          <p:grpSpPr bwMode="auto">
            <a:xfrm>
              <a:off x="4212399" y="3437110"/>
              <a:ext cx="498086" cy="498567"/>
              <a:chOff x="5627209" y="1515183"/>
              <a:chExt cx="498086" cy="498567"/>
            </a:xfrm>
          </p:grpSpPr>
          <p:sp>
            <p:nvSpPr>
              <p:cNvPr id="257" name="Oval 256"/>
              <p:cNvSpPr>
                <a:spLocks noChangeArrowheads="1"/>
              </p:cNvSpPr>
              <p:nvPr/>
            </p:nvSpPr>
            <p:spPr bwMode="auto">
              <a:xfrm>
                <a:off x="5627209" y="1516204"/>
                <a:ext cx="496708" cy="497546"/>
              </a:xfrm>
              <a:prstGeom prst="ellipse">
                <a:avLst/>
              </a:prstGeom>
              <a:gradFill rotWithShape="0">
                <a:gsLst>
                  <a:gs pos="0">
                    <a:schemeClr val="bg1"/>
                  </a:gs>
                  <a:gs pos="100000">
                    <a:srgbClr val="D9D9D9"/>
                  </a:gs>
                </a:gsLst>
                <a:lin ang="5400000"/>
              </a:gradFill>
              <a:ln w="3175">
                <a:solidFill>
                  <a:schemeClr val="tx1"/>
                </a:solidFill>
                <a:round/>
                <a:headEnd/>
                <a:tailEnd/>
              </a:ln>
              <a:effectLst>
                <a:outerShdw blurRad="63500" sx="102000" sy="102000" algn="ctr" rotWithShape="0">
                  <a:srgbClr val="000000">
                    <a:alpha val="39999"/>
                  </a:srgbClr>
                </a:outerShdw>
              </a:effectLst>
            </p:spPr>
            <p:txBody>
              <a:bodyPr anchor="ctr"/>
              <a:lstStyle/>
              <a:p>
                <a:pPr algn="ctr" defTabSz="457200"/>
                <a:endParaRPr lang="nb-NO">
                  <a:solidFill>
                    <a:srgbClr val="FFFFFF"/>
                  </a:solidFill>
                  <a:ea typeface="MS PGothic" pitchFamily="34" charset="-128"/>
                </a:endParaRPr>
              </a:p>
            </p:txBody>
          </p:sp>
          <p:sp>
            <p:nvSpPr>
              <p:cNvPr id="258" name="Oval 257"/>
              <p:cNvSpPr/>
              <p:nvPr/>
            </p:nvSpPr>
            <p:spPr>
              <a:xfrm>
                <a:off x="5766572" y="1652224"/>
                <a:ext cx="225128" cy="225507"/>
              </a:xfrm>
              <a:prstGeom prst="ellipse">
                <a:avLst/>
              </a:prstGeom>
              <a:solidFill>
                <a:srgbClr val="92D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sp>
          <p:nvSpPr>
            <p:cNvPr id="253" name="Freeform 57"/>
            <p:cNvSpPr>
              <a:spLocks/>
            </p:cNvSpPr>
            <p:nvPr/>
          </p:nvSpPr>
          <p:spPr bwMode="auto">
            <a:xfrm rot="15813706" flipH="1" flipV="1">
              <a:off x="4658866" y="3156031"/>
              <a:ext cx="254143" cy="804025"/>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grpSp>
          <p:nvGrpSpPr>
            <p:cNvPr id="254" name="Group 133"/>
            <p:cNvGrpSpPr>
              <a:grpSpLocks/>
            </p:cNvGrpSpPr>
            <p:nvPr/>
          </p:nvGrpSpPr>
          <p:grpSpPr bwMode="auto">
            <a:xfrm flipH="1">
              <a:off x="4436064" y="2500313"/>
              <a:ext cx="650367" cy="1241653"/>
              <a:chOff x="7000949" y="2143116"/>
              <a:chExt cx="999336" cy="1834351"/>
            </a:xfrm>
          </p:grpSpPr>
          <p:sp>
            <p:nvSpPr>
              <p:cNvPr id="255" name="Freeform 57"/>
              <p:cNvSpPr>
                <a:spLocks/>
              </p:cNvSpPr>
              <p:nvPr/>
            </p:nvSpPr>
            <p:spPr bwMode="auto">
              <a:xfrm>
                <a:off x="6998704" y="2143116"/>
                <a:ext cx="999336" cy="183497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rgbClr val="FF0066"/>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sp>
            <p:nvSpPr>
              <p:cNvPr id="256" name="Oval 255"/>
              <p:cNvSpPr/>
              <p:nvPr/>
            </p:nvSpPr>
            <p:spPr>
              <a:xfrm flipV="1">
                <a:off x="7128300" y="2206820"/>
                <a:ext cx="687491" cy="623788"/>
              </a:xfrm>
              <a:prstGeom prst="ellipse">
                <a:avLst/>
              </a:prstGeom>
              <a:gradFill>
                <a:gsLst>
                  <a:gs pos="15000">
                    <a:schemeClr val="accent1">
                      <a:tint val="66000"/>
                      <a:satMod val="160000"/>
                      <a:alpha val="13000"/>
                    </a:schemeClr>
                  </a:gs>
                  <a:gs pos="100000">
                    <a:schemeClr val="accent1">
                      <a:tint val="44500"/>
                      <a:satMod val="160000"/>
                      <a:alpha val="59000"/>
                    </a:schemeClr>
                  </a:gs>
                  <a:gs pos="100000">
                    <a:schemeClr val="accent1">
                      <a:tint val="23500"/>
                      <a:satMod val="160000"/>
                      <a:alpha val="41000"/>
                    </a:schemeClr>
                  </a:gs>
                  <a:gs pos="100000">
                    <a:schemeClr val="accent1">
                      <a:tint val="23500"/>
                      <a:satMod val="16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grpSp>
      <p:grpSp>
        <p:nvGrpSpPr>
          <p:cNvPr id="259" name="Group 71"/>
          <p:cNvGrpSpPr>
            <a:grpSpLocks/>
          </p:cNvGrpSpPr>
          <p:nvPr/>
        </p:nvGrpSpPr>
        <p:grpSpPr bwMode="auto">
          <a:xfrm>
            <a:off x="3995936" y="4005064"/>
            <a:ext cx="360040" cy="432048"/>
            <a:chOff x="4212399" y="2500313"/>
            <a:chExt cx="975551" cy="1435364"/>
          </a:xfrm>
        </p:grpSpPr>
        <p:grpSp>
          <p:nvGrpSpPr>
            <p:cNvPr id="260" name="Group 72"/>
            <p:cNvGrpSpPr>
              <a:grpSpLocks/>
            </p:cNvGrpSpPr>
            <p:nvPr/>
          </p:nvGrpSpPr>
          <p:grpSpPr bwMode="auto">
            <a:xfrm>
              <a:off x="4212399" y="3437110"/>
              <a:ext cx="498086" cy="498567"/>
              <a:chOff x="5627209" y="1515183"/>
              <a:chExt cx="498086" cy="498567"/>
            </a:xfrm>
          </p:grpSpPr>
          <p:sp>
            <p:nvSpPr>
              <p:cNvPr id="265" name="Oval 264"/>
              <p:cNvSpPr>
                <a:spLocks noChangeArrowheads="1"/>
              </p:cNvSpPr>
              <p:nvPr/>
            </p:nvSpPr>
            <p:spPr bwMode="auto">
              <a:xfrm>
                <a:off x="5627209" y="1516204"/>
                <a:ext cx="496708" cy="497546"/>
              </a:xfrm>
              <a:prstGeom prst="ellipse">
                <a:avLst/>
              </a:prstGeom>
              <a:gradFill rotWithShape="0">
                <a:gsLst>
                  <a:gs pos="0">
                    <a:schemeClr val="bg1"/>
                  </a:gs>
                  <a:gs pos="100000">
                    <a:srgbClr val="D9D9D9"/>
                  </a:gs>
                </a:gsLst>
                <a:lin ang="5400000"/>
              </a:gradFill>
              <a:ln w="3175">
                <a:solidFill>
                  <a:schemeClr val="tx1"/>
                </a:solidFill>
                <a:round/>
                <a:headEnd/>
                <a:tailEnd/>
              </a:ln>
              <a:effectLst>
                <a:outerShdw blurRad="63500" sx="102000" sy="102000" algn="ctr" rotWithShape="0">
                  <a:srgbClr val="000000">
                    <a:alpha val="39999"/>
                  </a:srgbClr>
                </a:outerShdw>
              </a:effectLst>
            </p:spPr>
            <p:txBody>
              <a:bodyPr anchor="ctr"/>
              <a:lstStyle/>
              <a:p>
                <a:pPr algn="ctr" defTabSz="457200"/>
                <a:endParaRPr lang="nb-NO">
                  <a:solidFill>
                    <a:srgbClr val="FFFFFF"/>
                  </a:solidFill>
                  <a:ea typeface="MS PGothic" pitchFamily="34" charset="-128"/>
                </a:endParaRPr>
              </a:p>
            </p:txBody>
          </p:sp>
          <p:sp>
            <p:nvSpPr>
              <p:cNvPr id="266" name="Oval 265"/>
              <p:cNvSpPr/>
              <p:nvPr/>
            </p:nvSpPr>
            <p:spPr>
              <a:xfrm>
                <a:off x="5766572" y="1652224"/>
                <a:ext cx="225128" cy="225507"/>
              </a:xfrm>
              <a:prstGeom prst="ellipse">
                <a:avLst/>
              </a:prstGeom>
              <a:solidFill>
                <a:srgbClr val="92D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sp>
          <p:nvSpPr>
            <p:cNvPr id="261" name="Freeform 57"/>
            <p:cNvSpPr>
              <a:spLocks/>
            </p:cNvSpPr>
            <p:nvPr/>
          </p:nvSpPr>
          <p:spPr bwMode="auto">
            <a:xfrm rot="15813706" flipH="1" flipV="1">
              <a:off x="4658866" y="3156031"/>
              <a:ext cx="254143" cy="804025"/>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grpSp>
          <p:nvGrpSpPr>
            <p:cNvPr id="262" name="Group 133"/>
            <p:cNvGrpSpPr>
              <a:grpSpLocks/>
            </p:cNvGrpSpPr>
            <p:nvPr/>
          </p:nvGrpSpPr>
          <p:grpSpPr bwMode="auto">
            <a:xfrm flipH="1">
              <a:off x="4436064" y="2500313"/>
              <a:ext cx="650367" cy="1241653"/>
              <a:chOff x="7000949" y="2143116"/>
              <a:chExt cx="999336" cy="1834351"/>
            </a:xfrm>
          </p:grpSpPr>
          <p:sp>
            <p:nvSpPr>
              <p:cNvPr id="263" name="Freeform 57"/>
              <p:cNvSpPr>
                <a:spLocks/>
              </p:cNvSpPr>
              <p:nvPr/>
            </p:nvSpPr>
            <p:spPr bwMode="auto">
              <a:xfrm>
                <a:off x="6998704" y="2143116"/>
                <a:ext cx="999336" cy="183497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rgbClr val="7030A0"/>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sp>
            <p:nvSpPr>
              <p:cNvPr id="264" name="Oval 263"/>
              <p:cNvSpPr/>
              <p:nvPr/>
            </p:nvSpPr>
            <p:spPr>
              <a:xfrm flipV="1">
                <a:off x="7128300" y="2206820"/>
                <a:ext cx="687491" cy="623788"/>
              </a:xfrm>
              <a:prstGeom prst="ellipse">
                <a:avLst/>
              </a:prstGeom>
              <a:gradFill>
                <a:gsLst>
                  <a:gs pos="15000">
                    <a:schemeClr val="accent1">
                      <a:tint val="66000"/>
                      <a:satMod val="160000"/>
                      <a:alpha val="13000"/>
                    </a:schemeClr>
                  </a:gs>
                  <a:gs pos="100000">
                    <a:schemeClr val="accent1">
                      <a:tint val="44500"/>
                      <a:satMod val="160000"/>
                      <a:alpha val="59000"/>
                    </a:schemeClr>
                  </a:gs>
                  <a:gs pos="100000">
                    <a:schemeClr val="accent1">
                      <a:tint val="23500"/>
                      <a:satMod val="160000"/>
                      <a:alpha val="41000"/>
                    </a:schemeClr>
                  </a:gs>
                  <a:gs pos="100000">
                    <a:schemeClr val="accent1">
                      <a:tint val="23500"/>
                      <a:satMod val="16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grpSp>
      <p:sp>
        <p:nvSpPr>
          <p:cNvPr id="267" name="Rounded Rectangular Callout 266"/>
          <p:cNvSpPr/>
          <p:nvPr/>
        </p:nvSpPr>
        <p:spPr>
          <a:xfrm>
            <a:off x="611560" y="4797152"/>
            <a:ext cx="1295896" cy="576064"/>
          </a:xfrm>
          <a:prstGeom prst="wedgeRoundRectCallout">
            <a:avLst>
              <a:gd name="adj1" fmla="val 66537"/>
              <a:gd name="adj2" fmla="val -35182"/>
              <a:gd name="adj3" fmla="val 16667"/>
            </a:avLst>
          </a:prstGeom>
          <a:solidFill>
            <a:srgbClr val="FFFFFF">
              <a:alpha val="69804"/>
            </a:srgbClr>
          </a:solid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rPr>
              <a:t>South America </a:t>
            </a:r>
            <a:endParaRPr lang="en-IN" dirty="0">
              <a:solidFill>
                <a:schemeClr val="tx1"/>
              </a:solidFill>
            </a:endParaRPr>
          </a:p>
        </p:txBody>
      </p:sp>
      <p:sp>
        <p:nvSpPr>
          <p:cNvPr id="268" name="Rounded Rectangular Callout 267"/>
          <p:cNvSpPr/>
          <p:nvPr/>
        </p:nvSpPr>
        <p:spPr>
          <a:xfrm>
            <a:off x="4572000" y="4077072"/>
            <a:ext cx="1079872" cy="432048"/>
          </a:xfrm>
          <a:prstGeom prst="wedgeRoundRectCallout">
            <a:avLst>
              <a:gd name="adj1" fmla="val -78214"/>
              <a:gd name="adj2" fmla="val -31926"/>
              <a:gd name="adj3" fmla="val 16667"/>
            </a:avLst>
          </a:prstGeom>
          <a:solidFill>
            <a:srgbClr val="FFFFFF">
              <a:alpha val="69804"/>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rPr>
              <a:t>China</a:t>
            </a:r>
            <a:endParaRPr lang="en-IN" dirty="0">
              <a:solidFill>
                <a:schemeClr val="tx1"/>
              </a:solidFill>
            </a:endParaRPr>
          </a:p>
        </p:txBody>
      </p:sp>
      <p:grpSp>
        <p:nvGrpSpPr>
          <p:cNvPr id="269" name="Group 71"/>
          <p:cNvGrpSpPr>
            <a:grpSpLocks/>
          </p:cNvGrpSpPr>
          <p:nvPr/>
        </p:nvGrpSpPr>
        <p:grpSpPr bwMode="auto">
          <a:xfrm>
            <a:off x="1259632" y="4077072"/>
            <a:ext cx="360040" cy="432048"/>
            <a:chOff x="4212399" y="2500313"/>
            <a:chExt cx="975551" cy="1435364"/>
          </a:xfrm>
        </p:grpSpPr>
        <p:grpSp>
          <p:nvGrpSpPr>
            <p:cNvPr id="270" name="Group 72"/>
            <p:cNvGrpSpPr>
              <a:grpSpLocks/>
            </p:cNvGrpSpPr>
            <p:nvPr/>
          </p:nvGrpSpPr>
          <p:grpSpPr bwMode="auto">
            <a:xfrm>
              <a:off x="4212399" y="3437110"/>
              <a:ext cx="498086" cy="498567"/>
              <a:chOff x="5627209" y="1515183"/>
              <a:chExt cx="498086" cy="498567"/>
            </a:xfrm>
          </p:grpSpPr>
          <p:sp>
            <p:nvSpPr>
              <p:cNvPr id="275" name="Oval 274"/>
              <p:cNvSpPr>
                <a:spLocks noChangeArrowheads="1"/>
              </p:cNvSpPr>
              <p:nvPr/>
            </p:nvSpPr>
            <p:spPr bwMode="auto">
              <a:xfrm>
                <a:off x="5627209" y="1516204"/>
                <a:ext cx="496708" cy="497546"/>
              </a:xfrm>
              <a:prstGeom prst="ellipse">
                <a:avLst/>
              </a:prstGeom>
              <a:gradFill rotWithShape="0">
                <a:gsLst>
                  <a:gs pos="0">
                    <a:schemeClr val="bg1"/>
                  </a:gs>
                  <a:gs pos="100000">
                    <a:srgbClr val="D9D9D9"/>
                  </a:gs>
                </a:gsLst>
                <a:lin ang="5400000"/>
              </a:gradFill>
              <a:ln w="3175">
                <a:solidFill>
                  <a:schemeClr val="tx1"/>
                </a:solidFill>
                <a:round/>
                <a:headEnd/>
                <a:tailEnd/>
              </a:ln>
              <a:effectLst>
                <a:outerShdw blurRad="63500" sx="102000" sy="102000" algn="ctr" rotWithShape="0">
                  <a:srgbClr val="000000">
                    <a:alpha val="39999"/>
                  </a:srgbClr>
                </a:outerShdw>
              </a:effectLst>
            </p:spPr>
            <p:txBody>
              <a:bodyPr anchor="ctr"/>
              <a:lstStyle/>
              <a:p>
                <a:pPr algn="ctr" defTabSz="457200"/>
                <a:endParaRPr lang="nb-NO">
                  <a:solidFill>
                    <a:srgbClr val="FFFFFF"/>
                  </a:solidFill>
                  <a:ea typeface="MS PGothic" pitchFamily="34" charset="-128"/>
                </a:endParaRPr>
              </a:p>
            </p:txBody>
          </p:sp>
          <p:sp>
            <p:nvSpPr>
              <p:cNvPr id="276" name="Oval 275"/>
              <p:cNvSpPr/>
              <p:nvPr/>
            </p:nvSpPr>
            <p:spPr>
              <a:xfrm>
                <a:off x="5766572" y="1652224"/>
                <a:ext cx="225128" cy="225507"/>
              </a:xfrm>
              <a:prstGeom prst="ellipse">
                <a:avLst/>
              </a:prstGeom>
              <a:solidFill>
                <a:srgbClr val="92D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sp>
          <p:nvSpPr>
            <p:cNvPr id="271" name="Freeform 57"/>
            <p:cNvSpPr>
              <a:spLocks/>
            </p:cNvSpPr>
            <p:nvPr/>
          </p:nvSpPr>
          <p:spPr bwMode="auto">
            <a:xfrm rot="15813706" flipH="1" flipV="1">
              <a:off x="4658866" y="3156031"/>
              <a:ext cx="254143" cy="804025"/>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grpSp>
          <p:nvGrpSpPr>
            <p:cNvPr id="272" name="Group 133"/>
            <p:cNvGrpSpPr>
              <a:grpSpLocks/>
            </p:cNvGrpSpPr>
            <p:nvPr/>
          </p:nvGrpSpPr>
          <p:grpSpPr bwMode="auto">
            <a:xfrm flipH="1">
              <a:off x="4436064" y="2500313"/>
              <a:ext cx="650367" cy="1241653"/>
              <a:chOff x="7000949" y="2143116"/>
              <a:chExt cx="999336" cy="1834351"/>
            </a:xfrm>
          </p:grpSpPr>
          <p:sp>
            <p:nvSpPr>
              <p:cNvPr id="273" name="Freeform 57"/>
              <p:cNvSpPr>
                <a:spLocks/>
              </p:cNvSpPr>
              <p:nvPr/>
            </p:nvSpPr>
            <p:spPr bwMode="auto">
              <a:xfrm>
                <a:off x="6998704" y="2143116"/>
                <a:ext cx="999336" cy="183497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accent6">
                  <a:lumMod val="75000"/>
                </a:schemeClr>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sp>
            <p:nvSpPr>
              <p:cNvPr id="274" name="Oval 273"/>
              <p:cNvSpPr/>
              <p:nvPr/>
            </p:nvSpPr>
            <p:spPr>
              <a:xfrm flipV="1">
                <a:off x="7128300" y="2206820"/>
                <a:ext cx="687491" cy="623788"/>
              </a:xfrm>
              <a:prstGeom prst="ellipse">
                <a:avLst/>
              </a:prstGeom>
              <a:gradFill>
                <a:gsLst>
                  <a:gs pos="15000">
                    <a:schemeClr val="accent1">
                      <a:tint val="66000"/>
                      <a:satMod val="160000"/>
                      <a:alpha val="13000"/>
                    </a:schemeClr>
                  </a:gs>
                  <a:gs pos="100000">
                    <a:schemeClr val="accent1">
                      <a:tint val="44500"/>
                      <a:satMod val="160000"/>
                      <a:alpha val="59000"/>
                    </a:schemeClr>
                  </a:gs>
                  <a:gs pos="100000">
                    <a:schemeClr val="accent1">
                      <a:tint val="23500"/>
                      <a:satMod val="160000"/>
                      <a:alpha val="41000"/>
                    </a:schemeClr>
                  </a:gs>
                  <a:gs pos="100000">
                    <a:schemeClr val="accent1">
                      <a:tint val="23500"/>
                      <a:satMod val="16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grpSp>
      <p:sp>
        <p:nvSpPr>
          <p:cNvPr id="277" name="Rounded Rectangular Callout 276"/>
          <p:cNvSpPr/>
          <p:nvPr/>
        </p:nvSpPr>
        <p:spPr>
          <a:xfrm>
            <a:off x="1835696" y="4149080"/>
            <a:ext cx="1079872" cy="432048"/>
          </a:xfrm>
          <a:prstGeom prst="wedgeRoundRectCallout">
            <a:avLst>
              <a:gd name="adj1" fmla="val -78214"/>
              <a:gd name="adj2" fmla="val -31926"/>
              <a:gd name="adj3" fmla="val 16667"/>
            </a:avLst>
          </a:prstGeom>
          <a:solidFill>
            <a:srgbClr val="FFFFFF">
              <a:alpha val="69804"/>
            </a:srgb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rPr>
              <a:t>Mexico</a:t>
            </a:r>
            <a:endParaRPr lang="en-IN" dirty="0">
              <a:solidFill>
                <a:schemeClr val="tx1"/>
              </a:solidFill>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500"/>
                                        <p:tgtEl>
                                          <p:spTgt spid="26"/>
                                        </p:tgtEl>
                                      </p:cBhvr>
                                    </p:animEffect>
                                  </p:childTnLst>
                                </p:cTn>
                              </p:par>
                            </p:childTnLst>
                          </p:cTn>
                        </p:par>
                        <p:par>
                          <p:cTn id="12" fill="hold">
                            <p:stCondLst>
                              <p:cond delay="1000"/>
                            </p:stCondLst>
                            <p:childTnLst>
                              <p:par>
                                <p:cTn id="13" presetID="10" presetClass="entr" presetSubtype="0" fill="hold" nodeType="afterEffect">
                                  <p:stCondLst>
                                    <p:cond delay="2000"/>
                                  </p:stCondLst>
                                  <p:childTnLst>
                                    <p:set>
                                      <p:cBhvr>
                                        <p:cTn id="14" dur="1" fill="hold">
                                          <p:stCondLst>
                                            <p:cond delay="0"/>
                                          </p:stCondLst>
                                        </p:cTn>
                                        <p:tgtEl>
                                          <p:spTgt spid="43"/>
                                        </p:tgtEl>
                                        <p:attrNameLst>
                                          <p:attrName>style.visibility</p:attrName>
                                        </p:attrNameLst>
                                      </p:cBhvr>
                                      <p:to>
                                        <p:strVal val="visible"/>
                                      </p:to>
                                    </p:set>
                                    <p:animEffect transition="in" filter="fade">
                                      <p:cBhvr>
                                        <p:cTn id="15" dur="500"/>
                                        <p:tgtEl>
                                          <p:spTgt spid="43"/>
                                        </p:tgtEl>
                                      </p:cBhvr>
                                    </p:animEffect>
                                  </p:childTnLst>
                                </p:cTn>
                              </p:par>
                            </p:childTnLst>
                          </p:cTn>
                        </p:par>
                        <p:par>
                          <p:cTn id="16" fill="hold">
                            <p:stCondLst>
                              <p:cond delay="3500"/>
                            </p:stCondLst>
                            <p:childTnLst>
                              <p:par>
                                <p:cTn id="17" presetID="53" presetClass="entr" presetSubtype="0" fill="hold" nodeType="afterEffect">
                                  <p:stCondLst>
                                    <p:cond delay="0"/>
                                  </p:stCondLst>
                                  <p:childTnLst>
                                    <p:set>
                                      <p:cBhvr>
                                        <p:cTn id="18" dur="1" fill="hold">
                                          <p:stCondLst>
                                            <p:cond delay="0"/>
                                          </p:stCondLst>
                                        </p:cTn>
                                        <p:tgtEl>
                                          <p:spTgt spid="47"/>
                                        </p:tgtEl>
                                        <p:attrNameLst>
                                          <p:attrName>style.visibility</p:attrName>
                                        </p:attrNameLst>
                                      </p:cBhvr>
                                      <p:to>
                                        <p:strVal val="visible"/>
                                      </p:to>
                                    </p:set>
                                    <p:anim calcmode="lin" valueType="num">
                                      <p:cBhvr>
                                        <p:cTn id="19" dur="500" fill="hold"/>
                                        <p:tgtEl>
                                          <p:spTgt spid="47"/>
                                        </p:tgtEl>
                                        <p:attrNameLst>
                                          <p:attrName>ppt_w</p:attrName>
                                        </p:attrNameLst>
                                      </p:cBhvr>
                                      <p:tavLst>
                                        <p:tav tm="0">
                                          <p:val>
                                            <p:fltVal val="0"/>
                                          </p:val>
                                        </p:tav>
                                        <p:tav tm="100000">
                                          <p:val>
                                            <p:strVal val="#ppt_w"/>
                                          </p:val>
                                        </p:tav>
                                      </p:tavLst>
                                    </p:anim>
                                    <p:anim calcmode="lin" valueType="num">
                                      <p:cBhvr>
                                        <p:cTn id="20" dur="500" fill="hold"/>
                                        <p:tgtEl>
                                          <p:spTgt spid="47"/>
                                        </p:tgtEl>
                                        <p:attrNameLst>
                                          <p:attrName>ppt_h</p:attrName>
                                        </p:attrNameLst>
                                      </p:cBhvr>
                                      <p:tavLst>
                                        <p:tav tm="0">
                                          <p:val>
                                            <p:fltVal val="0"/>
                                          </p:val>
                                        </p:tav>
                                        <p:tav tm="100000">
                                          <p:val>
                                            <p:strVal val="#ppt_h"/>
                                          </p:val>
                                        </p:tav>
                                      </p:tavLst>
                                    </p:anim>
                                    <p:animEffect transition="in" filter="fade">
                                      <p:cBhvr>
                                        <p:cTn id="21" dur="500"/>
                                        <p:tgtEl>
                                          <p:spTgt spid="47"/>
                                        </p:tgtEl>
                                      </p:cBhvr>
                                    </p:animEffect>
                                  </p:childTnLst>
                                </p:cTn>
                              </p:par>
                            </p:childTnLst>
                          </p:cTn>
                        </p:par>
                        <p:par>
                          <p:cTn id="22" fill="hold">
                            <p:stCondLst>
                              <p:cond delay="4000"/>
                            </p:stCondLst>
                            <p:childTnLst>
                              <p:par>
                                <p:cTn id="23" presetID="10" presetClass="entr" presetSubtype="0" fill="hold" nodeType="after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childTnLst>
                          </p:cTn>
                        </p:par>
                        <p:par>
                          <p:cTn id="26" fill="hold">
                            <p:stCondLst>
                              <p:cond delay="4500"/>
                            </p:stCondLst>
                            <p:childTnLst>
                              <p:par>
                                <p:cTn id="27" presetID="53" presetClass="entr" presetSubtype="0" fill="hold" nodeType="afterEffect">
                                  <p:stCondLst>
                                    <p:cond delay="0"/>
                                  </p:stCondLst>
                                  <p:childTnLst>
                                    <p:set>
                                      <p:cBhvr>
                                        <p:cTn id="28" dur="1" fill="hold">
                                          <p:stCondLst>
                                            <p:cond delay="0"/>
                                          </p:stCondLst>
                                        </p:cTn>
                                        <p:tgtEl>
                                          <p:spTgt spid="46"/>
                                        </p:tgtEl>
                                        <p:attrNameLst>
                                          <p:attrName>style.visibility</p:attrName>
                                        </p:attrNameLst>
                                      </p:cBhvr>
                                      <p:to>
                                        <p:strVal val="visible"/>
                                      </p:to>
                                    </p:set>
                                    <p:anim calcmode="lin" valueType="num">
                                      <p:cBhvr>
                                        <p:cTn id="29" dur="500" fill="hold"/>
                                        <p:tgtEl>
                                          <p:spTgt spid="46"/>
                                        </p:tgtEl>
                                        <p:attrNameLst>
                                          <p:attrName>ppt_w</p:attrName>
                                        </p:attrNameLst>
                                      </p:cBhvr>
                                      <p:tavLst>
                                        <p:tav tm="0">
                                          <p:val>
                                            <p:fltVal val="0"/>
                                          </p:val>
                                        </p:tav>
                                        <p:tav tm="100000">
                                          <p:val>
                                            <p:strVal val="#ppt_w"/>
                                          </p:val>
                                        </p:tav>
                                      </p:tavLst>
                                    </p:anim>
                                    <p:anim calcmode="lin" valueType="num">
                                      <p:cBhvr>
                                        <p:cTn id="30" dur="500" fill="hold"/>
                                        <p:tgtEl>
                                          <p:spTgt spid="46"/>
                                        </p:tgtEl>
                                        <p:attrNameLst>
                                          <p:attrName>ppt_h</p:attrName>
                                        </p:attrNameLst>
                                      </p:cBhvr>
                                      <p:tavLst>
                                        <p:tav tm="0">
                                          <p:val>
                                            <p:fltVal val="0"/>
                                          </p:val>
                                        </p:tav>
                                        <p:tav tm="100000">
                                          <p:val>
                                            <p:strVal val="#ppt_h"/>
                                          </p:val>
                                        </p:tav>
                                      </p:tavLst>
                                    </p:anim>
                                    <p:animEffect transition="in" filter="fade">
                                      <p:cBhvr>
                                        <p:cTn id="31" dur="500"/>
                                        <p:tgtEl>
                                          <p:spTgt spid="46"/>
                                        </p:tgtEl>
                                      </p:cBhvr>
                                    </p:animEffect>
                                  </p:childTnLst>
                                </p:cTn>
                              </p:par>
                            </p:childTnLst>
                          </p:cTn>
                        </p:par>
                        <p:par>
                          <p:cTn id="32" fill="hold">
                            <p:stCondLst>
                              <p:cond delay="5000"/>
                            </p:stCondLst>
                            <p:childTnLst>
                              <p:par>
                                <p:cTn id="33" presetID="10" presetClass="entr" presetSubtype="0" fill="hold" nodeType="afterEffect">
                                  <p:stCondLst>
                                    <p:cond delay="0"/>
                                  </p:stCondLst>
                                  <p:childTnLst>
                                    <p:set>
                                      <p:cBhvr>
                                        <p:cTn id="34" dur="1" fill="hold">
                                          <p:stCondLst>
                                            <p:cond delay="0"/>
                                          </p:stCondLst>
                                        </p:cTn>
                                        <p:tgtEl>
                                          <p:spTgt spid="49"/>
                                        </p:tgtEl>
                                        <p:attrNameLst>
                                          <p:attrName>style.visibility</p:attrName>
                                        </p:attrNameLst>
                                      </p:cBhvr>
                                      <p:to>
                                        <p:strVal val="visible"/>
                                      </p:to>
                                    </p:set>
                                    <p:animEffect transition="in" filter="fade">
                                      <p:cBhvr>
                                        <p:cTn id="35" dur="500"/>
                                        <p:tgtEl>
                                          <p:spTgt spid="49"/>
                                        </p:tgtEl>
                                      </p:cBhvr>
                                    </p:animEffect>
                                  </p:childTnLst>
                                </p:cTn>
                              </p:par>
                            </p:childTnLst>
                          </p:cTn>
                        </p:par>
                        <p:par>
                          <p:cTn id="36" fill="hold">
                            <p:stCondLst>
                              <p:cond delay="5500"/>
                            </p:stCondLst>
                            <p:childTnLst>
                              <p:par>
                                <p:cTn id="37" presetID="10" presetClass="entr" presetSubtype="0" fill="hold" nodeType="afterEffect">
                                  <p:stCondLst>
                                    <p:cond delay="0"/>
                                  </p:stCondLst>
                                  <p:childTnLst>
                                    <p:set>
                                      <p:cBhvr>
                                        <p:cTn id="38" dur="1" fill="hold">
                                          <p:stCondLst>
                                            <p:cond delay="0"/>
                                          </p:stCondLst>
                                        </p:cTn>
                                        <p:tgtEl>
                                          <p:spTgt spid="259"/>
                                        </p:tgtEl>
                                        <p:attrNameLst>
                                          <p:attrName>style.visibility</p:attrName>
                                        </p:attrNameLst>
                                      </p:cBhvr>
                                      <p:to>
                                        <p:strVal val="visible"/>
                                      </p:to>
                                    </p:set>
                                    <p:animEffect transition="in" filter="fade">
                                      <p:cBhvr>
                                        <p:cTn id="39" dur="500"/>
                                        <p:tgtEl>
                                          <p:spTgt spid="259"/>
                                        </p:tgtEl>
                                      </p:cBhvr>
                                    </p:animEffect>
                                  </p:childTnLst>
                                </p:cTn>
                              </p:par>
                            </p:childTnLst>
                          </p:cTn>
                        </p:par>
                        <p:par>
                          <p:cTn id="40" fill="hold">
                            <p:stCondLst>
                              <p:cond delay="6000"/>
                            </p:stCondLst>
                            <p:childTnLst>
                              <p:par>
                                <p:cTn id="41" presetID="22" presetClass="entr" presetSubtype="8" fill="hold" grpId="0" nodeType="afterEffect">
                                  <p:stCondLst>
                                    <p:cond delay="0"/>
                                  </p:stCondLst>
                                  <p:childTnLst>
                                    <p:set>
                                      <p:cBhvr>
                                        <p:cTn id="42" dur="1" fill="hold">
                                          <p:stCondLst>
                                            <p:cond delay="0"/>
                                          </p:stCondLst>
                                        </p:cTn>
                                        <p:tgtEl>
                                          <p:spTgt spid="268"/>
                                        </p:tgtEl>
                                        <p:attrNameLst>
                                          <p:attrName>style.visibility</p:attrName>
                                        </p:attrNameLst>
                                      </p:cBhvr>
                                      <p:to>
                                        <p:strVal val="visible"/>
                                      </p:to>
                                    </p:set>
                                    <p:animEffect transition="in" filter="wipe(left)">
                                      <p:cBhvr>
                                        <p:cTn id="43" dur="500"/>
                                        <p:tgtEl>
                                          <p:spTgt spid="268"/>
                                        </p:tgtEl>
                                      </p:cBhvr>
                                    </p:animEffect>
                                  </p:childTnLst>
                                </p:cTn>
                              </p:par>
                            </p:childTnLst>
                          </p:cTn>
                        </p:par>
                        <p:par>
                          <p:cTn id="44" fill="hold">
                            <p:stCondLst>
                              <p:cond delay="6500"/>
                            </p:stCondLst>
                            <p:childTnLst>
                              <p:par>
                                <p:cTn id="45" presetID="10" presetClass="entr" presetSubtype="0" fill="hold" nodeType="afterEffect">
                                  <p:stCondLst>
                                    <p:cond delay="0"/>
                                  </p:stCondLst>
                                  <p:childTnLst>
                                    <p:set>
                                      <p:cBhvr>
                                        <p:cTn id="46" dur="1" fill="hold">
                                          <p:stCondLst>
                                            <p:cond delay="0"/>
                                          </p:stCondLst>
                                        </p:cTn>
                                        <p:tgtEl>
                                          <p:spTgt spid="251"/>
                                        </p:tgtEl>
                                        <p:attrNameLst>
                                          <p:attrName>style.visibility</p:attrName>
                                        </p:attrNameLst>
                                      </p:cBhvr>
                                      <p:to>
                                        <p:strVal val="visible"/>
                                      </p:to>
                                    </p:set>
                                    <p:animEffect transition="in" filter="fade">
                                      <p:cBhvr>
                                        <p:cTn id="47" dur="500"/>
                                        <p:tgtEl>
                                          <p:spTgt spid="251"/>
                                        </p:tgtEl>
                                      </p:cBhvr>
                                    </p:animEffect>
                                  </p:childTnLst>
                                </p:cTn>
                              </p:par>
                            </p:childTnLst>
                          </p:cTn>
                        </p:par>
                        <p:par>
                          <p:cTn id="48" fill="hold">
                            <p:stCondLst>
                              <p:cond delay="7000"/>
                            </p:stCondLst>
                            <p:childTnLst>
                              <p:par>
                                <p:cTn id="49" presetID="22" presetClass="entr" presetSubtype="2" fill="hold" grpId="0" nodeType="afterEffect">
                                  <p:stCondLst>
                                    <p:cond delay="0"/>
                                  </p:stCondLst>
                                  <p:childTnLst>
                                    <p:set>
                                      <p:cBhvr>
                                        <p:cTn id="50" dur="1" fill="hold">
                                          <p:stCondLst>
                                            <p:cond delay="0"/>
                                          </p:stCondLst>
                                        </p:cTn>
                                        <p:tgtEl>
                                          <p:spTgt spid="267"/>
                                        </p:tgtEl>
                                        <p:attrNameLst>
                                          <p:attrName>style.visibility</p:attrName>
                                        </p:attrNameLst>
                                      </p:cBhvr>
                                      <p:to>
                                        <p:strVal val="visible"/>
                                      </p:to>
                                    </p:set>
                                    <p:animEffect transition="in" filter="wipe(right)">
                                      <p:cBhvr>
                                        <p:cTn id="51" dur="500"/>
                                        <p:tgtEl>
                                          <p:spTgt spid="267"/>
                                        </p:tgtEl>
                                      </p:cBhvr>
                                    </p:animEffect>
                                  </p:childTnLst>
                                </p:cTn>
                              </p:par>
                            </p:childTnLst>
                          </p:cTn>
                        </p:par>
                        <p:par>
                          <p:cTn id="52" fill="hold">
                            <p:stCondLst>
                              <p:cond delay="7500"/>
                            </p:stCondLst>
                            <p:childTnLst>
                              <p:par>
                                <p:cTn id="53" presetID="10" presetClass="entr" presetSubtype="0" fill="hold" nodeType="afterEffect">
                                  <p:stCondLst>
                                    <p:cond delay="0"/>
                                  </p:stCondLst>
                                  <p:childTnLst>
                                    <p:set>
                                      <p:cBhvr>
                                        <p:cTn id="54" dur="1" fill="hold">
                                          <p:stCondLst>
                                            <p:cond delay="0"/>
                                          </p:stCondLst>
                                        </p:cTn>
                                        <p:tgtEl>
                                          <p:spTgt spid="269"/>
                                        </p:tgtEl>
                                        <p:attrNameLst>
                                          <p:attrName>style.visibility</p:attrName>
                                        </p:attrNameLst>
                                      </p:cBhvr>
                                      <p:to>
                                        <p:strVal val="visible"/>
                                      </p:to>
                                    </p:set>
                                    <p:animEffect transition="in" filter="fade">
                                      <p:cBhvr>
                                        <p:cTn id="55" dur="500"/>
                                        <p:tgtEl>
                                          <p:spTgt spid="269"/>
                                        </p:tgtEl>
                                      </p:cBhvr>
                                    </p:animEffect>
                                  </p:childTnLst>
                                </p:cTn>
                              </p:par>
                            </p:childTnLst>
                          </p:cTn>
                        </p:par>
                        <p:par>
                          <p:cTn id="56" fill="hold">
                            <p:stCondLst>
                              <p:cond delay="8000"/>
                            </p:stCondLst>
                            <p:childTnLst>
                              <p:par>
                                <p:cTn id="57" presetID="22" presetClass="entr" presetSubtype="8" fill="hold" grpId="0" nodeType="afterEffect">
                                  <p:stCondLst>
                                    <p:cond delay="0"/>
                                  </p:stCondLst>
                                  <p:childTnLst>
                                    <p:set>
                                      <p:cBhvr>
                                        <p:cTn id="58" dur="1" fill="hold">
                                          <p:stCondLst>
                                            <p:cond delay="0"/>
                                          </p:stCondLst>
                                        </p:cTn>
                                        <p:tgtEl>
                                          <p:spTgt spid="277"/>
                                        </p:tgtEl>
                                        <p:attrNameLst>
                                          <p:attrName>style.visibility</p:attrName>
                                        </p:attrNameLst>
                                      </p:cBhvr>
                                      <p:to>
                                        <p:strVal val="visible"/>
                                      </p:to>
                                    </p:set>
                                    <p:animEffect transition="in" filter="wipe(left)">
                                      <p:cBhvr>
                                        <p:cTn id="59" dur="500"/>
                                        <p:tgtEl>
                                          <p:spTgt spid="2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7" grpId="0" animBg="1"/>
      <p:bldP spid="268" grpId="0" animBg="1"/>
      <p:bldP spid="27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12801607_l.jpg"/>
          <p:cNvPicPr>
            <a:picLocks noChangeAspect="1"/>
          </p:cNvPicPr>
          <p:nvPr/>
        </p:nvPicPr>
        <p:blipFill>
          <a:blip r:embed="rId4" cstate="print">
            <a:lum contrast="40000"/>
          </a:blip>
          <a:stretch>
            <a:fillRect/>
          </a:stretch>
        </p:blipFill>
        <p:spPr>
          <a:xfrm>
            <a:off x="0" y="836712"/>
            <a:ext cx="9144000" cy="6021288"/>
          </a:xfrm>
          <a:prstGeom prst="rect">
            <a:avLst/>
          </a:prstGeom>
        </p:spPr>
      </p:pic>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5"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6"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7"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8"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9"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10"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1"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2"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3"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smtClean="0"/>
                <a:t>Introduction</a:t>
              </a:r>
              <a:endParaRPr lang="en-IN" sz="3200" dirty="0"/>
            </a:p>
          </p:txBody>
        </p:sp>
      </p:grpSp>
      <p:grpSp>
        <p:nvGrpSpPr>
          <p:cNvPr id="4" name="Group 24"/>
          <p:cNvGrpSpPr/>
          <p:nvPr/>
        </p:nvGrpSpPr>
        <p:grpSpPr>
          <a:xfrm>
            <a:off x="1187624" y="980728"/>
            <a:ext cx="7632848" cy="1656184"/>
            <a:chOff x="1187624" y="980728"/>
            <a:chExt cx="7632848" cy="1944216"/>
          </a:xfrm>
        </p:grpSpPr>
        <p:pic>
          <p:nvPicPr>
            <p:cNvPr id="23" name="Picture 22" descr="13436110_xl.jpg"/>
            <p:cNvPicPr>
              <a:picLocks noChangeAspect="1"/>
            </p:cNvPicPr>
            <p:nvPr/>
          </p:nvPicPr>
          <p:blipFill>
            <a:blip r:embed="rId14" cstate="print">
              <a:clrChange>
                <a:clrFrom>
                  <a:srgbClr val="8F8677"/>
                </a:clrFrom>
                <a:clrTo>
                  <a:srgbClr val="8F8677">
                    <a:alpha val="0"/>
                  </a:srgbClr>
                </a:clrTo>
              </a:clrChange>
            </a:blip>
            <a:srcRect r="50000" b="80450"/>
            <a:stretch>
              <a:fillRect/>
            </a:stretch>
          </p:blipFill>
          <p:spPr>
            <a:xfrm>
              <a:off x="1187624" y="980728"/>
              <a:ext cx="7632848" cy="1944216"/>
            </a:xfrm>
            <a:prstGeom prst="rect">
              <a:avLst/>
            </a:prstGeom>
          </p:spPr>
        </p:pic>
        <p:sp>
          <p:nvSpPr>
            <p:cNvPr id="24" name="TextBox 23"/>
            <p:cNvSpPr txBox="1"/>
            <p:nvPr/>
          </p:nvSpPr>
          <p:spPr>
            <a:xfrm>
              <a:off x="2195736" y="1457489"/>
              <a:ext cx="6192687" cy="830997"/>
            </a:xfrm>
            <a:prstGeom prst="rect">
              <a:avLst/>
            </a:prstGeom>
            <a:noFill/>
          </p:spPr>
          <p:txBody>
            <a:bodyPr wrap="square" rtlCol="0">
              <a:spAutoFit/>
            </a:bodyPr>
            <a:lstStyle/>
            <a:p>
              <a:r>
                <a:rPr lang="en-IN" sz="2000" dirty="0" smtClean="0"/>
                <a:t>So, many times the cocoa that you buy has come from Africa or the coffee pods you buy have come from Brazil.</a:t>
              </a:r>
              <a:endParaRPr lang="en-IN" sz="2000" dirty="0"/>
            </a:p>
          </p:txBody>
        </p:sp>
      </p:grpSp>
      <p:pic>
        <p:nvPicPr>
          <p:cNvPr id="26" name="Picture 5" descr="Tessafilm_4"/>
          <p:cNvPicPr>
            <a:picLocks noChangeAspect="1" noChangeArrowheads="1"/>
          </p:cNvPicPr>
          <p:nvPr/>
        </p:nvPicPr>
        <p:blipFill>
          <a:blip r:embed="rId15" cstate="print">
            <a:duotone>
              <a:prstClr val="black"/>
              <a:srgbClr val="00B0F0">
                <a:tint val="45000"/>
                <a:satMod val="400000"/>
              </a:srgbClr>
            </a:duotone>
          </a:blip>
          <a:srcRect l="59392" b="89844"/>
          <a:stretch>
            <a:fillRect/>
          </a:stretch>
        </p:blipFill>
        <p:spPr bwMode="gray">
          <a:xfrm rot="20222041">
            <a:off x="1130174" y="1049435"/>
            <a:ext cx="1538105" cy="387075"/>
          </a:xfrm>
          <a:prstGeom prst="rect">
            <a:avLst/>
          </a:prstGeom>
          <a:noFill/>
        </p:spPr>
      </p:pic>
      <p:pic>
        <p:nvPicPr>
          <p:cNvPr id="43" name="Picture 42" descr="10046322_xxl.jpg"/>
          <p:cNvPicPr>
            <a:picLocks noChangeAspect="1"/>
          </p:cNvPicPr>
          <p:nvPr/>
        </p:nvPicPr>
        <p:blipFill>
          <a:blip r:embed="rId16" cstate="print">
            <a:clrChange>
              <a:clrFrom>
                <a:srgbClr val="FFFFFF"/>
              </a:clrFrom>
              <a:clrTo>
                <a:srgbClr val="FFFFFF">
                  <a:alpha val="0"/>
                </a:srgbClr>
              </a:clrTo>
            </a:clrChange>
          </a:blip>
          <a:srcRect l="33282" t="64700" r="29939"/>
          <a:stretch>
            <a:fillRect/>
          </a:stretch>
        </p:blipFill>
        <p:spPr>
          <a:xfrm>
            <a:off x="6358387" y="2492896"/>
            <a:ext cx="2822125" cy="2343568"/>
          </a:xfrm>
          <a:prstGeom prst="rect">
            <a:avLst/>
          </a:prstGeom>
        </p:spPr>
      </p:pic>
      <p:pic>
        <p:nvPicPr>
          <p:cNvPr id="44" name="Picture 43" descr="10046322_xxl.jpg"/>
          <p:cNvPicPr>
            <a:picLocks noChangeAspect="1"/>
          </p:cNvPicPr>
          <p:nvPr/>
        </p:nvPicPr>
        <p:blipFill>
          <a:blip r:embed="rId16" cstate="print">
            <a:clrChange>
              <a:clrFrom>
                <a:srgbClr val="FFFFFF"/>
              </a:clrFrom>
              <a:clrTo>
                <a:srgbClr val="FFFFFF">
                  <a:alpha val="0"/>
                </a:srgbClr>
              </a:clrTo>
            </a:clrChange>
          </a:blip>
          <a:srcRect l="33282" t="64700" r="29939"/>
          <a:stretch>
            <a:fillRect/>
          </a:stretch>
        </p:blipFill>
        <p:spPr>
          <a:xfrm>
            <a:off x="6358387" y="4514432"/>
            <a:ext cx="2822125" cy="2343568"/>
          </a:xfrm>
          <a:prstGeom prst="rect">
            <a:avLst/>
          </a:prstGeom>
        </p:spPr>
      </p:pic>
      <p:grpSp>
        <p:nvGrpSpPr>
          <p:cNvPr id="5" name="Group 267"/>
          <p:cNvGrpSpPr/>
          <p:nvPr/>
        </p:nvGrpSpPr>
        <p:grpSpPr>
          <a:xfrm>
            <a:off x="179512" y="2780928"/>
            <a:ext cx="5957706" cy="3744416"/>
            <a:chOff x="2051720" y="1844824"/>
            <a:chExt cx="6965818" cy="4176464"/>
          </a:xfrm>
        </p:grpSpPr>
        <p:sp>
          <p:nvSpPr>
            <p:cNvPr id="50" name="Rectangle 2"/>
            <p:cNvSpPr/>
            <p:nvPr/>
          </p:nvSpPr>
          <p:spPr>
            <a:xfrm>
              <a:off x="2051720" y="1844824"/>
              <a:ext cx="6965818" cy="4176464"/>
            </a:xfrm>
            <a:custGeom>
              <a:avLst/>
              <a:gdLst>
                <a:gd name="connsiteX0" fmla="*/ 0 w 8037871"/>
                <a:gd name="connsiteY0" fmla="*/ 0 h 4881716"/>
                <a:gd name="connsiteX1" fmla="*/ 8037871 w 8037871"/>
                <a:gd name="connsiteY1" fmla="*/ 0 h 4881716"/>
                <a:gd name="connsiteX2" fmla="*/ 8037871 w 8037871"/>
                <a:gd name="connsiteY2" fmla="*/ 4881716 h 4881716"/>
                <a:gd name="connsiteX3" fmla="*/ 0 w 8037871"/>
                <a:gd name="connsiteY3" fmla="*/ 4881716 h 4881716"/>
                <a:gd name="connsiteX4" fmla="*/ 0 w 8037871"/>
                <a:gd name="connsiteY4" fmla="*/ 0 h 4881716"/>
                <a:gd name="connsiteX0" fmla="*/ 0 w 8037871"/>
                <a:gd name="connsiteY0" fmla="*/ 0 h 4881716"/>
                <a:gd name="connsiteX1" fmla="*/ 8037871 w 8037871"/>
                <a:gd name="connsiteY1" fmla="*/ 0 h 4881716"/>
                <a:gd name="connsiteX2" fmla="*/ 8037871 w 8037871"/>
                <a:gd name="connsiteY2" fmla="*/ 4881716 h 4881716"/>
                <a:gd name="connsiteX3" fmla="*/ 0 w 8037871"/>
                <a:gd name="connsiteY3" fmla="*/ 4881716 h 4881716"/>
                <a:gd name="connsiteX4" fmla="*/ 0 w 8037871"/>
                <a:gd name="connsiteY4" fmla="*/ 0 h 4881716"/>
                <a:gd name="connsiteX0" fmla="*/ 0 w 8037871"/>
                <a:gd name="connsiteY0" fmla="*/ 0 h 4881716"/>
                <a:gd name="connsiteX1" fmla="*/ 8037871 w 8037871"/>
                <a:gd name="connsiteY1" fmla="*/ 0 h 4881716"/>
                <a:gd name="connsiteX2" fmla="*/ 8037871 w 8037871"/>
                <a:gd name="connsiteY2" fmla="*/ 4881716 h 4881716"/>
                <a:gd name="connsiteX3" fmla="*/ 0 w 8037871"/>
                <a:gd name="connsiteY3" fmla="*/ 4881716 h 4881716"/>
                <a:gd name="connsiteX4" fmla="*/ 0 w 8037871"/>
                <a:gd name="connsiteY4" fmla="*/ 0 h 4881716"/>
                <a:gd name="connsiteX0" fmla="*/ 0 w 8037871"/>
                <a:gd name="connsiteY0" fmla="*/ 0 h 4955458"/>
                <a:gd name="connsiteX1" fmla="*/ 8037871 w 8037871"/>
                <a:gd name="connsiteY1" fmla="*/ 0 h 4955458"/>
                <a:gd name="connsiteX2" fmla="*/ 7905135 w 8037871"/>
                <a:gd name="connsiteY2" fmla="*/ 4955458 h 4955458"/>
                <a:gd name="connsiteX3" fmla="*/ 0 w 8037871"/>
                <a:gd name="connsiteY3" fmla="*/ 4881716 h 4955458"/>
                <a:gd name="connsiteX4" fmla="*/ 0 w 8037871"/>
                <a:gd name="connsiteY4" fmla="*/ 0 h 4955458"/>
                <a:gd name="connsiteX0" fmla="*/ 0 w 8037871"/>
                <a:gd name="connsiteY0" fmla="*/ 0 h 4955458"/>
                <a:gd name="connsiteX1" fmla="*/ 8037871 w 8037871"/>
                <a:gd name="connsiteY1" fmla="*/ 0 h 4955458"/>
                <a:gd name="connsiteX2" fmla="*/ 7905135 w 8037871"/>
                <a:gd name="connsiteY2" fmla="*/ 4955458 h 4955458"/>
                <a:gd name="connsiteX3" fmla="*/ 0 w 8037871"/>
                <a:gd name="connsiteY3" fmla="*/ 4881716 h 4955458"/>
                <a:gd name="connsiteX4" fmla="*/ 0 w 8037871"/>
                <a:gd name="connsiteY4" fmla="*/ 0 h 4955458"/>
                <a:gd name="connsiteX0" fmla="*/ 0 w 7975542"/>
                <a:gd name="connsiteY0" fmla="*/ 0 h 4955458"/>
                <a:gd name="connsiteX1" fmla="*/ 7875639 w 7975542"/>
                <a:gd name="connsiteY1" fmla="*/ 73742 h 4955458"/>
                <a:gd name="connsiteX2" fmla="*/ 7905135 w 7975542"/>
                <a:gd name="connsiteY2" fmla="*/ 4955458 h 4955458"/>
                <a:gd name="connsiteX3" fmla="*/ 0 w 7975542"/>
                <a:gd name="connsiteY3" fmla="*/ 4881716 h 4955458"/>
                <a:gd name="connsiteX4" fmla="*/ 0 w 7975542"/>
                <a:gd name="connsiteY4" fmla="*/ 0 h 4955458"/>
                <a:gd name="connsiteX0" fmla="*/ 0 w 7995971"/>
                <a:gd name="connsiteY0" fmla="*/ 0 h 4955458"/>
                <a:gd name="connsiteX1" fmla="*/ 7875639 w 7995971"/>
                <a:gd name="connsiteY1" fmla="*/ 73742 h 4955458"/>
                <a:gd name="connsiteX2" fmla="*/ 7905135 w 7995971"/>
                <a:gd name="connsiteY2" fmla="*/ 4955458 h 4955458"/>
                <a:gd name="connsiteX3" fmla="*/ 0 w 7995971"/>
                <a:gd name="connsiteY3" fmla="*/ 4881716 h 4955458"/>
                <a:gd name="connsiteX4" fmla="*/ 0 w 7995971"/>
                <a:gd name="connsiteY4" fmla="*/ 0 h 4955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5971" h="4955458">
                  <a:moveTo>
                    <a:pt x="0" y="0"/>
                  </a:moveTo>
                  <a:cubicBezTo>
                    <a:pt x="2738283" y="147484"/>
                    <a:pt x="5196349" y="73742"/>
                    <a:pt x="7875639" y="73742"/>
                  </a:cubicBezTo>
                  <a:cubicBezTo>
                    <a:pt x="7934632" y="1755058"/>
                    <a:pt x="8096863" y="3362632"/>
                    <a:pt x="7905135" y="4955458"/>
                  </a:cubicBezTo>
                  <a:cubicBezTo>
                    <a:pt x="5225845" y="4955458"/>
                    <a:pt x="2723535" y="4660490"/>
                    <a:pt x="0" y="4881716"/>
                  </a:cubicBezTo>
                  <a:lnTo>
                    <a:pt x="0" y="0"/>
                  </a:lnTo>
                  <a:close/>
                </a:path>
              </a:pathLst>
            </a:custGeom>
            <a:gradFill>
              <a:gsLst>
                <a:gs pos="21000">
                  <a:schemeClr val="bg1"/>
                </a:gs>
                <a:gs pos="87000">
                  <a:schemeClr val="bg1">
                    <a:lumMod val="95000"/>
                  </a:schemeClr>
                </a:gs>
              </a:gsLst>
              <a:path path="circle">
                <a:fillToRect l="50000" t="50000" r="50000" b="50000"/>
              </a:path>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endParaRPr lang="en-US" dirty="0">
                <a:solidFill>
                  <a:srgbClr val="000000"/>
                </a:solidFill>
              </a:endParaRPr>
            </a:p>
          </p:txBody>
        </p:sp>
        <p:grpSp>
          <p:nvGrpSpPr>
            <p:cNvPr id="6" name="Group 724"/>
            <p:cNvGrpSpPr>
              <a:grpSpLocks/>
            </p:cNvGrpSpPr>
            <p:nvPr/>
          </p:nvGrpSpPr>
          <p:grpSpPr bwMode="auto">
            <a:xfrm>
              <a:off x="2183819" y="2080972"/>
              <a:ext cx="6317304" cy="3553840"/>
              <a:chOff x="543561" y="1157858"/>
              <a:chExt cx="7838439" cy="4557142"/>
            </a:xfrm>
            <a:gradFill>
              <a:gsLst>
                <a:gs pos="21000">
                  <a:schemeClr val="accent1">
                    <a:lumMod val="60000"/>
                    <a:lumOff val="40000"/>
                  </a:schemeClr>
                </a:gs>
                <a:gs pos="87000">
                  <a:schemeClr val="accent1">
                    <a:lumMod val="50000"/>
                  </a:schemeClr>
                </a:gs>
              </a:gsLst>
              <a:path path="circle">
                <a:fillToRect l="50000" t="50000" r="50000" b="50000"/>
              </a:path>
            </a:gradFill>
          </p:grpSpPr>
          <p:grpSp>
            <p:nvGrpSpPr>
              <p:cNvPr id="7" name="Gruppe 226"/>
              <p:cNvGrpSpPr/>
              <p:nvPr/>
            </p:nvGrpSpPr>
            <p:grpSpPr>
              <a:xfrm>
                <a:off x="543561" y="1157864"/>
                <a:ext cx="3592897" cy="2659943"/>
                <a:chOff x="106680" y="699453"/>
                <a:chExt cx="3986530" cy="2951480"/>
              </a:xfrm>
              <a:grpFill/>
              <a:effectLst/>
            </p:grpSpPr>
            <p:sp>
              <p:nvSpPr>
                <p:cNvPr id="113" name="Freeform 5961"/>
                <p:cNvSpPr>
                  <a:spLocks/>
                </p:cNvSpPr>
                <p:nvPr/>
              </p:nvSpPr>
              <p:spPr bwMode="auto">
                <a:xfrm>
                  <a:off x="2439670" y="3591243"/>
                  <a:ext cx="12700" cy="20320"/>
                </a:xfrm>
                <a:custGeom>
                  <a:avLst/>
                  <a:gdLst/>
                  <a:ahLst/>
                  <a:cxnLst>
                    <a:cxn ang="0">
                      <a:pos x="2" y="26"/>
                    </a:cxn>
                    <a:cxn ang="0">
                      <a:pos x="2" y="26"/>
                    </a:cxn>
                    <a:cxn ang="0">
                      <a:pos x="2" y="32"/>
                    </a:cxn>
                    <a:cxn ang="0">
                      <a:pos x="20" y="0"/>
                    </a:cxn>
                    <a:cxn ang="0">
                      <a:pos x="20" y="0"/>
                    </a:cxn>
                    <a:cxn ang="0">
                      <a:pos x="6" y="10"/>
                    </a:cxn>
                    <a:cxn ang="0">
                      <a:pos x="2" y="12"/>
                    </a:cxn>
                    <a:cxn ang="0">
                      <a:pos x="0" y="16"/>
                    </a:cxn>
                    <a:cxn ang="0">
                      <a:pos x="0" y="20"/>
                    </a:cxn>
                    <a:cxn ang="0">
                      <a:pos x="2" y="26"/>
                    </a:cxn>
                    <a:cxn ang="0">
                      <a:pos x="2" y="26"/>
                    </a:cxn>
                  </a:cxnLst>
                  <a:rect l="0" t="0" r="r" b="b"/>
                  <a:pathLst>
                    <a:path w="20" h="32">
                      <a:moveTo>
                        <a:pt x="2" y="26"/>
                      </a:moveTo>
                      <a:lnTo>
                        <a:pt x="2" y="26"/>
                      </a:lnTo>
                      <a:lnTo>
                        <a:pt x="2" y="32"/>
                      </a:lnTo>
                      <a:lnTo>
                        <a:pt x="20" y="0"/>
                      </a:lnTo>
                      <a:lnTo>
                        <a:pt x="20" y="0"/>
                      </a:lnTo>
                      <a:lnTo>
                        <a:pt x="6" y="10"/>
                      </a:lnTo>
                      <a:lnTo>
                        <a:pt x="2" y="12"/>
                      </a:lnTo>
                      <a:lnTo>
                        <a:pt x="0" y="16"/>
                      </a:lnTo>
                      <a:lnTo>
                        <a:pt x="0" y="20"/>
                      </a:lnTo>
                      <a:lnTo>
                        <a:pt x="2" y="26"/>
                      </a:lnTo>
                      <a:lnTo>
                        <a:pt x="2" y="2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4" name="Freeform 6004"/>
                <p:cNvSpPr>
                  <a:spLocks/>
                </p:cNvSpPr>
                <p:nvPr/>
              </p:nvSpPr>
              <p:spPr bwMode="auto">
                <a:xfrm>
                  <a:off x="3569970" y="3551873"/>
                  <a:ext cx="5080" cy="6350"/>
                </a:xfrm>
                <a:custGeom>
                  <a:avLst/>
                  <a:gdLst/>
                  <a:ahLst/>
                  <a:cxnLst>
                    <a:cxn ang="0">
                      <a:pos x="0" y="6"/>
                    </a:cxn>
                    <a:cxn ang="0">
                      <a:pos x="0" y="6"/>
                    </a:cxn>
                    <a:cxn ang="0">
                      <a:pos x="2" y="8"/>
                    </a:cxn>
                    <a:cxn ang="0">
                      <a:pos x="4" y="10"/>
                    </a:cxn>
                    <a:cxn ang="0">
                      <a:pos x="6" y="8"/>
                    </a:cxn>
                    <a:cxn ang="0">
                      <a:pos x="8" y="4"/>
                    </a:cxn>
                    <a:cxn ang="0">
                      <a:pos x="8" y="4"/>
                    </a:cxn>
                    <a:cxn ang="0">
                      <a:pos x="6" y="0"/>
                    </a:cxn>
                    <a:cxn ang="0">
                      <a:pos x="4" y="2"/>
                    </a:cxn>
                    <a:cxn ang="0">
                      <a:pos x="2" y="4"/>
                    </a:cxn>
                    <a:cxn ang="0">
                      <a:pos x="0" y="6"/>
                    </a:cxn>
                    <a:cxn ang="0">
                      <a:pos x="0" y="6"/>
                    </a:cxn>
                  </a:cxnLst>
                  <a:rect l="0" t="0" r="r" b="b"/>
                  <a:pathLst>
                    <a:path w="8" h="10">
                      <a:moveTo>
                        <a:pt x="0" y="6"/>
                      </a:moveTo>
                      <a:lnTo>
                        <a:pt x="0" y="6"/>
                      </a:lnTo>
                      <a:lnTo>
                        <a:pt x="2" y="8"/>
                      </a:lnTo>
                      <a:lnTo>
                        <a:pt x="4" y="10"/>
                      </a:lnTo>
                      <a:lnTo>
                        <a:pt x="6" y="8"/>
                      </a:lnTo>
                      <a:lnTo>
                        <a:pt x="8" y="4"/>
                      </a:lnTo>
                      <a:lnTo>
                        <a:pt x="8" y="4"/>
                      </a:lnTo>
                      <a:lnTo>
                        <a:pt x="6" y="0"/>
                      </a:lnTo>
                      <a:lnTo>
                        <a:pt x="4" y="2"/>
                      </a:lnTo>
                      <a:lnTo>
                        <a:pt x="2" y="4"/>
                      </a:lnTo>
                      <a:lnTo>
                        <a:pt x="0" y="6"/>
                      </a:lnTo>
                      <a:lnTo>
                        <a:pt x="0"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5" name="Freeform 6005"/>
                <p:cNvSpPr>
                  <a:spLocks/>
                </p:cNvSpPr>
                <p:nvPr/>
              </p:nvSpPr>
              <p:spPr bwMode="auto">
                <a:xfrm>
                  <a:off x="2840990" y="3593783"/>
                  <a:ext cx="7620" cy="6350"/>
                </a:xfrm>
                <a:custGeom>
                  <a:avLst/>
                  <a:gdLst/>
                  <a:ahLst/>
                  <a:cxnLst>
                    <a:cxn ang="0">
                      <a:pos x="10" y="0"/>
                    </a:cxn>
                    <a:cxn ang="0">
                      <a:pos x="10" y="0"/>
                    </a:cxn>
                    <a:cxn ang="0">
                      <a:pos x="6" y="2"/>
                    </a:cxn>
                    <a:cxn ang="0">
                      <a:pos x="2" y="4"/>
                    </a:cxn>
                    <a:cxn ang="0">
                      <a:pos x="2" y="4"/>
                    </a:cxn>
                    <a:cxn ang="0">
                      <a:pos x="0" y="8"/>
                    </a:cxn>
                    <a:cxn ang="0">
                      <a:pos x="2" y="10"/>
                    </a:cxn>
                    <a:cxn ang="0">
                      <a:pos x="8" y="10"/>
                    </a:cxn>
                    <a:cxn ang="0">
                      <a:pos x="8" y="10"/>
                    </a:cxn>
                    <a:cxn ang="0">
                      <a:pos x="10" y="8"/>
                    </a:cxn>
                    <a:cxn ang="0">
                      <a:pos x="12" y="6"/>
                    </a:cxn>
                    <a:cxn ang="0">
                      <a:pos x="12" y="2"/>
                    </a:cxn>
                    <a:cxn ang="0">
                      <a:pos x="10" y="0"/>
                    </a:cxn>
                    <a:cxn ang="0">
                      <a:pos x="10" y="0"/>
                    </a:cxn>
                  </a:cxnLst>
                  <a:rect l="0" t="0" r="r" b="b"/>
                  <a:pathLst>
                    <a:path w="12" h="10">
                      <a:moveTo>
                        <a:pt x="10" y="0"/>
                      </a:moveTo>
                      <a:lnTo>
                        <a:pt x="10" y="0"/>
                      </a:lnTo>
                      <a:lnTo>
                        <a:pt x="6" y="2"/>
                      </a:lnTo>
                      <a:lnTo>
                        <a:pt x="2" y="4"/>
                      </a:lnTo>
                      <a:lnTo>
                        <a:pt x="2" y="4"/>
                      </a:lnTo>
                      <a:lnTo>
                        <a:pt x="0" y="8"/>
                      </a:lnTo>
                      <a:lnTo>
                        <a:pt x="2" y="10"/>
                      </a:lnTo>
                      <a:lnTo>
                        <a:pt x="8" y="10"/>
                      </a:lnTo>
                      <a:lnTo>
                        <a:pt x="8" y="10"/>
                      </a:lnTo>
                      <a:lnTo>
                        <a:pt x="10" y="8"/>
                      </a:lnTo>
                      <a:lnTo>
                        <a:pt x="12" y="6"/>
                      </a:lnTo>
                      <a:lnTo>
                        <a:pt x="12" y="2"/>
                      </a:lnTo>
                      <a:lnTo>
                        <a:pt x="10" y="0"/>
                      </a:lnTo>
                      <a:lnTo>
                        <a:pt x="10"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6" name="Freeform 6006"/>
                <p:cNvSpPr>
                  <a:spLocks/>
                </p:cNvSpPr>
                <p:nvPr/>
              </p:nvSpPr>
              <p:spPr bwMode="auto">
                <a:xfrm>
                  <a:off x="2839720" y="3601403"/>
                  <a:ext cx="6350" cy="2540"/>
                </a:xfrm>
                <a:custGeom>
                  <a:avLst/>
                  <a:gdLst/>
                  <a:ahLst/>
                  <a:cxnLst>
                    <a:cxn ang="0">
                      <a:pos x="2" y="2"/>
                    </a:cxn>
                    <a:cxn ang="0">
                      <a:pos x="2" y="2"/>
                    </a:cxn>
                    <a:cxn ang="0">
                      <a:pos x="0" y="2"/>
                    </a:cxn>
                    <a:cxn ang="0">
                      <a:pos x="2" y="4"/>
                    </a:cxn>
                    <a:cxn ang="0">
                      <a:pos x="4" y="4"/>
                    </a:cxn>
                    <a:cxn ang="0">
                      <a:pos x="8" y="2"/>
                    </a:cxn>
                    <a:cxn ang="0">
                      <a:pos x="8" y="2"/>
                    </a:cxn>
                    <a:cxn ang="0">
                      <a:pos x="10" y="0"/>
                    </a:cxn>
                    <a:cxn ang="0">
                      <a:pos x="8" y="0"/>
                    </a:cxn>
                    <a:cxn ang="0">
                      <a:pos x="2" y="2"/>
                    </a:cxn>
                    <a:cxn ang="0">
                      <a:pos x="2" y="2"/>
                    </a:cxn>
                  </a:cxnLst>
                  <a:rect l="0" t="0" r="r" b="b"/>
                  <a:pathLst>
                    <a:path w="10" h="4">
                      <a:moveTo>
                        <a:pt x="2" y="2"/>
                      </a:moveTo>
                      <a:lnTo>
                        <a:pt x="2" y="2"/>
                      </a:lnTo>
                      <a:lnTo>
                        <a:pt x="0" y="2"/>
                      </a:lnTo>
                      <a:lnTo>
                        <a:pt x="2" y="4"/>
                      </a:lnTo>
                      <a:lnTo>
                        <a:pt x="4" y="4"/>
                      </a:lnTo>
                      <a:lnTo>
                        <a:pt x="8" y="2"/>
                      </a:lnTo>
                      <a:lnTo>
                        <a:pt x="8" y="2"/>
                      </a:lnTo>
                      <a:lnTo>
                        <a:pt x="10" y="0"/>
                      </a:lnTo>
                      <a:lnTo>
                        <a:pt x="8" y="0"/>
                      </a:lnTo>
                      <a:lnTo>
                        <a:pt x="2" y="2"/>
                      </a:lnTo>
                      <a:lnTo>
                        <a:pt x="2"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7" name="Freeform 6008"/>
                <p:cNvSpPr>
                  <a:spLocks/>
                </p:cNvSpPr>
                <p:nvPr/>
              </p:nvSpPr>
              <p:spPr bwMode="auto">
                <a:xfrm>
                  <a:off x="2847340" y="3597593"/>
                  <a:ext cx="3810" cy="3810"/>
                </a:xfrm>
                <a:custGeom>
                  <a:avLst/>
                  <a:gdLst/>
                  <a:ahLst/>
                  <a:cxnLst>
                    <a:cxn ang="0">
                      <a:pos x="6" y="0"/>
                    </a:cxn>
                    <a:cxn ang="0">
                      <a:pos x="6" y="0"/>
                    </a:cxn>
                    <a:cxn ang="0">
                      <a:pos x="4" y="0"/>
                    </a:cxn>
                    <a:cxn ang="0">
                      <a:pos x="2" y="2"/>
                    </a:cxn>
                    <a:cxn ang="0">
                      <a:pos x="0" y="4"/>
                    </a:cxn>
                    <a:cxn ang="0">
                      <a:pos x="2" y="6"/>
                    </a:cxn>
                    <a:cxn ang="0">
                      <a:pos x="2" y="6"/>
                    </a:cxn>
                    <a:cxn ang="0">
                      <a:pos x="4" y="4"/>
                    </a:cxn>
                    <a:cxn ang="0">
                      <a:pos x="6" y="0"/>
                    </a:cxn>
                    <a:cxn ang="0">
                      <a:pos x="6" y="0"/>
                    </a:cxn>
                  </a:cxnLst>
                  <a:rect l="0" t="0" r="r" b="b"/>
                  <a:pathLst>
                    <a:path w="6" h="6">
                      <a:moveTo>
                        <a:pt x="6" y="0"/>
                      </a:moveTo>
                      <a:lnTo>
                        <a:pt x="6" y="0"/>
                      </a:lnTo>
                      <a:lnTo>
                        <a:pt x="4" y="0"/>
                      </a:lnTo>
                      <a:lnTo>
                        <a:pt x="2" y="2"/>
                      </a:lnTo>
                      <a:lnTo>
                        <a:pt x="0" y="4"/>
                      </a:lnTo>
                      <a:lnTo>
                        <a:pt x="2" y="6"/>
                      </a:lnTo>
                      <a:lnTo>
                        <a:pt x="2" y="6"/>
                      </a:lnTo>
                      <a:lnTo>
                        <a:pt x="4" y="4"/>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8" name="Freeform 6009"/>
                <p:cNvSpPr>
                  <a:spLocks/>
                </p:cNvSpPr>
                <p:nvPr/>
              </p:nvSpPr>
              <p:spPr bwMode="auto">
                <a:xfrm>
                  <a:off x="2847340" y="3583623"/>
                  <a:ext cx="2540" cy="2540"/>
                </a:xfrm>
                <a:custGeom>
                  <a:avLst/>
                  <a:gdLst/>
                  <a:ahLst/>
                  <a:cxnLst>
                    <a:cxn ang="0">
                      <a:pos x="0" y="2"/>
                    </a:cxn>
                    <a:cxn ang="0">
                      <a:pos x="0" y="2"/>
                    </a:cxn>
                    <a:cxn ang="0">
                      <a:pos x="0" y="4"/>
                    </a:cxn>
                    <a:cxn ang="0">
                      <a:pos x="2" y="4"/>
                    </a:cxn>
                    <a:cxn ang="0">
                      <a:pos x="4" y="2"/>
                    </a:cxn>
                    <a:cxn ang="0">
                      <a:pos x="4" y="2"/>
                    </a:cxn>
                    <a:cxn ang="0">
                      <a:pos x="4" y="0"/>
                    </a:cxn>
                    <a:cxn ang="0">
                      <a:pos x="2" y="0"/>
                    </a:cxn>
                    <a:cxn ang="0">
                      <a:pos x="0" y="2"/>
                    </a:cxn>
                    <a:cxn ang="0">
                      <a:pos x="0" y="2"/>
                    </a:cxn>
                  </a:cxnLst>
                  <a:rect l="0" t="0" r="r" b="b"/>
                  <a:pathLst>
                    <a:path w="4" h="4">
                      <a:moveTo>
                        <a:pt x="0" y="2"/>
                      </a:moveTo>
                      <a:lnTo>
                        <a:pt x="0" y="2"/>
                      </a:lnTo>
                      <a:lnTo>
                        <a:pt x="0" y="4"/>
                      </a:lnTo>
                      <a:lnTo>
                        <a:pt x="2" y="4"/>
                      </a:lnTo>
                      <a:lnTo>
                        <a:pt x="4" y="2"/>
                      </a:lnTo>
                      <a:lnTo>
                        <a:pt x="4" y="2"/>
                      </a:lnTo>
                      <a:lnTo>
                        <a:pt x="4" y="0"/>
                      </a:lnTo>
                      <a:lnTo>
                        <a:pt x="2" y="0"/>
                      </a:lnTo>
                      <a:lnTo>
                        <a:pt x="0" y="2"/>
                      </a:lnTo>
                      <a:lnTo>
                        <a:pt x="0"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9" name="Freeform 6010"/>
                <p:cNvSpPr>
                  <a:spLocks/>
                </p:cNvSpPr>
                <p:nvPr/>
              </p:nvSpPr>
              <p:spPr bwMode="auto">
                <a:xfrm>
                  <a:off x="2843530" y="3587433"/>
                  <a:ext cx="5080" cy="5080"/>
                </a:xfrm>
                <a:custGeom>
                  <a:avLst/>
                  <a:gdLst/>
                  <a:ahLst/>
                  <a:cxnLst>
                    <a:cxn ang="0">
                      <a:pos x="0" y="8"/>
                    </a:cxn>
                    <a:cxn ang="0">
                      <a:pos x="0" y="8"/>
                    </a:cxn>
                    <a:cxn ang="0">
                      <a:pos x="0" y="8"/>
                    </a:cxn>
                    <a:cxn ang="0">
                      <a:pos x="2" y="8"/>
                    </a:cxn>
                    <a:cxn ang="0">
                      <a:pos x="4" y="4"/>
                    </a:cxn>
                    <a:cxn ang="0">
                      <a:pos x="8" y="0"/>
                    </a:cxn>
                    <a:cxn ang="0">
                      <a:pos x="8" y="0"/>
                    </a:cxn>
                    <a:cxn ang="0">
                      <a:pos x="6" y="0"/>
                    </a:cxn>
                    <a:cxn ang="0">
                      <a:pos x="6" y="0"/>
                    </a:cxn>
                    <a:cxn ang="0">
                      <a:pos x="4" y="0"/>
                    </a:cxn>
                    <a:cxn ang="0">
                      <a:pos x="2" y="2"/>
                    </a:cxn>
                    <a:cxn ang="0">
                      <a:pos x="0" y="8"/>
                    </a:cxn>
                    <a:cxn ang="0">
                      <a:pos x="0" y="8"/>
                    </a:cxn>
                  </a:cxnLst>
                  <a:rect l="0" t="0" r="r" b="b"/>
                  <a:pathLst>
                    <a:path w="8" h="8">
                      <a:moveTo>
                        <a:pt x="0" y="8"/>
                      </a:moveTo>
                      <a:lnTo>
                        <a:pt x="0" y="8"/>
                      </a:lnTo>
                      <a:lnTo>
                        <a:pt x="0" y="8"/>
                      </a:lnTo>
                      <a:lnTo>
                        <a:pt x="2" y="8"/>
                      </a:lnTo>
                      <a:lnTo>
                        <a:pt x="4" y="4"/>
                      </a:lnTo>
                      <a:lnTo>
                        <a:pt x="8" y="0"/>
                      </a:lnTo>
                      <a:lnTo>
                        <a:pt x="8" y="0"/>
                      </a:lnTo>
                      <a:lnTo>
                        <a:pt x="6" y="0"/>
                      </a:lnTo>
                      <a:lnTo>
                        <a:pt x="6" y="0"/>
                      </a:lnTo>
                      <a:lnTo>
                        <a:pt x="4" y="0"/>
                      </a:lnTo>
                      <a:lnTo>
                        <a:pt x="2" y="2"/>
                      </a:lnTo>
                      <a:lnTo>
                        <a:pt x="0" y="8"/>
                      </a:lnTo>
                      <a:lnTo>
                        <a:pt x="0"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0" name="Freeform 6011"/>
                <p:cNvSpPr>
                  <a:spLocks/>
                </p:cNvSpPr>
                <p:nvPr/>
              </p:nvSpPr>
              <p:spPr bwMode="auto">
                <a:xfrm>
                  <a:off x="2846070" y="3588703"/>
                  <a:ext cx="3810" cy="3810"/>
                </a:xfrm>
                <a:custGeom>
                  <a:avLst/>
                  <a:gdLst/>
                  <a:ahLst/>
                  <a:cxnLst>
                    <a:cxn ang="0">
                      <a:pos x="4" y="0"/>
                    </a:cxn>
                    <a:cxn ang="0">
                      <a:pos x="4" y="0"/>
                    </a:cxn>
                    <a:cxn ang="0">
                      <a:pos x="2" y="2"/>
                    </a:cxn>
                    <a:cxn ang="0">
                      <a:pos x="2" y="4"/>
                    </a:cxn>
                    <a:cxn ang="0">
                      <a:pos x="0" y="6"/>
                    </a:cxn>
                    <a:cxn ang="0">
                      <a:pos x="2" y="6"/>
                    </a:cxn>
                    <a:cxn ang="0">
                      <a:pos x="2" y="6"/>
                    </a:cxn>
                    <a:cxn ang="0">
                      <a:pos x="4" y="6"/>
                    </a:cxn>
                    <a:cxn ang="0">
                      <a:pos x="6" y="4"/>
                    </a:cxn>
                    <a:cxn ang="0">
                      <a:pos x="6" y="2"/>
                    </a:cxn>
                    <a:cxn ang="0">
                      <a:pos x="4" y="0"/>
                    </a:cxn>
                    <a:cxn ang="0">
                      <a:pos x="4" y="0"/>
                    </a:cxn>
                  </a:cxnLst>
                  <a:rect l="0" t="0" r="r" b="b"/>
                  <a:pathLst>
                    <a:path w="6" h="6">
                      <a:moveTo>
                        <a:pt x="4" y="0"/>
                      </a:moveTo>
                      <a:lnTo>
                        <a:pt x="4" y="0"/>
                      </a:lnTo>
                      <a:lnTo>
                        <a:pt x="2" y="2"/>
                      </a:lnTo>
                      <a:lnTo>
                        <a:pt x="2" y="4"/>
                      </a:lnTo>
                      <a:lnTo>
                        <a:pt x="0" y="6"/>
                      </a:lnTo>
                      <a:lnTo>
                        <a:pt x="2" y="6"/>
                      </a:lnTo>
                      <a:lnTo>
                        <a:pt x="2" y="6"/>
                      </a:lnTo>
                      <a:lnTo>
                        <a:pt x="4" y="6"/>
                      </a:lnTo>
                      <a:lnTo>
                        <a:pt x="6" y="4"/>
                      </a:lnTo>
                      <a:lnTo>
                        <a:pt x="6" y="2"/>
                      </a:lnTo>
                      <a:lnTo>
                        <a:pt x="4" y="0"/>
                      </a:lnTo>
                      <a:lnTo>
                        <a:pt x="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1" name="Freeform 6012"/>
                <p:cNvSpPr>
                  <a:spLocks/>
                </p:cNvSpPr>
                <p:nvPr/>
              </p:nvSpPr>
              <p:spPr bwMode="auto">
                <a:xfrm>
                  <a:off x="2269490" y="2471103"/>
                  <a:ext cx="119380" cy="58420"/>
                </a:xfrm>
                <a:custGeom>
                  <a:avLst/>
                  <a:gdLst/>
                  <a:ahLst/>
                  <a:cxnLst>
                    <a:cxn ang="0">
                      <a:pos x="182" y="0"/>
                    </a:cxn>
                    <a:cxn ang="0">
                      <a:pos x="180" y="4"/>
                    </a:cxn>
                    <a:cxn ang="0">
                      <a:pos x="180" y="8"/>
                    </a:cxn>
                    <a:cxn ang="0">
                      <a:pos x="174" y="10"/>
                    </a:cxn>
                    <a:cxn ang="0">
                      <a:pos x="154" y="12"/>
                    </a:cxn>
                    <a:cxn ang="0">
                      <a:pos x="130" y="16"/>
                    </a:cxn>
                    <a:cxn ang="0">
                      <a:pos x="126" y="20"/>
                    </a:cxn>
                    <a:cxn ang="0">
                      <a:pos x="126" y="26"/>
                    </a:cxn>
                    <a:cxn ang="0">
                      <a:pos x="132" y="30"/>
                    </a:cxn>
                    <a:cxn ang="0">
                      <a:pos x="112" y="26"/>
                    </a:cxn>
                    <a:cxn ang="0">
                      <a:pos x="98" y="24"/>
                    </a:cxn>
                    <a:cxn ang="0">
                      <a:pos x="82" y="26"/>
                    </a:cxn>
                    <a:cxn ang="0">
                      <a:pos x="68" y="38"/>
                    </a:cxn>
                    <a:cxn ang="0">
                      <a:pos x="60" y="46"/>
                    </a:cxn>
                    <a:cxn ang="0">
                      <a:pos x="50" y="50"/>
                    </a:cxn>
                    <a:cxn ang="0">
                      <a:pos x="40" y="60"/>
                    </a:cxn>
                    <a:cxn ang="0">
                      <a:pos x="38" y="62"/>
                    </a:cxn>
                    <a:cxn ang="0">
                      <a:pos x="32" y="58"/>
                    </a:cxn>
                    <a:cxn ang="0">
                      <a:pos x="26" y="58"/>
                    </a:cxn>
                    <a:cxn ang="0">
                      <a:pos x="18" y="56"/>
                    </a:cxn>
                    <a:cxn ang="0">
                      <a:pos x="16" y="52"/>
                    </a:cxn>
                    <a:cxn ang="0">
                      <a:pos x="18" y="46"/>
                    </a:cxn>
                    <a:cxn ang="0">
                      <a:pos x="26" y="44"/>
                    </a:cxn>
                    <a:cxn ang="0">
                      <a:pos x="36" y="42"/>
                    </a:cxn>
                    <a:cxn ang="0">
                      <a:pos x="44" y="36"/>
                    </a:cxn>
                    <a:cxn ang="0">
                      <a:pos x="40" y="32"/>
                    </a:cxn>
                    <a:cxn ang="0">
                      <a:pos x="34" y="30"/>
                    </a:cxn>
                    <a:cxn ang="0">
                      <a:pos x="30" y="20"/>
                    </a:cxn>
                    <a:cxn ang="0">
                      <a:pos x="24" y="30"/>
                    </a:cxn>
                    <a:cxn ang="0">
                      <a:pos x="20" y="36"/>
                    </a:cxn>
                    <a:cxn ang="0">
                      <a:pos x="14" y="42"/>
                    </a:cxn>
                    <a:cxn ang="0">
                      <a:pos x="10" y="50"/>
                    </a:cxn>
                    <a:cxn ang="0">
                      <a:pos x="4" y="66"/>
                    </a:cxn>
                    <a:cxn ang="0">
                      <a:pos x="0" y="76"/>
                    </a:cxn>
                    <a:cxn ang="0">
                      <a:pos x="2" y="78"/>
                    </a:cxn>
                    <a:cxn ang="0">
                      <a:pos x="12" y="80"/>
                    </a:cxn>
                    <a:cxn ang="0">
                      <a:pos x="28" y="84"/>
                    </a:cxn>
                    <a:cxn ang="0">
                      <a:pos x="28" y="84"/>
                    </a:cxn>
                    <a:cxn ang="0">
                      <a:pos x="24" y="86"/>
                    </a:cxn>
                    <a:cxn ang="0">
                      <a:pos x="18" y="88"/>
                    </a:cxn>
                    <a:cxn ang="0">
                      <a:pos x="20" y="90"/>
                    </a:cxn>
                    <a:cxn ang="0">
                      <a:pos x="42" y="92"/>
                    </a:cxn>
                    <a:cxn ang="0">
                      <a:pos x="82" y="82"/>
                    </a:cxn>
                    <a:cxn ang="0">
                      <a:pos x="102" y="70"/>
                    </a:cxn>
                    <a:cxn ang="0">
                      <a:pos x="130" y="54"/>
                    </a:cxn>
                    <a:cxn ang="0">
                      <a:pos x="140" y="50"/>
                    </a:cxn>
                    <a:cxn ang="0">
                      <a:pos x="164" y="36"/>
                    </a:cxn>
                    <a:cxn ang="0">
                      <a:pos x="184" y="20"/>
                    </a:cxn>
                    <a:cxn ang="0">
                      <a:pos x="188" y="8"/>
                    </a:cxn>
                    <a:cxn ang="0">
                      <a:pos x="184" y="0"/>
                    </a:cxn>
                    <a:cxn ang="0">
                      <a:pos x="182" y="0"/>
                    </a:cxn>
                  </a:cxnLst>
                  <a:rect l="0" t="0" r="r" b="b"/>
                  <a:pathLst>
                    <a:path w="188" h="92">
                      <a:moveTo>
                        <a:pt x="182" y="0"/>
                      </a:moveTo>
                      <a:lnTo>
                        <a:pt x="182" y="0"/>
                      </a:lnTo>
                      <a:lnTo>
                        <a:pt x="180" y="2"/>
                      </a:lnTo>
                      <a:lnTo>
                        <a:pt x="180" y="4"/>
                      </a:lnTo>
                      <a:lnTo>
                        <a:pt x="180" y="8"/>
                      </a:lnTo>
                      <a:lnTo>
                        <a:pt x="180" y="8"/>
                      </a:lnTo>
                      <a:lnTo>
                        <a:pt x="178" y="10"/>
                      </a:lnTo>
                      <a:lnTo>
                        <a:pt x="174" y="10"/>
                      </a:lnTo>
                      <a:lnTo>
                        <a:pt x="154" y="12"/>
                      </a:lnTo>
                      <a:lnTo>
                        <a:pt x="154" y="12"/>
                      </a:lnTo>
                      <a:lnTo>
                        <a:pt x="134" y="14"/>
                      </a:lnTo>
                      <a:lnTo>
                        <a:pt x="130" y="16"/>
                      </a:lnTo>
                      <a:lnTo>
                        <a:pt x="126" y="20"/>
                      </a:lnTo>
                      <a:lnTo>
                        <a:pt x="126" y="20"/>
                      </a:lnTo>
                      <a:lnTo>
                        <a:pt x="126" y="22"/>
                      </a:lnTo>
                      <a:lnTo>
                        <a:pt x="126" y="26"/>
                      </a:lnTo>
                      <a:lnTo>
                        <a:pt x="130" y="28"/>
                      </a:lnTo>
                      <a:lnTo>
                        <a:pt x="132" y="30"/>
                      </a:lnTo>
                      <a:lnTo>
                        <a:pt x="128" y="30"/>
                      </a:lnTo>
                      <a:lnTo>
                        <a:pt x="112" y="26"/>
                      </a:lnTo>
                      <a:lnTo>
                        <a:pt x="112" y="26"/>
                      </a:lnTo>
                      <a:lnTo>
                        <a:pt x="98" y="24"/>
                      </a:lnTo>
                      <a:lnTo>
                        <a:pt x="90" y="24"/>
                      </a:lnTo>
                      <a:lnTo>
                        <a:pt x="82" y="26"/>
                      </a:lnTo>
                      <a:lnTo>
                        <a:pt x="76" y="30"/>
                      </a:lnTo>
                      <a:lnTo>
                        <a:pt x="68" y="38"/>
                      </a:lnTo>
                      <a:lnTo>
                        <a:pt x="64" y="42"/>
                      </a:lnTo>
                      <a:lnTo>
                        <a:pt x="60" y="46"/>
                      </a:lnTo>
                      <a:lnTo>
                        <a:pt x="60" y="46"/>
                      </a:lnTo>
                      <a:lnTo>
                        <a:pt x="50" y="50"/>
                      </a:lnTo>
                      <a:lnTo>
                        <a:pt x="44" y="54"/>
                      </a:lnTo>
                      <a:lnTo>
                        <a:pt x="40" y="60"/>
                      </a:lnTo>
                      <a:lnTo>
                        <a:pt x="40" y="60"/>
                      </a:lnTo>
                      <a:lnTo>
                        <a:pt x="38" y="62"/>
                      </a:lnTo>
                      <a:lnTo>
                        <a:pt x="36" y="60"/>
                      </a:lnTo>
                      <a:lnTo>
                        <a:pt x="32" y="58"/>
                      </a:lnTo>
                      <a:lnTo>
                        <a:pt x="26" y="58"/>
                      </a:lnTo>
                      <a:lnTo>
                        <a:pt x="26" y="58"/>
                      </a:lnTo>
                      <a:lnTo>
                        <a:pt x="22" y="58"/>
                      </a:lnTo>
                      <a:lnTo>
                        <a:pt x="18" y="56"/>
                      </a:lnTo>
                      <a:lnTo>
                        <a:pt x="16" y="54"/>
                      </a:lnTo>
                      <a:lnTo>
                        <a:pt x="16" y="52"/>
                      </a:lnTo>
                      <a:lnTo>
                        <a:pt x="16" y="48"/>
                      </a:lnTo>
                      <a:lnTo>
                        <a:pt x="18" y="46"/>
                      </a:lnTo>
                      <a:lnTo>
                        <a:pt x="20" y="44"/>
                      </a:lnTo>
                      <a:lnTo>
                        <a:pt x="26" y="44"/>
                      </a:lnTo>
                      <a:lnTo>
                        <a:pt x="26" y="44"/>
                      </a:lnTo>
                      <a:lnTo>
                        <a:pt x="36" y="42"/>
                      </a:lnTo>
                      <a:lnTo>
                        <a:pt x="42" y="38"/>
                      </a:lnTo>
                      <a:lnTo>
                        <a:pt x="44" y="36"/>
                      </a:lnTo>
                      <a:lnTo>
                        <a:pt x="42" y="34"/>
                      </a:lnTo>
                      <a:lnTo>
                        <a:pt x="40" y="32"/>
                      </a:lnTo>
                      <a:lnTo>
                        <a:pt x="34" y="30"/>
                      </a:lnTo>
                      <a:lnTo>
                        <a:pt x="34" y="30"/>
                      </a:lnTo>
                      <a:lnTo>
                        <a:pt x="32" y="22"/>
                      </a:lnTo>
                      <a:lnTo>
                        <a:pt x="30" y="20"/>
                      </a:lnTo>
                      <a:lnTo>
                        <a:pt x="28" y="22"/>
                      </a:lnTo>
                      <a:lnTo>
                        <a:pt x="24" y="30"/>
                      </a:lnTo>
                      <a:lnTo>
                        <a:pt x="24" y="30"/>
                      </a:lnTo>
                      <a:lnTo>
                        <a:pt x="20" y="36"/>
                      </a:lnTo>
                      <a:lnTo>
                        <a:pt x="16" y="40"/>
                      </a:lnTo>
                      <a:lnTo>
                        <a:pt x="14" y="42"/>
                      </a:lnTo>
                      <a:lnTo>
                        <a:pt x="10" y="50"/>
                      </a:lnTo>
                      <a:lnTo>
                        <a:pt x="10" y="50"/>
                      </a:lnTo>
                      <a:lnTo>
                        <a:pt x="8" y="60"/>
                      </a:lnTo>
                      <a:lnTo>
                        <a:pt x="4" y="66"/>
                      </a:lnTo>
                      <a:lnTo>
                        <a:pt x="2" y="72"/>
                      </a:lnTo>
                      <a:lnTo>
                        <a:pt x="0" y="76"/>
                      </a:lnTo>
                      <a:lnTo>
                        <a:pt x="0" y="76"/>
                      </a:lnTo>
                      <a:lnTo>
                        <a:pt x="2" y="78"/>
                      </a:lnTo>
                      <a:lnTo>
                        <a:pt x="4" y="80"/>
                      </a:lnTo>
                      <a:lnTo>
                        <a:pt x="12" y="80"/>
                      </a:lnTo>
                      <a:lnTo>
                        <a:pt x="20" y="82"/>
                      </a:lnTo>
                      <a:lnTo>
                        <a:pt x="28" y="84"/>
                      </a:lnTo>
                      <a:lnTo>
                        <a:pt x="28" y="84"/>
                      </a:lnTo>
                      <a:lnTo>
                        <a:pt x="28" y="84"/>
                      </a:lnTo>
                      <a:lnTo>
                        <a:pt x="28" y="86"/>
                      </a:lnTo>
                      <a:lnTo>
                        <a:pt x="24" y="86"/>
                      </a:lnTo>
                      <a:lnTo>
                        <a:pt x="18" y="88"/>
                      </a:lnTo>
                      <a:lnTo>
                        <a:pt x="18" y="88"/>
                      </a:lnTo>
                      <a:lnTo>
                        <a:pt x="20" y="90"/>
                      </a:lnTo>
                      <a:lnTo>
                        <a:pt x="20" y="90"/>
                      </a:lnTo>
                      <a:lnTo>
                        <a:pt x="28" y="92"/>
                      </a:lnTo>
                      <a:lnTo>
                        <a:pt x="42" y="92"/>
                      </a:lnTo>
                      <a:lnTo>
                        <a:pt x="60" y="88"/>
                      </a:lnTo>
                      <a:lnTo>
                        <a:pt x="82" y="82"/>
                      </a:lnTo>
                      <a:lnTo>
                        <a:pt x="82" y="82"/>
                      </a:lnTo>
                      <a:lnTo>
                        <a:pt x="102" y="70"/>
                      </a:lnTo>
                      <a:lnTo>
                        <a:pt x="118" y="60"/>
                      </a:lnTo>
                      <a:lnTo>
                        <a:pt x="130" y="54"/>
                      </a:lnTo>
                      <a:lnTo>
                        <a:pt x="140" y="50"/>
                      </a:lnTo>
                      <a:lnTo>
                        <a:pt x="140" y="50"/>
                      </a:lnTo>
                      <a:lnTo>
                        <a:pt x="152" y="44"/>
                      </a:lnTo>
                      <a:lnTo>
                        <a:pt x="164" y="36"/>
                      </a:lnTo>
                      <a:lnTo>
                        <a:pt x="184" y="20"/>
                      </a:lnTo>
                      <a:lnTo>
                        <a:pt x="184" y="20"/>
                      </a:lnTo>
                      <a:lnTo>
                        <a:pt x="186" y="14"/>
                      </a:lnTo>
                      <a:lnTo>
                        <a:pt x="188" y="8"/>
                      </a:lnTo>
                      <a:lnTo>
                        <a:pt x="186" y="2"/>
                      </a:lnTo>
                      <a:lnTo>
                        <a:pt x="184" y="0"/>
                      </a:lnTo>
                      <a:lnTo>
                        <a:pt x="182" y="0"/>
                      </a:lnTo>
                      <a:lnTo>
                        <a:pt x="18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2" name="Freeform 6013"/>
                <p:cNvSpPr>
                  <a:spLocks/>
                </p:cNvSpPr>
                <p:nvPr/>
              </p:nvSpPr>
              <p:spPr bwMode="auto">
                <a:xfrm>
                  <a:off x="2048510" y="2253933"/>
                  <a:ext cx="318770" cy="267970"/>
                </a:xfrm>
                <a:custGeom>
                  <a:avLst/>
                  <a:gdLst/>
                  <a:ahLst/>
                  <a:cxnLst>
                    <a:cxn ang="0">
                      <a:pos x="50" y="120"/>
                    </a:cxn>
                    <a:cxn ang="0">
                      <a:pos x="52" y="140"/>
                    </a:cxn>
                    <a:cxn ang="0">
                      <a:pos x="106" y="128"/>
                    </a:cxn>
                    <a:cxn ang="0">
                      <a:pos x="144" y="110"/>
                    </a:cxn>
                    <a:cxn ang="0">
                      <a:pos x="164" y="120"/>
                    </a:cxn>
                    <a:cxn ang="0">
                      <a:pos x="200" y="146"/>
                    </a:cxn>
                    <a:cxn ang="0">
                      <a:pos x="242" y="138"/>
                    </a:cxn>
                    <a:cxn ang="0">
                      <a:pos x="286" y="142"/>
                    </a:cxn>
                    <a:cxn ang="0">
                      <a:pos x="316" y="154"/>
                    </a:cxn>
                    <a:cxn ang="0">
                      <a:pos x="328" y="176"/>
                    </a:cxn>
                    <a:cxn ang="0">
                      <a:pos x="298" y="180"/>
                    </a:cxn>
                    <a:cxn ang="0">
                      <a:pos x="262" y="170"/>
                    </a:cxn>
                    <a:cxn ang="0">
                      <a:pos x="220" y="194"/>
                    </a:cxn>
                    <a:cxn ang="0">
                      <a:pos x="210" y="188"/>
                    </a:cxn>
                    <a:cxn ang="0">
                      <a:pos x="186" y="218"/>
                    </a:cxn>
                    <a:cxn ang="0">
                      <a:pos x="166" y="250"/>
                    </a:cxn>
                    <a:cxn ang="0">
                      <a:pos x="188" y="240"/>
                    </a:cxn>
                    <a:cxn ang="0">
                      <a:pos x="184" y="276"/>
                    </a:cxn>
                    <a:cxn ang="0">
                      <a:pos x="174" y="316"/>
                    </a:cxn>
                    <a:cxn ang="0">
                      <a:pos x="172" y="390"/>
                    </a:cxn>
                    <a:cxn ang="0">
                      <a:pos x="206" y="420"/>
                    </a:cxn>
                    <a:cxn ang="0">
                      <a:pos x="238" y="354"/>
                    </a:cxn>
                    <a:cxn ang="0">
                      <a:pos x="228" y="292"/>
                    </a:cxn>
                    <a:cxn ang="0">
                      <a:pos x="236" y="258"/>
                    </a:cxn>
                    <a:cxn ang="0">
                      <a:pos x="260" y="226"/>
                    </a:cxn>
                    <a:cxn ang="0">
                      <a:pos x="270" y="230"/>
                    </a:cxn>
                    <a:cxn ang="0">
                      <a:pos x="284" y="204"/>
                    </a:cxn>
                    <a:cxn ang="0">
                      <a:pos x="304" y="190"/>
                    </a:cxn>
                    <a:cxn ang="0">
                      <a:pos x="334" y="208"/>
                    </a:cxn>
                    <a:cxn ang="0">
                      <a:pos x="350" y="232"/>
                    </a:cxn>
                    <a:cxn ang="0">
                      <a:pos x="342" y="282"/>
                    </a:cxn>
                    <a:cxn ang="0">
                      <a:pos x="340" y="312"/>
                    </a:cxn>
                    <a:cxn ang="0">
                      <a:pos x="366" y="288"/>
                    </a:cxn>
                    <a:cxn ang="0">
                      <a:pos x="390" y="344"/>
                    </a:cxn>
                    <a:cxn ang="0">
                      <a:pos x="418" y="288"/>
                    </a:cxn>
                    <a:cxn ang="0">
                      <a:pos x="432" y="236"/>
                    </a:cxn>
                    <a:cxn ang="0">
                      <a:pos x="432" y="218"/>
                    </a:cxn>
                    <a:cxn ang="0">
                      <a:pos x="444" y="234"/>
                    </a:cxn>
                    <a:cxn ang="0">
                      <a:pos x="450" y="246"/>
                    </a:cxn>
                    <a:cxn ang="0">
                      <a:pos x="472" y="256"/>
                    </a:cxn>
                    <a:cxn ang="0">
                      <a:pos x="484" y="246"/>
                    </a:cxn>
                    <a:cxn ang="0">
                      <a:pos x="500" y="250"/>
                    </a:cxn>
                    <a:cxn ang="0">
                      <a:pos x="486" y="218"/>
                    </a:cxn>
                    <a:cxn ang="0">
                      <a:pos x="468" y="196"/>
                    </a:cxn>
                    <a:cxn ang="0">
                      <a:pos x="426" y="172"/>
                    </a:cxn>
                    <a:cxn ang="0">
                      <a:pos x="388" y="166"/>
                    </a:cxn>
                    <a:cxn ang="0">
                      <a:pos x="324" y="148"/>
                    </a:cxn>
                    <a:cxn ang="0">
                      <a:pos x="304" y="140"/>
                    </a:cxn>
                    <a:cxn ang="0">
                      <a:pos x="306" y="122"/>
                    </a:cxn>
                    <a:cxn ang="0">
                      <a:pos x="302" y="98"/>
                    </a:cxn>
                    <a:cxn ang="0">
                      <a:pos x="290" y="62"/>
                    </a:cxn>
                    <a:cxn ang="0">
                      <a:pos x="244" y="50"/>
                    </a:cxn>
                    <a:cxn ang="0">
                      <a:pos x="214" y="14"/>
                    </a:cxn>
                    <a:cxn ang="0">
                      <a:pos x="162" y="0"/>
                    </a:cxn>
                    <a:cxn ang="0">
                      <a:pos x="158" y="24"/>
                    </a:cxn>
                    <a:cxn ang="0">
                      <a:pos x="150" y="8"/>
                    </a:cxn>
                    <a:cxn ang="0">
                      <a:pos x="132" y="34"/>
                    </a:cxn>
                    <a:cxn ang="0">
                      <a:pos x="118" y="36"/>
                    </a:cxn>
                    <a:cxn ang="0">
                      <a:pos x="46" y="86"/>
                    </a:cxn>
                    <a:cxn ang="0">
                      <a:pos x="4" y="134"/>
                    </a:cxn>
                  </a:cxnLst>
                  <a:rect l="0" t="0" r="r" b="b"/>
                  <a:pathLst>
                    <a:path w="502" h="422">
                      <a:moveTo>
                        <a:pt x="4" y="134"/>
                      </a:moveTo>
                      <a:lnTo>
                        <a:pt x="4" y="134"/>
                      </a:lnTo>
                      <a:lnTo>
                        <a:pt x="10" y="134"/>
                      </a:lnTo>
                      <a:lnTo>
                        <a:pt x="16" y="134"/>
                      </a:lnTo>
                      <a:lnTo>
                        <a:pt x="28" y="128"/>
                      </a:lnTo>
                      <a:lnTo>
                        <a:pt x="40" y="122"/>
                      </a:lnTo>
                      <a:lnTo>
                        <a:pt x="46" y="120"/>
                      </a:lnTo>
                      <a:lnTo>
                        <a:pt x="50" y="120"/>
                      </a:lnTo>
                      <a:lnTo>
                        <a:pt x="50" y="120"/>
                      </a:lnTo>
                      <a:lnTo>
                        <a:pt x="52" y="122"/>
                      </a:lnTo>
                      <a:lnTo>
                        <a:pt x="54" y="124"/>
                      </a:lnTo>
                      <a:lnTo>
                        <a:pt x="50" y="132"/>
                      </a:lnTo>
                      <a:lnTo>
                        <a:pt x="46" y="140"/>
                      </a:lnTo>
                      <a:lnTo>
                        <a:pt x="48" y="142"/>
                      </a:lnTo>
                      <a:lnTo>
                        <a:pt x="52" y="140"/>
                      </a:lnTo>
                      <a:lnTo>
                        <a:pt x="52" y="140"/>
                      </a:lnTo>
                      <a:lnTo>
                        <a:pt x="60" y="140"/>
                      </a:lnTo>
                      <a:lnTo>
                        <a:pt x="68" y="142"/>
                      </a:lnTo>
                      <a:lnTo>
                        <a:pt x="76" y="140"/>
                      </a:lnTo>
                      <a:lnTo>
                        <a:pt x="86" y="134"/>
                      </a:lnTo>
                      <a:lnTo>
                        <a:pt x="86" y="134"/>
                      </a:lnTo>
                      <a:lnTo>
                        <a:pt x="92" y="130"/>
                      </a:lnTo>
                      <a:lnTo>
                        <a:pt x="98" y="128"/>
                      </a:lnTo>
                      <a:lnTo>
                        <a:pt x="106" y="128"/>
                      </a:lnTo>
                      <a:lnTo>
                        <a:pt x="112" y="126"/>
                      </a:lnTo>
                      <a:lnTo>
                        <a:pt x="118" y="124"/>
                      </a:lnTo>
                      <a:lnTo>
                        <a:pt x="122" y="120"/>
                      </a:lnTo>
                      <a:lnTo>
                        <a:pt x="122" y="120"/>
                      </a:lnTo>
                      <a:lnTo>
                        <a:pt x="132" y="110"/>
                      </a:lnTo>
                      <a:lnTo>
                        <a:pt x="140" y="106"/>
                      </a:lnTo>
                      <a:lnTo>
                        <a:pt x="142" y="108"/>
                      </a:lnTo>
                      <a:lnTo>
                        <a:pt x="144" y="110"/>
                      </a:lnTo>
                      <a:lnTo>
                        <a:pt x="146" y="120"/>
                      </a:lnTo>
                      <a:lnTo>
                        <a:pt x="146" y="120"/>
                      </a:lnTo>
                      <a:lnTo>
                        <a:pt x="148" y="124"/>
                      </a:lnTo>
                      <a:lnTo>
                        <a:pt x="148" y="126"/>
                      </a:lnTo>
                      <a:lnTo>
                        <a:pt x="150" y="126"/>
                      </a:lnTo>
                      <a:lnTo>
                        <a:pt x="152" y="124"/>
                      </a:lnTo>
                      <a:lnTo>
                        <a:pt x="160" y="120"/>
                      </a:lnTo>
                      <a:lnTo>
                        <a:pt x="164" y="120"/>
                      </a:lnTo>
                      <a:lnTo>
                        <a:pt x="170" y="122"/>
                      </a:lnTo>
                      <a:lnTo>
                        <a:pt x="170" y="122"/>
                      </a:lnTo>
                      <a:lnTo>
                        <a:pt x="176" y="124"/>
                      </a:lnTo>
                      <a:lnTo>
                        <a:pt x="180" y="128"/>
                      </a:lnTo>
                      <a:lnTo>
                        <a:pt x="186" y="138"/>
                      </a:lnTo>
                      <a:lnTo>
                        <a:pt x="192" y="144"/>
                      </a:lnTo>
                      <a:lnTo>
                        <a:pt x="194" y="146"/>
                      </a:lnTo>
                      <a:lnTo>
                        <a:pt x="200" y="146"/>
                      </a:lnTo>
                      <a:lnTo>
                        <a:pt x="200" y="146"/>
                      </a:lnTo>
                      <a:lnTo>
                        <a:pt x="210" y="148"/>
                      </a:lnTo>
                      <a:lnTo>
                        <a:pt x="216" y="148"/>
                      </a:lnTo>
                      <a:lnTo>
                        <a:pt x="222" y="148"/>
                      </a:lnTo>
                      <a:lnTo>
                        <a:pt x="230" y="144"/>
                      </a:lnTo>
                      <a:lnTo>
                        <a:pt x="230" y="144"/>
                      </a:lnTo>
                      <a:lnTo>
                        <a:pt x="236" y="140"/>
                      </a:lnTo>
                      <a:lnTo>
                        <a:pt x="242" y="138"/>
                      </a:lnTo>
                      <a:lnTo>
                        <a:pt x="256" y="136"/>
                      </a:lnTo>
                      <a:lnTo>
                        <a:pt x="272" y="134"/>
                      </a:lnTo>
                      <a:lnTo>
                        <a:pt x="282" y="132"/>
                      </a:lnTo>
                      <a:lnTo>
                        <a:pt x="282" y="132"/>
                      </a:lnTo>
                      <a:lnTo>
                        <a:pt x="286" y="130"/>
                      </a:lnTo>
                      <a:lnTo>
                        <a:pt x="288" y="130"/>
                      </a:lnTo>
                      <a:lnTo>
                        <a:pt x="286" y="136"/>
                      </a:lnTo>
                      <a:lnTo>
                        <a:pt x="286" y="142"/>
                      </a:lnTo>
                      <a:lnTo>
                        <a:pt x="288" y="144"/>
                      </a:lnTo>
                      <a:lnTo>
                        <a:pt x="290" y="146"/>
                      </a:lnTo>
                      <a:lnTo>
                        <a:pt x="290" y="146"/>
                      </a:lnTo>
                      <a:lnTo>
                        <a:pt x="302" y="150"/>
                      </a:lnTo>
                      <a:lnTo>
                        <a:pt x="310" y="150"/>
                      </a:lnTo>
                      <a:lnTo>
                        <a:pt x="314" y="150"/>
                      </a:lnTo>
                      <a:lnTo>
                        <a:pt x="316" y="150"/>
                      </a:lnTo>
                      <a:lnTo>
                        <a:pt x="316" y="154"/>
                      </a:lnTo>
                      <a:lnTo>
                        <a:pt x="316" y="154"/>
                      </a:lnTo>
                      <a:lnTo>
                        <a:pt x="318" y="162"/>
                      </a:lnTo>
                      <a:lnTo>
                        <a:pt x="322" y="164"/>
                      </a:lnTo>
                      <a:lnTo>
                        <a:pt x="326" y="166"/>
                      </a:lnTo>
                      <a:lnTo>
                        <a:pt x="330" y="170"/>
                      </a:lnTo>
                      <a:lnTo>
                        <a:pt x="330" y="170"/>
                      </a:lnTo>
                      <a:lnTo>
                        <a:pt x="330" y="174"/>
                      </a:lnTo>
                      <a:lnTo>
                        <a:pt x="328" y="176"/>
                      </a:lnTo>
                      <a:lnTo>
                        <a:pt x="322" y="178"/>
                      </a:lnTo>
                      <a:lnTo>
                        <a:pt x="312" y="176"/>
                      </a:lnTo>
                      <a:lnTo>
                        <a:pt x="304" y="172"/>
                      </a:lnTo>
                      <a:lnTo>
                        <a:pt x="304" y="172"/>
                      </a:lnTo>
                      <a:lnTo>
                        <a:pt x="302" y="172"/>
                      </a:lnTo>
                      <a:lnTo>
                        <a:pt x="300" y="174"/>
                      </a:lnTo>
                      <a:lnTo>
                        <a:pt x="300" y="178"/>
                      </a:lnTo>
                      <a:lnTo>
                        <a:pt x="298" y="180"/>
                      </a:lnTo>
                      <a:lnTo>
                        <a:pt x="296" y="182"/>
                      </a:lnTo>
                      <a:lnTo>
                        <a:pt x="294" y="182"/>
                      </a:lnTo>
                      <a:lnTo>
                        <a:pt x="288" y="178"/>
                      </a:lnTo>
                      <a:lnTo>
                        <a:pt x="288" y="178"/>
                      </a:lnTo>
                      <a:lnTo>
                        <a:pt x="278" y="172"/>
                      </a:lnTo>
                      <a:lnTo>
                        <a:pt x="270" y="170"/>
                      </a:lnTo>
                      <a:lnTo>
                        <a:pt x="266" y="168"/>
                      </a:lnTo>
                      <a:lnTo>
                        <a:pt x="262" y="170"/>
                      </a:lnTo>
                      <a:lnTo>
                        <a:pt x="256" y="176"/>
                      </a:lnTo>
                      <a:lnTo>
                        <a:pt x="252" y="176"/>
                      </a:lnTo>
                      <a:lnTo>
                        <a:pt x="242" y="176"/>
                      </a:lnTo>
                      <a:lnTo>
                        <a:pt x="242" y="176"/>
                      </a:lnTo>
                      <a:lnTo>
                        <a:pt x="238" y="178"/>
                      </a:lnTo>
                      <a:lnTo>
                        <a:pt x="234" y="180"/>
                      </a:lnTo>
                      <a:lnTo>
                        <a:pt x="226" y="188"/>
                      </a:lnTo>
                      <a:lnTo>
                        <a:pt x="220" y="194"/>
                      </a:lnTo>
                      <a:lnTo>
                        <a:pt x="220" y="194"/>
                      </a:lnTo>
                      <a:lnTo>
                        <a:pt x="220" y="190"/>
                      </a:lnTo>
                      <a:lnTo>
                        <a:pt x="220" y="190"/>
                      </a:lnTo>
                      <a:lnTo>
                        <a:pt x="222" y="184"/>
                      </a:lnTo>
                      <a:lnTo>
                        <a:pt x="220" y="184"/>
                      </a:lnTo>
                      <a:lnTo>
                        <a:pt x="216" y="186"/>
                      </a:lnTo>
                      <a:lnTo>
                        <a:pt x="212" y="188"/>
                      </a:lnTo>
                      <a:lnTo>
                        <a:pt x="210" y="188"/>
                      </a:lnTo>
                      <a:lnTo>
                        <a:pt x="208" y="184"/>
                      </a:lnTo>
                      <a:lnTo>
                        <a:pt x="208" y="184"/>
                      </a:lnTo>
                      <a:lnTo>
                        <a:pt x="208" y="182"/>
                      </a:lnTo>
                      <a:lnTo>
                        <a:pt x="206" y="184"/>
                      </a:lnTo>
                      <a:lnTo>
                        <a:pt x="200" y="192"/>
                      </a:lnTo>
                      <a:lnTo>
                        <a:pt x="194" y="206"/>
                      </a:lnTo>
                      <a:lnTo>
                        <a:pt x="186" y="218"/>
                      </a:lnTo>
                      <a:lnTo>
                        <a:pt x="186" y="218"/>
                      </a:lnTo>
                      <a:lnTo>
                        <a:pt x="182" y="224"/>
                      </a:lnTo>
                      <a:lnTo>
                        <a:pt x="180" y="228"/>
                      </a:lnTo>
                      <a:lnTo>
                        <a:pt x="178" y="232"/>
                      </a:lnTo>
                      <a:lnTo>
                        <a:pt x="174" y="234"/>
                      </a:lnTo>
                      <a:lnTo>
                        <a:pt x="174" y="234"/>
                      </a:lnTo>
                      <a:lnTo>
                        <a:pt x="172" y="238"/>
                      </a:lnTo>
                      <a:lnTo>
                        <a:pt x="168" y="242"/>
                      </a:lnTo>
                      <a:lnTo>
                        <a:pt x="166" y="250"/>
                      </a:lnTo>
                      <a:lnTo>
                        <a:pt x="166" y="258"/>
                      </a:lnTo>
                      <a:lnTo>
                        <a:pt x="168" y="258"/>
                      </a:lnTo>
                      <a:lnTo>
                        <a:pt x="170" y="256"/>
                      </a:lnTo>
                      <a:lnTo>
                        <a:pt x="170" y="256"/>
                      </a:lnTo>
                      <a:lnTo>
                        <a:pt x="176" y="250"/>
                      </a:lnTo>
                      <a:lnTo>
                        <a:pt x="180" y="244"/>
                      </a:lnTo>
                      <a:lnTo>
                        <a:pt x="182" y="240"/>
                      </a:lnTo>
                      <a:lnTo>
                        <a:pt x="188" y="240"/>
                      </a:lnTo>
                      <a:lnTo>
                        <a:pt x="188" y="240"/>
                      </a:lnTo>
                      <a:lnTo>
                        <a:pt x="190" y="244"/>
                      </a:lnTo>
                      <a:lnTo>
                        <a:pt x="190" y="246"/>
                      </a:lnTo>
                      <a:lnTo>
                        <a:pt x="188" y="256"/>
                      </a:lnTo>
                      <a:lnTo>
                        <a:pt x="184" y="268"/>
                      </a:lnTo>
                      <a:lnTo>
                        <a:pt x="182" y="272"/>
                      </a:lnTo>
                      <a:lnTo>
                        <a:pt x="184" y="276"/>
                      </a:lnTo>
                      <a:lnTo>
                        <a:pt x="184" y="276"/>
                      </a:lnTo>
                      <a:lnTo>
                        <a:pt x="184" y="282"/>
                      </a:lnTo>
                      <a:lnTo>
                        <a:pt x="182" y="284"/>
                      </a:lnTo>
                      <a:lnTo>
                        <a:pt x="180" y="284"/>
                      </a:lnTo>
                      <a:lnTo>
                        <a:pt x="178" y="288"/>
                      </a:lnTo>
                      <a:lnTo>
                        <a:pt x="176" y="294"/>
                      </a:lnTo>
                      <a:lnTo>
                        <a:pt x="176" y="302"/>
                      </a:lnTo>
                      <a:lnTo>
                        <a:pt x="176" y="302"/>
                      </a:lnTo>
                      <a:lnTo>
                        <a:pt x="174" y="316"/>
                      </a:lnTo>
                      <a:lnTo>
                        <a:pt x="170" y="326"/>
                      </a:lnTo>
                      <a:lnTo>
                        <a:pt x="170" y="334"/>
                      </a:lnTo>
                      <a:lnTo>
                        <a:pt x="172" y="348"/>
                      </a:lnTo>
                      <a:lnTo>
                        <a:pt x="172" y="348"/>
                      </a:lnTo>
                      <a:lnTo>
                        <a:pt x="172" y="356"/>
                      </a:lnTo>
                      <a:lnTo>
                        <a:pt x="172" y="364"/>
                      </a:lnTo>
                      <a:lnTo>
                        <a:pt x="172" y="376"/>
                      </a:lnTo>
                      <a:lnTo>
                        <a:pt x="172" y="390"/>
                      </a:lnTo>
                      <a:lnTo>
                        <a:pt x="174" y="396"/>
                      </a:lnTo>
                      <a:lnTo>
                        <a:pt x="178" y="406"/>
                      </a:lnTo>
                      <a:lnTo>
                        <a:pt x="178" y="406"/>
                      </a:lnTo>
                      <a:lnTo>
                        <a:pt x="184" y="414"/>
                      </a:lnTo>
                      <a:lnTo>
                        <a:pt x="188" y="418"/>
                      </a:lnTo>
                      <a:lnTo>
                        <a:pt x="194" y="422"/>
                      </a:lnTo>
                      <a:lnTo>
                        <a:pt x="200" y="422"/>
                      </a:lnTo>
                      <a:lnTo>
                        <a:pt x="206" y="420"/>
                      </a:lnTo>
                      <a:lnTo>
                        <a:pt x="212" y="414"/>
                      </a:lnTo>
                      <a:lnTo>
                        <a:pt x="218" y="408"/>
                      </a:lnTo>
                      <a:lnTo>
                        <a:pt x="224" y="400"/>
                      </a:lnTo>
                      <a:lnTo>
                        <a:pt x="224" y="400"/>
                      </a:lnTo>
                      <a:lnTo>
                        <a:pt x="232" y="382"/>
                      </a:lnTo>
                      <a:lnTo>
                        <a:pt x="236" y="372"/>
                      </a:lnTo>
                      <a:lnTo>
                        <a:pt x="236" y="364"/>
                      </a:lnTo>
                      <a:lnTo>
                        <a:pt x="238" y="354"/>
                      </a:lnTo>
                      <a:lnTo>
                        <a:pt x="236" y="344"/>
                      </a:lnTo>
                      <a:lnTo>
                        <a:pt x="234" y="332"/>
                      </a:lnTo>
                      <a:lnTo>
                        <a:pt x="228" y="320"/>
                      </a:lnTo>
                      <a:lnTo>
                        <a:pt x="228" y="320"/>
                      </a:lnTo>
                      <a:lnTo>
                        <a:pt x="226" y="310"/>
                      </a:lnTo>
                      <a:lnTo>
                        <a:pt x="228" y="304"/>
                      </a:lnTo>
                      <a:lnTo>
                        <a:pt x="230" y="300"/>
                      </a:lnTo>
                      <a:lnTo>
                        <a:pt x="228" y="292"/>
                      </a:lnTo>
                      <a:lnTo>
                        <a:pt x="228" y="292"/>
                      </a:lnTo>
                      <a:lnTo>
                        <a:pt x="228" y="288"/>
                      </a:lnTo>
                      <a:lnTo>
                        <a:pt x="228" y="284"/>
                      </a:lnTo>
                      <a:lnTo>
                        <a:pt x="232" y="278"/>
                      </a:lnTo>
                      <a:lnTo>
                        <a:pt x="236" y="270"/>
                      </a:lnTo>
                      <a:lnTo>
                        <a:pt x="238" y="264"/>
                      </a:lnTo>
                      <a:lnTo>
                        <a:pt x="236" y="258"/>
                      </a:lnTo>
                      <a:lnTo>
                        <a:pt x="236" y="258"/>
                      </a:lnTo>
                      <a:lnTo>
                        <a:pt x="236" y="248"/>
                      </a:lnTo>
                      <a:lnTo>
                        <a:pt x="238" y="246"/>
                      </a:lnTo>
                      <a:lnTo>
                        <a:pt x="242" y="244"/>
                      </a:lnTo>
                      <a:lnTo>
                        <a:pt x="250" y="236"/>
                      </a:lnTo>
                      <a:lnTo>
                        <a:pt x="250" y="236"/>
                      </a:lnTo>
                      <a:lnTo>
                        <a:pt x="256" y="228"/>
                      </a:lnTo>
                      <a:lnTo>
                        <a:pt x="258" y="226"/>
                      </a:lnTo>
                      <a:lnTo>
                        <a:pt x="260" y="226"/>
                      </a:lnTo>
                      <a:lnTo>
                        <a:pt x="260" y="230"/>
                      </a:lnTo>
                      <a:lnTo>
                        <a:pt x="260" y="240"/>
                      </a:lnTo>
                      <a:lnTo>
                        <a:pt x="262" y="244"/>
                      </a:lnTo>
                      <a:lnTo>
                        <a:pt x="264" y="244"/>
                      </a:lnTo>
                      <a:lnTo>
                        <a:pt x="264" y="244"/>
                      </a:lnTo>
                      <a:lnTo>
                        <a:pt x="266" y="244"/>
                      </a:lnTo>
                      <a:lnTo>
                        <a:pt x="268" y="240"/>
                      </a:lnTo>
                      <a:lnTo>
                        <a:pt x="270" y="230"/>
                      </a:lnTo>
                      <a:lnTo>
                        <a:pt x="270" y="224"/>
                      </a:lnTo>
                      <a:lnTo>
                        <a:pt x="272" y="218"/>
                      </a:lnTo>
                      <a:lnTo>
                        <a:pt x="276" y="214"/>
                      </a:lnTo>
                      <a:lnTo>
                        <a:pt x="282" y="212"/>
                      </a:lnTo>
                      <a:lnTo>
                        <a:pt x="282" y="212"/>
                      </a:lnTo>
                      <a:lnTo>
                        <a:pt x="288" y="210"/>
                      </a:lnTo>
                      <a:lnTo>
                        <a:pt x="286" y="206"/>
                      </a:lnTo>
                      <a:lnTo>
                        <a:pt x="284" y="204"/>
                      </a:lnTo>
                      <a:lnTo>
                        <a:pt x="282" y="202"/>
                      </a:lnTo>
                      <a:lnTo>
                        <a:pt x="284" y="198"/>
                      </a:lnTo>
                      <a:lnTo>
                        <a:pt x="288" y="194"/>
                      </a:lnTo>
                      <a:lnTo>
                        <a:pt x="288" y="194"/>
                      </a:lnTo>
                      <a:lnTo>
                        <a:pt x="294" y="190"/>
                      </a:lnTo>
                      <a:lnTo>
                        <a:pt x="298" y="188"/>
                      </a:lnTo>
                      <a:lnTo>
                        <a:pt x="300" y="188"/>
                      </a:lnTo>
                      <a:lnTo>
                        <a:pt x="304" y="190"/>
                      </a:lnTo>
                      <a:lnTo>
                        <a:pt x="308" y="194"/>
                      </a:lnTo>
                      <a:lnTo>
                        <a:pt x="314" y="196"/>
                      </a:lnTo>
                      <a:lnTo>
                        <a:pt x="314" y="196"/>
                      </a:lnTo>
                      <a:lnTo>
                        <a:pt x="320" y="198"/>
                      </a:lnTo>
                      <a:lnTo>
                        <a:pt x="322" y="200"/>
                      </a:lnTo>
                      <a:lnTo>
                        <a:pt x="324" y="204"/>
                      </a:lnTo>
                      <a:lnTo>
                        <a:pt x="334" y="208"/>
                      </a:lnTo>
                      <a:lnTo>
                        <a:pt x="334" y="208"/>
                      </a:lnTo>
                      <a:lnTo>
                        <a:pt x="344" y="214"/>
                      </a:lnTo>
                      <a:lnTo>
                        <a:pt x="352" y="220"/>
                      </a:lnTo>
                      <a:lnTo>
                        <a:pt x="356" y="226"/>
                      </a:lnTo>
                      <a:lnTo>
                        <a:pt x="356" y="228"/>
                      </a:lnTo>
                      <a:lnTo>
                        <a:pt x="352" y="230"/>
                      </a:lnTo>
                      <a:lnTo>
                        <a:pt x="352" y="230"/>
                      </a:lnTo>
                      <a:lnTo>
                        <a:pt x="350" y="230"/>
                      </a:lnTo>
                      <a:lnTo>
                        <a:pt x="350" y="232"/>
                      </a:lnTo>
                      <a:lnTo>
                        <a:pt x="352" y="238"/>
                      </a:lnTo>
                      <a:lnTo>
                        <a:pt x="354" y="246"/>
                      </a:lnTo>
                      <a:lnTo>
                        <a:pt x="354" y="250"/>
                      </a:lnTo>
                      <a:lnTo>
                        <a:pt x="354" y="256"/>
                      </a:lnTo>
                      <a:lnTo>
                        <a:pt x="354" y="256"/>
                      </a:lnTo>
                      <a:lnTo>
                        <a:pt x="352" y="268"/>
                      </a:lnTo>
                      <a:lnTo>
                        <a:pt x="348" y="276"/>
                      </a:lnTo>
                      <a:lnTo>
                        <a:pt x="342" y="282"/>
                      </a:lnTo>
                      <a:lnTo>
                        <a:pt x="336" y="288"/>
                      </a:lnTo>
                      <a:lnTo>
                        <a:pt x="336" y="288"/>
                      </a:lnTo>
                      <a:lnTo>
                        <a:pt x="334" y="290"/>
                      </a:lnTo>
                      <a:lnTo>
                        <a:pt x="332" y="294"/>
                      </a:lnTo>
                      <a:lnTo>
                        <a:pt x="330" y="302"/>
                      </a:lnTo>
                      <a:lnTo>
                        <a:pt x="334" y="308"/>
                      </a:lnTo>
                      <a:lnTo>
                        <a:pt x="336" y="310"/>
                      </a:lnTo>
                      <a:lnTo>
                        <a:pt x="340" y="312"/>
                      </a:lnTo>
                      <a:lnTo>
                        <a:pt x="340" y="312"/>
                      </a:lnTo>
                      <a:lnTo>
                        <a:pt x="342" y="310"/>
                      </a:lnTo>
                      <a:lnTo>
                        <a:pt x="346" y="308"/>
                      </a:lnTo>
                      <a:lnTo>
                        <a:pt x="350" y="300"/>
                      </a:lnTo>
                      <a:lnTo>
                        <a:pt x="356" y="292"/>
                      </a:lnTo>
                      <a:lnTo>
                        <a:pt x="360" y="290"/>
                      </a:lnTo>
                      <a:lnTo>
                        <a:pt x="366" y="288"/>
                      </a:lnTo>
                      <a:lnTo>
                        <a:pt x="366" y="288"/>
                      </a:lnTo>
                      <a:lnTo>
                        <a:pt x="370" y="288"/>
                      </a:lnTo>
                      <a:lnTo>
                        <a:pt x="376" y="294"/>
                      </a:lnTo>
                      <a:lnTo>
                        <a:pt x="380" y="300"/>
                      </a:lnTo>
                      <a:lnTo>
                        <a:pt x="382" y="310"/>
                      </a:lnTo>
                      <a:lnTo>
                        <a:pt x="386" y="330"/>
                      </a:lnTo>
                      <a:lnTo>
                        <a:pt x="388" y="338"/>
                      </a:lnTo>
                      <a:lnTo>
                        <a:pt x="390" y="344"/>
                      </a:lnTo>
                      <a:lnTo>
                        <a:pt x="390" y="344"/>
                      </a:lnTo>
                      <a:lnTo>
                        <a:pt x="406" y="336"/>
                      </a:lnTo>
                      <a:lnTo>
                        <a:pt x="410" y="334"/>
                      </a:lnTo>
                      <a:lnTo>
                        <a:pt x="414" y="330"/>
                      </a:lnTo>
                      <a:lnTo>
                        <a:pt x="418" y="324"/>
                      </a:lnTo>
                      <a:lnTo>
                        <a:pt x="418" y="318"/>
                      </a:lnTo>
                      <a:lnTo>
                        <a:pt x="418" y="298"/>
                      </a:lnTo>
                      <a:lnTo>
                        <a:pt x="418" y="298"/>
                      </a:lnTo>
                      <a:lnTo>
                        <a:pt x="418" y="288"/>
                      </a:lnTo>
                      <a:lnTo>
                        <a:pt x="422" y="280"/>
                      </a:lnTo>
                      <a:lnTo>
                        <a:pt x="424" y="274"/>
                      </a:lnTo>
                      <a:lnTo>
                        <a:pt x="428" y="268"/>
                      </a:lnTo>
                      <a:lnTo>
                        <a:pt x="436" y="258"/>
                      </a:lnTo>
                      <a:lnTo>
                        <a:pt x="438" y="254"/>
                      </a:lnTo>
                      <a:lnTo>
                        <a:pt x="438" y="248"/>
                      </a:lnTo>
                      <a:lnTo>
                        <a:pt x="438" y="248"/>
                      </a:lnTo>
                      <a:lnTo>
                        <a:pt x="432" y="236"/>
                      </a:lnTo>
                      <a:lnTo>
                        <a:pt x="426" y="228"/>
                      </a:lnTo>
                      <a:lnTo>
                        <a:pt x="422" y="222"/>
                      </a:lnTo>
                      <a:lnTo>
                        <a:pt x="420" y="218"/>
                      </a:lnTo>
                      <a:lnTo>
                        <a:pt x="420" y="218"/>
                      </a:lnTo>
                      <a:lnTo>
                        <a:pt x="422" y="216"/>
                      </a:lnTo>
                      <a:lnTo>
                        <a:pt x="424" y="218"/>
                      </a:lnTo>
                      <a:lnTo>
                        <a:pt x="428" y="218"/>
                      </a:lnTo>
                      <a:lnTo>
                        <a:pt x="432" y="218"/>
                      </a:lnTo>
                      <a:lnTo>
                        <a:pt x="432" y="218"/>
                      </a:lnTo>
                      <a:lnTo>
                        <a:pt x="434" y="220"/>
                      </a:lnTo>
                      <a:lnTo>
                        <a:pt x="436" y="220"/>
                      </a:lnTo>
                      <a:lnTo>
                        <a:pt x="436" y="226"/>
                      </a:lnTo>
                      <a:lnTo>
                        <a:pt x="438" y="232"/>
                      </a:lnTo>
                      <a:lnTo>
                        <a:pt x="440" y="234"/>
                      </a:lnTo>
                      <a:lnTo>
                        <a:pt x="444" y="234"/>
                      </a:lnTo>
                      <a:lnTo>
                        <a:pt x="444" y="234"/>
                      </a:lnTo>
                      <a:lnTo>
                        <a:pt x="446" y="236"/>
                      </a:lnTo>
                      <a:lnTo>
                        <a:pt x="448" y="238"/>
                      </a:lnTo>
                      <a:lnTo>
                        <a:pt x="446" y="242"/>
                      </a:lnTo>
                      <a:lnTo>
                        <a:pt x="444" y="246"/>
                      </a:lnTo>
                      <a:lnTo>
                        <a:pt x="444" y="246"/>
                      </a:lnTo>
                      <a:lnTo>
                        <a:pt x="446" y="246"/>
                      </a:lnTo>
                      <a:lnTo>
                        <a:pt x="446" y="246"/>
                      </a:lnTo>
                      <a:lnTo>
                        <a:pt x="450" y="246"/>
                      </a:lnTo>
                      <a:lnTo>
                        <a:pt x="450" y="246"/>
                      </a:lnTo>
                      <a:lnTo>
                        <a:pt x="450" y="250"/>
                      </a:lnTo>
                      <a:lnTo>
                        <a:pt x="450" y="254"/>
                      </a:lnTo>
                      <a:lnTo>
                        <a:pt x="454" y="252"/>
                      </a:lnTo>
                      <a:lnTo>
                        <a:pt x="454" y="252"/>
                      </a:lnTo>
                      <a:lnTo>
                        <a:pt x="458" y="250"/>
                      </a:lnTo>
                      <a:lnTo>
                        <a:pt x="462" y="252"/>
                      </a:lnTo>
                      <a:lnTo>
                        <a:pt x="472" y="256"/>
                      </a:lnTo>
                      <a:lnTo>
                        <a:pt x="480" y="262"/>
                      </a:lnTo>
                      <a:lnTo>
                        <a:pt x="484" y="264"/>
                      </a:lnTo>
                      <a:lnTo>
                        <a:pt x="486" y="262"/>
                      </a:lnTo>
                      <a:lnTo>
                        <a:pt x="486" y="262"/>
                      </a:lnTo>
                      <a:lnTo>
                        <a:pt x="488" y="260"/>
                      </a:lnTo>
                      <a:lnTo>
                        <a:pt x="490" y="258"/>
                      </a:lnTo>
                      <a:lnTo>
                        <a:pt x="488" y="252"/>
                      </a:lnTo>
                      <a:lnTo>
                        <a:pt x="484" y="246"/>
                      </a:lnTo>
                      <a:lnTo>
                        <a:pt x="484" y="244"/>
                      </a:lnTo>
                      <a:lnTo>
                        <a:pt x="486" y="242"/>
                      </a:lnTo>
                      <a:lnTo>
                        <a:pt x="486" y="242"/>
                      </a:lnTo>
                      <a:lnTo>
                        <a:pt x="488" y="242"/>
                      </a:lnTo>
                      <a:lnTo>
                        <a:pt x="490" y="242"/>
                      </a:lnTo>
                      <a:lnTo>
                        <a:pt x="496" y="246"/>
                      </a:lnTo>
                      <a:lnTo>
                        <a:pt x="500" y="250"/>
                      </a:lnTo>
                      <a:lnTo>
                        <a:pt x="500" y="250"/>
                      </a:lnTo>
                      <a:lnTo>
                        <a:pt x="502" y="248"/>
                      </a:lnTo>
                      <a:lnTo>
                        <a:pt x="502" y="248"/>
                      </a:lnTo>
                      <a:lnTo>
                        <a:pt x="498" y="240"/>
                      </a:lnTo>
                      <a:lnTo>
                        <a:pt x="494" y="234"/>
                      </a:lnTo>
                      <a:lnTo>
                        <a:pt x="488" y="226"/>
                      </a:lnTo>
                      <a:lnTo>
                        <a:pt x="486" y="222"/>
                      </a:lnTo>
                      <a:lnTo>
                        <a:pt x="486" y="218"/>
                      </a:lnTo>
                      <a:lnTo>
                        <a:pt x="486" y="218"/>
                      </a:lnTo>
                      <a:lnTo>
                        <a:pt x="486" y="212"/>
                      </a:lnTo>
                      <a:lnTo>
                        <a:pt x="484" y="208"/>
                      </a:lnTo>
                      <a:lnTo>
                        <a:pt x="482" y="208"/>
                      </a:lnTo>
                      <a:lnTo>
                        <a:pt x="478" y="210"/>
                      </a:lnTo>
                      <a:lnTo>
                        <a:pt x="478" y="210"/>
                      </a:lnTo>
                      <a:lnTo>
                        <a:pt x="476" y="210"/>
                      </a:lnTo>
                      <a:lnTo>
                        <a:pt x="474" y="208"/>
                      </a:lnTo>
                      <a:lnTo>
                        <a:pt x="468" y="196"/>
                      </a:lnTo>
                      <a:lnTo>
                        <a:pt x="460" y="184"/>
                      </a:lnTo>
                      <a:lnTo>
                        <a:pt x="456" y="180"/>
                      </a:lnTo>
                      <a:lnTo>
                        <a:pt x="450" y="178"/>
                      </a:lnTo>
                      <a:lnTo>
                        <a:pt x="450" y="178"/>
                      </a:lnTo>
                      <a:lnTo>
                        <a:pt x="432" y="178"/>
                      </a:lnTo>
                      <a:lnTo>
                        <a:pt x="426" y="176"/>
                      </a:lnTo>
                      <a:lnTo>
                        <a:pt x="426" y="174"/>
                      </a:lnTo>
                      <a:lnTo>
                        <a:pt x="426" y="172"/>
                      </a:lnTo>
                      <a:lnTo>
                        <a:pt x="426" y="172"/>
                      </a:lnTo>
                      <a:lnTo>
                        <a:pt x="426" y="170"/>
                      </a:lnTo>
                      <a:lnTo>
                        <a:pt x="426" y="170"/>
                      </a:lnTo>
                      <a:lnTo>
                        <a:pt x="420" y="168"/>
                      </a:lnTo>
                      <a:lnTo>
                        <a:pt x="412" y="168"/>
                      </a:lnTo>
                      <a:lnTo>
                        <a:pt x="402" y="168"/>
                      </a:lnTo>
                      <a:lnTo>
                        <a:pt x="402" y="168"/>
                      </a:lnTo>
                      <a:lnTo>
                        <a:pt x="388" y="166"/>
                      </a:lnTo>
                      <a:lnTo>
                        <a:pt x="372" y="166"/>
                      </a:lnTo>
                      <a:lnTo>
                        <a:pt x="358" y="164"/>
                      </a:lnTo>
                      <a:lnTo>
                        <a:pt x="344" y="160"/>
                      </a:lnTo>
                      <a:lnTo>
                        <a:pt x="344" y="160"/>
                      </a:lnTo>
                      <a:lnTo>
                        <a:pt x="334" y="158"/>
                      </a:lnTo>
                      <a:lnTo>
                        <a:pt x="328" y="156"/>
                      </a:lnTo>
                      <a:lnTo>
                        <a:pt x="324" y="154"/>
                      </a:lnTo>
                      <a:lnTo>
                        <a:pt x="324" y="148"/>
                      </a:lnTo>
                      <a:lnTo>
                        <a:pt x="324" y="148"/>
                      </a:lnTo>
                      <a:lnTo>
                        <a:pt x="324" y="144"/>
                      </a:lnTo>
                      <a:lnTo>
                        <a:pt x="322" y="144"/>
                      </a:lnTo>
                      <a:lnTo>
                        <a:pt x="314" y="144"/>
                      </a:lnTo>
                      <a:lnTo>
                        <a:pt x="306" y="146"/>
                      </a:lnTo>
                      <a:lnTo>
                        <a:pt x="304" y="144"/>
                      </a:lnTo>
                      <a:lnTo>
                        <a:pt x="304" y="140"/>
                      </a:lnTo>
                      <a:lnTo>
                        <a:pt x="304" y="140"/>
                      </a:lnTo>
                      <a:lnTo>
                        <a:pt x="304" y="134"/>
                      </a:lnTo>
                      <a:lnTo>
                        <a:pt x="306" y="132"/>
                      </a:lnTo>
                      <a:lnTo>
                        <a:pt x="310" y="128"/>
                      </a:lnTo>
                      <a:lnTo>
                        <a:pt x="312" y="126"/>
                      </a:lnTo>
                      <a:lnTo>
                        <a:pt x="310" y="124"/>
                      </a:lnTo>
                      <a:lnTo>
                        <a:pt x="310" y="124"/>
                      </a:lnTo>
                      <a:lnTo>
                        <a:pt x="308" y="122"/>
                      </a:lnTo>
                      <a:lnTo>
                        <a:pt x="306" y="122"/>
                      </a:lnTo>
                      <a:lnTo>
                        <a:pt x="304" y="122"/>
                      </a:lnTo>
                      <a:lnTo>
                        <a:pt x="298" y="122"/>
                      </a:lnTo>
                      <a:lnTo>
                        <a:pt x="298" y="122"/>
                      </a:lnTo>
                      <a:lnTo>
                        <a:pt x="296" y="118"/>
                      </a:lnTo>
                      <a:lnTo>
                        <a:pt x="296" y="116"/>
                      </a:lnTo>
                      <a:lnTo>
                        <a:pt x="300" y="110"/>
                      </a:lnTo>
                      <a:lnTo>
                        <a:pt x="302" y="102"/>
                      </a:lnTo>
                      <a:lnTo>
                        <a:pt x="302" y="98"/>
                      </a:lnTo>
                      <a:lnTo>
                        <a:pt x="300" y="96"/>
                      </a:lnTo>
                      <a:lnTo>
                        <a:pt x="300" y="96"/>
                      </a:lnTo>
                      <a:lnTo>
                        <a:pt x="288" y="86"/>
                      </a:lnTo>
                      <a:lnTo>
                        <a:pt x="286" y="80"/>
                      </a:lnTo>
                      <a:lnTo>
                        <a:pt x="288" y="72"/>
                      </a:lnTo>
                      <a:lnTo>
                        <a:pt x="288" y="72"/>
                      </a:lnTo>
                      <a:lnTo>
                        <a:pt x="290" y="66"/>
                      </a:lnTo>
                      <a:lnTo>
                        <a:pt x="290" y="62"/>
                      </a:lnTo>
                      <a:lnTo>
                        <a:pt x="286" y="62"/>
                      </a:lnTo>
                      <a:lnTo>
                        <a:pt x="282" y="62"/>
                      </a:lnTo>
                      <a:lnTo>
                        <a:pt x="270" y="64"/>
                      </a:lnTo>
                      <a:lnTo>
                        <a:pt x="262" y="64"/>
                      </a:lnTo>
                      <a:lnTo>
                        <a:pt x="256" y="62"/>
                      </a:lnTo>
                      <a:lnTo>
                        <a:pt x="256" y="62"/>
                      </a:lnTo>
                      <a:lnTo>
                        <a:pt x="250" y="58"/>
                      </a:lnTo>
                      <a:lnTo>
                        <a:pt x="244" y="50"/>
                      </a:lnTo>
                      <a:lnTo>
                        <a:pt x="240" y="42"/>
                      </a:lnTo>
                      <a:lnTo>
                        <a:pt x="238" y="34"/>
                      </a:lnTo>
                      <a:lnTo>
                        <a:pt x="234" y="20"/>
                      </a:lnTo>
                      <a:lnTo>
                        <a:pt x="230" y="16"/>
                      </a:lnTo>
                      <a:lnTo>
                        <a:pt x="226" y="14"/>
                      </a:lnTo>
                      <a:lnTo>
                        <a:pt x="226" y="14"/>
                      </a:lnTo>
                      <a:lnTo>
                        <a:pt x="218" y="14"/>
                      </a:lnTo>
                      <a:lnTo>
                        <a:pt x="214" y="14"/>
                      </a:lnTo>
                      <a:lnTo>
                        <a:pt x="210" y="14"/>
                      </a:lnTo>
                      <a:lnTo>
                        <a:pt x="202" y="14"/>
                      </a:lnTo>
                      <a:lnTo>
                        <a:pt x="202" y="14"/>
                      </a:lnTo>
                      <a:lnTo>
                        <a:pt x="196" y="14"/>
                      </a:lnTo>
                      <a:lnTo>
                        <a:pt x="190" y="12"/>
                      </a:lnTo>
                      <a:lnTo>
                        <a:pt x="178" y="6"/>
                      </a:lnTo>
                      <a:lnTo>
                        <a:pt x="166" y="2"/>
                      </a:lnTo>
                      <a:lnTo>
                        <a:pt x="162" y="0"/>
                      </a:lnTo>
                      <a:lnTo>
                        <a:pt x="158" y="2"/>
                      </a:lnTo>
                      <a:lnTo>
                        <a:pt x="158" y="2"/>
                      </a:lnTo>
                      <a:lnTo>
                        <a:pt x="158" y="4"/>
                      </a:lnTo>
                      <a:lnTo>
                        <a:pt x="158" y="6"/>
                      </a:lnTo>
                      <a:lnTo>
                        <a:pt x="160" y="12"/>
                      </a:lnTo>
                      <a:lnTo>
                        <a:pt x="162" y="18"/>
                      </a:lnTo>
                      <a:lnTo>
                        <a:pt x="160" y="22"/>
                      </a:lnTo>
                      <a:lnTo>
                        <a:pt x="158" y="24"/>
                      </a:lnTo>
                      <a:lnTo>
                        <a:pt x="158" y="24"/>
                      </a:lnTo>
                      <a:lnTo>
                        <a:pt x="146" y="32"/>
                      </a:lnTo>
                      <a:lnTo>
                        <a:pt x="146" y="32"/>
                      </a:lnTo>
                      <a:lnTo>
                        <a:pt x="146" y="30"/>
                      </a:lnTo>
                      <a:lnTo>
                        <a:pt x="148" y="24"/>
                      </a:lnTo>
                      <a:lnTo>
                        <a:pt x="148" y="24"/>
                      </a:lnTo>
                      <a:lnTo>
                        <a:pt x="150" y="14"/>
                      </a:lnTo>
                      <a:lnTo>
                        <a:pt x="150" y="8"/>
                      </a:lnTo>
                      <a:lnTo>
                        <a:pt x="148" y="8"/>
                      </a:lnTo>
                      <a:lnTo>
                        <a:pt x="146" y="8"/>
                      </a:lnTo>
                      <a:lnTo>
                        <a:pt x="142" y="16"/>
                      </a:lnTo>
                      <a:lnTo>
                        <a:pt x="142" y="16"/>
                      </a:lnTo>
                      <a:lnTo>
                        <a:pt x="138" y="28"/>
                      </a:lnTo>
                      <a:lnTo>
                        <a:pt x="134" y="36"/>
                      </a:lnTo>
                      <a:lnTo>
                        <a:pt x="130" y="40"/>
                      </a:lnTo>
                      <a:lnTo>
                        <a:pt x="132" y="34"/>
                      </a:lnTo>
                      <a:lnTo>
                        <a:pt x="132" y="34"/>
                      </a:lnTo>
                      <a:lnTo>
                        <a:pt x="132" y="30"/>
                      </a:lnTo>
                      <a:lnTo>
                        <a:pt x="132" y="28"/>
                      </a:lnTo>
                      <a:lnTo>
                        <a:pt x="130" y="26"/>
                      </a:lnTo>
                      <a:lnTo>
                        <a:pt x="126" y="26"/>
                      </a:lnTo>
                      <a:lnTo>
                        <a:pt x="122" y="30"/>
                      </a:lnTo>
                      <a:lnTo>
                        <a:pt x="118" y="36"/>
                      </a:lnTo>
                      <a:lnTo>
                        <a:pt x="118" y="36"/>
                      </a:lnTo>
                      <a:lnTo>
                        <a:pt x="114" y="48"/>
                      </a:lnTo>
                      <a:lnTo>
                        <a:pt x="110" y="52"/>
                      </a:lnTo>
                      <a:lnTo>
                        <a:pt x="106" y="56"/>
                      </a:lnTo>
                      <a:lnTo>
                        <a:pt x="106" y="56"/>
                      </a:lnTo>
                      <a:lnTo>
                        <a:pt x="100" y="58"/>
                      </a:lnTo>
                      <a:lnTo>
                        <a:pt x="100" y="58"/>
                      </a:lnTo>
                      <a:lnTo>
                        <a:pt x="60" y="78"/>
                      </a:lnTo>
                      <a:lnTo>
                        <a:pt x="46" y="86"/>
                      </a:lnTo>
                      <a:lnTo>
                        <a:pt x="34" y="98"/>
                      </a:lnTo>
                      <a:lnTo>
                        <a:pt x="34" y="98"/>
                      </a:lnTo>
                      <a:lnTo>
                        <a:pt x="18" y="112"/>
                      </a:lnTo>
                      <a:lnTo>
                        <a:pt x="6" y="124"/>
                      </a:lnTo>
                      <a:lnTo>
                        <a:pt x="2" y="128"/>
                      </a:lnTo>
                      <a:lnTo>
                        <a:pt x="0" y="130"/>
                      </a:lnTo>
                      <a:lnTo>
                        <a:pt x="0" y="132"/>
                      </a:lnTo>
                      <a:lnTo>
                        <a:pt x="4" y="134"/>
                      </a:lnTo>
                      <a:lnTo>
                        <a:pt x="4" y="13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3" name="Freeform 6014"/>
                <p:cNvSpPr>
                  <a:spLocks/>
                </p:cNvSpPr>
                <p:nvPr/>
              </p:nvSpPr>
              <p:spPr bwMode="auto">
                <a:xfrm>
                  <a:off x="2366010" y="2420303"/>
                  <a:ext cx="100330" cy="45720"/>
                </a:xfrm>
                <a:custGeom>
                  <a:avLst/>
                  <a:gdLst/>
                  <a:ahLst/>
                  <a:cxnLst>
                    <a:cxn ang="0">
                      <a:pos x="16" y="72"/>
                    </a:cxn>
                    <a:cxn ang="0">
                      <a:pos x="30" y="68"/>
                    </a:cxn>
                    <a:cxn ang="0">
                      <a:pos x="36" y="64"/>
                    </a:cxn>
                    <a:cxn ang="0">
                      <a:pos x="58" y="60"/>
                    </a:cxn>
                    <a:cxn ang="0">
                      <a:pos x="80" y="64"/>
                    </a:cxn>
                    <a:cxn ang="0">
                      <a:pos x="90" y="68"/>
                    </a:cxn>
                    <a:cxn ang="0">
                      <a:pos x="118" y="66"/>
                    </a:cxn>
                    <a:cxn ang="0">
                      <a:pos x="126" y="60"/>
                    </a:cxn>
                    <a:cxn ang="0">
                      <a:pos x="132" y="56"/>
                    </a:cxn>
                    <a:cxn ang="0">
                      <a:pos x="142" y="50"/>
                    </a:cxn>
                    <a:cxn ang="0">
                      <a:pos x="142" y="44"/>
                    </a:cxn>
                    <a:cxn ang="0">
                      <a:pos x="144" y="32"/>
                    </a:cxn>
                    <a:cxn ang="0">
                      <a:pos x="140" y="28"/>
                    </a:cxn>
                    <a:cxn ang="0">
                      <a:pos x="138" y="24"/>
                    </a:cxn>
                    <a:cxn ang="0">
                      <a:pos x="140" y="16"/>
                    </a:cxn>
                    <a:cxn ang="0">
                      <a:pos x="144" y="14"/>
                    </a:cxn>
                    <a:cxn ang="0">
                      <a:pos x="154" y="8"/>
                    </a:cxn>
                    <a:cxn ang="0">
                      <a:pos x="158" y="0"/>
                    </a:cxn>
                    <a:cxn ang="0">
                      <a:pos x="148" y="6"/>
                    </a:cxn>
                    <a:cxn ang="0">
                      <a:pos x="128" y="12"/>
                    </a:cxn>
                    <a:cxn ang="0">
                      <a:pos x="120" y="18"/>
                    </a:cxn>
                    <a:cxn ang="0">
                      <a:pos x="114" y="24"/>
                    </a:cxn>
                    <a:cxn ang="0">
                      <a:pos x="110" y="34"/>
                    </a:cxn>
                    <a:cxn ang="0">
                      <a:pos x="104" y="34"/>
                    </a:cxn>
                    <a:cxn ang="0">
                      <a:pos x="98" y="32"/>
                    </a:cxn>
                    <a:cxn ang="0">
                      <a:pos x="78" y="26"/>
                    </a:cxn>
                    <a:cxn ang="0">
                      <a:pos x="66" y="28"/>
                    </a:cxn>
                    <a:cxn ang="0">
                      <a:pos x="28" y="36"/>
                    </a:cxn>
                    <a:cxn ang="0">
                      <a:pos x="20" y="42"/>
                    </a:cxn>
                    <a:cxn ang="0">
                      <a:pos x="12" y="48"/>
                    </a:cxn>
                    <a:cxn ang="0">
                      <a:pos x="2" y="58"/>
                    </a:cxn>
                    <a:cxn ang="0">
                      <a:pos x="0" y="64"/>
                    </a:cxn>
                    <a:cxn ang="0">
                      <a:pos x="2" y="70"/>
                    </a:cxn>
                    <a:cxn ang="0">
                      <a:pos x="10" y="72"/>
                    </a:cxn>
                    <a:cxn ang="0">
                      <a:pos x="16" y="72"/>
                    </a:cxn>
                  </a:cxnLst>
                  <a:rect l="0" t="0" r="r" b="b"/>
                  <a:pathLst>
                    <a:path w="158" h="72">
                      <a:moveTo>
                        <a:pt x="16" y="72"/>
                      </a:moveTo>
                      <a:lnTo>
                        <a:pt x="16" y="72"/>
                      </a:lnTo>
                      <a:lnTo>
                        <a:pt x="24" y="70"/>
                      </a:lnTo>
                      <a:lnTo>
                        <a:pt x="30" y="68"/>
                      </a:lnTo>
                      <a:lnTo>
                        <a:pt x="36" y="64"/>
                      </a:lnTo>
                      <a:lnTo>
                        <a:pt x="36" y="64"/>
                      </a:lnTo>
                      <a:lnTo>
                        <a:pt x="46" y="62"/>
                      </a:lnTo>
                      <a:lnTo>
                        <a:pt x="58" y="60"/>
                      </a:lnTo>
                      <a:lnTo>
                        <a:pt x="70" y="62"/>
                      </a:lnTo>
                      <a:lnTo>
                        <a:pt x="80" y="64"/>
                      </a:lnTo>
                      <a:lnTo>
                        <a:pt x="80" y="64"/>
                      </a:lnTo>
                      <a:lnTo>
                        <a:pt x="90" y="68"/>
                      </a:lnTo>
                      <a:lnTo>
                        <a:pt x="104" y="68"/>
                      </a:lnTo>
                      <a:lnTo>
                        <a:pt x="118" y="66"/>
                      </a:lnTo>
                      <a:lnTo>
                        <a:pt x="122" y="64"/>
                      </a:lnTo>
                      <a:lnTo>
                        <a:pt x="126" y="60"/>
                      </a:lnTo>
                      <a:lnTo>
                        <a:pt x="126" y="60"/>
                      </a:lnTo>
                      <a:lnTo>
                        <a:pt x="132" y="56"/>
                      </a:lnTo>
                      <a:lnTo>
                        <a:pt x="138" y="52"/>
                      </a:lnTo>
                      <a:lnTo>
                        <a:pt x="142" y="50"/>
                      </a:lnTo>
                      <a:lnTo>
                        <a:pt x="142" y="44"/>
                      </a:lnTo>
                      <a:lnTo>
                        <a:pt x="142" y="44"/>
                      </a:lnTo>
                      <a:lnTo>
                        <a:pt x="142" y="36"/>
                      </a:lnTo>
                      <a:lnTo>
                        <a:pt x="144" y="32"/>
                      </a:lnTo>
                      <a:lnTo>
                        <a:pt x="144" y="30"/>
                      </a:lnTo>
                      <a:lnTo>
                        <a:pt x="140" y="28"/>
                      </a:lnTo>
                      <a:lnTo>
                        <a:pt x="140" y="28"/>
                      </a:lnTo>
                      <a:lnTo>
                        <a:pt x="138" y="24"/>
                      </a:lnTo>
                      <a:lnTo>
                        <a:pt x="136" y="20"/>
                      </a:lnTo>
                      <a:lnTo>
                        <a:pt x="140" y="16"/>
                      </a:lnTo>
                      <a:lnTo>
                        <a:pt x="144" y="14"/>
                      </a:lnTo>
                      <a:lnTo>
                        <a:pt x="144" y="14"/>
                      </a:lnTo>
                      <a:lnTo>
                        <a:pt x="150" y="12"/>
                      </a:lnTo>
                      <a:lnTo>
                        <a:pt x="154" y="8"/>
                      </a:lnTo>
                      <a:lnTo>
                        <a:pt x="156" y="4"/>
                      </a:lnTo>
                      <a:lnTo>
                        <a:pt x="158" y="0"/>
                      </a:lnTo>
                      <a:lnTo>
                        <a:pt x="158" y="0"/>
                      </a:lnTo>
                      <a:lnTo>
                        <a:pt x="148" y="6"/>
                      </a:lnTo>
                      <a:lnTo>
                        <a:pt x="138" y="8"/>
                      </a:lnTo>
                      <a:lnTo>
                        <a:pt x="128" y="12"/>
                      </a:lnTo>
                      <a:lnTo>
                        <a:pt x="120" y="18"/>
                      </a:lnTo>
                      <a:lnTo>
                        <a:pt x="120" y="18"/>
                      </a:lnTo>
                      <a:lnTo>
                        <a:pt x="116" y="20"/>
                      </a:lnTo>
                      <a:lnTo>
                        <a:pt x="114" y="24"/>
                      </a:lnTo>
                      <a:lnTo>
                        <a:pt x="110" y="32"/>
                      </a:lnTo>
                      <a:lnTo>
                        <a:pt x="110" y="34"/>
                      </a:lnTo>
                      <a:lnTo>
                        <a:pt x="106" y="34"/>
                      </a:lnTo>
                      <a:lnTo>
                        <a:pt x="104" y="34"/>
                      </a:lnTo>
                      <a:lnTo>
                        <a:pt x="98" y="32"/>
                      </a:lnTo>
                      <a:lnTo>
                        <a:pt x="98" y="32"/>
                      </a:lnTo>
                      <a:lnTo>
                        <a:pt x="84" y="24"/>
                      </a:lnTo>
                      <a:lnTo>
                        <a:pt x="78" y="26"/>
                      </a:lnTo>
                      <a:lnTo>
                        <a:pt x="66" y="28"/>
                      </a:lnTo>
                      <a:lnTo>
                        <a:pt x="66" y="28"/>
                      </a:lnTo>
                      <a:lnTo>
                        <a:pt x="38" y="34"/>
                      </a:lnTo>
                      <a:lnTo>
                        <a:pt x="28" y="36"/>
                      </a:lnTo>
                      <a:lnTo>
                        <a:pt x="20" y="42"/>
                      </a:lnTo>
                      <a:lnTo>
                        <a:pt x="20" y="42"/>
                      </a:lnTo>
                      <a:lnTo>
                        <a:pt x="16" y="46"/>
                      </a:lnTo>
                      <a:lnTo>
                        <a:pt x="12" y="48"/>
                      </a:lnTo>
                      <a:lnTo>
                        <a:pt x="6" y="50"/>
                      </a:lnTo>
                      <a:lnTo>
                        <a:pt x="2" y="58"/>
                      </a:lnTo>
                      <a:lnTo>
                        <a:pt x="2" y="58"/>
                      </a:lnTo>
                      <a:lnTo>
                        <a:pt x="0" y="64"/>
                      </a:lnTo>
                      <a:lnTo>
                        <a:pt x="0" y="68"/>
                      </a:lnTo>
                      <a:lnTo>
                        <a:pt x="2" y="70"/>
                      </a:lnTo>
                      <a:lnTo>
                        <a:pt x="4" y="72"/>
                      </a:lnTo>
                      <a:lnTo>
                        <a:pt x="10" y="72"/>
                      </a:lnTo>
                      <a:lnTo>
                        <a:pt x="16" y="72"/>
                      </a:lnTo>
                      <a:lnTo>
                        <a:pt x="16" y="7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4" name="Freeform 6015"/>
                <p:cNvSpPr>
                  <a:spLocks/>
                </p:cNvSpPr>
                <p:nvPr/>
              </p:nvSpPr>
              <p:spPr bwMode="auto">
                <a:xfrm>
                  <a:off x="2385060" y="3023553"/>
                  <a:ext cx="27940" cy="10160"/>
                </a:xfrm>
                <a:custGeom>
                  <a:avLst/>
                  <a:gdLst/>
                  <a:ahLst/>
                  <a:cxnLst>
                    <a:cxn ang="0">
                      <a:pos x="8" y="10"/>
                    </a:cxn>
                    <a:cxn ang="0">
                      <a:pos x="8" y="10"/>
                    </a:cxn>
                    <a:cxn ang="0">
                      <a:pos x="0" y="8"/>
                    </a:cxn>
                    <a:cxn ang="0">
                      <a:pos x="2" y="10"/>
                    </a:cxn>
                    <a:cxn ang="0">
                      <a:pos x="6" y="14"/>
                    </a:cxn>
                    <a:cxn ang="0">
                      <a:pos x="6" y="14"/>
                    </a:cxn>
                    <a:cxn ang="0">
                      <a:pos x="10" y="16"/>
                    </a:cxn>
                    <a:cxn ang="0">
                      <a:pos x="12" y="16"/>
                    </a:cxn>
                    <a:cxn ang="0">
                      <a:pos x="26" y="10"/>
                    </a:cxn>
                    <a:cxn ang="0">
                      <a:pos x="26" y="10"/>
                    </a:cxn>
                    <a:cxn ang="0">
                      <a:pos x="36" y="8"/>
                    </a:cxn>
                    <a:cxn ang="0">
                      <a:pos x="40" y="10"/>
                    </a:cxn>
                    <a:cxn ang="0">
                      <a:pos x="44" y="10"/>
                    </a:cxn>
                    <a:cxn ang="0">
                      <a:pos x="44" y="6"/>
                    </a:cxn>
                    <a:cxn ang="0">
                      <a:pos x="44" y="6"/>
                    </a:cxn>
                    <a:cxn ang="0">
                      <a:pos x="44" y="4"/>
                    </a:cxn>
                    <a:cxn ang="0">
                      <a:pos x="44" y="4"/>
                    </a:cxn>
                    <a:cxn ang="0">
                      <a:pos x="38" y="4"/>
                    </a:cxn>
                    <a:cxn ang="0">
                      <a:pos x="30" y="4"/>
                    </a:cxn>
                    <a:cxn ang="0">
                      <a:pos x="18" y="2"/>
                    </a:cxn>
                    <a:cxn ang="0">
                      <a:pos x="18" y="2"/>
                    </a:cxn>
                    <a:cxn ang="0">
                      <a:pos x="14" y="0"/>
                    </a:cxn>
                    <a:cxn ang="0">
                      <a:pos x="14" y="2"/>
                    </a:cxn>
                    <a:cxn ang="0">
                      <a:pos x="14" y="6"/>
                    </a:cxn>
                    <a:cxn ang="0">
                      <a:pos x="14" y="10"/>
                    </a:cxn>
                    <a:cxn ang="0">
                      <a:pos x="12" y="10"/>
                    </a:cxn>
                    <a:cxn ang="0">
                      <a:pos x="8" y="10"/>
                    </a:cxn>
                    <a:cxn ang="0">
                      <a:pos x="8" y="10"/>
                    </a:cxn>
                  </a:cxnLst>
                  <a:rect l="0" t="0" r="r" b="b"/>
                  <a:pathLst>
                    <a:path w="44" h="16">
                      <a:moveTo>
                        <a:pt x="8" y="10"/>
                      </a:moveTo>
                      <a:lnTo>
                        <a:pt x="8" y="10"/>
                      </a:lnTo>
                      <a:lnTo>
                        <a:pt x="0" y="8"/>
                      </a:lnTo>
                      <a:lnTo>
                        <a:pt x="2" y="10"/>
                      </a:lnTo>
                      <a:lnTo>
                        <a:pt x="6" y="14"/>
                      </a:lnTo>
                      <a:lnTo>
                        <a:pt x="6" y="14"/>
                      </a:lnTo>
                      <a:lnTo>
                        <a:pt x="10" y="16"/>
                      </a:lnTo>
                      <a:lnTo>
                        <a:pt x="12" y="16"/>
                      </a:lnTo>
                      <a:lnTo>
                        <a:pt x="26" y="10"/>
                      </a:lnTo>
                      <a:lnTo>
                        <a:pt x="26" y="10"/>
                      </a:lnTo>
                      <a:lnTo>
                        <a:pt x="36" y="8"/>
                      </a:lnTo>
                      <a:lnTo>
                        <a:pt x="40" y="10"/>
                      </a:lnTo>
                      <a:lnTo>
                        <a:pt x="44" y="10"/>
                      </a:lnTo>
                      <a:lnTo>
                        <a:pt x="44" y="6"/>
                      </a:lnTo>
                      <a:lnTo>
                        <a:pt x="44" y="6"/>
                      </a:lnTo>
                      <a:lnTo>
                        <a:pt x="44" y="4"/>
                      </a:lnTo>
                      <a:lnTo>
                        <a:pt x="44" y="4"/>
                      </a:lnTo>
                      <a:lnTo>
                        <a:pt x="38" y="4"/>
                      </a:lnTo>
                      <a:lnTo>
                        <a:pt x="30" y="4"/>
                      </a:lnTo>
                      <a:lnTo>
                        <a:pt x="18" y="2"/>
                      </a:lnTo>
                      <a:lnTo>
                        <a:pt x="18" y="2"/>
                      </a:lnTo>
                      <a:lnTo>
                        <a:pt x="14" y="0"/>
                      </a:lnTo>
                      <a:lnTo>
                        <a:pt x="14" y="2"/>
                      </a:lnTo>
                      <a:lnTo>
                        <a:pt x="14" y="6"/>
                      </a:lnTo>
                      <a:lnTo>
                        <a:pt x="14" y="10"/>
                      </a:lnTo>
                      <a:lnTo>
                        <a:pt x="12" y="10"/>
                      </a:lnTo>
                      <a:lnTo>
                        <a:pt x="8" y="10"/>
                      </a:lnTo>
                      <a:lnTo>
                        <a:pt x="8" y="1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5" name="Freeform 6028"/>
                <p:cNvSpPr>
                  <a:spLocks/>
                </p:cNvSpPr>
                <p:nvPr/>
              </p:nvSpPr>
              <p:spPr bwMode="auto">
                <a:xfrm>
                  <a:off x="443230" y="1907223"/>
                  <a:ext cx="64770" cy="50800"/>
                </a:xfrm>
                <a:custGeom>
                  <a:avLst/>
                  <a:gdLst/>
                  <a:ahLst/>
                  <a:cxnLst>
                    <a:cxn ang="0">
                      <a:pos x="98" y="20"/>
                    </a:cxn>
                    <a:cxn ang="0">
                      <a:pos x="94" y="14"/>
                    </a:cxn>
                    <a:cxn ang="0">
                      <a:pos x="92" y="8"/>
                    </a:cxn>
                    <a:cxn ang="0">
                      <a:pos x="88" y="6"/>
                    </a:cxn>
                    <a:cxn ang="0">
                      <a:pos x="82" y="6"/>
                    </a:cxn>
                    <a:cxn ang="0">
                      <a:pos x="78" y="4"/>
                    </a:cxn>
                    <a:cxn ang="0">
                      <a:pos x="64" y="0"/>
                    </a:cxn>
                    <a:cxn ang="0">
                      <a:pos x="60" y="2"/>
                    </a:cxn>
                    <a:cxn ang="0">
                      <a:pos x="62" y="4"/>
                    </a:cxn>
                    <a:cxn ang="0">
                      <a:pos x="62" y="8"/>
                    </a:cxn>
                    <a:cxn ang="0">
                      <a:pos x="50" y="12"/>
                    </a:cxn>
                    <a:cxn ang="0">
                      <a:pos x="44" y="8"/>
                    </a:cxn>
                    <a:cxn ang="0">
                      <a:pos x="40" y="4"/>
                    </a:cxn>
                    <a:cxn ang="0">
                      <a:pos x="38" y="4"/>
                    </a:cxn>
                    <a:cxn ang="0">
                      <a:pos x="34" y="18"/>
                    </a:cxn>
                    <a:cxn ang="0">
                      <a:pos x="32" y="20"/>
                    </a:cxn>
                    <a:cxn ang="0">
                      <a:pos x="26" y="22"/>
                    </a:cxn>
                    <a:cxn ang="0">
                      <a:pos x="14" y="22"/>
                    </a:cxn>
                    <a:cxn ang="0">
                      <a:pos x="8" y="26"/>
                    </a:cxn>
                    <a:cxn ang="0">
                      <a:pos x="0" y="34"/>
                    </a:cxn>
                    <a:cxn ang="0">
                      <a:pos x="0" y="42"/>
                    </a:cxn>
                    <a:cxn ang="0">
                      <a:pos x="8" y="62"/>
                    </a:cxn>
                    <a:cxn ang="0">
                      <a:pos x="10" y="68"/>
                    </a:cxn>
                    <a:cxn ang="0">
                      <a:pos x="16" y="70"/>
                    </a:cxn>
                    <a:cxn ang="0">
                      <a:pos x="20" y="66"/>
                    </a:cxn>
                    <a:cxn ang="0">
                      <a:pos x="30" y="62"/>
                    </a:cxn>
                    <a:cxn ang="0">
                      <a:pos x="34" y="64"/>
                    </a:cxn>
                    <a:cxn ang="0">
                      <a:pos x="30" y="70"/>
                    </a:cxn>
                    <a:cxn ang="0">
                      <a:pos x="24" y="76"/>
                    </a:cxn>
                    <a:cxn ang="0">
                      <a:pos x="26" y="80"/>
                    </a:cxn>
                    <a:cxn ang="0">
                      <a:pos x="36" y="74"/>
                    </a:cxn>
                    <a:cxn ang="0">
                      <a:pos x="44" y="68"/>
                    </a:cxn>
                    <a:cxn ang="0">
                      <a:pos x="46" y="60"/>
                    </a:cxn>
                    <a:cxn ang="0">
                      <a:pos x="48" y="56"/>
                    </a:cxn>
                    <a:cxn ang="0">
                      <a:pos x="56" y="48"/>
                    </a:cxn>
                    <a:cxn ang="0">
                      <a:pos x="66" y="46"/>
                    </a:cxn>
                    <a:cxn ang="0">
                      <a:pos x="90" y="38"/>
                    </a:cxn>
                    <a:cxn ang="0">
                      <a:pos x="98" y="34"/>
                    </a:cxn>
                    <a:cxn ang="0">
                      <a:pos x="102" y="24"/>
                    </a:cxn>
                    <a:cxn ang="0">
                      <a:pos x="98" y="20"/>
                    </a:cxn>
                  </a:cxnLst>
                  <a:rect l="0" t="0" r="r" b="b"/>
                  <a:pathLst>
                    <a:path w="102" h="80">
                      <a:moveTo>
                        <a:pt x="98" y="20"/>
                      </a:moveTo>
                      <a:lnTo>
                        <a:pt x="98" y="20"/>
                      </a:lnTo>
                      <a:lnTo>
                        <a:pt x="94" y="18"/>
                      </a:lnTo>
                      <a:lnTo>
                        <a:pt x="94" y="14"/>
                      </a:lnTo>
                      <a:lnTo>
                        <a:pt x="94" y="12"/>
                      </a:lnTo>
                      <a:lnTo>
                        <a:pt x="92" y="8"/>
                      </a:lnTo>
                      <a:lnTo>
                        <a:pt x="92" y="8"/>
                      </a:lnTo>
                      <a:lnTo>
                        <a:pt x="88" y="6"/>
                      </a:lnTo>
                      <a:lnTo>
                        <a:pt x="86" y="6"/>
                      </a:lnTo>
                      <a:lnTo>
                        <a:pt x="82" y="6"/>
                      </a:lnTo>
                      <a:lnTo>
                        <a:pt x="78" y="4"/>
                      </a:lnTo>
                      <a:lnTo>
                        <a:pt x="78" y="4"/>
                      </a:lnTo>
                      <a:lnTo>
                        <a:pt x="70" y="0"/>
                      </a:lnTo>
                      <a:lnTo>
                        <a:pt x="64" y="0"/>
                      </a:lnTo>
                      <a:lnTo>
                        <a:pt x="60" y="0"/>
                      </a:lnTo>
                      <a:lnTo>
                        <a:pt x="60" y="2"/>
                      </a:lnTo>
                      <a:lnTo>
                        <a:pt x="62" y="4"/>
                      </a:lnTo>
                      <a:lnTo>
                        <a:pt x="62" y="4"/>
                      </a:lnTo>
                      <a:lnTo>
                        <a:pt x="64" y="6"/>
                      </a:lnTo>
                      <a:lnTo>
                        <a:pt x="62" y="8"/>
                      </a:lnTo>
                      <a:lnTo>
                        <a:pt x="58" y="12"/>
                      </a:lnTo>
                      <a:lnTo>
                        <a:pt x="50" y="12"/>
                      </a:lnTo>
                      <a:lnTo>
                        <a:pt x="46" y="10"/>
                      </a:lnTo>
                      <a:lnTo>
                        <a:pt x="44" y="8"/>
                      </a:lnTo>
                      <a:lnTo>
                        <a:pt x="44" y="8"/>
                      </a:lnTo>
                      <a:lnTo>
                        <a:pt x="40" y="4"/>
                      </a:lnTo>
                      <a:lnTo>
                        <a:pt x="38" y="4"/>
                      </a:lnTo>
                      <a:lnTo>
                        <a:pt x="38" y="4"/>
                      </a:lnTo>
                      <a:lnTo>
                        <a:pt x="34" y="10"/>
                      </a:lnTo>
                      <a:lnTo>
                        <a:pt x="34" y="18"/>
                      </a:lnTo>
                      <a:lnTo>
                        <a:pt x="34" y="18"/>
                      </a:lnTo>
                      <a:lnTo>
                        <a:pt x="32" y="20"/>
                      </a:lnTo>
                      <a:lnTo>
                        <a:pt x="32" y="22"/>
                      </a:lnTo>
                      <a:lnTo>
                        <a:pt x="26" y="22"/>
                      </a:lnTo>
                      <a:lnTo>
                        <a:pt x="18" y="20"/>
                      </a:lnTo>
                      <a:lnTo>
                        <a:pt x="14" y="22"/>
                      </a:lnTo>
                      <a:lnTo>
                        <a:pt x="8" y="26"/>
                      </a:lnTo>
                      <a:lnTo>
                        <a:pt x="8" y="26"/>
                      </a:lnTo>
                      <a:lnTo>
                        <a:pt x="4" y="30"/>
                      </a:lnTo>
                      <a:lnTo>
                        <a:pt x="0" y="34"/>
                      </a:lnTo>
                      <a:lnTo>
                        <a:pt x="0" y="38"/>
                      </a:lnTo>
                      <a:lnTo>
                        <a:pt x="0" y="42"/>
                      </a:lnTo>
                      <a:lnTo>
                        <a:pt x="4" y="50"/>
                      </a:lnTo>
                      <a:lnTo>
                        <a:pt x="8" y="62"/>
                      </a:lnTo>
                      <a:lnTo>
                        <a:pt x="8" y="62"/>
                      </a:lnTo>
                      <a:lnTo>
                        <a:pt x="10" y="68"/>
                      </a:lnTo>
                      <a:lnTo>
                        <a:pt x="14" y="70"/>
                      </a:lnTo>
                      <a:lnTo>
                        <a:pt x="16" y="70"/>
                      </a:lnTo>
                      <a:lnTo>
                        <a:pt x="20" y="66"/>
                      </a:lnTo>
                      <a:lnTo>
                        <a:pt x="20" y="66"/>
                      </a:lnTo>
                      <a:lnTo>
                        <a:pt x="24" y="64"/>
                      </a:lnTo>
                      <a:lnTo>
                        <a:pt x="30" y="62"/>
                      </a:lnTo>
                      <a:lnTo>
                        <a:pt x="32" y="62"/>
                      </a:lnTo>
                      <a:lnTo>
                        <a:pt x="34" y="64"/>
                      </a:lnTo>
                      <a:lnTo>
                        <a:pt x="32" y="66"/>
                      </a:lnTo>
                      <a:lnTo>
                        <a:pt x="30" y="70"/>
                      </a:lnTo>
                      <a:lnTo>
                        <a:pt x="30" y="70"/>
                      </a:lnTo>
                      <a:lnTo>
                        <a:pt x="24" y="76"/>
                      </a:lnTo>
                      <a:lnTo>
                        <a:pt x="24" y="78"/>
                      </a:lnTo>
                      <a:lnTo>
                        <a:pt x="26" y="80"/>
                      </a:lnTo>
                      <a:lnTo>
                        <a:pt x="30" y="78"/>
                      </a:lnTo>
                      <a:lnTo>
                        <a:pt x="36" y="74"/>
                      </a:lnTo>
                      <a:lnTo>
                        <a:pt x="36" y="74"/>
                      </a:lnTo>
                      <a:lnTo>
                        <a:pt x="44" y="68"/>
                      </a:lnTo>
                      <a:lnTo>
                        <a:pt x="46" y="66"/>
                      </a:lnTo>
                      <a:lnTo>
                        <a:pt x="46" y="60"/>
                      </a:lnTo>
                      <a:lnTo>
                        <a:pt x="46" y="60"/>
                      </a:lnTo>
                      <a:lnTo>
                        <a:pt x="48" y="56"/>
                      </a:lnTo>
                      <a:lnTo>
                        <a:pt x="50" y="52"/>
                      </a:lnTo>
                      <a:lnTo>
                        <a:pt x="56" y="48"/>
                      </a:lnTo>
                      <a:lnTo>
                        <a:pt x="66" y="46"/>
                      </a:lnTo>
                      <a:lnTo>
                        <a:pt x="66" y="46"/>
                      </a:lnTo>
                      <a:lnTo>
                        <a:pt x="80" y="44"/>
                      </a:lnTo>
                      <a:lnTo>
                        <a:pt x="90" y="38"/>
                      </a:lnTo>
                      <a:lnTo>
                        <a:pt x="90" y="38"/>
                      </a:lnTo>
                      <a:lnTo>
                        <a:pt x="98" y="34"/>
                      </a:lnTo>
                      <a:lnTo>
                        <a:pt x="102" y="28"/>
                      </a:lnTo>
                      <a:lnTo>
                        <a:pt x="102" y="24"/>
                      </a:lnTo>
                      <a:lnTo>
                        <a:pt x="100" y="22"/>
                      </a:lnTo>
                      <a:lnTo>
                        <a:pt x="98" y="20"/>
                      </a:lnTo>
                      <a:lnTo>
                        <a:pt x="98" y="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6" name="Freeform 6029"/>
                <p:cNvSpPr>
                  <a:spLocks/>
                </p:cNvSpPr>
                <p:nvPr/>
              </p:nvSpPr>
              <p:spPr bwMode="auto">
                <a:xfrm>
                  <a:off x="927100" y="1931353"/>
                  <a:ext cx="5080" cy="15240"/>
                </a:xfrm>
                <a:custGeom>
                  <a:avLst/>
                  <a:gdLst/>
                  <a:ahLst/>
                  <a:cxnLst>
                    <a:cxn ang="0">
                      <a:pos x="0" y="2"/>
                    </a:cxn>
                    <a:cxn ang="0">
                      <a:pos x="0" y="2"/>
                    </a:cxn>
                    <a:cxn ang="0">
                      <a:pos x="0" y="4"/>
                    </a:cxn>
                    <a:cxn ang="0">
                      <a:pos x="0" y="6"/>
                    </a:cxn>
                    <a:cxn ang="0">
                      <a:pos x="0" y="14"/>
                    </a:cxn>
                    <a:cxn ang="0">
                      <a:pos x="0" y="14"/>
                    </a:cxn>
                    <a:cxn ang="0">
                      <a:pos x="0" y="22"/>
                    </a:cxn>
                    <a:cxn ang="0">
                      <a:pos x="2" y="24"/>
                    </a:cxn>
                    <a:cxn ang="0">
                      <a:pos x="4" y="22"/>
                    </a:cxn>
                    <a:cxn ang="0">
                      <a:pos x="4" y="22"/>
                    </a:cxn>
                    <a:cxn ang="0">
                      <a:pos x="6" y="20"/>
                    </a:cxn>
                    <a:cxn ang="0">
                      <a:pos x="8" y="16"/>
                    </a:cxn>
                    <a:cxn ang="0">
                      <a:pos x="8" y="8"/>
                    </a:cxn>
                    <a:cxn ang="0">
                      <a:pos x="4" y="2"/>
                    </a:cxn>
                    <a:cxn ang="0">
                      <a:pos x="2" y="0"/>
                    </a:cxn>
                    <a:cxn ang="0">
                      <a:pos x="0" y="2"/>
                    </a:cxn>
                    <a:cxn ang="0">
                      <a:pos x="0" y="2"/>
                    </a:cxn>
                  </a:cxnLst>
                  <a:rect l="0" t="0" r="r" b="b"/>
                  <a:pathLst>
                    <a:path w="8" h="24">
                      <a:moveTo>
                        <a:pt x="0" y="2"/>
                      </a:moveTo>
                      <a:lnTo>
                        <a:pt x="0" y="2"/>
                      </a:lnTo>
                      <a:lnTo>
                        <a:pt x="0" y="4"/>
                      </a:lnTo>
                      <a:lnTo>
                        <a:pt x="0" y="6"/>
                      </a:lnTo>
                      <a:lnTo>
                        <a:pt x="0" y="14"/>
                      </a:lnTo>
                      <a:lnTo>
                        <a:pt x="0" y="14"/>
                      </a:lnTo>
                      <a:lnTo>
                        <a:pt x="0" y="22"/>
                      </a:lnTo>
                      <a:lnTo>
                        <a:pt x="2" y="24"/>
                      </a:lnTo>
                      <a:lnTo>
                        <a:pt x="4" y="22"/>
                      </a:lnTo>
                      <a:lnTo>
                        <a:pt x="4" y="22"/>
                      </a:lnTo>
                      <a:lnTo>
                        <a:pt x="6" y="20"/>
                      </a:lnTo>
                      <a:lnTo>
                        <a:pt x="8" y="16"/>
                      </a:lnTo>
                      <a:lnTo>
                        <a:pt x="8" y="8"/>
                      </a:lnTo>
                      <a:lnTo>
                        <a:pt x="4" y="2"/>
                      </a:lnTo>
                      <a:lnTo>
                        <a:pt x="2" y="0"/>
                      </a:lnTo>
                      <a:lnTo>
                        <a:pt x="0" y="2"/>
                      </a:lnTo>
                      <a:lnTo>
                        <a:pt x="0"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7" name="Freeform 6030"/>
                <p:cNvSpPr>
                  <a:spLocks/>
                </p:cNvSpPr>
                <p:nvPr/>
              </p:nvSpPr>
              <p:spPr bwMode="auto">
                <a:xfrm>
                  <a:off x="933450" y="1925003"/>
                  <a:ext cx="25400" cy="54610"/>
                </a:xfrm>
                <a:custGeom>
                  <a:avLst/>
                  <a:gdLst/>
                  <a:ahLst/>
                  <a:cxnLst>
                    <a:cxn ang="0">
                      <a:pos x="36" y="42"/>
                    </a:cxn>
                    <a:cxn ang="0">
                      <a:pos x="36" y="42"/>
                    </a:cxn>
                    <a:cxn ang="0">
                      <a:pos x="32" y="26"/>
                    </a:cxn>
                    <a:cxn ang="0">
                      <a:pos x="28" y="16"/>
                    </a:cxn>
                    <a:cxn ang="0">
                      <a:pos x="24" y="8"/>
                    </a:cxn>
                    <a:cxn ang="0">
                      <a:pos x="14" y="2"/>
                    </a:cxn>
                    <a:cxn ang="0">
                      <a:pos x="14" y="2"/>
                    </a:cxn>
                    <a:cxn ang="0">
                      <a:pos x="10" y="0"/>
                    </a:cxn>
                    <a:cxn ang="0">
                      <a:pos x="6" y="0"/>
                    </a:cxn>
                    <a:cxn ang="0">
                      <a:pos x="2" y="2"/>
                    </a:cxn>
                    <a:cxn ang="0">
                      <a:pos x="0" y="6"/>
                    </a:cxn>
                    <a:cxn ang="0">
                      <a:pos x="0" y="12"/>
                    </a:cxn>
                    <a:cxn ang="0">
                      <a:pos x="0" y="18"/>
                    </a:cxn>
                    <a:cxn ang="0">
                      <a:pos x="0" y="18"/>
                    </a:cxn>
                    <a:cxn ang="0">
                      <a:pos x="8" y="24"/>
                    </a:cxn>
                    <a:cxn ang="0">
                      <a:pos x="10" y="30"/>
                    </a:cxn>
                    <a:cxn ang="0">
                      <a:pos x="10" y="38"/>
                    </a:cxn>
                    <a:cxn ang="0">
                      <a:pos x="10" y="38"/>
                    </a:cxn>
                    <a:cxn ang="0">
                      <a:pos x="10" y="42"/>
                    </a:cxn>
                    <a:cxn ang="0">
                      <a:pos x="10" y="44"/>
                    </a:cxn>
                    <a:cxn ang="0">
                      <a:pos x="14" y="46"/>
                    </a:cxn>
                    <a:cxn ang="0">
                      <a:pos x="18" y="48"/>
                    </a:cxn>
                    <a:cxn ang="0">
                      <a:pos x="18" y="50"/>
                    </a:cxn>
                    <a:cxn ang="0">
                      <a:pos x="18" y="54"/>
                    </a:cxn>
                    <a:cxn ang="0">
                      <a:pos x="18" y="54"/>
                    </a:cxn>
                    <a:cxn ang="0">
                      <a:pos x="18" y="58"/>
                    </a:cxn>
                    <a:cxn ang="0">
                      <a:pos x="20" y="58"/>
                    </a:cxn>
                    <a:cxn ang="0">
                      <a:pos x="22" y="58"/>
                    </a:cxn>
                    <a:cxn ang="0">
                      <a:pos x="22" y="62"/>
                    </a:cxn>
                    <a:cxn ang="0">
                      <a:pos x="22" y="62"/>
                    </a:cxn>
                    <a:cxn ang="0">
                      <a:pos x="22" y="68"/>
                    </a:cxn>
                    <a:cxn ang="0">
                      <a:pos x="24" y="72"/>
                    </a:cxn>
                    <a:cxn ang="0">
                      <a:pos x="28" y="76"/>
                    </a:cxn>
                    <a:cxn ang="0">
                      <a:pos x="28" y="76"/>
                    </a:cxn>
                    <a:cxn ang="0">
                      <a:pos x="36" y="86"/>
                    </a:cxn>
                    <a:cxn ang="0">
                      <a:pos x="38" y="86"/>
                    </a:cxn>
                    <a:cxn ang="0">
                      <a:pos x="40" y="86"/>
                    </a:cxn>
                    <a:cxn ang="0">
                      <a:pos x="40" y="80"/>
                    </a:cxn>
                    <a:cxn ang="0">
                      <a:pos x="38" y="70"/>
                    </a:cxn>
                    <a:cxn ang="0">
                      <a:pos x="38" y="70"/>
                    </a:cxn>
                    <a:cxn ang="0">
                      <a:pos x="36" y="62"/>
                    </a:cxn>
                    <a:cxn ang="0">
                      <a:pos x="38" y="60"/>
                    </a:cxn>
                    <a:cxn ang="0">
                      <a:pos x="40" y="54"/>
                    </a:cxn>
                    <a:cxn ang="0">
                      <a:pos x="36" y="42"/>
                    </a:cxn>
                    <a:cxn ang="0">
                      <a:pos x="36" y="42"/>
                    </a:cxn>
                  </a:cxnLst>
                  <a:rect l="0" t="0" r="r" b="b"/>
                  <a:pathLst>
                    <a:path w="40" h="86">
                      <a:moveTo>
                        <a:pt x="36" y="42"/>
                      </a:moveTo>
                      <a:lnTo>
                        <a:pt x="36" y="42"/>
                      </a:lnTo>
                      <a:lnTo>
                        <a:pt x="32" y="26"/>
                      </a:lnTo>
                      <a:lnTo>
                        <a:pt x="28" y="16"/>
                      </a:lnTo>
                      <a:lnTo>
                        <a:pt x="24" y="8"/>
                      </a:lnTo>
                      <a:lnTo>
                        <a:pt x="14" y="2"/>
                      </a:lnTo>
                      <a:lnTo>
                        <a:pt x="14" y="2"/>
                      </a:lnTo>
                      <a:lnTo>
                        <a:pt x="10" y="0"/>
                      </a:lnTo>
                      <a:lnTo>
                        <a:pt x="6" y="0"/>
                      </a:lnTo>
                      <a:lnTo>
                        <a:pt x="2" y="2"/>
                      </a:lnTo>
                      <a:lnTo>
                        <a:pt x="0" y="6"/>
                      </a:lnTo>
                      <a:lnTo>
                        <a:pt x="0" y="12"/>
                      </a:lnTo>
                      <a:lnTo>
                        <a:pt x="0" y="18"/>
                      </a:lnTo>
                      <a:lnTo>
                        <a:pt x="0" y="18"/>
                      </a:lnTo>
                      <a:lnTo>
                        <a:pt x="8" y="24"/>
                      </a:lnTo>
                      <a:lnTo>
                        <a:pt x="10" y="30"/>
                      </a:lnTo>
                      <a:lnTo>
                        <a:pt x="10" y="38"/>
                      </a:lnTo>
                      <a:lnTo>
                        <a:pt x="10" y="38"/>
                      </a:lnTo>
                      <a:lnTo>
                        <a:pt x="10" y="42"/>
                      </a:lnTo>
                      <a:lnTo>
                        <a:pt x="10" y="44"/>
                      </a:lnTo>
                      <a:lnTo>
                        <a:pt x="14" y="46"/>
                      </a:lnTo>
                      <a:lnTo>
                        <a:pt x="18" y="48"/>
                      </a:lnTo>
                      <a:lnTo>
                        <a:pt x="18" y="50"/>
                      </a:lnTo>
                      <a:lnTo>
                        <a:pt x="18" y="54"/>
                      </a:lnTo>
                      <a:lnTo>
                        <a:pt x="18" y="54"/>
                      </a:lnTo>
                      <a:lnTo>
                        <a:pt x="18" y="58"/>
                      </a:lnTo>
                      <a:lnTo>
                        <a:pt x="20" y="58"/>
                      </a:lnTo>
                      <a:lnTo>
                        <a:pt x="22" y="58"/>
                      </a:lnTo>
                      <a:lnTo>
                        <a:pt x="22" y="62"/>
                      </a:lnTo>
                      <a:lnTo>
                        <a:pt x="22" y="62"/>
                      </a:lnTo>
                      <a:lnTo>
                        <a:pt x="22" y="68"/>
                      </a:lnTo>
                      <a:lnTo>
                        <a:pt x="24" y="72"/>
                      </a:lnTo>
                      <a:lnTo>
                        <a:pt x="28" y="76"/>
                      </a:lnTo>
                      <a:lnTo>
                        <a:pt x="28" y="76"/>
                      </a:lnTo>
                      <a:lnTo>
                        <a:pt x="36" y="86"/>
                      </a:lnTo>
                      <a:lnTo>
                        <a:pt x="38" y="86"/>
                      </a:lnTo>
                      <a:lnTo>
                        <a:pt x="40" y="86"/>
                      </a:lnTo>
                      <a:lnTo>
                        <a:pt x="40" y="80"/>
                      </a:lnTo>
                      <a:lnTo>
                        <a:pt x="38" y="70"/>
                      </a:lnTo>
                      <a:lnTo>
                        <a:pt x="38" y="70"/>
                      </a:lnTo>
                      <a:lnTo>
                        <a:pt x="36" y="62"/>
                      </a:lnTo>
                      <a:lnTo>
                        <a:pt x="38" y="60"/>
                      </a:lnTo>
                      <a:lnTo>
                        <a:pt x="40" y="54"/>
                      </a:lnTo>
                      <a:lnTo>
                        <a:pt x="36" y="42"/>
                      </a:lnTo>
                      <a:lnTo>
                        <a:pt x="36" y="4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8" name="Freeform 6031"/>
                <p:cNvSpPr>
                  <a:spLocks/>
                </p:cNvSpPr>
                <p:nvPr/>
              </p:nvSpPr>
              <p:spPr bwMode="auto">
                <a:xfrm>
                  <a:off x="951230" y="1890713"/>
                  <a:ext cx="26670" cy="54610"/>
                </a:xfrm>
                <a:custGeom>
                  <a:avLst/>
                  <a:gdLst/>
                  <a:ahLst/>
                  <a:cxnLst>
                    <a:cxn ang="0">
                      <a:pos x="38" y="66"/>
                    </a:cxn>
                    <a:cxn ang="0">
                      <a:pos x="38" y="66"/>
                    </a:cxn>
                    <a:cxn ang="0">
                      <a:pos x="40" y="66"/>
                    </a:cxn>
                    <a:cxn ang="0">
                      <a:pos x="42" y="64"/>
                    </a:cxn>
                    <a:cxn ang="0">
                      <a:pos x="42" y="58"/>
                    </a:cxn>
                    <a:cxn ang="0">
                      <a:pos x="40" y="52"/>
                    </a:cxn>
                    <a:cxn ang="0">
                      <a:pos x="40" y="50"/>
                    </a:cxn>
                    <a:cxn ang="0">
                      <a:pos x="40" y="48"/>
                    </a:cxn>
                    <a:cxn ang="0">
                      <a:pos x="40" y="48"/>
                    </a:cxn>
                    <a:cxn ang="0">
                      <a:pos x="42" y="48"/>
                    </a:cxn>
                    <a:cxn ang="0">
                      <a:pos x="42" y="44"/>
                    </a:cxn>
                    <a:cxn ang="0">
                      <a:pos x="40" y="36"/>
                    </a:cxn>
                    <a:cxn ang="0">
                      <a:pos x="30" y="16"/>
                    </a:cxn>
                    <a:cxn ang="0">
                      <a:pos x="30" y="16"/>
                    </a:cxn>
                    <a:cxn ang="0">
                      <a:pos x="28" y="12"/>
                    </a:cxn>
                    <a:cxn ang="0">
                      <a:pos x="24" y="10"/>
                    </a:cxn>
                    <a:cxn ang="0">
                      <a:pos x="20" y="10"/>
                    </a:cxn>
                    <a:cxn ang="0">
                      <a:pos x="14" y="10"/>
                    </a:cxn>
                    <a:cxn ang="0">
                      <a:pos x="10" y="8"/>
                    </a:cxn>
                    <a:cxn ang="0">
                      <a:pos x="8" y="4"/>
                    </a:cxn>
                    <a:cxn ang="0">
                      <a:pos x="8" y="4"/>
                    </a:cxn>
                    <a:cxn ang="0">
                      <a:pos x="2" y="0"/>
                    </a:cxn>
                    <a:cxn ang="0">
                      <a:pos x="2" y="2"/>
                    </a:cxn>
                    <a:cxn ang="0">
                      <a:pos x="0" y="4"/>
                    </a:cxn>
                    <a:cxn ang="0">
                      <a:pos x="4" y="20"/>
                    </a:cxn>
                    <a:cxn ang="0">
                      <a:pos x="4" y="20"/>
                    </a:cxn>
                    <a:cxn ang="0">
                      <a:pos x="8" y="36"/>
                    </a:cxn>
                    <a:cxn ang="0">
                      <a:pos x="10" y="46"/>
                    </a:cxn>
                    <a:cxn ang="0">
                      <a:pos x="14" y="58"/>
                    </a:cxn>
                    <a:cxn ang="0">
                      <a:pos x="14" y="58"/>
                    </a:cxn>
                    <a:cxn ang="0">
                      <a:pos x="16" y="66"/>
                    </a:cxn>
                    <a:cxn ang="0">
                      <a:pos x="16" y="66"/>
                    </a:cxn>
                    <a:cxn ang="0">
                      <a:pos x="14" y="68"/>
                    </a:cxn>
                    <a:cxn ang="0">
                      <a:pos x="12" y="70"/>
                    </a:cxn>
                    <a:cxn ang="0">
                      <a:pos x="10" y="74"/>
                    </a:cxn>
                    <a:cxn ang="0">
                      <a:pos x="10" y="82"/>
                    </a:cxn>
                    <a:cxn ang="0">
                      <a:pos x="10" y="82"/>
                    </a:cxn>
                    <a:cxn ang="0">
                      <a:pos x="12" y="86"/>
                    </a:cxn>
                    <a:cxn ang="0">
                      <a:pos x="16" y="86"/>
                    </a:cxn>
                    <a:cxn ang="0">
                      <a:pos x="28" y="80"/>
                    </a:cxn>
                    <a:cxn ang="0">
                      <a:pos x="28" y="80"/>
                    </a:cxn>
                    <a:cxn ang="0">
                      <a:pos x="30" y="78"/>
                    </a:cxn>
                    <a:cxn ang="0">
                      <a:pos x="32" y="74"/>
                    </a:cxn>
                    <a:cxn ang="0">
                      <a:pos x="32" y="70"/>
                    </a:cxn>
                    <a:cxn ang="0">
                      <a:pos x="32" y="68"/>
                    </a:cxn>
                    <a:cxn ang="0">
                      <a:pos x="38" y="66"/>
                    </a:cxn>
                    <a:cxn ang="0">
                      <a:pos x="38" y="66"/>
                    </a:cxn>
                  </a:cxnLst>
                  <a:rect l="0" t="0" r="r" b="b"/>
                  <a:pathLst>
                    <a:path w="42" h="86">
                      <a:moveTo>
                        <a:pt x="38" y="66"/>
                      </a:moveTo>
                      <a:lnTo>
                        <a:pt x="38" y="66"/>
                      </a:lnTo>
                      <a:lnTo>
                        <a:pt x="40" y="66"/>
                      </a:lnTo>
                      <a:lnTo>
                        <a:pt x="42" y="64"/>
                      </a:lnTo>
                      <a:lnTo>
                        <a:pt x="42" y="58"/>
                      </a:lnTo>
                      <a:lnTo>
                        <a:pt x="40" y="52"/>
                      </a:lnTo>
                      <a:lnTo>
                        <a:pt x="40" y="50"/>
                      </a:lnTo>
                      <a:lnTo>
                        <a:pt x="40" y="48"/>
                      </a:lnTo>
                      <a:lnTo>
                        <a:pt x="40" y="48"/>
                      </a:lnTo>
                      <a:lnTo>
                        <a:pt x="42" y="48"/>
                      </a:lnTo>
                      <a:lnTo>
                        <a:pt x="42" y="44"/>
                      </a:lnTo>
                      <a:lnTo>
                        <a:pt x="40" y="36"/>
                      </a:lnTo>
                      <a:lnTo>
                        <a:pt x="30" y="16"/>
                      </a:lnTo>
                      <a:lnTo>
                        <a:pt x="30" y="16"/>
                      </a:lnTo>
                      <a:lnTo>
                        <a:pt x="28" y="12"/>
                      </a:lnTo>
                      <a:lnTo>
                        <a:pt x="24" y="10"/>
                      </a:lnTo>
                      <a:lnTo>
                        <a:pt x="20" y="10"/>
                      </a:lnTo>
                      <a:lnTo>
                        <a:pt x="14" y="10"/>
                      </a:lnTo>
                      <a:lnTo>
                        <a:pt x="10" y="8"/>
                      </a:lnTo>
                      <a:lnTo>
                        <a:pt x="8" y="4"/>
                      </a:lnTo>
                      <a:lnTo>
                        <a:pt x="8" y="4"/>
                      </a:lnTo>
                      <a:lnTo>
                        <a:pt x="2" y="0"/>
                      </a:lnTo>
                      <a:lnTo>
                        <a:pt x="2" y="2"/>
                      </a:lnTo>
                      <a:lnTo>
                        <a:pt x="0" y="4"/>
                      </a:lnTo>
                      <a:lnTo>
                        <a:pt x="4" y="20"/>
                      </a:lnTo>
                      <a:lnTo>
                        <a:pt x="4" y="20"/>
                      </a:lnTo>
                      <a:lnTo>
                        <a:pt x="8" y="36"/>
                      </a:lnTo>
                      <a:lnTo>
                        <a:pt x="10" y="46"/>
                      </a:lnTo>
                      <a:lnTo>
                        <a:pt x="14" y="58"/>
                      </a:lnTo>
                      <a:lnTo>
                        <a:pt x="14" y="58"/>
                      </a:lnTo>
                      <a:lnTo>
                        <a:pt x="16" y="66"/>
                      </a:lnTo>
                      <a:lnTo>
                        <a:pt x="16" y="66"/>
                      </a:lnTo>
                      <a:lnTo>
                        <a:pt x="14" y="68"/>
                      </a:lnTo>
                      <a:lnTo>
                        <a:pt x="12" y="70"/>
                      </a:lnTo>
                      <a:lnTo>
                        <a:pt x="10" y="74"/>
                      </a:lnTo>
                      <a:lnTo>
                        <a:pt x="10" y="82"/>
                      </a:lnTo>
                      <a:lnTo>
                        <a:pt x="10" y="82"/>
                      </a:lnTo>
                      <a:lnTo>
                        <a:pt x="12" y="86"/>
                      </a:lnTo>
                      <a:lnTo>
                        <a:pt x="16" y="86"/>
                      </a:lnTo>
                      <a:lnTo>
                        <a:pt x="28" y="80"/>
                      </a:lnTo>
                      <a:lnTo>
                        <a:pt x="28" y="80"/>
                      </a:lnTo>
                      <a:lnTo>
                        <a:pt x="30" y="78"/>
                      </a:lnTo>
                      <a:lnTo>
                        <a:pt x="32" y="74"/>
                      </a:lnTo>
                      <a:lnTo>
                        <a:pt x="32" y="70"/>
                      </a:lnTo>
                      <a:lnTo>
                        <a:pt x="32" y="68"/>
                      </a:lnTo>
                      <a:lnTo>
                        <a:pt x="38" y="66"/>
                      </a:lnTo>
                      <a:lnTo>
                        <a:pt x="38" y="6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9" name="Freeform 6032"/>
                <p:cNvSpPr>
                  <a:spLocks/>
                </p:cNvSpPr>
                <p:nvPr/>
              </p:nvSpPr>
              <p:spPr bwMode="auto">
                <a:xfrm>
                  <a:off x="994410" y="2016443"/>
                  <a:ext cx="13970" cy="22860"/>
                </a:xfrm>
                <a:custGeom>
                  <a:avLst/>
                  <a:gdLst/>
                  <a:ahLst/>
                  <a:cxnLst>
                    <a:cxn ang="0">
                      <a:pos x="22" y="30"/>
                    </a:cxn>
                    <a:cxn ang="0">
                      <a:pos x="22" y="30"/>
                    </a:cxn>
                    <a:cxn ang="0">
                      <a:pos x="20" y="26"/>
                    </a:cxn>
                    <a:cxn ang="0">
                      <a:pos x="18" y="22"/>
                    </a:cxn>
                    <a:cxn ang="0">
                      <a:pos x="10" y="14"/>
                    </a:cxn>
                    <a:cxn ang="0">
                      <a:pos x="10" y="14"/>
                    </a:cxn>
                    <a:cxn ang="0">
                      <a:pos x="8" y="10"/>
                    </a:cxn>
                    <a:cxn ang="0">
                      <a:pos x="8" y="8"/>
                    </a:cxn>
                    <a:cxn ang="0">
                      <a:pos x="8" y="8"/>
                    </a:cxn>
                    <a:cxn ang="0">
                      <a:pos x="8" y="4"/>
                    </a:cxn>
                    <a:cxn ang="0">
                      <a:pos x="8" y="4"/>
                    </a:cxn>
                    <a:cxn ang="0">
                      <a:pos x="6" y="0"/>
                    </a:cxn>
                    <a:cxn ang="0">
                      <a:pos x="4" y="0"/>
                    </a:cxn>
                    <a:cxn ang="0">
                      <a:pos x="2" y="0"/>
                    </a:cxn>
                    <a:cxn ang="0">
                      <a:pos x="2" y="0"/>
                    </a:cxn>
                    <a:cxn ang="0">
                      <a:pos x="0" y="4"/>
                    </a:cxn>
                    <a:cxn ang="0">
                      <a:pos x="0" y="6"/>
                    </a:cxn>
                    <a:cxn ang="0">
                      <a:pos x="2" y="14"/>
                    </a:cxn>
                    <a:cxn ang="0">
                      <a:pos x="2" y="14"/>
                    </a:cxn>
                    <a:cxn ang="0">
                      <a:pos x="12" y="26"/>
                    </a:cxn>
                    <a:cxn ang="0">
                      <a:pos x="12" y="26"/>
                    </a:cxn>
                    <a:cxn ang="0">
                      <a:pos x="16" y="32"/>
                    </a:cxn>
                    <a:cxn ang="0">
                      <a:pos x="20" y="36"/>
                    </a:cxn>
                    <a:cxn ang="0">
                      <a:pos x="22" y="34"/>
                    </a:cxn>
                    <a:cxn ang="0">
                      <a:pos x="22" y="30"/>
                    </a:cxn>
                    <a:cxn ang="0">
                      <a:pos x="22" y="30"/>
                    </a:cxn>
                  </a:cxnLst>
                  <a:rect l="0" t="0" r="r" b="b"/>
                  <a:pathLst>
                    <a:path w="22" h="36">
                      <a:moveTo>
                        <a:pt x="22" y="30"/>
                      </a:moveTo>
                      <a:lnTo>
                        <a:pt x="22" y="30"/>
                      </a:lnTo>
                      <a:lnTo>
                        <a:pt x="20" y="26"/>
                      </a:lnTo>
                      <a:lnTo>
                        <a:pt x="18" y="22"/>
                      </a:lnTo>
                      <a:lnTo>
                        <a:pt x="10" y="14"/>
                      </a:lnTo>
                      <a:lnTo>
                        <a:pt x="10" y="14"/>
                      </a:lnTo>
                      <a:lnTo>
                        <a:pt x="8" y="10"/>
                      </a:lnTo>
                      <a:lnTo>
                        <a:pt x="8" y="8"/>
                      </a:lnTo>
                      <a:lnTo>
                        <a:pt x="8" y="8"/>
                      </a:lnTo>
                      <a:lnTo>
                        <a:pt x="8" y="4"/>
                      </a:lnTo>
                      <a:lnTo>
                        <a:pt x="8" y="4"/>
                      </a:lnTo>
                      <a:lnTo>
                        <a:pt x="6" y="0"/>
                      </a:lnTo>
                      <a:lnTo>
                        <a:pt x="4" y="0"/>
                      </a:lnTo>
                      <a:lnTo>
                        <a:pt x="2" y="0"/>
                      </a:lnTo>
                      <a:lnTo>
                        <a:pt x="2" y="0"/>
                      </a:lnTo>
                      <a:lnTo>
                        <a:pt x="0" y="4"/>
                      </a:lnTo>
                      <a:lnTo>
                        <a:pt x="0" y="6"/>
                      </a:lnTo>
                      <a:lnTo>
                        <a:pt x="2" y="14"/>
                      </a:lnTo>
                      <a:lnTo>
                        <a:pt x="2" y="14"/>
                      </a:lnTo>
                      <a:lnTo>
                        <a:pt x="12" y="26"/>
                      </a:lnTo>
                      <a:lnTo>
                        <a:pt x="12" y="26"/>
                      </a:lnTo>
                      <a:lnTo>
                        <a:pt x="16" y="32"/>
                      </a:lnTo>
                      <a:lnTo>
                        <a:pt x="20" y="36"/>
                      </a:lnTo>
                      <a:lnTo>
                        <a:pt x="22" y="34"/>
                      </a:lnTo>
                      <a:lnTo>
                        <a:pt x="22" y="30"/>
                      </a:lnTo>
                      <a:lnTo>
                        <a:pt x="22" y="3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0" name="Freeform 6034"/>
                <p:cNvSpPr>
                  <a:spLocks/>
                </p:cNvSpPr>
                <p:nvPr/>
              </p:nvSpPr>
              <p:spPr bwMode="auto">
                <a:xfrm>
                  <a:off x="976630" y="1941513"/>
                  <a:ext cx="25400" cy="26670"/>
                </a:xfrm>
                <a:custGeom>
                  <a:avLst/>
                  <a:gdLst/>
                  <a:ahLst/>
                  <a:cxnLst>
                    <a:cxn ang="0">
                      <a:pos x="34" y="30"/>
                    </a:cxn>
                    <a:cxn ang="0">
                      <a:pos x="34" y="30"/>
                    </a:cxn>
                    <a:cxn ang="0">
                      <a:pos x="36" y="26"/>
                    </a:cxn>
                    <a:cxn ang="0">
                      <a:pos x="38" y="22"/>
                    </a:cxn>
                    <a:cxn ang="0">
                      <a:pos x="40" y="16"/>
                    </a:cxn>
                    <a:cxn ang="0">
                      <a:pos x="36" y="10"/>
                    </a:cxn>
                    <a:cxn ang="0">
                      <a:pos x="36" y="10"/>
                    </a:cxn>
                    <a:cxn ang="0">
                      <a:pos x="32" y="6"/>
                    </a:cxn>
                    <a:cxn ang="0">
                      <a:pos x="28" y="6"/>
                    </a:cxn>
                    <a:cxn ang="0">
                      <a:pos x="24" y="6"/>
                    </a:cxn>
                    <a:cxn ang="0">
                      <a:pos x="18" y="4"/>
                    </a:cxn>
                    <a:cxn ang="0">
                      <a:pos x="18" y="4"/>
                    </a:cxn>
                    <a:cxn ang="0">
                      <a:pos x="12" y="0"/>
                    </a:cxn>
                    <a:cxn ang="0">
                      <a:pos x="4" y="0"/>
                    </a:cxn>
                    <a:cxn ang="0">
                      <a:pos x="0" y="4"/>
                    </a:cxn>
                    <a:cxn ang="0">
                      <a:pos x="0" y="6"/>
                    </a:cxn>
                    <a:cxn ang="0">
                      <a:pos x="0" y="10"/>
                    </a:cxn>
                    <a:cxn ang="0">
                      <a:pos x="0" y="10"/>
                    </a:cxn>
                    <a:cxn ang="0">
                      <a:pos x="0" y="14"/>
                    </a:cxn>
                    <a:cxn ang="0">
                      <a:pos x="2" y="16"/>
                    </a:cxn>
                    <a:cxn ang="0">
                      <a:pos x="6" y="16"/>
                    </a:cxn>
                    <a:cxn ang="0">
                      <a:pos x="10" y="16"/>
                    </a:cxn>
                    <a:cxn ang="0">
                      <a:pos x="12" y="16"/>
                    </a:cxn>
                    <a:cxn ang="0">
                      <a:pos x="12" y="20"/>
                    </a:cxn>
                    <a:cxn ang="0">
                      <a:pos x="12" y="26"/>
                    </a:cxn>
                    <a:cxn ang="0">
                      <a:pos x="12" y="26"/>
                    </a:cxn>
                    <a:cxn ang="0">
                      <a:pos x="12" y="36"/>
                    </a:cxn>
                    <a:cxn ang="0">
                      <a:pos x="14" y="38"/>
                    </a:cxn>
                    <a:cxn ang="0">
                      <a:pos x="16" y="40"/>
                    </a:cxn>
                    <a:cxn ang="0">
                      <a:pos x="20" y="40"/>
                    </a:cxn>
                    <a:cxn ang="0">
                      <a:pos x="28" y="40"/>
                    </a:cxn>
                    <a:cxn ang="0">
                      <a:pos x="28" y="40"/>
                    </a:cxn>
                    <a:cxn ang="0">
                      <a:pos x="32" y="42"/>
                    </a:cxn>
                    <a:cxn ang="0">
                      <a:pos x="34" y="40"/>
                    </a:cxn>
                    <a:cxn ang="0">
                      <a:pos x="34" y="38"/>
                    </a:cxn>
                    <a:cxn ang="0">
                      <a:pos x="32" y="32"/>
                    </a:cxn>
                    <a:cxn ang="0">
                      <a:pos x="32" y="30"/>
                    </a:cxn>
                    <a:cxn ang="0">
                      <a:pos x="34" y="30"/>
                    </a:cxn>
                    <a:cxn ang="0">
                      <a:pos x="34" y="30"/>
                    </a:cxn>
                  </a:cxnLst>
                  <a:rect l="0" t="0" r="r" b="b"/>
                  <a:pathLst>
                    <a:path w="40" h="42">
                      <a:moveTo>
                        <a:pt x="34" y="30"/>
                      </a:moveTo>
                      <a:lnTo>
                        <a:pt x="34" y="30"/>
                      </a:lnTo>
                      <a:lnTo>
                        <a:pt x="36" y="26"/>
                      </a:lnTo>
                      <a:lnTo>
                        <a:pt x="38" y="22"/>
                      </a:lnTo>
                      <a:lnTo>
                        <a:pt x="40" y="16"/>
                      </a:lnTo>
                      <a:lnTo>
                        <a:pt x="36" y="10"/>
                      </a:lnTo>
                      <a:lnTo>
                        <a:pt x="36" y="10"/>
                      </a:lnTo>
                      <a:lnTo>
                        <a:pt x="32" y="6"/>
                      </a:lnTo>
                      <a:lnTo>
                        <a:pt x="28" y="6"/>
                      </a:lnTo>
                      <a:lnTo>
                        <a:pt x="24" y="6"/>
                      </a:lnTo>
                      <a:lnTo>
                        <a:pt x="18" y="4"/>
                      </a:lnTo>
                      <a:lnTo>
                        <a:pt x="18" y="4"/>
                      </a:lnTo>
                      <a:lnTo>
                        <a:pt x="12" y="0"/>
                      </a:lnTo>
                      <a:lnTo>
                        <a:pt x="4" y="0"/>
                      </a:lnTo>
                      <a:lnTo>
                        <a:pt x="0" y="4"/>
                      </a:lnTo>
                      <a:lnTo>
                        <a:pt x="0" y="6"/>
                      </a:lnTo>
                      <a:lnTo>
                        <a:pt x="0" y="10"/>
                      </a:lnTo>
                      <a:lnTo>
                        <a:pt x="0" y="10"/>
                      </a:lnTo>
                      <a:lnTo>
                        <a:pt x="0" y="14"/>
                      </a:lnTo>
                      <a:lnTo>
                        <a:pt x="2" y="16"/>
                      </a:lnTo>
                      <a:lnTo>
                        <a:pt x="6" y="16"/>
                      </a:lnTo>
                      <a:lnTo>
                        <a:pt x="10" y="16"/>
                      </a:lnTo>
                      <a:lnTo>
                        <a:pt x="12" y="16"/>
                      </a:lnTo>
                      <a:lnTo>
                        <a:pt x="12" y="20"/>
                      </a:lnTo>
                      <a:lnTo>
                        <a:pt x="12" y="26"/>
                      </a:lnTo>
                      <a:lnTo>
                        <a:pt x="12" y="26"/>
                      </a:lnTo>
                      <a:lnTo>
                        <a:pt x="12" y="36"/>
                      </a:lnTo>
                      <a:lnTo>
                        <a:pt x="14" y="38"/>
                      </a:lnTo>
                      <a:lnTo>
                        <a:pt x="16" y="40"/>
                      </a:lnTo>
                      <a:lnTo>
                        <a:pt x="20" y="40"/>
                      </a:lnTo>
                      <a:lnTo>
                        <a:pt x="28" y="40"/>
                      </a:lnTo>
                      <a:lnTo>
                        <a:pt x="28" y="40"/>
                      </a:lnTo>
                      <a:lnTo>
                        <a:pt x="32" y="42"/>
                      </a:lnTo>
                      <a:lnTo>
                        <a:pt x="34" y="40"/>
                      </a:lnTo>
                      <a:lnTo>
                        <a:pt x="34" y="38"/>
                      </a:lnTo>
                      <a:lnTo>
                        <a:pt x="32" y="32"/>
                      </a:lnTo>
                      <a:lnTo>
                        <a:pt x="32" y="30"/>
                      </a:lnTo>
                      <a:lnTo>
                        <a:pt x="34" y="30"/>
                      </a:lnTo>
                      <a:lnTo>
                        <a:pt x="34" y="3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1" name="Freeform 6035"/>
                <p:cNvSpPr>
                  <a:spLocks/>
                </p:cNvSpPr>
                <p:nvPr/>
              </p:nvSpPr>
              <p:spPr bwMode="auto">
                <a:xfrm>
                  <a:off x="984250" y="1970723"/>
                  <a:ext cx="43180" cy="66040"/>
                </a:xfrm>
                <a:custGeom>
                  <a:avLst/>
                  <a:gdLst/>
                  <a:ahLst/>
                  <a:cxnLst>
                    <a:cxn ang="0">
                      <a:pos x="24" y="68"/>
                    </a:cxn>
                    <a:cxn ang="0">
                      <a:pos x="28" y="70"/>
                    </a:cxn>
                    <a:cxn ang="0">
                      <a:pos x="30" y="72"/>
                    </a:cxn>
                    <a:cxn ang="0">
                      <a:pos x="32" y="72"/>
                    </a:cxn>
                    <a:cxn ang="0">
                      <a:pos x="42" y="80"/>
                    </a:cxn>
                    <a:cxn ang="0">
                      <a:pos x="44" y="82"/>
                    </a:cxn>
                    <a:cxn ang="0">
                      <a:pos x="42" y="86"/>
                    </a:cxn>
                    <a:cxn ang="0">
                      <a:pos x="46" y="88"/>
                    </a:cxn>
                    <a:cxn ang="0">
                      <a:pos x="50" y="88"/>
                    </a:cxn>
                    <a:cxn ang="0">
                      <a:pos x="52" y="92"/>
                    </a:cxn>
                    <a:cxn ang="0">
                      <a:pos x="54" y="100"/>
                    </a:cxn>
                    <a:cxn ang="0">
                      <a:pos x="62" y="104"/>
                    </a:cxn>
                    <a:cxn ang="0">
                      <a:pos x="66" y="102"/>
                    </a:cxn>
                    <a:cxn ang="0">
                      <a:pos x="68" y="94"/>
                    </a:cxn>
                    <a:cxn ang="0">
                      <a:pos x="68" y="86"/>
                    </a:cxn>
                    <a:cxn ang="0">
                      <a:pos x="66" y="82"/>
                    </a:cxn>
                    <a:cxn ang="0">
                      <a:pos x="64" y="80"/>
                    </a:cxn>
                    <a:cxn ang="0">
                      <a:pos x="66" y="74"/>
                    </a:cxn>
                    <a:cxn ang="0">
                      <a:pos x="66" y="68"/>
                    </a:cxn>
                    <a:cxn ang="0">
                      <a:pos x="62" y="66"/>
                    </a:cxn>
                    <a:cxn ang="0">
                      <a:pos x="60" y="64"/>
                    </a:cxn>
                    <a:cxn ang="0">
                      <a:pos x="58" y="60"/>
                    </a:cxn>
                    <a:cxn ang="0">
                      <a:pos x="52" y="58"/>
                    </a:cxn>
                    <a:cxn ang="0">
                      <a:pos x="50" y="56"/>
                    </a:cxn>
                    <a:cxn ang="0">
                      <a:pos x="42" y="58"/>
                    </a:cxn>
                    <a:cxn ang="0">
                      <a:pos x="38" y="58"/>
                    </a:cxn>
                    <a:cxn ang="0">
                      <a:pos x="42" y="52"/>
                    </a:cxn>
                    <a:cxn ang="0">
                      <a:pos x="54" y="54"/>
                    </a:cxn>
                    <a:cxn ang="0">
                      <a:pos x="58" y="56"/>
                    </a:cxn>
                    <a:cxn ang="0">
                      <a:pos x="52" y="48"/>
                    </a:cxn>
                    <a:cxn ang="0">
                      <a:pos x="48" y="42"/>
                    </a:cxn>
                    <a:cxn ang="0">
                      <a:pos x="42" y="30"/>
                    </a:cxn>
                    <a:cxn ang="0">
                      <a:pos x="38" y="24"/>
                    </a:cxn>
                    <a:cxn ang="0">
                      <a:pos x="28" y="20"/>
                    </a:cxn>
                    <a:cxn ang="0">
                      <a:pos x="22" y="20"/>
                    </a:cxn>
                    <a:cxn ang="0">
                      <a:pos x="22" y="16"/>
                    </a:cxn>
                    <a:cxn ang="0">
                      <a:pos x="22" y="8"/>
                    </a:cxn>
                    <a:cxn ang="0">
                      <a:pos x="20" y="2"/>
                    </a:cxn>
                    <a:cxn ang="0">
                      <a:pos x="16" y="2"/>
                    </a:cxn>
                    <a:cxn ang="0">
                      <a:pos x="8" y="2"/>
                    </a:cxn>
                    <a:cxn ang="0">
                      <a:pos x="4" y="2"/>
                    </a:cxn>
                    <a:cxn ang="0">
                      <a:pos x="2" y="4"/>
                    </a:cxn>
                    <a:cxn ang="0">
                      <a:pos x="2" y="6"/>
                    </a:cxn>
                    <a:cxn ang="0">
                      <a:pos x="0" y="8"/>
                    </a:cxn>
                    <a:cxn ang="0">
                      <a:pos x="8" y="10"/>
                    </a:cxn>
                    <a:cxn ang="0">
                      <a:pos x="16" y="16"/>
                    </a:cxn>
                    <a:cxn ang="0">
                      <a:pos x="16" y="22"/>
                    </a:cxn>
                    <a:cxn ang="0">
                      <a:pos x="18" y="30"/>
                    </a:cxn>
                    <a:cxn ang="0">
                      <a:pos x="20" y="36"/>
                    </a:cxn>
                    <a:cxn ang="0">
                      <a:pos x="18" y="40"/>
                    </a:cxn>
                    <a:cxn ang="0">
                      <a:pos x="12" y="40"/>
                    </a:cxn>
                    <a:cxn ang="0">
                      <a:pos x="10" y="42"/>
                    </a:cxn>
                    <a:cxn ang="0">
                      <a:pos x="10" y="48"/>
                    </a:cxn>
                    <a:cxn ang="0">
                      <a:pos x="20" y="48"/>
                    </a:cxn>
                    <a:cxn ang="0">
                      <a:pos x="22" y="50"/>
                    </a:cxn>
                    <a:cxn ang="0">
                      <a:pos x="24" y="60"/>
                    </a:cxn>
                    <a:cxn ang="0">
                      <a:pos x="24" y="62"/>
                    </a:cxn>
                    <a:cxn ang="0">
                      <a:pos x="20" y="64"/>
                    </a:cxn>
                    <a:cxn ang="0">
                      <a:pos x="16" y="64"/>
                    </a:cxn>
                    <a:cxn ang="0">
                      <a:pos x="14" y="66"/>
                    </a:cxn>
                    <a:cxn ang="0">
                      <a:pos x="18" y="68"/>
                    </a:cxn>
                    <a:cxn ang="0">
                      <a:pos x="24" y="68"/>
                    </a:cxn>
                  </a:cxnLst>
                  <a:rect l="0" t="0" r="r" b="b"/>
                  <a:pathLst>
                    <a:path w="68" h="104">
                      <a:moveTo>
                        <a:pt x="24" y="68"/>
                      </a:moveTo>
                      <a:lnTo>
                        <a:pt x="24" y="68"/>
                      </a:lnTo>
                      <a:lnTo>
                        <a:pt x="28" y="68"/>
                      </a:lnTo>
                      <a:lnTo>
                        <a:pt x="28" y="70"/>
                      </a:lnTo>
                      <a:lnTo>
                        <a:pt x="28" y="72"/>
                      </a:lnTo>
                      <a:lnTo>
                        <a:pt x="30" y="72"/>
                      </a:lnTo>
                      <a:lnTo>
                        <a:pt x="30" y="72"/>
                      </a:lnTo>
                      <a:lnTo>
                        <a:pt x="32" y="72"/>
                      </a:lnTo>
                      <a:lnTo>
                        <a:pt x="36" y="72"/>
                      </a:lnTo>
                      <a:lnTo>
                        <a:pt x="42" y="80"/>
                      </a:lnTo>
                      <a:lnTo>
                        <a:pt x="42" y="80"/>
                      </a:lnTo>
                      <a:lnTo>
                        <a:pt x="44" y="82"/>
                      </a:lnTo>
                      <a:lnTo>
                        <a:pt x="44" y="84"/>
                      </a:lnTo>
                      <a:lnTo>
                        <a:pt x="42" y="86"/>
                      </a:lnTo>
                      <a:lnTo>
                        <a:pt x="46" y="88"/>
                      </a:lnTo>
                      <a:lnTo>
                        <a:pt x="46" y="88"/>
                      </a:lnTo>
                      <a:lnTo>
                        <a:pt x="48" y="90"/>
                      </a:lnTo>
                      <a:lnTo>
                        <a:pt x="50" y="88"/>
                      </a:lnTo>
                      <a:lnTo>
                        <a:pt x="52" y="88"/>
                      </a:lnTo>
                      <a:lnTo>
                        <a:pt x="52" y="92"/>
                      </a:lnTo>
                      <a:lnTo>
                        <a:pt x="52" y="92"/>
                      </a:lnTo>
                      <a:lnTo>
                        <a:pt x="54" y="100"/>
                      </a:lnTo>
                      <a:lnTo>
                        <a:pt x="58" y="104"/>
                      </a:lnTo>
                      <a:lnTo>
                        <a:pt x="62" y="104"/>
                      </a:lnTo>
                      <a:lnTo>
                        <a:pt x="66" y="102"/>
                      </a:lnTo>
                      <a:lnTo>
                        <a:pt x="66" y="102"/>
                      </a:lnTo>
                      <a:lnTo>
                        <a:pt x="68" y="98"/>
                      </a:lnTo>
                      <a:lnTo>
                        <a:pt x="68" y="94"/>
                      </a:lnTo>
                      <a:lnTo>
                        <a:pt x="68" y="92"/>
                      </a:lnTo>
                      <a:lnTo>
                        <a:pt x="68" y="86"/>
                      </a:lnTo>
                      <a:lnTo>
                        <a:pt x="68" y="86"/>
                      </a:lnTo>
                      <a:lnTo>
                        <a:pt x="66" y="82"/>
                      </a:lnTo>
                      <a:lnTo>
                        <a:pt x="66" y="82"/>
                      </a:lnTo>
                      <a:lnTo>
                        <a:pt x="64" y="80"/>
                      </a:lnTo>
                      <a:lnTo>
                        <a:pt x="66" y="74"/>
                      </a:lnTo>
                      <a:lnTo>
                        <a:pt x="66" y="74"/>
                      </a:lnTo>
                      <a:lnTo>
                        <a:pt x="68" y="68"/>
                      </a:lnTo>
                      <a:lnTo>
                        <a:pt x="66" y="68"/>
                      </a:lnTo>
                      <a:lnTo>
                        <a:pt x="62" y="68"/>
                      </a:lnTo>
                      <a:lnTo>
                        <a:pt x="62" y="66"/>
                      </a:lnTo>
                      <a:lnTo>
                        <a:pt x="60" y="64"/>
                      </a:lnTo>
                      <a:lnTo>
                        <a:pt x="60" y="64"/>
                      </a:lnTo>
                      <a:lnTo>
                        <a:pt x="60" y="60"/>
                      </a:lnTo>
                      <a:lnTo>
                        <a:pt x="58" y="60"/>
                      </a:lnTo>
                      <a:lnTo>
                        <a:pt x="54" y="60"/>
                      </a:lnTo>
                      <a:lnTo>
                        <a:pt x="52" y="58"/>
                      </a:lnTo>
                      <a:lnTo>
                        <a:pt x="52" y="58"/>
                      </a:lnTo>
                      <a:lnTo>
                        <a:pt x="50" y="56"/>
                      </a:lnTo>
                      <a:lnTo>
                        <a:pt x="44" y="58"/>
                      </a:lnTo>
                      <a:lnTo>
                        <a:pt x="42" y="58"/>
                      </a:lnTo>
                      <a:lnTo>
                        <a:pt x="38" y="58"/>
                      </a:lnTo>
                      <a:lnTo>
                        <a:pt x="38" y="58"/>
                      </a:lnTo>
                      <a:lnTo>
                        <a:pt x="40" y="54"/>
                      </a:lnTo>
                      <a:lnTo>
                        <a:pt x="42" y="52"/>
                      </a:lnTo>
                      <a:lnTo>
                        <a:pt x="48" y="50"/>
                      </a:lnTo>
                      <a:lnTo>
                        <a:pt x="54" y="54"/>
                      </a:lnTo>
                      <a:lnTo>
                        <a:pt x="54" y="54"/>
                      </a:lnTo>
                      <a:lnTo>
                        <a:pt x="58" y="56"/>
                      </a:lnTo>
                      <a:lnTo>
                        <a:pt x="60" y="56"/>
                      </a:lnTo>
                      <a:lnTo>
                        <a:pt x="52" y="48"/>
                      </a:lnTo>
                      <a:lnTo>
                        <a:pt x="52" y="48"/>
                      </a:lnTo>
                      <a:lnTo>
                        <a:pt x="48" y="42"/>
                      </a:lnTo>
                      <a:lnTo>
                        <a:pt x="46" y="36"/>
                      </a:lnTo>
                      <a:lnTo>
                        <a:pt x="42" y="30"/>
                      </a:lnTo>
                      <a:lnTo>
                        <a:pt x="38" y="24"/>
                      </a:lnTo>
                      <a:lnTo>
                        <a:pt x="38" y="24"/>
                      </a:lnTo>
                      <a:lnTo>
                        <a:pt x="34" y="20"/>
                      </a:lnTo>
                      <a:lnTo>
                        <a:pt x="28" y="20"/>
                      </a:lnTo>
                      <a:lnTo>
                        <a:pt x="24" y="20"/>
                      </a:lnTo>
                      <a:lnTo>
                        <a:pt x="22" y="20"/>
                      </a:lnTo>
                      <a:lnTo>
                        <a:pt x="22" y="20"/>
                      </a:lnTo>
                      <a:lnTo>
                        <a:pt x="22" y="16"/>
                      </a:lnTo>
                      <a:lnTo>
                        <a:pt x="22" y="12"/>
                      </a:lnTo>
                      <a:lnTo>
                        <a:pt x="22" y="8"/>
                      </a:lnTo>
                      <a:lnTo>
                        <a:pt x="20" y="2"/>
                      </a:lnTo>
                      <a:lnTo>
                        <a:pt x="20" y="2"/>
                      </a:lnTo>
                      <a:lnTo>
                        <a:pt x="18" y="0"/>
                      </a:lnTo>
                      <a:lnTo>
                        <a:pt x="16" y="2"/>
                      </a:lnTo>
                      <a:lnTo>
                        <a:pt x="14" y="2"/>
                      </a:lnTo>
                      <a:lnTo>
                        <a:pt x="8" y="2"/>
                      </a:lnTo>
                      <a:lnTo>
                        <a:pt x="8" y="2"/>
                      </a:lnTo>
                      <a:lnTo>
                        <a:pt x="4" y="2"/>
                      </a:lnTo>
                      <a:lnTo>
                        <a:pt x="2" y="2"/>
                      </a:lnTo>
                      <a:lnTo>
                        <a:pt x="2" y="4"/>
                      </a:lnTo>
                      <a:lnTo>
                        <a:pt x="2" y="6"/>
                      </a:lnTo>
                      <a:lnTo>
                        <a:pt x="2" y="6"/>
                      </a:lnTo>
                      <a:lnTo>
                        <a:pt x="0" y="6"/>
                      </a:lnTo>
                      <a:lnTo>
                        <a:pt x="0" y="8"/>
                      </a:lnTo>
                      <a:lnTo>
                        <a:pt x="8" y="10"/>
                      </a:lnTo>
                      <a:lnTo>
                        <a:pt x="8" y="10"/>
                      </a:lnTo>
                      <a:lnTo>
                        <a:pt x="14" y="12"/>
                      </a:lnTo>
                      <a:lnTo>
                        <a:pt x="16" y="16"/>
                      </a:lnTo>
                      <a:lnTo>
                        <a:pt x="16" y="22"/>
                      </a:lnTo>
                      <a:lnTo>
                        <a:pt x="16" y="22"/>
                      </a:lnTo>
                      <a:lnTo>
                        <a:pt x="16" y="26"/>
                      </a:lnTo>
                      <a:lnTo>
                        <a:pt x="18" y="30"/>
                      </a:lnTo>
                      <a:lnTo>
                        <a:pt x="20" y="32"/>
                      </a:lnTo>
                      <a:lnTo>
                        <a:pt x="20" y="36"/>
                      </a:lnTo>
                      <a:lnTo>
                        <a:pt x="20" y="36"/>
                      </a:lnTo>
                      <a:lnTo>
                        <a:pt x="18" y="40"/>
                      </a:lnTo>
                      <a:lnTo>
                        <a:pt x="14" y="40"/>
                      </a:lnTo>
                      <a:lnTo>
                        <a:pt x="12" y="40"/>
                      </a:lnTo>
                      <a:lnTo>
                        <a:pt x="10" y="42"/>
                      </a:lnTo>
                      <a:lnTo>
                        <a:pt x="10" y="42"/>
                      </a:lnTo>
                      <a:lnTo>
                        <a:pt x="10" y="46"/>
                      </a:lnTo>
                      <a:lnTo>
                        <a:pt x="10" y="48"/>
                      </a:lnTo>
                      <a:lnTo>
                        <a:pt x="20" y="48"/>
                      </a:lnTo>
                      <a:lnTo>
                        <a:pt x="20" y="48"/>
                      </a:lnTo>
                      <a:lnTo>
                        <a:pt x="22" y="50"/>
                      </a:lnTo>
                      <a:lnTo>
                        <a:pt x="22" y="50"/>
                      </a:lnTo>
                      <a:lnTo>
                        <a:pt x="22" y="54"/>
                      </a:lnTo>
                      <a:lnTo>
                        <a:pt x="24" y="60"/>
                      </a:lnTo>
                      <a:lnTo>
                        <a:pt x="24" y="60"/>
                      </a:lnTo>
                      <a:lnTo>
                        <a:pt x="24" y="62"/>
                      </a:lnTo>
                      <a:lnTo>
                        <a:pt x="24" y="62"/>
                      </a:lnTo>
                      <a:lnTo>
                        <a:pt x="20" y="64"/>
                      </a:lnTo>
                      <a:lnTo>
                        <a:pt x="16" y="64"/>
                      </a:lnTo>
                      <a:lnTo>
                        <a:pt x="16" y="64"/>
                      </a:lnTo>
                      <a:lnTo>
                        <a:pt x="14" y="66"/>
                      </a:lnTo>
                      <a:lnTo>
                        <a:pt x="14" y="66"/>
                      </a:lnTo>
                      <a:lnTo>
                        <a:pt x="16" y="68"/>
                      </a:lnTo>
                      <a:lnTo>
                        <a:pt x="18" y="68"/>
                      </a:lnTo>
                      <a:lnTo>
                        <a:pt x="24" y="68"/>
                      </a:lnTo>
                      <a:lnTo>
                        <a:pt x="24" y="6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2" name="Freeform 6036"/>
                <p:cNvSpPr>
                  <a:spLocks/>
                </p:cNvSpPr>
                <p:nvPr/>
              </p:nvSpPr>
              <p:spPr bwMode="auto">
                <a:xfrm>
                  <a:off x="980440" y="1979613"/>
                  <a:ext cx="12700" cy="10160"/>
                </a:xfrm>
                <a:custGeom>
                  <a:avLst/>
                  <a:gdLst/>
                  <a:ahLst/>
                  <a:cxnLst>
                    <a:cxn ang="0">
                      <a:pos x="16" y="0"/>
                    </a:cxn>
                    <a:cxn ang="0">
                      <a:pos x="16" y="0"/>
                    </a:cxn>
                    <a:cxn ang="0">
                      <a:pos x="8" y="0"/>
                    </a:cxn>
                    <a:cxn ang="0">
                      <a:pos x="6" y="2"/>
                    </a:cxn>
                    <a:cxn ang="0">
                      <a:pos x="8" y="2"/>
                    </a:cxn>
                    <a:cxn ang="0">
                      <a:pos x="8" y="2"/>
                    </a:cxn>
                    <a:cxn ang="0">
                      <a:pos x="8" y="4"/>
                    </a:cxn>
                    <a:cxn ang="0">
                      <a:pos x="6" y="6"/>
                    </a:cxn>
                    <a:cxn ang="0">
                      <a:pos x="2" y="6"/>
                    </a:cxn>
                    <a:cxn ang="0">
                      <a:pos x="0" y="8"/>
                    </a:cxn>
                    <a:cxn ang="0">
                      <a:pos x="0" y="8"/>
                    </a:cxn>
                    <a:cxn ang="0">
                      <a:pos x="0" y="12"/>
                    </a:cxn>
                    <a:cxn ang="0">
                      <a:pos x="0" y="14"/>
                    </a:cxn>
                    <a:cxn ang="0">
                      <a:pos x="2" y="16"/>
                    </a:cxn>
                    <a:cxn ang="0">
                      <a:pos x="8" y="12"/>
                    </a:cxn>
                    <a:cxn ang="0">
                      <a:pos x="8" y="12"/>
                    </a:cxn>
                    <a:cxn ang="0">
                      <a:pos x="10" y="10"/>
                    </a:cxn>
                    <a:cxn ang="0">
                      <a:pos x="16" y="10"/>
                    </a:cxn>
                    <a:cxn ang="0">
                      <a:pos x="16" y="10"/>
                    </a:cxn>
                    <a:cxn ang="0">
                      <a:pos x="20" y="8"/>
                    </a:cxn>
                    <a:cxn ang="0">
                      <a:pos x="20" y="6"/>
                    </a:cxn>
                    <a:cxn ang="0">
                      <a:pos x="18" y="2"/>
                    </a:cxn>
                    <a:cxn ang="0">
                      <a:pos x="16" y="0"/>
                    </a:cxn>
                    <a:cxn ang="0">
                      <a:pos x="16" y="0"/>
                    </a:cxn>
                  </a:cxnLst>
                  <a:rect l="0" t="0" r="r" b="b"/>
                  <a:pathLst>
                    <a:path w="20" h="16">
                      <a:moveTo>
                        <a:pt x="16" y="0"/>
                      </a:moveTo>
                      <a:lnTo>
                        <a:pt x="16" y="0"/>
                      </a:lnTo>
                      <a:lnTo>
                        <a:pt x="8" y="0"/>
                      </a:lnTo>
                      <a:lnTo>
                        <a:pt x="6" y="2"/>
                      </a:lnTo>
                      <a:lnTo>
                        <a:pt x="8" y="2"/>
                      </a:lnTo>
                      <a:lnTo>
                        <a:pt x="8" y="2"/>
                      </a:lnTo>
                      <a:lnTo>
                        <a:pt x="8" y="4"/>
                      </a:lnTo>
                      <a:lnTo>
                        <a:pt x="6" y="6"/>
                      </a:lnTo>
                      <a:lnTo>
                        <a:pt x="2" y="6"/>
                      </a:lnTo>
                      <a:lnTo>
                        <a:pt x="0" y="8"/>
                      </a:lnTo>
                      <a:lnTo>
                        <a:pt x="0" y="8"/>
                      </a:lnTo>
                      <a:lnTo>
                        <a:pt x="0" y="12"/>
                      </a:lnTo>
                      <a:lnTo>
                        <a:pt x="0" y="14"/>
                      </a:lnTo>
                      <a:lnTo>
                        <a:pt x="2" y="16"/>
                      </a:lnTo>
                      <a:lnTo>
                        <a:pt x="8" y="12"/>
                      </a:lnTo>
                      <a:lnTo>
                        <a:pt x="8" y="12"/>
                      </a:lnTo>
                      <a:lnTo>
                        <a:pt x="10" y="10"/>
                      </a:lnTo>
                      <a:lnTo>
                        <a:pt x="16" y="10"/>
                      </a:lnTo>
                      <a:lnTo>
                        <a:pt x="16" y="10"/>
                      </a:lnTo>
                      <a:lnTo>
                        <a:pt x="20" y="8"/>
                      </a:lnTo>
                      <a:lnTo>
                        <a:pt x="20" y="6"/>
                      </a:lnTo>
                      <a:lnTo>
                        <a:pt x="18" y="2"/>
                      </a:lnTo>
                      <a:lnTo>
                        <a:pt x="16" y="0"/>
                      </a:lnTo>
                      <a:lnTo>
                        <a:pt x="1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3" name="Freeform 6038"/>
                <p:cNvSpPr>
                  <a:spLocks/>
                </p:cNvSpPr>
                <p:nvPr/>
              </p:nvSpPr>
              <p:spPr bwMode="auto">
                <a:xfrm>
                  <a:off x="963930" y="1947863"/>
                  <a:ext cx="17780" cy="35560"/>
                </a:xfrm>
                <a:custGeom>
                  <a:avLst/>
                  <a:gdLst/>
                  <a:ahLst/>
                  <a:cxnLst>
                    <a:cxn ang="0">
                      <a:pos x="26" y="22"/>
                    </a:cxn>
                    <a:cxn ang="0">
                      <a:pos x="26" y="22"/>
                    </a:cxn>
                    <a:cxn ang="0">
                      <a:pos x="28" y="14"/>
                    </a:cxn>
                    <a:cxn ang="0">
                      <a:pos x="26" y="12"/>
                    </a:cxn>
                    <a:cxn ang="0">
                      <a:pos x="24" y="12"/>
                    </a:cxn>
                    <a:cxn ang="0">
                      <a:pos x="20" y="8"/>
                    </a:cxn>
                    <a:cxn ang="0">
                      <a:pos x="20" y="8"/>
                    </a:cxn>
                    <a:cxn ang="0">
                      <a:pos x="16" y="4"/>
                    </a:cxn>
                    <a:cxn ang="0">
                      <a:pos x="14" y="2"/>
                    </a:cxn>
                    <a:cxn ang="0">
                      <a:pos x="10" y="0"/>
                    </a:cxn>
                    <a:cxn ang="0">
                      <a:pos x="6" y="2"/>
                    </a:cxn>
                    <a:cxn ang="0">
                      <a:pos x="6" y="2"/>
                    </a:cxn>
                    <a:cxn ang="0">
                      <a:pos x="0" y="6"/>
                    </a:cxn>
                    <a:cxn ang="0">
                      <a:pos x="0" y="10"/>
                    </a:cxn>
                    <a:cxn ang="0">
                      <a:pos x="0" y="14"/>
                    </a:cxn>
                    <a:cxn ang="0">
                      <a:pos x="4" y="18"/>
                    </a:cxn>
                    <a:cxn ang="0">
                      <a:pos x="4" y="18"/>
                    </a:cxn>
                    <a:cxn ang="0">
                      <a:pos x="14" y="30"/>
                    </a:cxn>
                    <a:cxn ang="0">
                      <a:pos x="14" y="34"/>
                    </a:cxn>
                    <a:cxn ang="0">
                      <a:pos x="14" y="34"/>
                    </a:cxn>
                    <a:cxn ang="0">
                      <a:pos x="12" y="34"/>
                    </a:cxn>
                    <a:cxn ang="0">
                      <a:pos x="12" y="34"/>
                    </a:cxn>
                    <a:cxn ang="0">
                      <a:pos x="8" y="34"/>
                    </a:cxn>
                    <a:cxn ang="0">
                      <a:pos x="6" y="38"/>
                    </a:cxn>
                    <a:cxn ang="0">
                      <a:pos x="4" y="44"/>
                    </a:cxn>
                    <a:cxn ang="0">
                      <a:pos x="8" y="54"/>
                    </a:cxn>
                    <a:cxn ang="0">
                      <a:pos x="8" y="54"/>
                    </a:cxn>
                    <a:cxn ang="0">
                      <a:pos x="10" y="56"/>
                    </a:cxn>
                    <a:cxn ang="0">
                      <a:pos x="10" y="56"/>
                    </a:cxn>
                    <a:cxn ang="0">
                      <a:pos x="12" y="52"/>
                    </a:cxn>
                    <a:cxn ang="0">
                      <a:pos x="14" y="48"/>
                    </a:cxn>
                    <a:cxn ang="0">
                      <a:pos x="14" y="48"/>
                    </a:cxn>
                    <a:cxn ang="0">
                      <a:pos x="16" y="50"/>
                    </a:cxn>
                    <a:cxn ang="0">
                      <a:pos x="16" y="50"/>
                    </a:cxn>
                    <a:cxn ang="0">
                      <a:pos x="18" y="54"/>
                    </a:cxn>
                    <a:cxn ang="0">
                      <a:pos x="18" y="54"/>
                    </a:cxn>
                    <a:cxn ang="0">
                      <a:pos x="22" y="48"/>
                    </a:cxn>
                    <a:cxn ang="0">
                      <a:pos x="22" y="48"/>
                    </a:cxn>
                    <a:cxn ang="0">
                      <a:pos x="22" y="42"/>
                    </a:cxn>
                    <a:cxn ang="0">
                      <a:pos x="22" y="38"/>
                    </a:cxn>
                    <a:cxn ang="0">
                      <a:pos x="24" y="32"/>
                    </a:cxn>
                    <a:cxn ang="0">
                      <a:pos x="26" y="22"/>
                    </a:cxn>
                    <a:cxn ang="0">
                      <a:pos x="26" y="22"/>
                    </a:cxn>
                  </a:cxnLst>
                  <a:rect l="0" t="0" r="r" b="b"/>
                  <a:pathLst>
                    <a:path w="28" h="56">
                      <a:moveTo>
                        <a:pt x="26" y="22"/>
                      </a:moveTo>
                      <a:lnTo>
                        <a:pt x="26" y="22"/>
                      </a:lnTo>
                      <a:lnTo>
                        <a:pt x="28" y="14"/>
                      </a:lnTo>
                      <a:lnTo>
                        <a:pt x="26" y="12"/>
                      </a:lnTo>
                      <a:lnTo>
                        <a:pt x="24" y="12"/>
                      </a:lnTo>
                      <a:lnTo>
                        <a:pt x="20" y="8"/>
                      </a:lnTo>
                      <a:lnTo>
                        <a:pt x="20" y="8"/>
                      </a:lnTo>
                      <a:lnTo>
                        <a:pt x="16" y="4"/>
                      </a:lnTo>
                      <a:lnTo>
                        <a:pt x="14" y="2"/>
                      </a:lnTo>
                      <a:lnTo>
                        <a:pt x="10" y="0"/>
                      </a:lnTo>
                      <a:lnTo>
                        <a:pt x="6" y="2"/>
                      </a:lnTo>
                      <a:lnTo>
                        <a:pt x="6" y="2"/>
                      </a:lnTo>
                      <a:lnTo>
                        <a:pt x="0" y="6"/>
                      </a:lnTo>
                      <a:lnTo>
                        <a:pt x="0" y="10"/>
                      </a:lnTo>
                      <a:lnTo>
                        <a:pt x="0" y="14"/>
                      </a:lnTo>
                      <a:lnTo>
                        <a:pt x="4" y="18"/>
                      </a:lnTo>
                      <a:lnTo>
                        <a:pt x="4" y="18"/>
                      </a:lnTo>
                      <a:lnTo>
                        <a:pt x="14" y="30"/>
                      </a:lnTo>
                      <a:lnTo>
                        <a:pt x="14" y="34"/>
                      </a:lnTo>
                      <a:lnTo>
                        <a:pt x="14" y="34"/>
                      </a:lnTo>
                      <a:lnTo>
                        <a:pt x="12" y="34"/>
                      </a:lnTo>
                      <a:lnTo>
                        <a:pt x="12" y="34"/>
                      </a:lnTo>
                      <a:lnTo>
                        <a:pt x="8" y="34"/>
                      </a:lnTo>
                      <a:lnTo>
                        <a:pt x="6" y="38"/>
                      </a:lnTo>
                      <a:lnTo>
                        <a:pt x="4" y="44"/>
                      </a:lnTo>
                      <a:lnTo>
                        <a:pt x="8" y="54"/>
                      </a:lnTo>
                      <a:lnTo>
                        <a:pt x="8" y="54"/>
                      </a:lnTo>
                      <a:lnTo>
                        <a:pt x="10" y="56"/>
                      </a:lnTo>
                      <a:lnTo>
                        <a:pt x="10" y="56"/>
                      </a:lnTo>
                      <a:lnTo>
                        <a:pt x="12" y="52"/>
                      </a:lnTo>
                      <a:lnTo>
                        <a:pt x="14" y="48"/>
                      </a:lnTo>
                      <a:lnTo>
                        <a:pt x="14" y="48"/>
                      </a:lnTo>
                      <a:lnTo>
                        <a:pt x="16" y="50"/>
                      </a:lnTo>
                      <a:lnTo>
                        <a:pt x="16" y="50"/>
                      </a:lnTo>
                      <a:lnTo>
                        <a:pt x="18" y="54"/>
                      </a:lnTo>
                      <a:lnTo>
                        <a:pt x="18" y="54"/>
                      </a:lnTo>
                      <a:lnTo>
                        <a:pt x="22" y="48"/>
                      </a:lnTo>
                      <a:lnTo>
                        <a:pt x="22" y="48"/>
                      </a:lnTo>
                      <a:lnTo>
                        <a:pt x="22" y="42"/>
                      </a:lnTo>
                      <a:lnTo>
                        <a:pt x="22" y="38"/>
                      </a:lnTo>
                      <a:lnTo>
                        <a:pt x="24" y="32"/>
                      </a:lnTo>
                      <a:lnTo>
                        <a:pt x="26" y="22"/>
                      </a:lnTo>
                      <a:lnTo>
                        <a:pt x="26" y="2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4" name="Freeform 6039"/>
                <p:cNvSpPr>
                  <a:spLocks/>
                </p:cNvSpPr>
                <p:nvPr/>
              </p:nvSpPr>
              <p:spPr bwMode="auto">
                <a:xfrm>
                  <a:off x="909320" y="1894523"/>
                  <a:ext cx="44450" cy="33020"/>
                </a:xfrm>
                <a:custGeom>
                  <a:avLst/>
                  <a:gdLst/>
                  <a:ahLst/>
                  <a:cxnLst>
                    <a:cxn ang="0">
                      <a:pos x="36" y="40"/>
                    </a:cxn>
                    <a:cxn ang="0">
                      <a:pos x="36" y="40"/>
                    </a:cxn>
                    <a:cxn ang="0">
                      <a:pos x="34" y="34"/>
                    </a:cxn>
                    <a:cxn ang="0">
                      <a:pos x="36" y="32"/>
                    </a:cxn>
                    <a:cxn ang="0">
                      <a:pos x="40" y="34"/>
                    </a:cxn>
                    <a:cxn ang="0">
                      <a:pos x="50" y="40"/>
                    </a:cxn>
                    <a:cxn ang="0">
                      <a:pos x="50" y="40"/>
                    </a:cxn>
                    <a:cxn ang="0">
                      <a:pos x="60" y="48"/>
                    </a:cxn>
                    <a:cxn ang="0">
                      <a:pos x="66" y="48"/>
                    </a:cxn>
                    <a:cxn ang="0">
                      <a:pos x="68" y="48"/>
                    </a:cxn>
                    <a:cxn ang="0">
                      <a:pos x="70" y="46"/>
                    </a:cxn>
                    <a:cxn ang="0">
                      <a:pos x="68" y="40"/>
                    </a:cxn>
                    <a:cxn ang="0">
                      <a:pos x="68" y="40"/>
                    </a:cxn>
                    <a:cxn ang="0">
                      <a:pos x="64" y="30"/>
                    </a:cxn>
                    <a:cxn ang="0">
                      <a:pos x="64" y="26"/>
                    </a:cxn>
                    <a:cxn ang="0">
                      <a:pos x="64" y="22"/>
                    </a:cxn>
                    <a:cxn ang="0">
                      <a:pos x="64" y="22"/>
                    </a:cxn>
                    <a:cxn ang="0">
                      <a:pos x="64" y="18"/>
                    </a:cxn>
                    <a:cxn ang="0">
                      <a:pos x="64" y="16"/>
                    </a:cxn>
                    <a:cxn ang="0">
                      <a:pos x="56" y="10"/>
                    </a:cxn>
                    <a:cxn ang="0">
                      <a:pos x="38" y="0"/>
                    </a:cxn>
                    <a:cxn ang="0">
                      <a:pos x="38" y="0"/>
                    </a:cxn>
                    <a:cxn ang="0">
                      <a:pos x="30" y="0"/>
                    </a:cxn>
                    <a:cxn ang="0">
                      <a:pos x="24" y="0"/>
                    </a:cxn>
                    <a:cxn ang="0">
                      <a:pos x="18" y="2"/>
                    </a:cxn>
                    <a:cxn ang="0">
                      <a:pos x="14" y="4"/>
                    </a:cxn>
                    <a:cxn ang="0">
                      <a:pos x="14" y="4"/>
                    </a:cxn>
                    <a:cxn ang="0">
                      <a:pos x="10" y="2"/>
                    </a:cxn>
                    <a:cxn ang="0">
                      <a:pos x="8" y="4"/>
                    </a:cxn>
                    <a:cxn ang="0">
                      <a:pos x="4" y="12"/>
                    </a:cxn>
                    <a:cxn ang="0">
                      <a:pos x="4" y="12"/>
                    </a:cxn>
                    <a:cxn ang="0">
                      <a:pos x="0" y="16"/>
                    </a:cxn>
                    <a:cxn ang="0">
                      <a:pos x="2" y="20"/>
                    </a:cxn>
                    <a:cxn ang="0">
                      <a:pos x="4" y="24"/>
                    </a:cxn>
                    <a:cxn ang="0">
                      <a:pos x="10" y="28"/>
                    </a:cxn>
                    <a:cxn ang="0">
                      <a:pos x="10" y="28"/>
                    </a:cxn>
                    <a:cxn ang="0">
                      <a:pos x="14" y="30"/>
                    </a:cxn>
                    <a:cxn ang="0">
                      <a:pos x="14" y="32"/>
                    </a:cxn>
                    <a:cxn ang="0">
                      <a:pos x="14" y="36"/>
                    </a:cxn>
                    <a:cxn ang="0">
                      <a:pos x="16" y="42"/>
                    </a:cxn>
                    <a:cxn ang="0">
                      <a:pos x="18" y="46"/>
                    </a:cxn>
                    <a:cxn ang="0">
                      <a:pos x="24" y="52"/>
                    </a:cxn>
                    <a:cxn ang="0">
                      <a:pos x="24" y="52"/>
                    </a:cxn>
                    <a:cxn ang="0">
                      <a:pos x="28" y="52"/>
                    </a:cxn>
                    <a:cxn ang="0">
                      <a:pos x="34" y="50"/>
                    </a:cxn>
                    <a:cxn ang="0">
                      <a:pos x="38" y="46"/>
                    </a:cxn>
                    <a:cxn ang="0">
                      <a:pos x="38" y="42"/>
                    </a:cxn>
                    <a:cxn ang="0">
                      <a:pos x="36" y="40"/>
                    </a:cxn>
                    <a:cxn ang="0">
                      <a:pos x="36" y="40"/>
                    </a:cxn>
                  </a:cxnLst>
                  <a:rect l="0" t="0" r="r" b="b"/>
                  <a:pathLst>
                    <a:path w="70" h="52">
                      <a:moveTo>
                        <a:pt x="36" y="40"/>
                      </a:moveTo>
                      <a:lnTo>
                        <a:pt x="36" y="40"/>
                      </a:lnTo>
                      <a:lnTo>
                        <a:pt x="34" y="34"/>
                      </a:lnTo>
                      <a:lnTo>
                        <a:pt x="36" y="32"/>
                      </a:lnTo>
                      <a:lnTo>
                        <a:pt x="40" y="34"/>
                      </a:lnTo>
                      <a:lnTo>
                        <a:pt x="50" y="40"/>
                      </a:lnTo>
                      <a:lnTo>
                        <a:pt x="50" y="40"/>
                      </a:lnTo>
                      <a:lnTo>
                        <a:pt x="60" y="48"/>
                      </a:lnTo>
                      <a:lnTo>
                        <a:pt x="66" y="48"/>
                      </a:lnTo>
                      <a:lnTo>
                        <a:pt x="68" y="48"/>
                      </a:lnTo>
                      <a:lnTo>
                        <a:pt x="70" y="46"/>
                      </a:lnTo>
                      <a:lnTo>
                        <a:pt x="68" y="40"/>
                      </a:lnTo>
                      <a:lnTo>
                        <a:pt x="68" y="40"/>
                      </a:lnTo>
                      <a:lnTo>
                        <a:pt x="64" y="30"/>
                      </a:lnTo>
                      <a:lnTo>
                        <a:pt x="64" y="26"/>
                      </a:lnTo>
                      <a:lnTo>
                        <a:pt x="64" y="22"/>
                      </a:lnTo>
                      <a:lnTo>
                        <a:pt x="64" y="22"/>
                      </a:lnTo>
                      <a:lnTo>
                        <a:pt x="64" y="18"/>
                      </a:lnTo>
                      <a:lnTo>
                        <a:pt x="64" y="16"/>
                      </a:lnTo>
                      <a:lnTo>
                        <a:pt x="56" y="10"/>
                      </a:lnTo>
                      <a:lnTo>
                        <a:pt x="38" y="0"/>
                      </a:lnTo>
                      <a:lnTo>
                        <a:pt x="38" y="0"/>
                      </a:lnTo>
                      <a:lnTo>
                        <a:pt x="30" y="0"/>
                      </a:lnTo>
                      <a:lnTo>
                        <a:pt x="24" y="0"/>
                      </a:lnTo>
                      <a:lnTo>
                        <a:pt x="18" y="2"/>
                      </a:lnTo>
                      <a:lnTo>
                        <a:pt x="14" y="4"/>
                      </a:lnTo>
                      <a:lnTo>
                        <a:pt x="14" y="4"/>
                      </a:lnTo>
                      <a:lnTo>
                        <a:pt x="10" y="2"/>
                      </a:lnTo>
                      <a:lnTo>
                        <a:pt x="8" y="4"/>
                      </a:lnTo>
                      <a:lnTo>
                        <a:pt x="4" y="12"/>
                      </a:lnTo>
                      <a:lnTo>
                        <a:pt x="4" y="12"/>
                      </a:lnTo>
                      <a:lnTo>
                        <a:pt x="0" y="16"/>
                      </a:lnTo>
                      <a:lnTo>
                        <a:pt x="2" y="20"/>
                      </a:lnTo>
                      <a:lnTo>
                        <a:pt x="4" y="24"/>
                      </a:lnTo>
                      <a:lnTo>
                        <a:pt x="10" y="28"/>
                      </a:lnTo>
                      <a:lnTo>
                        <a:pt x="10" y="28"/>
                      </a:lnTo>
                      <a:lnTo>
                        <a:pt x="14" y="30"/>
                      </a:lnTo>
                      <a:lnTo>
                        <a:pt x="14" y="32"/>
                      </a:lnTo>
                      <a:lnTo>
                        <a:pt x="14" y="36"/>
                      </a:lnTo>
                      <a:lnTo>
                        <a:pt x="16" y="42"/>
                      </a:lnTo>
                      <a:lnTo>
                        <a:pt x="18" y="46"/>
                      </a:lnTo>
                      <a:lnTo>
                        <a:pt x="24" y="52"/>
                      </a:lnTo>
                      <a:lnTo>
                        <a:pt x="24" y="52"/>
                      </a:lnTo>
                      <a:lnTo>
                        <a:pt x="28" y="52"/>
                      </a:lnTo>
                      <a:lnTo>
                        <a:pt x="34" y="50"/>
                      </a:lnTo>
                      <a:lnTo>
                        <a:pt x="38" y="46"/>
                      </a:lnTo>
                      <a:lnTo>
                        <a:pt x="38" y="42"/>
                      </a:lnTo>
                      <a:lnTo>
                        <a:pt x="36" y="40"/>
                      </a:lnTo>
                      <a:lnTo>
                        <a:pt x="36" y="4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5" name="Freeform 6040"/>
                <p:cNvSpPr>
                  <a:spLocks/>
                </p:cNvSpPr>
                <p:nvPr/>
              </p:nvSpPr>
              <p:spPr bwMode="auto">
                <a:xfrm>
                  <a:off x="482600" y="1886903"/>
                  <a:ext cx="30480" cy="19050"/>
                </a:xfrm>
                <a:custGeom>
                  <a:avLst/>
                  <a:gdLst/>
                  <a:ahLst/>
                  <a:cxnLst>
                    <a:cxn ang="0">
                      <a:pos x="28" y="6"/>
                    </a:cxn>
                    <a:cxn ang="0">
                      <a:pos x="28" y="6"/>
                    </a:cxn>
                    <a:cxn ang="0">
                      <a:pos x="24" y="2"/>
                    </a:cxn>
                    <a:cxn ang="0">
                      <a:pos x="20" y="0"/>
                    </a:cxn>
                    <a:cxn ang="0">
                      <a:pos x="16" y="0"/>
                    </a:cxn>
                    <a:cxn ang="0">
                      <a:pos x="16" y="6"/>
                    </a:cxn>
                    <a:cxn ang="0">
                      <a:pos x="16" y="6"/>
                    </a:cxn>
                    <a:cxn ang="0">
                      <a:pos x="16" y="10"/>
                    </a:cxn>
                    <a:cxn ang="0">
                      <a:pos x="14" y="12"/>
                    </a:cxn>
                    <a:cxn ang="0">
                      <a:pos x="10" y="10"/>
                    </a:cxn>
                    <a:cxn ang="0">
                      <a:pos x="4" y="12"/>
                    </a:cxn>
                    <a:cxn ang="0">
                      <a:pos x="4" y="12"/>
                    </a:cxn>
                    <a:cxn ang="0">
                      <a:pos x="0" y="16"/>
                    </a:cxn>
                    <a:cxn ang="0">
                      <a:pos x="0" y="22"/>
                    </a:cxn>
                    <a:cxn ang="0">
                      <a:pos x="2" y="26"/>
                    </a:cxn>
                    <a:cxn ang="0">
                      <a:pos x="8" y="28"/>
                    </a:cxn>
                    <a:cxn ang="0">
                      <a:pos x="8" y="28"/>
                    </a:cxn>
                    <a:cxn ang="0">
                      <a:pos x="14" y="30"/>
                    </a:cxn>
                    <a:cxn ang="0">
                      <a:pos x="18" y="28"/>
                    </a:cxn>
                    <a:cxn ang="0">
                      <a:pos x="20" y="26"/>
                    </a:cxn>
                    <a:cxn ang="0">
                      <a:pos x="20" y="26"/>
                    </a:cxn>
                    <a:cxn ang="0">
                      <a:pos x="24" y="22"/>
                    </a:cxn>
                    <a:cxn ang="0">
                      <a:pos x="28" y="20"/>
                    </a:cxn>
                    <a:cxn ang="0">
                      <a:pos x="38" y="18"/>
                    </a:cxn>
                    <a:cxn ang="0">
                      <a:pos x="38" y="18"/>
                    </a:cxn>
                    <a:cxn ang="0">
                      <a:pos x="44" y="16"/>
                    </a:cxn>
                    <a:cxn ang="0">
                      <a:pos x="48" y="14"/>
                    </a:cxn>
                    <a:cxn ang="0">
                      <a:pos x="48" y="12"/>
                    </a:cxn>
                    <a:cxn ang="0">
                      <a:pos x="44" y="6"/>
                    </a:cxn>
                    <a:cxn ang="0">
                      <a:pos x="44" y="6"/>
                    </a:cxn>
                    <a:cxn ang="0">
                      <a:pos x="42" y="4"/>
                    </a:cxn>
                    <a:cxn ang="0">
                      <a:pos x="40" y="2"/>
                    </a:cxn>
                    <a:cxn ang="0">
                      <a:pos x="36" y="4"/>
                    </a:cxn>
                    <a:cxn ang="0">
                      <a:pos x="32" y="6"/>
                    </a:cxn>
                    <a:cxn ang="0">
                      <a:pos x="30" y="8"/>
                    </a:cxn>
                    <a:cxn ang="0">
                      <a:pos x="28" y="6"/>
                    </a:cxn>
                    <a:cxn ang="0">
                      <a:pos x="28" y="6"/>
                    </a:cxn>
                  </a:cxnLst>
                  <a:rect l="0" t="0" r="r" b="b"/>
                  <a:pathLst>
                    <a:path w="48" h="30">
                      <a:moveTo>
                        <a:pt x="28" y="6"/>
                      </a:moveTo>
                      <a:lnTo>
                        <a:pt x="28" y="6"/>
                      </a:lnTo>
                      <a:lnTo>
                        <a:pt x="24" y="2"/>
                      </a:lnTo>
                      <a:lnTo>
                        <a:pt x="20" y="0"/>
                      </a:lnTo>
                      <a:lnTo>
                        <a:pt x="16" y="0"/>
                      </a:lnTo>
                      <a:lnTo>
                        <a:pt x="16" y="6"/>
                      </a:lnTo>
                      <a:lnTo>
                        <a:pt x="16" y="6"/>
                      </a:lnTo>
                      <a:lnTo>
                        <a:pt x="16" y="10"/>
                      </a:lnTo>
                      <a:lnTo>
                        <a:pt x="14" y="12"/>
                      </a:lnTo>
                      <a:lnTo>
                        <a:pt x="10" y="10"/>
                      </a:lnTo>
                      <a:lnTo>
                        <a:pt x="4" y="12"/>
                      </a:lnTo>
                      <a:lnTo>
                        <a:pt x="4" y="12"/>
                      </a:lnTo>
                      <a:lnTo>
                        <a:pt x="0" y="16"/>
                      </a:lnTo>
                      <a:lnTo>
                        <a:pt x="0" y="22"/>
                      </a:lnTo>
                      <a:lnTo>
                        <a:pt x="2" y="26"/>
                      </a:lnTo>
                      <a:lnTo>
                        <a:pt x="8" y="28"/>
                      </a:lnTo>
                      <a:lnTo>
                        <a:pt x="8" y="28"/>
                      </a:lnTo>
                      <a:lnTo>
                        <a:pt x="14" y="30"/>
                      </a:lnTo>
                      <a:lnTo>
                        <a:pt x="18" y="28"/>
                      </a:lnTo>
                      <a:lnTo>
                        <a:pt x="20" y="26"/>
                      </a:lnTo>
                      <a:lnTo>
                        <a:pt x="20" y="26"/>
                      </a:lnTo>
                      <a:lnTo>
                        <a:pt x="24" y="22"/>
                      </a:lnTo>
                      <a:lnTo>
                        <a:pt x="28" y="20"/>
                      </a:lnTo>
                      <a:lnTo>
                        <a:pt x="38" y="18"/>
                      </a:lnTo>
                      <a:lnTo>
                        <a:pt x="38" y="18"/>
                      </a:lnTo>
                      <a:lnTo>
                        <a:pt x="44" y="16"/>
                      </a:lnTo>
                      <a:lnTo>
                        <a:pt x="48" y="14"/>
                      </a:lnTo>
                      <a:lnTo>
                        <a:pt x="48" y="12"/>
                      </a:lnTo>
                      <a:lnTo>
                        <a:pt x="44" y="6"/>
                      </a:lnTo>
                      <a:lnTo>
                        <a:pt x="44" y="6"/>
                      </a:lnTo>
                      <a:lnTo>
                        <a:pt x="42" y="4"/>
                      </a:lnTo>
                      <a:lnTo>
                        <a:pt x="40" y="2"/>
                      </a:lnTo>
                      <a:lnTo>
                        <a:pt x="36" y="4"/>
                      </a:lnTo>
                      <a:lnTo>
                        <a:pt x="32" y="6"/>
                      </a:lnTo>
                      <a:lnTo>
                        <a:pt x="30" y="8"/>
                      </a:lnTo>
                      <a:lnTo>
                        <a:pt x="28" y="6"/>
                      </a:lnTo>
                      <a:lnTo>
                        <a:pt x="28"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6" name="Freeform 6041"/>
                <p:cNvSpPr>
                  <a:spLocks/>
                </p:cNvSpPr>
                <p:nvPr/>
              </p:nvSpPr>
              <p:spPr bwMode="auto">
                <a:xfrm>
                  <a:off x="1062990" y="2026603"/>
                  <a:ext cx="10160" cy="10160"/>
                </a:xfrm>
                <a:custGeom>
                  <a:avLst/>
                  <a:gdLst/>
                  <a:ahLst/>
                  <a:cxnLst>
                    <a:cxn ang="0">
                      <a:pos x="6" y="14"/>
                    </a:cxn>
                    <a:cxn ang="0">
                      <a:pos x="6" y="14"/>
                    </a:cxn>
                    <a:cxn ang="0">
                      <a:pos x="12" y="8"/>
                    </a:cxn>
                    <a:cxn ang="0">
                      <a:pos x="16" y="2"/>
                    </a:cxn>
                    <a:cxn ang="0">
                      <a:pos x="16" y="2"/>
                    </a:cxn>
                    <a:cxn ang="0">
                      <a:pos x="16" y="0"/>
                    </a:cxn>
                    <a:cxn ang="0">
                      <a:pos x="16" y="0"/>
                    </a:cxn>
                    <a:cxn ang="0">
                      <a:pos x="10" y="4"/>
                    </a:cxn>
                    <a:cxn ang="0">
                      <a:pos x="10" y="4"/>
                    </a:cxn>
                    <a:cxn ang="0">
                      <a:pos x="2" y="10"/>
                    </a:cxn>
                    <a:cxn ang="0">
                      <a:pos x="0" y="14"/>
                    </a:cxn>
                    <a:cxn ang="0">
                      <a:pos x="0" y="16"/>
                    </a:cxn>
                    <a:cxn ang="0">
                      <a:pos x="0" y="16"/>
                    </a:cxn>
                    <a:cxn ang="0">
                      <a:pos x="4" y="16"/>
                    </a:cxn>
                    <a:cxn ang="0">
                      <a:pos x="6" y="14"/>
                    </a:cxn>
                    <a:cxn ang="0">
                      <a:pos x="6" y="14"/>
                    </a:cxn>
                  </a:cxnLst>
                  <a:rect l="0" t="0" r="r" b="b"/>
                  <a:pathLst>
                    <a:path w="16" h="16">
                      <a:moveTo>
                        <a:pt x="6" y="14"/>
                      </a:moveTo>
                      <a:lnTo>
                        <a:pt x="6" y="14"/>
                      </a:lnTo>
                      <a:lnTo>
                        <a:pt x="12" y="8"/>
                      </a:lnTo>
                      <a:lnTo>
                        <a:pt x="16" y="2"/>
                      </a:lnTo>
                      <a:lnTo>
                        <a:pt x="16" y="2"/>
                      </a:lnTo>
                      <a:lnTo>
                        <a:pt x="16" y="0"/>
                      </a:lnTo>
                      <a:lnTo>
                        <a:pt x="16" y="0"/>
                      </a:lnTo>
                      <a:lnTo>
                        <a:pt x="10" y="4"/>
                      </a:lnTo>
                      <a:lnTo>
                        <a:pt x="10" y="4"/>
                      </a:lnTo>
                      <a:lnTo>
                        <a:pt x="2" y="10"/>
                      </a:lnTo>
                      <a:lnTo>
                        <a:pt x="0" y="14"/>
                      </a:lnTo>
                      <a:lnTo>
                        <a:pt x="0" y="16"/>
                      </a:lnTo>
                      <a:lnTo>
                        <a:pt x="0" y="16"/>
                      </a:lnTo>
                      <a:lnTo>
                        <a:pt x="4" y="16"/>
                      </a:lnTo>
                      <a:lnTo>
                        <a:pt x="6" y="14"/>
                      </a:lnTo>
                      <a:lnTo>
                        <a:pt x="6" y="1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7" name="Freeform 6042"/>
                <p:cNvSpPr>
                  <a:spLocks/>
                </p:cNvSpPr>
                <p:nvPr/>
              </p:nvSpPr>
              <p:spPr bwMode="auto">
                <a:xfrm>
                  <a:off x="996950" y="2055813"/>
                  <a:ext cx="36830" cy="40640"/>
                </a:xfrm>
                <a:custGeom>
                  <a:avLst/>
                  <a:gdLst/>
                  <a:ahLst/>
                  <a:cxnLst>
                    <a:cxn ang="0">
                      <a:pos x="44" y="58"/>
                    </a:cxn>
                    <a:cxn ang="0">
                      <a:pos x="50" y="54"/>
                    </a:cxn>
                    <a:cxn ang="0">
                      <a:pos x="50" y="32"/>
                    </a:cxn>
                    <a:cxn ang="0">
                      <a:pos x="52" y="24"/>
                    </a:cxn>
                    <a:cxn ang="0">
                      <a:pos x="58" y="8"/>
                    </a:cxn>
                    <a:cxn ang="0">
                      <a:pos x="56" y="4"/>
                    </a:cxn>
                    <a:cxn ang="0">
                      <a:pos x="56" y="6"/>
                    </a:cxn>
                    <a:cxn ang="0">
                      <a:pos x="44" y="10"/>
                    </a:cxn>
                    <a:cxn ang="0">
                      <a:pos x="40" y="10"/>
                    </a:cxn>
                    <a:cxn ang="0">
                      <a:pos x="42" y="14"/>
                    </a:cxn>
                    <a:cxn ang="0">
                      <a:pos x="42" y="24"/>
                    </a:cxn>
                    <a:cxn ang="0">
                      <a:pos x="32" y="34"/>
                    </a:cxn>
                    <a:cxn ang="0">
                      <a:pos x="24" y="34"/>
                    </a:cxn>
                    <a:cxn ang="0">
                      <a:pos x="20" y="32"/>
                    </a:cxn>
                    <a:cxn ang="0">
                      <a:pos x="26" y="28"/>
                    </a:cxn>
                    <a:cxn ang="0">
                      <a:pos x="32" y="26"/>
                    </a:cxn>
                    <a:cxn ang="0">
                      <a:pos x="38" y="16"/>
                    </a:cxn>
                    <a:cxn ang="0">
                      <a:pos x="34" y="10"/>
                    </a:cxn>
                    <a:cxn ang="0">
                      <a:pos x="28" y="6"/>
                    </a:cxn>
                    <a:cxn ang="0">
                      <a:pos x="24" y="6"/>
                    </a:cxn>
                    <a:cxn ang="0">
                      <a:pos x="20" y="4"/>
                    </a:cxn>
                    <a:cxn ang="0">
                      <a:pos x="14" y="4"/>
                    </a:cxn>
                    <a:cxn ang="0">
                      <a:pos x="12" y="4"/>
                    </a:cxn>
                    <a:cxn ang="0">
                      <a:pos x="4" y="0"/>
                    </a:cxn>
                    <a:cxn ang="0">
                      <a:pos x="2" y="6"/>
                    </a:cxn>
                    <a:cxn ang="0">
                      <a:pos x="2" y="12"/>
                    </a:cxn>
                    <a:cxn ang="0">
                      <a:pos x="0" y="20"/>
                    </a:cxn>
                    <a:cxn ang="0">
                      <a:pos x="4" y="28"/>
                    </a:cxn>
                    <a:cxn ang="0">
                      <a:pos x="6" y="36"/>
                    </a:cxn>
                    <a:cxn ang="0">
                      <a:pos x="8" y="42"/>
                    </a:cxn>
                    <a:cxn ang="0">
                      <a:pos x="10" y="46"/>
                    </a:cxn>
                    <a:cxn ang="0">
                      <a:pos x="16" y="44"/>
                    </a:cxn>
                    <a:cxn ang="0">
                      <a:pos x="24" y="48"/>
                    </a:cxn>
                    <a:cxn ang="0">
                      <a:pos x="22" y="52"/>
                    </a:cxn>
                    <a:cxn ang="0">
                      <a:pos x="18" y="50"/>
                    </a:cxn>
                    <a:cxn ang="0">
                      <a:pos x="16" y="54"/>
                    </a:cxn>
                    <a:cxn ang="0">
                      <a:pos x="20" y="56"/>
                    </a:cxn>
                    <a:cxn ang="0">
                      <a:pos x="24" y="62"/>
                    </a:cxn>
                    <a:cxn ang="0">
                      <a:pos x="30" y="64"/>
                    </a:cxn>
                    <a:cxn ang="0">
                      <a:pos x="36" y="64"/>
                    </a:cxn>
                    <a:cxn ang="0">
                      <a:pos x="40" y="60"/>
                    </a:cxn>
                    <a:cxn ang="0">
                      <a:pos x="44" y="58"/>
                    </a:cxn>
                  </a:cxnLst>
                  <a:rect l="0" t="0" r="r" b="b"/>
                  <a:pathLst>
                    <a:path w="58" h="64">
                      <a:moveTo>
                        <a:pt x="44" y="58"/>
                      </a:moveTo>
                      <a:lnTo>
                        <a:pt x="44" y="58"/>
                      </a:lnTo>
                      <a:lnTo>
                        <a:pt x="48" y="56"/>
                      </a:lnTo>
                      <a:lnTo>
                        <a:pt x="50" y="54"/>
                      </a:lnTo>
                      <a:lnTo>
                        <a:pt x="50" y="44"/>
                      </a:lnTo>
                      <a:lnTo>
                        <a:pt x="50" y="32"/>
                      </a:lnTo>
                      <a:lnTo>
                        <a:pt x="50" y="28"/>
                      </a:lnTo>
                      <a:lnTo>
                        <a:pt x="52" y="24"/>
                      </a:lnTo>
                      <a:lnTo>
                        <a:pt x="52" y="24"/>
                      </a:lnTo>
                      <a:lnTo>
                        <a:pt x="58" y="8"/>
                      </a:lnTo>
                      <a:lnTo>
                        <a:pt x="58" y="4"/>
                      </a:lnTo>
                      <a:lnTo>
                        <a:pt x="56" y="4"/>
                      </a:lnTo>
                      <a:lnTo>
                        <a:pt x="56" y="6"/>
                      </a:lnTo>
                      <a:lnTo>
                        <a:pt x="56" y="6"/>
                      </a:lnTo>
                      <a:lnTo>
                        <a:pt x="50" y="8"/>
                      </a:lnTo>
                      <a:lnTo>
                        <a:pt x="44" y="10"/>
                      </a:lnTo>
                      <a:lnTo>
                        <a:pt x="40" y="10"/>
                      </a:lnTo>
                      <a:lnTo>
                        <a:pt x="40" y="10"/>
                      </a:lnTo>
                      <a:lnTo>
                        <a:pt x="42" y="14"/>
                      </a:lnTo>
                      <a:lnTo>
                        <a:pt x="42" y="14"/>
                      </a:lnTo>
                      <a:lnTo>
                        <a:pt x="44" y="20"/>
                      </a:lnTo>
                      <a:lnTo>
                        <a:pt x="42" y="24"/>
                      </a:lnTo>
                      <a:lnTo>
                        <a:pt x="40" y="30"/>
                      </a:lnTo>
                      <a:lnTo>
                        <a:pt x="32" y="34"/>
                      </a:lnTo>
                      <a:lnTo>
                        <a:pt x="32" y="34"/>
                      </a:lnTo>
                      <a:lnTo>
                        <a:pt x="24" y="34"/>
                      </a:lnTo>
                      <a:lnTo>
                        <a:pt x="20" y="34"/>
                      </a:lnTo>
                      <a:lnTo>
                        <a:pt x="20" y="32"/>
                      </a:lnTo>
                      <a:lnTo>
                        <a:pt x="20" y="32"/>
                      </a:lnTo>
                      <a:lnTo>
                        <a:pt x="26" y="28"/>
                      </a:lnTo>
                      <a:lnTo>
                        <a:pt x="26" y="28"/>
                      </a:lnTo>
                      <a:lnTo>
                        <a:pt x="32" y="26"/>
                      </a:lnTo>
                      <a:lnTo>
                        <a:pt x="38" y="22"/>
                      </a:lnTo>
                      <a:lnTo>
                        <a:pt x="38" y="16"/>
                      </a:lnTo>
                      <a:lnTo>
                        <a:pt x="34" y="10"/>
                      </a:lnTo>
                      <a:lnTo>
                        <a:pt x="34" y="10"/>
                      </a:lnTo>
                      <a:lnTo>
                        <a:pt x="30" y="6"/>
                      </a:lnTo>
                      <a:lnTo>
                        <a:pt x="28" y="6"/>
                      </a:lnTo>
                      <a:lnTo>
                        <a:pt x="26" y="6"/>
                      </a:lnTo>
                      <a:lnTo>
                        <a:pt x="24" y="6"/>
                      </a:lnTo>
                      <a:lnTo>
                        <a:pt x="24" y="6"/>
                      </a:lnTo>
                      <a:lnTo>
                        <a:pt x="20" y="4"/>
                      </a:lnTo>
                      <a:lnTo>
                        <a:pt x="18" y="4"/>
                      </a:lnTo>
                      <a:lnTo>
                        <a:pt x="14" y="4"/>
                      </a:lnTo>
                      <a:lnTo>
                        <a:pt x="12" y="4"/>
                      </a:lnTo>
                      <a:lnTo>
                        <a:pt x="12" y="4"/>
                      </a:lnTo>
                      <a:lnTo>
                        <a:pt x="8" y="0"/>
                      </a:lnTo>
                      <a:lnTo>
                        <a:pt x="4" y="0"/>
                      </a:lnTo>
                      <a:lnTo>
                        <a:pt x="2" y="2"/>
                      </a:lnTo>
                      <a:lnTo>
                        <a:pt x="2" y="6"/>
                      </a:lnTo>
                      <a:lnTo>
                        <a:pt x="2" y="6"/>
                      </a:lnTo>
                      <a:lnTo>
                        <a:pt x="2" y="12"/>
                      </a:lnTo>
                      <a:lnTo>
                        <a:pt x="2" y="16"/>
                      </a:lnTo>
                      <a:lnTo>
                        <a:pt x="0" y="20"/>
                      </a:lnTo>
                      <a:lnTo>
                        <a:pt x="4" y="28"/>
                      </a:lnTo>
                      <a:lnTo>
                        <a:pt x="4" y="28"/>
                      </a:lnTo>
                      <a:lnTo>
                        <a:pt x="8" y="34"/>
                      </a:lnTo>
                      <a:lnTo>
                        <a:pt x="6" y="36"/>
                      </a:lnTo>
                      <a:lnTo>
                        <a:pt x="6" y="38"/>
                      </a:lnTo>
                      <a:lnTo>
                        <a:pt x="8" y="42"/>
                      </a:lnTo>
                      <a:lnTo>
                        <a:pt x="8" y="42"/>
                      </a:lnTo>
                      <a:lnTo>
                        <a:pt x="10" y="46"/>
                      </a:lnTo>
                      <a:lnTo>
                        <a:pt x="16" y="44"/>
                      </a:lnTo>
                      <a:lnTo>
                        <a:pt x="16" y="44"/>
                      </a:lnTo>
                      <a:lnTo>
                        <a:pt x="20" y="46"/>
                      </a:lnTo>
                      <a:lnTo>
                        <a:pt x="24" y="48"/>
                      </a:lnTo>
                      <a:lnTo>
                        <a:pt x="26" y="50"/>
                      </a:lnTo>
                      <a:lnTo>
                        <a:pt x="22" y="52"/>
                      </a:lnTo>
                      <a:lnTo>
                        <a:pt x="22" y="52"/>
                      </a:lnTo>
                      <a:lnTo>
                        <a:pt x="18" y="50"/>
                      </a:lnTo>
                      <a:lnTo>
                        <a:pt x="16" y="52"/>
                      </a:lnTo>
                      <a:lnTo>
                        <a:pt x="16" y="54"/>
                      </a:lnTo>
                      <a:lnTo>
                        <a:pt x="20" y="56"/>
                      </a:lnTo>
                      <a:lnTo>
                        <a:pt x="20" y="56"/>
                      </a:lnTo>
                      <a:lnTo>
                        <a:pt x="22" y="60"/>
                      </a:lnTo>
                      <a:lnTo>
                        <a:pt x="24" y="62"/>
                      </a:lnTo>
                      <a:lnTo>
                        <a:pt x="24" y="62"/>
                      </a:lnTo>
                      <a:lnTo>
                        <a:pt x="30" y="64"/>
                      </a:lnTo>
                      <a:lnTo>
                        <a:pt x="30" y="64"/>
                      </a:lnTo>
                      <a:lnTo>
                        <a:pt x="36" y="64"/>
                      </a:lnTo>
                      <a:lnTo>
                        <a:pt x="38" y="62"/>
                      </a:lnTo>
                      <a:lnTo>
                        <a:pt x="40" y="60"/>
                      </a:lnTo>
                      <a:lnTo>
                        <a:pt x="44" y="58"/>
                      </a:lnTo>
                      <a:lnTo>
                        <a:pt x="44" y="5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8" name="Freeform 6043"/>
                <p:cNvSpPr>
                  <a:spLocks/>
                </p:cNvSpPr>
                <p:nvPr/>
              </p:nvSpPr>
              <p:spPr bwMode="auto">
                <a:xfrm>
                  <a:off x="1118870" y="2185353"/>
                  <a:ext cx="132080" cy="93980"/>
                </a:xfrm>
                <a:custGeom>
                  <a:avLst/>
                  <a:gdLst/>
                  <a:ahLst/>
                  <a:cxnLst>
                    <a:cxn ang="0">
                      <a:pos x="196" y="148"/>
                    </a:cxn>
                    <a:cxn ang="0">
                      <a:pos x="206" y="146"/>
                    </a:cxn>
                    <a:cxn ang="0">
                      <a:pos x="208" y="144"/>
                    </a:cxn>
                    <a:cxn ang="0">
                      <a:pos x="202" y="130"/>
                    </a:cxn>
                    <a:cxn ang="0">
                      <a:pos x="200" y="124"/>
                    </a:cxn>
                    <a:cxn ang="0">
                      <a:pos x="192" y="116"/>
                    </a:cxn>
                    <a:cxn ang="0">
                      <a:pos x="180" y="94"/>
                    </a:cxn>
                    <a:cxn ang="0">
                      <a:pos x="172" y="90"/>
                    </a:cxn>
                    <a:cxn ang="0">
                      <a:pos x="144" y="76"/>
                    </a:cxn>
                    <a:cxn ang="0">
                      <a:pos x="144" y="70"/>
                    </a:cxn>
                    <a:cxn ang="0">
                      <a:pos x="138" y="60"/>
                    </a:cxn>
                    <a:cxn ang="0">
                      <a:pos x="122" y="38"/>
                    </a:cxn>
                    <a:cxn ang="0">
                      <a:pos x="110" y="30"/>
                    </a:cxn>
                    <a:cxn ang="0">
                      <a:pos x="52" y="14"/>
                    </a:cxn>
                    <a:cxn ang="0">
                      <a:pos x="36" y="4"/>
                    </a:cxn>
                    <a:cxn ang="0">
                      <a:pos x="8" y="0"/>
                    </a:cxn>
                    <a:cxn ang="0">
                      <a:pos x="0" y="4"/>
                    </a:cxn>
                    <a:cxn ang="0">
                      <a:pos x="14" y="20"/>
                    </a:cxn>
                    <a:cxn ang="0">
                      <a:pos x="24" y="20"/>
                    </a:cxn>
                    <a:cxn ang="0">
                      <a:pos x="40" y="20"/>
                    </a:cxn>
                    <a:cxn ang="0">
                      <a:pos x="30" y="22"/>
                    </a:cxn>
                    <a:cxn ang="0">
                      <a:pos x="22" y="30"/>
                    </a:cxn>
                    <a:cxn ang="0">
                      <a:pos x="26" y="34"/>
                    </a:cxn>
                    <a:cxn ang="0">
                      <a:pos x="22" y="42"/>
                    </a:cxn>
                    <a:cxn ang="0">
                      <a:pos x="22" y="44"/>
                    </a:cxn>
                    <a:cxn ang="0">
                      <a:pos x="30" y="42"/>
                    </a:cxn>
                    <a:cxn ang="0">
                      <a:pos x="40" y="44"/>
                    </a:cxn>
                    <a:cxn ang="0">
                      <a:pos x="44" y="46"/>
                    </a:cxn>
                    <a:cxn ang="0">
                      <a:pos x="50" y="42"/>
                    </a:cxn>
                    <a:cxn ang="0">
                      <a:pos x="52" y="46"/>
                    </a:cxn>
                    <a:cxn ang="0">
                      <a:pos x="50" y="56"/>
                    </a:cxn>
                    <a:cxn ang="0">
                      <a:pos x="54" y="60"/>
                    </a:cxn>
                    <a:cxn ang="0">
                      <a:pos x="68" y="52"/>
                    </a:cxn>
                    <a:cxn ang="0">
                      <a:pos x="72" y="58"/>
                    </a:cxn>
                    <a:cxn ang="0">
                      <a:pos x="82" y="68"/>
                    </a:cxn>
                    <a:cxn ang="0">
                      <a:pos x="80" y="72"/>
                    </a:cxn>
                    <a:cxn ang="0">
                      <a:pos x="76" y="84"/>
                    </a:cxn>
                    <a:cxn ang="0">
                      <a:pos x="94" y="84"/>
                    </a:cxn>
                    <a:cxn ang="0">
                      <a:pos x="100" y="90"/>
                    </a:cxn>
                    <a:cxn ang="0">
                      <a:pos x="106" y="96"/>
                    </a:cxn>
                    <a:cxn ang="0">
                      <a:pos x="108" y="104"/>
                    </a:cxn>
                    <a:cxn ang="0">
                      <a:pos x="122" y="112"/>
                    </a:cxn>
                    <a:cxn ang="0">
                      <a:pos x="132" y="112"/>
                    </a:cxn>
                    <a:cxn ang="0">
                      <a:pos x="134" y="116"/>
                    </a:cxn>
                    <a:cxn ang="0">
                      <a:pos x="136" y="126"/>
                    </a:cxn>
                    <a:cxn ang="0">
                      <a:pos x="154" y="136"/>
                    </a:cxn>
                    <a:cxn ang="0">
                      <a:pos x="176" y="144"/>
                    </a:cxn>
                  </a:cxnLst>
                  <a:rect l="0" t="0" r="r" b="b"/>
                  <a:pathLst>
                    <a:path w="208" h="148">
                      <a:moveTo>
                        <a:pt x="186" y="148"/>
                      </a:moveTo>
                      <a:lnTo>
                        <a:pt x="186" y="148"/>
                      </a:lnTo>
                      <a:lnTo>
                        <a:pt x="196" y="148"/>
                      </a:lnTo>
                      <a:lnTo>
                        <a:pt x="200" y="148"/>
                      </a:lnTo>
                      <a:lnTo>
                        <a:pt x="202" y="146"/>
                      </a:lnTo>
                      <a:lnTo>
                        <a:pt x="206" y="146"/>
                      </a:lnTo>
                      <a:lnTo>
                        <a:pt x="206" y="146"/>
                      </a:lnTo>
                      <a:lnTo>
                        <a:pt x="208" y="146"/>
                      </a:lnTo>
                      <a:lnTo>
                        <a:pt x="208" y="144"/>
                      </a:lnTo>
                      <a:lnTo>
                        <a:pt x="208" y="140"/>
                      </a:lnTo>
                      <a:lnTo>
                        <a:pt x="206" y="134"/>
                      </a:lnTo>
                      <a:lnTo>
                        <a:pt x="202" y="130"/>
                      </a:lnTo>
                      <a:lnTo>
                        <a:pt x="202" y="130"/>
                      </a:lnTo>
                      <a:lnTo>
                        <a:pt x="200" y="128"/>
                      </a:lnTo>
                      <a:lnTo>
                        <a:pt x="200" y="124"/>
                      </a:lnTo>
                      <a:lnTo>
                        <a:pt x="198" y="120"/>
                      </a:lnTo>
                      <a:lnTo>
                        <a:pt x="192" y="116"/>
                      </a:lnTo>
                      <a:lnTo>
                        <a:pt x="192" y="116"/>
                      </a:lnTo>
                      <a:lnTo>
                        <a:pt x="188" y="110"/>
                      </a:lnTo>
                      <a:lnTo>
                        <a:pt x="184" y="102"/>
                      </a:lnTo>
                      <a:lnTo>
                        <a:pt x="180" y="94"/>
                      </a:lnTo>
                      <a:lnTo>
                        <a:pt x="176" y="92"/>
                      </a:lnTo>
                      <a:lnTo>
                        <a:pt x="172" y="90"/>
                      </a:lnTo>
                      <a:lnTo>
                        <a:pt x="172" y="90"/>
                      </a:lnTo>
                      <a:lnTo>
                        <a:pt x="160" y="86"/>
                      </a:lnTo>
                      <a:lnTo>
                        <a:pt x="150" y="80"/>
                      </a:lnTo>
                      <a:lnTo>
                        <a:pt x="144" y="76"/>
                      </a:lnTo>
                      <a:lnTo>
                        <a:pt x="144" y="72"/>
                      </a:lnTo>
                      <a:lnTo>
                        <a:pt x="144" y="70"/>
                      </a:lnTo>
                      <a:lnTo>
                        <a:pt x="144" y="70"/>
                      </a:lnTo>
                      <a:lnTo>
                        <a:pt x="144" y="68"/>
                      </a:lnTo>
                      <a:lnTo>
                        <a:pt x="144" y="64"/>
                      </a:lnTo>
                      <a:lnTo>
                        <a:pt x="138" y="60"/>
                      </a:lnTo>
                      <a:lnTo>
                        <a:pt x="130" y="52"/>
                      </a:lnTo>
                      <a:lnTo>
                        <a:pt x="126" y="46"/>
                      </a:lnTo>
                      <a:lnTo>
                        <a:pt x="122" y="38"/>
                      </a:lnTo>
                      <a:lnTo>
                        <a:pt x="122" y="38"/>
                      </a:lnTo>
                      <a:lnTo>
                        <a:pt x="118" y="34"/>
                      </a:lnTo>
                      <a:lnTo>
                        <a:pt x="110" y="30"/>
                      </a:lnTo>
                      <a:lnTo>
                        <a:pt x="86" y="22"/>
                      </a:lnTo>
                      <a:lnTo>
                        <a:pt x="62" y="18"/>
                      </a:lnTo>
                      <a:lnTo>
                        <a:pt x="52" y="14"/>
                      </a:lnTo>
                      <a:lnTo>
                        <a:pt x="46" y="10"/>
                      </a:lnTo>
                      <a:lnTo>
                        <a:pt x="46" y="10"/>
                      </a:lnTo>
                      <a:lnTo>
                        <a:pt x="36" y="4"/>
                      </a:lnTo>
                      <a:lnTo>
                        <a:pt x="24" y="0"/>
                      </a:lnTo>
                      <a:lnTo>
                        <a:pt x="12" y="0"/>
                      </a:lnTo>
                      <a:lnTo>
                        <a:pt x="8" y="0"/>
                      </a:lnTo>
                      <a:lnTo>
                        <a:pt x="2" y="4"/>
                      </a:lnTo>
                      <a:lnTo>
                        <a:pt x="2" y="4"/>
                      </a:lnTo>
                      <a:lnTo>
                        <a:pt x="0" y="4"/>
                      </a:lnTo>
                      <a:lnTo>
                        <a:pt x="2" y="8"/>
                      </a:lnTo>
                      <a:lnTo>
                        <a:pt x="6" y="14"/>
                      </a:lnTo>
                      <a:lnTo>
                        <a:pt x="14" y="20"/>
                      </a:lnTo>
                      <a:lnTo>
                        <a:pt x="18" y="20"/>
                      </a:lnTo>
                      <a:lnTo>
                        <a:pt x="24" y="20"/>
                      </a:lnTo>
                      <a:lnTo>
                        <a:pt x="24" y="20"/>
                      </a:lnTo>
                      <a:lnTo>
                        <a:pt x="32" y="18"/>
                      </a:lnTo>
                      <a:lnTo>
                        <a:pt x="38" y="18"/>
                      </a:lnTo>
                      <a:lnTo>
                        <a:pt x="40" y="20"/>
                      </a:lnTo>
                      <a:lnTo>
                        <a:pt x="36" y="20"/>
                      </a:lnTo>
                      <a:lnTo>
                        <a:pt x="36" y="20"/>
                      </a:lnTo>
                      <a:lnTo>
                        <a:pt x="30" y="22"/>
                      </a:lnTo>
                      <a:lnTo>
                        <a:pt x="24" y="24"/>
                      </a:lnTo>
                      <a:lnTo>
                        <a:pt x="22" y="28"/>
                      </a:lnTo>
                      <a:lnTo>
                        <a:pt x="22" y="30"/>
                      </a:lnTo>
                      <a:lnTo>
                        <a:pt x="24" y="32"/>
                      </a:lnTo>
                      <a:lnTo>
                        <a:pt x="24" y="32"/>
                      </a:lnTo>
                      <a:lnTo>
                        <a:pt x="26" y="34"/>
                      </a:lnTo>
                      <a:lnTo>
                        <a:pt x="28" y="36"/>
                      </a:lnTo>
                      <a:lnTo>
                        <a:pt x="24" y="38"/>
                      </a:lnTo>
                      <a:lnTo>
                        <a:pt x="22" y="42"/>
                      </a:lnTo>
                      <a:lnTo>
                        <a:pt x="20" y="42"/>
                      </a:lnTo>
                      <a:lnTo>
                        <a:pt x="22" y="44"/>
                      </a:lnTo>
                      <a:lnTo>
                        <a:pt x="22" y="44"/>
                      </a:lnTo>
                      <a:lnTo>
                        <a:pt x="22" y="46"/>
                      </a:lnTo>
                      <a:lnTo>
                        <a:pt x="26" y="46"/>
                      </a:lnTo>
                      <a:lnTo>
                        <a:pt x="30" y="42"/>
                      </a:lnTo>
                      <a:lnTo>
                        <a:pt x="36" y="42"/>
                      </a:lnTo>
                      <a:lnTo>
                        <a:pt x="38" y="42"/>
                      </a:lnTo>
                      <a:lnTo>
                        <a:pt x="40" y="44"/>
                      </a:lnTo>
                      <a:lnTo>
                        <a:pt x="40" y="44"/>
                      </a:lnTo>
                      <a:lnTo>
                        <a:pt x="42" y="48"/>
                      </a:lnTo>
                      <a:lnTo>
                        <a:pt x="44" y="46"/>
                      </a:lnTo>
                      <a:lnTo>
                        <a:pt x="46" y="42"/>
                      </a:lnTo>
                      <a:lnTo>
                        <a:pt x="48" y="42"/>
                      </a:lnTo>
                      <a:lnTo>
                        <a:pt x="50" y="42"/>
                      </a:lnTo>
                      <a:lnTo>
                        <a:pt x="50" y="42"/>
                      </a:lnTo>
                      <a:lnTo>
                        <a:pt x="52" y="44"/>
                      </a:lnTo>
                      <a:lnTo>
                        <a:pt x="52" y="46"/>
                      </a:lnTo>
                      <a:lnTo>
                        <a:pt x="52" y="50"/>
                      </a:lnTo>
                      <a:lnTo>
                        <a:pt x="50" y="54"/>
                      </a:lnTo>
                      <a:lnTo>
                        <a:pt x="50" y="56"/>
                      </a:lnTo>
                      <a:lnTo>
                        <a:pt x="52" y="58"/>
                      </a:lnTo>
                      <a:lnTo>
                        <a:pt x="52" y="58"/>
                      </a:lnTo>
                      <a:lnTo>
                        <a:pt x="54" y="60"/>
                      </a:lnTo>
                      <a:lnTo>
                        <a:pt x="56" y="58"/>
                      </a:lnTo>
                      <a:lnTo>
                        <a:pt x="62" y="56"/>
                      </a:lnTo>
                      <a:lnTo>
                        <a:pt x="68" y="52"/>
                      </a:lnTo>
                      <a:lnTo>
                        <a:pt x="70" y="54"/>
                      </a:lnTo>
                      <a:lnTo>
                        <a:pt x="72" y="58"/>
                      </a:lnTo>
                      <a:lnTo>
                        <a:pt x="72" y="58"/>
                      </a:lnTo>
                      <a:lnTo>
                        <a:pt x="74" y="62"/>
                      </a:lnTo>
                      <a:lnTo>
                        <a:pt x="76" y="66"/>
                      </a:lnTo>
                      <a:lnTo>
                        <a:pt x="82" y="68"/>
                      </a:lnTo>
                      <a:lnTo>
                        <a:pt x="84" y="70"/>
                      </a:lnTo>
                      <a:lnTo>
                        <a:pt x="80" y="72"/>
                      </a:lnTo>
                      <a:lnTo>
                        <a:pt x="80" y="72"/>
                      </a:lnTo>
                      <a:lnTo>
                        <a:pt x="74" y="76"/>
                      </a:lnTo>
                      <a:lnTo>
                        <a:pt x="74" y="82"/>
                      </a:lnTo>
                      <a:lnTo>
                        <a:pt x="76" y="84"/>
                      </a:lnTo>
                      <a:lnTo>
                        <a:pt x="82" y="86"/>
                      </a:lnTo>
                      <a:lnTo>
                        <a:pt x="82" y="86"/>
                      </a:lnTo>
                      <a:lnTo>
                        <a:pt x="94" y="84"/>
                      </a:lnTo>
                      <a:lnTo>
                        <a:pt x="96" y="86"/>
                      </a:lnTo>
                      <a:lnTo>
                        <a:pt x="100" y="90"/>
                      </a:lnTo>
                      <a:lnTo>
                        <a:pt x="100" y="90"/>
                      </a:lnTo>
                      <a:lnTo>
                        <a:pt x="102" y="92"/>
                      </a:lnTo>
                      <a:lnTo>
                        <a:pt x="104" y="94"/>
                      </a:lnTo>
                      <a:lnTo>
                        <a:pt x="106" y="96"/>
                      </a:lnTo>
                      <a:lnTo>
                        <a:pt x="106" y="100"/>
                      </a:lnTo>
                      <a:lnTo>
                        <a:pt x="106" y="100"/>
                      </a:lnTo>
                      <a:lnTo>
                        <a:pt x="108" y="104"/>
                      </a:lnTo>
                      <a:lnTo>
                        <a:pt x="110" y="110"/>
                      </a:lnTo>
                      <a:lnTo>
                        <a:pt x="116" y="112"/>
                      </a:lnTo>
                      <a:lnTo>
                        <a:pt x="122" y="112"/>
                      </a:lnTo>
                      <a:lnTo>
                        <a:pt x="122" y="112"/>
                      </a:lnTo>
                      <a:lnTo>
                        <a:pt x="128" y="110"/>
                      </a:lnTo>
                      <a:lnTo>
                        <a:pt x="132" y="112"/>
                      </a:lnTo>
                      <a:lnTo>
                        <a:pt x="136" y="112"/>
                      </a:lnTo>
                      <a:lnTo>
                        <a:pt x="134" y="116"/>
                      </a:lnTo>
                      <a:lnTo>
                        <a:pt x="134" y="116"/>
                      </a:lnTo>
                      <a:lnTo>
                        <a:pt x="132" y="118"/>
                      </a:lnTo>
                      <a:lnTo>
                        <a:pt x="132" y="120"/>
                      </a:lnTo>
                      <a:lnTo>
                        <a:pt x="136" y="126"/>
                      </a:lnTo>
                      <a:lnTo>
                        <a:pt x="144" y="132"/>
                      </a:lnTo>
                      <a:lnTo>
                        <a:pt x="154" y="136"/>
                      </a:lnTo>
                      <a:lnTo>
                        <a:pt x="154" y="136"/>
                      </a:lnTo>
                      <a:lnTo>
                        <a:pt x="164" y="138"/>
                      </a:lnTo>
                      <a:lnTo>
                        <a:pt x="170" y="140"/>
                      </a:lnTo>
                      <a:lnTo>
                        <a:pt x="176" y="144"/>
                      </a:lnTo>
                      <a:lnTo>
                        <a:pt x="186" y="148"/>
                      </a:lnTo>
                      <a:lnTo>
                        <a:pt x="186" y="14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9" name="Freeform 6044"/>
                <p:cNvSpPr>
                  <a:spLocks/>
                </p:cNvSpPr>
                <p:nvPr/>
              </p:nvSpPr>
              <p:spPr bwMode="auto">
                <a:xfrm>
                  <a:off x="1097280" y="2091373"/>
                  <a:ext cx="16510" cy="26670"/>
                </a:xfrm>
                <a:custGeom>
                  <a:avLst/>
                  <a:gdLst/>
                  <a:ahLst/>
                  <a:cxnLst>
                    <a:cxn ang="0">
                      <a:pos x="6" y="0"/>
                    </a:cxn>
                    <a:cxn ang="0">
                      <a:pos x="6" y="0"/>
                    </a:cxn>
                    <a:cxn ang="0">
                      <a:pos x="6" y="2"/>
                    </a:cxn>
                    <a:cxn ang="0">
                      <a:pos x="6" y="2"/>
                    </a:cxn>
                    <a:cxn ang="0">
                      <a:pos x="6" y="8"/>
                    </a:cxn>
                    <a:cxn ang="0">
                      <a:pos x="6" y="12"/>
                    </a:cxn>
                    <a:cxn ang="0">
                      <a:pos x="4" y="14"/>
                    </a:cxn>
                    <a:cxn ang="0">
                      <a:pos x="4" y="14"/>
                    </a:cxn>
                    <a:cxn ang="0">
                      <a:pos x="2" y="18"/>
                    </a:cxn>
                    <a:cxn ang="0">
                      <a:pos x="0" y="22"/>
                    </a:cxn>
                    <a:cxn ang="0">
                      <a:pos x="0" y="24"/>
                    </a:cxn>
                    <a:cxn ang="0">
                      <a:pos x="2" y="24"/>
                    </a:cxn>
                    <a:cxn ang="0">
                      <a:pos x="6" y="24"/>
                    </a:cxn>
                    <a:cxn ang="0">
                      <a:pos x="6" y="24"/>
                    </a:cxn>
                    <a:cxn ang="0">
                      <a:pos x="10" y="20"/>
                    </a:cxn>
                    <a:cxn ang="0">
                      <a:pos x="12" y="18"/>
                    </a:cxn>
                    <a:cxn ang="0">
                      <a:pos x="12" y="16"/>
                    </a:cxn>
                    <a:cxn ang="0">
                      <a:pos x="16" y="16"/>
                    </a:cxn>
                    <a:cxn ang="0">
                      <a:pos x="16" y="16"/>
                    </a:cxn>
                    <a:cxn ang="0">
                      <a:pos x="16" y="18"/>
                    </a:cxn>
                    <a:cxn ang="0">
                      <a:pos x="16" y="20"/>
                    </a:cxn>
                    <a:cxn ang="0">
                      <a:pos x="10" y="24"/>
                    </a:cxn>
                    <a:cxn ang="0">
                      <a:pos x="6" y="28"/>
                    </a:cxn>
                    <a:cxn ang="0">
                      <a:pos x="4" y="30"/>
                    </a:cxn>
                    <a:cxn ang="0">
                      <a:pos x="4" y="32"/>
                    </a:cxn>
                    <a:cxn ang="0">
                      <a:pos x="4" y="32"/>
                    </a:cxn>
                    <a:cxn ang="0">
                      <a:pos x="8" y="36"/>
                    </a:cxn>
                    <a:cxn ang="0">
                      <a:pos x="10" y="38"/>
                    </a:cxn>
                    <a:cxn ang="0">
                      <a:pos x="14" y="36"/>
                    </a:cxn>
                    <a:cxn ang="0">
                      <a:pos x="18" y="32"/>
                    </a:cxn>
                    <a:cxn ang="0">
                      <a:pos x="18" y="32"/>
                    </a:cxn>
                    <a:cxn ang="0">
                      <a:pos x="18" y="30"/>
                    </a:cxn>
                    <a:cxn ang="0">
                      <a:pos x="20" y="34"/>
                    </a:cxn>
                    <a:cxn ang="0">
                      <a:pos x="20" y="38"/>
                    </a:cxn>
                    <a:cxn ang="0">
                      <a:pos x="20" y="40"/>
                    </a:cxn>
                    <a:cxn ang="0">
                      <a:pos x="22" y="42"/>
                    </a:cxn>
                    <a:cxn ang="0">
                      <a:pos x="22" y="42"/>
                    </a:cxn>
                    <a:cxn ang="0">
                      <a:pos x="24" y="42"/>
                    </a:cxn>
                    <a:cxn ang="0">
                      <a:pos x="26" y="38"/>
                    </a:cxn>
                    <a:cxn ang="0">
                      <a:pos x="26" y="24"/>
                    </a:cxn>
                    <a:cxn ang="0">
                      <a:pos x="26" y="24"/>
                    </a:cxn>
                    <a:cxn ang="0">
                      <a:pos x="26" y="18"/>
                    </a:cxn>
                    <a:cxn ang="0">
                      <a:pos x="24" y="14"/>
                    </a:cxn>
                    <a:cxn ang="0">
                      <a:pos x="18" y="8"/>
                    </a:cxn>
                    <a:cxn ang="0">
                      <a:pos x="12" y="2"/>
                    </a:cxn>
                    <a:cxn ang="0">
                      <a:pos x="6" y="0"/>
                    </a:cxn>
                    <a:cxn ang="0">
                      <a:pos x="6" y="0"/>
                    </a:cxn>
                  </a:cxnLst>
                  <a:rect l="0" t="0" r="r" b="b"/>
                  <a:pathLst>
                    <a:path w="26" h="42">
                      <a:moveTo>
                        <a:pt x="6" y="0"/>
                      </a:moveTo>
                      <a:lnTo>
                        <a:pt x="6" y="0"/>
                      </a:lnTo>
                      <a:lnTo>
                        <a:pt x="6" y="2"/>
                      </a:lnTo>
                      <a:lnTo>
                        <a:pt x="6" y="2"/>
                      </a:lnTo>
                      <a:lnTo>
                        <a:pt x="6" y="8"/>
                      </a:lnTo>
                      <a:lnTo>
                        <a:pt x="6" y="12"/>
                      </a:lnTo>
                      <a:lnTo>
                        <a:pt x="4" y="14"/>
                      </a:lnTo>
                      <a:lnTo>
                        <a:pt x="4" y="14"/>
                      </a:lnTo>
                      <a:lnTo>
                        <a:pt x="2" y="18"/>
                      </a:lnTo>
                      <a:lnTo>
                        <a:pt x="0" y="22"/>
                      </a:lnTo>
                      <a:lnTo>
                        <a:pt x="0" y="24"/>
                      </a:lnTo>
                      <a:lnTo>
                        <a:pt x="2" y="24"/>
                      </a:lnTo>
                      <a:lnTo>
                        <a:pt x="6" y="24"/>
                      </a:lnTo>
                      <a:lnTo>
                        <a:pt x="6" y="24"/>
                      </a:lnTo>
                      <a:lnTo>
                        <a:pt x="10" y="20"/>
                      </a:lnTo>
                      <a:lnTo>
                        <a:pt x="12" y="18"/>
                      </a:lnTo>
                      <a:lnTo>
                        <a:pt x="12" y="16"/>
                      </a:lnTo>
                      <a:lnTo>
                        <a:pt x="16" y="16"/>
                      </a:lnTo>
                      <a:lnTo>
                        <a:pt x="16" y="16"/>
                      </a:lnTo>
                      <a:lnTo>
                        <a:pt x="16" y="18"/>
                      </a:lnTo>
                      <a:lnTo>
                        <a:pt x="16" y="20"/>
                      </a:lnTo>
                      <a:lnTo>
                        <a:pt x="10" y="24"/>
                      </a:lnTo>
                      <a:lnTo>
                        <a:pt x="6" y="28"/>
                      </a:lnTo>
                      <a:lnTo>
                        <a:pt x="4" y="30"/>
                      </a:lnTo>
                      <a:lnTo>
                        <a:pt x="4" y="32"/>
                      </a:lnTo>
                      <a:lnTo>
                        <a:pt x="4" y="32"/>
                      </a:lnTo>
                      <a:lnTo>
                        <a:pt x="8" y="36"/>
                      </a:lnTo>
                      <a:lnTo>
                        <a:pt x="10" y="38"/>
                      </a:lnTo>
                      <a:lnTo>
                        <a:pt x="14" y="36"/>
                      </a:lnTo>
                      <a:lnTo>
                        <a:pt x="18" y="32"/>
                      </a:lnTo>
                      <a:lnTo>
                        <a:pt x="18" y="32"/>
                      </a:lnTo>
                      <a:lnTo>
                        <a:pt x="18" y="30"/>
                      </a:lnTo>
                      <a:lnTo>
                        <a:pt x="20" y="34"/>
                      </a:lnTo>
                      <a:lnTo>
                        <a:pt x="20" y="38"/>
                      </a:lnTo>
                      <a:lnTo>
                        <a:pt x="20" y="40"/>
                      </a:lnTo>
                      <a:lnTo>
                        <a:pt x="22" y="42"/>
                      </a:lnTo>
                      <a:lnTo>
                        <a:pt x="22" y="42"/>
                      </a:lnTo>
                      <a:lnTo>
                        <a:pt x="24" y="42"/>
                      </a:lnTo>
                      <a:lnTo>
                        <a:pt x="26" y="38"/>
                      </a:lnTo>
                      <a:lnTo>
                        <a:pt x="26" y="24"/>
                      </a:lnTo>
                      <a:lnTo>
                        <a:pt x="26" y="24"/>
                      </a:lnTo>
                      <a:lnTo>
                        <a:pt x="26" y="18"/>
                      </a:lnTo>
                      <a:lnTo>
                        <a:pt x="24" y="14"/>
                      </a:lnTo>
                      <a:lnTo>
                        <a:pt x="18" y="8"/>
                      </a:lnTo>
                      <a:lnTo>
                        <a:pt x="12" y="2"/>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0" name="Freeform 6045"/>
                <p:cNvSpPr>
                  <a:spLocks/>
                </p:cNvSpPr>
                <p:nvPr/>
              </p:nvSpPr>
              <p:spPr bwMode="auto">
                <a:xfrm>
                  <a:off x="1158240" y="2223453"/>
                  <a:ext cx="7620" cy="8890"/>
                </a:xfrm>
                <a:custGeom>
                  <a:avLst/>
                  <a:gdLst/>
                  <a:ahLst/>
                  <a:cxnLst>
                    <a:cxn ang="0">
                      <a:pos x="2" y="0"/>
                    </a:cxn>
                    <a:cxn ang="0">
                      <a:pos x="2" y="0"/>
                    </a:cxn>
                    <a:cxn ang="0">
                      <a:pos x="0" y="4"/>
                    </a:cxn>
                    <a:cxn ang="0">
                      <a:pos x="0" y="6"/>
                    </a:cxn>
                    <a:cxn ang="0">
                      <a:pos x="2" y="10"/>
                    </a:cxn>
                    <a:cxn ang="0">
                      <a:pos x="8" y="14"/>
                    </a:cxn>
                    <a:cxn ang="0">
                      <a:pos x="10" y="12"/>
                    </a:cxn>
                    <a:cxn ang="0">
                      <a:pos x="10" y="12"/>
                    </a:cxn>
                    <a:cxn ang="0">
                      <a:pos x="12" y="8"/>
                    </a:cxn>
                    <a:cxn ang="0">
                      <a:pos x="10" y="4"/>
                    </a:cxn>
                    <a:cxn ang="0">
                      <a:pos x="6" y="0"/>
                    </a:cxn>
                    <a:cxn ang="0">
                      <a:pos x="4" y="0"/>
                    </a:cxn>
                    <a:cxn ang="0">
                      <a:pos x="2" y="0"/>
                    </a:cxn>
                    <a:cxn ang="0">
                      <a:pos x="2" y="0"/>
                    </a:cxn>
                  </a:cxnLst>
                  <a:rect l="0" t="0" r="r" b="b"/>
                  <a:pathLst>
                    <a:path w="12" h="14">
                      <a:moveTo>
                        <a:pt x="2" y="0"/>
                      </a:moveTo>
                      <a:lnTo>
                        <a:pt x="2" y="0"/>
                      </a:lnTo>
                      <a:lnTo>
                        <a:pt x="0" y="4"/>
                      </a:lnTo>
                      <a:lnTo>
                        <a:pt x="0" y="6"/>
                      </a:lnTo>
                      <a:lnTo>
                        <a:pt x="2" y="10"/>
                      </a:lnTo>
                      <a:lnTo>
                        <a:pt x="8" y="14"/>
                      </a:lnTo>
                      <a:lnTo>
                        <a:pt x="10" y="12"/>
                      </a:lnTo>
                      <a:lnTo>
                        <a:pt x="10" y="12"/>
                      </a:lnTo>
                      <a:lnTo>
                        <a:pt x="12" y="8"/>
                      </a:lnTo>
                      <a:lnTo>
                        <a:pt x="10" y="4"/>
                      </a:lnTo>
                      <a:lnTo>
                        <a:pt x="6" y="0"/>
                      </a:lnTo>
                      <a:lnTo>
                        <a:pt x="4" y="0"/>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1" name="Freeform 6046"/>
                <p:cNvSpPr>
                  <a:spLocks/>
                </p:cNvSpPr>
                <p:nvPr/>
              </p:nvSpPr>
              <p:spPr bwMode="auto">
                <a:xfrm>
                  <a:off x="1059180" y="2060893"/>
                  <a:ext cx="11430" cy="8890"/>
                </a:xfrm>
                <a:custGeom>
                  <a:avLst/>
                  <a:gdLst/>
                  <a:ahLst/>
                  <a:cxnLst>
                    <a:cxn ang="0">
                      <a:pos x="18" y="12"/>
                    </a:cxn>
                    <a:cxn ang="0">
                      <a:pos x="18" y="12"/>
                    </a:cxn>
                    <a:cxn ang="0">
                      <a:pos x="18" y="8"/>
                    </a:cxn>
                    <a:cxn ang="0">
                      <a:pos x="18" y="4"/>
                    </a:cxn>
                    <a:cxn ang="0">
                      <a:pos x="14" y="2"/>
                    </a:cxn>
                    <a:cxn ang="0">
                      <a:pos x="10" y="0"/>
                    </a:cxn>
                    <a:cxn ang="0">
                      <a:pos x="10" y="0"/>
                    </a:cxn>
                    <a:cxn ang="0">
                      <a:pos x="6" y="0"/>
                    </a:cxn>
                    <a:cxn ang="0">
                      <a:pos x="2" y="4"/>
                    </a:cxn>
                    <a:cxn ang="0">
                      <a:pos x="0" y="8"/>
                    </a:cxn>
                    <a:cxn ang="0">
                      <a:pos x="0" y="12"/>
                    </a:cxn>
                    <a:cxn ang="0">
                      <a:pos x="0" y="12"/>
                    </a:cxn>
                    <a:cxn ang="0">
                      <a:pos x="0" y="14"/>
                    </a:cxn>
                    <a:cxn ang="0">
                      <a:pos x="2" y="14"/>
                    </a:cxn>
                    <a:cxn ang="0">
                      <a:pos x="4" y="10"/>
                    </a:cxn>
                    <a:cxn ang="0">
                      <a:pos x="8" y="10"/>
                    </a:cxn>
                    <a:cxn ang="0">
                      <a:pos x="8" y="10"/>
                    </a:cxn>
                    <a:cxn ang="0">
                      <a:pos x="12" y="14"/>
                    </a:cxn>
                    <a:cxn ang="0">
                      <a:pos x="14" y="14"/>
                    </a:cxn>
                    <a:cxn ang="0">
                      <a:pos x="18" y="12"/>
                    </a:cxn>
                    <a:cxn ang="0">
                      <a:pos x="18" y="12"/>
                    </a:cxn>
                  </a:cxnLst>
                  <a:rect l="0" t="0" r="r" b="b"/>
                  <a:pathLst>
                    <a:path w="18" h="14">
                      <a:moveTo>
                        <a:pt x="18" y="12"/>
                      </a:moveTo>
                      <a:lnTo>
                        <a:pt x="18" y="12"/>
                      </a:lnTo>
                      <a:lnTo>
                        <a:pt x="18" y="8"/>
                      </a:lnTo>
                      <a:lnTo>
                        <a:pt x="18" y="4"/>
                      </a:lnTo>
                      <a:lnTo>
                        <a:pt x="14" y="2"/>
                      </a:lnTo>
                      <a:lnTo>
                        <a:pt x="10" y="0"/>
                      </a:lnTo>
                      <a:lnTo>
                        <a:pt x="10" y="0"/>
                      </a:lnTo>
                      <a:lnTo>
                        <a:pt x="6" y="0"/>
                      </a:lnTo>
                      <a:lnTo>
                        <a:pt x="2" y="4"/>
                      </a:lnTo>
                      <a:lnTo>
                        <a:pt x="0" y="8"/>
                      </a:lnTo>
                      <a:lnTo>
                        <a:pt x="0" y="12"/>
                      </a:lnTo>
                      <a:lnTo>
                        <a:pt x="0" y="12"/>
                      </a:lnTo>
                      <a:lnTo>
                        <a:pt x="0" y="14"/>
                      </a:lnTo>
                      <a:lnTo>
                        <a:pt x="2" y="14"/>
                      </a:lnTo>
                      <a:lnTo>
                        <a:pt x="4" y="10"/>
                      </a:lnTo>
                      <a:lnTo>
                        <a:pt x="8" y="10"/>
                      </a:lnTo>
                      <a:lnTo>
                        <a:pt x="8" y="10"/>
                      </a:lnTo>
                      <a:lnTo>
                        <a:pt x="12" y="14"/>
                      </a:lnTo>
                      <a:lnTo>
                        <a:pt x="14" y="14"/>
                      </a:lnTo>
                      <a:lnTo>
                        <a:pt x="18" y="12"/>
                      </a:lnTo>
                      <a:lnTo>
                        <a:pt x="18" y="1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2" name="Freeform 6047"/>
                <p:cNvSpPr>
                  <a:spLocks/>
                </p:cNvSpPr>
                <p:nvPr/>
              </p:nvSpPr>
              <p:spPr bwMode="auto">
                <a:xfrm>
                  <a:off x="1051560" y="2039303"/>
                  <a:ext cx="6350" cy="6350"/>
                </a:xfrm>
                <a:custGeom>
                  <a:avLst/>
                  <a:gdLst/>
                  <a:ahLst/>
                  <a:cxnLst>
                    <a:cxn ang="0">
                      <a:pos x="0" y="8"/>
                    </a:cxn>
                    <a:cxn ang="0">
                      <a:pos x="0" y="8"/>
                    </a:cxn>
                    <a:cxn ang="0">
                      <a:pos x="2" y="10"/>
                    </a:cxn>
                    <a:cxn ang="0">
                      <a:pos x="2" y="10"/>
                    </a:cxn>
                    <a:cxn ang="0">
                      <a:pos x="6" y="8"/>
                    </a:cxn>
                    <a:cxn ang="0">
                      <a:pos x="8" y="4"/>
                    </a:cxn>
                    <a:cxn ang="0">
                      <a:pos x="10" y="0"/>
                    </a:cxn>
                    <a:cxn ang="0">
                      <a:pos x="10" y="0"/>
                    </a:cxn>
                    <a:cxn ang="0">
                      <a:pos x="8" y="0"/>
                    </a:cxn>
                    <a:cxn ang="0">
                      <a:pos x="4" y="0"/>
                    </a:cxn>
                    <a:cxn ang="0">
                      <a:pos x="0" y="4"/>
                    </a:cxn>
                    <a:cxn ang="0">
                      <a:pos x="0" y="8"/>
                    </a:cxn>
                    <a:cxn ang="0">
                      <a:pos x="0" y="8"/>
                    </a:cxn>
                  </a:cxnLst>
                  <a:rect l="0" t="0" r="r" b="b"/>
                  <a:pathLst>
                    <a:path w="10" h="10">
                      <a:moveTo>
                        <a:pt x="0" y="8"/>
                      </a:moveTo>
                      <a:lnTo>
                        <a:pt x="0" y="8"/>
                      </a:lnTo>
                      <a:lnTo>
                        <a:pt x="2" y="10"/>
                      </a:lnTo>
                      <a:lnTo>
                        <a:pt x="2" y="10"/>
                      </a:lnTo>
                      <a:lnTo>
                        <a:pt x="6" y="8"/>
                      </a:lnTo>
                      <a:lnTo>
                        <a:pt x="8" y="4"/>
                      </a:lnTo>
                      <a:lnTo>
                        <a:pt x="10" y="0"/>
                      </a:lnTo>
                      <a:lnTo>
                        <a:pt x="10" y="0"/>
                      </a:lnTo>
                      <a:lnTo>
                        <a:pt x="8" y="0"/>
                      </a:lnTo>
                      <a:lnTo>
                        <a:pt x="4" y="0"/>
                      </a:lnTo>
                      <a:lnTo>
                        <a:pt x="0" y="4"/>
                      </a:lnTo>
                      <a:lnTo>
                        <a:pt x="0" y="8"/>
                      </a:lnTo>
                      <a:lnTo>
                        <a:pt x="0"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3" name="Freeform 6048"/>
                <p:cNvSpPr>
                  <a:spLocks/>
                </p:cNvSpPr>
                <p:nvPr/>
              </p:nvSpPr>
              <p:spPr bwMode="auto">
                <a:xfrm>
                  <a:off x="1040130" y="2025333"/>
                  <a:ext cx="5080" cy="5080"/>
                </a:xfrm>
                <a:custGeom>
                  <a:avLst/>
                  <a:gdLst/>
                  <a:ahLst/>
                  <a:cxnLst>
                    <a:cxn ang="0">
                      <a:pos x="2" y="8"/>
                    </a:cxn>
                    <a:cxn ang="0">
                      <a:pos x="2" y="8"/>
                    </a:cxn>
                    <a:cxn ang="0">
                      <a:pos x="6" y="8"/>
                    </a:cxn>
                    <a:cxn ang="0">
                      <a:pos x="8" y="4"/>
                    </a:cxn>
                    <a:cxn ang="0">
                      <a:pos x="8" y="4"/>
                    </a:cxn>
                    <a:cxn ang="0">
                      <a:pos x="8" y="0"/>
                    </a:cxn>
                    <a:cxn ang="0">
                      <a:pos x="4" y="0"/>
                    </a:cxn>
                    <a:cxn ang="0">
                      <a:pos x="4" y="0"/>
                    </a:cxn>
                    <a:cxn ang="0">
                      <a:pos x="0" y="2"/>
                    </a:cxn>
                    <a:cxn ang="0">
                      <a:pos x="0" y="4"/>
                    </a:cxn>
                    <a:cxn ang="0">
                      <a:pos x="2" y="8"/>
                    </a:cxn>
                    <a:cxn ang="0">
                      <a:pos x="2" y="8"/>
                    </a:cxn>
                  </a:cxnLst>
                  <a:rect l="0" t="0" r="r" b="b"/>
                  <a:pathLst>
                    <a:path w="8" h="8">
                      <a:moveTo>
                        <a:pt x="2" y="8"/>
                      </a:moveTo>
                      <a:lnTo>
                        <a:pt x="2" y="8"/>
                      </a:lnTo>
                      <a:lnTo>
                        <a:pt x="6" y="8"/>
                      </a:lnTo>
                      <a:lnTo>
                        <a:pt x="8" y="4"/>
                      </a:lnTo>
                      <a:lnTo>
                        <a:pt x="8" y="4"/>
                      </a:lnTo>
                      <a:lnTo>
                        <a:pt x="8" y="0"/>
                      </a:lnTo>
                      <a:lnTo>
                        <a:pt x="4" y="0"/>
                      </a:lnTo>
                      <a:lnTo>
                        <a:pt x="4" y="0"/>
                      </a:lnTo>
                      <a:lnTo>
                        <a:pt x="0" y="2"/>
                      </a:lnTo>
                      <a:lnTo>
                        <a:pt x="0" y="4"/>
                      </a:lnTo>
                      <a:lnTo>
                        <a:pt x="2" y="8"/>
                      </a:lnTo>
                      <a:lnTo>
                        <a:pt x="2"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4" name="Freeform 6049"/>
                <p:cNvSpPr>
                  <a:spLocks/>
                </p:cNvSpPr>
                <p:nvPr/>
              </p:nvSpPr>
              <p:spPr bwMode="auto">
                <a:xfrm>
                  <a:off x="1012190" y="2092643"/>
                  <a:ext cx="39370" cy="43180"/>
                </a:xfrm>
                <a:custGeom>
                  <a:avLst/>
                  <a:gdLst/>
                  <a:ahLst/>
                  <a:cxnLst>
                    <a:cxn ang="0">
                      <a:pos x="52" y="56"/>
                    </a:cxn>
                    <a:cxn ang="0">
                      <a:pos x="52" y="50"/>
                    </a:cxn>
                    <a:cxn ang="0">
                      <a:pos x="48" y="52"/>
                    </a:cxn>
                    <a:cxn ang="0">
                      <a:pos x="46" y="52"/>
                    </a:cxn>
                    <a:cxn ang="0">
                      <a:pos x="44" y="48"/>
                    </a:cxn>
                    <a:cxn ang="0">
                      <a:pos x="42" y="46"/>
                    </a:cxn>
                    <a:cxn ang="0">
                      <a:pos x="34" y="40"/>
                    </a:cxn>
                    <a:cxn ang="0">
                      <a:pos x="32" y="32"/>
                    </a:cxn>
                    <a:cxn ang="0">
                      <a:pos x="34" y="30"/>
                    </a:cxn>
                    <a:cxn ang="0">
                      <a:pos x="30" y="28"/>
                    </a:cxn>
                    <a:cxn ang="0">
                      <a:pos x="26" y="26"/>
                    </a:cxn>
                    <a:cxn ang="0">
                      <a:pos x="28" y="24"/>
                    </a:cxn>
                    <a:cxn ang="0">
                      <a:pos x="38" y="22"/>
                    </a:cxn>
                    <a:cxn ang="0">
                      <a:pos x="38" y="18"/>
                    </a:cxn>
                    <a:cxn ang="0">
                      <a:pos x="36" y="16"/>
                    </a:cxn>
                    <a:cxn ang="0">
                      <a:pos x="36" y="14"/>
                    </a:cxn>
                    <a:cxn ang="0">
                      <a:pos x="36" y="8"/>
                    </a:cxn>
                    <a:cxn ang="0">
                      <a:pos x="32" y="4"/>
                    </a:cxn>
                    <a:cxn ang="0">
                      <a:pos x="32" y="2"/>
                    </a:cxn>
                    <a:cxn ang="0">
                      <a:pos x="26" y="2"/>
                    </a:cxn>
                    <a:cxn ang="0">
                      <a:pos x="22" y="6"/>
                    </a:cxn>
                    <a:cxn ang="0">
                      <a:pos x="16" y="8"/>
                    </a:cxn>
                    <a:cxn ang="0">
                      <a:pos x="2" y="10"/>
                    </a:cxn>
                    <a:cxn ang="0">
                      <a:pos x="2" y="14"/>
                    </a:cxn>
                    <a:cxn ang="0">
                      <a:pos x="2" y="14"/>
                    </a:cxn>
                    <a:cxn ang="0">
                      <a:pos x="10" y="14"/>
                    </a:cxn>
                    <a:cxn ang="0">
                      <a:pos x="14" y="16"/>
                    </a:cxn>
                    <a:cxn ang="0">
                      <a:pos x="16" y="18"/>
                    </a:cxn>
                    <a:cxn ang="0">
                      <a:pos x="12" y="20"/>
                    </a:cxn>
                    <a:cxn ang="0">
                      <a:pos x="10" y="24"/>
                    </a:cxn>
                    <a:cxn ang="0">
                      <a:pos x="18" y="30"/>
                    </a:cxn>
                    <a:cxn ang="0">
                      <a:pos x="22" y="30"/>
                    </a:cxn>
                    <a:cxn ang="0">
                      <a:pos x="20" y="32"/>
                    </a:cxn>
                    <a:cxn ang="0">
                      <a:pos x="20" y="34"/>
                    </a:cxn>
                    <a:cxn ang="0">
                      <a:pos x="34" y="48"/>
                    </a:cxn>
                    <a:cxn ang="0">
                      <a:pos x="38" y="52"/>
                    </a:cxn>
                    <a:cxn ang="0">
                      <a:pos x="40" y="56"/>
                    </a:cxn>
                    <a:cxn ang="0">
                      <a:pos x="42" y="58"/>
                    </a:cxn>
                    <a:cxn ang="0">
                      <a:pos x="46" y="64"/>
                    </a:cxn>
                    <a:cxn ang="0">
                      <a:pos x="54" y="68"/>
                    </a:cxn>
                    <a:cxn ang="0">
                      <a:pos x="60" y="68"/>
                    </a:cxn>
                    <a:cxn ang="0">
                      <a:pos x="62" y="64"/>
                    </a:cxn>
                    <a:cxn ang="0">
                      <a:pos x="60" y="60"/>
                    </a:cxn>
                    <a:cxn ang="0">
                      <a:pos x="52" y="58"/>
                    </a:cxn>
                    <a:cxn ang="0">
                      <a:pos x="52" y="56"/>
                    </a:cxn>
                  </a:cxnLst>
                  <a:rect l="0" t="0" r="r" b="b"/>
                  <a:pathLst>
                    <a:path w="62" h="68">
                      <a:moveTo>
                        <a:pt x="52" y="56"/>
                      </a:moveTo>
                      <a:lnTo>
                        <a:pt x="52" y="56"/>
                      </a:lnTo>
                      <a:lnTo>
                        <a:pt x="52" y="54"/>
                      </a:lnTo>
                      <a:lnTo>
                        <a:pt x="52" y="50"/>
                      </a:lnTo>
                      <a:lnTo>
                        <a:pt x="52" y="50"/>
                      </a:lnTo>
                      <a:lnTo>
                        <a:pt x="48" y="52"/>
                      </a:lnTo>
                      <a:lnTo>
                        <a:pt x="48" y="52"/>
                      </a:lnTo>
                      <a:lnTo>
                        <a:pt x="46" y="52"/>
                      </a:lnTo>
                      <a:lnTo>
                        <a:pt x="46" y="50"/>
                      </a:lnTo>
                      <a:lnTo>
                        <a:pt x="44" y="48"/>
                      </a:lnTo>
                      <a:lnTo>
                        <a:pt x="42" y="46"/>
                      </a:lnTo>
                      <a:lnTo>
                        <a:pt x="42" y="46"/>
                      </a:lnTo>
                      <a:lnTo>
                        <a:pt x="38" y="46"/>
                      </a:lnTo>
                      <a:lnTo>
                        <a:pt x="34" y="40"/>
                      </a:lnTo>
                      <a:lnTo>
                        <a:pt x="32" y="36"/>
                      </a:lnTo>
                      <a:lnTo>
                        <a:pt x="32" y="32"/>
                      </a:lnTo>
                      <a:lnTo>
                        <a:pt x="32" y="32"/>
                      </a:lnTo>
                      <a:lnTo>
                        <a:pt x="34" y="30"/>
                      </a:lnTo>
                      <a:lnTo>
                        <a:pt x="34" y="30"/>
                      </a:lnTo>
                      <a:lnTo>
                        <a:pt x="30" y="28"/>
                      </a:lnTo>
                      <a:lnTo>
                        <a:pt x="26" y="26"/>
                      </a:lnTo>
                      <a:lnTo>
                        <a:pt x="26" y="26"/>
                      </a:lnTo>
                      <a:lnTo>
                        <a:pt x="26" y="24"/>
                      </a:lnTo>
                      <a:lnTo>
                        <a:pt x="28" y="24"/>
                      </a:lnTo>
                      <a:lnTo>
                        <a:pt x="34" y="24"/>
                      </a:lnTo>
                      <a:lnTo>
                        <a:pt x="38" y="22"/>
                      </a:lnTo>
                      <a:lnTo>
                        <a:pt x="38" y="22"/>
                      </a:lnTo>
                      <a:lnTo>
                        <a:pt x="38" y="18"/>
                      </a:lnTo>
                      <a:lnTo>
                        <a:pt x="38" y="18"/>
                      </a:lnTo>
                      <a:lnTo>
                        <a:pt x="36" y="16"/>
                      </a:lnTo>
                      <a:lnTo>
                        <a:pt x="36" y="14"/>
                      </a:lnTo>
                      <a:lnTo>
                        <a:pt x="36" y="14"/>
                      </a:lnTo>
                      <a:lnTo>
                        <a:pt x="36" y="10"/>
                      </a:lnTo>
                      <a:lnTo>
                        <a:pt x="36" y="8"/>
                      </a:lnTo>
                      <a:lnTo>
                        <a:pt x="34" y="8"/>
                      </a:lnTo>
                      <a:lnTo>
                        <a:pt x="32" y="4"/>
                      </a:lnTo>
                      <a:lnTo>
                        <a:pt x="32" y="4"/>
                      </a:lnTo>
                      <a:lnTo>
                        <a:pt x="32" y="2"/>
                      </a:lnTo>
                      <a:lnTo>
                        <a:pt x="30" y="0"/>
                      </a:lnTo>
                      <a:lnTo>
                        <a:pt x="26" y="2"/>
                      </a:lnTo>
                      <a:lnTo>
                        <a:pt x="22" y="6"/>
                      </a:lnTo>
                      <a:lnTo>
                        <a:pt x="22" y="6"/>
                      </a:lnTo>
                      <a:lnTo>
                        <a:pt x="20" y="8"/>
                      </a:lnTo>
                      <a:lnTo>
                        <a:pt x="16" y="8"/>
                      </a:lnTo>
                      <a:lnTo>
                        <a:pt x="8" y="10"/>
                      </a:lnTo>
                      <a:lnTo>
                        <a:pt x="2" y="10"/>
                      </a:lnTo>
                      <a:lnTo>
                        <a:pt x="0" y="12"/>
                      </a:lnTo>
                      <a:lnTo>
                        <a:pt x="2" y="14"/>
                      </a:lnTo>
                      <a:lnTo>
                        <a:pt x="2" y="14"/>
                      </a:lnTo>
                      <a:lnTo>
                        <a:pt x="2" y="14"/>
                      </a:lnTo>
                      <a:lnTo>
                        <a:pt x="4" y="14"/>
                      </a:lnTo>
                      <a:lnTo>
                        <a:pt x="10" y="14"/>
                      </a:lnTo>
                      <a:lnTo>
                        <a:pt x="10" y="14"/>
                      </a:lnTo>
                      <a:lnTo>
                        <a:pt x="14" y="16"/>
                      </a:lnTo>
                      <a:lnTo>
                        <a:pt x="16" y="18"/>
                      </a:lnTo>
                      <a:lnTo>
                        <a:pt x="16" y="18"/>
                      </a:lnTo>
                      <a:lnTo>
                        <a:pt x="12" y="20"/>
                      </a:lnTo>
                      <a:lnTo>
                        <a:pt x="12" y="20"/>
                      </a:lnTo>
                      <a:lnTo>
                        <a:pt x="10" y="20"/>
                      </a:lnTo>
                      <a:lnTo>
                        <a:pt x="10" y="24"/>
                      </a:lnTo>
                      <a:lnTo>
                        <a:pt x="14" y="28"/>
                      </a:lnTo>
                      <a:lnTo>
                        <a:pt x="18" y="30"/>
                      </a:lnTo>
                      <a:lnTo>
                        <a:pt x="18" y="30"/>
                      </a:lnTo>
                      <a:lnTo>
                        <a:pt x="22" y="30"/>
                      </a:lnTo>
                      <a:lnTo>
                        <a:pt x="22" y="30"/>
                      </a:lnTo>
                      <a:lnTo>
                        <a:pt x="20" y="32"/>
                      </a:lnTo>
                      <a:lnTo>
                        <a:pt x="20" y="34"/>
                      </a:lnTo>
                      <a:lnTo>
                        <a:pt x="20" y="34"/>
                      </a:lnTo>
                      <a:lnTo>
                        <a:pt x="24" y="40"/>
                      </a:lnTo>
                      <a:lnTo>
                        <a:pt x="34" y="48"/>
                      </a:lnTo>
                      <a:lnTo>
                        <a:pt x="34" y="48"/>
                      </a:lnTo>
                      <a:lnTo>
                        <a:pt x="38" y="52"/>
                      </a:lnTo>
                      <a:lnTo>
                        <a:pt x="40" y="54"/>
                      </a:lnTo>
                      <a:lnTo>
                        <a:pt x="40" y="56"/>
                      </a:lnTo>
                      <a:lnTo>
                        <a:pt x="42" y="58"/>
                      </a:lnTo>
                      <a:lnTo>
                        <a:pt x="42" y="58"/>
                      </a:lnTo>
                      <a:lnTo>
                        <a:pt x="44" y="62"/>
                      </a:lnTo>
                      <a:lnTo>
                        <a:pt x="46" y="64"/>
                      </a:lnTo>
                      <a:lnTo>
                        <a:pt x="50" y="68"/>
                      </a:lnTo>
                      <a:lnTo>
                        <a:pt x="54" y="68"/>
                      </a:lnTo>
                      <a:lnTo>
                        <a:pt x="54" y="68"/>
                      </a:lnTo>
                      <a:lnTo>
                        <a:pt x="60" y="68"/>
                      </a:lnTo>
                      <a:lnTo>
                        <a:pt x="62" y="66"/>
                      </a:lnTo>
                      <a:lnTo>
                        <a:pt x="62" y="64"/>
                      </a:lnTo>
                      <a:lnTo>
                        <a:pt x="60" y="60"/>
                      </a:lnTo>
                      <a:lnTo>
                        <a:pt x="60" y="60"/>
                      </a:lnTo>
                      <a:lnTo>
                        <a:pt x="56" y="58"/>
                      </a:lnTo>
                      <a:lnTo>
                        <a:pt x="52" y="58"/>
                      </a:lnTo>
                      <a:lnTo>
                        <a:pt x="50" y="58"/>
                      </a:lnTo>
                      <a:lnTo>
                        <a:pt x="52" y="56"/>
                      </a:lnTo>
                      <a:lnTo>
                        <a:pt x="52" y="5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5" name="Freeform 6050"/>
                <p:cNvSpPr>
                  <a:spLocks/>
                </p:cNvSpPr>
                <p:nvPr/>
              </p:nvSpPr>
              <p:spPr bwMode="auto">
                <a:xfrm>
                  <a:off x="1109980" y="2124393"/>
                  <a:ext cx="3810" cy="6350"/>
                </a:xfrm>
                <a:custGeom>
                  <a:avLst/>
                  <a:gdLst/>
                  <a:ahLst/>
                  <a:cxnLst>
                    <a:cxn ang="0">
                      <a:pos x="2" y="0"/>
                    </a:cxn>
                    <a:cxn ang="0">
                      <a:pos x="2" y="0"/>
                    </a:cxn>
                    <a:cxn ang="0">
                      <a:pos x="0" y="2"/>
                    </a:cxn>
                    <a:cxn ang="0">
                      <a:pos x="0" y="6"/>
                    </a:cxn>
                    <a:cxn ang="0">
                      <a:pos x="0" y="8"/>
                    </a:cxn>
                    <a:cxn ang="0">
                      <a:pos x="4" y="10"/>
                    </a:cxn>
                    <a:cxn ang="0">
                      <a:pos x="4" y="10"/>
                    </a:cxn>
                    <a:cxn ang="0">
                      <a:pos x="6" y="10"/>
                    </a:cxn>
                    <a:cxn ang="0">
                      <a:pos x="6" y="6"/>
                    </a:cxn>
                    <a:cxn ang="0">
                      <a:pos x="4" y="2"/>
                    </a:cxn>
                    <a:cxn ang="0">
                      <a:pos x="2" y="0"/>
                    </a:cxn>
                    <a:cxn ang="0">
                      <a:pos x="2" y="0"/>
                    </a:cxn>
                  </a:cxnLst>
                  <a:rect l="0" t="0" r="r" b="b"/>
                  <a:pathLst>
                    <a:path w="6" h="10">
                      <a:moveTo>
                        <a:pt x="2" y="0"/>
                      </a:moveTo>
                      <a:lnTo>
                        <a:pt x="2" y="0"/>
                      </a:lnTo>
                      <a:lnTo>
                        <a:pt x="0" y="2"/>
                      </a:lnTo>
                      <a:lnTo>
                        <a:pt x="0" y="6"/>
                      </a:lnTo>
                      <a:lnTo>
                        <a:pt x="0" y="8"/>
                      </a:lnTo>
                      <a:lnTo>
                        <a:pt x="4" y="10"/>
                      </a:lnTo>
                      <a:lnTo>
                        <a:pt x="4" y="10"/>
                      </a:lnTo>
                      <a:lnTo>
                        <a:pt x="6" y="10"/>
                      </a:lnTo>
                      <a:lnTo>
                        <a:pt x="6" y="6"/>
                      </a:lnTo>
                      <a:lnTo>
                        <a:pt x="4" y="2"/>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6" name="Freeform 6051"/>
                <p:cNvSpPr>
                  <a:spLocks/>
                </p:cNvSpPr>
                <p:nvPr/>
              </p:nvSpPr>
              <p:spPr bwMode="auto">
                <a:xfrm>
                  <a:off x="1096010" y="2111693"/>
                  <a:ext cx="8890" cy="12700"/>
                </a:xfrm>
                <a:custGeom>
                  <a:avLst/>
                  <a:gdLst/>
                  <a:ahLst/>
                  <a:cxnLst>
                    <a:cxn ang="0">
                      <a:pos x="0" y="2"/>
                    </a:cxn>
                    <a:cxn ang="0">
                      <a:pos x="0" y="2"/>
                    </a:cxn>
                    <a:cxn ang="0">
                      <a:pos x="2" y="8"/>
                    </a:cxn>
                    <a:cxn ang="0">
                      <a:pos x="10" y="18"/>
                    </a:cxn>
                    <a:cxn ang="0">
                      <a:pos x="10" y="18"/>
                    </a:cxn>
                    <a:cxn ang="0">
                      <a:pos x="14" y="20"/>
                    </a:cxn>
                    <a:cxn ang="0">
                      <a:pos x="14" y="16"/>
                    </a:cxn>
                    <a:cxn ang="0">
                      <a:pos x="12" y="12"/>
                    </a:cxn>
                    <a:cxn ang="0">
                      <a:pos x="10" y="8"/>
                    </a:cxn>
                    <a:cxn ang="0">
                      <a:pos x="10" y="8"/>
                    </a:cxn>
                    <a:cxn ang="0">
                      <a:pos x="4" y="0"/>
                    </a:cxn>
                    <a:cxn ang="0">
                      <a:pos x="2" y="0"/>
                    </a:cxn>
                    <a:cxn ang="0">
                      <a:pos x="0" y="2"/>
                    </a:cxn>
                    <a:cxn ang="0">
                      <a:pos x="0" y="2"/>
                    </a:cxn>
                  </a:cxnLst>
                  <a:rect l="0" t="0" r="r" b="b"/>
                  <a:pathLst>
                    <a:path w="14" h="20">
                      <a:moveTo>
                        <a:pt x="0" y="2"/>
                      </a:moveTo>
                      <a:lnTo>
                        <a:pt x="0" y="2"/>
                      </a:lnTo>
                      <a:lnTo>
                        <a:pt x="2" y="8"/>
                      </a:lnTo>
                      <a:lnTo>
                        <a:pt x="10" y="18"/>
                      </a:lnTo>
                      <a:lnTo>
                        <a:pt x="10" y="18"/>
                      </a:lnTo>
                      <a:lnTo>
                        <a:pt x="14" y="20"/>
                      </a:lnTo>
                      <a:lnTo>
                        <a:pt x="14" y="16"/>
                      </a:lnTo>
                      <a:lnTo>
                        <a:pt x="12" y="12"/>
                      </a:lnTo>
                      <a:lnTo>
                        <a:pt x="10" y="8"/>
                      </a:lnTo>
                      <a:lnTo>
                        <a:pt x="10" y="8"/>
                      </a:lnTo>
                      <a:lnTo>
                        <a:pt x="4" y="0"/>
                      </a:lnTo>
                      <a:lnTo>
                        <a:pt x="2" y="0"/>
                      </a:lnTo>
                      <a:lnTo>
                        <a:pt x="0" y="2"/>
                      </a:lnTo>
                      <a:lnTo>
                        <a:pt x="0"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7" name="Freeform 6052"/>
                <p:cNvSpPr>
                  <a:spLocks/>
                </p:cNvSpPr>
                <p:nvPr/>
              </p:nvSpPr>
              <p:spPr bwMode="auto">
                <a:xfrm>
                  <a:off x="1070610" y="2068513"/>
                  <a:ext cx="19050" cy="26670"/>
                </a:xfrm>
                <a:custGeom>
                  <a:avLst/>
                  <a:gdLst/>
                  <a:ahLst/>
                  <a:cxnLst>
                    <a:cxn ang="0">
                      <a:pos x="30" y="26"/>
                    </a:cxn>
                    <a:cxn ang="0">
                      <a:pos x="30" y="26"/>
                    </a:cxn>
                    <a:cxn ang="0">
                      <a:pos x="20" y="16"/>
                    </a:cxn>
                    <a:cxn ang="0">
                      <a:pos x="8" y="2"/>
                    </a:cxn>
                    <a:cxn ang="0">
                      <a:pos x="8" y="2"/>
                    </a:cxn>
                    <a:cxn ang="0">
                      <a:pos x="2" y="0"/>
                    </a:cxn>
                    <a:cxn ang="0">
                      <a:pos x="0" y="2"/>
                    </a:cxn>
                    <a:cxn ang="0">
                      <a:pos x="0" y="4"/>
                    </a:cxn>
                    <a:cxn ang="0">
                      <a:pos x="0" y="8"/>
                    </a:cxn>
                    <a:cxn ang="0">
                      <a:pos x="0" y="8"/>
                    </a:cxn>
                    <a:cxn ang="0">
                      <a:pos x="6" y="16"/>
                    </a:cxn>
                    <a:cxn ang="0">
                      <a:pos x="8" y="18"/>
                    </a:cxn>
                    <a:cxn ang="0">
                      <a:pos x="12" y="20"/>
                    </a:cxn>
                    <a:cxn ang="0">
                      <a:pos x="12" y="20"/>
                    </a:cxn>
                    <a:cxn ang="0">
                      <a:pos x="14" y="22"/>
                    </a:cxn>
                    <a:cxn ang="0">
                      <a:pos x="18" y="26"/>
                    </a:cxn>
                    <a:cxn ang="0">
                      <a:pos x="24" y="40"/>
                    </a:cxn>
                    <a:cxn ang="0">
                      <a:pos x="24" y="40"/>
                    </a:cxn>
                    <a:cxn ang="0">
                      <a:pos x="26" y="40"/>
                    </a:cxn>
                    <a:cxn ang="0">
                      <a:pos x="28" y="42"/>
                    </a:cxn>
                    <a:cxn ang="0">
                      <a:pos x="30" y="40"/>
                    </a:cxn>
                    <a:cxn ang="0">
                      <a:pos x="30" y="38"/>
                    </a:cxn>
                    <a:cxn ang="0">
                      <a:pos x="30" y="38"/>
                    </a:cxn>
                    <a:cxn ang="0">
                      <a:pos x="30" y="36"/>
                    </a:cxn>
                    <a:cxn ang="0">
                      <a:pos x="30" y="34"/>
                    </a:cxn>
                    <a:cxn ang="0">
                      <a:pos x="30" y="32"/>
                    </a:cxn>
                    <a:cxn ang="0">
                      <a:pos x="30" y="26"/>
                    </a:cxn>
                    <a:cxn ang="0">
                      <a:pos x="30" y="26"/>
                    </a:cxn>
                  </a:cxnLst>
                  <a:rect l="0" t="0" r="r" b="b"/>
                  <a:pathLst>
                    <a:path w="30" h="42">
                      <a:moveTo>
                        <a:pt x="30" y="26"/>
                      </a:moveTo>
                      <a:lnTo>
                        <a:pt x="30" y="26"/>
                      </a:lnTo>
                      <a:lnTo>
                        <a:pt x="20" y="16"/>
                      </a:lnTo>
                      <a:lnTo>
                        <a:pt x="8" y="2"/>
                      </a:lnTo>
                      <a:lnTo>
                        <a:pt x="8" y="2"/>
                      </a:lnTo>
                      <a:lnTo>
                        <a:pt x="2" y="0"/>
                      </a:lnTo>
                      <a:lnTo>
                        <a:pt x="0" y="2"/>
                      </a:lnTo>
                      <a:lnTo>
                        <a:pt x="0" y="4"/>
                      </a:lnTo>
                      <a:lnTo>
                        <a:pt x="0" y="8"/>
                      </a:lnTo>
                      <a:lnTo>
                        <a:pt x="0" y="8"/>
                      </a:lnTo>
                      <a:lnTo>
                        <a:pt x="6" y="16"/>
                      </a:lnTo>
                      <a:lnTo>
                        <a:pt x="8" y="18"/>
                      </a:lnTo>
                      <a:lnTo>
                        <a:pt x="12" y="20"/>
                      </a:lnTo>
                      <a:lnTo>
                        <a:pt x="12" y="20"/>
                      </a:lnTo>
                      <a:lnTo>
                        <a:pt x="14" y="22"/>
                      </a:lnTo>
                      <a:lnTo>
                        <a:pt x="18" y="26"/>
                      </a:lnTo>
                      <a:lnTo>
                        <a:pt x="24" y="40"/>
                      </a:lnTo>
                      <a:lnTo>
                        <a:pt x="24" y="40"/>
                      </a:lnTo>
                      <a:lnTo>
                        <a:pt x="26" y="40"/>
                      </a:lnTo>
                      <a:lnTo>
                        <a:pt x="28" y="42"/>
                      </a:lnTo>
                      <a:lnTo>
                        <a:pt x="30" y="40"/>
                      </a:lnTo>
                      <a:lnTo>
                        <a:pt x="30" y="38"/>
                      </a:lnTo>
                      <a:lnTo>
                        <a:pt x="30" y="38"/>
                      </a:lnTo>
                      <a:lnTo>
                        <a:pt x="30" y="36"/>
                      </a:lnTo>
                      <a:lnTo>
                        <a:pt x="30" y="34"/>
                      </a:lnTo>
                      <a:lnTo>
                        <a:pt x="30" y="32"/>
                      </a:lnTo>
                      <a:lnTo>
                        <a:pt x="30" y="26"/>
                      </a:lnTo>
                      <a:lnTo>
                        <a:pt x="30" y="2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8" name="Freeform 6053"/>
                <p:cNvSpPr>
                  <a:spLocks/>
                </p:cNvSpPr>
                <p:nvPr/>
              </p:nvSpPr>
              <p:spPr bwMode="auto">
                <a:xfrm>
                  <a:off x="1064260" y="2078673"/>
                  <a:ext cx="17780" cy="17780"/>
                </a:xfrm>
                <a:custGeom>
                  <a:avLst/>
                  <a:gdLst/>
                  <a:ahLst/>
                  <a:cxnLst>
                    <a:cxn ang="0">
                      <a:pos x="6" y="2"/>
                    </a:cxn>
                    <a:cxn ang="0">
                      <a:pos x="6" y="2"/>
                    </a:cxn>
                    <a:cxn ang="0">
                      <a:pos x="0" y="0"/>
                    </a:cxn>
                    <a:cxn ang="0">
                      <a:pos x="0" y="0"/>
                    </a:cxn>
                    <a:cxn ang="0">
                      <a:pos x="0" y="0"/>
                    </a:cxn>
                    <a:cxn ang="0">
                      <a:pos x="4" y="10"/>
                    </a:cxn>
                    <a:cxn ang="0">
                      <a:pos x="4" y="10"/>
                    </a:cxn>
                    <a:cxn ang="0">
                      <a:pos x="8" y="14"/>
                    </a:cxn>
                    <a:cxn ang="0">
                      <a:pos x="12" y="16"/>
                    </a:cxn>
                    <a:cxn ang="0">
                      <a:pos x="16" y="18"/>
                    </a:cxn>
                    <a:cxn ang="0">
                      <a:pos x="20" y="24"/>
                    </a:cxn>
                    <a:cxn ang="0">
                      <a:pos x="20" y="24"/>
                    </a:cxn>
                    <a:cxn ang="0">
                      <a:pos x="24" y="28"/>
                    </a:cxn>
                    <a:cxn ang="0">
                      <a:pos x="26" y="28"/>
                    </a:cxn>
                    <a:cxn ang="0">
                      <a:pos x="28" y="24"/>
                    </a:cxn>
                    <a:cxn ang="0">
                      <a:pos x="28" y="18"/>
                    </a:cxn>
                    <a:cxn ang="0">
                      <a:pos x="28" y="18"/>
                    </a:cxn>
                    <a:cxn ang="0">
                      <a:pos x="24" y="14"/>
                    </a:cxn>
                    <a:cxn ang="0">
                      <a:pos x="20" y="10"/>
                    </a:cxn>
                    <a:cxn ang="0">
                      <a:pos x="6" y="2"/>
                    </a:cxn>
                    <a:cxn ang="0">
                      <a:pos x="6" y="2"/>
                    </a:cxn>
                  </a:cxnLst>
                  <a:rect l="0" t="0" r="r" b="b"/>
                  <a:pathLst>
                    <a:path w="28" h="28">
                      <a:moveTo>
                        <a:pt x="6" y="2"/>
                      </a:moveTo>
                      <a:lnTo>
                        <a:pt x="6" y="2"/>
                      </a:lnTo>
                      <a:lnTo>
                        <a:pt x="0" y="0"/>
                      </a:lnTo>
                      <a:lnTo>
                        <a:pt x="0" y="0"/>
                      </a:lnTo>
                      <a:lnTo>
                        <a:pt x="0" y="0"/>
                      </a:lnTo>
                      <a:lnTo>
                        <a:pt x="4" y="10"/>
                      </a:lnTo>
                      <a:lnTo>
                        <a:pt x="4" y="10"/>
                      </a:lnTo>
                      <a:lnTo>
                        <a:pt x="8" y="14"/>
                      </a:lnTo>
                      <a:lnTo>
                        <a:pt x="12" y="16"/>
                      </a:lnTo>
                      <a:lnTo>
                        <a:pt x="16" y="18"/>
                      </a:lnTo>
                      <a:lnTo>
                        <a:pt x="20" y="24"/>
                      </a:lnTo>
                      <a:lnTo>
                        <a:pt x="20" y="24"/>
                      </a:lnTo>
                      <a:lnTo>
                        <a:pt x="24" y="28"/>
                      </a:lnTo>
                      <a:lnTo>
                        <a:pt x="26" y="28"/>
                      </a:lnTo>
                      <a:lnTo>
                        <a:pt x="28" y="24"/>
                      </a:lnTo>
                      <a:lnTo>
                        <a:pt x="28" y="18"/>
                      </a:lnTo>
                      <a:lnTo>
                        <a:pt x="28" y="18"/>
                      </a:lnTo>
                      <a:lnTo>
                        <a:pt x="24" y="14"/>
                      </a:lnTo>
                      <a:lnTo>
                        <a:pt x="20" y="10"/>
                      </a:lnTo>
                      <a:lnTo>
                        <a:pt x="6" y="2"/>
                      </a:lnTo>
                      <a:lnTo>
                        <a:pt x="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9" name="Freeform 6055"/>
                <p:cNvSpPr>
                  <a:spLocks/>
                </p:cNvSpPr>
                <p:nvPr/>
              </p:nvSpPr>
              <p:spPr bwMode="auto">
                <a:xfrm>
                  <a:off x="2825750" y="3357563"/>
                  <a:ext cx="6350" cy="11430"/>
                </a:xfrm>
                <a:custGeom>
                  <a:avLst/>
                  <a:gdLst/>
                  <a:ahLst/>
                  <a:cxnLst>
                    <a:cxn ang="0">
                      <a:pos x="0" y="4"/>
                    </a:cxn>
                    <a:cxn ang="0">
                      <a:pos x="0" y="4"/>
                    </a:cxn>
                    <a:cxn ang="0">
                      <a:pos x="0" y="10"/>
                    </a:cxn>
                    <a:cxn ang="0">
                      <a:pos x="2" y="16"/>
                    </a:cxn>
                    <a:cxn ang="0">
                      <a:pos x="4" y="18"/>
                    </a:cxn>
                    <a:cxn ang="0">
                      <a:pos x="8" y="18"/>
                    </a:cxn>
                    <a:cxn ang="0">
                      <a:pos x="8" y="18"/>
                    </a:cxn>
                    <a:cxn ang="0">
                      <a:pos x="10" y="16"/>
                    </a:cxn>
                    <a:cxn ang="0">
                      <a:pos x="10" y="14"/>
                    </a:cxn>
                    <a:cxn ang="0">
                      <a:pos x="10" y="8"/>
                    </a:cxn>
                    <a:cxn ang="0">
                      <a:pos x="10" y="8"/>
                    </a:cxn>
                    <a:cxn ang="0">
                      <a:pos x="8" y="6"/>
                    </a:cxn>
                    <a:cxn ang="0">
                      <a:pos x="6" y="2"/>
                    </a:cxn>
                    <a:cxn ang="0">
                      <a:pos x="2" y="0"/>
                    </a:cxn>
                    <a:cxn ang="0">
                      <a:pos x="2" y="0"/>
                    </a:cxn>
                    <a:cxn ang="0">
                      <a:pos x="0" y="4"/>
                    </a:cxn>
                    <a:cxn ang="0">
                      <a:pos x="0" y="4"/>
                    </a:cxn>
                  </a:cxnLst>
                  <a:rect l="0" t="0" r="r" b="b"/>
                  <a:pathLst>
                    <a:path w="10" h="18">
                      <a:moveTo>
                        <a:pt x="0" y="4"/>
                      </a:moveTo>
                      <a:lnTo>
                        <a:pt x="0" y="4"/>
                      </a:lnTo>
                      <a:lnTo>
                        <a:pt x="0" y="10"/>
                      </a:lnTo>
                      <a:lnTo>
                        <a:pt x="2" y="16"/>
                      </a:lnTo>
                      <a:lnTo>
                        <a:pt x="4" y="18"/>
                      </a:lnTo>
                      <a:lnTo>
                        <a:pt x="8" y="18"/>
                      </a:lnTo>
                      <a:lnTo>
                        <a:pt x="8" y="18"/>
                      </a:lnTo>
                      <a:lnTo>
                        <a:pt x="10" y="16"/>
                      </a:lnTo>
                      <a:lnTo>
                        <a:pt x="10" y="14"/>
                      </a:lnTo>
                      <a:lnTo>
                        <a:pt x="10" y="8"/>
                      </a:lnTo>
                      <a:lnTo>
                        <a:pt x="10" y="8"/>
                      </a:lnTo>
                      <a:lnTo>
                        <a:pt x="8" y="6"/>
                      </a:lnTo>
                      <a:lnTo>
                        <a:pt x="6" y="2"/>
                      </a:lnTo>
                      <a:lnTo>
                        <a:pt x="2" y="0"/>
                      </a:lnTo>
                      <a:lnTo>
                        <a:pt x="2" y="0"/>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0" name="Freeform 6056"/>
                <p:cNvSpPr>
                  <a:spLocks/>
                </p:cNvSpPr>
                <p:nvPr/>
              </p:nvSpPr>
              <p:spPr bwMode="auto">
                <a:xfrm>
                  <a:off x="2833370" y="3381693"/>
                  <a:ext cx="6350" cy="11430"/>
                </a:xfrm>
                <a:custGeom>
                  <a:avLst/>
                  <a:gdLst/>
                  <a:ahLst/>
                  <a:cxnLst>
                    <a:cxn ang="0">
                      <a:pos x="2" y="8"/>
                    </a:cxn>
                    <a:cxn ang="0">
                      <a:pos x="2" y="8"/>
                    </a:cxn>
                    <a:cxn ang="0">
                      <a:pos x="4" y="12"/>
                    </a:cxn>
                    <a:cxn ang="0">
                      <a:pos x="6" y="16"/>
                    </a:cxn>
                    <a:cxn ang="0">
                      <a:pos x="6" y="18"/>
                    </a:cxn>
                    <a:cxn ang="0">
                      <a:pos x="8" y="18"/>
                    </a:cxn>
                    <a:cxn ang="0">
                      <a:pos x="8" y="18"/>
                    </a:cxn>
                    <a:cxn ang="0">
                      <a:pos x="10" y="14"/>
                    </a:cxn>
                    <a:cxn ang="0">
                      <a:pos x="10" y="10"/>
                    </a:cxn>
                    <a:cxn ang="0">
                      <a:pos x="10" y="4"/>
                    </a:cxn>
                    <a:cxn ang="0">
                      <a:pos x="6" y="0"/>
                    </a:cxn>
                    <a:cxn ang="0">
                      <a:pos x="6" y="0"/>
                    </a:cxn>
                    <a:cxn ang="0">
                      <a:pos x="2" y="0"/>
                    </a:cxn>
                    <a:cxn ang="0">
                      <a:pos x="0" y="0"/>
                    </a:cxn>
                    <a:cxn ang="0">
                      <a:pos x="0" y="4"/>
                    </a:cxn>
                    <a:cxn ang="0">
                      <a:pos x="2" y="8"/>
                    </a:cxn>
                    <a:cxn ang="0">
                      <a:pos x="2" y="8"/>
                    </a:cxn>
                  </a:cxnLst>
                  <a:rect l="0" t="0" r="r" b="b"/>
                  <a:pathLst>
                    <a:path w="10" h="18">
                      <a:moveTo>
                        <a:pt x="2" y="8"/>
                      </a:moveTo>
                      <a:lnTo>
                        <a:pt x="2" y="8"/>
                      </a:lnTo>
                      <a:lnTo>
                        <a:pt x="4" y="12"/>
                      </a:lnTo>
                      <a:lnTo>
                        <a:pt x="6" y="16"/>
                      </a:lnTo>
                      <a:lnTo>
                        <a:pt x="6" y="18"/>
                      </a:lnTo>
                      <a:lnTo>
                        <a:pt x="8" y="18"/>
                      </a:lnTo>
                      <a:lnTo>
                        <a:pt x="8" y="18"/>
                      </a:lnTo>
                      <a:lnTo>
                        <a:pt x="10" y="14"/>
                      </a:lnTo>
                      <a:lnTo>
                        <a:pt x="10" y="10"/>
                      </a:lnTo>
                      <a:lnTo>
                        <a:pt x="10" y="4"/>
                      </a:lnTo>
                      <a:lnTo>
                        <a:pt x="6" y="0"/>
                      </a:lnTo>
                      <a:lnTo>
                        <a:pt x="6" y="0"/>
                      </a:lnTo>
                      <a:lnTo>
                        <a:pt x="2" y="0"/>
                      </a:lnTo>
                      <a:lnTo>
                        <a:pt x="0" y="0"/>
                      </a:lnTo>
                      <a:lnTo>
                        <a:pt x="0" y="4"/>
                      </a:lnTo>
                      <a:lnTo>
                        <a:pt x="2" y="8"/>
                      </a:lnTo>
                      <a:lnTo>
                        <a:pt x="2"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1" name="Freeform 6057"/>
                <p:cNvSpPr>
                  <a:spLocks/>
                </p:cNvSpPr>
                <p:nvPr/>
              </p:nvSpPr>
              <p:spPr bwMode="auto">
                <a:xfrm>
                  <a:off x="2832100" y="3353753"/>
                  <a:ext cx="10160" cy="8890"/>
                </a:xfrm>
                <a:custGeom>
                  <a:avLst/>
                  <a:gdLst/>
                  <a:ahLst/>
                  <a:cxnLst>
                    <a:cxn ang="0">
                      <a:pos x="0" y="12"/>
                    </a:cxn>
                    <a:cxn ang="0">
                      <a:pos x="0" y="12"/>
                    </a:cxn>
                    <a:cxn ang="0">
                      <a:pos x="4" y="14"/>
                    </a:cxn>
                    <a:cxn ang="0">
                      <a:pos x="8" y="12"/>
                    </a:cxn>
                    <a:cxn ang="0">
                      <a:pos x="8" y="12"/>
                    </a:cxn>
                    <a:cxn ang="0">
                      <a:pos x="12" y="12"/>
                    </a:cxn>
                    <a:cxn ang="0">
                      <a:pos x="14" y="12"/>
                    </a:cxn>
                    <a:cxn ang="0">
                      <a:pos x="16" y="14"/>
                    </a:cxn>
                    <a:cxn ang="0">
                      <a:pos x="16" y="12"/>
                    </a:cxn>
                    <a:cxn ang="0">
                      <a:pos x="16" y="12"/>
                    </a:cxn>
                    <a:cxn ang="0">
                      <a:pos x="14" y="8"/>
                    </a:cxn>
                    <a:cxn ang="0">
                      <a:pos x="12" y="8"/>
                    </a:cxn>
                    <a:cxn ang="0">
                      <a:pos x="10" y="6"/>
                    </a:cxn>
                    <a:cxn ang="0">
                      <a:pos x="8" y="4"/>
                    </a:cxn>
                    <a:cxn ang="0">
                      <a:pos x="8" y="4"/>
                    </a:cxn>
                    <a:cxn ang="0">
                      <a:pos x="6" y="0"/>
                    </a:cxn>
                    <a:cxn ang="0">
                      <a:pos x="4" y="0"/>
                    </a:cxn>
                    <a:cxn ang="0">
                      <a:pos x="2" y="0"/>
                    </a:cxn>
                    <a:cxn ang="0">
                      <a:pos x="2" y="2"/>
                    </a:cxn>
                    <a:cxn ang="0">
                      <a:pos x="2" y="2"/>
                    </a:cxn>
                    <a:cxn ang="0">
                      <a:pos x="2" y="6"/>
                    </a:cxn>
                    <a:cxn ang="0">
                      <a:pos x="2" y="8"/>
                    </a:cxn>
                    <a:cxn ang="0">
                      <a:pos x="0" y="10"/>
                    </a:cxn>
                    <a:cxn ang="0">
                      <a:pos x="0" y="12"/>
                    </a:cxn>
                    <a:cxn ang="0">
                      <a:pos x="0" y="12"/>
                    </a:cxn>
                  </a:cxnLst>
                  <a:rect l="0" t="0" r="r" b="b"/>
                  <a:pathLst>
                    <a:path w="16" h="14">
                      <a:moveTo>
                        <a:pt x="0" y="12"/>
                      </a:moveTo>
                      <a:lnTo>
                        <a:pt x="0" y="12"/>
                      </a:lnTo>
                      <a:lnTo>
                        <a:pt x="4" y="14"/>
                      </a:lnTo>
                      <a:lnTo>
                        <a:pt x="8" y="12"/>
                      </a:lnTo>
                      <a:lnTo>
                        <a:pt x="8" y="12"/>
                      </a:lnTo>
                      <a:lnTo>
                        <a:pt x="12" y="12"/>
                      </a:lnTo>
                      <a:lnTo>
                        <a:pt x="14" y="12"/>
                      </a:lnTo>
                      <a:lnTo>
                        <a:pt x="16" y="14"/>
                      </a:lnTo>
                      <a:lnTo>
                        <a:pt x="16" y="12"/>
                      </a:lnTo>
                      <a:lnTo>
                        <a:pt x="16" y="12"/>
                      </a:lnTo>
                      <a:lnTo>
                        <a:pt x="14" y="8"/>
                      </a:lnTo>
                      <a:lnTo>
                        <a:pt x="12" y="8"/>
                      </a:lnTo>
                      <a:lnTo>
                        <a:pt x="10" y="6"/>
                      </a:lnTo>
                      <a:lnTo>
                        <a:pt x="8" y="4"/>
                      </a:lnTo>
                      <a:lnTo>
                        <a:pt x="8" y="4"/>
                      </a:lnTo>
                      <a:lnTo>
                        <a:pt x="6" y="0"/>
                      </a:lnTo>
                      <a:lnTo>
                        <a:pt x="4" y="0"/>
                      </a:lnTo>
                      <a:lnTo>
                        <a:pt x="2" y="0"/>
                      </a:lnTo>
                      <a:lnTo>
                        <a:pt x="2" y="2"/>
                      </a:lnTo>
                      <a:lnTo>
                        <a:pt x="2" y="2"/>
                      </a:lnTo>
                      <a:lnTo>
                        <a:pt x="2" y="6"/>
                      </a:lnTo>
                      <a:lnTo>
                        <a:pt x="2" y="8"/>
                      </a:lnTo>
                      <a:lnTo>
                        <a:pt x="0" y="10"/>
                      </a:lnTo>
                      <a:lnTo>
                        <a:pt x="0" y="12"/>
                      </a:lnTo>
                      <a:lnTo>
                        <a:pt x="0" y="1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2" name="Freeform 6058"/>
                <p:cNvSpPr>
                  <a:spLocks/>
                </p:cNvSpPr>
                <p:nvPr/>
              </p:nvSpPr>
              <p:spPr bwMode="auto">
                <a:xfrm>
                  <a:off x="2844800" y="3428683"/>
                  <a:ext cx="6350" cy="11430"/>
                </a:xfrm>
                <a:custGeom>
                  <a:avLst/>
                  <a:gdLst/>
                  <a:ahLst/>
                  <a:cxnLst>
                    <a:cxn ang="0">
                      <a:pos x="4" y="2"/>
                    </a:cxn>
                    <a:cxn ang="0">
                      <a:pos x="4" y="2"/>
                    </a:cxn>
                    <a:cxn ang="0">
                      <a:pos x="2" y="6"/>
                    </a:cxn>
                    <a:cxn ang="0">
                      <a:pos x="0" y="10"/>
                    </a:cxn>
                    <a:cxn ang="0">
                      <a:pos x="0" y="14"/>
                    </a:cxn>
                    <a:cxn ang="0">
                      <a:pos x="2" y="18"/>
                    </a:cxn>
                    <a:cxn ang="0">
                      <a:pos x="2" y="18"/>
                    </a:cxn>
                    <a:cxn ang="0">
                      <a:pos x="6" y="18"/>
                    </a:cxn>
                    <a:cxn ang="0">
                      <a:pos x="6" y="18"/>
                    </a:cxn>
                    <a:cxn ang="0">
                      <a:pos x="8" y="10"/>
                    </a:cxn>
                    <a:cxn ang="0">
                      <a:pos x="8" y="10"/>
                    </a:cxn>
                    <a:cxn ang="0">
                      <a:pos x="10" y="6"/>
                    </a:cxn>
                    <a:cxn ang="0">
                      <a:pos x="8" y="2"/>
                    </a:cxn>
                    <a:cxn ang="0">
                      <a:pos x="6" y="0"/>
                    </a:cxn>
                    <a:cxn ang="0">
                      <a:pos x="4" y="2"/>
                    </a:cxn>
                    <a:cxn ang="0">
                      <a:pos x="4" y="2"/>
                    </a:cxn>
                  </a:cxnLst>
                  <a:rect l="0" t="0" r="r" b="b"/>
                  <a:pathLst>
                    <a:path w="10" h="18">
                      <a:moveTo>
                        <a:pt x="4" y="2"/>
                      </a:moveTo>
                      <a:lnTo>
                        <a:pt x="4" y="2"/>
                      </a:lnTo>
                      <a:lnTo>
                        <a:pt x="2" y="6"/>
                      </a:lnTo>
                      <a:lnTo>
                        <a:pt x="0" y="10"/>
                      </a:lnTo>
                      <a:lnTo>
                        <a:pt x="0" y="14"/>
                      </a:lnTo>
                      <a:lnTo>
                        <a:pt x="2" y="18"/>
                      </a:lnTo>
                      <a:lnTo>
                        <a:pt x="2" y="18"/>
                      </a:lnTo>
                      <a:lnTo>
                        <a:pt x="6" y="18"/>
                      </a:lnTo>
                      <a:lnTo>
                        <a:pt x="6" y="18"/>
                      </a:lnTo>
                      <a:lnTo>
                        <a:pt x="8" y="10"/>
                      </a:lnTo>
                      <a:lnTo>
                        <a:pt x="8" y="10"/>
                      </a:lnTo>
                      <a:lnTo>
                        <a:pt x="10" y="6"/>
                      </a:lnTo>
                      <a:lnTo>
                        <a:pt x="8" y="2"/>
                      </a:lnTo>
                      <a:lnTo>
                        <a:pt x="6" y="0"/>
                      </a:lnTo>
                      <a:lnTo>
                        <a:pt x="4" y="2"/>
                      </a:lnTo>
                      <a:lnTo>
                        <a:pt x="4"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3" name="Freeform 6059"/>
                <p:cNvSpPr>
                  <a:spLocks/>
                </p:cNvSpPr>
                <p:nvPr/>
              </p:nvSpPr>
              <p:spPr bwMode="auto">
                <a:xfrm>
                  <a:off x="2824480" y="3332163"/>
                  <a:ext cx="5080" cy="5080"/>
                </a:xfrm>
                <a:custGeom>
                  <a:avLst/>
                  <a:gdLst/>
                  <a:ahLst/>
                  <a:cxnLst>
                    <a:cxn ang="0">
                      <a:pos x="2" y="8"/>
                    </a:cxn>
                    <a:cxn ang="0">
                      <a:pos x="2" y="8"/>
                    </a:cxn>
                    <a:cxn ang="0">
                      <a:pos x="6" y="8"/>
                    </a:cxn>
                    <a:cxn ang="0">
                      <a:pos x="8" y="6"/>
                    </a:cxn>
                    <a:cxn ang="0">
                      <a:pos x="8" y="4"/>
                    </a:cxn>
                    <a:cxn ang="0">
                      <a:pos x="4" y="2"/>
                    </a:cxn>
                    <a:cxn ang="0">
                      <a:pos x="4" y="2"/>
                    </a:cxn>
                    <a:cxn ang="0">
                      <a:pos x="2" y="0"/>
                    </a:cxn>
                    <a:cxn ang="0">
                      <a:pos x="0" y="4"/>
                    </a:cxn>
                    <a:cxn ang="0">
                      <a:pos x="0" y="6"/>
                    </a:cxn>
                    <a:cxn ang="0">
                      <a:pos x="2" y="8"/>
                    </a:cxn>
                    <a:cxn ang="0">
                      <a:pos x="2" y="8"/>
                    </a:cxn>
                  </a:cxnLst>
                  <a:rect l="0" t="0" r="r" b="b"/>
                  <a:pathLst>
                    <a:path w="8" h="8">
                      <a:moveTo>
                        <a:pt x="2" y="8"/>
                      </a:moveTo>
                      <a:lnTo>
                        <a:pt x="2" y="8"/>
                      </a:lnTo>
                      <a:lnTo>
                        <a:pt x="6" y="8"/>
                      </a:lnTo>
                      <a:lnTo>
                        <a:pt x="8" y="6"/>
                      </a:lnTo>
                      <a:lnTo>
                        <a:pt x="8" y="4"/>
                      </a:lnTo>
                      <a:lnTo>
                        <a:pt x="4" y="2"/>
                      </a:lnTo>
                      <a:lnTo>
                        <a:pt x="4" y="2"/>
                      </a:lnTo>
                      <a:lnTo>
                        <a:pt x="2" y="0"/>
                      </a:lnTo>
                      <a:lnTo>
                        <a:pt x="0" y="4"/>
                      </a:lnTo>
                      <a:lnTo>
                        <a:pt x="0" y="6"/>
                      </a:lnTo>
                      <a:lnTo>
                        <a:pt x="2" y="8"/>
                      </a:lnTo>
                      <a:lnTo>
                        <a:pt x="2"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4" name="Freeform 6060"/>
                <p:cNvSpPr>
                  <a:spLocks/>
                </p:cNvSpPr>
                <p:nvPr/>
              </p:nvSpPr>
              <p:spPr bwMode="auto">
                <a:xfrm>
                  <a:off x="2839720" y="3451543"/>
                  <a:ext cx="3810" cy="7620"/>
                </a:xfrm>
                <a:custGeom>
                  <a:avLst/>
                  <a:gdLst/>
                  <a:ahLst/>
                  <a:cxnLst>
                    <a:cxn ang="0">
                      <a:pos x="4" y="0"/>
                    </a:cxn>
                    <a:cxn ang="0">
                      <a:pos x="4" y="0"/>
                    </a:cxn>
                    <a:cxn ang="0">
                      <a:pos x="2" y="0"/>
                    </a:cxn>
                    <a:cxn ang="0">
                      <a:pos x="0" y="2"/>
                    </a:cxn>
                    <a:cxn ang="0">
                      <a:pos x="0" y="8"/>
                    </a:cxn>
                    <a:cxn ang="0">
                      <a:pos x="2" y="12"/>
                    </a:cxn>
                    <a:cxn ang="0">
                      <a:pos x="2" y="12"/>
                    </a:cxn>
                    <a:cxn ang="0">
                      <a:pos x="4" y="12"/>
                    </a:cxn>
                    <a:cxn ang="0">
                      <a:pos x="6" y="8"/>
                    </a:cxn>
                    <a:cxn ang="0">
                      <a:pos x="6" y="2"/>
                    </a:cxn>
                    <a:cxn ang="0">
                      <a:pos x="4" y="0"/>
                    </a:cxn>
                    <a:cxn ang="0">
                      <a:pos x="4" y="0"/>
                    </a:cxn>
                  </a:cxnLst>
                  <a:rect l="0" t="0" r="r" b="b"/>
                  <a:pathLst>
                    <a:path w="6" h="12">
                      <a:moveTo>
                        <a:pt x="4" y="0"/>
                      </a:moveTo>
                      <a:lnTo>
                        <a:pt x="4" y="0"/>
                      </a:lnTo>
                      <a:lnTo>
                        <a:pt x="2" y="0"/>
                      </a:lnTo>
                      <a:lnTo>
                        <a:pt x="0" y="2"/>
                      </a:lnTo>
                      <a:lnTo>
                        <a:pt x="0" y="8"/>
                      </a:lnTo>
                      <a:lnTo>
                        <a:pt x="2" y="12"/>
                      </a:lnTo>
                      <a:lnTo>
                        <a:pt x="2" y="12"/>
                      </a:lnTo>
                      <a:lnTo>
                        <a:pt x="4" y="12"/>
                      </a:lnTo>
                      <a:lnTo>
                        <a:pt x="6" y="8"/>
                      </a:lnTo>
                      <a:lnTo>
                        <a:pt x="6" y="2"/>
                      </a:lnTo>
                      <a:lnTo>
                        <a:pt x="4" y="0"/>
                      </a:lnTo>
                      <a:lnTo>
                        <a:pt x="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5" name="Freeform 6061"/>
                <p:cNvSpPr>
                  <a:spLocks/>
                </p:cNvSpPr>
                <p:nvPr/>
              </p:nvSpPr>
              <p:spPr bwMode="auto">
                <a:xfrm>
                  <a:off x="2840990" y="3404553"/>
                  <a:ext cx="11430" cy="15240"/>
                </a:xfrm>
                <a:custGeom>
                  <a:avLst/>
                  <a:gdLst/>
                  <a:ahLst/>
                  <a:cxnLst>
                    <a:cxn ang="0">
                      <a:pos x="10" y="20"/>
                    </a:cxn>
                    <a:cxn ang="0">
                      <a:pos x="10" y="20"/>
                    </a:cxn>
                    <a:cxn ang="0">
                      <a:pos x="12" y="22"/>
                    </a:cxn>
                    <a:cxn ang="0">
                      <a:pos x="14" y="22"/>
                    </a:cxn>
                    <a:cxn ang="0">
                      <a:pos x="14" y="24"/>
                    </a:cxn>
                    <a:cxn ang="0">
                      <a:pos x="16" y="24"/>
                    </a:cxn>
                    <a:cxn ang="0">
                      <a:pos x="16" y="24"/>
                    </a:cxn>
                    <a:cxn ang="0">
                      <a:pos x="18" y="22"/>
                    </a:cxn>
                    <a:cxn ang="0">
                      <a:pos x="18" y="16"/>
                    </a:cxn>
                    <a:cxn ang="0">
                      <a:pos x="14" y="10"/>
                    </a:cxn>
                    <a:cxn ang="0">
                      <a:pos x="10" y="4"/>
                    </a:cxn>
                    <a:cxn ang="0">
                      <a:pos x="10" y="4"/>
                    </a:cxn>
                    <a:cxn ang="0">
                      <a:pos x="6" y="0"/>
                    </a:cxn>
                    <a:cxn ang="0">
                      <a:pos x="2" y="0"/>
                    </a:cxn>
                    <a:cxn ang="0">
                      <a:pos x="0" y="2"/>
                    </a:cxn>
                    <a:cxn ang="0">
                      <a:pos x="2" y="6"/>
                    </a:cxn>
                    <a:cxn ang="0">
                      <a:pos x="2" y="6"/>
                    </a:cxn>
                    <a:cxn ang="0">
                      <a:pos x="4" y="12"/>
                    </a:cxn>
                    <a:cxn ang="0">
                      <a:pos x="4" y="16"/>
                    </a:cxn>
                    <a:cxn ang="0">
                      <a:pos x="6" y="18"/>
                    </a:cxn>
                    <a:cxn ang="0">
                      <a:pos x="10" y="20"/>
                    </a:cxn>
                    <a:cxn ang="0">
                      <a:pos x="10" y="20"/>
                    </a:cxn>
                  </a:cxnLst>
                  <a:rect l="0" t="0" r="r" b="b"/>
                  <a:pathLst>
                    <a:path w="18" h="24">
                      <a:moveTo>
                        <a:pt x="10" y="20"/>
                      </a:moveTo>
                      <a:lnTo>
                        <a:pt x="10" y="20"/>
                      </a:lnTo>
                      <a:lnTo>
                        <a:pt x="12" y="22"/>
                      </a:lnTo>
                      <a:lnTo>
                        <a:pt x="14" y="22"/>
                      </a:lnTo>
                      <a:lnTo>
                        <a:pt x="14" y="24"/>
                      </a:lnTo>
                      <a:lnTo>
                        <a:pt x="16" y="24"/>
                      </a:lnTo>
                      <a:lnTo>
                        <a:pt x="16" y="24"/>
                      </a:lnTo>
                      <a:lnTo>
                        <a:pt x="18" y="22"/>
                      </a:lnTo>
                      <a:lnTo>
                        <a:pt x="18" y="16"/>
                      </a:lnTo>
                      <a:lnTo>
                        <a:pt x="14" y="10"/>
                      </a:lnTo>
                      <a:lnTo>
                        <a:pt x="10" y="4"/>
                      </a:lnTo>
                      <a:lnTo>
                        <a:pt x="10" y="4"/>
                      </a:lnTo>
                      <a:lnTo>
                        <a:pt x="6" y="0"/>
                      </a:lnTo>
                      <a:lnTo>
                        <a:pt x="2" y="0"/>
                      </a:lnTo>
                      <a:lnTo>
                        <a:pt x="0" y="2"/>
                      </a:lnTo>
                      <a:lnTo>
                        <a:pt x="2" y="6"/>
                      </a:lnTo>
                      <a:lnTo>
                        <a:pt x="2" y="6"/>
                      </a:lnTo>
                      <a:lnTo>
                        <a:pt x="4" y="12"/>
                      </a:lnTo>
                      <a:lnTo>
                        <a:pt x="4" y="16"/>
                      </a:lnTo>
                      <a:lnTo>
                        <a:pt x="6" y="18"/>
                      </a:lnTo>
                      <a:lnTo>
                        <a:pt x="10" y="20"/>
                      </a:lnTo>
                      <a:lnTo>
                        <a:pt x="10" y="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6" name="Freeform 6062"/>
                <p:cNvSpPr>
                  <a:spLocks/>
                </p:cNvSpPr>
                <p:nvPr/>
              </p:nvSpPr>
              <p:spPr bwMode="auto">
                <a:xfrm>
                  <a:off x="2827020" y="3487103"/>
                  <a:ext cx="5080" cy="7620"/>
                </a:xfrm>
                <a:custGeom>
                  <a:avLst/>
                  <a:gdLst/>
                  <a:ahLst/>
                  <a:cxnLst>
                    <a:cxn ang="0">
                      <a:pos x="4" y="0"/>
                    </a:cxn>
                    <a:cxn ang="0">
                      <a:pos x="4" y="0"/>
                    </a:cxn>
                    <a:cxn ang="0">
                      <a:pos x="2" y="2"/>
                    </a:cxn>
                    <a:cxn ang="0">
                      <a:pos x="0" y="6"/>
                    </a:cxn>
                    <a:cxn ang="0">
                      <a:pos x="0" y="10"/>
                    </a:cxn>
                    <a:cxn ang="0">
                      <a:pos x="4" y="12"/>
                    </a:cxn>
                    <a:cxn ang="0">
                      <a:pos x="4" y="12"/>
                    </a:cxn>
                    <a:cxn ang="0">
                      <a:pos x="6" y="10"/>
                    </a:cxn>
                    <a:cxn ang="0">
                      <a:pos x="8" y="6"/>
                    </a:cxn>
                    <a:cxn ang="0">
                      <a:pos x="6" y="2"/>
                    </a:cxn>
                    <a:cxn ang="0">
                      <a:pos x="4" y="0"/>
                    </a:cxn>
                    <a:cxn ang="0">
                      <a:pos x="4" y="0"/>
                    </a:cxn>
                  </a:cxnLst>
                  <a:rect l="0" t="0" r="r" b="b"/>
                  <a:pathLst>
                    <a:path w="8" h="12">
                      <a:moveTo>
                        <a:pt x="4" y="0"/>
                      </a:moveTo>
                      <a:lnTo>
                        <a:pt x="4" y="0"/>
                      </a:lnTo>
                      <a:lnTo>
                        <a:pt x="2" y="2"/>
                      </a:lnTo>
                      <a:lnTo>
                        <a:pt x="0" y="6"/>
                      </a:lnTo>
                      <a:lnTo>
                        <a:pt x="0" y="10"/>
                      </a:lnTo>
                      <a:lnTo>
                        <a:pt x="4" y="12"/>
                      </a:lnTo>
                      <a:lnTo>
                        <a:pt x="4" y="12"/>
                      </a:lnTo>
                      <a:lnTo>
                        <a:pt x="6" y="10"/>
                      </a:lnTo>
                      <a:lnTo>
                        <a:pt x="8" y="6"/>
                      </a:lnTo>
                      <a:lnTo>
                        <a:pt x="6" y="2"/>
                      </a:lnTo>
                      <a:lnTo>
                        <a:pt x="4" y="0"/>
                      </a:lnTo>
                      <a:lnTo>
                        <a:pt x="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7" name="Freeform 6063"/>
                <p:cNvSpPr>
                  <a:spLocks/>
                </p:cNvSpPr>
                <p:nvPr/>
              </p:nvSpPr>
              <p:spPr bwMode="auto">
                <a:xfrm>
                  <a:off x="2838450" y="3368993"/>
                  <a:ext cx="2540" cy="3810"/>
                </a:xfrm>
                <a:custGeom>
                  <a:avLst/>
                  <a:gdLst/>
                  <a:ahLst/>
                  <a:cxnLst>
                    <a:cxn ang="0">
                      <a:pos x="4" y="6"/>
                    </a:cxn>
                    <a:cxn ang="0">
                      <a:pos x="4" y="6"/>
                    </a:cxn>
                    <a:cxn ang="0">
                      <a:pos x="4" y="6"/>
                    </a:cxn>
                    <a:cxn ang="0">
                      <a:pos x="4" y="4"/>
                    </a:cxn>
                    <a:cxn ang="0">
                      <a:pos x="2" y="2"/>
                    </a:cxn>
                    <a:cxn ang="0">
                      <a:pos x="2" y="0"/>
                    </a:cxn>
                    <a:cxn ang="0">
                      <a:pos x="2" y="0"/>
                    </a:cxn>
                    <a:cxn ang="0">
                      <a:pos x="0" y="2"/>
                    </a:cxn>
                    <a:cxn ang="0">
                      <a:pos x="0" y="4"/>
                    </a:cxn>
                    <a:cxn ang="0">
                      <a:pos x="0" y="6"/>
                    </a:cxn>
                    <a:cxn ang="0">
                      <a:pos x="4" y="6"/>
                    </a:cxn>
                    <a:cxn ang="0">
                      <a:pos x="4" y="6"/>
                    </a:cxn>
                  </a:cxnLst>
                  <a:rect l="0" t="0" r="r" b="b"/>
                  <a:pathLst>
                    <a:path w="4" h="6">
                      <a:moveTo>
                        <a:pt x="4" y="6"/>
                      </a:moveTo>
                      <a:lnTo>
                        <a:pt x="4" y="6"/>
                      </a:lnTo>
                      <a:lnTo>
                        <a:pt x="4" y="6"/>
                      </a:lnTo>
                      <a:lnTo>
                        <a:pt x="4" y="4"/>
                      </a:lnTo>
                      <a:lnTo>
                        <a:pt x="2" y="2"/>
                      </a:lnTo>
                      <a:lnTo>
                        <a:pt x="2" y="0"/>
                      </a:lnTo>
                      <a:lnTo>
                        <a:pt x="2" y="0"/>
                      </a:lnTo>
                      <a:lnTo>
                        <a:pt x="0" y="2"/>
                      </a:lnTo>
                      <a:lnTo>
                        <a:pt x="0" y="4"/>
                      </a:lnTo>
                      <a:lnTo>
                        <a:pt x="0" y="6"/>
                      </a:lnTo>
                      <a:lnTo>
                        <a:pt x="4" y="6"/>
                      </a:lnTo>
                      <a:lnTo>
                        <a:pt x="4"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8" name="Freeform 6064"/>
                <p:cNvSpPr>
                  <a:spLocks/>
                </p:cNvSpPr>
                <p:nvPr/>
              </p:nvSpPr>
              <p:spPr bwMode="auto">
                <a:xfrm>
                  <a:off x="2823210" y="3530283"/>
                  <a:ext cx="26670" cy="25400"/>
                </a:xfrm>
                <a:custGeom>
                  <a:avLst/>
                  <a:gdLst/>
                  <a:ahLst/>
                  <a:cxnLst>
                    <a:cxn ang="0">
                      <a:pos x="18" y="4"/>
                    </a:cxn>
                    <a:cxn ang="0">
                      <a:pos x="18" y="4"/>
                    </a:cxn>
                    <a:cxn ang="0">
                      <a:pos x="10" y="6"/>
                    </a:cxn>
                    <a:cxn ang="0">
                      <a:pos x="10" y="6"/>
                    </a:cxn>
                    <a:cxn ang="0">
                      <a:pos x="10" y="8"/>
                    </a:cxn>
                    <a:cxn ang="0">
                      <a:pos x="16" y="12"/>
                    </a:cxn>
                    <a:cxn ang="0">
                      <a:pos x="16" y="16"/>
                    </a:cxn>
                    <a:cxn ang="0">
                      <a:pos x="18" y="18"/>
                    </a:cxn>
                    <a:cxn ang="0">
                      <a:pos x="18" y="18"/>
                    </a:cxn>
                    <a:cxn ang="0">
                      <a:pos x="18" y="24"/>
                    </a:cxn>
                    <a:cxn ang="0">
                      <a:pos x="16" y="28"/>
                    </a:cxn>
                    <a:cxn ang="0">
                      <a:pos x="4" y="34"/>
                    </a:cxn>
                    <a:cxn ang="0">
                      <a:pos x="4" y="34"/>
                    </a:cxn>
                    <a:cxn ang="0">
                      <a:pos x="0" y="38"/>
                    </a:cxn>
                    <a:cxn ang="0">
                      <a:pos x="0" y="40"/>
                    </a:cxn>
                    <a:cxn ang="0">
                      <a:pos x="2" y="40"/>
                    </a:cxn>
                    <a:cxn ang="0">
                      <a:pos x="22" y="40"/>
                    </a:cxn>
                    <a:cxn ang="0">
                      <a:pos x="22" y="40"/>
                    </a:cxn>
                    <a:cxn ang="0">
                      <a:pos x="30" y="38"/>
                    </a:cxn>
                    <a:cxn ang="0">
                      <a:pos x="36" y="34"/>
                    </a:cxn>
                    <a:cxn ang="0">
                      <a:pos x="38" y="30"/>
                    </a:cxn>
                    <a:cxn ang="0">
                      <a:pos x="38" y="26"/>
                    </a:cxn>
                    <a:cxn ang="0">
                      <a:pos x="36" y="14"/>
                    </a:cxn>
                    <a:cxn ang="0">
                      <a:pos x="36" y="10"/>
                    </a:cxn>
                    <a:cxn ang="0">
                      <a:pos x="38" y="6"/>
                    </a:cxn>
                    <a:cxn ang="0">
                      <a:pos x="38" y="6"/>
                    </a:cxn>
                    <a:cxn ang="0">
                      <a:pos x="42" y="2"/>
                    </a:cxn>
                    <a:cxn ang="0">
                      <a:pos x="38" y="0"/>
                    </a:cxn>
                    <a:cxn ang="0">
                      <a:pos x="18" y="4"/>
                    </a:cxn>
                    <a:cxn ang="0">
                      <a:pos x="18" y="4"/>
                    </a:cxn>
                  </a:cxnLst>
                  <a:rect l="0" t="0" r="r" b="b"/>
                  <a:pathLst>
                    <a:path w="42" h="40">
                      <a:moveTo>
                        <a:pt x="18" y="4"/>
                      </a:moveTo>
                      <a:lnTo>
                        <a:pt x="18" y="4"/>
                      </a:lnTo>
                      <a:lnTo>
                        <a:pt x="10" y="6"/>
                      </a:lnTo>
                      <a:lnTo>
                        <a:pt x="10" y="6"/>
                      </a:lnTo>
                      <a:lnTo>
                        <a:pt x="10" y="8"/>
                      </a:lnTo>
                      <a:lnTo>
                        <a:pt x="16" y="12"/>
                      </a:lnTo>
                      <a:lnTo>
                        <a:pt x="16" y="16"/>
                      </a:lnTo>
                      <a:lnTo>
                        <a:pt x="18" y="18"/>
                      </a:lnTo>
                      <a:lnTo>
                        <a:pt x="18" y="18"/>
                      </a:lnTo>
                      <a:lnTo>
                        <a:pt x="18" y="24"/>
                      </a:lnTo>
                      <a:lnTo>
                        <a:pt x="16" y="28"/>
                      </a:lnTo>
                      <a:lnTo>
                        <a:pt x="4" y="34"/>
                      </a:lnTo>
                      <a:lnTo>
                        <a:pt x="4" y="34"/>
                      </a:lnTo>
                      <a:lnTo>
                        <a:pt x="0" y="38"/>
                      </a:lnTo>
                      <a:lnTo>
                        <a:pt x="0" y="40"/>
                      </a:lnTo>
                      <a:lnTo>
                        <a:pt x="2" y="40"/>
                      </a:lnTo>
                      <a:lnTo>
                        <a:pt x="22" y="40"/>
                      </a:lnTo>
                      <a:lnTo>
                        <a:pt x="22" y="40"/>
                      </a:lnTo>
                      <a:lnTo>
                        <a:pt x="30" y="38"/>
                      </a:lnTo>
                      <a:lnTo>
                        <a:pt x="36" y="34"/>
                      </a:lnTo>
                      <a:lnTo>
                        <a:pt x="38" y="30"/>
                      </a:lnTo>
                      <a:lnTo>
                        <a:pt x="38" y="26"/>
                      </a:lnTo>
                      <a:lnTo>
                        <a:pt x="36" y="14"/>
                      </a:lnTo>
                      <a:lnTo>
                        <a:pt x="36" y="10"/>
                      </a:lnTo>
                      <a:lnTo>
                        <a:pt x="38" y="6"/>
                      </a:lnTo>
                      <a:lnTo>
                        <a:pt x="38" y="6"/>
                      </a:lnTo>
                      <a:lnTo>
                        <a:pt x="42" y="2"/>
                      </a:lnTo>
                      <a:lnTo>
                        <a:pt x="38" y="0"/>
                      </a:lnTo>
                      <a:lnTo>
                        <a:pt x="18" y="4"/>
                      </a:lnTo>
                      <a:lnTo>
                        <a:pt x="18"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9" name="Freeform 6065"/>
                <p:cNvSpPr>
                  <a:spLocks/>
                </p:cNvSpPr>
                <p:nvPr/>
              </p:nvSpPr>
              <p:spPr bwMode="auto">
                <a:xfrm>
                  <a:off x="2824480" y="3314383"/>
                  <a:ext cx="3810" cy="6350"/>
                </a:xfrm>
                <a:custGeom>
                  <a:avLst/>
                  <a:gdLst/>
                  <a:ahLst/>
                  <a:cxnLst>
                    <a:cxn ang="0">
                      <a:pos x="2" y="10"/>
                    </a:cxn>
                    <a:cxn ang="0">
                      <a:pos x="2" y="10"/>
                    </a:cxn>
                    <a:cxn ang="0">
                      <a:pos x="4" y="10"/>
                    </a:cxn>
                    <a:cxn ang="0">
                      <a:pos x="6" y="6"/>
                    </a:cxn>
                    <a:cxn ang="0">
                      <a:pos x="6" y="4"/>
                    </a:cxn>
                    <a:cxn ang="0">
                      <a:pos x="4" y="0"/>
                    </a:cxn>
                    <a:cxn ang="0">
                      <a:pos x="4" y="0"/>
                    </a:cxn>
                    <a:cxn ang="0">
                      <a:pos x="2" y="0"/>
                    </a:cxn>
                    <a:cxn ang="0">
                      <a:pos x="0" y="4"/>
                    </a:cxn>
                    <a:cxn ang="0">
                      <a:pos x="0" y="6"/>
                    </a:cxn>
                    <a:cxn ang="0">
                      <a:pos x="2" y="10"/>
                    </a:cxn>
                    <a:cxn ang="0">
                      <a:pos x="2" y="10"/>
                    </a:cxn>
                  </a:cxnLst>
                  <a:rect l="0" t="0" r="r" b="b"/>
                  <a:pathLst>
                    <a:path w="6" h="10">
                      <a:moveTo>
                        <a:pt x="2" y="10"/>
                      </a:moveTo>
                      <a:lnTo>
                        <a:pt x="2" y="10"/>
                      </a:lnTo>
                      <a:lnTo>
                        <a:pt x="4" y="10"/>
                      </a:lnTo>
                      <a:lnTo>
                        <a:pt x="6" y="6"/>
                      </a:lnTo>
                      <a:lnTo>
                        <a:pt x="6" y="4"/>
                      </a:lnTo>
                      <a:lnTo>
                        <a:pt x="4" y="0"/>
                      </a:lnTo>
                      <a:lnTo>
                        <a:pt x="4" y="0"/>
                      </a:lnTo>
                      <a:lnTo>
                        <a:pt x="2" y="0"/>
                      </a:lnTo>
                      <a:lnTo>
                        <a:pt x="0" y="4"/>
                      </a:lnTo>
                      <a:lnTo>
                        <a:pt x="0" y="6"/>
                      </a:lnTo>
                      <a:lnTo>
                        <a:pt x="2" y="10"/>
                      </a:lnTo>
                      <a:lnTo>
                        <a:pt x="2" y="1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0" name="Freeform 6066"/>
                <p:cNvSpPr>
                  <a:spLocks/>
                </p:cNvSpPr>
                <p:nvPr/>
              </p:nvSpPr>
              <p:spPr bwMode="auto">
                <a:xfrm>
                  <a:off x="2635250" y="3483293"/>
                  <a:ext cx="11430" cy="11430"/>
                </a:xfrm>
                <a:custGeom>
                  <a:avLst/>
                  <a:gdLst/>
                  <a:ahLst/>
                  <a:cxnLst>
                    <a:cxn ang="0">
                      <a:pos x="2" y="0"/>
                    </a:cxn>
                    <a:cxn ang="0">
                      <a:pos x="2" y="0"/>
                    </a:cxn>
                    <a:cxn ang="0">
                      <a:pos x="0" y="0"/>
                    </a:cxn>
                    <a:cxn ang="0">
                      <a:pos x="0" y="4"/>
                    </a:cxn>
                    <a:cxn ang="0">
                      <a:pos x="4" y="8"/>
                    </a:cxn>
                    <a:cxn ang="0">
                      <a:pos x="10" y="14"/>
                    </a:cxn>
                    <a:cxn ang="0">
                      <a:pos x="10" y="14"/>
                    </a:cxn>
                    <a:cxn ang="0">
                      <a:pos x="16" y="18"/>
                    </a:cxn>
                    <a:cxn ang="0">
                      <a:pos x="18" y="18"/>
                    </a:cxn>
                    <a:cxn ang="0">
                      <a:pos x="18" y="16"/>
                    </a:cxn>
                    <a:cxn ang="0">
                      <a:pos x="16" y="12"/>
                    </a:cxn>
                    <a:cxn ang="0">
                      <a:pos x="12" y="8"/>
                    </a:cxn>
                    <a:cxn ang="0">
                      <a:pos x="12" y="8"/>
                    </a:cxn>
                    <a:cxn ang="0">
                      <a:pos x="8" y="8"/>
                    </a:cxn>
                    <a:cxn ang="0">
                      <a:pos x="8" y="6"/>
                    </a:cxn>
                    <a:cxn ang="0">
                      <a:pos x="6" y="2"/>
                    </a:cxn>
                    <a:cxn ang="0">
                      <a:pos x="2" y="0"/>
                    </a:cxn>
                    <a:cxn ang="0">
                      <a:pos x="2" y="0"/>
                    </a:cxn>
                  </a:cxnLst>
                  <a:rect l="0" t="0" r="r" b="b"/>
                  <a:pathLst>
                    <a:path w="18" h="18">
                      <a:moveTo>
                        <a:pt x="2" y="0"/>
                      </a:moveTo>
                      <a:lnTo>
                        <a:pt x="2" y="0"/>
                      </a:lnTo>
                      <a:lnTo>
                        <a:pt x="0" y="0"/>
                      </a:lnTo>
                      <a:lnTo>
                        <a:pt x="0" y="4"/>
                      </a:lnTo>
                      <a:lnTo>
                        <a:pt x="4" y="8"/>
                      </a:lnTo>
                      <a:lnTo>
                        <a:pt x="10" y="14"/>
                      </a:lnTo>
                      <a:lnTo>
                        <a:pt x="10" y="14"/>
                      </a:lnTo>
                      <a:lnTo>
                        <a:pt x="16" y="18"/>
                      </a:lnTo>
                      <a:lnTo>
                        <a:pt x="18" y="18"/>
                      </a:lnTo>
                      <a:lnTo>
                        <a:pt x="18" y="16"/>
                      </a:lnTo>
                      <a:lnTo>
                        <a:pt x="16" y="12"/>
                      </a:lnTo>
                      <a:lnTo>
                        <a:pt x="12" y="8"/>
                      </a:lnTo>
                      <a:lnTo>
                        <a:pt x="12" y="8"/>
                      </a:lnTo>
                      <a:lnTo>
                        <a:pt x="8" y="8"/>
                      </a:lnTo>
                      <a:lnTo>
                        <a:pt x="8" y="6"/>
                      </a:lnTo>
                      <a:lnTo>
                        <a:pt x="6" y="2"/>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1" name="Freeform 6067"/>
                <p:cNvSpPr>
                  <a:spLocks/>
                </p:cNvSpPr>
                <p:nvPr/>
              </p:nvSpPr>
              <p:spPr bwMode="auto">
                <a:xfrm>
                  <a:off x="2688590" y="3290253"/>
                  <a:ext cx="40640" cy="17780"/>
                </a:xfrm>
                <a:custGeom>
                  <a:avLst/>
                  <a:gdLst/>
                  <a:ahLst/>
                  <a:cxnLst>
                    <a:cxn ang="0">
                      <a:pos x="42" y="2"/>
                    </a:cxn>
                    <a:cxn ang="0">
                      <a:pos x="42" y="2"/>
                    </a:cxn>
                    <a:cxn ang="0">
                      <a:pos x="22" y="0"/>
                    </a:cxn>
                    <a:cxn ang="0">
                      <a:pos x="8" y="0"/>
                    </a:cxn>
                    <a:cxn ang="0">
                      <a:pos x="4" y="2"/>
                    </a:cxn>
                    <a:cxn ang="0">
                      <a:pos x="0" y="6"/>
                    </a:cxn>
                    <a:cxn ang="0">
                      <a:pos x="0" y="12"/>
                    </a:cxn>
                    <a:cxn ang="0">
                      <a:pos x="0" y="18"/>
                    </a:cxn>
                    <a:cxn ang="0">
                      <a:pos x="0" y="18"/>
                    </a:cxn>
                    <a:cxn ang="0">
                      <a:pos x="0" y="24"/>
                    </a:cxn>
                    <a:cxn ang="0">
                      <a:pos x="2" y="28"/>
                    </a:cxn>
                    <a:cxn ang="0">
                      <a:pos x="6" y="28"/>
                    </a:cxn>
                    <a:cxn ang="0">
                      <a:pos x="16" y="28"/>
                    </a:cxn>
                    <a:cxn ang="0">
                      <a:pos x="16" y="28"/>
                    </a:cxn>
                    <a:cxn ang="0">
                      <a:pos x="26" y="26"/>
                    </a:cxn>
                    <a:cxn ang="0">
                      <a:pos x="32" y="28"/>
                    </a:cxn>
                    <a:cxn ang="0">
                      <a:pos x="38" y="28"/>
                    </a:cxn>
                    <a:cxn ang="0">
                      <a:pos x="48" y="26"/>
                    </a:cxn>
                    <a:cxn ang="0">
                      <a:pos x="48" y="26"/>
                    </a:cxn>
                    <a:cxn ang="0">
                      <a:pos x="58" y="20"/>
                    </a:cxn>
                    <a:cxn ang="0">
                      <a:pos x="62" y="16"/>
                    </a:cxn>
                    <a:cxn ang="0">
                      <a:pos x="64" y="14"/>
                    </a:cxn>
                    <a:cxn ang="0">
                      <a:pos x="62" y="10"/>
                    </a:cxn>
                    <a:cxn ang="0">
                      <a:pos x="58" y="6"/>
                    </a:cxn>
                    <a:cxn ang="0">
                      <a:pos x="52" y="4"/>
                    </a:cxn>
                    <a:cxn ang="0">
                      <a:pos x="42" y="2"/>
                    </a:cxn>
                    <a:cxn ang="0">
                      <a:pos x="42" y="2"/>
                    </a:cxn>
                  </a:cxnLst>
                  <a:rect l="0" t="0" r="r" b="b"/>
                  <a:pathLst>
                    <a:path w="64" h="28">
                      <a:moveTo>
                        <a:pt x="42" y="2"/>
                      </a:moveTo>
                      <a:lnTo>
                        <a:pt x="42" y="2"/>
                      </a:lnTo>
                      <a:lnTo>
                        <a:pt x="22" y="0"/>
                      </a:lnTo>
                      <a:lnTo>
                        <a:pt x="8" y="0"/>
                      </a:lnTo>
                      <a:lnTo>
                        <a:pt x="4" y="2"/>
                      </a:lnTo>
                      <a:lnTo>
                        <a:pt x="0" y="6"/>
                      </a:lnTo>
                      <a:lnTo>
                        <a:pt x="0" y="12"/>
                      </a:lnTo>
                      <a:lnTo>
                        <a:pt x="0" y="18"/>
                      </a:lnTo>
                      <a:lnTo>
                        <a:pt x="0" y="18"/>
                      </a:lnTo>
                      <a:lnTo>
                        <a:pt x="0" y="24"/>
                      </a:lnTo>
                      <a:lnTo>
                        <a:pt x="2" y="28"/>
                      </a:lnTo>
                      <a:lnTo>
                        <a:pt x="6" y="28"/>
                      </a:lnTo>
                      <a:lnTo>
                        <a:pt x="16" y="28"/>
                      </a:lnTo>
                      <a:lnTo>
                        <a:pt x="16" y="28"/>
                      </a:lnTo>
                      <a:lnTo>
                        <a:pt x="26" y="26"/>
                      </a:lnTo>
                      <a:lnTo>
                        <a:pt x="32" y="28"/>
                      </a:lnTo>
                      <a:lnTo>
                        <a:pt x="38" y="28"/>
                      </a:lnTo>
                      <a:lnTo>
                        <a:pt x="48" y="26"/>
                      </a:lnTo>
                      <a:lnTo>
                        <a:pt x="48" y="26"/>
                      </a:lnTo>
                      <a:lnTo>
                        <a:pt x="58" y="20"/>
                      </a:lnTo>
                      <a:lnTo>
                        <a:pt x="62" y="16"/>
                      </a:lnTo>
                      <a:lnTo>
                        <a:pt x="64" y="14"/>
                      </a:lnTo>
                      <a:lnTo>
                        <a:pt x="62" y="10"/>
                      </a:lnTo>
                      <a:lnTo>
                        <a:pt x="58" y="6"/>
                      </a:lnTo>
                      <a:lnTo>
                        <a:pt x="52" y="4"/>
                      </a:lnTo>
                      <a:lnTo>
                        <a:pt x="42" y="2"/>
                      </a:lnTo>
                      <a:lnTo>
                        <a:pt x="42"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2" name="Freeform 6068"/>
                <p:cNvSpPr>
                  <a:spLocks/>
                </p:cNvSpPr>
                <p:nvPr/>
              </p:nvSpPr>
              <p:spPr bwMode="auto">
                <a:xfrm>
                  <a:off x="2500630" y="3244533"/>
                  <a:ext cx="157480" cy="69850"/>
                </a:xfrm>
                <a:custGeom>
                  <a:avLst/>
                  <a:gdLst/>
                  <a:ahLst/>
                  <a:cxnLst>
                    <a:cxn ang="0">
                      <a:pos x="234" y="50"/>
                    </a:cxn>
                    <a:cxn ang="0">
                      <a:pos x="222" y="46"/>
                    </a:cxn>
                    <a:cxn ang="0">
                      <a:pos x="204" y="42"/>
                    </a:cxn>
                    <a:cxn ang="0">
                      <a:pos x="210" y="38"/>
                    </a:cxn>
                    <a:cxn ang="0">
                      <a:pos x="218" y="34"/>
                    </a:cxn>
                    <a:cxn ang="0">
                      <a:pos x="200" y="32"/>
                    </a:cxn>
                    <a:cxn ang="0">
                      <a:pos x="190" y="30"/>
                    </a:cxn>
                    <a:cxn ang="0">
                      <a:pos x="184" y="16"/>
                    </a:cxn>
                    <a:cxn ang="0">
                      <a:pos x="178" y="14"/>
                    </a:cxn>
                    <a:cxn ang="0">
                      <a:pos x="158" y="8"/>
                    </a:cxn>
                    <a:cxn ang="0">
                      <a:pos x="138" y="2"/>
                    </a:cxn>
                    <a:cxn ang="0">
                      <a:pos x="132" y="4"/>
                    </a:cxn>
                    <a:cxn ang="0">
                      <a:pos x="114" y="6"/>
                    </a:cxn>
                    <a:cxn ang="0">
                      <a:pos x="104" y="10"/>
                    </a:cxn>
                    <a:cxn ang="0">
                      <a:pos x="84" y="6"/>
                    </a:cxn>
                    <a:cxn ang="0">
                      <a:pos x="60" y="0"/>
                    </a:cxn>
                    <a:cxn ang="0">
                      <a:pos x="42" y="8"/>
                    </a:cxn>
                    <a:cxn ang="0">
                      <a:pos x="46" y="16"/>
                    </a:cxn>
                    <a:cxn ang="0">
                      <a:pos x="68" y="20"/>
                    </a:cxn>
                    <a:cxn ang="0">
                      <a:pos x="72" y="34"/>
                    </a:cxn>
                    <a:cxn ang="0">
                      <a:pos x="74" y="50"/>
                    </a:cxn>
                    <a:cxn ang="0">
                      <a:pos x="90" y="66"/>
                    </a:cxn>
                    <a:cxn ang="0">
                      <a:pos x="82" y="70"/>
                    </a:cxn>
                    <a:cxn ang="0">
                      <a:pos x="68" y="74"/>
                    </a:cxn>
                    <a:cxn ang="0">
                      <a:pos x="24" y="66"/>
                    </a:cxn>
                    <a:cxn ang="0">
                      <a:pos x="4" y="68"/>
                    </a:cxn>
                    <a:cxn ang="0">
                      <a:pos x="0" y="76"/>
                    </a:cxn>
                    <a:cxn ang="0">
                      <a:pos x="4" y="82"/>
                    </a:cxn>
                    <a:cxn ang="0">
                      <a:pos x="24" y="92"/>
                    </a:cxn>
                    <a:cxn ang="0">
                      <a:pos x="30" y="96"/>
                    </a:cxn>
                    <a:cxn ang="0">
                      <a:pos x="38" y="86"/>
                    </a:cxn>
                    <a:cxn ang="0">
                      <a:pos x="58" y="90"/>
                    </a:cxn>
                    <a:cxn ang="0">
                      <a:pos x="82" y="90"/>
                    </a:cxn>
                    <a:cxn ang="0">
                      <a:pos x="102" y="90"/>
                    </a:cxn>
                    <a:cxn ang="0">
                      <a:pos x="116" y="102"/>
                    </a:cxn>
                    <a:cxn ang="0">
                      <a:pos x="126" y="110"/>
                    </a:cxn>
                    <a:cxn ang="0">
                      <a:pos x="138" y="96"/>
                    </a:cxn>
                    <a:cxn ang="0">
                      <a:pos x="150" y="78"/>
                    </a:cxn>
                    <a:cxn ang="0">
                      <a:pos x="158" y="80"/>
                    </a:cxn>
                    <a:cxn ang="0">
                      <a:pos x="166" y="88"/>
                    </a:cxn>
                    <a:cxn ang="0">
                      <a:pos x="180" y="80"/>
                    </a:cxn>
                    <a:cxn ang="0">
                      <a:pos x="208" y="74"/>
                    </a:cxn>
                    <a:cxn ang="0">
                      <a:pos x="230" y="82"/>
                    </a:cxn>
                    <a:cxn ang="0">
                      <a:pos x="242" y="82"/>
                    </a:cxn>
                    <a:cxn ang="0">
                      <a:pos x="248" y="70"/>
                    </a:cxn>
                    <a:cxn ang="0">
                      <a:pos x="244" y="62"/>
                    </a:cxn>
                  </a:cxnLst>
                  <a:rect l="0" t="0" r="r" b="b"/>
                  <a:pathLst>
                    <a:path w="248" h="110">
                      <a:moveTo>
                        <a:pt x="244" y="62"/>
                      </a:moveTo>
                      <a:lnTo>
                        <a:pt x="244" y="62"/>
                      </a:lnTo>
                      <a:lnTo>
                        <a:pt x="234" y="50"/>
                      </a:lnTo>
                      <a:lnTo>
                        <a:pt x="230" y="46"/>
                      </a:lnTo>
                      <a:lnTo>
                        <a:pt x="222" y="46"/>
                      </a:lnTo>
                      <a:lnTo>
                        <a:pt x="222" y="46"/>
                      </a:lnTo>
                      <a:lnTo>
                        <a:pt x="212" y="46"/>
                      </a:lnTo>
                      <a:lnTo>
                        <a:pt x="206" y="44"/>
                      </a:lnTo>
                      <a:lnTo>
                        <a:pt x="204" y="42"/>
                      </a:lnTo>
                      <a:lnTo>
                        <a:pt x="204" y="40"/>
                      </a:lnTo>
                      <a:lnTo>
                        <a:pt x="206" y="40"/>
                      </a:lnTo>
                      <a:lnTo>
                        <a:pt x="210" y="38"/>
                      </a:lnTo>
                      <a:lnTo>
                        <a:pt x="210" y="38"/>
                      </a:lnTo>
                      <a:lnTo>
                        <a:pt x="216" y="36"/>
                      </a:lnTo>
                      <a:lnTo>
                        <a:pt x="218" y="34"/>
                      </a:lnTo>
                      <a:lnTo>
                        <a:pt x="218" y="32"/>
                      </a:lnTo>
                      <a:lnTo>
                        <a:pt x="212" y="30"/>
                      </a:lnTo>
                      <a:lnTo>
                        <a:pt x="200" y="32"/>
                      </a:lnTo>
                      <a:lnTo>
                        <a:pt x="200" y="32"/>
                      </a:lnTo>
                      <a:lnTo>
                        <a:pt x="194" y="32"/>
                      </a:lnTo>
                      <a:lnTo>
                        <a:pt x="190" y="30"/>
                      </a:lnTo>
                      <a:lnTo>
                        <a:pt x="188" y="28"/>
                      </a:lnTo>
                      <a:lnTo>
                        <a:pt x="186" y="24"/>
                      </a:lnTo>
                      <a:lnTo>
                        <a:pt x="184" y="16"/>
                      </a:lnTo>
                      <a:lnTo>
                        <a:pt x="182" y="14"/>
                      </a:lnTo>
                      <a:lnTo>
                        <a:pt x="178" y="14"/>
                      </a:lnTo>
                      <a:lnTo>
                        <a:pt x="178" y="14"/>
                      </a:lnTo>
                      <a:lnTo>
                        <a:pt x="174" y="16"/>
                      </a:lnTo>
                      <a:lnTo>
                        <a:pt x="168" y="14"/>
                      </a:lnTo>
                      <a:lnTo>
                        <a:pt x="158" y="8"/>
                      </a:lnTo>
                      <a:lnTo>
                        <a:pt x="148" y="2"/>
                      </a:lnTo>
                      <a:lnTo>
                        <a:pt x="142" y="2"/>
                      </a:lnTo>
                      <a:lnTo>
                        <a:pt x="138" y="2"/>
                      </a:lnTo>
                      <a:lnTo>
                        <a:pt x="138" y="2"/>
                      </a:lnTo>
                      <a:lnTo>
                        <a:pt x="134" y="4"/>
                      </a:lnTo>
                      <a:lnTo>
                        <a:pt x="132" y="4"/>
                      </a:lnTo>
                      <a:lnTo>
                        <a:pt x="124" y="4"/>
                      </a:lnTo>
                      <a:lnTo>
                        <a:pt x="118" y="4"/>
                      </a:lnTo>
                      <a:lnTo>
                        <a:pt x="114" y="6"/>
                      </a:lnTo>
                      <a:lnTo>
                        <a:pt x="112" y="10"/>
                      </a:lnTo>
                      <a:lnTo>
                        <a:pt x="112" y="10"/>
                      </a:lnTo>
                      <a:lnTo>
                        <a:pt x="104" y="10"/>
                      </a:lnTo>
                      <a:lnTo>
                        <a:pt x="98" y="10"/>
                      </a:lnTo>
                      <a:lnTo>
                        <a:pt x="92" y="10"/>
                      </a:lnTo>
                      <a:lnTo>
                        <a:pt x="84" y="6"/>
                      </a:lnTo>
                      <a:lnTo>
                        <a:pt x="84" y="6"/>
                      </a:lnTo>
                      <a:lnTo>
                        <a:pt x="74" y="2"/>
                      </a:lnTo>
                      <a:lnTo>
                        <a:pt x="60" y="0"/>
                      </a:lnTo>
                      <a:lnTo>
                        <a:pt x="48" y="2"/>
                      </a:lnTo>
                      <a:lnTo>
                        <a:pt x="44" y="4"/>
                      </a:lnTo>
                      <a:lnTo>
                        <a:pt x="42" y="8"/>
                      </a:lnTo>
                      <a:lnTo>
                        <a:pt x="42" y="8"/>
                      </a:lnTo>
                      <a:lnTo>
                        <a:pt x="42" y="14"/>
                      </a:lnTo>
                      <a:lnTo>
                        <a:pt x="46" y="16"/>
                      </a:lnTo>
                      <a:lnTo>
                        <a:pt x="56" y="18"/>
                      </a:lnTo>
                      <a:lnTo>
                        <a:pt x="68" y="20"/>
                      </a:lnTo>
                      <a:lnTo>
                        <a:pt x="68" y="20"/>
                      </a:lnTo>
                      <a:lnTo>
                        <a:pt x="72" y="24"/>
                      </a:lnTo>
                      <a:lnTo>
                        <a:pt x="74" y="26"/>
                      </a:lnTo>
                      <a:lnTo>
                        <a:pt x="72" y="34"/>
                      </a:lnTo>
                      <a:lnTo>
                        <a:pt x="70" y="38"/>
                      </a:lnTo>
                      <a:lnTo>
                        <a:pt x="70" y="42"/>
                      </a:lnTo>
                      <a:lnTo>
                        <a:pt x="74" y="50"/>
                      </a:lnTo>
                      <a:lnTo>
                        <a:pt x="82" y="58"/>
                      </a:lnTo>
                      <a:lnTo>
                        <a:pt x="82" y="58"/>
                      </a:lnTo>
                      <a:lnTo>
                        <a:pt x="90" y="66"/>
                      </a:lnTo>
                      <a:lnTo>
                        <a:pt x="90" y="68"/>
                      </a:lnTo>
                      <a:lnTo>
                        <a:pt x="88" y="68"/>
                      </a:lnTo>
                      <a:lnTo>
                        <a:pt x="82" y="70"/>
                      </a:lnTo>
                      <a:lnTo>
                        <a:pt x="76" y="70"/>
                      </a:lnTo>
                      <a:lnTo>
                        <a:pt x="76" y="70"/>
                      </a:lnTo>
                      <a:lnTo>
                        <a:pt x="68" y="74"/>
                      </a:lnTo>
                      <a:lnTo>
                        <a:pt x="56" y="72"/>
                      </a:lnTo>
                      <a:lnTo>
                        <a:pt x="34" y="68"/>
                      </a:lnTo>
                      <a:lnTo>
                        <a:pt x="24" y="66"/>
                      </a:lnTo>
                      <a:lnTo>
                        <a:pt x="14" y="64"/>
                      </a:lnTo>
                      <a:lnTo>
                        <a:pt x="6" y="66"/>
                      </a:lnTo>
                      <a:lnTo>
                        <a:pt x="4" y="68"/>
                      </a:lnTo>
                      <a:lnTo>
                        <a:pt x="2" y="70"/>
                      </a:lnTo>
                      <a:lnTo>
                        <a:pt x="2" y="70"/>
                      </a:lnTo>
                      <a:lnTo>
                        <a:pt x="0" y="76"/>
                      </a:lnTo>
                      <a:lnTo>
                        <a:pt x="0" y="78"/>
                      </a:lnTo>
                      <a:lnTo>
                        <a:pt x="2" y="80"/>
                      </a:lnTo>
                      <a:lnTo>
                        <a:pt x="4" y="82"/>
                      </a:lnTo>
                      <a:lnTo>
                        <a:pt x="14" y="84"/>
                      </a:lnTo>
                      <a:lnTo>
                        <a:pt x="18" y="88"/>
                      </a:lnTo>
                      <a:lnTo>
                        <a:pt x="24" y="92"/>
                      </a:lnTo>
                      <a:lnTo>
                        <a:pt x="24" y="92"/>
                      </a:lnTo>
                      <a:lnTo>
                        <a:pt x="28" y="96"/>
                      </a:lnTo>
                      <a:lnTo>
                        <a:pt x="30" y="96"/>
                      </a:lnTo>
                      <a:lnTo>
                        <a:pt x="32" y="90"/>
                      </a:lnTo>
                      <a:lnTo>
                        <a:pt x="34" y="88"/>
                      </a:lnTo>
                      <a:lnTo>
                        <a:pt x="38" y="86"/>
                      </a:lnTo>
                      <a:lnTo>
                        <a:pt x="46" y="86"/>
                      </a:lnTo>
                      <a:lnTo>
                        <a:pt x="58" y="90"/>
                      </a:lnTo>
                      <a:lnTo>
                        <a:pt x="58" y="90"/>
                      </a:lnTo>
                      <a:lnTo>
                        <a:pt x="66" y="92"/>
                      </a:lnTo>
                      <a:lnTo>
                        <a:pt x="72" y="92"/>
                      </a:lnTo>
                      <a:lnTo>
                        <a:pt x="82" y="90"/>
                      </a:lnTo>
                      <a:lnTo>
                        <a:pt x="88" y="88"/>
                      </a:lnTo>
                      <a:lnTo>
                        <a:pt x="94" y="88"/>
                      </a:lnTo>
                      <a:lnTo>
                        <a:pt x="102" y="90"/>
                      </a:lnTo>
                      <a:lnTo>
                        <a:pt x="112" y="94"/>
                      </a:lnTo>
                      <a:lnTo>
                        <a:pt x="112" y="94"/>
                      </a:lnTo>
                      <a:lnTo>
                        <a:pt x="116" y="102"/>
                      </a:lnTo>
                      <a:lnTo>
                        <a:pt x="120" y="108"/>
                      </a:lnTo>
                      <a:lnTo>
                        <a:pt x="124" y="110"/>
                      </a:lnTo>
                      <a:lnTo>
                        <a:pt x="126" y="110"/>
                      </a:lnTo>
                      <a:lnTo>
                        <a:pt x="130" y="108"/>
                      </a:lnTo>
                      <a:lnTo>
                        <a:pt x="132" y="106"/>
                      </a:lnTo>
                      <a:lnTo>
                        <a:pt x="138" y="96"/>
                      </a:lnTo>
                      <a:lnTo>
                        <a:pt x="138" y="96"/>
                      </a:lnTo>
                      <a:lnTo>
                        <a:pt x="144" y="86"/>
                      </a:lnTo>
                      <a:lnTo>
                        <a:pt x="150" y="78"/>
                      </a:lnTo>
                      <a:lnTo>
                        <a:pt x="156" y="76"/>
                      </a:lnTo>
                      <a:lnTo>
                        <a:pt x="158" y="78"/>
                      </a:lnTo>
                      <a:lnTo>
                        <a:pt x="158" y="80"/>
                      </a:lnTo>
                      <a:lnTo>
                        <a:pt x="158" y="80"/>
                      </a:lnTo>
                      <a:lnTo>
                        <a:pt x="162" y="86"/>
                      </a:lnTo>
                      <a:lnTo>
                        <a:pt x="166" y="88"/>
                      </a:lnTo>
                      <a:lnTo>
                        <a:pt x="172" y="86"/>
                      </a:lnTo>
                      <a:lnTo>
                        <a:pt x="180" y="80"/>
                      </a:lnTo>
                      <a:lnTo>
                        <a:pt x="180" y="80"/>
                      </a:lnTo>
                      <a:lnTo>
                        <a:pt x="186" y="76"/>
                      </a:lnTo>
                      <a:lnTo>
                        <a:pt x="192" y="74"/>
                      </a:lnTo>
                      <a:lnTo>
                        <a:pt x="208" y="74"/>
                      </a:lnTo>
                      <a:lnTo>
                        <a:pt x="222" y="76"/>
                      </a:lnTo>
                      <a:lnTo>
                        <a:pt x="230" y="82"/>
                      </a:lnTo>
                      <a:lnTo>
                        <a:pt x="230" y="82"/>
                      </a:lnTo>
                      <a:lnTo>
                        <a:pt x="234" y="84"/>
                      </a:lnTo>
                      <a:lnTo>
                        <a:pt x="238" y="84"/>
                      </a:lnTo>
                      <a:lnTo>
                        <a:pt x="242" y="82"/>
                      </a:lnTo>
                      <a:lnTo>
                        <a:pt x="246" y="78"/>
                      </a:lnTo>
                      <a:lnTo>
                        <a:pt x="248" y="74"/>
                      </a:lnTo>
                      <a:lnTo>
                        <a:pt x="248" y="70"/>
                      </a:lnTo>
                      <a:lnTo>
                        <a:pt x="248" y="66"/>
                      </a:lnTo>
                      <a:lnTo>
                        <a:pt x="244" y="62"/>
                      </a:lnTo>
                      <a:lnTo>
                        <a:pt x="244" y="6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3" name="Freeform 6069"/>
                <p:cNvSpPr>
                  <a:spLocks/>
                </p:cNvSpPr>
                <p:nvPr/>
              </p:nvSpPr>
              <p:spPr bwMode="auto">
                <a:xfrm>
                  <a:off x="2730500" y="3300413"/>
                  <a:ext cx="6350" cy="3810"/>
                </a:xfrm>
                <a:custGeom>
                  <a:avLst/>
                  <a:gdLst/>
                  <a:ahLst/>
                  <a:cxnLst>
                    <a:cxn ang="0">
                      <a:pos x="0" y="4"/>
                    </a:cxn>
                    <a:cxn ang="0">
                      <a:pos x="0" y="4"/>
                    </a:cxn>
                    <a:cxn ang="0">
                      <a:pos x="2" y="6"/>
                    </a:cxn>
                    <a:cxn ang="0">
                      <a:pos x="6" y="4"/>
                    </a:cxn>
                    <a:cxn ang="0">
                      <a:pos x="8" y="4"/>
                    </a:cxn>
                    <a:cxn ang="0">
                      <a:pos x="10" y="2"/>
                    </a:cxn>
                    <a:cxn ang="0">
                      <a:pos x="10" y="2"/>
                    </a:cxn>
                    <a:cxn ang="0">
                      <a:pos x="8" y="0"/>
                    </a:cxn>
                    <a:cxn ang="0">
                      <a:pos x="4" y="0"/>
                    </a:cxn>
                    <a:cxn ang="0">
                      <a:pos x="0" y="2"/>
                    </a:cxn>
                    <a:cxn ang="0">
                      <a:pos x="0" y="4"/>
                    </a:cxn>
                    <a:cxn ang="0">
                      <a:pos x="0" y="4"/>
                    </a:cxn>
                  </a:cxnLst>
                  <a:rect l="0" t="0" r="r" b="b"/>
                  <a:pathLst>
                    <a:path w="10" h="6">
                      <a:moveTo>
                        <a:pt x="0" y="4"/>
                      </a:moveTo>
                      <a:lnTo>
                        <a:pt x="0" y="4"/>
                      </a:lnTo>
                      <a:lnTo>
                        <a:pt x="2" y="6"/>
                      </a:lnTo>
                      <a:lnTo>
                        <a:pt x="6" y="4"/>
                      </a:lnTo>
                      <a:lnTo>
                        <a:pt x="8" y="4"/>
                      </a:lnTo>
                      <a:lnTo>
                        <a:pt x="10" y="2"/>
                      </a:lnTo>
                      <a:lnTo>
                        <a:pt x="10" y="2"/>
                      </a:lnTo>
                      <a:lnTo>
                        <a:pt x="8" y="0"/>
                      </a:lnTo>
                      <a:lnTo>
                        <a:pt x="4" y="0"/>
                      </a:lnTo>
                      <a:lnTo>
                        <a:pt x="0" y="2"/>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4" name="Freeform 6070"/>
                <p:cNvSpPr>
                  <a:spLocks/>
                </p:cNvSpPr>
                <p:nvPr/>
              </p:nvSpPr>
              <p:spPr bwMode="auto">
                <a:xfrm>
                  <a:off x="2747010" y="3313113"/>
                  <a:ext cx="7620" cy="3810"/>
                </a:xfrm>
                <a:custGeom>
                  <a:avLst/>
                  <a:gdLst/>
                  <a:ahLst/>
                  <a:cxnLst>
                    <a:cxn ang="0">
                      <a:pos x="0" y="4"/>
                    </a:cxn>
                    <a:cxn ang="0">
                      <a:pos x="0" y="4"/>
                    </a:cxn>
                    <a:cxn ang="0">
                      <a:pos x="0" y="4"/>
                    </a:cxn>
                    <a:cxn ang="0">
                      <a:pos x="2" y="6"/>
                    </a:cxn>
                    <a:cxn ang="0">
                      <a:pos x="6" y="4"/>
                    </a:cxn>
                    <a:cxn ang="0">
                      <a:pos x="10" y="2"/>
                    </a:cxn>
                    <a:cxn ang="0">
                      <a:pos x="12" y="0"/>
                    </a:cxn>
                    <a:cxn ang="0">
                      <a:pos x="10" y="0"/>
                    </a:cxn>
                    <a:cxn ang="0">
                      <a:pos x="10" y="0"/>
                    </a:cxn>
                    <a:cxn ang="0">
                      <a:pos x="4" y="0"/>
                    </a:cxn>
                    <a:cxn ang="0">
                      <a:pos x="0" y="0"/>
                    </a:cxn>
                    <a:cxn ang="0">
                      <a:pos x="0" y="4"/>
                    </a:cxn>
                    <a:cxn ang="0">
                      <a:pos x="0" y="4"/>
                    </a:cxn>
                  </a:cxnLst>
                  <a:rect l="0" t="0" r="r" b="b"/>
                  <a:pathLst>
                    <a:path w="12" h="6">
                      <a:moveTo>
                        <a:pt x="0" y="4"/>
                      </a:moveTo>
                      <a:lnTo>
                        <a:pt x="0" y="4"/>
                      </a:lnTo>
                      <a:lnTo>
                        <a:pt x="0" y="4"/>
                      </a:lnTo>
                      <a:lnTo>
                        <a:pt x="2" y="6"/>
                      </a:lnTo>
                      <a:lnTo>
                        <a:pt x="6" y="4"/>
                      </a:lnTo>
                      <a:lnTo>
                        <a:pt x="10" y="2"/>
                      </a:lnTo>
                      <a:lnTo>
                        <a:pt x="12" y="0"/>
                      </a:lnTo>
                      <a:lnTo>
                        <a:pt x="10" y="0"/>
                      </a:lnTo>
                      <a:lnTo>
                        <a:pt x="10" y="0"/>
                      </a:lnTo>
                      <a:lnTo>
                        <a:pt x="4" y="0"/>
                      </a:lnTo>
                      <a:lnTo>
                        <a:pt x="0" y="0"/>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5" name="Freeform 6071"/>
                <p:cNvSpPr>
                  <a:spLocks/>
                </p:cNvSpPr>
                <p:nvPr/>
              </p:nvSpPr>
              <p:spPr bwMode="auto">
                <a:xfrm>
                  <a:off x="2401570" y="3290253"/>
                  <a:ext cx="55880" cy="24130"/>
                </a:xfrm>
                <a:custGeom>
                  <a:avLst/>
                  <a:gdLst/>
                  <a:ahLst/>
                  <a:cxnLst>
                    <a:cxn ang="0">
                      <a:pos x="50" y="4"/>
                    </a:cxn>
                    <a:cxn ang="0">
                      <a:pos x="50" y="4"/>
                    </a:cxn>
                    <a:cxn ang="0">
                      <a:pos x="32" y="0"/>
                    </a:cxn>
                    <a:cxn ang="0">
                      <a:pos x="20" y="0"/>
                    </a:cxn>
                    <a:cxn ang="0">
                      <a:pos x="10" y="2"/>
                    </a:cxn>
                    <a:cxn ang="0">
                      <a:pos x="4" y="10"/>
                    </a:cxn>
                    <a:cxn ang="0">
                      <a:pos x="4" y="10"/>
                    </a:cxn>
                    <a:cxn ang="0">
                      <a:pos x="2" y="12"/>
                    </a:cxn>
                    <a:cxn ang="0">
                      <a:pos x="0" y="14"/>
                    </a:cxn>
                    <a:cxn ang="0">
                      <a:pos x="12" y="18"/>
                    </a:cxn>
                    <a:cxn ang="0">
                      <a:pos x="12" y="18"/>
                    </a:cxn>
                    <a:cxn ang="0">
                      <a:pos x="18" y="22"/>
                    </a:cxn>
                    <a:cxn ang="0">
                      <a:pos x="20" y="26"/>
                    </a:cxn>
                    <a:cxn ang="0">
                      <a:pos x="24" y="32"/>
                    </a:cxn>
                    <a:cxn ang="0">
                      <a:pos x="38" y="36"/>
                    </a:cxn>
                    <a:cxn ang="0">
                      <a:pos x="38" y="36"/>
                    </a:cxn>
                    <a:cxn ang="0">
                      <a:pos x="50" y="38"/>
                    </a:cxn>
                    <a:cxn ang="0">
                      <a:pos x="52" y="38"/>
                    </a:cxn>
                    <a:cxn ang="0">
                      <a:pos x="54" y="36"/>
                    </a:cxn>
                    <a:cxn ang="0">
                      <a:pos x="56" y="32"/>
                    </a:cxn>
                    <a:cxn ang="0">
                      <a:pos x="58" y="30"/>
                    </a:cxn>
                    <a:cxn ang="0">
                      <a:pos x="62" y="30"/>
                    </a:cxn>
                    <a:cxn ang="0">
                      <a:pos x="62" y="30"/>
                    </a:cxn>
                    <a:cxn ang="0">
                      <a:pos x="72" y="30"/>
                    </a:cxn>
                    <a:cxn ang="0">
                      <a:pos x="82" y="32"/>
                    </a:cxn>
                    <a:cxn ang="0">
                      <a:pos x="86" y="32"/>
                    </a:cxn>
                    <a:cxn ang="0">
                      <a:pos x="88" y="30"/>
                    </a:cxn>
                    <a:cxn ang="0">
                      <a:pos x="88" y="28"/>
                    </a:cxn>
                    <a:cxn ang="0">
                      <a:pos x="88" y="28"/>
                    </a:cxn>
                    <a:cxn ang="0">
                      <a:pos x="84" y="20"/>
                    </a:cxn>
                    <a:cxn ang="0">
                      <a:pos x="76" y="14"/>
                    </a:cxn>
                    <a:cxn ang="0">
                      <a:pos x="66" y="8"/>
                    </a:cxn>
                    <a:cxn ang="0">
                      <a:pos x="50" y="4"/>
                    </a:cxn>
                    <a:cxn ang="0">
                      <a:pos x="50" y="4"/>
                    </a:cxn>
                  </a:cxnLst>
                  <a:rect l="0" t="0" r="r" b="b"/>
                  <a:pathLst>
                    <a:path w="88" h="38">
                      <a:moveTo>
                        <a:pt x="50" y="4"/>
                      </a:moveTo>
                      <a:lnTo>
                        <a:pt x="50" y="4"/>
                      </a:lnTo>
                      <a:lnTo>
                        <a:pt x="32" y="0"/>
                      </a:lnTo>
                      <a:lnTo>
                        <a:pt x="20" y="0"/>
                      </a:lnTo>
                      <a:lnTo>
                        <a:pt x="10" y="2"/>
                      </a:lnTo>
                      <a:lnTo>
                        <a:pt x="4" y="10"/>
                      </a:lnTo>
                      <a:lnTo>
                        <a:pt x="4" y="10"/>
                      </a:lnTo>
                      <a:lnTo>
                        <a:pt x="2" y="12"/>
                      </a:lnTo>
                      <a:lnTo>
                        <a:pt x="0" y="14"/>
                      </a:lnTo>
                      <a:lnTo>
                        <a:pt x="12" y="18"/>
                      </a:lnTo>
                      <a:lnTo>
                        <a:pt x="12" y="18"/>
                      </a:lnTo>
                      <a:lnTo>
                        <a:pt x="18" y="22"/>
                      </a:lnTo>
                      <a:lnTo>
                        <a:pt x="20" y="26"/>
                      </a:lnTo>
                      <a:lnTo>
                        <a:pt x="24" y="32"/>
                      </a:lnTo>
                      <a:lnTo>
                        <a:pt x="38" y="36"/>
                      </a:lnTo>
                      <a:lnTo>
                        <a:pt x="38" y="36"/>
                      </a:lnTo>
                      <a:lnTo>
                        <a:pt x="50" y="38"/>
                      </a:lnTo>
                      <a:lnTo>
                        <a:pt x="52" y="38"/>
                      </a:lnTo>
                      <a:lnTo>
                        <a:pt x="54" y="36"/>
                      </a:lnTo>
                      <a:lnTo>
                        <a:pt x="56" y="32"/>
                      </a:lnTo>
                      <a:lnTo>
                        <a:pt x="58" y="30"/>
                      </a:lnTo>
                      <a:lnTo>
                        <a:pt x="62" y="30"/>
                      </a:lnTo>
                      <a:lnTo>
                        <a:pt x="62" y="30"/>
                      </a:lnTo>
                      <a:lnTo>
                        <a:pt x="72" y="30"/>
                      </a:lnTo>
                      <a:lnTo>
                        <a:pt x="82" y="32"/>
                      </a:lnTo>
                      <a:lnTo>
                        <a:pt x="86" y="32"/>
                      </a:lnTo>
                      <a:lnTo>
                        <a:pt x="88" y="30"/>
                      </a:lnTo>
                      <a:lnTo>
                        <a:pt x="88" y="28"/>
                      </a:lnTo>
                      <a:lnTo>
                        <a:pt x="88" y="28"/>
                      </a:lnTo>
                      <a:lnTo>
                        <a:pt x="84" y="20"/>
                      </a:lnTo>
                      <a:lnTo>
                        <a:pt x="76" y="14"/>
                      </a:lnTo>
                      <a:lnTo>
                        <a:pt x="66" y="8"/>
                      </a:lnTo>
                      <a:lnTo>
                        <a:pt x="50" y="4"/>
                      </a:lnTo>
                      <a:lnTo>
                        <a:pt x="5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6" name="Freeform 6072"/>
                <p:cNvSpPr>
                  <a:spLocks/>
                </p:cNvSpPr>
                <p:nvPr/>
              </p:nvSpPr>
              <p:spPr bwMode="auto">
                <a:xfrm>
                  <a:off x="2849880" y="3513773"/>
                  <a:ext cx="8890" cy="7620"/>
                </a:xfrm>
                <a:custGeom>
                  <a:avLst/>
                  <a:gdLst/>
                  <a:ahLst/>
                  <a:cxnLst>
                    <a:cxn ang="0">
                      <a:pos x="14" y="2"/>
                    </a:cxn>
                    <a:cxn ang="0">
                      <a:pos x="14" y="2"/>
                    </a:cxn>
                    <a:cxn ang="0">
                      <a:pos x="14" y="2"/>
                    </a:cxn>
                    <a:cxn ang="0">
                      <a:pos x="14" y="0"/>
                    </a:cxn>
                    <a:cxn ang="0">
                      <a:pos x="8" y="2"/>
                    </a:cxn>
                    <a:cxn ang="0">
                      <a:pos x="4" y="4"/>
                    </a:cxn>
                    <a:cxn ang="0">
                      <a:pos x="0" y="10"/>
                    </a:cxn>
                    <a:cxn ang="0">
                      <a:pos x="0" y="10"/>
                    </a:cxn>
                    <a:cxn ang="0">
                      <a:pos x="2" y="12"/>
                    </a:cxn>
                    <a:cxn ang="0">
                      <a:pos x="2" y="12"/>
                    </a:cxn>
                    <a:cxn ang="0">
                      <a:pos x="6" y="10"/>
                    </a:cxn>
                    <a:cxn ang="0">
                      <a:pos x="10" y="8"/>
                    </a:cxn>
                    <a:cxn ang="0">
                      <a:pos x="14" y="2"/>
                    </a:cxn>
                    <a:cxn ang="0">
                      <a:pos x="14" y="2"/>
                    </a:cxn>
                  </a:cxnLst>
                  <a:rect l="0" t="0" r="r" b="b"/>
                  <a:pathLst>
                    <a:path w="14" h="12">
                      <a:moveTo>
                        <a:pt x="14" y="2"/>
                      </a:moveTo>
                      <a:lnTo>
                        <a:pt x="14" y="2"/>
                      </a:lnTo>
                      <a:lnTo>
                        <a:pt x="14" y="2"/>
                      </a:lnTo>
                      <a:lnTo>
                        <a:pt x="14" y="0"/>
                      </a:lnTo>
                      <a:lnTo>
                        <a:pt x="8" y="2"/>
                      </a:lnTo>
                      <a:lnTo>
                        <a:pt x="4" y="4"/>
                      </a:lnTo>
                      <a:lnTo>
                        <a:pt x="0" y="10"/>
                      </a:lnTo>
                      <a:lnTo>
                        <a:pt x="0" y="10"/>
                      </a:lnTo>
                      <a:lnTo>
                        <a:pt x="2" y="12"/>
                      </a:lnTo>
                      <a:lnTo>
                        <a:pt x="2" y="12"/>
                      </a:lnTo>
                      <a:lnTo>
                        <a:pt x="6" y="10"/>
                      </a:lnTo>
                      <a:lnTo>
                        <a:pt x="10" y="8"/>
                      </a:lnTo>
                      <a:lnTo>
                        <a:pt x="14" y="2"/>
                      </a:lnTo>
                      <a:lnTo>
                        <a:pt x="14"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7" name="Freeform 6073"/>
                <p:cNvSpPr>
                  <a:spLocks/>
                </p:cNvSpPr>
                <p:nvPr/>
              </p:nvSpPr>
              <p:spPr bwMode="auto">
                <a:xfrm>
                  <a:off x="2282190" y="3181033"/>
                  <a:ext cx="13970" cy="15240"/>
                </a:xfrm>
                <a:custGeom>
                  <a:avLst/>
                  <a:gdLst/>
                  <a:ahLst/>
                  <a:cxnLst>
                    <a:cxn ang="0">
                      <a:pos x="6" y="0"/>
                    </a:cxn>
                    <a:cxn ang="0">
                      <a:pos x="6" y="0"/>
                    </a:cxn>
                    <a:cxn ang="0">
                      <a:pos x="2" y="2"/>
                    </a:cxn>
                    <a:cxn ang="0">
                      <a:pos x="0" y="4"/>
                    </a:cxn>
                    <a:cxn ang="0">
                      <a:pos x="0" y="8"/>
                    </a:cxn>
                    <a:cxn ang="0">
                      <a:pos x="0" y="14"/>
                    </a:cxn>
                    <a:cxn ang="0">
                      <a:pos x="2" y="18"/>
                    </a:cxn>
                    <a:cxn ang="0">
                      <a:pos x="6" y="22"/>
                    </a:cxn>
                    <a:cxn ang="0">
                      <a:pos x="12" y="24"/>
                    </a:cxn>
                    <a:cxn ang="0">
                      <a:pos x="18" y="24"/>
                    </a:cxn>
                    <a:cxn ang="0">
                      <a:pos x="18" y="24"/>
                    </a:cxn>
                    <a:cxn ang="0">
                      <a:pos x="22" y="22"/>
                    </a:cxn>
                    <a:cxn ang="0">
                      <a:pos x="22" y="18"/>
                    </a:cxn>
                    <a:cxn ang="0">
                      <a:pos x="20" y="10"/>
                    </a:cxn>
                    <a:cxn ang="0">
                      <a:pos x="12" y="2"/>
                    </a:cxn>
                    <a:cxn ang="0">
                      <a:pos x="10" y="0"/>
                    </a:cxn>
                    <a:cxn ang="0">
                      <a:pos x="6" y="0"/>
                    </a:cxn>
                    <a:cxn ang="0">
                      <a:pos x="6" y="0"/>
                    </a:cxn>
                  </a:cxnLst>
                  <a:rect l="0" t="0" r="r" b="b"/>
                  <a:pathLst>
                    <a:path w="22" h="24">
                      <a:moveTo>
                        <a:pt x="6" y="0"/>
                      </a:moveTo>
                      <a:lnTo>
                        <a:pt x="6" y="0"/>
                      </a:lnTo>
                      <a:lnTo>
                        <a:pt x="2" y="2"/>
                      </a:lnTo>
                      <a:lnTo>
                        <a:pt x="0" y="4"/>
                      </a:lnTo>
                      <a:lnTo>
                        <a:pt x="0" y="8"/>
                      </a:lnTo>
                      <a:lnTo>
                        <a:pt x="0" y="14"/>
                      </a:lnTo>
                      <a:lnTo>
                        <a:pt x="2" y="18"/>
                      </a:lnTo>
                      <a:lnTo>
                        <a:pt x="6" y="22"/>
                      </a:lnTo>
                      <a:lnTo>
                        <a:pt x="12" y="24"/>
                      </a:lnTo>
                      <a:lnTo>
                        <a:pt x="18" y="24"/>
                      </a:lnTo>
                      <a:lnTo>
                        <a:pt x="18" y="24"/>
                      </a:lnTo>
                      <a:lnTo>
                        <a:pt x="22" y="22"/>
                      </a:lnTo>
                      <a:lnTo>
                        <a:pt x="22" y="18"/>
                      </a:lnTo>
                      <a:lnTo>
                        <a:pt x="20" y="10"/>
                      </a:lnTo>
                      <a:lnTo>
                        <a:pt x="12" y="2"/>
                      </a:lnTo>
                      <a:lnTo>
                        <a:pt x="10" y="0"/>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8" name="Freeform 6075"/>
                <p:cNvSpPr>
                  <a:spLocks/>
                </p:cNvSpPr>
                <p:nvPr/>
              </p:nvSpPr>
              <p:spPr bwMode="auto">
                <a:xfrm>
                  <a:off x="2759710" y="3521393"/>
                  <a:ext cx="15240" cy="7620"/>
                </a:xfrm>
                <a:custGeom>
                  <a:avLst/>
                  <a:gdLst/>
                  <a:ahLst/>
                  <a:cxnLst>
                    <a:cxn ang="0">
                      <a:pos x="16" y="2"/>
                    </a:cxn>
                    <a:cxn ang="0">
                      <a:pos x="16" y="2"/>
                    </a:cxn>
                    <a:cxn ang="0">
                      <a:pos x="14" y="4"/>
                    </a:cxn>
                    <a:cxn ang="0">
                      <a:pos x="12" y="6"/>
                    </a:cxn>
                    <a:cxn ang="0">
                      <a:pos x="6" y="4"/>
                    </a:cxn>
                    <a:cxn ang="0">
                      <a:pos x="4" y="2"/>
                    </a:cxn>
                    <a:cxn ang="0">
                      <a:pos x="2" y="4"/>
                    </a:cxn>
                    <a:cxn ang="0">
                      <a:pos x="0" y="6"/>
                    </a:cxn>
                    <a:cxn ang="0">
                      <a:pos x="0" y="6"/>
                    </a:cxn>
                    <a:cxn ang="0">
                      <a:pos x="0" y="10"/>
                    </a:cxn>
                    <a:cxn ang="0">
                      <a:pos x="2" y="10"/>
                    </a:cxn>
                    <a:cxn ang="0">
                      <a:pos x="8" y="10"/>
                    </a:cxn>
                    <a:cxn ang="0">
                      <a:pos x="8" y="10"/>
                    </a:cxn>
                    <a:cxn ang="0">
                      <a:pos x="14" y="12"/>
                    </a:cxn>
                    <a:cxn ang="0">
                      <a:pos x="20" y="12"/>
                    </a:cxn>
                    <a:cxn ang="0">
                      <a:pos x="24" y="10"/>
                    </a:cxn>
                    <a:cxn ang="0">
                      <a:pos x="24" y="10"/>
                    </a:cxn>
                    <a:cxn ang="0">
                      <a:pos x="24" y="6"/>
                    </a:cxn>
                    <a:cxn ang="0">
                      <a:pos x="24" y="2"/>
                    </a:cxn>
                    <a:cxn ang="0">
                      <a:pos x="20" y="0"/>
                    </a:cxn>
                    <a:cxn ang="0">
                      <a:pos x="16" y="2"/>
                    </a:cxn>
                    <a:cxn ang="0">
                      <a:pos x="16" y="2"/>
                    </a:cxn>
                  </a:cxnLst>
                  <a:rect l="0" t="0" r="r" b="b"/>
                  <a:pathLst>
                    <a:path w="24" h="12">
                      <a:moveTo>
                        <a:pt x="16" y="2"/>
                      </a:moveTo>
                      <a:lnTo>
                        <a:pt x="16" y="2"/>
                      </a:lnTo>
                      <a:lnTo>
                        <a:pt x="14" y="4"/>
                      </a:lnTo>
                      <a:lnTo>
                        <a:pt x="12" y="6"/>
                      </a:lnTo>
                      <a:lnTo>
                        <a:pt x="6" y="4"/>
                      </a:lnTo>
                      <a:lnTo>
                        <a:pt x="4" y="2"/>
                      </a:lnTo>
                      <a:lnTo>
                        <a:pt x="2" y="4"/>
                      </a:lnTo>
                      <a:lnTo>
                        <a:pt x="0" y="6"/>
                      </a:lnTo>
                      <a:lnTo>
                        <a:pt x="0" y="6"/>
                      </a:lnTo>
                      <a:lnTo>
                        <a:pt x="0" y="10"/>
                      </a:lnTo>
                      <a:lnTo>
                        <a:pt x="2" y="10"/>
                      </a:lnTo>
                      <a:lnTo>
                        <a:pt x="8" y="10"/>
                      </a:lnTo>
                      <a:lnTo>
                        <a:pt x="8" y="10"/>
                      </a:lnTo>
                      <a:lnTo>
                        <a:pt x="14" y="12"/>
                      </a:lnTo>
                      <a:lnTo>
                        <a:pt x="20" y="12"/>
                      </a:lnTo>
                      <a:lnTo>
                        <a:pt x="24" y="10"/>
                      </a:lnTo>
                      <a:lnTo>
                        <a:pt x="24" y="10"/>
                      </a:lnTo>
                      <a:lnTo>
                        <a:pt x="24" y="6"/>
                      </a:lnTo>
                      <a:lnTo>
                        <a:pt x="24" y="2"/>
                      </a:lnTo>
                      <a:lnTo>
                        <a:pt x="20" y="0"/>
                      </a:lnTo>
                      <a:lnTo>
                        <a:pt x="16" y="2"/>
                      </a:lnTo>
                      <a:lnTo>
                        <a:pt x="1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9" name="Freeform 6076"/>
                <p:cNvSpPr>
                  <a:spLocks/>
                </p:cNvSpPr>
                <p:nvPr/>
              </p:nvSpPr>
              <p:spPr bwMode="auto">
                <a:xfrm>
                  <a:off x="2325370" y="3263583"/>
                  <a:ext cx="7620" cy="2540"/>
                </a:xfrm>
                <a:custGeom>
                  <a:avLst/>
                  <a:gdLst/>
                  <a:ahLst/>
                  <a:cxnLst>
                    <a:cxn ang="0">
                      <a:pos x="0" y="4"/>
                    </a:cxn>
                    <a:cxn ang="0">
                      <a:pos x="0" y="4"/>
                    </a:cxn>
                    <a:cxn ang="0">
                      <a:pos x="6" y="4"/>
                    </a:cxn>
                    <a:cxn ang="0">
                      <a:pos x="12" y="2"/>
                    </a:cxn>
                    <a:cxn ang="0">
                      <a:pos x="12" y="2"/>
                    </a:cxn>
                    <a:cxn ang="0">
                      <a:pos x="12" y="2"/>
                    </a:cxn>
                    <a:cxn ang="0">
                      <a:pos x="10" y="0"/>
                    </a:cxn>
                    <a:cxn ang="0">
                      <a:pos x="6" y="0"/>
                    </a:cxn>
                    <a:cxn ang="0">
                      <a:pos x="2" y="0"/>
                    </a:cxn>
                    <a:cxn ang="0">
                      <a:pos x="0" y="2"/>
                    </a:cxn>
                    <a:cxn ang="0">
                      <a:pos x="0" y="4"/>
                    </a:cxn>
                    <a:cxn ang="0">
                      <a:pos x="0" y="4"/>
                    </a:cxn>
                  </a:cxnLst>
                  <a:rect l="0" t="0" r="r" b="b"/>
                  <a:pathLst>
                    <a:path w="12" h="4">
                      <a:moveTo>
                        <a:pt x="0" y="4"/>
                      </a:moveTo>
                      <a:lnTo>
                        <a:pt x="0" y="4"/>
                      </a:lnTo>
                      <a:lnTo>
                        <a:pt x="6" y="4"/>
                      </a:lnTo>
                      <a:lnTo>
                        <a:pt x="12" y="2"/>
                      </a:lnTo>
                      <a:lnTo>
                        <a:pt x="12" y="2"/>
                      </a:lnTo>
                      <a:lnTo>
                        <a:pt x="12" y="2"/>
                      </a:lnTo>
                      <a:lnTo>
                        <a:pt x="10" y="0"/>
                      </a:lnTo>
                      <a:lnTo>
                        <a:pt x="6" y="0"/>
                      </a:lnTo>
                      <a:lnTo>
                        <a:pt x="2" y="0"/>
                      </a:lnTo>
                      <a:lnTo>
                        <a:pt x="0" y="2"/>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0" name="Freeform 6077"/>
                <p:cNvSpPr>
                  <a:spLocks/>
                </p:cNvSpPr>
                <p:nvPr/>
              </p:nvSpPr>
              <p:spPr bwMode="auto">
                <a:xfrm>
                  <a:off x="2757170" y="2330133"/>
                  <a:ext cx="60960" cy="38100"/>
                </a:xfrm>
                <a:custGeom>
                  <a:avLst/>
                  <a:gdLst/>
                  <a:ahLst/>
                  <a:cxnLst>
                    <a:cxn ang="0">
                      <a:pos x="94" y="28"/>
                    </a:cxn>
                    <a:cxn ang="0">
                      <a:pos x="94" y="28"/>
                    </a:cxn>
                    <a:cxn ang="0">
                      <a:pos x="84" y="28"/>
                    </a:cxn>
                    <a:cxn ang="0">
                      <a:pos x="70" y="28"/>
                    </a:cxn>
                    <a:cxn ang="0">
                      <a:pos x="50" y="28"/>
                    </a:cxn>
                    <a:cxn ang="0">
                      <a:pos x="40" y="28"/>
                    </a:cxn>
                    <a:cxn ang="0">
                      <a:pos x="32" y="26"/>
                    </a:cxn>
                    <a:cxn ang="0">
                      <a:pos x="32" y="26"/>
                    </a:cxn>
                    <a:cxn ang="0">
                      <a:pos x="24" y="22"/>
                    </a:cxn>
                    <a:cxn ang="0">
                      <a:pos x="20" y="16"/>
                    </a:cxn>
                    <a:cxn ang="0">
                      <a:pos x="16" y="10"/>
                    </a:cxn>
                    <a:cxn ang="0">
                      <a:pos x="16" y="4"/>
                    </a:cxn>
                    <a:cxn ang="0">
                      <a:pos x="14" y="2"/>
                    </a:cxn>
                    <a:cxn ang="0">
                      <a:pos x="14" y="0"/>
                    </a:cxn>
                    <a:cxn ang="0">
                      <a:pos x="10" y="2"/>
                    </a:cxn>
                    <a:cxn ang="0">
                      <a:pos x="6" y="8"/>
                    </a:cxn>
                    <a:cxn ang="0">
                      <a:pos x="6" y="8"/>
                    </a:cxn>
                    <a:cxn ang="0">
                      <a:pos x="0" y="18"/>
                    </a:cxn>
                    <a:cxn ang="0">
                      <a:pos x="0" y="20"/>
                    </a:cxn>
                    <a:cxn ang="0">
                      <a:pos x="2" y="22"/>
                    </a:cxn>
                    <a:cxn ang="0">
                      <a:pos x="6" y="22"/>
                    </a:cxn>
                    <a:cxn ang="0">
                      <a:pos x="8" y="24"/>
                    </a:cxn>
                    <a:cxn ang="0">
                      <a:pos x="8" y="28"/>
                    </a:cxn>
                    <a:cxn ang="0">
                      <a:pos x="8" y="28"/>
                    </a:cxn>
                    <a:cxn ang="0">
                      <a:pos x="8" y="32"/>
                    </a:cxn>
                    <a:cxn ang="0">
                      <a:pos x="10" y="34"/>
                    </a:cxn>
                    <a:cxn ang="0">
                      <a:pos x="14" y="34"/>
                    </a:cxn>
                    <a:cxn ang="0">
                      <a:pos x="22" y="34"/>
                    </a:cxn>
                    <a:cxn ang="0">
                      <a:pos x="24" y="36"/>
                    </a:cxn>
                    <a:cxn ang="0">
                      <a:pos x="28" y="38"/>
                    </a:cxn>
                    <a:cxn ang="0">
                      <a:pos x="28" y="38"/>
                    </a:cxn>
                    <a:cxn ang="0">
                      <a:pos x="34" y="44"/>
                    </a:cxn>
                    <a:cxn ang="0">
                      <a:pos x="40" y="46"/>
                    </a:cxn>
                    <a:cxn ang="0">
                      <a:pos x="52" y="50"/>
                    </a:cxn>
                    <a:cxn ang="0">
                      <a:pos x="74" y="58"/>
                    </a:cxn>
                    <a:cxn ang="0">
                      <a:pos x="74" y="58"/>
                    </a:cxn>
                    <a:cxn ang="0">
                      <a:pos x="78" y="60"/>
                    </a:cxn>
                    <a:cxn ang="0">
                      <a:pos x="82" y="58"/>
                    </a:cxn>
                    <a:cxn ang="0">
                      <a:pos x="82" y="54"/>
                    </a:cxn>
                    <a:cxn ang="0">
                      <a:pos x="82" y="46"/>
                    </a:cxn>
                    <a:cxn ang="0">
                      <a:pos x="82" y="46"/>
                    </a:cxn>
                    <a:cxn ang="0">
                      <a:pos x="82" y="40"/>
                    </a:cxn>
                    <a:cxn ang="0">
                      <a:pos x="84" y="38"/>
                    </a:cxn>
                    <a:cxn ang="0">
                      <a:pos x="90" y="32"/>
                    </a:cxn>
                    <a:cxn ang="0">
                      <a:pos x="94" y="30"/>
                    </a:cxn>
                    <a:cxn ang="0">
                      <a:pos x="96" y="30"/>
                    </a:cxn>
                    <a:cxn ang="0">
                      <a:pos x="94" y="28"/>
                    </a:cxn>
                    <a:cxn ang="0">
                      <a:pos x="94" y="28"/>
                    </a:cxn>
                  </a:cxnLst>
                  <a:rect l="0" t="0" r="r" b="b"/>
                  <a:pathLst>
                    <a:path w="96" h="60">
                      <a:moveTo>
                        <a:pt x="94" y="28"/>
                      </a:moveTo>
                      <a:lnTo>
                        <a:pt x="94" y="28"/>
                      </a:lnTo>
                      <a:lnTo>
                        <a:pt x="84" y="28"/>
                      </a:lnTo>
                      <a:lnTo>
                        <a:pt x="70" y="28"/>
                      </a:lnTo>
                      <a:lnTo>
                        <a:pt x="50" y="28"/>
                      </a:lnTo>
                      <a:lnTo>
                        <a:pt x="40" y="28"/>
                      </a:lnTo>
                      <a:lnTo>
                        <a:pt x="32" y="26"/>
                      </a:lnTo>
                      <a:lnTo>
                        <a:pt x="32" y="26"/>
                      </a:lnTo>
                      <a:lnTo>
                        <a:pt x="24" y="22"/>
                      </a:lnTo>
                      <a:lnTo>
                        <a:pt x="20" y="16"/>
                      </a:lnTo>
                      <a:lnTo>
                        <a:pt x="16" y="10"/>
                      </a:lnTo>
                      <a:lnTo>
                        <a:pt x="16" y="4"/>
                      </a:lnTo>
                      <a:lnTo>
                        <a:pt x="14" y="2"/>
                      </a:lnTo>
                      <a:lnTo>
                        <a:pt x="14" y="0"/>
                      </a:lnTo>
                      <a:lnTo>
                        <a:pt x="10" y="2"/>
                      </a:lnTo>
                      <a:lnTo>
                        <a:pt x="6" y="8"/>
                      </a:lnTo>
                      <a:lnTo>
                        <a:pt x="6" y="8"/>
                      </a:lnTo>
                      <a:lnTo>
                        <a:pt x="0" y="18"/>
                      </a:lnTo>
                      <a:lnTo>
                        <a:pt x="0" y="20"/>
                      </a:lnTo>
                      <a:lnTo>
                        <a:pt x="2" y="22"/>
                      </a:lnTo>
                      <a:lnTo>
                        <a:pt x="6" y="22"/>
                      </a:lnTo>
                      <a:lnTo>
                        <a:pt x="8" y="24"/>
                      </a:lnTo>
                      <a:lnTo>
                        <a:pt x="8" y="28"/>
                      </a:lnTo>
                      <a:lnTo>
                        <a:pt x="8" y="28"/>
                      </a:lnTo>
                      <a:lnTo>
                        <a:pt x="8" y="32"/>
                      </a:lnTo>
                      <a:lnTo>
                        <a:pt x="10" y="34"/>
                      </a:lnTo>
                      <a:lnTo>
                        <a:pt x="14" y="34"/>
                      </a:lnTo>
                      <a:lnTo>
                        <a:pt x="22" y="34"/>
                      </a:lnTo>
                      <a:lnTo>
                        <a:pt x="24" y="36"/>
                      </a:lnTo>
                      <a:lnTo>
                        <a:pt x="28" y="38"/>
                      </a:lnTo>
                      <a:lnTo>
                        <a:pt x="28" y="38"/>
                      </a:lnTo>
                      <a:lnTo>
                        <a:pt x="34" y="44"/>
                      </a:lnTo>
                      <a:lnTo>
                        <a:pt x="40" y="46"/>
                      </a:lnTo>
                      <a:lnTo>
                        <a:pt x="52" y="50"/>
                      </a:lnTo>
                      <a:lnTo>
                        <a:pt x="74" y="58"/>
                      </a:lnTo>
                      <a:lnTo>
                        <a:pt x="74" y="58"/>
                      </a:lnTo>
                      <a:lnTo>
                        <a:pt x="78" y="60"/>
                      </a:lnTo>
                      <a:lnTo>
                        <a:pt x="82" y="58"/>
                      </a:lnTo>
                      <a:lnTo>
                        <a:pt x="82" y="54"/>
                      </a:lnTo>
                      <a:lnTo>
                        <a:pt x="82" y="46"/>
                      </a:lnTo>
                      <a:lnTo>
                        <a:pt x="82" y="46"/>
                      </a:lnTo>
                      <a:lnTo>
                        <a:pt x="82" y="40"/>
                      </a:lnTo>
                      <a:lnTo>
                        <a:pt x="84" y="38"/>
                      </a:lnTo>
                      <a:lnTo>
                        <a:pt x="90" y="32"/>
                      </a:lnTo>
                      <a:lnTo>
                        <a:pt x="94" y="30"/>
                      </a:lnTo>
                      <a:lnTo>
                        <a:pt x="96" y="30"/>
                      </a:lnTo>
                      <a:lnTo>
                        <a:pt x="94" y="28"/>
                      </a:lnTo>
                      <a:lnTo>
                        <a:pt x="94" y="2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1" name="Freeform 6078"/>
                <p:cNvSpPr>
                  <a:spLocks/>
                </p:cNvSpPr>
                <p:nvPr/>
              </p:nvSpPr>
              <p:spPr bwMode="auto">
                <a:xfrm>
                  <a:off x="2833370" y="2327593"/>
                  <a:ext cx="44450" cy="55880"/>
                </a:xfrm>
                <a:custGeom>
                  <a:avLst/>
                  <a:gdLst/>
                  <a:ahLst/>
                  <a:cxnLst>
                    <a:cxn ang="0">
                      <a:pos x="60" y="48"/>
                    </a:cxn>
                    <a:cxn ang="0">
                      <a:pos x="60" y="48"/>
                    </a:cxn>
                    <a:cxn ang="0">
                      <a:pos x="50" y="46"/>
                    </a:cxn>
                    <a:cxn ang="0">
                      <a:pos x="48" y="44"/>
                    </a:cxn>
                    <a:cxn ang="0">
                      <a:pos x="46" y="42"/>
                    </a:cxn>
                    <a:cxn ang="0">
                      <a:pos x="44" y="32"/>
                    </a:cxn>
                    <a:cxn ang="0">
                      <a:pos x="46" y="18"/>
                    </a:cxn>
                    <a:cxn ang="0">
                      <a:pos x="46" y="18"/>
                    </a:cxn>
                    <a:cxn ang="0">
                      <a:pos x="46" y="6"/>
                    </a:cxn>
                    <a:cxn ang="0">
                      <a:pos x="44" y="2"/>
                    </a:cxn>
                    <a:cxn ang="0">
                      <a:pos x="42" y="0"/>
                    </a:cxn>
                    <a:cxn ang="0">
                      <a:pos x="40" y="2"/>
                    </a:cxn>
                    <a:cxn ang="0">
                      <a:pos x="36" y="4"/>
                    </a:cxn>
                    <a:cxn ang="0">
                      <a:pos x="24" y="18"/>
                    </a:cxn>
                    <a:cxn ang="0">
                      <a:pos x="24" y="18"/>
                    </a:cxn>
                    <a:cxn ang="0">
                      <a:pos x="12" y="34"/>
                    </a:cxn>
                    <a:cxn ang="0">
                      <a:pos x="4" y="48"/>
                    </a:cxn>
                    <a:cxn ang="0">
                      <a:pos x="2" y="56"/>
                    </a:cxn>
                    <a:cxn ang="0">
                      <a:pos x="0" y="64"/>
                    </a:cxn>
                    <a:cxn ang="0">
                      <a:pos x="0" y="72"/>
                    </a:cxn>
                    <a:cxn ang="0">
                      <a:pos x="4" y="82"/>
                    </a:cxn>
                    <a:cxn ang="0">
                      <a:pos x="4" y="82"/>
                    </a:cxn>
                    <a:cxn ang="0">
                      <a:pos x="8" y="88"/>
                    </a:cxn>
                    <a:cxn ang="0">
                      <a:pos x="10" y="88"/>
                    </a:cxn>
                    <a:cxn ang="0">
                      <a:pos x="12" y="88"/>
                    </a:cxn>
                    <a:cxn ang="0">
                      <a:pos x="16" y="82"/>
                    </a:cxn>
                    <a:cxn ang="0">
                      <a:pos x="20" y="70"/>
                    </a:cxn>
                    <a:cxn ang="0">
                      <a:pos x="20" y="70"/>
                    </a:cxn>
                    <a:cxn ang="0">
                      <a:pos x="24" y="58"/>
                    </a:cxn>
                    <a:cxn ang="0">
                      <a:pos x="28" y="56"/>
                    </a:cxn>
                    <a:cxn ang="0">
                      <a:pos x="30" y="54"/>
                    </a:cxn>
                    <a:cxn ang="0">
                      <a:pos x="30" y="56"/>
                    </a:cxn>
                    <a:cxn ang="0">
                      <a:pos x="32" y="58"/>
                    </a:cxn>
                    <a:cxn ang="0">
                      <a:pos x="30" y="72"/>
                    </a:cxn>
                    <a:cxn ang="0">
                      <a:pos x="30" y="72"/>
                    </a:cxn>
                    <a:cxn ang="0">
                      <a:pos x="28" y="84"/>
                    </a:cxn>
                    <a:cxn ang="0">
                      <a:pos x="30" y="86"/>
                    </a:cxn>
                    <a:cxn ang="0">
                      <a:pos x="32" y="86"/>
                    </a:cxn>
                    <a:cxn ang="0">
                      <a:pos x="40" y="82"/>
                    </a:cxn>
                    <a:cxn ang="0">
                      <a:pos x="50" y="76"/>
                    </a:cxn>
                    <a:cxn ang="0">
                      <a:pos x="50" y="76"/>
                    </a:cxn>
                    <a:cxn ang="0">
                      <a:pos x="60" y="68"/>
                    </a:cxn>
                    <a:cxn ang="0">
                      <a:pos x="68" y="60"/>
                    </a:cxn>
                    <a:cxn ang="0">
                      <a:pos x="70" y="56"/>
                    </a:cxn>
                    <a:cxn ang="0">
                      <a:pos x="68" y="52"/>
                    </a:cxn>
                    <a:cxn ang="0">
                      <a:pos x="66" y="50"/>
                    </a:cxn>
                    <a:cxn ang="0">
                      <a:pos x="60" y="48"/>
                    </a:cxn>
                    <a:cxn ang="0">
                      <a:pos x="60" y="48"/>
                    </a:cxn>
                  </a:cxnLst>
                  <a:rect l="0" t="0" r="r" b="b"/>
                  <a:pathLst>
                    <a:path w="70" h="88">
                      <a:moveTo>
                        <a:pt x="60" y="48"/>
                      </a:moveTo>
                      <a:lnTo>
                        <a:pt x="60" y="48"/>
                      </a:lnTo>
                      <a:lnTo>
                        <a:pt x="50" y="46"/>
                      </a:lnTo>
                      <a:lnTo>
                        <a:pt x="48" y="44"/>
                      </a:lnTo>
                      <a:lnTo>
                        <a:pt x="46" y="42"/>
                      </a:lnTo>
                      <a:lnTo>
                        <a:pt x="44" y="32"/>
                      </a:lnTo>
                      <a:lnTo>
                        <a:pt x="46" y="18"/>
                      </a:lnTo>
                      <a:lnTo>
                        <a:pt x="46" y="18"/>
                      </a:lnTo>
                      <a:lnTo>
                        <a:pt x="46" y="6"/>
                      </a:lnTo>
                      <a:lnTo>
                        <a:pt x="44" y="2"/>
                      </a:lnTo>
                      <a:lnTo>
                        <a:pt x="42" y="0"/>
                      </a:lnTo>
                      <a:lnTo>
                        <a:pt x="40" y="2"/>
                      </a:lnTo>
                      <a:lnTo>
                        <a:pt x="36" y="4"/>
                      </a:lnTo>
                      <a:lnTo>
                        <a:pt x="24" y="18"/>
                      </a:lnTo>
                      <a:lnTo>
                        <a:pt x="24" y="18"/>
                      </a:lnTo>
                      <a:lnTo>
                        <a:pt x="12" y="34"/>
                      </a:lnTo>
                      <a:lnTo>
                        <a:pt x="4" y="48"/>
                      </a:lnTo>
                      <a:lnTo>
                        <a:pt x="2" y="56"/>
                      </a:lnTo>
                      <a:lnTo>
                        <a:pt x="0" y="64"/>
                      </a:lnTo>
                      <a:lnTo>
                        <a:pt x="0" y="72"/>
                      </a:lnTo>
                      <a:lnTo>
                        <a:pt x="4" y="82"/>
                      </a:lnTo>
                      <a:lnTo>
                        <a:pt x="4" y="82"/>
                      </a:lnTo>
                      <a:lnTo>
                        <a:pt x="8" y="88"/>
                      </a:lnTo>
                      <a:lnTo>
                        <a:pt x="10" y="88"/>
                      </a:lnTo>
                      <a:lnTo>
                        <a:pt x="12" y="88"/>
                      </a:lnTo>
                      <a:lnTo>
                        <a:pt x="16" y="82"/>
                      </a:lnTo>
                      <a:lnTo>
                        <a:pt x="20" y="70"/>
                      </a:lnTo>
                      <a:lnTo>
                        <a:pt x="20" y="70"/>
                      </a:lnTo>
                      <a:lnTo>
                        <a:pt x="24" y="58"/>
                      </a:lnTo>
                      <a:lnTo>
                        <a:pt x="28" y="56"/>
                      </a:lnTo>
                      <a:lnTo>
                        <a:pt x="30" y="54"/>
                      </a:lnTo>
                      <a:lnTo>
                        <a:pt x="30" y="56"/>
                      </a:lnTo>
                      <a:lnTo>
                        <a:pt x="32" y="58"/>
                      </a:lnTo>
                      <a:lnTo>
                        <a:pt x="30" y="72"/>
                      </a:lnTo>
                      <a:lnTo>
                        <a:pt x="30" y="72"/>
                      </a:lnTo>
                      <a:lnTo>
                        <a:pt x="28" y="84"/>
                      </a:lnTo>
                      <a:lnTo>
                        <a:pt x="30" y="86"/>
                      </a:lnTo>
                      <a:lnTo>
                        <a:pt x="32" y="86"/>
                      </a:lnTo>
                      <a:lnTo>
                        <a:pt x="40" y="82"/>
                      </a:lnTo>
                      <a:lnTo>
                        <a:pt x="50" y="76"/>
                      </a:lnTo>
                      <a:lnTo>
                        <a:pt x="50" y="76"/>
                      </a:lnTo>
                      <a:lnTo>
                        <a:pt x="60" y="68"/>
                      </a:lnTo>
                      <a:lnTo>
                        <a:pt x="68" y="60"/>
                      </a:lnTo>
                      <a:lnTo>
                        <a:pt x="70" y="56"/>
                      </a:lnTo>
                      <a:lnTo>
                        <a:pt x="68" y="52"/>
                      </a:lnTo>
                      <a:lnTo>
                        <a:pt x="66" y="50"/>
                      </a:lnTo>
                      <a:lnTo>
                        <a:pt x="60" y="48"/>
                      </a:lnTo>
                      <a:lnTo>
                        <a:pt x="60" y="4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2" name="Freeform 6079"/>
                <p:cNvSpPr>
                  <a:spLocks/>
                </p:cNvSpPr>
                <p:nvPr/>
              </p:nvSpPr>
              <p:spPr bwMode="auto">
                <a:xfrm>
                  <a:off x="2753360" y="2219643"/>
                  <a:ext cx="73660" cy="34290"/>
                </a:xfrm>
                <a:custGeom>
                  <a:avLst/>
                  <a:gdLst/>
                  <a:ahLst/>
                  <a:cxnLst>
                    <a:cxn ang="0">
                      <a:pos x="116" y="48"/>
                    </a:cxn>
                    <a:cxn ang="0">
                      <a:pos x="116" y="48"/>
                    </a:cxn>
                    <a:cxn ang="0">
                      <a:pos x="116" y="46"/>
                    </a:cxn>
                    <a:cxn ang="0">
                      <a:pos x="116" y="42"/>
                    </a:cxn>
                    <a:cxn ang="0">
                      <a:pos x="112" y="36"/>
                    </a:cxn>
                    <a:cxn ang="0">
                      <a:pos x="104" y="30"/>
                    </a:cxn>
                    <a:cxn ang="0">
                      <a:pos x="92" y="24"/>
                    </a:cxn>
                    <a:cxn ang="0">
                      <a:pos x="78" y="16"/>
                    </a:cxn>
                    <a:cxn ang="0">
                      <a:pos x="62" y="10"/>
                    </a:cxn>
                    <a:cxn ang="0">
                      <a:pos x="44" y="6"/>
                    </a:cxn>
                    <a:cxn ang="0">
                      <a:pos x="24" y="2"/>
                    </a:cxn>
                    <a:cxn ang="0">
                      <a:pos x="24" y="2"/>
                    </a:cxn>
                    <a:cxn ang="0">
                      <a:pos x="10" y="0"/>
                    </a:cxn>
                    <a:cxn ang="0">
                      <a:pos x="2" y="0"/>
                    </a:cxn>
                    <a:cxn ang="0">
                      <a:pos x="0" y="2"/>
                    </a:cxn>
                    <a:cxn ang="0">
                      <a:pos x="0" y="2"/>
                    </a:cxn>
                    <a:cxn ang="0">
                      <a:pos x="4" y="6"/>
                    </a:cxn>
                    <a:cxn ang="0">
                      <a:pos x="18" y="14"/>
                    </a:cxn>
                    <a:cxn ang="0">
                      <a:pos x="32" y="24"/>
                    </a:cxn>
                    <a:cxn ang="0">
                      <a:pos x="32" y="24"/>
                    </a:cxn>
                    <a:cxn ang="0">
                      <a:pos x="52" y="38"/>
                    </a:cxn>
                    <a:cxn ang="0">
                      <a:pos x="76" y="48"/>
                    </a:cxn>
                    <a:cxn ang="0">
                      <a:pos x="90" y="52"/>
                    </a:cxn>
                    <a:cxn ang="0">
                      <a:pos x="100" y="54"/>
                    </a:cxn>
                    <a:cxn ang="0">
                      <a:pos x="110" y="52"/>
                    </a:cxn>
                    <a:cxn ang="0">
                      <a:pos x="114" y="50"/>
                    </a:cxn>
                    <a:cxn ang="0">
                      <a:pos x="116" y="48"/>
                    </a:cxn>
                    <a:cxn ang="0">
                      <a:pos x="116" y="48"/>
                    </a:cxn>
                  </a:cxnLst>
                  <a:rect l="0" t="0" r="r" b="b"/>
                  <a:pathLst>
                    <a:path w="116" h="54">
                      <a:moveTo>
                        <a:pt x="116" y="48"/>
                      </a:moveTo>
                      <a:lnTo>
                        <a:pt x="116" y="48"/>
                      </a:lnTo>
                      <a:lnTo>
                        <a:pt x="116" y="46"/>
                      </a:lnTo>
                      <a:lnTo>
                        <a:pt x="116" y="42"/>
                      </a:lnTo>
                      <a:lnTo>
                        <a:pt x="112" y="36"/>
                      </a:lnTo>
                      <a:lnTo>
                        <a:pt x="104" y="30"/>
                      </a:lnTo>
                      <a:lnTo>
                        <a:pt x="92" y="24"/>
                      </a:lnTo>
                      <a:lnTo>
                        <a:pt x="78" y="16"/>
                      </a:lnTo>
                      <a:lnTo>
                        <a:pt x="62" y="10"/>
                      </a:lnTo>
                      <a:lnTo>
                        <a:pt x="44" y="6"/>
                      </a:lnTo>
                      <a:lnTo>
                        <a:pt x="24" y="2"/>
                      </a:lnTo>
                      <a:lnTo>
                        <a:pt x="24" y="2"/>
                      </a:lnTo>
                      <a:lnTo>
                        <a:pt x="10" y="0"/>
                      </a:lnTo>
                      <a:lnTo>
                        <a:pt x="2" y="0"/>
                      </a:lnTo>
                      <a:lnTo>
                        <a:pt x="0" y="2"/>
                      </a:lnTo>
                      <a:lnTo>
                        <a:pt x="0" y="2"/>
                      </a:lnTo>
                      <a:lnTo>
                        <a:pt x="4" y="6"/>
                      </a:lnTo>
                      <a:lnTo>
                        <a:pt x="18" y="14"/>
                      </a:lnTo>
                      <a:lnTo>
                        <a:pt x="32" y="24"/>
                      </a:lnTo>
                      <a:lnTo>
                        <a:pt x="32" y="24"/>
                      </a:lnTo>
                      <a:lnTo>
                        <a:pt x="52" y="38"/>
                      </a:lnTo>
                      <a:lnTo>
                        <a:pt x="76" y="48"/>
                      </a:lnTo>
                      <a:lnTo>
                        <a:pt x="90" y="52"/>
                      </a:lnTo>
                      <a:lnTo>
                        <a:pt x="100" y="54"/>
                      </a:lnTo>
                      <a:lnTo>
                        <a:pt x="110" y="52"/>
                      </a:lnTo>
                      <a:lnTo>
                        <a:pt x="114" y="50"/>
                      </a:lnTo>
                      <a:lnTo>
                        <a:pt x="116" y="48"/>
                      </a:lnTo>
                      <a:lnTo>
                        <a:pt x="116" y="4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3" name="Freeform 6080"/>
                <p:cNvSpPr>
                  <a:spLocks/>
                </p:cNvSpPr>
                <p:nvPr/>
              </p:nvSpPr>
              <p:spPr bwMode="auto">
                <a:xfrm>
                  <a:off x="2852420" y="3488373"/>
                  <a:ext cx="10160" cy="11430"/>
                </a:xfrm>
                <a:custGeom>
                  <a:avLst/>
                  <a:gdLst/>
                  <a:ahLst/>
                  <a:cxnLst>
                    <a:cxn ang="0">
                      <a:pos x="2" y="0"/>
                    </a:cxn>
                    <a:cxn ang="0">
                      <a:pos x="2" y="0"/>
                    </a:cxn>
                    <a:cxn ang="0">
                      <a:pos x="0" y="0"/>
                    </a:cxn>
                    <a:cxn ang="0">
                      <a:pos x="0" y="4"/>
                    </a:cxn>
                    <a:cxn ang="0">
                      <a:pos x="0" y="10"/>
                    </a:cxn>
                    <a:cxn ang="0">
                      <a:pos x="0" y="14"/>
                    </a:cxn>
                    <a:cxn ang="0">
                      <a:pos x="4" y="16"/>
                    </a:cxn>
                    <a:cxn ang="0">
                      <a:pos x="8" y="18"/>
                    </a:cxn>
                    <a:cxn ang="0">
                      <a:pos x="12" y="18"/>
                    </a:cxn>
                    <a:cxn ang="0">
                      <a:pos x="12" y="18"/>
                    </a:cxn>
                    <a:cxn ang="0">
                      <a:pos x="14" y="18"/>
                    </a:cxn>
                    <a:cxn ang="0">
                      <a:pos x="16" y="14"/>
                    </a:cxn>
                    <a:cxn ang="0">
                      <a:pos x="14" y="8"/>
                    </a:cxn>
                    <a:cxn ang="0">
                      <a:pos x="8" y="2"/>
                    </a:cxn>
                    <a:cxn ang="0">
                      <a:pos x="6" y="0"/>
                    </a:cxn>
                    <a:cxn ang="0">
                      <a:pos x="2" y="0"/>
                    </a:cxn>
                    <a:cxn ang="0">
                      <a:pos x="2" y="0"/>
                    </a:cxn>
                  </a:cxnLst>
                  <a:rect l="0" t="0" r="r" b="b"/>
                  <a:pathLst>
                    <a:path w="16" h="18">
                      <a:moveTo>
                        <a:pt x="2" y="0"/>
                      </a:moveTo>
                      <a:lnTo>
                        <a:pt x="2" y="0"/>
                      </a:lnTo>
                      <a:lnTo>
                        <a:pt x="0" y="0"/>
                      </a:lnTo>
                      <a:lnTo>
                        <a:pt x="0" y="4"/>
                      </a:lnTo>
                      <a:lnTo>
                        <a:pt x="0" y="10"/>
                      </a:lnTo>
                      <a:lnTo>
                        <a:pt x="0" y="14"/>
                      </a:lnTo>
                      <a:lnTo>
                        <a:pt x="4" y="16"/>
                      </a:lnTo>
                      <a:lnTo>
                        <a:pt x="8" y="18"/>
                      </a:lnTo>
                      <a:lnTo>
                        <a:pt x="12" y="18"/>
                      </a:lnTo>
                      <a:lnTo>
                        <a:pt x="12" y="18"/>
                      </a:lnTo>
                      <a:lnTo>
                        <a:pt x="14" y="18"/>
                      </a:lnTo>
                      <a:lnTo>
                        <a:pt x="16" y="14"/>
                      </a:lnTo>
                      <a:lnTo>
                        <a:pt x="14" y="8"/>
                      </a:lnTo>
                      <a:lnTo>
                        <a:pt x="8" y="2"/>
                      </a:lnTo>
                      <a:lnTo>
                        <a:pt x="6" y="0"/>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4" name="Freeform 6081"/>
                <p:cNvSpPr>
                  <a:spLocks/>
                </p:cNvSpPr>
                <p:nvPr/>
              </p:nvSpPr>
              <p:spPr bwMode="auto">
                <a:xfrm>
                  <a:off x="2805430" y="3330893"/>
                  <a:ext cx="2540" cy="3810"/>
                </a:xfrm>
                <a:custGeom>
                  <a:avLst/>
                  <a:gdLst/>
                  <a:ahLst/>
                  <a:cxnLst>
                    <a:cxn ang="0">
                      <a:pos x="0" y="0"/>
                    </a:cxn>
                    <a:cxn ang="0">
                      <a:pos x="0" y="0"/>
                    </a:cxn>
                    <a:cxn ang="0">
                      <a:pos x="0" y="6"/>
                    </a:cxn>
                    <a:cxn ang="0">
                      <a:pos x="0" y="6"/>
                    </a:cxn>
                    <a:cxn ang="0">
                      <a:pos x="2" y="4"/>
                    </a:cxn>
                    <a:cxn ang="0">
                      <a:pos x="2" y="4"/>
                    </a:cxn>
                    <a:cxn ang="0">
                      <a:pos x="4" y="4"/>
                    </a:cxn>
                    <a:cxn ang="0">
                      <a:pos x="4" y="2"/>
                    </a:cxn>
                    <a:cxn ang="0">
                      <a:pos x="2" y="0"/>
                    </a:cxn>
                    <a:cxn ang="0">
                      <a:pos x="0" y="0"/>
                    </a:cxn>
                    <a:cxn ang="0">
                      <a:pos x="0" y="0"/>
                    </a:cxn>
                  </a:cxnLst>
                  <a:rect l="0" t="0" r="r" b="b"/>
                  <a:pathLst>
                    <a:path w="4" h="6">
                      <a:moveTo>
                        <a:pt x="0" y="0"/>
                      </a:moveTo>
                      <a:lnTo>
                        <a:pt x="0" y="0"/>
                      </a:lnTo>
                      <a:lnTo>
                        <a:pt x="0" y="6"/>
                      </a:lnTo>
                      <a:lnTo>
                        <a:pt x="0" y="6"/>
                      </a:lnTo>
                      <a:lnTo>
                        <a:pt x="2" y="4"/>
                      </a:lnTo>
                      <a:lnTo>
                        <a:pt x="2" y="4"/>
                      </a:lnTo>
                      <a:lnTo>
                        <a:pt x="4" y="4"/>
                      </a:lnTo>
                      <a:lnTo>
                        <a:pt x="4" y="2"/>
                      </a:lnTo>
                      <a:lnTo>
                        <a:pt x="2" y="0"/>
                      </a:lnTo>
                      <a:lnTo>
                        <a:pt x="0" y="0"/>
                      </a:lnTo>
                      <a:lnTo>
                        <a:pt x="0"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5" name="Freeform 6082"/>
                <p:cNvSpPr>
                  <a:spLocks/>
                </p:cNvSpPr>
                <p:nvPr/>
              </p:nvSpPr>
              <p:spPr bwMode="auto">
                <a:xfrm>
                  <a:off x="2799080" y="3324543"/>
                  <a:ext cx="5080" cy="5080"/>
                </a:xfrm>
                <a:custGeom>
                  <a:avLst/>
                  <a:gdLst/>
                  <a:ahLst/>
                  <a:cxnLst>
                    <a:cxn ang="0">
                      <a:pos x="0" y="0"/>
                    </a:cxn>
                    <a:cxn ang="0">
                      <a:pos x="0" y="0"/>
                    </a:cxn>
                    <a:cxn ang="0">
                      <a:pos x="0" y="4"/>
                    </a:cxn>
                    <a:cxn ang="0">
                      <a:pos x="2" y="6"/>
                    </a:cxn>
                    <a:cxn ang="0">
                      <a:pos x="6" y="8"/>
                    </a:cxn>
                    <a:cxn ang="0">
                      <a:pos x="8" y="6"/>
                    </a:cxn>
                    <a:cxn ang="0">
                      <a:pos x="8" y="6"/>
                    </a:cxn>
                    <a:cxn ang="0">
                      <a:pos x="8" y="4"/>
                    </a:cxn>
                    <a:cxn ang="0">
                      <a:pos x="6" y="2"/>
                    </a:cxn>
                    <a:cxn ang="0">
                      <a:pos x="2" y="0"/>
                    </a:cxn>
                    <a:cxn ang="0">
                      <a:pos x="0" y="0"/>
                    </a:cxn>
                    <a:cxn ang="0">
                      <a:pos x="0" y="0"/>
                    </a:cxn>
                  </a:cxnLst>
                  <a:rect l="0" t="0" r="r" b="b"/>
                  <a:pathLst>
                    <a:path w="8" h="8">
                      <a:moveTo>
                        <a:pt x="0" y="0"/>
                      </a:moveTo>
                      <a:lnTo>
                        <a:pt x="0" y="0"/>
                      </a:lnTo>
                      <a:lnTo>
                        <a:pt x="0" y="4"/>
                      </a:lnTo>
                      <a:lnTo>
                        <a:pt x="2" y="6"/>
                      </a:lnTo>
                      <a:lnTo>
                        <a:pt x="6" y="8"/>
                      </a:lnTo>
                      <a:lnTo>
                        <a:pt x="8" y="6"/>
                      </a:lnTo>
                      <a:lnTo>
                        <a:pt x="8" y="6"/>
                      </a:lnTo>
                      <a:lnTo>
                        <a:pt x="8" y="4"/>
                      </a:lnTo>
                      <a:lnTo>
                        <a:pt x="6" y="2"/>
                      </a:lnTo>
                      <a:lnTo>
                        <a:pt x="2" y="0"/>
                      </a:lnTo>
                      <a:lnTo>
                        <a:pt x="0" y="0"/>
                      </a:lnTo>
                      <a:lnTo>
                        <a:pt x="0"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6" name="Freeform 6083"/>
                <p:cNvSpPr>
                  <a:spLocks/>
                </p:cNvSpPr>
                <p:nvPr/>
              </p:nvSpPr>
              <p:spPr bwMode="auto">
                <a:xfrm>
                  <a:off x="2814320" y="3343593"/>
                  <a:ext cx="2540" cy="5080"/>
                </a:xfrm>
                <a:custGeom>
                  <a:avLst/>
                  <a:gdLst/>
                  <a:ahLst/>
                  <a:cxnLst>
                    <a:cxn ang="0">
                      <a:pos x="2" y="0"/>
                    </a:cxn>
                    <a:cxn ang="0">
                      <a:pos x="2" y="0"/>
                    </a:cxn>
                    <a:cxn ang="0">
                      <a:pos x="0" y="2"/>
                    </a:cxn>
                    <a:cxn ang="0">
                      <a:pos x="0" y="6"/>
                    </a:cxn>
                    <a:cxn ang="0">
                      <a:pos x="2" y="8"/>
                    </a:cxn>
                    <a:cxn ang="0">
                      <a:pos x="4" y="8"/>
                    </a:cxn>
                    <a:cxn ang="0">
                      <a:pos x="4" y="8"/>
                    </a:cxn>
                    <a:cxn ang="0">
                      <a:pos x="4" y="2"/>
                    </a:cxn>
                    <a:cxn ang="0">
                      <a:pos x="4" y="0"/>
                    </a:cxn>
                    <a:cxn ang="0">
                      <a:pos x="2" y="0"/>
                    </a:cxn>
                    <a:cxn ang="0">
                      <a:pos x="2" y="0"/>
                    </a:cxn>
                  </a:cxnLst>
                  <a:rect l="0" t="0" r="r" b="b"/>
                  <a:pathLst>
                    <a:path w="4" h="8">
                      <a:moveTo>
                        <a:pt x="2" y="0"/>
                      </a:moveTo>
                      <a:lnTo>
                        <a:pt x="2" y="0"/>
                      </a:lnTo>
                      <a:lnTo>
                        <a:pt x="0" y="2"/>
                      </a:lnTo>
                      <a:lnTo>
                        <a:pt x="0" y="6"/>
                      </a:lnTo>
                      <a:lnTo>
                        <a:pt x="2" y="8"/>
                      </a:lnTo>
                      <a:lnTo>
                        <a:pt x="4" y="8"/>
                      </a:lnTo>
                      <a:lnTo>
                        <a:pt x="4" y="8"/>
                      </a:lnTo>
                      <a:lnTo>
                        <a:pt x="4" y="2"/>
                      </a:lnTo>
                      <a:lnTo>
                        <a:pt x="4" y="0"/>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7" name="Freeform 6085"/>
                <p:cNvSpPr>
                  <a:spLocks/>
                </p:cNvSpPr>
                <p:nvPr/>
              </p:nvSpPr>
              <p:spPr bwMode="auto">
                <a:xfrm>
                  <a:off x="2792730" y="3301683"/>
                  <a:ext cx="2540" cy="3810"/>
                </a:xfrm>
                <a:custGeom>
                  <a:avLst/>
                  <a:gdLst/>
                  <a:ahLst/>
                  <a:cxnLst>
                    <a:cxn ang="0">
                      <a:pos x="2" y="6"/>
                    </a:cxn>
                    <a:cxn ang="0">
                      <a:pos x="2" y="6"/>
                    </a:cxn>
                    <a:cxn ang="0">
                      <a:pos x="4" y="6"/>
                    </a:cxn>
                    <a:cxn ang="0">
                      <a:pos x="4" y="4"/>
                    </a:cxn>
                    <a:cxn ang="0">
                      <a:pos x="4" y="2"/>
                    </a:cxn>
                    <a:cxn ang="0">
                      <a:pos x="2" y="0"/>
                    </a:cxn>
                    <a:cxn ang="0">
                      <a:pos x="2" y="0"/>
                    </a:cxn>
                    <a:cxn ang="0">
                      <a:pos x="0" y="2"/>
                    </a:cxn>
                    <a:cxn ang="0">
                      <a:pos x="0" y="4"/>
                    </a:cxn>
                    <a:cxn ang="0">
                      <a:pos x="0" y="6"/>
                    </a:cxn>
                    <a:cxn ang="0">
                      <a:pos x="2" y="6"/>
                    </a:cxn>
                    <a:cxn ang="0">
                      <a:pos x="2" y="6"/>
                    </a:cxn>
                  </a:cxnLst>
                  <a:rect l="0" t="0" r="r" b="b"/>
                  <a:pathLst>
                    <a:path w="4" h="6">
                      <a:moveTo>
                        <a:pt x="2" y="6"/>
                      </a:moveTo>
                      <a:lnTo>
                        <a:pt x="2" y="6"/>
                      </a:lnTo>
                      <a:lnTo>
                        <a:pt x="4" y="6"/>
                      </a:lnTo>
                      <a:lnTo>
                        <a:pt x="4" y="4"/>
                      </a:lnTo>
                      <a:lnTo>
                        <a:pt x="4" y="2"/>
                      </a:lnTo>
                      <a:lnTo>
                        <a:pt x="2" y="0"/>
                      </a:lnTo>
                      <a:lnTo>
                        <a:pt x="2" y="0"/>
                      </a:lnTo>
                      <a:lnTo>
                        <a:pt x="0" y="2"/>
                      </a:lnTo>
                      <a:lnTo>
                        <a:pt x="0" y="4"/>
                      </a:lnTo>
                      <a:lnTo>
                        <a:pt x="0" y="6"/>
                      </a:lnTo>
                      <a:lnTo>
                        <a:pt x="2" y="6"/>
                      </a:lnTo>
                      <a:lnTo>
                        <a:pt x="2"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8" name="Freeform 6090"/>
                <p:cNvSpPr>
                  <a:spLocks/>
                </p:cNvSpPr>
                <p:nvPr/>
              </p:nvSpPr>
              <p:spPr bwMode="auto">
                <a:xfrm>
                  <a:off x="2880360" y="3452813"/>
                  <a:ext cx="6350" cy="8890"/>
                </a:xfrm>
                <a:custGeom>
                  <a:avLst/>
                  <a:gdLst/>
                  <a:ahLst/>
                  <a:cxnLst>
                    <a:cxn ang="0">
                      <a:pos x="0" y="4"/>
                    </a:cxn>
                    <a:cxn ang="0">
                      <a:pos x="0" y="4"/>
                    </a:cxn>
                    <a:cxn ang="0">
                      <a:pos x="2" y="8"/>
                    </a:cxn>
                    <a:cxn ang="0">
                      <a:pos x="4" y="12"/>
                    </a:cxn>
                    <a:cxn ang="0">
                      <a:pos x="6" y="14"/>
                    </a:cxn>
                    <a:cxn ang="0">
                      <a:pos x="8" y="12"/>
                    </a:cxn>
                    <a:cxn ang="0">
                      <a:pos x="8" y="12"/>
                    </a:cxn>
                    <a:cxn ang="0">
                      <a:pos x="10" y="10"/>
                    </a:cxn>
                    <a:cxn ang="0">
                      <a:pos x="10" y="8"/>
                    </a:cxn>
                    <a:cxn ang="0">
                      <a:pos x="6" y="2"/>
                    </a:cxn>
                    <a:cxn ang="0">
                      <a:pos x="6" y="2"/>
                    </a:cxn>
                    <a:cxn ang="0">
                      <a:pos x="2" y="0"/>
                    </a:cxn>
                    <a:cxn ang="0">
                      <a:pos x="2" y="0"/>
                    </a:cxn>
                    <a:cxn ang="0">
                      <a:pos x="0" y="4"/>
                    </a:cxn>
                    <a:cxn ang="0">
                      <a:pos x="0" y="4"/>
                    </a:cxn>
                  </a:cxnLst>
                  <a:rect l="0" t="0" r="r" b="b"/>
                  <a:pathLst>
                    <a:path w="10" h="14">
                      <a:moveTo>
                        <a:pt x="0" y="4"/>
                      </a:moveTo>
                      <a:lnTo>
                        <a:pt x="0" y="4"/>
                      </a:lnTo>
                      <a:lnTo>
                        <a:pt x="2" y="8"/>
                      </a:lnTo>
                      <a:lnTo>
                        <a:pt x="4" y="12"/>
                      </a:lnTo>
                      <a:lnTo>
                        <a:pt x="6" y="14"/>
                      </a:lnTo>
                      <a:lnTo>
                        <a:pt x="8" y="12"/>
                      </a:lnTo>
                      <a:lnTo>
                        <a:pt x="8" y="12"/>
                      </a:lnTo>
                      <a:lnTo>
                        <a:pt x="10" y="10"/>
                      </a:lnTo>
                      <a:lnTo>
                        <a:pt x="10" y="8"/>
                      </a:lnTo>
                      <a:lnTo>
                        <a:pt x="6" y="2"/>
                      </a:lnTo>
                      <a:lnTo>
                        <a:pt x="6" y="2"/>
                      </a:lnTo>
                      <a:lnTo>
                        <a:pt x="2" y="0"/>
                      </a:lnTo>
                      <a:lnTo>
                        <a:pt x="2" y="0"/>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9" name="Freeform 6093"/>
                <p:cNvSpPr>
                  <a:spLocks/>
                </p:cNvSpPr>
                <p:nvPr/>
              </p:nvSpPr>
              <p:spPr bwMode="auto">
                <a:xfrm>
                  <a:off x="2354580" y="1968183"/>
                  <a:ext cx="12700" cy="10160"/>
                </a:xfrm>
                <a:custGeom>
                  <a:avLst/>
                  <a:gdLst/>
                  <a:ahLst/>
                  <a:cxnLst>
                    <a:cxn ang="0">
                      <a:pos x="14" y="12"/>
                    </a:cxn>
                    <a:cxn ang="0">
                      <a:pos x="14" y="12"/>
                    </a:cxn>
                    <a:cxn ang="0">
                      <a:pos x="18" y="6"/>
                    </a:cxn>
                    <a:cxn ang="0">
                      <a:pos x="20" y="2"/>
                    </a:cxn>
                    <a:cxn ang="0">
                      <a:pos x="20" y="0"/>
                    </a:cxn>
                    <a:cxn ang="0">
                      <a:pos x="18" y="2"/>
                    </a:cxn>
                    <a:cxn ang="0">
                      <a:pos x="18" y="2"/>
                    </a:cxn>
                    <a:cxn ang="0">
                      <a:pos x="14" y="4"/>
                    </a:cxn>
                    <a:cxn ang="0">
                      <a:pos x="10" y="6"/>
                    </a:cxn>
                    <a:cxn ang="0">
                      <a:pos x="4" y="8"/>
                    </a:cxn>
                    <a:cxn ang="0">
                      <a:pos x="2" y="10"/>
                    </a:cxn>
                    <a:cxn ang="0">
                      <a:pos x="0" y="12"/>
                    </a:cxn>
                    <a:cxn ang="0">
                      <a:pos x="0" y="12"/>
                    </a:cxn>
                    <a:cxn ang="0">
                      <a:pos x="0" y="16"/>
                    </a:cxn>
                    <a:cxn ang="0">
                      <a:pos x="4" y="16"/>
                    </a:cxn>
                    <a:cxn ang="0">
                      <a:pos x="14" y="12"/>
                    </a:cxn>
                    <a:cxn ang="0">
                      <a:pos x="14" y="12"/>
                    </a:cxn>
                  </a:cxnLst>
                  <a:rect l="0" t="0" r="r" b="b"/>
                  <a:pathLst>
                    <a:path w="20" h="16">
                      <a:moveTo>
                        <a:pt x="14" y="12"/>
                      </a:moveTo>
                      <a:lnTo>
                        <a:pt x="14" y="12"/>
                      </a:lnTo>
                      <a:lnTo>
                        <a:pt x="18" y="6"/>
                      </a:lnTo>
                      <a:lnTo>
                        <a:pt x="20" y="2"/>
                      </a:lnTo>
                      <a:lnTo>
                        <a:pt x="20" y="0"/>
                      </a:lnTo>
                      <a:lnTo>
                        <a:pt x="18" y="2"/>
                      </a:lnTo>
                      <a:lnTo>
                        <a:pt x="18" y="2"/>
                      </a:lnTo>
                      <a:lnTo>
                        <a:pt x="14" y="4"/>
                      </a:lnTo>
                      <a:lnTo>
                        <a:pt x="10" y="6"/>
                      </a:lnTo>
                      <a:lnTo>
                        <a:pt x="4" y="8"/>
                      </a:lnTo>
                      <a:lnTo>
                        <a:pt x="2" y="10"/>
                      </a:lnTo>
                      <a:lnTo>
                        <a:pt x="0" y="12"/>
                      </a:lnTo>
                      <a:lnTo>
                        <a:pt x="0" y="12"/>
                      </a:lnTo>
                      <a:lnTo>
                        <a:pt x="0" y="16"/>
                      </a:lnTo>
                      <a:lnTo>
                        <a:pt x="4" y="16"/>
                      </a:lnTo>
                      <a:lnTo>
                        <a:pt x="14" y="12"/>
                      </a:lnTo>
                      <a:lnTo>
                        <a:pt x="14" y="1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0" name="Freeform 6095"/>
                <p:cNvSpPr>
                  <a:spLocks/>
                </p:cNvSpPr>
                <p:nvPr/>
              </p:nvSpPr>
              <p:spPr bwMode="auto">
                <a:xfrm>
                  <a:off x="2357120" y="1961833"/>
                  <a:ext cx="27940" cy="30480"/>
                </a:xfrm>
                <a:custGeom>
                  <a:avLst/>
                  <a:gdLst/>
                  <a:ahLst/>
                  <a:cxnLst>
                    <a:cxn ang="0">
                      <a:pos x="32" y="46"/>
                    </a:cxn>
                    <a:cxn ang="0">
                      <a:pos x="32" y="46"/>
                    </a:cxn>
                    <a:cxn ang="0">
                      <a:pos x="36" y="44"/>
                    </a:cxn>
                    <a:cxn ang="0">
                      <a:pos x="36" y="40"/>
                    </a:cxn>
                    <a:cxn ang="0">
                      <a:pos x="42" y="24"/>
                    </a:cxn>
                    <a:cxn ang="0">
                      <a:pos x="42" y="24"/>
                    </a:cxn>
                    <a:cxn ang="0">
                      <a:pos x="44" y="16"/>
                    </a:cxn>
                    <a:cxn ang="0">
                      <a:pos x="44" y="12"/>
                    </a:cxn>
                    <a:cxn ang="0">
                      <a:pos x="38" y="6"/>
                    </a:cxn>
                    <a:cxn ang="0">
                      <a:pos x="38" y="6"/>
                    </a:cxn>
                    <a:cxn ang="0">
                      <a:pos x="32" y="2"/>
                    </a:cxn>
                    <a:cxn ang="0">
                      <a:pos x="30" y="0"/>
                    </a:cxn>
                    <a:cxn ang="0">
                      <a:pos x="28" y="8"/>
                    </a:cxn>
                    <a:cxn ang="0">
                      <a:pos x="28" y="8"/>
                    </a:cxn>
                    <a:cxn ang="0">
                      <a:pos x="26" y="18"/>
                    </a:cxn>
                    <a:cxn ang="0">
                      <a:pos x="24" y="18"/>
                    </a:cxn>
                    <a:cxn ang="0">
                      <a:pos x="24" y="16"/>
                    </a:cxn>
                    <a:cxn ang="0">
                      <a:pos x="24" y="16"/>
                    </a:cxn>
                    <a:cxn ang="0">
                      <a:pos x="24" y="6"/>
                    </a:cxn>
                    <a:cxn ang="0">
                      <a:pos x="24" y="4"/>
                    </a:cxn>
                    <a:cxn ang="0">
                      <a:pos x="22" y="4"/>
                    </a:cxn>
                    <a:cxn ang="0">
                      <a:pos x="22" y="4"/>
                    </a:cxn>
                    <a:cxn ang="0">
                      <a:pos x="22" y="6"/>
                    </a:cxn>
                    <a:cxn ang="0">
                      <a:pos x="22" y="10"/>
                    </a:cxn>
                    <a:cxn ang="0">
                      <a:pos x="22" y="12"/>
                    </a:cxn>
                    <a:cxn ang="0">
                      <a:pos x="20" y="18"/>
                    </a:cxn>
                    <a:cxn ang="0">
                      <a:pos x="20" y="18"/>
                    </a:cxn>
                    <a:cxn ang="0">
                      <a:pos x="18" y="20"/>
                    </a:cxn>
                    <a:cxn ang="0">
                      <a:pos x="16" y="24"/>
                    </a:cxn>
                    <a:cxn ang="0">
                      <a:pos x="12" y="26"/>
                    </a:cxn>
                    <a:cxn ang="0">
                      <a:pos x="10" y="32"/>
                    </a:cxn>
                    <a:cxn ang="0">
                      <a:pos x="10" y="32"/>
                    </a:cxn>
                    <a:cxn ang="0">
                      <a:pos x="2" y="40"/>
                    </a:cxn>
                    <a:cxn ang="0">
                      <a:pos x="0" y="44"/>
                    </a:cxn>
                    <a:cxn ang="0">
                      <a:pos x="2" y="48"/>
                    </a:cxn>
                    <a:cxn ang="0">
                      <a:pos x="2" y="48"/>
                    </a:cxn>
                    <a:cxn ang="0">
                      <a:pos x="4" y="48"/>
                    </a:cxn>
                    <a:cxn ang="0">
                      <a:pos x="6" y="46"/>
                    </a:cxn>
                    <a:cxn ang="0">
                      <a:pos x="14" y="38"/>
                    </a:cxn>
                    <a:cxn ang="0">
                      <a:pos x="14" y="38"/>
                    </a:cxn>
                    <a:cxn ang="0">
                      <a:pos x="20" y="30"/>
                    </a:cxn>
                    <a:cxn ang="0">
                      <a:pos x="20" y="32"/>
                    </a:cxn>
                    <a:cxn ang="0">
                      <a:pos x="18" y="40"/>
                    </a:cxn>
                    <a:cxn ang="0">
                      <a:pos x="18" y="40"/>
                    </a:cxn>
                    <a:cxn ang="0">
                      <a:pos x="12" y="48"/>
                    </a:cxn>
                    <a:cxn ang="0">
                      <a:pos x="18" y="46"/>
                    </a:cxn>
                    <a:cxn ang="0">
                      <a:pos x="18" y="46"/>
                    </a:cxn>
                    <a:cxn ang="0">
                      <a:pos x="22" y="46"/>
                    </a:cxn>
                    <a:cxn ang="0">
                      <a:pos x="24" y="44"/>
                    </a:cxn>
                    <a:cxn ang="0">
                      <a:pos x="28" y="36"/>
                    </a:cxn>
                    <a:cxn ang="0">
                      <a:pos x="30" y="28"/>
                    </a:cxn>
                    <a:cxn ang="0">
                      <a:pos x="34" y="26"/>
                    </a:cxn>
                    <a:cxn ang="0">
                      <a:pos x="34" y="26"/>
                    </a:cxn>
                    <a:cxn ang="0">
                      <a:pos x="36" y="26"/>
                    </a:cxn>
                    <a:cxn ang="0">
                      <a:pos x="36" y="28"/>
                    </a:cxn>
                    <a:cxn ang="0">
                      <a:pos x="34" y="36"/>
                    </a:cxn>
                    <a:cxn ang="0">
                      <a:pos x="32" y="44"/>
                    </a:cxn>
                    <a:cxn ang="0">
                      <a:pos x="32" y="46"/>
                    </a:cxn>
                    <a:cxn ang="0">
                      <a:pos x="32" y="46"/>
                    </a:cxn>
                    <a:cxn ang="0">
                      <a:pos x="32" y="46"/>
                    </a:cxn>
                  </a:cxnLst>
                  <a:rect l="0" t="0" r="r" b="b"/>
                  <a:pathLst>
                    <a:path w="44" h="48">
                      <a:moveTo>
                        <a:pt x="32" y="46"/>
                      </a:moveTo>
                      <a:lnTo>
                        <a:pt x="32" y="46"/>
                      </a:lnTo>
                      <a:lnTo>
                        <a:pt x="36" y="44"/>
                      </a:lnTo>
                      <a:lnTo>
                        <a:pt x="36" y="40"/>
                      </a:lnTo>
                      <a:lnTo>
                        <a:pt x="42" y="24"/>
                      </a:lnTo>
                      <a:lnTo>
                        <a:pt x="42" y="24"/>
                      </a:lnTo>
                      <a:lnTo>
                        <a:pt x="44" y="16"/>
                      </a:lnTo>
                      <a:lnTo>
                        <a:pt x="44" y="12"/>
                      </a:lnTo>
                      <a:lnTo>
                        <a:pt x="38" y="6"/>
                      </a:lnTo>
                      <a:lnTo>
                        <a:pt x="38" y="6"/>
                      </a:lnTo>
                      <a:lnTo>
                        <a:pt x="32" y="2"/>
                      </a:lnTo>
                      <a:lnTo>
                        <a:pt x="30" y="0"/>
                      </a:lnTo>
                      <a:lnTo>
                        <a:pt x="28" y="8"/>
                      </a:lnTo>
                      <a:lnTo>
                        <a:pt x="28" y="8"/>
                      </a:lnTo>
                      <a:lnTo>
                        <a:pt x="26" y="18"/>
                      </a:lnTo>
                      <a:lnTo>
                        <a:pt x="24" y="18"/>
                      </a:lnTo>
                      <a:lnTo>
                        <a:pt x="24" y="16"/>
                      </a:lnTo>
                      <a:lnTo>
                        <a:pt x="24" y="16"/>
                      </a:lnTo>
                      <a:lnTo>
                        <a:pt x="24" y="6"/>
                      </a:lnTo>
                      <a:lnTo>
                        <a:pt x="24" y="4"/>
                      </a:lnTo>
                      <a:lnTo>
                        <a:pt x="22" y="4"/>
                      </a:lnTo>
                      <a:lnTo>
                        <a:pt x="22" y="4"/>
                      </a:lnTo>
                      <a:lnTo>
                        <a:pt x="22" y="6"/>
                      </a:lnTo>
                      <a:lnTo>
                        <a:pt x="22" y="10"/>
                      </a:lnTo>
                      <a:lnTo>
                        <a:pt x="22" y="12"/>
                      </a:lnTo>
                      <a:lnTo>
                        <a:pt x="20" y="18"/>
                      </a:lnTo>
                      <a:lnTo>
                        <a:pt x="20" y="18"/>
                      </a:lnTo>
                      <a:lnTo>
                        <a:pt x="18" y="20"/>
                      </a:lnTo>
                      <a:lnTo>
                        <a:pt x="16" y="24"/>
                      </a:lnTo>
                      <a:lnTo>
                        <a:pt x="12" y="26"/>
                      </a:lnTo>
                      <a:lnTo>
                        <a:pt x="10" y="32"/>
                      </a:lnTo>
                      <a:lnTo>
                        <a:pt x="10" y="32"/>
                      </a:lnTo>
                      <a:lnTo>
                        <a:pt x="2" y="40"/>
                      </a:lnTo>
                      <a:lnTo>
                        <a:pt x="0" y="44"/>
                      </a:lnTo>
                      <a:lnTo>
                        <a:pt x="2" y="48"/>
                      </a:lnTo>
                      <a:lnTo>
                        <a:pt x="2" y="48"/>
                      </a:lnTo>
                      <a:lnTo>
                        <a:pt x="4" y="48"/>
                      </a:lnTo>
                      <a:lnTo>
                        <a:pt x="6" y="46"/>
                      </a:lnTo>
                      <a:lnTo>
                        <a:pt x="14" y="38"/>
                      </a:lnTo>
                      <a:lnTo>
                        <a:pt x="14" y="38"/>
                      </a:lnTo>
                      <a:lnTo>
                        <a:pt x="20" y="30"/>
                      </a:lnTo>
                      <a:lnTo>
                        <a:pt x="20" y="32"/>
                      </a:lnTo>
                      <a:lnTo>
                        <a:pt x="18" y="40"/>
                      </a:lnTo>
                      <a:lnTo>
                        <a:pt x="18" y="40"/>
                      </a:lnTo>
                      <a:lnTo>
                        <a:pt x="12" y="48"/>
                      </a:lnTo>
                      <a:lnTo>
                        <a:pt x="18" y="46"/>
                      </a:lnTo>
                      <a:lnTo>
                        <a:pt x="18" y="46"/>
                      </a:lnTo>
                      <a:lnTo>
                        <a:pt x="22" y="46"/>
                      </a:lnTo>
                      <a:lnTo>
                        <a:pt x="24" y="44"/>
                      </a:lnTo>
                      <a:lnTo>
                        <a:pt x="28" y="36"/>
                      </a:lnTo>
                      <a:lnTo>
                        <a:pt x="30" y="28"/>
                      </a:lnTo>
                      <a:lnTo>
                        <a:pt x="34" y="26"/>
                      </a:lnTo>
                      <a:lnTo>
                        <a:pt x="34" y="26"/>
                      </a:lnTo>
                      <a:lnTo>
                        <a:pt x="36" y="26"/>
                      </a:lnTo>
                      <a:lnTo>
                        <a:pt x="36" y="28"/>
                      </a:lnTo>
                      <a:lnTo>
                        <a:pt x="34" y="36"/>
                      </a:lnTo>
                      <a:lnTo>
                        <a:pt x="32" y="44"/>
                      </a:lnTo>
                      <a:lnTo>
                        <a:pt x="32" y="46"/>
                      </a:lnTo>
                      <a:lnTo>
                        <a:pt x="32" y="46"/>
                      </a:lnTo>
                      <a:lnTo>
                        <a:pt x="32" y="4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1" name="Freeform 6096"/>
                <p:cNvSpPr>
                  <a:spLocks/>
                </p:cNvSpPr>
                <p:nvPr/>
              </p:nvSpPr>
              <p:spPr bwMode="auto">
                <a:xfrm>
                  <a:off x="2385060" y="1968183"/>
                  <a:ext cx="7620" cy="13970"/>
                </a:xfrm>
                <a:custGeom>
                  <a:avLst/>
                  <a:gdLst/>
                  <a:ahLst/>
                  <a:cxnLst>
                    <a:cxn ang="0">
                      <a:pos x="8" y="18"/>
                    </a:cxn>
                    <a:cxn ang="0">
                      <a:pos x="8" y="18"/>
                    </a:cxn>
                    <a:cxn ang="0">
                      <a:pos x="12" y="14"/>
                    </a:cxn>
                    <a:cxn ang="0">
                      <a:pos x="12" y="8"/>
                    </a:cxn>
                    <a:cxn ang="0">
                      <a:pos x="12" y="2"/>
                    </a:cxn>
                    <a:cxn ang="0">
                      <a:pos x="10" y="0"/>
                    </a:cxn>
                    <a:cxn ang="0">
                      <a:pos x="10" y="0"/>
                    </a:cxn>
                    <a:cxn ang="0">
                      <a:pos x="10" y="0"/>
                    </a:cxn>
                    <a:cxn ang="0">
                      <a:pos x="6" y="2"/>
                    </a:cxn>
                    <a:cxn ang="0">
                      <a:pos x="4" y="6"/>
                    </a:cxn>
                    <a:cxn ang="0">
                      <a:pos x="0" y="18"/>
                    </a:cxn>
                    <a:cxn ang="0">
                      <a:pos x="0" y="18"/>
                    </a:cxn>
                    <a:cxn ang="0">
                      <a:pos x="0" y="20"/>
                    </a:cxn>
                    <a:cxn ang="0">
                      <a:pos x="2" y="22"/>
                    </a:cxn>
                    <a:cxn ang="0">
                      <a:pos x="8" y="18"/>
                    </a:cxn>
                    <a:cxn ang="0">
                      <a:pos x="8" y="18"/>
                    </a:cxn>
                  </a:cxnLst>
                  <a:rect l="0" t="0" r="r" b="b"/>
                  <a:pathLst>
                    <a:path w="12" h="22">
                      <a:moveTo>
                        <a:pt x="8" y="18"/>
                      </a:moveTo>
                      <a:lnTo>
                        <a:pt x="8" y="18"/>
                      </a:lnTo>
                      <a:lnTo>
                        <a:pt x="12" y="14"/>
                      </a:lnTo>
                      <a:lnTo>
                        <a:pt x="12" y="8"/>
                      </a:lnTo>
                      <a:lnTo>
                        <a:pt x="12" y="2"/>
                      </a:lnTo>
                      <a:lnTo>
                        <a:pt x="10" y="0"/>
                      </a:lnTo>
                      <a:lnTo>
                        <a:pt x="10" y="0"/>
                      </a:lnTo>
                      <a:lnTo>
                        <a:pt x="10" y="0"/>
                      </a:lnTo>
                      <a:lnTo>
                        <a:pt x="6" y="2"/>
                      </a:lnTo>
                      <a:lnTo>
                        <a:pt x="4" y="6"/>
                      </a:lnTo>
                      <a:lnTo>
                        <a:pt x="0" y="18"/>
                      </a:lnTo>
                      <a:lnTo>
                        <a:pt x="0" y="18"/>
                      </a:lnTo>
                      <a:lnTo>
                        <a:pt x="0" y="20"/>
                      </a:lnTo>
                      <a:lnTo>
                        <a:pt x="2" y="22"/>
                      </a:lnTo>
                      <a:lnTo>
                        <a:pt x="8" y="18"/>
                      </a:lnTo>
                      <a:lnTo>
                        <a:pt x="8" y="1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2" name="Freeform 6097"/>
                <p:cNvSpPr>
                  <a:spLocks/>
                </p:cNvSpPr>
                <p:nvPr/>
              </p:nvSpPr>
              <p:spPr bwMode="auto">
                <a:xfrm>
                  <a:off x="2886710" y="2154873"/>
                  <a:ext cx="172720" cy="186690"/>
                </a:xfrm>
                <a:custGeom>
                  <a:avLst/>
                  <a:gdLst/>
                  <a:ahLst/>
                  <a:cxnLst>
                    <a:cxn ang="0">
                      <a:pos x="268" y="206"/>
                    </a:cxn>
                    <a:cxn ang="0">
                      <a:pos x="244" y="222"/>
                    </a:cxn>
                    <a:cxn ang="0">
                      <a:pos x="230" y="238"/>
                    </a:cxn>
                    <a:cxn ang="0">
                      <a:pos x="234" y="214"/>
                    </a:cxn>
                    <a:cxn ang="0">
                      <a:pos x="250" y="196"/>
                    </a:cxn>
                    <a:cxn ang="0">
                      <a:pos x="258" y="182"/>
                    </a:cxn>
                    <a:cxn ang="0">
                      <a:pos x="246" y="182"/>
                    </a:cxn>
                    <a:cxn ang="0">
                      <a:pos x="224" y="180"/>
                    </a:cxn>
                    <a:cxn ang="0">
                      <a:pos x="230" y="158"/>
                    </a:cxn>
                    <a:cxn ang="0">
                      <a:pos x="236" y="140"/>
                    </a:cxn>
                    <a:cxn ang="0">
                      <a:pos x="200" y="130"/>
                    </a:cxn>
                    <a:cxn ang="0">
                      <a:pos x="170" y="138"/>
                    </a:cxn>
                    <a:cxn ang="0">
                      <a:pos x="168" y="130"/>
                    </a:cxn>
                    <a:cxn ang="0">
                      <a:pos x="150" y="130"/>
                    </a:cxn>
                    <a:cxn ang="0">
                      <a:pos x="140" y="118"/>
                    </a:cxn>
                    <a:cxn ang="0">
                      <a:pos x="150" y="106"/>
                    </a:cxn>
                    <a:cxn ang="0">
                      <a:pos x="148" y="94"/>
                    </a:cxn>
                    <a:cxn ang="0">
                      <a:pos x="118" y="102"/>
                    </a:cxn>
                    <a:cxn ang="0">
                      <a:pos x="106" y="108"/>
                    </a:cxn>
                    <a:cxn ang="0">
                      <a:pos x="130" y="64"/>
                    </a:cxn>
                    <a:cxn ang="0">
                      <a:pos x="156" y="18"/>
                    </a:cxn>
                    <a:cxn ang="0">
                      <a:pos x="156" y="0"/>
                    </a:cxn>
                    <a:cxn ang="0">
                      <a:pos x="126" y="8"/>
                    </a:cxn>
                    <a:cxn ang="0">
                      <a:pos x="106" y="24"/>
                    </a:cxn>
                    <a:cxn ang="0">
                      <a:pos x="94" y="44"/>
                    </a:cxn>
                    <a:cxn ang="0">
                      <a:pos x="70" y="84"/>
                    </a:cxn>
                    <a:cxn ang="0">
                      <a:pos x="32" y="170"/>
                    </a:cxn>
                    <a:cxn ang="0">
                      <a:pos x="26" y="170"/>
                    </a:cxn>
                    <a:cxn ang="0">
                      <a:pos x="8" y="182"/>
                    </a:cxn>
                    <a:cxn ang="0">
                      <a:pos x="10" y="190"/>
                    </a:cxn>
                    <a:cxn ang="0">
                      <a:pos x="28" y="196"/>
                    </a:cxn>
                    <a:cxn ang="0">
                      <a:pos x="2" y="218"/>
                    </a:cxn>
                    <a:cxn ang="0">
                      <a:pos x="4" y="234"/>
                    </a:cxn>
                    <a:cxn ang="0">
                      <a:pos x="20" y="240"/>
                    </a:cxn>
                    <a:cxn ang="0">
                      <a:pos x="54" y="232"/>
                    </a:cxn>
                    <a:cxn ang="0">
                      <a:pos x="96" y="240"/>
                    </a:cxn>
                    <a:cxn ang="0">
                      <a:pos x="132" y="236"/>
                    </a:cxn>
                    <a:cxn ang="0">
                      <a:pos x="134" y="246"/>
                    </a:cxn>
                    <a:cxn ang="0">
                      <a:pos x="166" y="246"/>
                    </a:cxn>
                    <a:cxn ang="0">
                      <a:pos x="162" y="256"/>
                    </a:cxn>
                    <a:cxn ang="0">
                      <a:pos x="134" y="278"/>
                    </a:cxn>
                    <a:cxn ang="0">
                      <a:pos x="148" y="286"/>
                    </a:cxn>
                    <a:cxn ang="0">
                      <a:pos x="174" y="266"/>
                    </a:cxn>
                    <a:cxn ang="0">
                      <a:pos x="188" y="252"/>
                    </a:cxn>
                    <a:cxn ang="0">
                      <a:pos x="200" y="246"/>
                    </a:cxn>
                    <a:cxn ang="0">
                      <a:pos x="212" y="228"/>
                    </a:cxn>
                    <a:cxn ang="0">
                      <a:pos x="220" y="240"/>
                    </a:cxn>
                    <a:cxn ang="0">
                      <a:pos x="212" y="272"/>
                    </a:cxn>
                    <a:cxn ang="0">
                      <a:pos x="222" y="278"/>
                    </a:cxn>
                    <a:cxn ang="0">
                      <a:pos x="232" y="276"/>
                    </a:cxn>
                    <a:cxn ang="0">
                      <a:pos x="244" y="292"/>
                    </a:cxn>
                    <a:cxn ang="0">
                      <a:pos x="264" y="292"/>
                    </a:cxn>
                    <a:cxn ang="0">
                      <a:pos x="266" y="258"/>
                    </a:cxn>
                    <a:cxn ang="0">
                      <a:pos x="272" y="230"/>
                    </a:cxn>
                    <a:cxn ang="0">
                      <a:pos x="258" y="230"/>
                    </a:cxn>
                  </a:cxnLst>
                  <a:rect l="0" t="0" r="r" b="b"/>
                  <a:pathLst>
                    <a:path w="272" h="294">
                      <a:moveTo>
                        <a:pt x="262" y="218"/>
                      </a:moveTo>
                      <a:lnTo>
                        <a:pt x="262" y="218"/>
                      </a:lnTo>
                      <a:lnTo>
                        <a:pt x="266" y="210"/>
                      </a:lnTo>
                      <a:lnTo>
                        <a:pt x="268" y="206"/>
                      </a:lnTo>
                      <a:lnTo>
                        <a:pt x="266" y="204"/>
                      </a:lnTo>
                      <a:lnTo>
                        <a:pt x="262" y="206"/>
                      </a:lnTo>
                      <a:lnTo>
                        <a:pt x="250" y="216"/>
                      </a:lnTo>
                      <a:lnTo>
                        <a:pt x="244" y="222"/>
                      </a:lnTo>
                      <a:lnTo>
                        <a:pt x="238" y="230"/>
                      </a:lnTo>
                      <a:lnTo>
                        <a:pt x="238" y="230"/>
                      </a:lnTo>
                      <a:lnTo>
                        <a:pt x="234" y="236"/>
                      </a:lnTo>
                      <a:lnTo>
                        <a:pt x="230" y="238"/>
                      </a:lnTo>
                      <a:lnTo>
                        <a:pt x="228" y="234"/>
                      </a:lnTo>
                      <a:lnTo>
                        <a:pt x="228" y="228"/>
                      </a:lnTo>
                      <a:lnTo>
                        <a:pt x="230" y="222"/>
                      </a:lnTo>
                      <a:lnTo>
                        <a:pt x="234" y="214"/>
                      </a:lnTo>
                      <a:lnTo>
                        <a:pt x="238" y="206"/>
                      </a:lnTo>
                      <a:lnTo>
                        <a:pt x="244" y="200"/>
                      </a:lnTo>
                      <a:lnTo>
                        <a:pt x="244" y="200"/>
                      </a:lnTo>
                      <a:lnTo>
                        <a:pt x="250" y="196"/>
                      </a:lnTo>
                      <a:lnTo>
                        <a:pt x="256" y="192"/>
                      </a:lnTo>
                      <a:lnTo>
                        <a:pt x="258" y="188"/>
                      </a:lnTo>
                      <a:lnTo>
                        <a:pt x="258" y="186"/>
                      </a:lnTo>
                      <a:lnTo>
                        <a:pt x="258" y="182"/>
                      </a:lnTo>
                      <a:lnTo>
                        <a:pt x="256" y="182"/>
                      </a:lnTo>
                      <a:lnTo>
                        <a:pt x="252" y="182"/>
                      </a:lnTo>
                      <a:lnTo>
                        <a:pt x="246" y="182"/>
                      </a:lnTo>
                      <a:lnTo>
                        <a:pt x="246" y="182"/>
                      </a:lnTo>
                      <a:lnTo>
                        <a:pt x="240" y="184"/>
                      </a:lnTo>
                      <a:lnTo>
                        <a:pt x="234" y="184"/>
                      </a:lnTo>
                      <a:lnTo>
                        <a:pt x="228" y="182"/>
                      </a:lnTo>
                      <a:lnTo>
                        <a:pt x="224" y="180"/>
                      </a:lnTo>
                      <a:lnTo>
                        <a:pt x="222" y="174"/>
                      </a:lnTo>
                      <a:lnTo>
                        <a:pt x="222" y="170"/>
                      </a:lnTo>
                      <a:lnTo>
                        <a:pt x="224" y="164"/>
                      </a:lnTo>
                      <a:lnTo>
                        <a:pt x="230" y="158"/>
                      </a:lnTo>
                      <a:lnTo>
                        <a:pt x="230" y="158"/>
                      </a:lnTo>
                      <a:lnTo>
                        <a:pt x="236" y="152"/>
                      </a:lnTo>
                      <a:lnTo>
                        <a:pt x="238" y="146"/>
                      </a:lnTo>
                      <a:lnTo>
                        <a:pt x="236" y="140"/>
                      </a:lnTo>
                      <a:lnTo>
                        <a:pt x="230" y="136"/>
                      </a:lnTo>
                      <a:lnTo>
                        <a:pt x="222" y="132"/>
                      </a:lnTo>
                      <a:lnTo>
                        <a:pt x="212" y="130"/>
                      </a:lnTo>
                      <a:lnTo>
                        <a:pt x="200" y="130"/>
                      </a:lnTo>
                      <a:lnTo>
                        <a:pt x="186" y="134"/>
                      </a:lnTo>
                      <a:lnTo>
                        <a:pt x="186" y="134"/>
                      </a:lnTo>
                      <a:lnTo>
                        <a:pt x="176" y="136"/>
                      </a:lnTo>
                      <a:lnTo>
                        <a:pt x="170" y="138"/>
                      </a:lnTo>
                      <a:lnTo>
                        <a:pt x="168" y="136"/>
                      </a:lnTo>
                      <a:lnTo>
                        <a:pt x="168" y="134"/>
                      </a:lnTo>
                      <a:lnTo>
                        <a:pt x="168" y="132"/>
                      </a:lnTo>
                      <a:lnTo>
                        <a:pt x="168" y="130"/>
                      </a:lnTo>
                      <a:lnTo>
                        <a:pt x="164" y="128"/>
                      </a:lnTo>
                      <a:lnTo>
                        <a:pt x="158" y="130"/>
                      </a:lnTo>
                      <a:lnTo>
                        <a:pt x="158" y="130"/>
                      </a:lnTo>
                      <a:lnTo>
                        <a:pt x="150" y="130"/>
                      </a:lnTo>
                      <a:lnTo>
                        <a:pt x="144" y="130"/>
                      </a:lnTo>
                      <a:lnTo>
                        <a:pt x="142" y="126"/>
                      </a:lnTo>
                      <a:lnTo>
                        <a:pt x="140" y="122"/>
                      </a:lnTo>
                      <a:lnTo>
                        <a:pt x="140" y="118"/>
                      </a:lnTo>
                      <a:lnTo>
                        <a:pt x="142" y="112"/>
                      </a:lnTo>
                      <a:lnTo>
                        <a:pt x="146" y="108"/>
                      </a:lnTo>
                      <a:lnTo>
                        <a:pt x="150" y="106"/>
                      </a:lnTo>
                      <a:lnTo>
                        <a:pt x="150" y="106"/>
                      </a:lnTo>
                      <a:lnTo>
                        <a:pt x="154" y="104"/>
                      </a:lnTo>
                      <a:lnTo>
                        <a:pt x="154" y="102"/>
                      </a:lnTo>
                      <a:lnTo>
                        <a:pt x="152" y="98"/>
                      </a:lnTo>
                      <a:lnTo>
                        <a:pt x="148" y="94"/>
                      </a:lnTo>
                      <a:lnTo>
                        <a:pt x="142" y="92"/>
                      </a:lnTo>
                      <a:lnTo>
                        <a:pt x="136" y="92"/>
                      </a:lnTo>
                      <a:lnTo>
                        <a:pt x="128" y="96"/>
                      </a:lnTo>
                      <a:lnTo>
                        <a:pt x="118" y="102"/>
                      </a:lnTo>
                      <a:lnTo>
                        <a:pt x="118" y="102"/>
                      </a:lnTo>
                      <a:lnTo>
                        <a:pt x="110" y="110"/>
                      </a:lnTo>
                      <a:lnTo>
                        <a:pt x="108" y="110"/>
                      </a:lnTo>
                      <a:lnTo>
                        <a:pt x="106" y="108"/>
                      </a:lnTo>
                      <a:lnTo>
                        <a:pt x="108" y="102"/>
                      </a:lnTo>
                      <a:lnTo>
                        <a:pt x="118" y="84"/>
                      </a:lnTo>
                      <a:lnTo>
                        <a:pt x="130" y="64"/>
                      </a:lnTo>
                      <a:lnTo>
                        <a:pt x="130" y="64"/>
                      </a:lnTo>
                      <a:lnTo>
                        <a:pt x="138" y="46"/>
                      </a:lnTo>
                      <a:lnTo>
                        <a:pt x="148" y="30"/>
                      </a:lnTo>
                      <a:lnTo>
                        <a:pt x="156" y="18"/>
                      </a:lnTo>
                      <a:lnTo>
                        <a:pt x="156" y="18"/>
                      </a:lnTo>
                      <a:lnTo>
                        <a:pt x="160" y="12"/>
                      </a:lnTo>
                      <a:lnTo>
                        <a:pt x="160" y="8"/>
                      </a:lnTo>
                      <a:lnTo>
                        <a:pt x="160" y="4"/>
                      </a:lnTo>
                      <a:lnTo>
                        <a:pt x="156" y="0"/>
                      </a:lnTo>
                      <a:lnTo>
                        <a:pt x="152" y="0"/>
                      </a:lnTo>
                      <a:lnTo>
                        <a:pt x="144" y="0"/>
                      </a:lnTo>
                      <a:lnTo>
                        <a:pt x="136" y="2"/>
                      </a:lnTo>
                      <a:lnTo>
                        <a:pt x="126" y="8"/>
                      </a:lnTo>
                      <a:lnTo>
                        <a:pt x="126" y="8"/>
                      </a:lnTo>
                      <a:lnTo>
                        <a:pt x="116" y="14"/>
                      </a:lnTo>
                      <a:lnTo>
                        <a:pt x="110" y="18"/>
                      </a:lnTo>
                      <a:lnTo>
                        <a:pt x="106" y="24"/>
                      </a:lnTo>
                      <a:lnTo>
                        <a:pt x="104" y="28"/>
                      </a:lnTo>
                      <a:lnTo>
                        <a:pt x="102" y="36"/>
                      </a:lnTo>
                      <a:lnTo>
                        <a:pt x="98" y="40"/>
                      </a:lnTo>
                      <a:lnTo>
                        <a:pt x="94" y="44"/>
                      </a:lnTo>
                      <a:lnTo>
                        <a:pt x="94" y="44"/>
                      </a:lnTo>
                      <a:lnTo>
                        <a:pt x="88" y="50"/>
                      </a:lnTo>
                      <a:lnTo>
                        <a:pt x="82" y="60"/>
                      </a:lnTo>
                      <a:lnTo>
                        <a:pt x="70" y="84"/>
                      </a:lnTo>
                      <a:lnTo>
                        <a:pt x="56" y="116"/>
                      </a:lnTo>
                      <a:lnTo>
                        <a:pt x="42" y="150"/>
                      </a:lnTo>
                      <a:lnTo>
                        <a:pt x="42" y="150"/>
                      </a:lnTo>
                      <a:lnTo>
                        <a:pt x="32" y="170"/>
                      </a:lnTo>
                      <a:lnTo>
                        <a:pt x="30" y="172"/>
                      </a:lnTo>
                      <a:lnTo>
                        <a:pt x="28" y="172"/>
                      </a:lnTo>
                      <a:lnTo>
                        <a:pt x="28" y="170"/>
                      </a:lnTo>
                      <a:lnTo>
                        <a:pt x="26" y="170"/>
                      </a:lnTo>
                      <a:lnTo>
                        <a:pt x="24" y="170"/>
                      </a:lnTo>
                      <a:lnTo>
                        <a:pt x="18" y="174"/>
                      </a:lnTo>
                      <a:lnTo>
                        <a:pt x="18" y="174"/>
                      </a:lnTo>
                      <a:lnTo>
                        <a:pt x="8" y="182"/>
                      </a:lnTo>
                      <a:lnTo>
                        <a:pt x="6" y="186"/>
                      </a:lnTo>
                      <a:lnTo>
                        <a:pt x="4" y="188"/>
                      </a:lnTo>
                      <a:lnTo>
                        <a:pt x="6" y="188"/>
                      </a:lnTo>
                      <a:lnTo>
                        <a:pt x="10" y="190"/>
                      </a:lnTo>
                      <a:lnTo>
                        <a:pt x="22" y="192"/>
                      </a:lnTo>
                      <a:lnTo>
                        <a:pt x="22" y="192"/>
                      </a:lnTo>
                      <a:lnTo>
                        <a:pt x="28" y="194"/>
                      </a:lnTo>
                      <a:lnTo>
                        <a:pt x="28" y="196"/>
                      </a:lnTo>
                      <a:lnTo>
                        <a:pt x="28" y="198"/>
                      </a:lnTo>
                      <a:lnTo>
                        <a:pt x="14" y="206"/>
                      </a:lnTo>
                      <a:lnTo>
                        <a:pt x="8" y="212"/>
                      </a:lnTo>
                      <a:lnTo>
                        <a:pt x="2" y="218"/>
                      </a:lnTo>
                      <a:lnTo>
                        <a:pt x="0" y="222"/>
                      </a:lnTo>
                      <a:lnTo>
                        <a:pt x="0" y="226"/>
                      </a:lnTo>
                      <a:lnTo>
                        <a:pt x="0" y="230"/>
                      </a:lnTo>
                      <a:lnTo>
                        <a:pt x="4" y="234"/>
                      </a:lnTo>
                      <a:lnTo>
                        <a:pt x="4" y="234"/>
                      </a:lnTo>
                      <a:lnTo>
                        <a:pt x="6" y="236"/>
                      </a:lnTo>
                      <a:lnTo>
                        <a:pt x="10" y="240"/>
                      </a:lnTo>
                      <a:lnTo>
                        <a:pt x="20" y="240"/>
                      </a:lnTo>
                      <a:lnTo>
                        <a:pt x="38" y="234"/>
                      </a:lnTo>
                      <a:lnTo>
                        <a:pt x="38" y="234"/>
                      </a:lnTo>
                      <a:lnTo>
                        <a:pt x="48" y="232"/>
                      </a:lnTo>
                      <a:lnTo>
                        <a:pt x="54" y="232"/>
                      </a:lnTo>
                      <a:lnTo>
                        <a:pt x="68" y="236"/>
                      </a:lnTo>
                      <a:lnTo>
                        <a:pt x="74" y="238"/>
                      </a:lnTo>
                      <a:lnTo>
                        <a:pt x="84" y="240"/>
                      </a:lnTo>
                      <a:lnTo>
                        <a:pt x="96" y="240"/>
                      </a:lnTo>
                      <a:lnTo>
                        <a:pt x="112" y="238"/>
                      </a:lnTo>
                      <a:lnTo>
                        <a:pt x="112" y="238"/>
                      </a:lnTo>
                      <a:lnTo>
                        <a:pt x="126" y="236"/>
                      </a:lnTo>
                      <a:lnTo>
                        <a:pt x="132" y="236"/>
                      </a:lnTo>
                      <a:lnTo>
                        <a:pt x="134" y="238"/>
                      </a:lnTo>
                      <a:lnTo>
                        <a:pt x="134" y="240"/>
                      </a:lnTo>
                      <a:lnTo>
                        <a:pt x="134" y="244"/>
                      </a:lnTo>
                      <a:lnTo>
                        <a:pt x="134" y="246"/>
                      </a:lnTo>
                      <a:lnTo>
                        <a:pt x="140" y="246"/>
                      </a:lnTo>
                      <a:lnTo>
                        <a:pt x="154" y="246"/>
                      </a:lnTo>
                      <a:lnTo>
                        <a:pt x="154" y="246"/>
                      </a:lnTo>
                      <a:lnTo>
                        <a:pt x="166" y="246"/>
                      </a:lnTo>
                      <a:lnTo>
                        <a:pt x="170" y="246"/>
                      </a:lnTo>
                      <a:lnTo>
                        <a:pt x="170" y="248"/>
                      </a:lnTo>
                      <a:lnTo>
                        <a:pt x="168" y="252"/>
                      </a:lnTo>
                      <a:lnTo>
                        <a:pt x="162" y="256"/>
                      </a:lnTo>
                      <a:lnTo>
                        <a:pt x="144" y="268"/>
                      </a:lnTo>
                      <a:lnTo>
                        <a:pt x="138" y="274"/>
                      </a:lnTo>
                      <a:lnTo>
                        <a:pt x="134" y="278"/>
                      </a:lnTo>
                      <a:lnTo>
                        <a:pt x="134" y="278"/>
                      </a:lnTo>
                      <a:lnTo>
                        <a:pt x="136" y="282"/>
                      </a:lnTo>
                      <a:lnTo>
                        <a:pt x="138" y="284"/>
                      </a:lnTo>
                      <a:lnTo>
                        <a:pt x="142" y="286"/>
                      </a:lnTo>
                      <a:lnTo>
                        <a:pt x="148" y="286"/>
                      </a:lnTo>
                      <a:lnTo>
                        <a:pt x="154" y="284"/>
                      </a:lnTo>
                      <a:lnTo>
                        <a:pt x="162" y="280"/>
                      </a:lnTo>
                      <a:lnTo>
                        <a:pt x="168" y="274"/>
                      </a:lnTo>
                      <a:lnTo>
                        <a:pt x="174" y="266"/>
                      </a:lnTo>
                      <a:lnTo>
                        <a:pt x="174" y="266"/>
                      </a:lnTo>
                      <a:lnTo>
                        <a:pt x="180" y="258"/>
                      </a:lnTo>
                      <a:lnTo>
                        <a:pt x="184" y="254"/>
                      </a:lnTo>
                      <a:lnTo>
                        <a:pt x="188" y="252"/>
                      </a:lnTo>
                      <a:lnTo>
                        <a:pt x="192" y="252"/>
                      </a:lnTo>
                      <a:lnTo>
                        <a:pt x="194" y="252"/>
                      </a:lnTo>
                      <a:lnTo>
                        <a:pt x="196" y="250"/>
                      </a:lnTo>
                      <a:lnTo>
                        <a:pt x="200" y="246"/>
                      </a:lnTo>
                      <a:lnTo>
                        <a:pt x="204" y="238"/>
                      </a:lnTo>
                      <a:lnTo>
                        <a:pt x="204" y="238"/>
                      </a:lnTo>
                      <a:lnTo>
                        <a:pt x="208" y="232"/>
                      </a:lnTo>
                      <a:lnTo>
                        <a:pt x="212" y="228"/>
                      </a:lnTo>
                      <a:lnTo>
                        <a:pt x="214" y="228"/>
                      </a:lnTo>
                      <a:lnTo>
                        <a:pt x="218" y="230"/>
                      </a:lnTo>
                      <a:lnTo>
                        <a:pt x="220" y="234"/>
                      </a:lnTo>
                      <a:lnTo>
                        <a:pt x="220" y="240"/>
                      </a:lnTo>
                      <a:lnTo>
                        <a:pt x="218" y="248"/>
                      </a:lnTo>
                      <a:lnTo>
                        <a:pt x="216" y="256"/>
                      </a:lnTo>
                      <a:lnTo>
                        <a:pt x="216" y="256"/>
                      </a:lnTo>
                      <a:lnTo>
                        <a:pt x="212" y="272"/>
                      </a:lnTo>
                      <a:lnTo>
                        <a:pt x="210" y="282"/>
                      </a:lnTo>
                      <a:lnTo>
                        <a:pt x="210" y="284"/>
                      </a:lnTo>
                      <a:lnTo>
                        <a:pt x="212" y="284"/>
                      </a:lnTo>
                      <a:lnTo>
                        <a:pt x="222" y="278"/>
                      </a:lnTo>
                      <a:lnTo>
                        <a:pt x="222" y="278"/>
                      </a:lnTo>
                      <a:lnTo>
                        <a:pt x="228" y="274"/>
                      </a:lnTo>
                      <a:lnTo>
                        <a:pt x="230" y="274"/>
                      </a:lnTo>
                      <a:lnTo>
                        <a:pt x="232" y="276"/>
                      </a:lnTo>
                      <a:lnTo>
                        <a:pt x="234" y="280"/>
                      </a:lnTo>
                      <a:lnTo>
                        <a:pt x="236" y="284"/>
                      </a:lnTo>
                      <a:lnTo>
                        <a:pt x="240" y="290"/>
                      </a:lnTo>
                      <a:lnTo>
                        <a:pt x="244" y="292"/>
                      </a:lnTo>
                      <a:lnTo>
                        <a:pt x="252" y="294"/>
                      </a:lnTo>
                      <a:lnTo>
                        <a:pt x="252" y="294"/>
                      </a:lnTo>
                      <a:lnTo>
                        <a:pt x="260" y="294"/>
                      </a:lnTo>
                      <a:lnTo>
                        <a:pt x="264" y="292"/>
                      </a:lnTo>
                      <a:lnTo>
                        <a:pt x="266" y="288"/>
                      </a:lnTo>
                      <a:lnTo>
                        <a:pt x="266" y="284"/>
                      </a:lnTo>
                      <a:lnTo>
                        <a:pt x="264" y="268"/>
                      </a:lnTo>
                      <a:lnTo>
                        <a:pt x="266" y="258"/>
                      </a:lnTo>
                      <a:lnTo>
                        <a:pt x="270" y="246"/>
                      </a:lnTo>
                      <a:lnTo>
                        <a:pt x="270" y="246"/>
                      </a:lnTo>
                      <a:lnTo>
                        <a:pt x="272" y="236"/>
                      </a:lnTo>
                      <a:lnTo>
                        <a:pt x="272" y="230"/>
                      </a:lnTo>
                      <a:lnTo>
                        <a:pt x="268" y="228"/>
                      </a:lnTo>
                      <a:lnTo>
                        <a:pt x="264" y="230"/>
                      </a:lnTo>
                      <a:lnTo>
                        <a:pt x="260" y="230"/>
                      </a:lnTo>
                      <a:lnTo>
                        <a:pt x="258" y="230"/>
                      </a:lnTo>
                      <a:lnTo>
                        <a:pt x="258" y="226"/>
                      </a:lnTo>
                      <a:lnTo>
                        <a:pt x="262" y="218"/>
                      </a:lnTo>
                      <a:lnTo>
                        <a:pt x="262" y="21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3" name="Freeform 6114"/>
                <p:cNvSpPr>
                  <a:spLocks/>
                </p:cNvSpPr>
                <p:nvPr/>
              </p:nvSpPr>
              <p:spPr bwMode="auto">
                <a:xfrm>
                  <a:off x="2306320" y="2092643"/>
                  <a:ext cx="36830" cy="21590"/>
                </a:xfrm>
                <a:custGeom>
                  <a:avLst/>
                  <a:gdLst/>
                  <a:ahLst/>
                  <a:cxnLst>
                    <a:cxn ang="0">
                      <a:pos x="16" y="20"/>
                    </a:cxn>
                    <a:cxn ang="0">
                      <a:pos x="16" y="20"/>
                    </a:cxn>
                    <a:cxn ang="0">
                      <a:pos x="40" y="30"/>
                    </a:cxn>
                    <a:cxn ang="0">
                      <a:pos x="50" y="34"/>
                    </a:cxn>
                    <a:cxn ang="0">
                      <a:pos x="54" y="34"/>
                    </a:cxn>
                    <a:cxn ang="0">
                      <a:pos x="56" y="32"/>
                    </a:cxn>
                    <a:cxn ang="0">
                      <a:pos x="56" y="32"/>
                    </a:cxn>
                    <a:cxn ang="0">
                      <a:pos x="58" y="28"/>
                    </a:cxn>
                    <a:cxn ang="0">
                      <a:pos x="56" y="26"/>
                    </a:cxn>
                    <a:cxn ang="0">
                      <a:pos x="52" y="16"/>
                    </a:cxn>
                    <a:cxn ang="0">
                      <a:pos x="40" y="4"/>
                    </a:cxn>
                    <a:cxn ang="0">
                      <a:pos x="40" y="4"/>
                    </a:cxn>
                    <a:cxn ang="0">
                      <a:pos x="34" y="2"/>
                    </a:cxn>
                    <a:cxn ang="0">
                      <a:pos x="22" y="0"/>
                    </a:cxn>
                    <a:cxn ang="0">
                      <a:pos x="10" y="4"/>
                    </a:cxn>
                    <a:cxn ang="0">
                      <a:pos x="4" y="6"/>
                    </a:cxn>
                    <a:cxn ang="0">
                      <a:pos x="2" y="8"/>
                    </a:cxn>
                    <a:cxn ang="0">
                      <a:pos x="2" y="8"/>
                    </a:cxn>
                    <a:cxn ang="0">
                      <a:pos x="0" y="12"/>
                    </a:cxn>
                    <a:cxn ang="0">
                      <a:pos x="2" y="14"/>
                    </a:cxn>
                    <a:cxn ang="0">
                      <a:pos x="16" y="20"/>
                    </a:cxn>
                    <a:cxn ang="0">
                      <a:pos x="16" y="20"/>
                    </a:cxn>
                  </a:cxnLst>
                  <a:rect l="0" t="0" r="r" b="b"/>
                  <a:pathLst>
                    <a:path w="58" h="34">
                      <a:moveTo>
                        <a:pt x="16" y="20"/>
                      </a:moveTo>
                      <a:lnTo>
                        <a:pt x="16" y="20"/>
                      </a:lnTo>
                      <a:lnTo>
                        <a:pt x="40" y="30"/>
                      </a:lnTo>
                      <a:lnTo>
                        <a:pt x="50" y="34"/>
                      </a:lnTo>
                      <a:lnTo>
                        <a:pt x="54" y="34"/>
                      </a:lnTo>
                      <a:lnTo>
                        <a:pt x="56" y="32"/>
                      </a:lnTo>
                      <a:lnTo>
                        <a:pt x="56" y="32"/>
                      </a:lnTo>
                      <a:lnTo>
                        <a:pt x="58" y="28"/>
                      </a:lnTo>
                      <a:lnTo>
                        <a:pt x="56" y="26"/>
                      </a:lnTo>
                      <a:lnTo>
                        <a:pt x="52" y="16"/>
                      </a:lnTo>
                      <a:lnTo>
                        <a:pt x="40" y="4"/>
                      </a:lnTo>
                      <a:lnTo>
                        <a:pt x="40" y="4"/>
                      </a:lnTo>
                      <a:lnTo>
                        <a:pt x="34" y="2"/>
                      </a:lnTo>
                      <a:lnTo>
                        <a:pt x="22" y="0"/>
                      </a:lnTo>
                      <a:lnTo>
                        <a:pt x="10" y="4"/>
                      </a:lnTo>
                      <a:lnTo>
                        <a:pt x="4" y="6"/>
                      </a:lnTo>
                      <a:lnTo>
                        <a:pt x="2" y="8"/>
                      </a:lnTo>
                      <a:lnTo>
                        <a:pt x="2" y="8"/>
                      </a:lnTo>
                      <a:lnTo>
                        <a:pt x="0" y="12"/>
                      </a:lnTo>
                      <a:lnTo>
                        <a:pt x="2" y="14"/>
                      </a:lnTo>
                      <a:lnTo>
                        <a:pt x="16" y="20"/>
                      </a:lnTo>
                      <a:lnTo>
                        <a:pt x="16" y="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grpSp>
              <p:nvGrpSpPr>
                <p:cNvPr id="8" name="Gruppe 224"/>
                <p:cNvGrpSpPr/>
                <p:nvPr/>
              </p:nvGrpSpPr>
              <p:grpSpPr>
                <a:xfrm>
                  <a:off x="106680" y="699453"/>
                  <a:ext cx="3986530" cy="2951480"/>
                  <a:chOff x="106680" y="699453"/>
                  <a:chExt cx="3986530" cy="2951480"/>
                </a:xfrm>
                <a:grpFill/>
              </p:grpSpPr>
              <p:sp>
                <p:nvSpPr>
                  <p:cNvPr id="207" name="Freeform 6016"/>
                  <p:cNvSpPr>
                    <a:spLocks/>
                  </p:cNvSpPr>
                  <p:nvPr/>
                </p:nvSpPr>
                <p:spPr bwMode="auto">
                  <a:xfrm>
                    <a:off x="1352550" y="1099503"/>
                    <a:ext cx="40640" cy="26670"/>
                  </a:xfrm>
                  <a:custGeom>
                    <a:avLst/>
                    <a:gdLst/>
                    <a:ahLst/>
                    <a:cxnLst>
                      <a:cxn ang="0">
                        <a:pos x="54" y="2"/>
                      </a:cxn>
                      <a:cxn ang="0">
                        <a:pos x="54" y="2"/>
                      </a:cxn>
                      <a:cxn ang="0">
                        <a:pos x="32" y="12"/>
                      </a:cxn>
                      <a:cxn ang="0">
                        <a:pos x="10" y="24"/>
                      </a:cxn>
                      <a:cxn ang="0">
                        <a:pos x="4" y="30"/>
                      </a:cxn>
                      <a:cxn ang="0">
                        <a:pos x="0" y="36"/>
                      </a:cxn>
                      <a:cxn ang="0">
                        <a:pos x="2" y="38"/>
                      </a:cxn>
                      <a:cxn ang="0">
                        <a:pos x="4" y="40"/>
                      </a:cxn>
                      <a:cxn ang="0">
                        <a:pos x="16" y="42"/>
                      </a:cxn>
                      <a:cxn ang="0">
                        <a:pos x="16" y="42"/>
                      </a:cxn>
                      <a:cxn ang="0">
                        <a:pos x="22" y="42"/>
                      </a:cxn>
                      <a:cxn ang="0">
                        <a:pos x="28" y="42"/>
                      </a:cxn>
                      <a:cxn ang="0">
                        <a:pos x="40" y="36"/>
                      </a:cxn>
                      <a:cxn ang="0">
                        <a:pos x="50" y="28"/>
                      </a:cxn>
                      <a:cxn ang="0">
                        <a:pos x="58" y="20"/>
                      </a:cxn>
                      <a:cxn ang="0">
                        <a:pos x="62" y="10"/>
                      </a:cxn>
                      <a:cxn ang="0">
                        <a:pos x="64" y="4"/>
                      </a:cxn>
                      <a:cxn ang="0">
                        <a:pos x="64" y="2"/>
                      </a:cxn>
                      <a:cxn ang="0">
                        <a:pos x="62" y="0"/>
                      </a:cxn>
                      <a:cxn ang="0">
                        <a:pos x="58" y="0"/>
                      </a:cxn>
                      <a:cxn ang="0">
                        <a:pos x="54" y="2"/>
                      </a:cxn>
                      <a:cxn ang="0">
                        <a:pos x="54" y="2"/>
                      </a:cxn>
                    </a:cxnLst>
                    <a:rect l="0" t="0" r="r" b="b"/>
                    <a:pathLst>
                      <a:path w="64" h="42">
                        <a:moveTo>
                          <a:pt x="54" y="2"/>
                        </a:moveTo>
                        <a:lnTo>
                          <a:pt x="54" y="2"/>
                        </a:lnTo>
                        <a:lnTo>
                          <a:pt x="32" y="12"/>
                        </a:lnTo>
                        <a:lnTo>
                          <a:pt x="10" y="24"/>
                        </a:lnTo>
                        <a:lnTo>
                          <a:pt x="4" y="30"/>
                        </a:lnTo>
                        <a:lnTo>
                          <a:pt x="0" y="36"/>
                        </a:lnTo>
                        <a:lnTo>
                          <a:pt x="2" y="38"/>
                        </a:lnTo>
                        <a:lnTo>
                          <a:pt x="4" y="40"/>
                        </a:lnTo>
                        <a:lnTo>
                          <a:pt x="16" y="42"/>
                        </a:lnTo>
                        <a:lnTo>
                          <a:pt x="16" y="42"/>
                        </a:lnTo>
                        <a:lnTo>
                          <a:pt x="22" y="42"/>
                        </a:lnTo>
                        <a:lnTo>
                          <a:pt x="28" y="42"/>
                        </a:lnTo>
                        <a:lnTo>
                          <a:pt x="40" y="36"/>
                        </a:lnTo>
                        <a:lnTo>
                          <a:pt x="50" y="28"/>
                        </a:lnTo>
                        <a:lnTo>
                          <a:pt x="58" y="20"/>
                        </a:lnTo>
                        <a:lnTo>
                          <a:pt x="62" y="10"/>
                        </a:lnTo>
                        <a:lnTo>
                          <a:pt x="64" y="4"/>
                        </a:lnTo>
                        <a:lnTo>
                          <a:pt x="64" y="2"/>
                        </a:lnTo>
                        <a:lnTo>
                          <a:pt x="62" y="0"/>
                        </a:lnTo>
                        <a:lnTo>
                          <a:pt x="58" y="0"/>
                        </a:lnTo>
                        <a:lnTo>
                          <a:pt x="54" y="2"/>
                        </a:lnTo>
                        <a:lnTo>
                          <a:pt x="54"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8" name="Freeform 6017"/>
                  <p:cNvSpPr>
                    <a:spLocks/>
                  </p:cNvSpPr>
                  <p:nvPr/>
                </p:nvSpPr>
                <p:spPr bwMode="auto">
                  <a:xfrm>
                    <a:off x="1184910" y="1173163"/>
                    <a:ext cx="270510" cy="165100"/>
                  </a:xfrm>
                  <a:custGeom>
                    <a:avLst/>
                    <a:gdLst/>
                    <a:ahLst/>
                    <a:cxnLst>
                      <a:cxn ang="0">
                        <a:pos x="20" y="198"/>
                      </a:cxn>
                      <a:cxn ang="0">
                        <a:pos x="68" y="214"/>
                      </a:cxn>
                      <a:cxn ang="0">
                        <a:pos x="92" y="232"/>
                      </a:cxn>
                      <a:cxn ang="0">
                        <a:pos x="106" y="256"/>
                      </a:cxn>
                      <a:cxn ang="0">
                        <a:pos x="116" y="260"/>
                      </a:cxn>
                      <a:cxn ang="0">
                        <a:pos x="146" y="248"/>
                      </a:cxn>
                      <a:cxn ang="0">
                        <a:pos x="168" y="236"/>
                      </a:cxn>
                      <a:cxn ang="0">
                        <a:pos x="184" y="238"/>
                      </a:cxn>
                      <a:cxn ang="0">
                        <a:pos x="208" y="232"/>
                      </a:cxn>
                      <a:cxn ang="0">
                        <a:pos x="216" y="226"/>
                      </a:cxn>
                      <a:cxn ang="0">
                        <a:pos x="224" y="200"/>
                      </a:cxn>
                      <a:cxn ang="0">
                        <a:pos x="232" y="178"/>
                      </a:cxn>
                      <a:cxn ang="0">
                        <a:pos x="254" y="172"/>
                      </a:cxn>
                      <a:cxn ang="0">
                        <a:pos x="266" y="158"/>
                      </a:cxn>
                      <a:cxn ang="0">
                        <a:pos x="280" y="140"/>
                      </a:cxn>
                      <a:cxn ang="0">
                        <a:pos x="322" y="124"/>
                      </a:cxn>
                      <a:cxn ang="0">
                        <a:pos x="392" y="94"/>
                      </a:cxn>
                      <a:cxn ang="0">
                        <a:pos x="418" y="86"/>
                      </a:cxn>
                      <a:cxn ang="0">
                        <a:pos x="424" y="72"/>
                      </a:cxn>
                      <a:cxn ang="0">
                        <a:pos x="408" y="64"/>
                      </a:cxn>
                      <a:cxn ang="0">
                        <a:pos x="370" y="40"/>
                      </a:cxn>
                      <a:cxn ang="0">
                        <a:pos x="334" y="22"/>
                      </a:cxn>
                      <a:cxn ang="0">
                        <a:pos x="302" y="22"/>
                      </a:cxn>
                      <a:cxn ang="0">
                        <a:pos x="284" y="30"/>
                      </a:cxn>
                      <a:cxn ang="0">
                        <a:pos x="276" y="40"/>
                      </a:cxn>
                      <a:cxn ang="0">
                        <a:pos x="272" y="36"/>
                      </a:cxn>
                      <a:cxn ang="0">
                        <a:pos x="268" y="26"/>
                      </a:cxn>
                      <a:cxn ang="0">
                        <a:pos x="260" y="26"/>
                      </a:cxn>
                      <a:cxn ang="0">
                        <a:pos x="234" y="22"/>
                      </a:cxn>
                      <a:cxn ang="0">
                        <a:pos x="192" y="2"/>
                      </a:cxn>
                      <a:cxn ang="0">
                        <a:pos x="168" y="0"/>
                      </a:cxn>
                      <a:cxn ang="0">
                        <a:pos x="138" y="6"/>
                      </a:cxn>
                      <a:cxn ang="0">
                        <a:pos x="54" y="16"/>
                      </a:cxn>
                      <a:cxn ang="0">
                        <a:pos x="50" y="20"/>
                      </a:cxn>
                      <a:cxn ang="0">
                        <a:pos x="56" y="28"/>
                      </a:cxn>
                      <a:cxn ang="0">
                        <a:pos x="64" y="46"/>
                      </a:cxn>
                      <a:cxn ang="0">
                        <a:pos x="76" y="52"/>
                      </a:cxn>
                      <a:cxn ang="0">
                        <a:pos x="86" y="60"/>
                      </a:cxn>
                      <a:cxn ang="0">
                        <a:pos x="74" y="72"/>
                      </a:cxn>
                      <a:cxn ang="0">
                        <a:pos x="72" y="80"/>
                      </a:cxn>
                      <a:cxn ang="0">
                        <a:pos x="58" y="84"/>
                      </a:cxn>
                      <a:cxn ang="0">
                        <a:pos x="56" y="90"/>
                      </a:cxn>
                      <a:cxn ang="0">
                        <a:pos x="48" y="106"/>
                      </a:cxn>
                      <a:cxn ang="0">
                        <a:pos x="46" y="114"/>
                      </a:cxn>
                      <a:cxn ang="0">
                        <a:pos x="56" y="122"/>
                      </a:cxn>
                      <a:cxn ang="0">
                        <a:pos x="44" y="126"/>
                      </a:cxn>
                      <a:cxn ang="0">
                        <a:pos x="30" y="130"/>
                      </a:cxn>
                      <a:cxn ang="0">
                        <a:pos x="34" y="140"/>
                      </a:cxn>
                      <a:cxn ang="0">
                        <a:pos x="22" y="160"/>
                      </a:cxn>
                      <a:cxn ang="0">
                        <a:pos x="4" y="182"/>
                      </a:cxn>
                      <a:cxn ang="0">
                        <a:pos x="0" y="192"/>
                      </a:cxn>
                      <a:cxn ang="0">
                        <a:pos x="2" y="196"/>
                      </a:cxn>
                    </a:cxnLst>
                    <a:rect l="0" t="0" r="r" b="b"/>
                    <a:pathLst>
                      <a:path w="426" h="260">
                        <a:moveTo>
                          <a:pt x="2" y="196"/>
                        </a:moveTo>
                        <a:lnTo>
                          <a:pt x="2" y="196"/>
                        </a:lnTo>
                        <a:lnTo>
                          <a:pt x="20" y="198"/>
                        </a:lnTo>
                        <a:lnTo>
                          <a:pt x="38" y="204"/>
                        </a:lnTo>
                        <a:lnTo>
                          <a:pt x="68" y="214"/>
                        </a:lnTo>
                        <a:lnTo>
                          <a:pt x="68" y="214"/>
                        </a:lnTo>
                        <a:lnTo>
                          <a:pt x="78" y="220"/>
                        </a:lnTo>
                        <a:lnTo>
                          <a:pt x="86" y="226"/>
                        </a:lnTo>
                        <a:lnTo>
                          <a:pt x="92" y="232"/>
                        </a:lnTo>
                        <a:lnTo>
                          <a:pt x="96" y="240"/>
                        </a:lnTo>
                        <a:lnTo>
                          <a:pt x="102" y="252"/>
                        </a:lnTo>
                        <a:lnTo>
                          <a:pt x="106" y="256"/>
                        </a:lnTo>
                        <a:lnTo>
                          <a:pt x="110" y="260"/>
                        </a:lnTo>
                        <a:lnTo>
                          <a:pt x="110" y="260"/>
                        </a:lnTo>
                        <a:lnTo>
                          <a:pt x="116" y="260"/>
                        </a:lnTo>
                        <a:lnTo>
                          <a:pt x="122" y="260"/>
                        </a:lnTo>
                        <a:lnTo>
                          <a:pt x="134" y="256"/>
                        </a:lnTo>
                        <a:lnTo>
                          <a:pt x="146" y="248"/>
                        </a:lnTo>
                        <a:lnTo>
                          <a:pt x="160" y="240"/>
                        </a:lnTo>
                        <a:lnTo>
                          <a:pt x="160" y="240"/>
                        </a:lnTo>
                        <a:lnTo>
                          <a:pt x="168" y="236"/>
                        </a:lnTo>
                        <a:lnTo>
                          <a:pt x="172" y="234"/>
                        </a:lnTo>
                        <a:lnTo>
                          <a:pt x="180" y="236"/>
                        </a:lnTo>
                        <a:lnTo>
                          <a:pt x="184" y="238"/>
                        </a:lnTo>
                        <a:lnTo>
                          <a:pt x="190" y="238"/>
                        </a:lnTo>
                        <a:lnTo>
                          <a:pt x="198" y="236"/>
                        </a:lnTo>
                        <a:lnTo>
                          <a:pt x="208" y="232"/>
                        </a:lnTo>
                        <a:lnTo>
                          <a:pt x="208" y="232"/>
                        </a:lnTo>
                        <a:lnTo>
                          <a:pt x="212" y="230"/>
                        </a:lnTo>
                        <a:lnTo>
                          <a:pt x="216" y="226"/>
                        </a:lnTo>
                        <a:lnTo>
                          <a:pt x="222" y="218"/>
                        </a:lnTo>
                        <a:lnTo>
                          <a:pt x="224" y="210"/>
                        </a:lnTo>
                        <a:lnTo>
                          <a:pt x="224" y="200"/>
                        </a:lnTo>
                        <a:lnTo>
                          <a:pt x="224" y="192"/>
                        </a:lnTo>
                        <a:lnTo>
                          <a:pt x="226" y="184"/>
                        </a:lnTo>
                        <a:lnTo>
                          <a:pt x="232" y="178"/>
                        </a:lnTo>
                        <a:lnTo>
                          <a:pt x="244" y="174"/>
                        </a:lnTo>
                        <a:lnTo>
                          <a:pt x="244" y="174"/>
                        </a:lnTo>
                        <a:lnTo>
                          <a:pt x="254" y="172"/>
                        </a:lnTo>
                        <a:lnTo>
                          <a:pt x="260" y="170"/>
                        </a:lnTo>
                        <a:lnTo>
                          <a:pt x="264" y="164"/>
                        </a:lnTo>
                        <a:lnTo>
                          <a:pt x="266" y="158"/>
                        </a:lnTo>
                        <a:lnTo>
                          <a:pt x="268" y="152"/>
                        </a:lnTo>
                        <a:lnTo>
                          <a:pt x="272" y="146"/>
                        </a:lnTo>
                        <a:lnTo>
                          <a:pt x="280" y="140"/>
                        </a:lnTo>
                        <a:lnTo>
                          <a:pt x="292" y="136"/>
                        </a:lnTo>
                        <a:lnTo>
                          <a:pt x="292" y="136"/>
                        </a:lnTo>
                        <a:lnTo>
                          <a:pt x="322" y="124"/>
                        </a:lnTo>
                        <a:lnTo>
                          <a:pt x="348" y="112"/>
                        </a:lnTo>
                        <a:lnTo>
                          <a:pt x="370" y="102"/>
                        </a:lnTo>
                        <a:lnTo>
                          <a:pt x="392" y="94"/>
                        </a:lnTo>
                        <a:lnTo>
                          <a:pt x="392" y="94"/>
                        </a:lnTo>
                        <a:lnTo>
                          <a:pt x="408" y="90"/>
                        </a:lnTo>
                        <a:lnTo>
                          <a:pt x="418" y="86"/>
                        </a:lnTo>
                        <a:lnTo>
                          <a:pt x="424" y="82"/>
                        </a:lnTo>
                        <a:lnTo>
                          <a:pt x="426" y="76"/>
                        </a:lnTo>
                        <a:lnTo>
                          <a:pt x="424" y="72"/>
                        </a:lnTo>
                        <a:lnTo>
                          <a:pt x="420" y="70"/>
                        </a:lnTo>
                        <a:lnTo>
                          <a:pt x="408" y="64"/>
                        </a:lnTo>
                        <a:lnTo>
                          <a:pt x="408" y="64"/>
                        </a:lnTo>
                        <a:lnTo>
                          <a:pt x="398" y="60"/>
                        </a:lnTo>
                        <a:lnTo>
                          <a:pt x="390" y="54"/>
                        </a:lnTo>
                        <a:lnTo>
                          <a:pt x="370" y="40"/>
                        </a:lnTo>
                        <a:lnTo>
                          <a:pt x="360" y="32"/>
                        </a:lnTo>
                        <a:lnTo>
                          <a:pt x="348" y="26"/>
                        </a:lnTo>
                        <a:lnTo>
                          <a:pt x="334" y="22"/>
                        </a:lnTo>
                        <a:lnTo>
                          <a:pt x="318" y="22"/>
                        </a:lnTo>
                        <a:lnTo>
                          <a:pt x="318" y="22"/>
                        </a:lnTo>
                        <a:lnTo>
                          <a:pt x="302" y="22"/>
                        </a:lnTo>
                        <a:lnTo>
                          <a:pt x="294" y="24"/>
                        </a:lnTo>
                        <a:lnTo>
                          <a:pt x="288" y="26"/>
                        </a:lnTo>
                        <a:lnTo>
                          <a:pt x="284" y="30"/>
                        </a:lnTo>
                        <a:lnTo>
                          <a:pt x="282" y="36"/>
                        </a:lnTo>
                        <a:lnTo>
                          <a:pt x="280" y="38"/>
                        </a:lnTo>
                        <a:lnTo>
                          <a:pt x="276" y="40"/>
                        </a:lnTo>
                        <a:lnTo>
                          <a:pt x="276" y="40"/>
                        </a:lnTo>
                        <a:lnTo>
                          <a:pt x="272" y="40"/>
                        </a:lnTo>
                        <a:lnTo>
                          <a:pt x="272" y="36"/>
                        </a:lnTo>
                        <a:lnTo>
                          <a:pt x="272" y="32"/>
                        </a:lnTo>
                        <a:lnTo>
                          <a:pt x="272" y="30"/>
                        </a:lnTo>
                        <a:lnTo>
                          <a:pt x="268" y="26"/>
                        </a:lnTo>
                        <a:lnTo>
                          <a:pt x="268" y="26"/>
                        </a:lnTo>
                        <a:lnTo>
                          <a:pt x="266" y="26"/>
                        </a:lnTo>
                        <a:lnTo>
                          <a:pt x="260" y="26"/>
                        </a:lnTo>
                        <a:lnTo>
                          <a:pt x="250" y="24"/>
                        </a:lnTo>
                        <a:lnTo>
                          <a:pt x="234" y="22"/>
                        </a:lnTo>
                        <a:lnTo>
                          <a:pt x="234" y="22"/>
                        </a:lnTo>
                        <a:lnTo>
                          <a:pt x="218" y="16"/>
                        </a:lnTo>
                        <a:lnTo>
                          <a:pt x="208" y="12"/>
                        </a:lnTo>
                        <a:lnTo>
                          <a:pt x="192" y="2"/>
                        </a:lnTo>
                        <a:lnTo>
                          <a:pt x="186" y="0"/>
                        </a:lnTo>
                        <a:lnTo>
                          <a:pt x="178" y="0"/>
                        </a:lnTo>
                        <a:lnTo>
                          <a:pt x="168" y="0"/>
                        </a:lnTo>
                        <a:lnTo>
                          <a:pt x="154" y="2"/>
                        </a:lnTo>
                        <a:lnTo>
                          <a:pt x="154" y="2"/>
                        </a:lnTo>
                        <a:lnTo>
                          <a:pt x="138" y="6"/>
                        </a:lnTo>
                        <a:lnTo>
                          <a:pt x="120" y="8"/>
                        </a:lnTo>
                        <a:lnTo>
                          <a:pt x="82" y="12"/>
                        </a:lnTo>
                        <a:lnTo>
                          <a:pt x="54" y="16"/>
                        </a:lnTo>
                        <a:lnTo>
                          <a:pt x="48" y="18"/>
                        </a:lnTo>
                        <a:lnTo>
                          <a:pt x="48" y="18"/>
                        </a:lnTo>
                        <a:lnTo>
                          <a:pt x="50" y="20"/>
                        </a:lnTo>
                        <a:lnTo>
                          <a:pt x="50" y="20"/>
                        </a:lnTo>
                        <a:lnTo>
                          <a:pt x="54" y="24"/>
                        </a:lnTo>
                        <a:lnTo>
                          <a:pt x="56" y="28"/>
                        </a:lnTo>
                        <a:lnTo>
                          <a:pt x="58" y="36"/>
                        </a:lnTo>
                        <a:lnTo>
                          <a:pt x="60" y="42"/>
                        </a:lnTo>
                        <a:lnTo>
                          <a:pt x="64" y="46"/>
                        </a:lnTo>
                        <a:lnTo>
                          <a:pt x="68" y="48"/>
                        </a:lnTo>
                        <a:lnTo>
                          <a:pt x="76" y="52"/>
                        </a:lnTo>
                        <a:lnTo>
                          <a:pt x="76" y="52"/>
                        </a:lnTo>
                        <a:lnTo>
                          <a:pt x="84" y="56"/>
                        </a:lnTo>
                        <a:lnTo>
                          <a:pt x="86" y="58"/>
                        </a:lnTo>
                        <a:lnTo>
                          <a:pt x="86" y="60"/>
                        </a:lnTo>
                        <a:lnTo>
                          <a:pt x="84" y="64"/>
                        </a:lnTo>
                        <a:lnTo>
                          <a:pt x="76" y="68"/>
                        </a:lnTo>
                        <a:lnTo>
                          <a:pt x="74" y="72"/>
                        </a:lnTo>
                        <a:lnTo>
                          <a:pt x="72" y="76"/>
                        </a:lnTo>
                        <a:lnTo>
                          <a:pt x="72" y="76"/>
                        </a:lnTo>
                        <a:lnTo>
                          <a:pt x="72" y="80"/>
                        </a:lnTo>
                        <a:lnTo>
                          <a:pt x="70" y="82"/>
                        </a:lnTo>
                        <a:lnTo>
                          <a:pt x="64" y="82"/>
                        </a:lnTo>
                        <a:lnTo>
                          <a:pt x="58" y="84"/>
                        </a:lnTo>
                        <a:lnTo>
                          <a:pt x="56" y="86"/>
                        </a:lnTo>
                        <a:lnTo>
                          <a:pt x="56" y="90"/>
                        </a:lnTo>
                        <a:lnTo>
                          <a:pt x="56" y="90"/>
                        </a:lnTo>
                        <a:lnTo>
                          <a:pt x="56" y="94"/>
                        </a:lnTo>
                        <a:lnTo>
                          <a:pt x="54" y="98"/>
                        </a:lnTo>
                        <a:lnTo>
                          <a:pt x="48" y="106"/>
                        </a:lnTo>
                        <a:lnTo>
                          <a:pt x="44" y="110"/>
                        </a:lnTo>
                        <a:lnTo>
                          <a:pt x="44" y="112"/>
                        </a:lnTo>
                        <a:lnTo>
                          <a:pt x="46" y="114"/>
                        </a:lnTo>
                        <a:lnTo>
                          <a:pt x="46" y="114"/>
                        </a:lnTo>
                        <a:lnTo>
                          <a:pt x="54" y="118"/>
                        </a:lnTo>
                        <a:lnTo>
                          <a:pt x="56" y="122"/>
                        </a:lnTo>
                        <a:lnTo>
                          <a:pt x="56" y="124"/>
                        </a:lnTo>
                        <a:lnTo>
                          <a:pt x="54" y="124"/>
                        </a:lnTo>
                        <a:lnTo>
                          <a:pt x="44" y="126"/>
                        </a:lnTo>
                        <a:lnTo>
                          <a:pt x="44" y="126"/>
                        </a:lnTo>
                        <a:lnTo>
                          <a:pt x="34" y="128"/>
                        </a:lnTo>
                        <a:lnTo>
                          <a:pt x="30" y="130"/>
                        </a:lnTo>
                        <a:lnTo>
                          <a:pt x="30" y="134"/>
                        </a:lnTo>
                        <a:lnTo>
                          <a:pt x="34" y="140"/>
                        </a:lnTo>
                        <a:lnTo>
                          <a:pt x="34" y="140"/>
                        </a:lnTo>
                        <a:lnTo>
                          <a:pt x="34" y="144"/>
                        </a:lnTo>
                        <a:lnTo>
                          <a:pt x="32" y="150"/>
                        </a:lnTo>
                        <a:lnTo>
                          <a:pt x="22" y="160"/>
                        </a:lnTo>
                        <a:lnTo>
                          <a:pt x="10" y="172"/>
                        </a:lnTo>
                        <a:lnTo>
                          <a:pt x="6" y="178"/>
                        </a:lnTo>
                        <a:lnTo>
                          <a:pt x="4" y="182"/>
                        </a:lnTo>
                        <a:lnTo>
                          <a:pt x="4" y="182"/>
                        </a:lnTo>
                        <a:lnTo>
                          <a:pt x="2" y="188"/>
                        </a:lnTo>
                        <a:lnTo>
                          <a:pt x="0" y="192"/>
                        </a:lnTo>
                        <a:lnTo>
                          <a:pt x="0" y="194"/>
                        </a:lnTo>
                        <a:lnTo>
                          <a:pt x="2" y="196"/>
                        </a:lnTo>
                        <a:lnTo>
                          <a:pt x="2" y="19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9" name="Freeform 6018"/>
                  <p:cNvSpPr>
                    <a:spLocks/>
                  </p:cNvSpPr>
                  <p:nvPr/>
                </p:nvSpPr>
                <p:spPr bwMode="auto">
                  <a:xfrm>
                    <a:off x="1258570" y="1024573"/>
                    <a:ext cx="190500" cy="87630"/>
                  </a:xfrm>
                  <a:custGeom>
                    <a:avLst/>
                    <a:gdLst/>
                    <a:ahLst/>
                    <a:cxnLst>
                      <a:cxn ang="0">
                        <a:pos x="12" y="124"/>
                      </a:cxn>
                      <a:cxn ang="0">
                        <a:pos x="16" y="130"/>
                      </a:cxn>
                      <a:cxn ang="0">
                        <a:pos x="36" y="120"/>
                      </a:cxn>
                      <a:cxn ang="0">
                        <a:pos x="50" y="118"/>
                      </a:cxn>
                      <a:cxn ang="0">
                        <a:pos x="66" y="124"/>
                      </a:cxn>
                      <a:cxn ang="0">
                        <a:pos x="76" y="124"/>
                      </a:cxn>
                      <a:cxn ang="0">
                        <a:pos x="88" y="114"/>
                      </a:cxn>
                      <a:cxn ang="0">
                        <a:pos x="94" y="122"/>
                      </a:cxn>
                      <a:cxn ang="0">
                        <a:pos x="112" y="138"/>
                      </a:cxn>
                      <a:cxn ang="0">
                        <a:pos x="132" y="132"/>
                      </a:cxn>
                      <a:cxn ang="0">
                        <a:pos x="138" y="114"/>
                      </a:cxn>
                      <a:cxn ang="0">
                        <a:pos x="146" y="110"/>
                      </a:cxn>
                      <a:cxn ang="0">
                        <a:pos x="156" y="114"/>
                      </a:cxn>
                      <a:cxn ang="0">
                        <a:pos x="174" y="94"/>
                      </a:cxn>
                      <a:cxn ang="0">
                        <a:pos x="182" y="76"/>
                      </a:cxn>
                      <a:cxn ang="0">
                        <a:pos x="186" y="66"/>
                      </a:cxn>
                      <a:cxn ang="0">
                        <a:pos x="206" y="56"/>
                      </a:cxn>
                      <a:cxn ang="0">
                        <a:pos x="208" y="64"/>
                      </a:cxn>
                      <a:cxn ang="0">
                        <a:pos x="206" y="88"/>
                      </a:cxn>
                      <a:cxn ang="0">
                        <a:pos x="214" y="96"/>
                      </a:cxn>
                      <a:cxn ang="0">
                        <a:pos x="236" y="100"/>
                      </a:cxn>
                      <a:cxn ang="0">
                        <a:pos x="244" y="92"/>
                      </a:cxn>
                      <a:cxn ang="0">
                        <a:pos x="246" y="80"/>
                      </a:cxn>
                      <a:cxn ang="0">
                        <a:pos x="274" y="74"/>
                      </a:cxn>
                      <a:cxn ang="0">
                        <a:pos x="294" y="60"/>
                      </a:cxn>
                      <a:cxn ang="0">
                        <a:pos x="280" y="42"/>
                      </a:cxn>
                      <a:cxn ang="0">
                        <a:pos x="272" y="36"/>
                      </a:cxn>
                      <a:cxn ang="0">
                        <a:pos x="278" y="28"/>
                      </a:cxn>
                      <a:cxn ang="0">
                        <a:pos x="300" y="18"/>
                      </a:cxn>
                      <a:cxn ang="0">
                        <a:pos x="288" y="8"/>
                      </a:cxn>
                      <a:cxn ang="0">
                        <a:pos x="258" y="0"/>
                      </a:cxn>
                      <a:cxn ang="0">
                        <a:pos x="244" y="4"/>
                      </a:cxn>
                      <a:cxn ang="0">
                        <a:pos x="234" y="16"/>
                      </a:cxn>
                      <a:cxn ang="0">
                        <a:pos x="202" y="12"/>
                      </a:cxn>
                      <a:cxn ang="0">
                        <a:pos x="160" y="18"/>
                      </a:cxn>
                      <a:cxn ang="0">
                        <a:pos x="128" y="38"/>
                      </a:cxn>
                      <a:cxn ang="0">
                        <a:pos x="102" y="58"/>
                      </a:cxn>
                      <a:cxn ang="0">
                        <a:pos x="82" y="66"/>
                      </a:cxn>
                      <a:cxn ang="0">
                        <a:pos x="66" y="78"/>
                      </a:cxn>
                      <a:cxn ang="0">
                        <a:pos x="44" y="90"/>
                      </a:cxn>
                      <a:cxn ang="0">
                        <a:pos x="28" y="86"/>
                      </a:cxn>
                      <a:cxn ang="0">
                        <a:pos x="12" y="96"/>
                      </a:cxn>
                      <a:cxn ang="0">
                        <a:pos x="2" y="112"/>
                      </a:cxn>
                      <a:cxn ang="0">
                        <a:pos x="14" y="116"/>
                      </a:cxn>
                    </a:cxnLst>
                    <a:rect l="0" t="0" r="r" b="b"/>
                    <a:pathLst>
                      <a:path w="300" h="138">
                        <a:moveTo>
                          <a:pt x="14" y="120"/>
                        </a:moveTo>
                        <a:lnTo>
                          <a:pt x="14" y="120"/>
                        </a:lnTo>
                        <a:lnTo>
                          <a:pt x="12" y="124"/>
                        </a:lnTo>
                        <a:lnTo>
                          <a:pt x="12" y="126"/>
                        </a:lnTo>
                        <a:lnTo>
                          <a:pt x="14" y="128"/>
                        </a:lnTo>
                        <a:lnTo>
                          <a:pt x="16" y="130"/>
                        </a:lnTo>
                        <a:lnTo>
                          <a:pt x="24" y="128"/>
                        </a:lnTo>
                        <a:lnTo>
                          <a:pt x="36" y="120"/>
                        </a:lnTo>
                        <a:lnTo>
                          <a:pt x="36" y="120"/>
                        </a:lnTo>
                        <a:lnTo>
                          <a:pt x="42" y="118"/>
                        </a:lnTo>
                        <a:lnTo>
                          <a:pt x="46" y="116"/>
                        </a:lnTo>
                        <a:lnTo>
                          <a:pt x="50" y="118"/>
                        </a:lnTo>
                        <a:lnTo>
                          <a:pt x="52" y="118"/>
                        </a:lnTo>
                        <a:lnTo>
                          <a:pt x="60" y="124"/>
                        </a:lnTo>
                        <a:lnTo>
                          <a:pt x="66" y="124"/>
                        </a:lnTo>
                        <a:lnTo>
                          <a:pt x="72" y="126"/>
                        </a:lnTo>
                        <a:lnTo>
                          <a:pt x="72" y="126"/>
                        </a:lnTo>
                        <a:lnTo>
                          <a:pt x="76" y="124"/>
                        </a:lnTo>
                        <a:lnTo>
                          <a:pt x="82" y="122"/>
                        </a:lnTo>
                        <a:lnTo>
                          <a:pt x="86" y="116"/>
                        </a:lnTo>
                        <a:lnTo>
                          <a:pt x="88" y="114"/>
                        </a:lnTo>
                        <a:lnTo>
                          <a:pt x="90" y="114"/>
                        </a:lnTo>
                        <a:lnTo>
                          <a:pt x="94" y="122"/>
                        </a:lnTo>
                        <a:lnTo>
                          <a:pt x="94" y="122"/>
                        </a:lnTo>
                        <a:lnTo>
                          <a:pt x="98" y="130"/>
                        </a:lnTo>
                        <a:lnTo>
                          <a:pt x="104" y="134"/>
                        </a:lnTo>
                        <a:lnTo>
                          <a:pt x="112" y="138"/>
                        </a:lnTo>
                        <a:lnTo>
                          <a:pt x="118" y="138"/>
                        </a:lnTo>
                        <a:lnTo>
                          <a:pt x="126" y="136"/>
                        </a:lnTo>
                        <a:lnTo>
                          <a:pt x="132" y="132"/>
                        </a:lnTo>
                        <a:lnTo>
                          <a:pt x="136" y="124"/>
                        </a:lnTo>
                        <a:lnTo>
                          <a:pt x="138" y="114"/>
                        </a:lnTo>
                        <a:lnTo>
                          <a:pt x="138" y="114"/>
                        </a:lnTo>
                        <a:lnTo>
                          <a:pt x="138" y="106"/>
                        </a:lnTo>
                        <a:lnTo>
                          <a:pt x="140" y="104"/>
                        </a:lnTo>
                        <a:lnTo>
                          <a:pt x="146" y="110"/>
                        </a:lnTo>
                        <a:lnTo>
                          <a:pt x="150" y="114"/>
                        </a:lnTo>
                        <a:lnTo>
                          <a:pt x="154" y="114"/>
                        </a:lnTo>
                        <a:lnTo>
                          <a:pt x="156" y="114"/>
                        </a:lnTo>
                        <a:lnTo>
                          <a:pt x="160" y="112"/>
                        </a:lnTo>
                        <a:lnTo>
                          <a:pt x="164" y="108"/>
                        </a:lnTo>
                        <a:lnTo>
                          <a:pt x="174" y="94"/>
                        </a:lnTo>
                        <a:lnTo>
                          <a:pt x="174" y="94"/>
                        </a:lnTo>
                        <a:lnTo>
                          <a:pt x="180" y="82"/>
                        </a:lnTo>
                        <a:lnTo>
                          <a:pt x="182" y="76"/>
                        </a:lnTo>
                        <a:lnTo>
                          <a:pt x="182" y="68"/>
                        </a:lnTo>
                        <a:lnTo>
                          <a:pt x="184" y="66"/>
                        </a:lnTo>
                        <a:lnTo>
                          <a:pt x="186" y="66"/>
                        </a:lnTo>
                        <a:lnTo>
                          <a:pt x="198" y="58"/>
                        </a:lnTo>
                        <a:lnTo>
                          <a:pt x="198" y="58"/>
                        </a:lnTo>
                        <a:lnTo>
                          <a:pt x="206" y="56"/>
                        </a:lnTo>
                        <a:lnTo>
                          <a:pt x="208" y="58"/>
                        </a:lnTo>
                        <a:lnTo>
                          <a:pt x="210" y="58"/>
                        </a:lnTo>
                        <a:lnTo>
                          <a:pt x="208" y="64"/>
                        </a:lnTo>
                        <a:lnTo>
                          <a:pt x="206" y="72"/>
                        </a:lnTo>
                        <a:lnTo>
                          <a:pt x="204" y="80"/>
                        </a:lnTo>
                        <a:lnTo>
                          <a:pt x="206" y="88"/>
                        </a:lnTo>
                        <a:lnTo>
                          <a:pt x="208" y="92"/>
                        </a:lnTo>
                        <a:lnTo>
                          <a:pt x="210" y="94"/>
                        </a:lnTo>
                        <a:lnTo>
                          <a:pt x="214" y="96"/>
                        </a:lnTo>
                        <a:lnTo>
                          <a:pt x="222" y="98"/>
                        </a:lnTo>
                        <a:lnTo>
                          <a:pt x="222" y="98"/>
                        </a:lnTo>
                        <a:lnTo>
                          <a:pt x="236" y="100"/>
                        </a:lnTo>
                        <a:lnTo>
                          <a:pt x="242" y="98"/>
                        </a:lnTo>
                        <a:lnTo>
                          <a:pt x="246" y="96"/>
                        </a:lnTo>
                        <a:lnTo>
                          <a:pt x="244" y="92"/>
                        </a:lnTo>
                        <a:lnTo>
                          <a:pt x="244" y="86"/>
                        </a:lnTo>
                        <a:lnTo>
                          <a:pt x="244" y="82"/>
                        </a:lnTo>
                        <a:lnTo>
                          <a:pt x="246" y="80"/>
                        </a:lnTo>
                        <a:lnTo>
                          <a:pt x="254" y="78"/>
                        </a:lnTo>
                        <a:lnTo>
                          <a:pt x="254" y="78"/>
                        </a:lnTo>
                        <a:lnTo>
                          <a:pt x="274" y="74"/>
                        </a:lnTo>
                        <a:lnTo>
                          <a:pt x="284" y="70"/>
                        </a:lnTo>
                        <a:lnTo>
                          <a:pt x="290" y="66"/>
                        </a:lnTo>
                        <a:lnTo>
                          <a:pt x="294" y="60"/>
                        </a:lnTo>
                        <a:lnTo>
                          <a:pt x="294" y="54"/>
                        </a:lnTo>
                        <a:lnTo>
                          <a:pt x="290" y="48"/>
                        </a:lnTo>
                        <a:lnTo>
                          <a:pt x="280" y="42"/>
                        </a:lnTo>
                        <a:lnTo>
                          <a:pt x="280" y="42"/>
                        </a:lnTo>
                        <a:lnTo>
                          <a:pt x="274" y="38"/>
                        </a:lnTo>
                        <a:lnTo>
                          <a:pt x="272" y="36"/>
                        </a:lnTo>
                        <a:lnTo>
                          <a:pt x="272" y="34"/>
                        </a:lnTo>
                        <a:lnTo>
                          <a:pt x="272" y="32"/>
                        </a:lnTo>
                        <a:lnTo>
                          <a:pt x="278" y="28"/>
                        </a:lnTo>
                        <a:lnTo>
                          <a:pt x="288" y="24"/>
                        </a:lnTo>
                        <a:lnTo>
                          <a:pt x="296" y="22"/>
                        </a:lnTo>
                        <a:lnTo>
                          <a:pt x="300" y="18"/>
                        </a:lnTo>
                        <a:lnTo>
                          <a:pt x="300" y="16"/>
                        </a:lnTo>
                        <a:lnTo>
                          <a:pt x="298" y="14"/>
                        </a:lnTo>
                        <a:lnTo>
                          <a:pt x="288" y="8"/>
                        </a:lnTo>
                        <a:lnTo>
                          <a:pt x="288" y="8"/>
                        </a:lnTo>
                        <a:lnTo>
                          <a:pt x="266" y="0"/>
                        </a:lnTo>
                        <a:lnTo>
                          <a:pt x="258" y="0"/>
                        </a:lnTo>
                        <a:lnTo>
                          <a:pt x="254" y="0"/>
                        </a:lnTo>
                        <a:lnTo>
                          <a:pt x="248" y="2"/>
                        </a:lnTo>
                        <a:lnTo>
                          <a:pt x="244" y="4"/>
                        </a:lnTo>
                        <a:lnTo>
                          <a:pt x="238" y="14"/>
                        </a:lnTo>
                        <a:lnTo>
                          <a:pt x="238" y="14"/>
                        </a:lnTo>
                        <a:lnTo>
                          <a:pt x="234" y="16"/>
                        </a:lnTo>
                        <a:lnTo>
                          <a:pt x="232" y="16"/>
                        </a:lnTo>
                        <a:lnTo>
                          <a:pt x="224" y="16"/>
                        </a:lnTo>
                        <a:lnTo>
                          <a:pt x="202" y="12"/>
                        </a:lnTo>
                        <a:lnTo>
                          <a:pt x="186" y="12"/>
                        </a:lnTo>
                        <a:lnTo>
                          <a:pt x="170" y="14"/>
                        </a:lnTo>
                        <a:lnTo>
                          <a:pt x="160" y="18"/>
                        </a:lnTo>
                        <a:lnTo>
                          <a:pt x="150" y="22"/>
                        </a:lnTo>
                        <a:lnTo>
                          <a:pt x="140" y="28"/>
                        </a:lnTo>
                        <a:lnTo>
                          <a:pt x="128" y="38"/>
                        </a:lnTo>
                        <a:lnTo>
                          <a:pt x="128" y="38"/>
                        </a:lnTo>
                        <a:lnTo>
                          <a:pt x="112" y="50"/>
                        </a:lnTo>
                        <a:lnTo>
                          <a:pt x="102" y="58"/>
                        </a:lnTo>
                        <a:lnTo>
                          <a:pt x="94" y="62"/>
                        </a:lnTo>
                        <a:lnTo>
                          <a:pt x="90" y="62"/>
                        </a:lnTo>
                        <a:lnTo>
                          <a:pt x="82" y="66"/>
                        </a:lnTo>
                        <a:lnTo>
                          <a:pt x="76" y="70"/>
                        </a:lnTo>
                        <a:lnTo>
                          <a:pt x="66" y="78"/>
                        </a:lnTo>
                        <a:lnTo>
                          <a:pt x="66" y="78"/>
                        </a:lnTo>
                        <a:lnTo>
                          <a:pt x="58" y="86"/>
                        </a:lnTo>
                        <a:lnTo>
                          <a:pt x="50" y="88"/>
                        </a:lnTo>
                        <a:lnTo>
                          <a:pt x="44" y="90"/>
                        </a:lnTo>
                        <a:lnTo>
                          <a:pt x="38" y="88"/>
                        </a:lnTo>
                        <a:lnTo>
                          <a:pt x="34" y="86"/>
                        </a:lnTo>
                        <a:lnTo>
                          <a:pt x="28" y="86"/>
                        </a:lnTo>
                        <a:lnTo>
                          <a:pt x="20" y="90"/>
                        </a:lnTo>
                        <a:lnTo>
                          <a:pt x="12" y="96"/>
                        </a:lnTo>
                        <a:lnTo>
                          <a:pt x="12" y="96"/>
                        </a:lnTo>
                        <a:lnTo>
                          <a:pt x="4" y="104"/>
                        </a:lnTo>
                        <a:lnTo>
                          <a:pt x="0" y="108"/>
                        </a:lnTo>
                        <a:lnTo>
                          <a:pt x="2" y="112"/>
                        </a:lnTo>
                        <a:lnTo>
                          <a:pt x="4" y="112"/>
                        </a:lnTo>
                        <a:lnTo>
                          <a:pt x="12" y="114"/>
                        </a:lnTo>
                        <a:lnTo>
                          <a:pt x="14" y="116"/>
                        </a:lnTo>
                        <a:lnTo>
                          <a:pt x="14" y="120"/>
                        </a:lnTo>
                        <a:lnTo>
                          <a:pt x="14" y="1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0" name="Freeform 6019"/>
                  <p:cNvSpPr>
                    <a:spLocks/>
                  </p:cNvSpPr>
                  <p:nvPr/>
                </p:nvSpPr>
                <p:spPr bwMode="auto">
                  <a:xfrm>
                    <a:off x="1468120" y="1056323"/>
                    <a:ext cx="35560" cy="10160"/>
                  </a:xfrm>
                  <a:custGeom>
                    <a:avLst/>
                    <a:gdLst/>
                    <a:ahLst/>
                    <a:cxnLst>
                      <a:cxn ang="0">
                        <a:pos x="0" y="8"/>
                      </a:cxn>
                      <a:cxn ang="0">
                        <a:pos x="0" y="8"/>
                      </a:cxn>
                      <a:cxn ang="0">
                        <a:pos x="0" y="12"/>
                      </a:cxn>
                      <a:cxn ang="0">
                        <a:pos x="4" y="14"/>
                      </a:cxn>
                      <a:cxn ang="0">
                        <a:pos x="18" y="16"/>
                      </a:cxn>
                      <a:cxn ang="0">
                        <a:pos x="38" y="16"/>
                      </a:cxn>
                      <a:cxn ang="0">
                        <a:pos x="46" y="14"/>
                      </a:cxn>
                      <a:cxn ang="0">
                        <a:pos x="54" y="12"/>
                      </a:cxn>
                      <a:cxn ang="0">
                        <a:pos x="54" y="12"/>
                      </a:cxn>
                      <a:cxn ang="0">
                        <a:pos x="56" y="10"/>
                      </a:cxn>
                      <a:cxn ang="0">
                        <a:pos x="56" y="8"/>
                      </a:cxn>
                      <a:cxn ang="0">
                        <a:pos x="54" y="6"/>
                      </a:cxn>
                      <a:cxn ang="0">
                        <a:pos x="46" y="2"/>
                      </a:cxn>
                      <a:cxn ang="0">
                        <a:pos x="36" y="2"/>
                      </a:cxn>
                      <a:cxn ang="0">
                        <a:pos x="26" y="0"/>
                      </a:cxn>
                      <a:cxn ang="0">
                        <a:pos x="16" y="2"/>
                      </a:cxn>
                      <a:cxn ang="0">
                        <a:pos x="6" y="4"/>
                      </a:cxn>
                      <a:cxn ang="0">
                        <a:pos x="0" y="8"/>
                      </a:cxn>
                      <a:cxn ang="0">
                        <a:pos x="0" y="8"/>
                      </a:cxn>
                    </a:cxnLst>
                    <a:rect l="0" t="0" r="r" b="b"/>
                    <a:pathLst>
                      <a:path w="56" h="16">
                        <a:moveTo>
                          <a:pt x="0" y="8"/>
                        </a:moveTo>
                        <a:lnTo>
                          <a:pt x="0" y="8"/>
                        </a:lnTo>
                        <a:lnTo>
                          <a:pt x="0" y="12"/>
                        </a:lnTo>
                        <a:lnTo>
                          <a:pt x="4" y="14"/>
                        </a:lnTo>
                        <a:lnTo>
                          <a:pt x="18" y="16"/>
                        </a:lnTo>
                        <a:lnTo>
                          <a:pt x="38" y="16"/>
                        </a:lnTo>
                        <a:lnTo>
                          <a:pt x="46" y="14"/>
                        </a:lnTo>
                        <a:lnTo>
                          <a:pt x="54" y="12"/>
                        </a:lnTo>
                        <a:lnTo>
                          <a:pt x="54" y="12"/>
                        </a:lnTo>
                        <a:lnTo>
                          <a:pt x="56" y="10"/>
                        </a:lnTo>
                        <a:lnTo>
                          <a:pt x="56" y="8"/>
                        </a:lnTo>
                        <a:lnTo>
                          <a:pt x="54" y="6"/>
                        </a:lnTo>
                        <a:lnTo>
                          <a:pt x="46" y="2"/>
                        </a:lnTo>
                        <a:lnTo>
                          <a:pt x="36" y="2"/>
                        </a:lnTo>
                        <a:lnTo>
                          <a:pt x="26" y="0"/>
                        </a:lnTo>
                        <a:lnTo>
                          <a:pt x="16" y="2"/>
                        </a:lnTo>
                        <a:lnTo>
                          <a:pt x="6" y="4"/>
                        </a:lnTo>
                        <a:lnTo>
                          <a:pt x="0" y="8"/>
                        </a:lnTo>
                        <a:lnTo>
                          <a:pt x="0"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1" name="Freeform 6020"/>
                  <p:cNvSpPr>
                    <a:spLocks/>
                  </p:cNvSpPr>
                  <p:nvPr/>
                </p:nvSpPr>
                <p:spPr bwMode="auto">
                  <a:xfrm>
                    <a:off x="1464310" y="996633"/>
                    <a:ext cx="34290" cy="19050"/>
                  </a:xfrm>
                  <a:custGeom>
                    <a:avLst/>
                    <a:gdLst/>
                    <a:ahLst/>
                    <a:cxnLst>
                      <a:cxn ang="0">
                        <a:pos x="42" y="30"/>
                      </a:cxn>
                      <a:cxn ang="0">
                        <a:pos x="42" y="30"/>
                      </a:cxn>
                      <a:cxn ang="0">
                        <a:pos x="52" y="28"/>
                      </a:cxn>
                      <a:cxn ang="0">
                        <a:pos x="54" y="26"/>
                      </a:cxn>
                      <a:cxn ang="0">
                        <a:pos x="54" y="24"/>
                      </a:cxn>
                      <a:cxn ang="0">
                        <a:pos x="50" y="18"/>
                      </a:cxn>
                      <a:cxn ang="0">
                        <a:pos x="40" y="8"/>
                      </a:cxn>
                      <a:cxn ang="0">
                        <a:pos x="40" y="8"/>
                      </a:cxn>
                      <a:cxn ang="0">
                        <a:pos x="34" y="4"/>
                      </a:cxn>
                      <a:cxn ang="0">
                        <a:pos x="26" y="0"/>
                      </a:cxn>
                      <a:cxn ang="0">
                        <a:pos x="22" y="0"/>
                      </a:cxn>
                      <a:cxn ang="0">
                        <a:pos x="16" y="0"/>
                      </a:cxn>
                      <a:cxn ang="0">
                        <a:pos x="6" y="4"/>
                      </a:cxn>
                      <a:cxn ang="0">
                        <a:pos x="0" y="8"/>
                      </a:cxn>
                      <a:cxn ang="0">
                        <a:pos x="0" y="8"/>
                      </a:cxn>
                      <a:cxn ang="0">
                        <a:pos x="0" y="12"/>
                      </a:cxn>
                      <a:cxn ang="0">
                        <a:pos x="0" y="14"/>
                      </a:cxn>
                      <a:cxn ang="0">
                        <a:pos x="8" y="22"/>
                      </a:cxn>
                      <a:cxn ang="0">
                        <a:pos x="24" y="28"/>
                      </a:cxn>
                      <a:cxn ang="0">
                        <a:pos x="32" y="28"/>
                      </a:cxn>
                      <a:cxn ang="0">
                        <a:pos x="42" y="30"/>
                      </a:cxn>
                      <a:cxn ang="0">
                        <a:pos x="42" y="30"/>
                      </a:cxn>
                    </a:cxnLst>
                    <a:rect l="0" t="0" r="r" b="b"/>
                    <a:pathLst>
                      <a:path w="54" h="30">
                        <a:moveTo>
                          <a:pt x="42" y="30"/>
                        </a:moveTo>
                        <a:lnTo>
                          <a:pt x="42" y="30"/>
                        </a:lnTo>
                        <a:lnTo>
                          <a:pt x="52" y="28"/>
                        </a:lnTo>
                        <a:lnTo>
                          <a:pt x="54" y="26"/>
                        </a:lnTo>
                        <a:lnTo>
                          <a:pt x="54" y="24"/>
                        </a:lnTo>
                        <a:lnTo>
                          <a:pt x="50" y="18"/>
                        </a:lnTo>
                        <a:lnTo>
                          <a:pt x="40" y="8"/>
                        </a:lnTo>
                        <a:lnTo>
                          <a:pt x="40" y="8"/>
                        </a:lnTo>
                        <a:lnTo>
                          <a:pt x="34" y="4"/>
                        </a:lnTo>
                        <a:lnTo>
                          <a:pt x="26" y="0"/>
                        </a:lnTo>
                        <a:lnTo>
                          <a:pt x="22" y="0"/>
                        </a:lnTo>
                        <a:lnTo>
                          <a:pt x="16" y="0"/>
                        </a:lnTo>
                        <a:lnTo>
                          <a:pt x="6" y="4"/>
                        </a:lnTo>
                        <a:lnTo>
                          <a:pt x="0" y="8"/>
                        </a:lnTo>
                        <a:lnTo>
                          <a:pt x="0" y="8"/>
                        </a:lnTo>
                        <a:lnTo>
                          <a:pt x="0" y="12"/>
                        </a:lnTo>
                        <a:lnTo>
                          <a:pt x="0" y="14"/>
                        </a:lnTo>
                        <a:lnTo>
                          <a:pt x="8" y="22"/>
                        </a:lnTo>
                        <a:lnTo>
                          <a:pt x="24" y="28"/>
                        </a:lnTo>
                        <a:lnTo>
                          <a:pt x="32" y="28"/>
                        </a:lnTo>
                        <a:lnTo>
                          <a:pt x="42" y="30"/>
                        </a:lnTo>
                        <a:lnTo>
                          <a:pt x="42" y="3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2" name="Freeform 6021"/>
                  <p:cNvSpPr>
                    <a:spLocks/>
                  </p:cNvSpPr>
                  <p:nvPr/>
                </p:nvSpPr>
                <p:spPr bwMode="auto">
                  <a:xfrm>
                    <a:off x="1504950" y="994093"/>
                    <a:ext cx="97790" cy="39370"/>
                  </a:xfrm>
                  <a:custGeom>
                    <a:avLst/>
                    <a:gdLst/>
                    <a:ahLst/>
                    <a:cxnLst>
                      <a:cxn ang="0">
                        <a:pos x="106" y="56"/>
                      </a:cxn>
                      <a:cxn ang="0">
                        <a:pos x="106" y="56"/>
                      </a:cxn>
                      <a:cxn ang="0">
                        <a:pos x="120" y="52"/>
                      </a:cxn>
                      <a:cxn ang="0">
                        <a:pos x="130" y="48"/>
                      </a:cxn>
                      <a:cxn ang="0">
                        <a:pos x="136" y="44"/>
                      </a:cxn>
                      <a:cxn ang="0">
                        <a:pos x="138" y="40"/>
                      </a:cxn>
                      <a:cxn ang="0">
                        <a:pos x="138" y="34"/>
                      </a:cxn>
                      <a:cxn ang="0">
                        <a:pos x="132" y="30"/>
                      </a:cxn>
                      <a:cxn ang="0">
                        <a:pos x="124" y="28"/>
                      </a:cxn>
                      <a:cxn ang="0">
                        <a:pos x="114" y="26"/>
                      </a:cxn>
                      <a:cxn ang="0">
                        <a:pos x="114" y="26"/>
                      </a:cxn>
                      <a:cxn ang="0">
                        <a:pos x="104" y="24"/>
                      </a:cxn>
                      <a:cxn ang="0">
                        <a:pos x="104" y="24"/>
                      </a:cxn>
                      <a:cxn ang="0">
                        <a:pos x="118" y="22"/>
                      </a:cxn>
                      <a:cxn ang="0">
                        <a:pos x="138" y="16"/>
                      </a:cxn>
                      <a:cxn ang="0">
                        <a:pos x="148" y="12"/>
                      </a:cxn>
                      <a:cxn ang="0">
                        <a:pos x="152" y="8"/>
                      </a:cxn>
                      <a:cxn ang="0">
                        <a:pos x="152" y="8"/>
                      </a:cxn>
                      <a:cxn ang="0">
                        <a:pos x="154" y="4"/>
                      </a:cxn>
                      <a:cxn ang="0">
                        <a:pos x="152" y="2"/>
                      </a:cxn>
                      <a:cxn ang="0">
                        <a:pos x="148" y="0"/>
                      </a:cxn>
                      <a:cxn ang="0">
                        <a:pos x="138" y="0"/>
                      </a:cxn>
                      <a:cxn ang="0">
                        <a:pos x="124" y="0"/>
                      </a:cxn>
                      <a:cxn ang="0">
                        <a:pos x="90" y="4"/>
                      </a:cxn>
                      <a:cxn ang="0">
                        <a:pos x="50" y="8"/>
                      </a:cxn>
                      <a:cxn ang="0">
                        <a:pos x="50" y="8"/>
                      </a:cxn>
                      <a:cxn ang="0">
                        <a:pos x="18" y="14"/>
                      </a:cxn>
                      <a:cxn ang="0">
                        <a:pos x="8" y="18"/>
                      </a:cxn>
                      <a:cxn ang="0">
                        <a:pos x="4" y="22"/>
                      </a:cxn>
                      <a:cxn ang="0">
                        <a:pos x="0" y="26"/>
                      </a:cxn>
                      <a:cxn ang="0">
                        <a:pos x="0" y="30"/>
                      </a:cxn>
                      <a:cxn ang="0">
                        <a:pos x="8" y="46"/>
                      </a:cxn>
                      <a:cxn ang="0">
                        <a:pos x="8" y="46"/>
                      </a:cxn>
                      <a:cxn ang="0">
                        <a:pos x="14" y="52"/>
                      </a:cxn>
                      <a:cxn ang="0">
                        <a:pos x="22" y="58"/>
                      </a:cxn>
                      <a:cxn ang="0">
                        <a:pos x="32" y="60"/>
                      </a:cxn>
                      <a:cxn ang="0">
                        <a:pos x="46" y="62"/>
                      </a:cxn>
                      <a:cxn ang="0">
                        <a:pos x="74" y="60"/>
                      </a:cxn>
                      <a:cxn ang="0">
                        <a:pos x="106" y="56"/>
                      </a:cxn>
                      <a:cxn ang="0">
                        <a:pos x="106" y="56"/>
                      </a:cxn>
                    </a:cxnLst>
                    <a:rect l="0" t="0" r="r" b="b"/>
                    <a:pathLst>
                      <a:path w="154" h="62">
                        <a:moveTo>
                          <a:pt x="106" y="56"/>
                        </a:moveTo>
                        <a:lnTo>
                          <a:pt x="106" y="56"/>
                        </a:lnTo>
                        <a:lnTo>
                          <a:pt x="120" y="52"/>
                        </a:lnTo>
                        <a:lnTo>
                          <a:pt x="130" y="48"/>
                        </a:lnTo>
                        <a:lnTo>
                          <a:pt x="136" y="44"/>
                        </a:lnTo>
                        <a:lnTo>
                          <a:pt x="138" y="40"/>
                        </a:lnTo>
                        <a:lnTo>
                          <a:pt x="138" y="34"/>
                        </a:lnTo>
                        <a:lnTo>
                          <a:pt x="132" y="30"/>
                        </a:lnTo>
                        <a:lnTo>
                          <a:pt x="124" y="28"/>
                        </a:lnTo>
                        <a:lnTo>
                          <a:pt x="114" y="26"/>
                        </a:lnTo>
                        <a:lnTo>
                          <a:pt x="114" y="26"/>
                        </a:lnTo>
                        <a:lnTo>
                          <a:pt x="104" y="24"/>
                        </a:lnTo>
                        <a:lnTo>
                          <a:pt x="104" y="24"/>
                        </a:lnTo>
                        <a:lnTo>
                          <a:pt x="118" y="22"/>
                        </a:lnTo>
                        <a:lnTo>
                          <a:pt x="138" y="16"/>
                        </a:lnTo>
                        <a:lnTo>
                          <a:pt x="148" y="12"/>
                        </a:lnTo>
                        <a:lnTo>
                          <a:pt x="152" y="8"/>
                        </a:lnTo>
                        <a:lnTo>
                          <a:pt x="152" y="8"/>
                        </a:lnTo>
                        <a:lnTo>
                          <a:pt x="154" y="4"/>
                        </a:lnTo>
                        <a:lnTo>
                          <a:pt x="152" y="2"/>
                        </a:lnTo>
                        <a:lnTo>
                          <a:pt x="148" y="0"/>
                        </a:lnTo>
                        <a:lnTo>
                          <a:pt x="138" y="0"/>
                        </a:lnTo>
                        <a:lnTo>
                          <a:pt x="124" y="0"/>
                        </a:lnTo>
                        <a:lnTo>
                          <a:pt x="90" y="4"/>
                        </a:lnTo>
                        <a:lnTo>
                          <a:pt x="50" y="8"/>
                        </a:lnTo>
                        <a:lnTo>
                          <a:pt x="50" y="8"/>
                        </a:lnTo>
                        <a:lnTo>
                          <a:pt x="18" y="14"/>
                        </a:lnTo>
                        <a:lnTo>
                          <a:pt x="8" y="18"/>
                        </a:lnTo>
                        <a:lnTo>
                          <a:pt x="4" y="22"/>
                        </a:lnTo>
                        <a:lnTo>
                          <a:pt x="0" y="26"/>
                        </a:lnTo>
                        <a:lnTo>
                          <a:pt x="0" y="30"/>
                        </a:lnTo>
                        <a:lnTo>
                          <a:pt x="8" y="46"/>
                        </a:lnTo>
                        <a:lnTo>
                          <a:pt x="8" y="46"/>
                        </a:lnTo>
                        <a:lnTo>
                          <a:pt x="14" y="52"/>
                        </a:lnTo>
                        <a:lnTo>
                          <a:pt x="22" y="58"/>
                        </a:lnTo>
                        <a:lnTo>
                          <a:pt x="32" y="60"/>
                        </a:lnTo>
                        <a:lnTo>
                          <a:pt x="46" y="62"/>
                        </a:lnTo>
                        <a:lnTo>
                          <a:pt x="74" y="60"/>
                        </a:lnTo>
                        <a:lnTo>
                          <a:pt x="106" y="56"/>
                        </a:lnTo>
                        <a:lnTo>
                          <a:pt x="106" y="5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3" name="Freeform 6022"/>
                  <p:cNvSpPr>
                    <a:spLocks/>
                  </p:cNvSpPr>
                  <p:nvPr/>
                </p:nvSpPr>
                <p:spPr bwMode="auto">
                  <a:xfrm>
                    <a:off x="1772920" y="1067753"/>
                    <a:ext cx="143510" cy="87630"/>
                  </a:xfrm>
                  <a:custGeom>
                    <a:avLst/>
                    <a:gdLst/>
                    <a:ahLst/>
                    <a:cxnLst>
                      <a:cxn ang="0">
                        <a:pos x="144" y="12"/>
                      </a:cxn>
                      <a:cxn ang="0">
                        <a:pos x="130" y="4"/>
                      </a:cxn>
                      <a:cxn ang="0">
                        <a:pos x="104" y="4"/>
                      </a:cxn>
                      <a:cxn ang="0">
                        <a:pos x="88" y="8"/>
                      </a:cxn>
                      <a:cxn ang="0">
                        <a:pos x="78" y="14"/>
                      </a:cxn>
                      <a:cxn ang="0">
                        <a:pos x="84" y="22"/>
                      </a:cxn>
                      <a:cxn ang="0">
                        <a:pos x="124" y="62"/>
                      </a:cxn>
                      <a:cxn ang="0">
                        <a:pos x="102" y="50"/>
                      </a:cxn>
                      <a:cxn ang="0">
                        <a:pos x="82" y="34"/>
                      </a:cxn>
                      <a:cxn ang="0">
                        <a:pos x="74" y="24"/>
                      </a:cxn>
                      <a:cxn ang="0">
                        <a:pos x="64" y="20"/>
                      </a:cxn>
                      <a:cxn ang="0">
                        <a:pos x="54" y="18"/>
                      </a:cxn>
                      <a:cxn ang="0">
                        <a:pos x="32" y="20"/>
                      </a:cxn>
                      <a:cxn ang="0">
                        <a:pos x="26" y="26"/>
                      </a:cxn>
                      <a:cxn ang="0">
                        <a:pos x="32" y="36"/>
                      </a:cxn>
                      <a:cxn ang="0">
                        <a:pos x="46" y="52"/>
                      </a:cxn>
                      <a:cxn ang="0">
                        <a:pos x="56" y="64"/>
                      </a:cxn>
                      <a:cxn ang="0">
                        <a:pos x="42" y="60"/>
                      </a:cxn>
                      <a:cxn ang="0">
                        <a:pos x="32" y="62"/>
                      </a:cxn>
                      <a:cxn ang="0">
                        <a:pos x="26" y="66"/>
                      </a:cxn>
                      <a:cxn ang="0">
                        <a:pos x="8" y="74"/>
                      </a:cxn>
                      <a:cxn ang="0">
                        <a:pos x="0" y="78"/>
                      </a:cxn>
                      <a:cxn ang="0">
                        <a:pos x="4" y="86"/>
                      </a:cxn>
                      <a:cxn ang="0">
                        <a:pos x="8" y="88"/>
                      </a:cxn>
                      <a:cxn ang="0">
                        <a:pos x="26" y="90"/>
                      </a:cxn>
                      <a:cxn ang="0">
                        <a:pos x="66" y="86"/>
                      </a:cxn>
                      <a:cxn ang="0">
                        <a:pos x="122" y="76"/>
                      </a:cxn>
                      <a:cxn ang="0">
                        <a:pos x="136" y="76"/>
                      </a:cxn>
                      <a:cxn ang="0">
                        <a:pos x="138" y="80"/>
                      </a:cxn>
                      <a:cxn ang="0">
                        <a:pos x="106" y="90"/>
                      </a:cxn>
                      <a:cxn ang="0">
                        <a:pos x="92" y="98"/>
                      </a:cxn>
                      <a:cxn ang="0">
                        <a:pos x="90" y="104"/>
                      </a:cxn>
                      <a:cxn ang="0">
                        <a:pos x="92" y="106"/>
                      </a:cxn>
                      <a:cxn ang="0">
                        <a:pos x="100" y="120"/>
                      </a:cxn>
                      <a:cxn ang="0">
                        <a:pos x="104" y="136"/>
                      </a:cxn>
                      <a:cxn ang="0">
                        <a:pos x="116" y="136"/>
                      </a:cxn>
                      <a:cxn ang="0">
                        <a:pos x="126" y="134"/>
                      </a:cxn>
                      <a:cxn ang="0">
                        <a:pos x="142" y="128"/>
                      </a:cxn>
                      <a:cxn ang="0">
                        <a:pos x="166" y="132"/>
                      </a:cxn>
                      <a:cxn ang="0">
                        <a:pos x="200" y="128"/>
                      </a:cxn>
                      <a:cxn ang="0">
                        <a:pos x="208" y="122"/>
                      </a:cxn>
                      <a:cxn ang="0">
                        <a:pos x="208" y="112"/>
                      </a:cxn>
                      <a:cxn ang="0">
                        <a:pos x="202" y="100"/>
                      </a:cxn>
                      <a:cxn ang="0">
                        <a:pos x="202" y="88"/>
                      </a:cxn>
                      <a:cxn ang="0">
                        <a:pos x="210" y="88"/>
                      </a:cxn>
                      <a:cxn ang="0">
                        <a:pos x="214" y="92"/>
                      </a:cxn>
                      <a:cxn ang="0">
                        <a:pos x="226" y="98"/>
                      </a:cxn>
                      <a:cxn ang="0">
                        <a:pos x="224" y="90"/>
                      </a:cxn>
                      <a:cxn ang="0">
                        <a:pos x="216" y="76"/>
                      </a:cxn>
                      <a:cxn ang="0">
                        <a:pos x="212" y="60"/>
                      </a:cxn>
                      <a:cxn ang="0">
                        <a:pos x="208" y="30"/>
                      </a:cxn>
                      <a:cxn ang="0">
                        <a:pos x="196" y="10"/>
                      </a:cxn>
                      <a:cxn ang="0">
                        <a:pos x="184" y="4"/>
                      </a:cxn>
                      <a:cxn ang="0">
                        <a:pos x="164" y="0"/>
                      </a:cxn>
                      <a:cxn ang="0">
                        <a:pos x="156" y="6"/>
                      </a:cxn>
                      <a:cxn ang="0">
                        <a:pos x="148" y="14"/>
                      </a:cxn>
                      <a:cxn ang="0">
                        <a:pos x="144" y="12"/>
                      </a:cxn>
                    </a:cxnLst>
                    <a:rect l="0" t="0" r="r" b="b"/>
                    <a:pathLst>
                      <a:path w="226" h="138">
                        <a:moveTo>
                          <a:pt x="144" y="12"/>
                        </a:moveTo>
                        <a:lnTo>
                          <a:pt x="144" y="12"/>
                        </a:lnTo>
                        <a:lnTo>
                          <a:pt x="138" y="6"/>
                        </a:lnTo>
                        <a:lnTo>
                          <a:pt x="130" y="4"/>
                        </a:lnTo>
                        <a:lnTo>
                          <a:pt x="118" y="2"/>
                        </a:lnTo>
                        <a:lnTo>
                          <a:pt x="104" y="4"/>
                        </a:lnTo>
                        <a:lnTo>
                          <a:pt x="88" y="8"/>
                        </a:lnTo>
                        <a:lnTo>
                          <a:pt x="88" y="8"/>
                        </a:lnTo>
                        <a:lnTo>
                          <a:pt x="80" y="10"/>
                        </a:lnTo>
                        <a:lnTo>
                          <a:pt x="78" y="14"/>
                        </a:lnTo>
                        <a:lnTo>
                          <a:pt x="80" y="18"/>
                        </a:lnTo>
                        <a:lnTo>
                          <a:pt x="84" y="22"/>
                        </a:lnTo>
                        <a:lnTo>
                          <a:pt x="102" y="38"/>
                        </a:lnTo>
                        <a:lnTo>
                          <a:pt x="124" y="62"/>
                        </a:lnTo>
                        <a:lnTo>
                          <a:pt x="124" y="62"/>
                        </a:lnTo>
                        <a:lnTo>
                          <a:pt x="102" y="50"/>
                        </a:lnTo>
                        <a:lnTo>
                          <a:pt x="90" y="42"/>
                        </a:lnTo>
                        <a:lnTo>
                          <a:pt x="82" y="34"/>
                        </a:lnTo>
                        <a:lnTo>
                          <a:pt x="78" y="28"/>
                        </a:lnTo>
                        <a:lnTo>
                          <a:pt x="74" y="24"/>
                        </a:lnTo>
                        <a:lnTo>
                          <a:pt x="70" y="22"/>
                        </a:lnTo>
                        <a:lnTo>
                          <a:pt x="64" y="20"/>
                        </a:lnTo>
                        <a:lnTo>
                          <a:pt x="54" y="18"/>
                        </a:lnTo>
                        <a:lnTo>
                          <a:pt x="54" y="18"/>
                        </a:lnTo>
                        <a:lnTo>
                          <a:pt x="40" y="18"/>
                        </a:lnTo>
                        <a:lnTo>
                          <a:pt x="32" y="20"/>
                        </a:lnTo>
                        <a:lnTo>
                          <a:pt x="28" y="22"/>
                        </a:lnTo>
                        <a:lnTo>
                          <a:pt x="26" y="26"/>
                        </a:lnTo>
                        <a:lnTo>
                          <a:pt x="28" y="30"/>
                        </a:lnTo>
                        <a:lnTo>
                          <a:pt x="32" y="36"/>
                        </a:lnTo>
                        <a:lnTo>
                          <a:pt x="46" y="52"/>
                        </a:lnTo>
                        <a:lnTo>
                          <a:pt x="46" y="52"/>
                        </a:lnTo>
                        <a:lnTo>
                          <a:pt x="56" y="64"/>
                        </a:lnTo>
                        <a:lnTo>
                          <a:pt x="56" y="64"/>
                        </a:lnTo>
                        <a:lnTo>
                          <a:pt x="52" y="62"/>
                        </a:lnTo>
                        <a:lnTo>
                          <a:pt x="42" y="60"/>
                        </a:lnTo>
                        <a:lnTo>
                          <a:pt x="36" y="60"/>
                        </a:lnTo>
                        <a:lnTo>
                          <a:pt x="32" y="62"/>
                        </a:lnTo>
                        <a:lnTo>
                          <a:pt x="32" y="62"/>
                        </a:lnTo>
                        <a:lnTo>
                          <a:pt x="26" y="66"/>
                        </a:lnTo>
                        <a:lnTo>
                          <a:pt x="20" y="70"/>
                        </a:lnTo>
                        <a:lnTo>
                          <a:pt x="8" y="74"/>
                        </a:lnTo>
                        <a:lnTo>
                          <a:pt x="4" y="76"/>
                        </a:lnTo>
                        <a:lnTo>
                          <a:pt x="0" y="78"/>
                        </a:lnTo>
                        <a:lnTo>
                          <a:pt x="0" y="82"/>
                        </a:lnTo>
                        <a:lnTo>
                          <a:pt x="4" y="86"/>
                        </a:lnTo>
                        <a:lnTo>
                          <a:pt x="4" y="86"/>
                        </a:lnTo>
                        <a:lnTo>
                          <a:pt x="8" y="88"/>
                        </a:lnTo>
                        <a:lnTo>
                          <a:pt x="12" y="90"/>
                        </a:lnTo>
                        <a:lnTo>
                          <a:pt x="26" y="90"/>
                        </a:lnTo>
                        <a:lnTo>
                          <a:pt x="44" y="88"/>
                        </a:lnTo>
                        <a:lnTo>
                          <a:pt x="66" y="86"/>
                        </a:lnTo>
                        <a:lnTo>
                          <a:pt x="106" y="78"/>
                        </a:lnTo>
                        <a:lnTo>
                          <a:pt x="122" y="76"/>
                        </a:lnTo>
                        <a:lnTo>
                          <a:pt x="136" y="76"/>
                        </a:lnTo>
                        <a:lnTo>
                          <a:pt x="136" y="76"/>
                        </a:lnTo>
                        <a:lnTo>
                          <a:pt x="140" y="78"/>
                        </a:lnTo>
                        <a:lnTo>
                          <a:pt x="138" y="80"/>
                        </a:lnTo>
                        <a:lnTo>
                          <a:pt x="118" y="86"/>
                        </a:lnTo>
                        <a:lnTo>
                          <a:pt x="106" y="90"/>
                        </a:lnTo>
                        <a:lnTo>
                          <a:pt x="96" y="94"/>
                        </a:lnTo>
                        <a:lnTo>
                          <a:pt x="92" y="98"/>
                        </a:lnTo>
                        <a:lnTo>
                          <a:pt x="90" y="100"/>
                        </a:lnTo>
                        <a:lnTo>
                          <a:pt x="90" y="104"/>
                        </a:lnTo>
                        <a:lnTo>
                          <a:pt x="92" y="106"/>
                        </a:lnTo>
                        <a:lnTo>
                          <a:pt x="92" y="106"/>
                        </a:lnTo>
                        <a:lnTo>
                          <a:pt x="98" y="114"/>
                        </a:lnTo>
                        <a:lnTo>
                          <a:pt x="100" y="120"/>
                        </a:lnTo>
                        <a:lnTo>
                          <a:pt x="102" y="132"/>
                        </a:lnTo>
                        <a:lnTo>
                          <a:pt x="104" y="136"/>
                        </a:lnTo>
                        <a:lnTo>
                          <a:pt x="108" y="138"/>
                        </a:lnTo>
                        <a:lnTo>
                          <a:pt x="116" y="136"/>
                        </a:lnTo>
                        <a:lnTo>
                          <a:pt x="126" y="134"/>
                        </a:lnTo>
                        <a:lnTo>
                          <a:pt x="126" y="134"/>
                        </a:lnTo>
                        <a:lnTo>
                          <a:pt x="136" y="130"/>
                        </a:lnTo>
                        <a:lnTo>
                          <a:pt x="142" y="128"/>
                        </a:lnTo>
                        <a:lnTo>
                          <a:pt x="166" y="132"/>
                        </a:lnTo>
                        <a:lnTo>
                          <a:pt x="166" y="132"/>
                        </a:lnTo>
                        <a:lnTo>
                          <a:pt x="184" y="132"/>
                        </a:lnTo>
                        <a:lnTo>
                          <a:pt x="200" y="128"/>
                        </a:lnTo>
                        <a:lnTo>
                          <a:pt x="206" y="126"/>
                        </a:lnTo>
                        <a:lnTo>
                          <a:pt x="208" y="122"/>
                        </a:lnTo>
                        <a:lnTo>
                          <a:pt x="210" y="118"/>
                        </a:lnTo>
                        <a:lnTo>
                          <a:pt x="208" y="112"/>
                        </a:lnTo>
                        <a:lnTo>
                          <a:pt x="208" y="112"/>
                        </a:lnTo>
                        <a:lnTo>
                          <a:pt x="202" y="100"/>
                        </a:lnTo>
                        <a:lnTo>
                          <a:pt x="202" y="92"/>
                        </a:lnTo>
                        <a:lnTo>
                          <a:pt x="202" y="88"/>
                        </a:lnTo>
                        <a:lnTo>
                          <a:pt x="206" y="88"/>
                        </a:lnTo>
                        <a:lnTo>
                          <a:pt x="210" y="88"/>
                        </a:lnTo>
                        <a:lnTo>
                          <a:pt x="214" y="92"/>
                        </a:lnTo>
                        <a:lnTo>
                          <a:pt x="214" y="92"/>
                        </a:lnTo>
                        <a:lnTo>
                          <a:pt x="224" y="98"/>
                        </a:lnTo>
                        <a:lnTo>
                          <a:pt x="226" y="98"/>
                        </a:lnTo>
                        <a:lnTo>
                          <a:pt x="226" y="98"/>
                        </a:lnTo>
                        <a:lnTo>
                          <a:pt x="224" y="90"/>
                        </a:lnTo>
                        <a:lnTo>
                          <a:pt x="216" y="76"/>
                        </a:lnTo>
                        <a:lnTo>
                          <a:pt x="216" y="76"/>
                        </a:lnTo>
                        <a:lnTo>
                          <a:pt x="214" y="68"/>
                        </a:lnTo>
                        <a:lnTo>
                          <a:pt x="212" y="60"/>
                        </a:lnTo>
                        <a:lnTo>
                          <a:pt x="210" y="40"/>
                        </a:lnTo>
                        <a:lnTo>
                          <a:pt x="208" y="30"/>
                        </a:lnTo>
                        <a:lnTo>
                          <a:pt x="204" y="20"/>
                        </a:lnTo>
                        <a:lnTo>
                          <a:pt x="196" y="10"/>
                        </a:lnTo>
                        <a:lnTo>
                          <a:pt x="184" y="4"/>
                        </a:lnTo>
                        <a:lnTo>
                          <a:pt x="184" y="4"/>
                        </a:lnTo>
                        <a:lnTo>
                          <a:pt x="172" y="0"/>
                        </a:lnTo>
                        <a:lnTo>
                          <a:pt x="164" y="0"/>
                        </a:lnTo>
                        <a:lnTo>
                          <a:pt x="160" y="2"/>
                        </a:lnTo>
                        <a:lnTo>
                          <a:pt x="156" y="6"/>
                        </a:lnTo>
                        <a:lnTo>
                          <a:pt x="152" y="14"/>
                        </a:lnTo>
                        <a:lnTo>
                          <a:pt x="148" y="14"/>
                        </a:lnTo>
                        <a:lnTo>
                          <a:pt x="144" y="12"/>
                        </a:lnTo>
                        <a:lnTo>
                          <a:pt x="144" y="1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4" name="Freeform 6023"/>
                  <p:cNvSpPr>
                    <a:spLocks/>
                  </p:cNvSpPr>
                  <p:nvPr/>
                </p:nvSpPr>
                <p:spPr bwMode="auto">
                  <a:xfrm>
                    <a:off x="1842770" y="887413"/>
                    <a:ext cx="36830" cy="25400"/>
                  </a:xfrm>
                  <a:custGeom>
                    <a:avLst/>
                    <a:gdLst/>
                    <a:ahLst/>
                    <a:cxnLst>
                      <a:cxn ang="0">
                        <a:pos x="30" y="32"/>
                      </a:cxn>
                      <a:cxn ang="0">
                        <a:pos x="30" y="32"/>
                      </a:cxn>
                      <a:cxn ang="0">
                        <a:pos x="40" y="38"/>
                      </a:cxn>
                      <a:cxn ang="0">
                        <a:pos x="46" y="40"/>
                      </a:cxn>
                      <a:cxn ang="0">
                        <a:pos x="50" y="40"/>
                      </a:cxn>
                      <a:cxn ang="0">
                        <a:pos x="54" y="38"/>
                      </a:cxn>
                      <a:cxn ang="0">
                        <a:pos x="56" y="34"/>
                      </a:cxn>
                      <a:cxn ang="0">
                        <a:pos x="58" y="28"/>
                      </a:cxn>
                      <a:cxn ang="0">
                        <a:pos x="56" y="20"/>
                      </a:cxn>
                      <a:cxn ang="0">
                        <a:pos x="56" y="20"/>
                      </a:cxn>
                      <a:cxn ang="0">
                        <a:pos x="52" y="12"/>
                      </a:cxn>
                      <a:cxn ang="0">
                        <a:pos x="46" y="6"/>
                      </a:cxn>
                      <a:cxn ang="0">
                        <a:pos x="36" y="2"/>
                      </a:cxn>
                      <a:cxn ang="0">
                        <a:pos x="26" y="0"/>
                      </a:cxn>
                      <a:cxn ang="0">
                        <a:pos x="16" y="0"/>
                      </a:cxn>
                      <a:cxn ang="0">
                        <a:pos x="6" y="2"/>
                      </a:cxn>
                      <a:cxn ang="0">
                        <a:pos x="2" y="6"/>
                      </a:cxn>
                      <a:cxn ang="0">
                        <a:pos x="0" y="10"/>
                      </a:cxn>
                      <a:cxn ang="0">
                        <a:pos x="0" y="14"/>
                      </a:cxn>
                      <a:cxn ang="0">
                        <a:pos x="0" y="14"/>
                      </a:cxn>
                      <a:cxn ang="0">
                        <a:pos x="0" y="18"/>
                      </a:cxn>
                      <a:cxn ang="0">
                        <a:pos x="4" y="22"/>
                      </a:cxn>
                      <a:cxn ang="0">
                        <a:pos x="10" y="24"/>
                      </a:cxn>
                      <a:cxn ang="0">
                        <a:pos x="18" y="26"/>
                      </a:cxn>
                      <a:cxn ang="0">
                        <a:pos x="24" y="28"/>
                      </a:cxn>
                      <a:cxn ang="0">
                        <a:pos x="30" y="32"/>
                      </a:cxn>
                      <a:cxn ang="0">
                        <a:pos x="30" y="32"/>
                      </a:cxn>
                    </a:cxnLst>
                    <a:rect l="0" t="0" r="r" b="b"/>
                    <a:pathLst>
                      <a:path w="58" h="40">
                        <a:moveTo>
                          <a:pt x="30" y="32"/>
                        </a:moveTo>
                        <a:lnTo>
                          <a:pt x="30" y="32"/>
                        </a:lnTo>
                        <a:lnTo>
                          <a:pt x="40" y="38"/>
                        </a:lnTo>
                        <a:lnTo>
                          <a:pt x="46" y="40"/>
                        </a:lnTo>
                        <a:lnTo>
                          <a:pt x="50" y="40"/>
                        </a:lnTo>
                        <a:lnTo>
                          <a:pt x="54" y="38"/>
                        </a:lnTo>
                        <a:lnTo>
                          <a:pt x="56" y="34"/>
                        </a:lnTo>
                        <a:lnTo>
                          <a:pt x="58" y="28"/>
                        </a:lnTo>
                        <a:lnTo>
                          <a:pt x="56" y="20"/>
                        </a:lnTo>
                        <a:lnTo>
                          <a:pt x="56" y="20"/>
                        </a:lnTo>
                        <a:lnTo>
                          <a:pt x="52" y="12"/>
                        </a:lnTo>
                        <a:lnTo>
                          <a:pt x="46" y="6"/>
                        </a:lnTo>
                        <a:lnTo>
                          <a:pt x="36" y="2"/>
                        </a:lnTo>
                        <a:lnTo>
                          <a:pt x="26" y="0"/>
                        </a:lnTo>
                        <a:lnTo>
                          <a:pt x="16" y="0"/>
                        </a:lnTo>
                        <a:lnTo>
                          <a:pt x="6" y="2"/>
                        </a:lnTo>
                        <a:lnTo>
                          <a:pt x="2" y="6"/>
                        </a:lnTo>
                        <a:lnTo>
                          <a:pt x="0" y="10"/>
                        </a:lnTo>
                        <a:lnTo>
                          <a:pt x="0" y="14"/>
                        </a:lnTo>
                        <a:lnTo>
                          <a:pt x="0" y="14"/>
                        </a:lnTo>
                        <a:lnTo>
                          <a:pt x="0" y="18"/>
                        </a:lnTo>
                        <a:lnTo>
                          <a:pt x="4" y="22"/>
                        </a:lnTo>
                        <a:lnTo>
                          <a:pt x="10" y="24"/>
                        </a:lnTo>
                        <a:lnTo>
                          <a:pt x="18" y="26"/>
                        </a:lnTo>
                        <a:lnTo>
                          <a:pt x="24" y="28"/>
                        </a:lnTo>
                        <a:lnTo>
                          <a:pt x="30" y="32"/>
                        </a:lnTo>
                        <a:lnTo>
                          <a:pt x="30" y="3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5" name="Freeform 6024"/>
                  <p:cNvSpPr>
                    <a:spLocks/>
                  </p:cNvSpPr>
                  <p:nvPr/>
                </p:nvSpPr>
                <p:spPr bwMode="auto">
                  <a:xfrm>
                    <a:off x="1507490" y="963613"/>
                    <a:ext cx="102870" cy="24130"/>
                  </a:xfrm>
                  <a:custGeom>
                    <a:avLst/>
                    <a:gdLst/>
                    <a:ahLst/>
                    <a:cxnLst>
                      <a:cxn ang="0">
                        <a:pos x="20" y="34"/>
                      </a:cxn>
                      <a:cxn ang="0">
                        <a:pos x="20" y="34"/>
                      </a:cxn>
                      <a:cxn ang="0">
                        <a:pos x="26" y="32"/>
                      </a:cxn>
                      <a:cxn ang="0">
                        <a:pos x="34" y="32"/>
                      </a:cxn>
                      <a:cxn ang="0">
                        <a:pos x="60" y="36"/>
                      </a:cxn>
                      <a:cxn ang="0">
                        <a:pos x="60" y="36"/>
                      </a:cxn>
                      <a:cxn ang="0">
                        <a:pos x="72" y="38"/>
                      </a:cxn>
                      <a:cxn ang="0">
                        <a:pos x="76" y="36"/>
                      </a:cxn>
                      <a:cxn ang="0">
                        <a:pos x="84" y="34"/>
                      </a:cxn>
                      <a:cxn ang="0">
                        <a:pos x="108" y="34"/>
                      </a:cxn>
                      <a:cxn ang="0">
                        <a:pos x="108" y="34"/>
                      </a:cxn>
                      <a:cxn ang="0">
                        <a:pos x="124" y="36"/>
                      </a:cxn>
                      <a:cxn ang="0">
                        <a:pos x="138" y="34"/>
                      </a:cxn>
                      <a:cxn ang="0">
                        <a:pos x="150" y="32"/>
                      </a:cxn>
                      <a:cxn ang="0">
                        <a:pos x="158" y="28"/>
                      </a:cxn>
                      <a:cxn ang="0">
                        <a:pos x="162" y="24"/>
                      </a:cxn>
                      <a:cxn ang="0">
                        <a:pos x="162" y="22"/>
                      </a:cxn>
                      <a:cxn ang="0">
                        <a:pos x="160" y="18"/>
                      </a:cxn>
                      <a:cxn ang="0">
                        <a:pos x="152" y="12"/>
                      </a:cxn>
                      <a:cxn ang="0">
                        <a:pos x="138" y="6"/>
                      </a:cxn>
                      <a:cxn ang="0">
                        <a:pos x="138" y="6"/>
                      </a:cxn>
                      <a:cxn ang="0">
                        <a:pos x="122" y="0"/>
                      </a:cxn>
                      <a:cxn ang="0">
                        <a:pos x="108" y="0"/>
                      </a:cxn>
                      <a:cxn ang="0">
                        <a:pos x="96" y="0"/>
                      </a:cxn>
                      <a:cxn ang="0">
                        <a:pos x="86" y="2"/>
                      </a:cxn>
                      <a:cxn ang="0">
                        <a:pos x="64" y="10"/>
                      </a:cxn>
                      <a:cxn ang="0">
                        <a:pos x="52" y="14"/>
                      </a:cxn>
                      <a:cxn ang="0">
                        <a:pos x="36" y="16"/>
                      </a:cxn>
                      <a:cxn ang="0">
                        <a:pos x="36" y="16"/>
                      </a:cxn>
                      <a:cxn ang="0">
                        <a:pos x="22" y="20"/>
                      </a:cxn>
                      <a:cxn ang="0">
                        <a:pos x="10" y="24"/>
                      </a:cxn>
                      <a:cxn ang="0">
                        <a:pos x="4" y="28"/>
                      </a:cxn>
                      <a:cxn ang="0">
                        <a:pos x="0" y="30"/>
                      </a:cxn>
                      <a:cxn ang="0">
                        <a:pos x="0" y="34"/>
                      </a:cxn>
                      <a:cxn ang="0">
                        <a:pos x="4" y="36"/>
                      </a:cxn>
                      <a:cxn ang="0">
                        <a:pos x="10" y="36"/>
                      </a:cxn>
                      <a:cxn ang="0">
                        <a:pos x="20" y="34"/>
                      </a:cxn>
                      <a:cxn ang="0">
                        <a:pos x="20" y="34"/>
                      </a:cxn>
                    </a:cxnLst>
                    <a:rect l="0" t="0" r="r" b="b"/>
                    <a:pathLst>
                      <a:path w="162" h="38">
                        <a:moveTo>
                          <a:pt x="20" y="34"/>
                        </a:moveTo>
                        <a:lnTo>
                          <a:pt x="20" y="34"/>
                        </a:lnTo>
                        <a:lnTo>
                          <a:pt x="26" y="32"/>
                        </a:lnTo>
                        <a:lnTo>
                          <a:pt x="34" y="32"/>
                        </a:lnTo>
                        <a:lnTo>
                          <a:pt x="60" y="36"/>
                        </a:lnTo>
                        <a:lnTo>
                          <a:pt x="60" y="36"/>
                        </a:lnTo>
                        <a:lnTo>
                          <a:pt x="72" y="38"/>
                        </a:lnTo>
                        <a:lnTo>
                          <a:pt x="76" y="36"/>
                        </a:lnTo>
                        <a:lnTo>
                          <a:pt x="84" y="34"/>
                        </a:lnTo>
                        <a:lnTo>
                          <a:pt x="108" y="34"/>
                        </a:lnTo>
                        <a:lnTo>
                          <a:pt x="108" y="34"/>
                        </a:lnTo>
                        <a:lnTo>
                          <a:pt x="124" y="36"/>
                        </a:lnTo>
                        <a:lnTo>
                          <a:pt x="138" y="34"/>
                        </a:lnTo>
                        <a:lnTo>
                          <a:pt x="150" y="32"/>
                        </a:lnTo>
                        <a:lnTo>
                          <a:pt x="158" y="28"/>
                        </a:lnTo>
                        <a:lnTo>
                          <a:pt x="162" y="24"/>
                        </a:lnTo>
                        <a:lnTo>
                          <a:pt x="162" y="22"/>
                        </a:lnTo>
                        <a:lnTo>
                          <a:pt x="160" y="18"/>
                        </a:lnTo>
                        <a:lnTo>
                          <a:pt x="152" y="12"/>
                        </a:lnTo>
                        <a:lnTo>
                          <a:pt x="138" y="6"/>
                        </a:lnTo>
                        <a:lnTo>
                          <a:pt x="138" y="6"/>
                        </a:lnTo>
                        <a:lnTo>
                          <a:pt x="122" y="0"/>
                        </a:lnTo>
                        <a:lnTo>
                          <a:pt x="108" y="0"/>
                        </a:lnTo>
                        <a:lnTo>
                          <a:pt x="96" y="0"/>
                        </a:lnTo>
                        <a:lnTo>
                          <a:pt x="86" y="2"/>
                        </a:lnTo>
                        <a:lnTo>
                          <a:pt x="64" y="10"/>
                        </a:lnTo>
                        <a:lnTo>
                          <a:pt x="52" y="14"/>
                        </a:lnTo>
                        <a:lnTo>
                          <a:pt x="36" y="16"/>
                        </a:lnTo>
                        <a:lnTo>
                          <a:pt x="36" y="16"/>
                        </a:lnTo>
                        <a:lnTo>
                          <a:pt x="22" y="20"/>
                        </a:lnTo>
                        <a:lnTo>
                          <a:pt x="10" y="24"/>
                        </a:lnTo>
                        <a:lnTo>
                          <a:pt x="4" y="28"/>
                        </a:lnTo>
                        <a:lnTo>
                          <a:pt x="0" y="30"/>
                        </a:lnTo>
                        <a:lnTo>
                          <a:pt x="0" y="34"/>
                        </a:lnTo>
                        <a:lnTo>
                          <a:pt x="4" y="36"/>
                        </a:lnTo>
                        <a:lnTo>
                          <a:pt x="10" y="36"/>
                        </a:lnTo>
                        <a:lnTo>
                          <a:pt x="20" y="34"/>
                        </a:lnTo>
                        <a:lnTo>
                          <a:pt x="20" y="3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6" name="Freeform 6025"/>
                  <p:cNvSpPr>
                    <a:spLocks/>
                  </p:cNvSpPr>
                  <p:nvPr/>
                </p:nvSpPr>
                <p:spPr bwMode="auto">
                  <a:xfrm>
                    <a:off x="1703070" y="928053"/>
                    <a:ext cx="168910" cy="82550"/>
                  </a:xfrm>
                  <a:custGeom>
                    <a:avLst/>
                    <a:gdLst/>
                    <a:ahLst/>
                    <a:cxnLst>
                      <a:cxn ang="0">
                        <a:pos x="30" y="40"/>
                      </a:cxn>
                      <a:cxn ang="0">
                        <a:pos x="32" y="50"/>
                      </a:cxn>
                      <a:cxn ang="0">
                        <a:pos x="40" y="46"/>
                      </a:cxn>
                      <a:cxn ang="0">
                        <a:pos x="52" y="44"/>
                      </a:cxn>
                      <a:cxn ang="0">
                        <a:pos x="66" y="54"/>
                      </a:cxn>
                      <a:cxn ang="0">
                        <a:pos x="72" y="62"/>
                      </a:cxn>
                      <a:cxn ang="0">
                        <a:pos x="68" y="70"/>
                      </a:cxn>
                      <a:cxn ang="0">
                        <a:pos x="44" y="68"/>
                      </a:cxn>
                      <a:cxn ang="0">
                        <a:pos x="26" y="70"/>
                      </a:cxn>
                      <a:cxn ang="0">
                        <a:pos x="24" y="74"/>
                      </a:cxn>
                      <a:cxn ang="0">
                        <a:pos x="24" y="82"/>
                      </a:cxn>
                      <a:cxn ang="0">
                        <a:pos x="36" y="90"/>
                      </a:cxn>
                      <a:cxn ang="0">
                        <a:pos x="60" y="92"/>
                      </a:cxn>
                      <a:cxn ang="0">
                        <a:pos x="78" y="88"/>
                      </a:cxn>
                      <a:cxn ang="0">
                        <a:pos x="108" y="82"/>
                      </a:cxn>
                      <a:cxn ang="0">
                        <a:pos x="114" y="86"/>
                      </a:cxn>
                      <a:cxn ang="0">
                        <a:pos x="120" y="92"/>
                      </a:cxn>
                      <a:cxn ang="0">
                        <a:pos x="146" y="90"/>
                      </a:cxn>
                      <a:cxn ang="0">
                        <a:pos x="156" y="90"/>
                      </a:cxn>
                      <a:cxn ang="0">
                        <a:pos x="170" y="92"/>
                      </a:cxn>
                      <a:cxn ang="0">
                        <a:pos x="182" y="102"/>
                      </a:cxn>
                      <a:cxn ang="0">
                        <a:pos x="194" y="120"/>
                      </a:cxn>
                      <a:cxn ang="0">
                        <a:pos x="204" y="126"/>
                      </a:cxn>
                      <a:cxn ang="0">
                        <a:pos x="220" y="130"/>
                      </a:cxn>
                      <a:cxn ang="0">
                        <a:pos x="244" y="128"/>
                      </a:cxn>
                      <a:cxn ang="0">
                        <a:pos x="254" y="126"/>
                      </a:cxn>
                      <a:cxn ang="0">
                        <a:pos x="266" y="122"/>
                      </a:cxn>
                      <a:cxn ang="0">
                        <a:pos x="266" y="114"/>
                      </a:cxn>
                      <a:cxn ang="0">
                        <a:pos x="258" y="102"/>
                      </a:cxn>
                      <a:cxn ang="0">
                        <a:pos x="234" y="82"/>
                      </a:cxn>
                      <a:cxn ang="0">
                        <a:pos x="238" y="78"/>
                      </a:cxn>
                      <a:cxn ang="0">
                        <a:pos x="242" y="76"/>
                      </a:cxn>
                      <a:cxn ang="0">
                        <a:pos x="248" y="68"/>
                      </a:cxn>
                      <a:cxn ang="0">
                        <a:pos x="242" y="58"/>
                      </a:cxn>
                      <a:cxn ang="0">
                        <a:pos x="224" y="50"/>
                      </a:cxn>
                      <a:cxn ang="0">
                        <a:pos x="210" y="48"/>
                      </a:cxn>
                      <a:cxn ang="0">
                        <a:pos x="186" y="44"/>
                      </a:cxn>
                      <a:cxn ang="0">
                        <a:pos x="184" y="40"/>
                      </a:cxn>
                      <a:cxn ang="0">
                        <a:pos x="176" y="32"/>
                      </a:cxn>
                      <a:cxn ang="0">
                        <a:pos x="164" y="28"/>
                      </a:cxn>
                      <a:cxn ang="0">
                        <a:pos x="140" y="26"/>
                      </a:cxn>
                      <a:cxn ang="0">
                        <a:pos x="130" y="32"/>
                      </a:cxn>
                      <a:cxn ang="0">
                        <a:pos x="124" y="36"/>
                      </a:cxn>
                      <a:cxn ang="0">
                        <a:pos x="118" y="28"/>
                      </a:cxn>
                      <a:cxn ang="0">
                        <a:pos x="114" y="24"/>
                      </a:cxn>
                      <a:cxn ang="0">
                        <a:pos x="96" y="10"/>
                      </a:cxn>
                      <a:cxn ang="0">
                        <a:pos x="58" y="0"/>
                      </a:cxn>
                      <a:cxn ang="0">
                        <a:pos x="22" y="2"/>
                      </a:cxn>
                      <a:cxn ang="0">
                        <a:pos x="10" y="8"/>
                      </a:cxn>
                      <a:cxn ang="0">
                        <a:pos x="2" y="18"/>
                      </a:cxn>
                      <a:cxn ang="0">
                        <a:pos x="0" y="28"/>
                      </a:cxn>
                      <a:cxn ang="0">
                        <a:pos x="8" y="34"/>
                      </a:cxn>
                      <a:cxn ang="0">
                        <a:pos x="20" y="30"/>
                      </a:cxn>
                      <a:cxn ang="0">
                        <a:pos x="28" y="34"/>
                      </a:cxn>
                      <a:cxn ang="0">
                        <a:pos x="30" y="40"/>
                      </a:cxn>
                    </a:cxnLst>
                    <a:rect l="0" t="0" r="r" b="b"/>
                    <a:pathLst>
                      <a:path w="266" h="130">
                        <a:moveTo>
                          <a:pt x="30" y="40"/>
                        </a:moveTo>
                        <a:lnTo>
                          <a:pt x="30" y="40"/>
                        </a:lnTo>
                        <a:lnTo>
                          <a:pt x="30" y="48"/>
                        </a:lnTo>
                        <a:lnTo>
                          <a:pt x="32" y="50"/>
                        </a:lnTo>
                        <a:lnTo>
                          <a:pt x="36" y="50"/>
                        </a:lnTo>
                        <a:lnTo>
                          <a:pt x="40" y="46"/>
                        </a:lnTo>
                        <a:lnTo>
                          <a:pt x="46" y="44"/>
                        </a:lnTo>
                        <a:lnTo>
                          <a:pt x="52" y="44"/>
                        </a:lnTo>
                        <a:lnTo>
                          <a:pt x="58" y="46"/>
                        </a:lnTo>
                        <a:lnTo>
                          <a:pt x="66" y="54"/>
                        </a:lnTo>
                        <a:lnTo>
                          <a:pt x="66" y="54"/>
                        </a:lnTo>
                        <a:lnTo>
                          <a:pt x="72" y="62"/>
                        </a:lnTo>
                        <a:lnTo>
                          <a:pt x="72" y="66"/>
                        </a:lnTo>
                        <a:lnTo>
                          <a:pt x="68" y="70"/>
                        </a:lnTo>
                        <a:lnTo>
                          <a:pt x="60" y="70"/>
                        </a:lnTo>
                        <a:lnTo>
                          <a:pt x="44" y="68"/>
                        </a:lnTo>
                        <a:lnTo>
                          <a:pt x="34" y="68"/>
                        </a:lnTo>
                        <a:lnTo>
                          <a:pt x="26" y="70"/>
                        </a:lnTo>
                        <a:lnTo>
                          <a:pt x="26" y="70"/>
                        </a:lnTo>
                        <a:lnTo>
                          <a:pt x="24" y="74"/>
                        </a:lnTo>
                        <a:lnTo>
                          <a:pt x="22" y="78"/>
                        </a:lnTo>
                        <a:lnTo>
                          <a:pt x="24" y="82"/>
                        </a:lnTo>
                        <a:lnTo>
                          <a:pt x="28" y="86"/>
                        </a:lnTo>
                        <a:lnTo>
                          <a:pt x="36" y="90"/>
                        </a:lnTo>
                        <a:lnTo>
                          <a:pt x="46" y="92"/>
                        </a:lnTo>
                        <a:lnTo>
                          <a:pt x="60" y="92"/>
                        </a:lnTo>
                        <a:lnTo>
                          <a:pt x="78" y="88"/>
                        </a:lnTo>
                        <a:lnTo>
                          <a:pt x="78" y="88"/>
                        </a:lnTo>
                        <a:lnTo>
                          <a:pt x="98" y="82"/>
                        </a:lnTo>
                        <a:lnTo>
                          <a:pt x="108" y="82"/>
                        </a:lnTo>
                        <a:lnTo>
                          <a:pt x="112" y="82"/>
                        </a:lnTo>
                        <a:lnTo>
                          <a:pt x="114" y="86"/>
                        </a:lnTo>
                        <a:lnTo>
                          <a:pt x="116" y="88"/>
                        </a:lnTo>
                        <a:lnTo>
                          <a:pt x="120" y="92"/>
                        </a:lnTo>
                        <a:lnTo>
                          <a:pt x="130" y="92"/>
                        </a:lnTo>
                        <a:lnTo>
                          <a:pt x="146" y="90"/>
                        </a:lnTo>
                        <a:lnTo>
                          <a:pt x="146" y="90"/>
                        </a:lnTo>
                        <a:lnTo>
                          <a:pt x="156" y="90"/>
                        </a:lnTo>
                        <a:lnTo>
                          <a:pt x="164" y="90"/>
                        </a:lnTo>
                        <a:lnTo>
                          <a:pt x="170" y="92"/>
                        </a:lnTo>
                        <a:lnTo>
                          <a:pt x="174" y="94"/>
                        </a:lnTo>
                        <a:lnTo>
                          <a:pt x="182" y="102"/>
                        </a:lnTo>
                        <a:lnTo>
                          <a:pt x="186" y="110"/>
                        </a:lnTo>
                        <a:lnTo>
                          <a:pt x="194" y="120"/>
                        </a:lnTo>
                        <a:lnTo>
                          <a:pt x="198" y="124"/>
                        </a:lnTo>
                        <a:lnTo>
                          <a:pt x="204" y="126"/>
                        </a:lnTo>
                        <a:lnTo>
                          <a:pt x="210" y="128"/>
                        </a:lnTo>
                        <a:lnTo>
                          <a:pt x="220" y="130"/>
                        </a:lnTo>
                        <a:lnTo>
                          <a:pt x="230" y="130"/>
                        </a:lnTo>
                        <a:lnTo>
                          <a:pt x="244" y="128"/>
                        </a:lnTo>
                        <a:lnTo>
                          <a:pt x="244" y="128"/>
                        </a:lnTo>
                        <a:lnTo>
                          <a:pt x="254" y="126"/>
                        </a:lnTo>
                        <a:lnTo>
                          <a:pt x="262" y="124"/>
                        </a:lnTo>
                        <a:lnTo>
                          <a:pt x="266" y="122"/>
                        </a:lnTo>
                        <a:lnTo>
                          <a:pt x="266" y="118"/>
                        </a:lnTo>
                        <a:lnTo>
                          <a:pt x="266" y="114"/>
                        </a:lnTo>
                        <a:lnTo>
                          <a:pt x="264" y="110"/>
                        </a:lnTo>
                        <a:lnTo>
                          <a:pt x="258" y="102"/>
                        </a:lnTo>
                        <a:lnTo>
                          <a:pt x="240" y="88"/>
                        </a:lnTo>
                        <a:lnTo>
                          <a:pt x="234" y="82"/>
                        </a:lnTo>
                        <a:lnTo>
                          <a:pt x="234" y="80"/>
                        </a:lnTo>
                        <a:lnTo>
                          <a:pt x="238" y="78"/>
                        </a:lnTo>
                        <a:lnTo>
                          <a:pt x="238" y="78"/>
                        </a:lnTo>
                        <a:lnTo>
                          <a:pt x="242" y="76"/>
                        </a:lnTo>
                        <a:lnTo>
                          <a:pt x="246" y="72"/>
                        </a:lnTo>
                        <a:lnTo>
                          <a:pt x="248" y="68"/>
                        </a:lnTo>
                        <a:lnTo>
                          <a:pt x="246" y="64"/>
                        </a:lnTo>
                        <a:lnTo>
                          <a:pt x="242" y="58"/>
                        </a:lnTo>
                        <a:lnTo>
                          <a:pt x="236" y="54"/>
                        </a:lnTo>
                        <a:lnTo>
                          <a:pt x="224" y="50"/>
                        </a:lnTo>
                        <a:lnTo>
                          <a:pt x="210" y="48"/>
                        </a:lnTo>
                        <a:lnTo>
                          <a:pt x="210" y="48"/>
                        </a:lnTo>
                        <a:lnTo>
                          <a:pt x="190" y="46"/>
                        </a:lnTo>
                        <a:lnTo>
                          <a:pt x="186" y="44"/>
                        </a:lnTo>
                        <a:lnTo>
                          <a:pt x="186" y="42"/>
                        </a:lnTo>
                        <a:lnTo>
                          <a:pt x="184" y="40"/>
                        </a:lnTo>
                        <a:lnTo>
                          <a:pt x="182" y="36"/>
                        </a:lnTo>
                        <a:lnTo>
                          <a:pt x="176" y="32"/>
                        </a:lnTo>
                        <a:lnTo>
                          <a:pt x="164" y="28"/>
                        </a:lnTo>
                        <a:lnTo>
                          <a:pt x="164" y="28"/>
                        </a:lnTo>
                        <a:lnTo>
                          <a:pt x="150" y="26"/>
                        </a:lnTo>
                        <a:lnTo>
                          <a:pt x="140" y="26"/>
                        </a:lnTo>
                        <a:lnTo>
                          <a:pt x="134" y="28"/>
                        </a:lnTo>
                        <a:lnTo>
                          <a:pt x="130" y="32"/>
                        </a:lnTo>
                        <a:lnTo>
                          <a:pt x="126" y="34"/>
                        </a:lnTo>
                        <a:lnTo>
                          <a:pt x="124" y="36"/>
                        </a:lnTo>
                        <a:lnTo>
                          <a:pt x="122" y="34"/>
                        </a:lnTo>
                        <a:lnTo>
                          <a:pt x="118" y="28"/>
                        </a:lnTo>
                        <a:lnTo>
                          <a:pt x="118" y="28"/>
                        </a:lnTo>
                        <a:lnTo>
                          <a:pt x="114" y="24"/>
                        </a:lnTo>
                        <a:lnTo>
                          <a:pt x="110" y="18"/>
                        </a:lnTo>
                        <a:lnTo>
                          <a:pt x="96" y="10"/>
                        </a:lnTo>
                        <a:lnTo>
                          <a:pt x="78" y="4"/>
                        </a:lnTo>
                        <a:lnTo>
                          <a:pt x="58" y="0"/>
                        </a:lnTo>
                        <a:lnTo>
                          <a:pt x="40" y="0"/>
                        </a:lnTo>
                        <a:lnTo>
                          <a:pt x="22" y="2"/>
                        </a:lnTo>
                        <a:lnTo>
                          <a:pt x="14" y="4"/>
                        </a:lnTo>
                        <a:lnTo>
                          <a:pt x="10" y="8"/>
                        </a:lnTo>
                        <a:lnTo>
                          <a:pt x="4" y="12"/>
                        </a:lnTo>
                        <a:lnTo>
                          <a:pt x="2" y="18"/>
                        </a:lnTo>
                        <a:lnTo>
                          <a:pt x="2" y="18"/>
                        </a:lnTo>
                        <a:lnTo>
                          <a:pt x="0" y="28"/>
                        </a:lnTo>
                        <a:lnTo>
                          <a:pt x="2" y="32"/>
                        </a:lnTo>
                        <a:lnTo>
                          <a:pt x="8" y="34"/>
                        </a:lnTo>
                        <a:lnTo>
                          <a:pt x="14" y="32"/>
                        </a:lnTo>
                        <a:lnTo>
                          <a:pt x="20" y="30"/>
                        </a:lnTo>
                        <a:lnTo>
                          <a:pt x="24" y="30"/>
                        </a:lnTo>
                        <a:lnTo>
                          <a:pt x="28" y="34"/>
                        </a:lnTo>
                        <a:lnTo>
                          <a:pt x="30" y="40"/>
                        </a:lnTo>
                        <a:lnTo>
                          <a:pt x="30" y="4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7" name="Freeform 6026"/>
                  <p:cNvSpPr>
                    <a:spLocks/>
                  </p:cNvSpPr>
                  <p:nvPr/>
                </p:nvSpPr>
                <p:spPr bwMode="auto">
                  <a:xfrm>
                    <a:off x="1694180" y="1013143"/>
                    <a:ext cx="44450" cy="33020"/>
                  </a:xfrm>
                  <a:custGeom>
                    <a:avLst/>
                    <a:gdLst/>
                    <a:ahLst/>
                    <a:cxnLst>
                      <a:cxn ang="0">
                        <a:pos x="56" y="52"/>
                      </a:cxn>
                      <a:cxn ang="0">
                        <a:pos x="56" y="52"/>
                      </a:cxn>
                      <a:cxn ang="0">
                        <a:pos x="66" y="50"/>
                      </a:cxn>
                      <a:cxn ang="0">
                        <a:pos x="68" y="48"/>
                      </a:cxn>
                      <a:cxn ang="0">
                        <a:pos x="70" y="46"/>
                      </a:cxn>
                      <a:cxn ang="0">
                        <a:pos x="70" y="44"/>
                      </a:cxn>
                      <a:cxn ang="0">
                        <a:pos x="68" y="40"/>
                      </a:cxn>
                      <a:cxn ang="0">
                        <a:pos x="56" y="26"/>
                      </a:cxn>
                      <a:cxn ang="0">
                        <a:pos x="56" y="26"/>
                      </a:cxn>
                      <a:cxn ang="0">
                        <a:pos x="46" y="18"/>
                      </a:cxn>
                      <a:cxn ang="0">
                        <a:pos x="36" y="12"/>
                      </a:cxn>
                      <a:cxn ang="0">
                        <a:pos x="26" y="6"/>
                      </a:cxn>
                      <a:cxn ang="0">
                        <a:pos x="16" y="2"/>
                      </a:cxn>
                      <a:cxn ang="0">
                        <a:pos x="8" y="0"/>
                      </a:cxn>
                      <a:cxn ang="0">
                        <a:pos x="2" y="0"/>
                      </a:cxn>
                      <a:cxn ang="0">
                        <a:pos x="0" y="2"/>
                      </a:cxn>
                      <a:cxn ang="0">
                        <a:pos x="0" y="8"/>
                      </a:cxn>
                      <a:cxn ang="0">
                        <a:pos x="0" y="8"/>
                      </a:cxn>
                      <a:cxn ang="0">
                        <a:pos x="8" y="22"/>
                      </a:cxn>
                      <a:cxn ang="0">
                        <a:pos x="18" y="36"/>
                      </a:cxn>
                      <a:cxn ang="0">
                        <a:pos x="24" y="44"/>
                      </a:cxn>
                      <a:cxn ang="0">
                        <a:pos x="32" y="48"/>
                      </a:cxn>
                      <a:cxn ang="0">
                        <a:pos x="42" y="52"/>
                      </a:cxn>
                      <a:cxn ang="0">
                        <a:pos x="56" y="52"/>
                      </a:cxn>
                      <a:cxn ang="0">
                        <a:pos x="56" y="52"/>
                      </a:cxn>
                    </a:cxnLst>
                    <a:rect l="0" t="0" r="r" b="b"/>
                    <a:pathLst>
                      <a:path w="70" h="52">
                        <a:moveTo>
                          <a:pt x="56" y="52"/>
                        </a:moveTo>
                        <a:lnTo>
                          <a:pt x="56" y="52"/>
                        </a:lnTo>
                        <a:lnTo>
                          <a:pt x="66" y="50"/>
                        </a:lnTo>
                        <a:lnTo>
                          <a:pt x="68" y="48"/>
                        </a:lnTo>
                        <a:lnTo>
                          <a:pt x="70" y="46"/>
                        </a:lnTo>
                        <a:lnTo>
                          <a:pt x="70" y="44"/>
                        </a:lnTo>
                        <a:lnTo>
                          <a:pt x="68" y="40"/>
                        </a:lnTo>
                        <a:lnTo>
                          <a:pt x="56" y="26"/>
                        </a:lnTo>
                        <a:lnTo>
                          <a:pt x="56" y="26"/>
                        </a:lnTo>
                        <a:lnTo>
                          <a:pt x="46" y="18"/>
                        </a:lnTo>
                        <a:lnTo>
                          <a:pt x="36" y="12"/>
                        </a:lnTo>
                        <a:lnTo>
                          <a:pt x="26" y="6"/>
                        </a:lnTo>
                        <a:lnTo>
                          <a:pt x="16" y="2"/>
                        </a:lnTo>
                        <a:lnTo>
                          <a:pt x="8" y="0"/>
                        </a:lnTo>
                        <a:lnTo>
                          <a:pt x="2" y="0"/>
                        </a:lnTo>
                        <a:lnTo>
                          <a:pt x="0" y="2"/>
                        </a:lnTo>
                        <a:lnTo>
                          <a:pt x="0" y="8"/>
                        </a:lnTo>
                        <a:lnTo>
                          <a:pt x="0" y="8"/>
                        </a:lnTo>
                        <a:lnTo>
                          <a:pt x="8" y="22"/>
                        </a:lnTo>
                        <a:lnTo>
                          <a:pt x="18" y="36"/>
                        </a:lnTo>
                        <a:lnTo>
                          <a:pt x="24" y="44"/>
                        </a:lnTo>
                        <a:lnTo>
                          <a:pt x="32" y="48"/>
                        </a:lnTo>
                        <a:lnTo>
                          <a:pt x="42" y="52"/>
                        </a:lnTo>
                        <a:lnTo>
                          <a:pt x="56" y="52"/>
                        </a:lnTo>
                        <a:lnTo>
                          <a:pt x="56" y="5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8" name="Freeform 6027"/>
                  <p:cNvSpPr>
                    <a:spLocks/>
                  </p:cNvSpPr>
                  <p:nvPr/>
                </p:nvSpPr>
                <p:spPr bwMode="auto">
                  <a:xfrm>
                    <a:off x="1883410" y="957263"/>
                    <a:ext cx="95250" cy="54610"/>
                  </a:xfrm>
                  <a:custGeom>
                    <a:avLst/>
                    <a:gdLst/>
                    <a:ahLst/>
                    <a:cxnLst>
                      <a:cxn ang="0">
                        <a:pos x="14" y="38"/>
                      </a:cxn>
                      <a:cxn ang="0">
                        <a:pos x="22" y="44"/>
                      </a:cxn>
                      <a:cxn ang="0">
                        <a:pos x="44" y="54"/>
                      </a:cxn>
                      <a:cxn ang="0">
                        <a:pos x="50" y="56"/>
                      </a:cxn>
                      <a:cxn ang="0">
                        <a:pos x="52" y="58"/>
                      </a:cxn>
                      <a:cxn ang="0">
                        <a:pos x="42" y="64"/>
                      </a:cxn>
                      <a:cxn ang="0">
                        <a:pos x="32" y="68"/>
                      </a:cxn>
                      <a:cxn ang="0">
                        <a:pos x="40" y="68"/>
                      </a:cxn>
                      <a:cxn ang="0">
                        <a:pos x="50" y="70"/>
                      </a:cxn>
                      <a:cxn ang="0">
                        <a:pos x="56" y="76"/>
                      </a:cxn>
                      <a:cxn ang="0">
                        <a:pos x="60" y="84"/>
                      </a:cxn>
                      <a:cxn ang="0">
                        <a:pos x="66" y="86"/>
                      </a:cxn>
                      <a:cxn ang="0">
                        <a:pos x="74" y="82"/>
                      </a:cxn>
                      <a:cxn ang="0">
                        <a:pos x="98" y="76"/>
                      </a:cxn>
                      <a:cxn ang="0">
                        <a:pos x="132" y="70"/>
                      </a:cxn>
                      <a:cxn ang="0">
                        <a:pos x="142" y="64"/>
                      </a:cxn>
                      <a:cxn ang="0">
                        <a:pos x="140" y="60"/>
                      </a:cxn>
                      <a:cxn ang="0">
                        <a:pos x="140" y="52"/>
                      </a:cxn>
                      <a:cxn ang="0">
                        <a:pos x="150" y="42"/>
                      </a:cxn>
                      <a:cxn ang="0">
                        <a:pos x="148" y="36"/>
                      </a:cxn>
                      <a:cxn ang="0">
                        <a:pos x="140" y="32"/>
                      </a:cxn>
                      <a:cxn ang="0">
                        <a:pos x="122" y="24"/>
                      </a:cxn>
                      <a:cxn ang="0">
                        <a:pos x="100" y="22"/>
                      </a:cxn>
                      <a:cxn ang="0">
                        <a:pos x="82" y="14"/>
                      </a:cxn>
                      <a:cxn ang="0">
                        <a:pos x="68" y="8"/>
                      </a:cxn>
                      <a:cxn ang="0">
                        <a:pos x="42" y="0"/>
                      </a:cxn>
                      <a:cxn ang="0">
                        <a:pos x="18" y="0"/>
                      </a:cxn>
                      <a:cxn ang="0">
                        <a:pos x="8" y="8"/>
                      </a:cxn>
                      <a:cxn ang="0">
                        <a:pos x="8" y="14"/>
                      </a:cxn>
                      <a:cxn ang="0">
                        <a:pos x="10" y="20"/>
                      </a:cxn>
                      <a:cxn ang="0">
                        <a:pos x="6" y="28"/>
                      </a:cxn>
                      <a:cxn ang="0">
                        <a:pos x="0" y="30"/>
                      </a:cxn>
                      <a:cxn ang="0">
                        <a:pos x="14" y="38"/>
                      </a:cxn>
                    </a:cxnLst>
                    <a:rect l="0" t="0" r="r" b="b"/>
                    <a:pathLst>
                      <a:path w="150" h="86">
                        <a:moveTo>
                          <a:pt x="14" y="38"/>
                        </a:moveTo>
                        <a:lnTo>
                          <a:pt x="14" y="38"/>
                        </a:lnTo>
                        <a:lnTo>
                          <a:pt x="20" y="42"/>
                        </a:lnTo>
                        <a:lnTo>
                          <a:pt x="22" y="44"/>
                        </a:lnTo>
                        <a:lnTo>
                          <a:pt x="28" y="48"/>
                        </a:lnTo>
                        <a:lnTo>
                          <a:pt x="44" y="54"/>
                        </a:lnTo>
                        <a:lnTo>
                          <a:pt x="44" y="54"/>
                        </a:lnTo>
                        <a:lnTo>
                          <a:pt x="50" y="56"/>
                        </a:lnTo>
                        <a:lnTo>
                          <a:pt x="52" y="58"/>
                        </a:lnTo>
                        <a:lnTo>
                          <a:pt x="52" y="58"/>
                        </a:lnTo>
                        <a:lnTo>
                          <a:pt x="48" y="62"/>
                        </a:lnTo>
                        <a:lnTo>
                          <a:pt x="42" y="64"/>
                        </a:lnTo>
                        <a:lnTo>
                          <a:pt x="32" y="66"/>
                        </a:lnTo>
                        <a:lnTo>
                          <a:pt x="32" y="68"/>
                        </a:lnTo>
                        <a:lnTo>
                          <a:pt x="34" y="68"/>
                        </a:lnTo>
                        <a:lnTo>
                          <a:pt x="40" y="68"/>
                        </a:lnTo>
                        <a:lnTo>
                          <a:pt x="40" y="68"/>
                        </a:lnTo>
                        <a:lnTo>
                          <a:pt x="50" y="70"/>
                        </a:lnTo>
                        <a:lnTo>
                          <a:pt x="54" y="74"/>
                        </a:lnTo>
                        <a:lnTo>
                          <a:pt x="56" y="76"/>
                        </a:lnTo>
                        <a:lnTo>
                          <a:pt x="58" y="80"/>
                        </a:lnTo>
                        <a:lnTo>
                          <a:pt x="60" y="84"/>
                        </a:lnTo>
                        <a:lnTo>
                          <a:pt x="62" y="86"/>
                        </a:lnTo>
                        <a:lnTo>
                          <a:pt x="66" y="86"/>
                        </a:lnTo>
                        <a:lnTo>
                          <a:pt x="74" y="82"/>
                        </a:lnTo>
                        <a:lnTo>
                          <a:pt x="74" y="82"/>
                        </a:lnTo>
                        <a:lnTo>
                          <a:pt x="86" y="78"/>
                        </a:lnTo>
                        <a:lnTo>
                          <a:pt x="98" y="76"/>
                        </a:lnTo>
                        <a:lnTo>
                          <a:pt x="122" y="72"/>
                        </a:lnTo>
                        <a:lnTo>
                          <a:pt x="132" y="70"/>
                        </a:lnTo>
                        <a:lnTo>
                          <a:pt x="138" y="68"/>
                        </a:lnTo>
                        <a:lnTo>
                          <a:pt x="142" y="64"/>
                        </a:lnTo>
                        <a:lnTo>
                          <a:pt x="140" y="60"/>
                        </a:lnTo>
                        <a:lnTo>
                          <a:pt x="140" y="60"/>
                        </a:lnTo>
                        <a:lnTo>
                          <a:pt x="138" y="54"/>
                        </a:lnTo>
                        <a:lnTo>
                          <a:pt x="140" y="52"/>
                        </a:lnTo>
                        <a:lnTo>
                          <a:pt x="146" y="46"/>
                        </a:lnTo>
                        <a:lnTo>
                          <a:pt x="150" y="42"/>
                        </a:lnTo>
                        <a:lnTo>
                          <a:pt x="150" y="40"/>
                        </a:lnTo>
                        <a:lnTo>
                          <a:pt x="148" y="36"/>
                        </a:lnTo>
                        <a:lnTo>
                          <a:pt x="140" y="32"/>
                        </a:lnTo>
                        <a:lnTo>
                          <a:pt x="140" y="32"/>
                        </a:lnTo>
                        <a:lnTo>
                          <a:pt x="128" y="26"/>
                        </a:lnTo>
                        <a:lnTo>
                          <a:pt x="122" y="24"/>
                        </a:lnTo>
                        <a:lnTo>
                          <a:pt x="110" y="24"/>
                        </a:lnTo>
                        <a:lnTo>
                          <a:pt x="100" y="22"/>
                        </a:lnTo>
                        <a:lnTo>
                          <a:pt x="92" y="20"/>
                        </a:lnTo>
                        <a:lnTo>
                          <a:pt x="82" y="14"/>
                        </a:lnTo>
                        <a:lnTo>
                          <a:pt x="82" y="14"/>
                        </a:lnTo>
                        <a:lnTo>
                          <a:pt x="68" y="8"/>
                        </a:lnTo>
                        <a:lnTo>
                          <a:pt x="56" y="2"/>
                        </a:lnTo>
                        <a:lnTo>
                          <a:pt x="42" y="0"/>
                        </a:lnTo>
                        <a:lnTo>
                          <a:pt x="30" y="0"/>
                        </a:lnTo>
                        <a:lnTo>
                          <a:pt x="18" y="0"/>
                        </a:lnTo>
                        <a:lnTo>
                          <a:pt x="10" y="4"/>
                        </a:lnTo>
                        <a:lnTo>
                          <a:pt x="8" y="8"/>
                        </a:lnTo>
                        <a:lnTo>
                          <a:pt x="8" y="12"/>
                        </a:lnTo>
                        <a:lnTo>
                          <a:pt x="8" y="14"/>
                        </a:lnTo>
                        <a:lnTo>
                          <a:pt x="8" y="14"/>
                        </a:lnTo>
                        <a:lnTo>
                          <a:pt x="10" y="20"/>
                        </a:lnTo>
                        <a:lnTo>
                          <a:pt x="10" y="24"/>
                        </a:lnTo>
                        <a:lnTo>
                          <a:pt x="6" y="28"/>
                        </a:lnTo>
                        <a:lnTo>
                          <a:pt x="2" y="30"/>
                        </a:lnTo>
                        <a:lnTo>
                          <a:pt x="0" y="30"/>
                        </a:lnTo>
                        <a:lnTo>
                          <a:pt x="0" y="32"/>
                        </a:lnTo>
                        <a:lnTo>
                          <a:pt x="14" y="38"/>
                        </a:lnTo>
                        <a:lnTo>
                          <a:pt x="14" y="3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9" name="Freeform 6033"/>
                  <p:cNvSpPr>
                    <a:spLocks/>
                  </p:cNvSpPr>
                  <p:nvPr/>
                </p:nvSpPr>
                <p:spPr bwMode="auto">
                  <a:xfrm>
                    <a:off x="646430" y="1806893"/>
                    <a:ext cx="15240" cy="8890"/>
                  </a:xfrm>
                  <a:custGeom>
                    <a:avLst/>
                    <a:gdLst/>
                    <a:ahLst/>
                    <a:cxnLst>
                      <a:cxn ang="0">
                        <a:pos x="14" y="0"/>
                      </a:cxn>
                      <a:cxn ang="0">
                        <a:pos x="14" y="0"/>
                      </a:cxn>
                      <a:cxn ang="0">
                        <a:pos x="6" y="0"/>
                      </a:cxn>
                      <a:cxn ang="0">
                        <a:pos x="2" y="2"/>
                      </a:cxn>
                      <a:cxn ang="0">
                        <a:pos x="0" y="6"/>
                      </a:cxn>
                      <a:cxn ang="0">
                        <a:pos x="2" y="12"/>
                      </a:cxn>
                      <a:cxn ang="0">
                        <a:pos x="2" y="12"/>
                      </a:cxn>
                      <a:cxn ang="0">
                        <a:pos x="4" y="14"/>
                      </a:cxn>
                      <a:cxn ang="0">
                        <a:pos x="8" y="14"/>
                      </a:cxn>
                      <a:cxn ang="0">
                        <a:pos x="20" y="8"/>
                      </a:cxn>
                      <a:cxn ang="0">
                        <a:pos x="20" y="8"/>
                      </a:cxn>
                      <a:cxn ang="0">
                        <a:pos x="24" y="6"/>
                      </a:cxn>
                      <a:cxn ang="0">
                        <a:pos x="24" y="4"/>
                      </a:cxn>
                      <a:cxn ang="0">
                        <a:pos x="20" y="2"/>
                      </a:cxn>
                      <a:cxn ang="0">
                        <a:pos x="14" y="0"/>
                      </a:cxn>
                      <a:cxn ang="0">
                        <a:pos x="14" y="0"/>
                      </a:cxn>
                    </a:cxnLst>
                    <a:rect l="0" t="0" r="r" b="b"/>
                    <a:pathLst>
                      <a:path w="24" h="14">
                        <a:moveTo>
                          <a:pt x="14" y="0"/>
                        </a:moveTo>
                        <a:lnTo>
                          <a:pt x="14" y="0"/>
                        </a:lnTo>
                        <a:lnTo>
                          <a:pt x="6" y="0"/>
                        </a:lnTo>
                        <a:lnTo>
                          <a:pt x="2" y="2"/>
                        </a:lnTo>
                        <a:lnTo>
                          <a:pt x="0" y="6"/>
                        </a:lnTo>
                        <a:lnTo>
                          <a:pt x="2" y="12"/>
                        </a:lnTo>
                        <a:lnTo>
                          <a:pt x="2" y="12"/>
                        </a:lnTo>
                        <a:lnTo>
                          <a:pt x="4" y="14"/>
                        </a:lnTo>
                        <a:lnTo>
                          <a:pt x="8" y="14"/>
                        </a:lnTo>
                        <a:lnTo>
                          <a:pt x="20" y="8"/>
                        </a:lnTo>
                        <a:lnTo>
                          <a:pt x="20" y="8"/>
                        </a:lnTo>
                        <a:lnTo>
                          <a:pt x="24" y="6"/>
                        </a:lnTo>
                        <a:lnTo>
                          <a:pt x="24" y="4"/>
                        </a:lnTo>
                        <a:lnTo>
                          <a:pt x="20" y="2"/>
                        </a:lnTo>
                        <a:lnTo>
                          <a:pt x="14" y="0"/>
                        </a:lnTo>
                        <a:lnTo>
                          <a:pt x="1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0" name="Freeform 6037"/>
                  <p:cNvSpPr>
                    <a:spLocks/>
                  </p:cNvSpPr>
                  <p:nvPr/>
                </p:nvSpPr>
                <p:spPr bwMode="auto">
                  <a:xfrm>
                    <a:off x="615950" y="1811973"/>
                    <a:ext cx="24130" cy="22860"/>
                  </a:xfrm>
                  <a:custGeom>
                    <a:avLst/>
                    <a:gdLst/>
                    <a:ahLst/>
                    <a:cxnLst>
                      <a:cxn ang="0">
                        <a:pos x="28" y="2"/>
                      </a:cxn>
                      <a:cxn ang="0">
                        <a:pos x="28" y="2"/>
                      </a:cxn>
                      <a:cxn ang="0">
                        <a:pos x="18" y="16"/>
                      </a:cxn>
                      <a:cxn ang="0">
                        <a:pos x="0" y="34"/>
                      </a:cxn>
                      <a:cxn ang="0">
                        <a:pos x="0" y="34"/>
                      </a:cxn>
                      <a:cxn ang="0">
                        <a:pos x="0" y="36"/>
                      </a:cxn>
                      <a:cxn ang="0">
                        <a:pos x="4" y="36"/>
                      </a:cxn>
                      <a:cxn ang="0">
                        <a:pos x="16" y="32"/>
                      </a:cxn>
                      <a:cxn ang="0">
                        <a:pos x="16" y="32"/>
                      </a:cxn>
                      <a:cxn ang="0">
                        <a:pos x="20" y="30"/>
                      </a:cxn>
                      <a:cxn ang="0">
                        <a:pos x="22" y="26"/>
                      </a:cxn>
                      <a:cxn ang="0">
                        <a:pos x="26" y="20"/>
                      </a:cxn>
                      <a:cxn ang="0">
                        <a:pos x="32" y="12"/>
                      </a:cxn>
                      <a:cxn ang="0">
                        <a:pos x="32" y="12"/>
                      </a:cxn>
                      <a:cxn ang="0">
                        <a:pos x="36" y="4"/>
                      </a:cxn>
                      <a:cxn ang="0">
                        <a:pos x="38" y="2"/>
                      </a:cxn>
                      <a:cxn ang="0">
                        <a:pos x="36" y="0"/>
                      </a:cxn>
                      <a:cxn ang="0">
                        <a:pos x="32" y="0"/>
                      </a:cxn>
                      <a:cxn ang="0">
                        <a:pos x="28" y="2"/>
                      </a:cxn>
                      <a:cxn ang="0">
                        <a:pos x="28" y="2"/>
                      </a:cxn>
                    </a:cxnLst>
                    <a:rect l="0" t="0" r="r" b="b"/>
                    <a:pathLst>
                      <a:path w="38" h="36">
                        <a:moveTo>
                          <a:pt x="28" y="2"/>
                        </a:moveTo>
                        <a:lnTo>
                          <a:pt x="28" y="2"/>
                        </a:lnTo>
                        <a:lnTo>
                          <a:pt x="18" y="16"/>
                        </a:lnTo>
                        <a:lnTo>
                          <a:pt x="0" y="34"/>
                        </a:lnTo>
                        <a:lnTo>
                          <a:pt x="0" y="34"/>
                        </a:lnTo>
                        <a:lnTo>
                          <a:pt x="0" y="36"/>
                        </a:lnTo>
                        <a:lnTo>
                          <a:pt x="4" y="36"/>
                        </a:lnTo>
                        <a:lnTo>
                          <a:pt x="16" y="32"/>
                        </a:lnTo>
                        <a:lnTo>
                          <a:pt x="16" y="32"/>
                        </a:lnTo>
                        <a:lnTo>
                          <a:pt x="20" y="30"/>
                        </a:lnTo>
                        <a:lnTo>
                          <a:pt x="22" y="26"/>
                        </a:lnTo>
                        <a:lnTo>
                          <a:pt x="26" y="20"/>
                        </a:lnTo>
                        <a:lnTo>
                          <a:pt x="32" y="12"/>
                        </a:lnTo>
                        <a:lnTo>
                          <a:pt x="32" y="12"/>
                        </a:lnTo>
                        <a:lnTo>
                          <a:pt x="36" y="4"/>
                        </a:lnTo>
                        <a:lnTo>
                          <a:pt x="38" y="2"/>
                        </a:lnTo>
                        <a:lnTo>
                          <a:pt x="36" y="0"/>
                        </a:lnTo>
                        <a:lnTo>
                          <a:pt x="32" y="0"/>
                        </a:lnTo>
                        <a:lnTo>
                          <a:pt x="28" y="2"/>
                        </a:lnTo>
                        <a:lnTo>
                          <a:pt x="28"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1" name="Freeform 6054"/>
                  <p:cNvSpPr>
                    <a:spLocks/>
                  </p:cNvSpPr>
                  <p:nvPr/>
                </p:nvSpPr>
                <p:spPr bwMode="auto">
                  <a:xfrm>
                    <a:off x="1395730" y="1058863"/>
                    <a:ext cx="317500" cy="121920"/>
                  </a:xfrm>
                  <a:custGeom>
                    <a:avLst/>
                    <a:gdLst/>
                    <a:ahLst/>
                    <a:cxnLst>
                      <a:cxn ang="0">
                        <a:pos x="314" y="78"/>
                      </a:cxn>
                      <a:cxn ang="0">
                        <a:pos x="338" y="86"/>
                      </a:cxn>
                      <a:cxn ang="0">
                        <a:pos x="354" y="100"/>
                      </a:cxn>
                      <a:cxn ang="0">
                        <a:pos x="340" y="106"/>
                      </a:cxn>
                      <a:cxn ang="0">
                        <a:pos x="280" y="102"/>
                      </a:cxn>
                      <a:cxn ang="0">
                        <a:pos x="258" y="102"/>
                      </a:cxn>
                      <a:cxn ang="0">
                        <a:pos x="236" y="72"/>
                      </a:cxn>
                      <a:cxn ang="0">
                        <a:pos x="186" y="46"/>
                      </a:cxn>
                      <a:cxn ang="0">
                        <a:pos x="154" y="54"/>
                      </a:cxn>
                      <a:cxn ang="0">
                        <a:pos x="138" y="36"/>
                      </a:cxn>
                      <a:cxn ang="0">
                        <a:pos x="102" y="32"/>
                      </a:cxn>
                      <a:cxn ang="0">
                        <a:pos x="42" y="58"/>
                      </a:cxn>
                      <a:cxn ang="0">
                        <a:pos x="46" y="66"/>
                      </a:cxn>
                      <a:cxn ang="0">
                        <a:pos x="22" y="88"/>
                      </a:cxn>
                      <a:cxn ang="0">
                        <a:pos x="24" y="98"/>
                      </a:cxn>
                      <a:cxn ang="0">
                        <a:pos x="14" y="110"/>
                      </a:cxn>
                      <a:cxn ang="0">
                        <a:pos x="6" y="132"/>
                      </a:cxn>
                      <a:cxn ang="0">
                        <a:pos x="66" y="146"/>
                      </a:cxn>
                      <a:cxn ang="0">
                        <a:pos x="94" y="138"/>
                      </a:cxn>
                      <a:cxn ang="0">
                        <a:pos x="106" y="146"/>
                      </a:cxn>
                      <a:cxn ang="0">
                        <a:pos x="124" y="148"/>
                      </a:cxn>
                      <a:cxn ang="0">
                        <a:pos x="144" y="126"/>
                      </a:cxn>
                      <a:cxn ang="0">
                        <a:pos x="152" y="130"/>
                      </a:cxn>
                      <a:cxn ang="0">
                        <a:pos x="158" y="140"/>
                      </a:cxn>
                      <a:cxn ang="0">
                        <a:pos x="232" y="132"/>
                      </a:cxn>
                      <a:cxn ang="0">
                        <a:pos x="264" y="134"/>
                      </a:cxn>
                      <a:cxn ang="0">
                        <a:pos x="212" y="148"/>
                      </a:cxn>
                      <a:cxn ang="0">
                        <a:pos x="144" y="160"/>
                      </a:cxn>
                      <a:cxn ang="0">
                        <a:pos x="134" y="176"/>
                      </a:cxn>
                      <a:cxn ang="0">
                        <a:pos x="166" y="190"/>
                      </a:cxn>
                      <a:cxn ang="0">
                        <a:pos x="234" y="184"/>
                      </a:cxn>
                      <a:cxn ang="0">
                        <a:pos x="296" y="164"/>
                      </a:cxn>
                      <a:cxn ang="0">
                        <a:pos x="350" y="146"/>
                      </a:cxn>
                      <a:cxn ang="0">
                        <a:pos x="378" y="152"/>
                      </a:cxn>
                      <a:cxn ang="0">
                        <a:pos x="394" y="144"/>
                      </a:cxn>
                      <a:cxn ang="0">
                        <a:pos x="420" y="150"/>
                      </a:cxn>
                      <a:cxn ang="0">
                        <a:pos x="460" y="138"/>
                      </a:cxn>
                      <a:cxn ang="0">
                        <a:pos x="492" y="106"/>
                      </a:cxn>
                      <a:cxn ang="0">
                        <a:pos x="498" y="84"/>
                      </a:cxn>
                      <a:cxn ang="0">
                        <a:pos x="470" y="68"/>
                      </a:cxn>
                      <a:cxn ang="0">
                        <a:pos x="436" y="70"/>
                      </a:cxn>
                      <a:cxn ang="0">
                        <a:pos x="398" y="80"/>
                      </a:cxn>
                      <a:cxn ang="0">
                        <a:pos x="400" y="68"/>
                      </a:cxn>
                      <a:cxn ang="0">
                        <a:pos x="384" y="60"/>
                      </a:cxn>
                      <a:cxn ang="0">
                        <a:pos x="384" y="52"/>
                      </a:cxn>
                      <a:cxn ang="0">
                        <a:pos x="382" y="40"/>
                      </a:cxn>
                      <a:cxn ang="0">
                        <a:pos x="370" y="18"/>
                      </a:cxn>
                      <a:cxn ang="0">
                        <a:pos x="358" y="0"/>
                      </a:cxn>
                      <a:cxn ang="0">
                        <a:pos x="300" y="28"/>
                      </a:cxn>
                      <a:cxn ang="0">
                        <a:pos x="290" y="40"/>
                      </a:cxn>
                      <a:cxn ang="0">
                        <a:pos x="318" y="54"/>
                      </a:cxn>
                      <a:cxn ang="0">
                        <a:pos x="328" y="66"/>
                      </a:cxn>
                    </a:cxnLst>
                    <a:rect l="0" t="0" r="r" b="b"/>
                    <a:pathLst>
                      <a:path w="500" h="192">
                        <a:moveTo>
                          <a:pt x="322" y="70"/>
                        </a:moveTo>
                        <a:lnTo>
                          <a:pt x="322" y="70"/>
                        </a:lnTo>
                        <a:lnTo>
                          <a:pt x="316" y="76"/>
                        </a:lnTo>
                        <a:lnTo>
                          <a:pt x="314" y="78"/>
                        </a:lnTo>
                        <a:lnTo>
                          <a:pt x="316" y="80"/>
                        </a:lnTo>
                        <a:lnTo>
                          <a:pt x="320" y="82"/>
                        </a:lnTo>
                        <a:lnTo>
                          <a:pt x="330" y="84"/>
                        </a:lnTo>
                        <a:lnTo>
                          <a:pt x="338" y="86"/>
                        </a:lnTo>
                        <a:lnTo>
                          <a:pt x="348" y="90"/>
                        </a:lnTo>
                        <a:lnTo>
                          <a:pt x="354" y="94"/>
                        </a:lnTo>
                        <a:lnTo>
                          <a:pt x="356" y="96"/>
                        </a:lnTo>
                        <a:lnTo>
                          <a:pt x="354" y="100"/>
                        </a:lnTo>
                        <a:lnTo>
                          <a:pt x="354" y="100"/>
                        </a:lnTo>
                        <a:lnTo>
                          <a:pt x="352" y="104"/>
                        </a:lnTo>
                        <a:lnTo>
                          <a:pt x="346" y="108"/>
                        </a:lnTo>
                        <a:lnTo>
                          <a:pt x="340" y="106"/>
                        </a:lnTo>
                        <a:lnTo>
                          <a:pt x="332" y="106"/>
                        </a:lnTo>
                        <a:lnTo>
                          <a:pt x="310" y="102"/>
                        </a:lnTo>
                        <a:lnTo>
                          <a:pt x="296" y="100"/>
                        </a:lnTo>
                        <a:lnTo>
                          <a:pt x="280" y="102"/>
                        </a:lnTo>
                        <a:lnTo>
                          <a:pt x="280" y="102"/>
                        </a:lnTo>
                        <a:lnTo>
                          <a:pt x="268" y="104"/>
                        </a:lnTo>
                        <a:lnTo>
                          <a:pt x="260" y="104"/>
                        </a:lnTo>
                        <a:lnTo>
                          <a:pt x="258" y="102"/>
                        </a:lnTo>
                        <a:lnTo>
                          <a:pt x="256" y="98"/>
                        </a:lnTo>
                        <a:lnTo>
                          <a:pt x="252" y="90"/>
                        </a:lnTo>
                        <a:lnTo>
                          <a:pt x="246" y="82"/>
                        </a:lnTo>
                        <a:lnTo>
                          <a:pt x="236" y="72"/>
                        </a:lnTo>
                        <a:lnTo>
                          <a:pt x="220" y="60"/>
                        </a:lnTo>
                        <a:lnTo>
                          <a:pt x="220" y="60"/>
                        </a:lnTo>
                        <a:lnTo>
                          <a:pt x="200" y="50"/>
                        </a:lnTo>
                        <a:lnTo>
                          <a:pt x="186" y="46"/>
                        </a:lnTo>
                        <a:lnTo>
                          <a:pt x="174" y="46"/>
                        </a:lnTo>
                        <a:lnTo>
                          <a:pt x="166" y="50"/>
                        </a:lnTo>
                        <a:lnTo>
                          <a:pt x="160" y="52"/>
                        </a:lnTo>
                        <a:lnTo>
                          <a:pt x="154" y="54"/>
                        </a:lnTo>
                        <a:lnTo>
                          <a:pt x="150" y="52"/>
                        </a:lnTo>
                        <a:lnTo>
                          <a:pt x="144" y="44"/>
                        </a:lnTo>
                        <a:lnTo>
                          <a:pt x="144" y="44"/>
                        </a:lnTo>
                        <a:lnTo>
                          <a:pt x="138" y="36"/>
                        </a:lnTo>
                        <a:lnTo>
                          <a:pt x="130" y="30"/>
                        </a:lnTo>
                        <a:lnTo>
                          <a:pt x="122" y="30"/>
                        </a:lnTo>
                        <a:lnTo>
                          <a:pt x="112" y="30"/>
                        </a:lnTo>
                        <a:lnTo>
                          <a:pt x="102" y="32"/>
                        </a:lnTo>
                        <a:lnTo>
                          <a:pt x="88" y="38"/>
                        </a:lnTo>
                        <a:lnTo>
                          <a:pt x="60" y="50"/>
                        </a:lnTo>
                        <a:lnTo>
                          <a:pt x="60" y="50"/>
                        </a:lnTo>
                        <a:lnTo>
                          <a:pt x="42" y="58"/>
                        </a:lnTo>
                        <a:lnTo>
                          <a:pt x="40" y="60"/>
                        </a:lnTo>
                        <a:lnTo>
                          <a:pt x="42" y="60"/>
                        </a:lnTo>
                        <a:lnTo>
                          <a:pt x="44" y="64"/>
                        </a:lnTo>
                        <a:lnTo>
                          <a:pt x="46" y="66"/>
                        </a:lnTo>
                        <a:lnTo>
                          <a:pt x="42" y="72"/>
                        </a:lnTo>
                        <a:lnTo>
                          <a:pt x="32" y="80"/>
                        </a:lnTo>
                        <a:lnTo>
                          <a:pt x="32" y="80"/>
                        </a:lnTo>
                        <a:lnTo>
                          <a:pt x="22" y="88"/>
                        </a:lnTo>
                        <a:lnTo>
                          <a:pt x="20" y="94"/>
                        </a:lnTo>
                        <a:lnTo>
                          <a:pt x="20" y="96"/>
                        </a:lnTo>
                        <a:lnTo>
                          <a:pt x="22" y="98"/>
                        </a:lnTo>
                        <a:lnTo>
                          <a:pt x="24" y="98"/>
                        </a:lnTo>
                        <a:lnTo>
                          <a:pt x="26" y="100"/>
                        </a:lnTo>
                        <a:lnTo>
                          <a:pt x="22" y="104"/>
                        </a:lnTo>
                        <a:lnTo>
                          <a:pt x="14" y="110"/>
                        </a:lnTo>
                        <a:lnTo>
                          <a:pt x="14" y="110"/>
                        </a:lnTo>
                        <a:lnTo>
                          <a:pt x="4" y="118"/>
                        </a:lnTo>
                        <a:lnTo>
                          <a:pt x="0" y="124"/>
                        </a:lnTo>
                        <a:lnTo>
                          <a:pt x="2" y="128"/>
                        </a:lnTo>
                        <a:lnTo>
                          <a:pt x="6" y="132"/>
                        </a:lnTo>
                        <a:lnTo>
                          <a:pt x="26" y="138"/>
                        </a:lnTo>
                        <a:lnTo>
                          <a:pt x="54" y="144"/>
                        </a:lnTo>
                        <a:lnTo>
                          <a:pt x="54" y="144"/>
                        </a:lnTo>
                        <a:lnTo>
                          <a:pt x="66" y="146"/>
                        </a:lnTo>
                        <a:lnTo>
                          <a:pt x="76" y="146"/>
                        </a:lnTo>
                        <a:lnTo>
                          <a:pt x="84" y="144"/>
                        </a:lnTo>
                        <a:lnTo>
                          <a:pt x="88" y="142"/>
                        </a:lnTo>
                        <a:lnTo>
                          <a:pt x="94" y="138"/>
                        </a:lnTo>
                        <a:lnTo>
                          <a:pt x="96" y="136"/>
                        </a:lnTo>
                        <a:lnTo>
                          <a:pt x="98" y="140"/>
                        </a:lnTo>
                        <a:lnTo>
                          <a:pt x="98" y="140"/>
                        </a:lnTo>
                        <a:lnTo>
                          <a:pt x="106" y="146"/>
                        </a:lnTo>
                        <a:lnTo>
                          <a:pt x="110" y="148"/>
                        </a:lnTo>
                        <a:lnTo>
                          <a:pt x="114" y="150"/>
                        </a:lnTo>
                        <a:lnTo>
                          <a:pt x="118" y="150"/>
                        </a:lnTo>
                        <a:lnTo>
                          <a:pt x="124" y="148"/>
                        </a:lnTo>
                        <a:lnTo>
                          <a:pt x="128" y="144"/>
                        </a:lnTo>
                        <a:lnTo>
                          <a:pt x="134" y="138"/>
                        </a:lnTo>
                        <a:lnTo>
                          <a:pt x="134" y="138"/>
                        </a:lnTo>
                        <a:lnTo>
                          <a:pt x="144" y="126"/>
                        </a:lnTo>
                        <a:lnTo>
                          <a:pt x="150" y="122"/>
                        </a:lnTo>
                        <a:lnTo>
                          <a:pt x="152" y="122"/>
                        </a:lnTo>
                        <a:lnTo>
                          <a:pt x="154" y="124"/>
                        </a:lnTo>
                        <a:lnTo>
                          <a:pt x="152" y="130"/>
                        </a:lnTo>
                        <a:lnTo>
                          <a:pt x="152" y="130"/>
                        </a:lnTo>
                        <a:lnTo>
                          <a:pt x="150" y="134"/>
                        </a:lnTo>
                        <a:lnTo>
                          <a:pt x="154" y="138"/>
                        </a:lnTo>
                        <a:lnTo>
                          <a:pt x="158" y="140"/>
                        </a:lnTo>
                        <a:lnTo>
                          <a:pt x="166" y="142"/>
                        </a:lnTo>
                        <a:lnTo>
                          <a:pt x="192" y="140"/>
                        </a:lnTo>
                        <a:lnTo>
                          <a:pt x="232" y="132"/>
                        </a:lnTo>
                        <a:lnTo>
                          <a:pt x="232" y="132"/>
                        </a:lnTo>
                        <a:lnTo>
                          <a:pt x="252" y="130"/>
                        </a:lnTo>
                        <a:lnTo>
                          <a:pt x="262" y="130"/>
                        </a:lnTo>
                        <a:lnTo>
                          <a:pt x="266" y="130"/>
                        </a:lnTo>
                        <a:lnTo>
                          <a:pt x="264" y="134"/>
                        </a:lnTo>
                        <a:lnTo>
                          <a:pt x="256" y="138"/>
                        </a:lnTo>
                        <a:lnTo>
                          <a:pt x="244" y="142"/>
                        </a:lnTo>
                        <a:lnTo>
                          <a:pt x="228" y="144"/>
                        </a:lnTo>
                        <a:lnTo>
                          <a:pt x="212" y="148"/>
                        </a:lnTo>
                        <a:lnTo>
                          <a:pt x="212" y="148"/>
                        </a:lnTo>
                        <a:lnTo>
                          <a:pt x="176" y="152"/>
                        </a:lnTo>
                        <a:lnTo>
                          <a:pt x="158" y="156"/>
                        </a:lnTo>
                        <a:lnTo>
                          <a:pt x="144" y="160"/>
                        </a:lnTo>
                        <a:lnTo>
                          <a:pt x="136" y="166"/>
                        </a:lnTo>
                        <a:lnTo>
                          <a:pt x="134" y="168"/>
                        </a:lnTo>
                        <a:lnTo>
                          <a:pt x="134" y="172"/>
                        </a:lnTo>
                        <a:lnTo>
                          <a:pt x="134" y="176"/>
                        </a:lnTo>
                        <a:lnTo>
                          <a:pt x="138" y="178"/>
                        </a:lnTo>
                        <a:lnTo>
                          <a:pt x="152" y="186"/>
                        </a:lnTo>
                        <a:lnTo>
                          <a:pt x="152" y="186"/>
                        </a:lnTo>
                        <a:lnTo>
                          <a:pt x="166" y="190"/>
                        </a:lnTo>
                        <a:lnTo>
                          <a:pt x="178" y="192"/>
                        </a:lnTo>
                        <a:lnTo>
                          <a:pt x="192" y="192"/>
                        </a:lnTo>
                        <a:lnTo>
                          <a:pt x="206" y="190"/>
                        </a:lnTo>
                        <a:lnTo>
                          <a:pt x="234" y="184"/>
                        </a:lnTo>
                        <a:lnTo>
                          <a:pt x="266" y="174"/>
                        </a:lnTo>
                        <a:lnTo>
                          <a:pt x="266" y="174"/>
                        </a:lnTo>
                        <a:lnTo>
                          <a:pt x="282" y="170"/>
                        </a:lnTo>
                        <a:lnTo>
                          <a:pt x="296" y="164"/>
                        </a:lnTo>
                        <a:lnTo>
                          <a:pt x="318" y="154"/>
                        </a:lnTo>
                        <a:lnTo>
                          <a:pt x="328" y="150"/>
                        </a:lnTo>
                        <a:lnTo>
                          <a:pt x="338" y="146"/>
                        </a:lnTo>
                        <a:lnTo>
                          <a:pt x="350" y="146"/>
                        </a:lnTo>
                        <a:lnTo>
                          <a:pt x="360" y="148"/>
                        </a:lnTo>
                        <a:lnTo>
                          <a:pt x="360" y="148"/>
                        </a:lnTo>
                        <a:lnTo>
                          <a:pt x="370" y="150"/>
                        </a:lnTo>
                        <a:lnTo>
                          <a:pt x="378" y="152"/>
                        </a:lnTo>
                        <a:lnTo>
                          <a:pt x="382" y="150"/>
                        </a:lnTo>
                        <a:lnTo>
                          <a:pt x="386" y="148"/>
                        </a:lnTo>
                        <a:lnTo>
                          <a:pt x="388" y="146"/>
                        </a:lnTo>
                        <a:lnTo>
                          <a:pt x="394" y="144"/>
                        </a:lnTo>
                        <a:lnTo>
                          <a:pt x="400" y="144"/>
                        </a:lnTo>
                        <a:lnTo>
                          <a:pt x="410" y="146"/>
                        </a:lnTo>
                        <a:lnTo>
                          <a:pt x="410" y="146"/>
                        </a:lnTo>
                        <a:lnTo>
                          <a:pt x="420" y="150"/>
                        </a:lnTo>
                        <a:lnTo>
                          <a:pt x="430" y="150"/>
                        </a:lnTo>
                        <a:lnTo>
                          <a:pt x="440" y="148"/>
                        </a:lnTo>
                        <a:lnTo>
                          <a:pt x="450" y="144"/>
                        </a:lnTo>
                        <a:lnTo>
                          <a:pt x="460" y="138"/>
                        </a:lnTo>
                        <a:lnTo>
                          <a:pt x="470" y="130"/>
                        </a:lnTo>
                        <a:lnTo>
                          <a:pt x="482" y="120"/>
                        </a:lnTo>
                        <a:lnTo>
                          <a:pt x="492" y="106"/>
                        </a:lnTo>
                        <a:lnTo>
                          <a:pt x="492" y="106"/>
                        </a:lnTo>
                        <a:lnTo>
                          <a:pt x="496" y="100"/>
                        </a:lnTo>
                        <a:lnTo>
                          <a:pt x="500" y="94"/>
                        </a:lnTo>
                        <a:lnTo>
                          <a:pt x="500" y="88"/>
                        </a:lnTo>
                        <a:lnTo>
                          <a:pt x="498" y="84"/>
                        </a:lnTo>
                        <a:lnTo>
                          <a:pt x="496" y="80"/>
                        </a:lnTo>
                        <a:lnTo>
                          <a:pt x="492" y="76"/>
                        </a:lnTo>
                        <a:lnTo>
                          <a:pt x="482" y="70"/>
                        </a:lnTo>
                        <a:lnTo>
                          <a:pt x="470" y="68"/>
                        </a:lnTo>
                        <a:lnTo>
                          <a:pt x="456" y="66"/>
                        </a:lnTo>
                        <a:lnTo>
                          <a:pt x="444" y="68"/>
                        </a:lnTo>
                        <a:lnTo>
                          <a:pt x="436" y="70"/>
                        </a:lnTo>
                        <a:lnTo>
                          <a:pt x="436" y="70"/>
                        </a:lnTo>
                        <a:lnTo>
                          <a:pt x="420" y="76"/>
                        </a:lnTo>
                        <a:lnTo>
                          <a:pt x="406" y="80"/>
                        </a:lnTo>
                        <a:lnTo>
                          <a:pt x="402" y="82"/>
                        </a:lnTo>
                        <a:lnTo>
                          <a:pt x="398" y="80"/>
                        </a:lnTo>
                        <a:lnTo>
                          <a:pt x="398" y="78"/>
                        </a:lnTo>
                        <a:lnTo>
                          <a:pt x="400" y="72"/>
                        </a:lnTo>
                        <a:lnTo>
                          <a:pt x="400" y="72"/>
                        </a:lnTo>
                        <a:lnTo>
                          <a:pt x="400" y="68"/>
                        </a:lnTo>
                        <a:lnTo>
                          <a:pt x="398" y="64"/>
                        </a:lnTo>
                        <a:lnTo>
                          <a:pt x="394" y="62"/>
                        </a:lnTo>
                        <a:lnTo>
                          <a:pt x="390" y="62"/>
                        </a:lnTo>
                        <a:lnTo>
                          <a:pt x="384" y="60"/>
                        </a:lnTo>
                        <a:lnTo>
                          <a:pt x="380" y="60"/>
                        </a:lnTo>
                        <a:lnTo>
                          <a:pt x="380" y="56"/>
                        </a:lnTo>
                        <a:lnTo>
                          <a:pt x="384" y="52"/>
                        </a:lnTo>
                        <a:lnTo>
                          <a:pt x="384" y="52"/>
                        </a:lnTo>
                        <a:lnTo>
                          <a:pt x="388" y="46"/>
                        </a:lnTo>
                        <a:lnTo>
                          <a:pt x="388" y="44"/>
                        </a:lnTo>
                        <a:lnTo>
                          <a:pt x="386" y="42"/>
                        </a:lnTo>
                        <a:lnTo>
                          <a:pt x="382" y="40"/>
                        </a:lnTo>
                        <a:lnTo>
                          <a:pt x="378" y="38"/>
                        </a:lnTo>
                        <a:lnTo>
                          <a:pt x="374" y="34"/>
                        </a:lnTo>
                        <a:lnTo>
                          <a:pt x="372" y="28"/>
                        </a:lnTo>
                        <a:lnTo>
                          <a:pt x="370" y="18"/>
                        </a:lnTo>
                        <a:lnTo>
                          <a:pt x="370" y="18"/>
                        </a:lnTo>
                        <a:lnTo>
                          <a:pt x="368" y="8"/>
                        </a:lnTo>
                        <a:lnTo>
                          <a:pt x="364" y="2"/>
                        </a:lnTo>
                        <a:lnTo>
                          <a:pt x="358" y="0"/>
                        </a:lnTo>
                        <a:lnTo>
                          <a:pt x="350" y="2"/>
                        </a:lnTo>
                        <a:lnTo>
                          <a:pt x="340" y="6"/>
                        </a:lnTo>
                        <a:lnTo>
                          <a:pt x="328" y="12"/>
                        </a:lnTo>
                        <a:lnTo>
                          <a:pt x="300" y="28"/>
                        </a:lnTo>
                        <a:lnTo>
                          <a:pt x="300" y="28"/>
                        </a:lnTo>
                        <a:lnTo>
                          <a:pt x="294" y="32"/>
                        </a:lnTo>
                        <a:lnTo>
                          <a:pt x="292" y="36"/>
                        </a:lnTo>
                        <a:lnTo>
                          <a:pt x="290" y="40"/>
                        </a:lnTo>
                        <a:lnTo>
                          <a:pt x="292" y="42"/>
                        </a:lnTo>
                        <a:lnTo>
                          <a:pt x="298" y="46"/>
                        </a:lnTo>
                        <a:lnTo>
                          <a:pt x="308" y="50"/>
                        </a:lnTo>
                        <a:lnTo>
                          <a:pt x="318" y="54"/>
                        </a:lnTo>
                        <a:lnTo>
                          <a:pt x="326" y="58"/>
                        </a:lnTo>
                        <a:lnTo>
                          <a:pt x="328" y="60"/>
                        </a:lnTo>
                        <a:lnTo>
                          <a:pt x="328" y="64"/>
                        </a:lnTo>
                        <a:lnTo>
                          <a:pt x="328" y="66"/>
                        </a:lnTo>
                        <a:lnTo>
                          <a:pt x="322" y="70"/>
                        </a:lnTo>
                        <a:lnTo>
                          <a:pt x="322" y="7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2" name="Freeform 6074"/>
                  <p:cNvSpPr>
                    <a:spLocks/>
                  </p:cNvSpPr>
                  <p:nvPr/>
                </p:nvSpPr>
                <p:spPr bwMode="auto">
                  <a:xfrm>
                    <a:off x="2233930" y="3139123"/>
                    <a:ext cx="278130" cy="109220"/>
                  </a:xfrm>
                  <a:custGeom>
                    <a:avLst/>
                    <a:gdLst/>
                    <a:ahLst/>
                    <a:cxnLst>
                      <a:cxn ang="0">
                        <a:pos x="416" y="160"/>
                      </a:cxn>
                      <a:cxn ang="0">
                        <a:pos x="436" y="156"/>
                      </a:cxn>
                      <a:cxn ang="0">
                        <a:pos x="428" y="148"/>
                      </a:cxn>
                      <a:cxn ang="0">
                        <a:pos x="414" y="136"/>
                      </a:cxn>
                      <a:cxn ang="0">
                        <a:pos x="384" y="126"/>
                      </a:cxn>
                      <a:cxn ang="0">
                        <a:pos x="374" y="120"/>
                      </a:cxn>
                      <a:cxn ang="0">
                        <a:pos x="376" y="108"/>
                      </a:cxn>
                      <a:cxn ang="0">
                        <a:pos x="358" y="106"/>
                      </a:cxn>
                      <a:cxn ang="0">
                        <a:pos x="350" y="100"/>
                      </a:cxn>
                      <a:cxn ang="0">
                        <a:pos x="338" y="100"/>
                      </a:cxn>
                      <a:cxn ang="0">
                        <a:pos x="326" y="92"/>
                      </a:cxn>
                      <a:cxn ang="0">
                        <a:pos x="300" y="68"/>
                      </a:cxn>
                      <a:cxn ang="0">
                        <a:pos x="300" y="76"/>
                      </a:cxn>
                      <a:cxn ang="0">
                        <a:pos x="292" y="64"/>
                      </a:cxn>
                      <a:cxn ang="0">
                        <a:pos x="286" y="60"/>
                      </a:cxn>
                      <a:cxn ang="0">
                        <a:pos x="260" y="48"/>
                      </a:cxn>
                      <a:cxn ang="0">
                        <a:pos x="230" y="40"/>
                      </a:cxn>
                      <a:cxn ang="0">
                        <a:pos x="216" y="28"/>
                      </a:cxn>
                      <a:cxn ang="0">
                        <a:pos x="194" y="14"/>
                      </a:cxn>
                      <a:cxn ang="0">
                        <a:pos x="180" y="8"/>
                      </a:cxn>
                      <a:cxn ang="0">
                        <a:pos x="164" y="8"/>
                      </a:cxn>
                      <a:cxn ang="0">
                        <a:pos x="150" y="0"/>
                      </a:cxn>
                      <a:cxn ang="0">
                        <a:pos x="136" y="4"/>
                      </a:cxn>
                      <a:cxn ang="0">
                        <a:pos x="112" y="0"/>
                      </a:cxn>
                      <a:cxn ang="0">
                        <a:pos x="92" y="10"/>
                      </a:cxn>
                      <a:cxn ang="0">
                        <a:pos x="56" y="18"/>
                      </a:cxn>
                      <a:cxn ang="0">
                        <a:pos x="24" y="42"/>
                      </a:cxn>
                      <a:cxn ang="0">
                        <a:pos x="24" y="58"/>
                      </a:cxn>
                      <a:cxn ang="0">
                        <a:pos x="2" y="66"/>
                      </a:cxn>
                      <a:cxn ang="0">
                        <a:pos x="4" y="72"/>
                      </a:cxn>
                      <a:cxn ang="0">
                        <a:pos x="18" y="72"/>
                      </a:cxn>
                      <a:cxn ang="0">
                        <a:pos x="24" y="72"/>
                      </a:cxn>
                      <a:cxn ang="0">
                        <a:pos x="40" y="62"/>
                      </a:cxn>
                      <a:cxn ang="0">
                        <a:pos x="70" y="44"/>
                      </a:cxn>
                      <a:cxn ang="0">
                        <a:pos x="92" y="30"/>
                      </a:cxn>
                      <a:cxn ang="0">
                        <a:pos x="132" y="32"/>
                      </a:cxn>
                      <a:cxn ang="0">
                        <a:pos x="124" y="38"/>
                      </a:cxn>
                      <a:cxn ang="0">
                        <a:pos x="118" y="46"/>
                      </a:cxn>
                      <a:cxn ang="0">
                        <a:pos x="164" y="58"/>
                      </a:cxn>
                      <a:cxn ang="0">
                        <a:pos x="186" y="62"/>
                      </a:cxn>
                      <a:cxn ang="0">
                        <a:pos x="214" y="80"/>
                      </a:cxn>
                      <a:cxn ang="0">
                        <a:pos x="242" y="84"/>
                      </a:cxn>
                      <a:cxn ang="0">
                        <a:pos x="256" y="94"/>
                      </a:cxn>
                      <a:cxn ang="0">
                        <a:pos x="268" y="120"/>
                      </a:cxn>
                      <a:cxn ang="0">
                        <a:pos x="288" y="128"/>
                      </a:cxn>
                      <a:cxn ang="0">
                        <a:pos x="318" y="136"/>
                      </a:cxn>
                      <a:cxn ang="0">
                        <a:pos x="310" y="150"/>
                      </a:cxn>
                      <a:cxn ang="0">
                        <a:pos x="290" y="168"/>
                      </a:cxn>
                      <a:cxn ang="0">
                        <a:pos x="348" y="164"/>
                      </a:cxn>
                      <a:cxn ang="0">
                        <a:pos x="382" y="170"/>
                      </a:cxn>
                      <a:cxn ang="0">
                        <a:pos x="400" y="166"/>
                      </a:cxn>
                    </a:cxnLst>
                    <a:rect l="0" t="0" r="r" b="b"/>
                    <a:pathLst>
                      <a:path w="438" h="172">
                        <a:moveTo>
                          <a:pt x="400" y="166"/>
                        </a:moveTo>
                        <a:lnTo>
                          <a:pt x="400" y="166"/>
                        </a:lnTo>
                        <a:lnTo>
                          <a:pt x="410" y="162"/>
                        </a:lnTo>
                        <a:lnTo>
                          <a:pt x="416" y="160"/>
                        </a:lnTo>
                        <a:lnTo>
                          <a:pt x="426" y="160"/>
                        </a:lnTo>
                        <a:lnTo>
                          <a:pt x="432" y="162"/>
                        </a:lnTo>
                        <a:lnTo>
                          <a:pt x="436" y="156"/>
                        </a:lnTo>
                        <a:lnTo>
                          <a:pt x="436" y="156"/>
                        </a:lnTo>
                        <a:lnTo>
                          <a:pt x="438" y="152"/>
                        </a:lnTo>
                        <a:lnTo>
                          <a:pt x="438" y="150"/>
                        </a:lnTo>
                        <a:lnTo>
                          <a:pt x="434" y="150"/>
                        </a:lnTo>
                        <a:lnTo>
                          <a:pt x="428" y="148"/>
                        </a:lnTo>
                        <a:lnTo>
                          <a:pt x="424" y="146"/>
                        </a:lnTo>
                        <a:lnTo>
                          <a:pt x="420" y="144"/>
                        </a:lnTo>
                        <a:lnTo>
                          <a:pt x="420" y="144"/>
                        </a:lnTo>
                        <a:lnTo>
                          <a:pt x="414" y="136"/>
                        </a:lnTo>
                        <a:lnTo>
                          <a:pt x="410" y="132"/>
                        </a:lnTo>
                        <a:lnTo>
                          <a:pt x="400" y="128"/>
                        </a:lnTo>
                        <a:lnTo>
                          <a:pt x="384" y="126"/>
                        </a:lnTo>
                        <a:lnTo>
                          <a:pt x="384" y="126"/>
                        </a:lnTo>
                        <a:lnTo>
                          <a:pt x="372" y="124"/>
                        </a:lnTo>
                        <a:lnTo>
                          <a:pt x="370" y="124"/>
                        </a:lnTo>
                        <a:lnTo>
                          <a:pt x="372" y="122"/>
                        </a:lnTo>
                        <a:lnTo>
                          <a:pt x="374" y="120"/>
                        </a:lnTo>
                        <a:lnTo>
                          <a:pt x="376" y="116"/>
                        </a:lnTo>
                        <a:lnTo>
                          <a:pt x="376" y="112"/>
                        </a:lnTo>
                        <a:lnTo>
                          <a:pt x="376" y="112"/>
                        </a:lnTo>
                        <a:lnTo>
                          <a:pt x="376" y="108"/>
                        </a:lnTo>
                        <a:lnTo>
                          <a:pt x="374" y="108"/>
                        </a:lnTo>
                        <a:lnTo>
                          <a:pt x="368" y="106"/>
                        </a:lnTo>
                        <a:lnTo>
                          <a:pt x="362" y="106"/>
                        </a:lnTo>
                        <a:lnTo>
                          <a:pt x="358" y="106"/>
                        </a:lnTo>
                        <a:lnTo>
                          <a:pt x="356" y="104"/>
                        </a:lnTo>
                        <a:lnTo>
                          <a:pt x="356" y="104"/>
                        </a:lnTo>
                        <a:lnTo>
                          <a:pt x="352" y="102"/>
                        </a:lnTo>
                        <a:lnTo>
                          <a:pt x="350" y="100"/>
                        </a:lnTo>
                        <a:lnTo>
                          <a:pt x="344" y="102"/>
                        </a:lnTo>
                        <a:lnTo>
                          <a:pt x="340" y="102"/>
                        </a:lnTo>
                        <a:lnTo>
                          <a:pt x="338" y="102"/>
                        </a:lnTo>
                        <a:lnTo>
                          <a:pt x="338" y="100"/>
                        </a:lnTo>
                        <a:lnTo>
                          <a:pt x="338" y="100"/>
                        </a:lnTo>
                        <a:lnTo>
                          <a:pt x="334" y="96"/>
                        </a:lnTo>
                        <a:lnTo>
                          <a:pt x="332" y="94"/>
                        </a:lnTo>
                        <a:lnTo>
                          <a:pt x="326" y="92"/>
                        </a:lnTo>
                        <a:lnTo>
                          <a:pt x="320" y="86"/>
                        </a:lnTo>
                        <a:lnTo>
                          <a:pt x="320" y="86"/>
                        </a:lnTo>
                        <a:lnTo>
                          <a:pt x="304" y="70"/>
                        </a:lnTo>
                        <a:lnTo>
                          <a:pt x="300" y="68"/>
                        </a:lnTo>
                        <a:lnTo>
                          <a:pt x="300" y="70"/>
                        </a:lnTo>
                        <a:lnTo>
                          <a:pt x="300" y="72"/>
                        </a:lnTo>
                        <a:lnTo>
                          <a:pt x="300" y="72"/>
                        </a:lnTo>
                        <a:lnTo>
                          <a:pt x="300" y="76"/>
                        </a:lnTo>
                        <a:lnTo>
                          <a:pt x="300" y="76"/>
                        </a:lnTo>
                        <a:lnTo>
                          <a:pt x="296" y="76"/>
                        </a:lnTo>
                        <a:lnTo>
                          <a:pt x="294" y="70"/>
                        </a:lnTo>
                        <a:lnTo>
                          <a:pt x="292" y="64"/>
                        </a:lnTo>
                        <a:lnTo>
                          <a:pt x="292" y="64"/>
                        </a:lnTo>
                        <a:lnTo>
                          <a:pt x="292" y="62"/>
                        </a:lnTo>
                        <a:lnTo>
                          <a:pt x="292" y="60"/>
                        </a:lnTo>
                        <a:lnTo>
                          <a:pt x="286" y="60"/>
                        </a:lnTo>
                        <a:lnTo>
                          <a:pt x="276" y="56"/>
                        </a:lnTo>
                        <a:lnTo>
                          <a:pt x="268" y="54"/>
                        </a:lnTo>
                        <a:lnTo>
                          <a:pt x="260" y="48"/>
                        </a:lnTo>
                        <a:lnTo>
                          <a:pt x="260" y="48"/>
                        </a:lnTo>
                        <a:lnTo>
                          <a:pt x="252" y="42"/>
                        </a:lnTo>
                        <a:lnTo>
                          <a:pt x="244" y="40"/>
                        </a:lnTo>
                        <a:lnTo>
                          <a:pt x="234" y="40"/>
                        </a:lnTo>
                        <a:lnTo>
                          <a:pt x="230" y="40"/>
                        </a:lnTo>
                        <a:lnTo>
                          <a:pt x="226" y="38"/>
                        </a:lnTo>
                        <a:lnTo>
                          <a:pt x="220" y="34"/>
                        </a:lnTo>
                        <a:lnTo>
                          <a:pt x="216" y="28"/>
                        </a:lnTo>
                        <a:lnTo>
                          <a:pt x="216" y="28"/>
                        </a:lnTo>
                        <a:lnTo>
                          <a:pt x="210" y="20"/>
                        </a:lnTo>
                        <a:lnTo>
                          <a:pt x="204" y="16"/>
                        </a:lnTo>
                        <a:lnTo>
                          <a:pt x="200" y="14"/>
                        </a:lnTo>
                        <a:lnTo>
                          <a:pt x="194" y="14"/>
                        </a:lnTo>
                        <a:lnTo>
                          <a:pt x="186" y="14"/>
                        </a:lnTo>
                        <a:lnTo>
                          <a:pt x="182" y="12"/>
                        </a:lnTo>
                        <a:lnTo>
                          <a:pt x="180" y="8"/>
                        </a:lnTo>
                        <a:lnTo>
                          <a:pt x="180" y="8"/>
                        </a:lnTo>
                        <a:lnTo>
                          <a:pt x="176" y="6"/>
                        </a:lnTo>
                        <a:lnTo>
                          <a:pt x="174" y="4"/>
                        </a:lnTo>
                        <a:lnTo>
                          <a:pt x="168" y="6"/>
                        </a:lnTo>
                        <a:lnTo>
                          <a:pt x="164" y="8"/>
                        </a:lnTo>
                        <a:lnTo>
                          <a:pt x="160" y="6"/>
                        </a:lnTo>
                        <a:lnTo>
                          <a:pt x="156" y="4"/>
                        </a:lnTo>
                        <a:lnTo>
                          <a:pt x="156" y="4"/>
                        </a:lnTo>
                        <a:lnTo>
                          <a:pt x="150" y="0"/>
                        </a:lnTo>
                        <a:lnTo>
                          <a:pt x="148" y="2"/>
                        </a:lnTo>
                        <a:lnTo>
                          <a:pt x="146" y="2"/>
                        </a:lnTo>
                        <a:lnTo>
                          <a:pt x="142" y="4"/>
                        </a:lnTo>
                        <a:lnTo>
                          <a:pt x="136" y="4"/>
                        </a:lnTo>
                        <a:lnTo>
                          <a:pt x="126" y="2"/>
                        </a:lnTo>
                        <a:lnTo>
                          <a:pt x="126" y="2"/>
                        </a:lnTo>
                        <a:lnTo>
                          <a:pt x="118" y="0"/>
                        </a:lnTo>
                        <a:lnTo>
                          <a:pt x="112" y="0"/>
                        </a:lnTo>
                        <a:lnTo>
                          <a:pt x="108" y="2"/>
                        </a:lnTo>
                        <a:lnTo>
                          <a:pt x="104" y="4"/>
                        </a:lnTo>
                        <a:lnTo>
                          <a:pt x="98" y="8"/>
                        </a:lnTo>
                        <a:lnTo>
                          <a:pt x="92" y="10"/>
                        </a:lnTo>
                        <a:lnTo>
                          <a:pt x="86" y="10"/>
                        </a:lnTo>
                        <a:lnTo>
                          <a:pt x="86" y="10"/>
                        </a:lnTo>
                        <a:lnTo>
                          <a:pt x="68" y="14"/>
                        </a:lnTo>
                        <a:lnTo>
                          <a:pt x="56" y="18"/>
                        </a:lnTo>
                        <a:lnTo>
                          <a:pt x="44" y="22"/>
                        </a:lnTo>
                        <a:lnTo>
                          <a:pt x="36" y="28"/>
                        </a:lnTo>
                        <a:lnTo>
                          <a:pt x="28" y="34"/>
                        </a:lnTo>
                        <a:lnTo>
                          <a:pt x="24" y="42"/>
                        </a:lnTo>
                        <a:lnTo>
                          <a:pt x="22" y="48"/>
                        </a:lnTo>
                        <a:lnTo>
                          <a:pt x="24" y="54"/>
                        </a:lnTo>
                        <a:lnTo>
                          <a:pt x="24" y="54"/>
                        </a:lnTo>
                        <a:lnTo>
                          <a:pt x="24" y="58"/>
                        </a:lnTo>
                        <a:lnTo>
                          <a:pt x="22" y="60"/>
                        </a:lnTo>
                        <a:lnTo>
                          <a:pt x="14" y="62"/>
                        </a:lnTo>
                        <a:lnTo>
                          <a:pt x="4" y="64"/>
                        </a:lnTo>
                        <a:lnTo>
                          <a:pt x="2" y="66"/>
                        </a:lnTo>
                        <a:lnTo>
                          <a:pt x="0" y="68"/>
                        </a:lnTo>
                        <a:lnTo>
                          <a:pt x="0" y="68"/>
                        </a:lnTo>
                        <a:lnTo>
                          <a:pt x="2" y="70"/>
                        </a:lnTo>
                        <a:lnTo>
                          <a:pt x="4" y="72"/>
                        </a:lnTo>
                        <a:lnTo>
                          <a:pt x="8" y="72"/>
                        </a:lnTo>
                        <a:lnTo>
                          <a:pt x="14" y="72"/>
                        </a:lnTo>
                        <a:lnTo>
                          <a:pt x="16" y="72"/>
                        </a:lnTo>
                        <a:lnTo>
                          <a:pt x="18" y="72"/>
                        </a:lnTo>
                        <a:lnTo>
                          <a:pt x="18" y="72"/>
                        </a:lnTo>
                        <a:lnTo>
                          <a:pt x="18" y="74"/>
                        </a:lnTo>
                        <a:lnTo>
                          <a:pt x="20" y="74"/>
                        </a:lnTo>
                        <a:lnTo>
                          <a:pt x="24" y="72"/>
                        </a:lnTo>
                        <a:lnTo>
                          <a:pt x="30" y="68"/>
                        </a:lnTo>
                        <a:lnTo>
                          <a:pt x="38" y="68"/>
                        </a:lnTo>
                        <a:lnTo>
                          <a:pt x="38" y="68"/>
                        </a:lnTo>
                        <a:lnTo>
                          <a:pt x="40" y="62"/>
                        </a:lnTo>
                        <a:lnTo>
                          <a:pt x="42" y="58"/>
                        </a:lnTo>
                        <a:lnTo>
                          <a:pt x="52" y="54"/>
                        </a:lnTo>
                        <a:lnTo>
                          <a:pt x="62" y="48"/>
                        </a:lnTo>
                        <a:lnTo>
                          <a:pt x="70" y="44"/>
                        </a:lnTo>
                        <a:lnTo>
                          <a:pt x="76" y="40"/>
                        </a:lnTo>
                        <a:lnTo>
                          <a:pt x="76" y="40"/>
                        </a:lnTo>
                        <a:lnTo>
                          <a:pt x="84" y="34"/>
                        </a:lnTo>
                        <a:lnTo>
                          <a:pt x="92" y="30"/>
                        </a:lnTo>
                        <a:lnTo>
                          <a:pt x="100" y="28"/>
                        </a:lnTo>
                        <a:lnTo>
                          <a:pt x="108" y="28"/>
                        </a:lnTo>
                        <a:lnTo>
                          <a:pt x="124" y="28"/>
                        </a:lnTo>
                        <a:lnTo>
                          <a:pt x="132" y="32"/>
                        </a:lnTo>
                        <a:lnTo>
                          <a:pt x="132" y="32"/>
                        </a:lnTo>
                        <a:lnTo>
                          <a:pt x="134" y="34"/>
                        </a:lnTo>
                        <a:lnTo>
                          <a:pt x="132" y="36"/>
                        </a:lnTo>
                        <a:lnTo>
                          <a:pt x="124" y="38"/>
                        </a:lnTo>
                        <a:lnTo>
                          <a:pt x="116" y="42"/>
                        </a:lnTo>
                        <a:lnTo>
                          <a:pt x="116" y="44"/>
                        </a:lnTo>
                        <a:lnTo>
                          <a:pt x="118" y="46"/>
                        </a:lnTo>
                        <a:lnTo>
                          <a:pt x="118" y="46"/>
                        </a:lnTo>
                        <a:lnTo>
                          <a:pt x="126" y="52"/>
                        </a:lnTo>
                        <a:lnTo>
                          <a:pt x="134" y="56"/>
                        </a:lnTo>
                        <a:lnTo>
                          <a:pt x="146" y="58"/>
                        </a:lnTo>
                        <a:lnTo>
                          <a:pt x="164" y="58"/>
                        </a:lnTo>
                        <a:lnTo>
                          <a:pt x="164" y="58"/>
                        </a:lnTo>
                        <a:lnTo>
                          <a:pt x="174" y="58"/>
                        </a:lnTo>
                        <a:lnTo>
                          <a:pt x="180" y="60"/>
                        </a:lnTo>
                        <a:lnTo>
                          <a:pt x="186" y="62"/>
                        </a:lnTo>
                        <a:lnTo>
                          <a:pt x="190" y="66"/>
                        </a:lnTo>
                        <a:lnTo>
                          <a:pt x="200" y="74"/>
                        </a:lnTo>
                        <a:lnTo>
                          <a:pt x="206" y="78"/>
                        </a:lnTo>
                        <a:lnTo>
                          <a:pt x="214" y="80"/>
                        </a:lnTo>
                        <a:lnTo>
                          <a:pt x="214" y="80"/>
                        </a:lnTo>
                        <a:lnTo>
                          <a:pt x="222" y="84"/>
                        </a:lnTo>
                        <a:lnTo>
                          <a:pt x="230" y="84"/>
                        </a:lnTo>
                        <a:lnTo>
                          <a:pt x="242" y="84"/>
                        </a:lnTo>
                        <a:lnTo>
                          <a:pt x="246" y="84"/>
                        </a:lnTo>
                        <a:lnTo>
                          <a:pt x="250" y="86"/>
                        </a:lnTo>
                        <a:lnTo>
                          <a:pt x="252" y="88"/>
                        </a:lnTo>
                        <a:lnTo>
                          <a:pt x="256" y="94"/>
                        </a:lnTo>
                        <a:lnTo>
                          <a:pt x="256" y="94"/>
                        </a:lnTo>
                        <a:lnTo>
                          <a:pt x="260" y="106"/>
                        </a:lnTo>
                        <a:lnTo>
                          <a:pt x="266" y="116"/>
                        </a:lnTo>
                        <a:lnTo>
                          <a:pt x="268" y="120"/>
                        </a:lnTo>
                        <a:lnTo>
                          <a:pt x="274" y="124"/>
                        </a:lnTo>
                        <a:lnTo>
                          <a:pt x="280" y="126"/>
                        </a:lnTo>
                        <a:lnTo>
                          <a:pt x="288" y="128"/>
                        </a:lnTo>
                        <a:lnTo>
                          <a:pt x="288" y="128"/>
                        </a:lnTo>
                        <a:lnTo>
                          <a:pt x="304" y="128"/>
                        </a:lnTo>
                        <a:lnTo>
                          <a:pt x="310" y="130"/>
                        </a:lnTo>
                        <a:lnTo>
                          <a:pt x="316" y="134"/>
                        </a:lnTo>
                        <a:lnTo>
                          <a:pt x="318" y="136"/>
                        </a:lnTo>
                        <a:lnTo>
                          <a:pt x="318" y="140"/>
                        </a:lnTo>
                        <a:lnTo>
                          <a:pt x="316" y="144"/>
                        </a:lnTo>
                        <a:lnTo>
                          <a:pt x="310" y="150"/>
                        </a:lnTo>
                        <a:lnTo>
                          <a:pt x="310" y="150"/>
                        </a:lnTo>
                        <a:lnTo>
                          <a:pt x="298" y="158"/>
                        </a:lnTo>
                        <a:lnTo>
                          <a:pt x="292" y="162"/>
                        </a:lnTo>
                        <a:lnTo>
                          <a:pt x="290" y="166"/>
                        </a:lnTo>
                        <a:lnTo>
                          <a:pt x="290" y="168"/>
                        </a:lnTo>
                        <a:lnTo>
                          <a:pt x="296" y="170"/>
                        </a:lnTo>
                        <a:lnTo>
                          <a:pt x="328" y="166"/>
                        </a:lnTo>
                        <a:lnTo>
                          <a:pt x="328" y="166"/>
                        </a:lnTo>
                        <a:lnTo>
                          <a:pt x="348" y="164"/>
                        </a:lnTo>
                        <a:lnTo>
                          <a:pt x="360" y="166"/>
                        </a:lnTo>
                        <a:lnTo>
                          <a:pt x="370" y="166"/>
                        </a:lnTo>
                        <a:lnTo>
                          <a:pt x="376" y="168"/>
                        </a:lnTo>
                        <a:lnTo>
                          <a:pt x="382" y="170"/>
                        </a:lnTo>
                        <a:lnTo>
                          <a:pt x="386" y="172"/>
                        </a:lnTo>
                        <a:lnTo>
                          <a:pt x="392" y="170"/>
                        </a:lnTo>
                        <a:lnTo>
                          <a:pt x="400" y="166"/>
                        </a:lnTo>
                        <a:lnTo>
                          <a:pt x="400" y="16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3" name="Freeform 6084"/>
                  <p:cNvSpPr>
                    <a:spLocks/>
                  </p:cNvSpPr>
                  <p:nvPr/>
                </p:nvSpPr>
                <p:spPr bwMode="auto">
                  <a:xfrm>
                    <a:off x="2791460" y="3296603"/>
                    <a:ext cx="5080" cy="5080"/>
                  </a:xfrm>
                  <a:custGeom>
                    <a:avLst/>
                    <a:gdLst/>
                    <a:ahLst/>
                    <a:cxnLst>
                      <a:cxn ang="0">
                        <a:pos x="0" y="6"/>
                      </a:cxn>
                      <a:cxn ang="0">
                        <a:pos x="0" y="6"/>
                      </a:cxn>
                      <a:cxn ang="0">
                        <a:pos x="0" y="8"/>
                      </a:cxn>
                      <a:cxn ang="0">
                        <a:pos x="4" y="6"/>
                      </a:cxn>
                      <a:cxn ang="0">
                        <a:pos x="6" y="4"/>
                      </a:cxn>
                      <a:cxn ang="0">
                        <a:pos x="8" y="2"/>
                      </a:cxn>
                      <a:cxn ang="0">
                        <a:pos x="8" y="2"/>
                      </a:cxn>
                      <a:cxn ang="0">
                        <a:pos x="6" y="0"/>
                      </a:cxn>
                      <a:cxn ang="0">
                        <a:pos x="2" y="2"/>
                      </a:cxn>
                      <a:cxn ang="0">
                        <a:pos x="0" y="4"/>
                      </a:cxn>
                      <a:cxn ang="0">
                        <a:pos x="0" y="6"/>
                      </a:cxn>
                      <a:cxn ang="0">
                        <a:pos x="0" y="6"/>
                      </a:cxn>
                    </a:cxnLst>
                    <a:rect l="0" t="0" r="r" b="b"/>
                    <a:pathLst>
                      <a:path w="8" h="8">
                        <a:moveTo>
                          <a:pt x="0" y="6"/>
                        </a:moveTo>
                        <a:lnTo>
                          <a:pt x="0" y="6"/>
                        </a:lnTo>
                        <a:lnTo>
                          <a:pt x="0" y="8"/>
                        </a:lnTo>
                        <a:lnTo>
                          <a:pt x="4" y="6"/>
                        </a:lnTo>
                        <a:lnTo>
                          <a:pt x="6" y="4"/>
                        </a:lnTo>
                        <a:lnTo>
                          <a:pt x="8" y="2"/>
                        </a:lnTo>
                        <a:lnTo>
                          <a:pt x="8" y="2"/>
                        </a:lnTo>
                        <a:lnTo>
                          <a:pt x="6" y="0"/>
                        </a:lnTo>
                        <a:lnTo>
                          <a:pt x="2" y="2"/>
                        </a:lnTo>
                        <a:lnTo>
                          <a:pt x="0" y="4"/>
                        </a:lnTo>
                        <a:lnTo>
                          <a:pt x="0" y="6"/>
                        </a:lnTo>
                        <a:lnTo>
                          <a:pt x="0"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4" name="Freeform 6086"/>
                  <p:cNvSpPr>
                    <a:spLocks noEditPoints="1"/>
                  </p:cNvSpPr>
                  <p:nvPr/>
                </p:nvSpPr>
                <p:spPr bwMode="auto">
                  <a:xfrm>
                    <a:off x="106680" y="1296353"/>
                    <a:ext cx="2874010" cy="2354580"/>
                  </a:xfrm>
                  <a:custGeom>
                    <a:avLst/>
                    <a:gdLst/>
                    <a:ahLst/>
                    <a:cxnLst>
                      <a:cxn ang="0">
                        <a:pos x="3400" y="3516"/>
                      </a:cxn>
                      <a:cxn ang="0">
                        <a:pos x="3292" y="3276"/>
                      </a:cxn>
                      <a:cxn ang="0">
                        <a:pos x="3246" y="3102"/>
                      </a:cxn>
                      <a:cxn ang="0">
                        <a:pos x="3116" y="3080"/>
                      </a:cxn>
                      <a:cxn ang="0">
                        <a:pos x="2830" y="2916"/>
                      </a:cxn>
                      <a:cxn ang="0">
                        <a:pos x="3078" y="2572"/>
                      </a:cxn>
                      <a:cxn ang="0">
                        <a:pos x="3134" y="2554"/>
                      </a:cxn>
                      <a:cxn ang="0">
                        <a:pos x="3436" y="2646"/>
                      </a:cxn>
                      <a:cxn ang="0">
                        <a:pos x="3526" y="2642"/>
                      </a:cxn>
                      <a:cxn ang="0">
                        <a:pos x="3686" y="2282"/>
                      </a:cxn>
                      <a:cxn ang="0">
                        <a:pos x="3698" y="2162"/>
                      </a:cxn>
                      <a:cxn ang="0">
                        <a:pos x="3748" y="2092"/>
                      </a:cxn>
                      <a:cxn ang="0">
                        <a:pos x="3924" y="1928"/>
                      </a:cxn>
                      <a:cxn ang="0">
                        <a:pos x="4006" y="1782"/>
                      </a:cxn>
                      <a:cxn ang="0">
                        <a:pos x="4138" y="1824"/>
                      </a:cxn>
                      <a:cxn ang="0">
                        <a:pos x="4150" y="1496"/>
                      </a:cxn>
                      <a:cxn ang="0">
                        <a:pos x="4522" y="1296"/>
                      </a:cxn>
                      <a:cxn ang="0">
                        <a:pos x="4314" y="1090"/>
                      </a:cxn>
                      <a:cxn ang="0">
                        <a:pos x="4060" y="934"/>
                      </a:cxn>
                      <a:cxn ang="0">
                        <a:pos x="3720" y="680"/>
                      </a:cxn>
                      <a:cxn ang="0">
                        <a:pos x="3570" y="1166"/>
                      </a:cxn>
                      <a:cxn ang="0">
                        <a:pos x="3346" y="1132"/>
                      </a:cxn>
                      <a:cxn ang="0">
                        <a:pos x="3060" y="648"/>
                      </a:cxn>
                      <a:cxn ang="0">
                        <a:pos x="3304" y="420"/>
                      </a:cxn>
                      <a:cxn ang="0">
                        <a:pos x="3452" y="258"/>
                      </a:cxn>
                      <a:cxn ang="0">
                        <a:pos x="3282" y="322"/>
                      </a:cxn>
                      <a:cxn ang="0">
                        <a:pos x="3048" y="164"/>
                      </a:cxn>
                      <a:cxn ang="0">
                        <a:pos x="2954" y="232"/>
                      </a:cxn>
                      <a:cxn ang="0">
                        <a:pos x="2726" y="298"/>
                      </a:cxn>
                      <a:cxn ang="0">
                        <a:pos x="2330" y="286"/>
                      </a:cxn>
                      <a:cxn ang="0">
                        <a:pos x="1732" y="136"/>
                      </a:cxn>
                      <a:cxn ang="0">
                        <a:pos x="1406" y="178"/>
                      </a:cxn>
                      <a:cxn ang="0">
                        <a:pos x="636" y="94"/>
                      </a:cxn>
                      <a:cxn ang="0">
                        <a:pos x="54" y="266"/>
                      </a:cxn>
                      <a:cxn ang="0">
                        <a:pos x="28" y="440"/>
                      </a:cxn>
                      <a:cxn ang="0">
                        <a:pos x="270" y="598"/>
                      </a:cxn>
                      <a:cxn ang="0">
                        <a:pos x="246" y="900"/>
                      </a:cxn>
                      <a:cxn ang="0">
                        <a:pos x="218" y="1124"/>
                      </a:cxn>
                      <a:cxn ang="0">
                        <a:pos x="548" y="956"/>
                      </a:cxn>
                      <a:cxn ang="0">
                        <a:pos x="648" y="882"/>
                      </a:cxn>
                      <a:cxn ang="0">
                        <a:pos x="1136" y="842"/>
                      </a:cxn>
                      <a:cxn ang="0">
                        <a:pos x="1412" y="1020"/>
                      </a:cxn>
                      <a:cxn ang="0">
                        <a:pos x="1524" y="1162"/>
                      </a:cxn>
                      <a:cxn ang="0">
                        <a:pos x="1646" y="1306"/>
                      </a:cxn>
                      <a:cxn ang="0">
                        <a:pos x="1750" y="1434"/>
                      </a:cxn>
                      <a:cxn ang="0">
                        <a:pos x="1840" y="1570"/>
                      </a:cxn>
                      <a:cxn ang="0">
                        <a:pos x="1838" y="2170"/>
                      </a:cxn>
                      <a:cxn ang="0">
                        <a:pos x="2146" y="2682"/>
                      </a:cxn>
                      <a:cxn ang="0">
                        <a:pos x="2168" y="2564"/>
                      </a:cxn>
                      <a:cxn ang="0">
                        <a:pos x="2530" y="2998"/>
                      </a:cxn>
                      <a:cxn ang="0">
                        <a:pos x="3202" y="3400"/>
                      </a:cxn>
                      <a:cxn ang="0">
                        <a:pos x="3330" y="3570"/>
                      </a:cxn>
                      <a:cxn ang="0">
                        <a:pos x="3432" y="3656"/>
                      </a:cxn>
                      <a:cxn ang="0">
                        <a:pos x="3562" y="3616"/>
                      </a:cxn>
                      <a:cxn ang="0">
                        <a:pos x="3408" y="1922"/>
                      </a:cxn>
                      <a:cxn ang="0">
                        <a:pos x="3590" y="1870"/>
                      </a:cxn>
                      <a:cxn ang="0">
                        <a:pos x="3578" y="1812"/>
                      </a:cxn>
                      <a:cxn ang="0">
                        <a:pos x="3344" y="1588"/>
                      </a:cxn>
                      <a:cxn ang="0">
                        <a:pos x="3548" y="1750"/>
                      </a:cxn>
                      <a:cxn ang="0">
                        <a:pos x="3418" y="1798"/>
                      </a:cxn>
                      <a:cxn ang="0">
                        <a:pos x="3294" y="1766"/>
                      </a:cxn>
                      <a:cxn ang="0">
                        <a:pos x="3244" y="1726"/>
                      </a:cxn>
                      <a:cxn ang="0">
                        <a:pos x="3258" y="1654"/>
                      </a:cxn>
                    </a:cxnLst>
                    <a:rect l="0" t="0" r="r" b="b"/>
                    <a:pathLst>
                      <a:path w="4526" h="3708">
                        <a:moveTo>
                          <a:pt x="3654" y="3626"/>
                        </a:moveTo>
                        <a:lnTo>
                          <a:pt x="3654" y="3626"/>
                        </a:lnTo>
                        <a:lnTo>
                          <a:pt x="3654" y="3626"/>
                        </a:lnTo>
                        <a:lnTo>
                          <a:pt x="3654" y="3626"/>
                        </a:lnTo>
                        <a:lnTo>
                          <a:pt x="3642" y="3614"/>
                        </a:lnTo>
                        <a:lnTo>
                          <a:pt x="3628" y="3600"/>
                        </a:lnTo>
                        <a:lnTo>
                          <a:pt x="3622" y="3596"/>
                        </a:lnTo>
                        <a:lnTo>
                          <a:pt x="3614" y="3592"/>
                        </a:lnTo>
                        <a:lnTo>
                          <a:pt x="3606" y="3590"/>
                        </a:lnTo>
                        <a:lnTo>
                          <a:pt x="3598" y="3588"/>
                        </a:lnTo>
                        <a:lnTo>
                          <a:pt x="3598" y="3588"/>
                        </a:lnTo>
                        <a:lnTo>
                          <a:pt x="3588" y="3590"/>
                        </a:lnTo>
                        <a:lnTo>
                          <a:pt x="3588" y="3588"/>
                        </a:lnTo>
                        <a:lnTo>
                          <a:pt x="3588" y="3588"/>
                        </a:lnTo>
                        <a:lnTo>
                          <a:pt x="3588" y="3586"/>
                        </a:lnTo>
                        <a:lnTo>
                          <a:pt x="3586" y="3584"/>
                        </a:lnTo>
                        <a:lnTo>
                          <a:pt x="3574" y="3582"/>
                        </a:lnTo>
                        <a:lnTo>
                          <a:pt x="3574" y="3582"/>
                        </a:lnTo>
                        <a:lnTo>
                          <a:pt x="3562" y="3582"/>
                        </a:lnTo>
                        <a:lnTo>
                          <a:pt x="3560" y="3582"/>
                        </a:lnTo>
                        <a:lnTo>
                          <a:pt x="3560" y="3584"/>
                        </a:lnTo>
                        <a:lnTo>
                          <a:pt x="3556" y="3590"/>
                        </a:lnTo>
                        <a:lnTo>
                          <a:pt x="3552" y="3594"/>
                        </a:lnTo>
                        <a:lnTo>
                          <a:pt x="3546" y="3598"/>
                        </a:lnTo>
                        <a:lnTo>
                          <a:pt x="3546" y="3598"/>
                        </a:lnTo>
                        <a:lnTo>
                          <a:pt x="3524" y="3608"/>
                        </a:lnTo>
                        <a:lnTo>
                          <a:pt x="3518" y="3612"/>
                        </a:lnTo>
                        <a:lnTo>
                          <a:pt x="3514" y="3616"/>
                        </a:lnTo>
                        <a:lnTo>
                          <a:pt x="3496" y="3622"/>
                        </a:lnTo>
                        <a:lnTo>
                          <a:pt x="3496" y="3622"/>
                        </a:lnTo>
                        <a:lnTo>
                          <a:pt x="3492" y="3622"/>
                        </a:lnTo>
                        <a:lnTo>
                          <a:pt x="3488" y="3620"/>
                        </a:lnTo>
                        <a:lnTo>
                          <a:pt x="3480" y="3612"/>
                        </a:lnTo>
                        <a:lnTo>
                          <a:pt x="3480" y="3612"/>
                        </a:lnTo>
                        <a:lnTo>
                          <a:pt x="3476" y="3608"/>
                        </a:lnTo>
                        <a:lnTo>
                          <a:pt x="3474" y="3604"/>
                        </a:lnTo>
                        <a:lnTo>
                          <a:pt x="3474" y="3604"/>
                        </a:lnTo>
                        <a:lnTo>
                          <a:pt x="3472" y="3602"/>
                        </a:lnTo>
                        <a:lnTo>
                          <a:pt x="3470" y="3602"/>
                        </a:lnTo>
                        <a:lnTo>
                          <a:pt x="3468" y="3604"/>
                        </a:lnTo>
                        <a:lnTo>
                          <a:pt x="3470" y="3610"/>
                        </a:lnTo>
                        <a:lnTo>
                          <a:pt x="3470" y="3610"/>
                        </a:lnTo>
                        <a:lnTo>
                          <a:pt x="3470" y="3610"/>
                        </a:lnTo>
                        <a:lnTo>
                          <a:pt x="3468" y="3612"/>
                        </a:lnTo>
                        <a:lnTo>
                          <a:pt x="3464" y="3612"/>
                        </a:lnTo>
                        <a:lnTo>
                          <a:pt x="3460" y="3610"/>
                        </a:lnTo>
                        <a:lnTo>
                          <a:pt x="3456" y="3608"/>
                        </a:lnTo>
                        <a:lnTo>
                          <a:pt x="3456" y="3608"/>
                        </a:lnTo>
                        <a:lnTo>
                          <a:pt x="3458" y="3604"/>
                        </a:lnTo>
                        <a:lnTo>
                          <a:pt x="3460" y="3604"/>
                        </a:lnTo>
                        <a:lnTo>
                          <a:pt x="3460" y="3602"/>
                        </a:lnTo>
                        <a:lnTo>
                          <a:pt x="3460" y="3600"/>
                        </a:lnTo>
                        <a:lnTo>
                          <a:pt x="3460" y="3600"/>
                        </a:lnTo>
                        <a:lnTo>
                          <a:pt x="3458" y="3600"/>
                        </a:lnTo>
                        <a:lnTo>
                          <a:pt x="3454" y="3600"/>
                        </a:lnTo>
                        <a:lnTo>
                          <a:pt x="3452" y="3600"/>
                        </a:lnTo>
                        <a:lnTo>
                          <a:pt x="3452" y="3596"/>
                        </a:lnTo>
                        <a:lnTo>
                          <a:pt x="3452" y="3596"/>
                        </a:lnTo>
                        <a:lnTo>
                          <a:pt x="3452" y="3590"/>
                        </a:lnTo>
                        <a:lnTo>
                          <a:pt x="3450" y="3588"/>
                        </a:lnTo>
                        <a:lnTo>
                          <a:pt x="3444" y="3584"/>
                        </a:lnTo>
                        <a:lnTo>
                          <a:pt x="3444" y="3584"/>
                        </a:lnTo>
                        <a:lnTo>
                          <a:pt x="3440" y="3578"/>
                        </a:lnTo>
                        <a:lnTo>
                          <a:pt x="3432" y="3568"/>
                        </a:lnTo>
                        <a:lnTo>
                          <a:pt x="3422" y="3558"/>
                        </a:lnTo>
                        <a:lnTo>
                          <a:pt x="3412" y="3544"/>
                        </a:lnTo>
                        <a:lnTo>
                          <a:pt x="3412" y="3544"/>
                        </a:lnTo>
                        <a:lnTo>
                          <a:pt x="3406" y="3534"/>
                        </a:lnTo>
                        <a:lnTo>
                          <a:pt x="3404" y="3528"/>
                        </a:lnTo>
                        <a:lnTo>
                          <a:pt x="3404" y="3522"/>
                        </a:lnTo>
                        <a:lnTo>
                          <a:pt x="3400" y="3516"/>
                        </a:lnTo>
                        <a:lnTo>
                          <a:pt x="3400" y="3516"/>
                        </a:lnTo>
                        <a:lnTo>
                          <a:pt x="3396" y="3512"/>
                        </a:lnTo>
                        <a:lnTo>
                          <a:pt x="3392" y="3504"/>
                        </a:lnTo>
                        <a:lnTo>
                          <a:pt x="3392" y="3504"/>
                        </a:lnTo>
                        <a:lnTo>
                          <a:pt x="3392" y="3498"/>
                        </a:lnTo>
                        <a:lnTo>
                          <a:pt x="3392" y="3492"/>
                        </a:lnTo>
                        <a:lnTo>
                          <a:pt x="3396" y="3486"/>
                        </a:lnTo>
                        <a:lnTo>
                          <a:pt x="3398" y="3484"/>
                        </a:lnTo>
                        <a:lnTo>
                          <a:pt x="3398" y="3484"/>
                        </a:lnTo>
                        <a:lnTo>
                          <a:pt x="3400" y="3482"/>
                        </a:lnTo>
                        <a:lnTo>
                          <a:pt x="3400" y="3478"/>
                        </a:lnTo>
                        <a:lnTo>
                          <a:pt x="3398" y="3474"/>
                        </a:lnTo>
                        <a:lnTo>
                          <a:pt x="3396" y="3472"/>
                        </a:lnTo>
                        <a:lnTo>
                          <a:pt x="3396" y="3472"/>
                        </a:lnTo>
                        <a:lnTo>
                          <a:pt x="3396" y="3470"/>
                        </a:lnTo>
                        <a:lnTo>
                          <a:pt x="3394" y="3470"/>
                        </a:lnTo>
                        <a:lnTo>
                          <a:pt x="3396" y="3464"/>
                        </a:lnTo>
                        <a:lnTo>
                          <a:pt x="3400" y="3452"/>
                        </a:lnTo>
                        <a:lnTo>
                          <a:pt x="3400" y="3452"/>
                        </a:lnTo>
                        <a:lnTo>
                          <a:pt x="3400" y="3446"/>
                        </a:lnTo>
                        <a:lnTo>
                          <a:pt x="3402" y="3444"/>
                        </a:lnTo>
                        <a:lnTo>
                          <a:pt x="3404" y="3444"/>
                        </a:lnTo>
                        <a:lnTo>
                          <a:pt x="3404" y="3444"/>
                        </a:lnTo>
                        <a:lnTo>
                          <a:pt x="3408" y="3444"/>
                        </a:lnTo>
                        <a:lnTo>
                          <a:pt x="3406" y="3438"/>
                        </a:lnTo>
                        <a:lnTo>
                          <a:pt x="3406" y="3438"/>
                        </a:lnTo>
                        <a:lnTo>
                          <a:pt x="3406" y="3424"/>
                        </a:lnTo>
                        <a:lnTo>
                          <a:pt x="3404" y="3404"/>
                        </a:lnTo>
                        <a:lnTo>
                          <a:pt x="3404" y="3404"/>
                        </a:lnTo>
                        <a:lnTo>
                          <a:pt x="3402" y="3396"/>
                        </a:lnTo>
                        <a:lnTo>
                          <a:pt x="3404" y="3392"/>
                        </a:lnTo>
                        <a:lnTo>
                          <a:pt x="3406" y="3386"/>
                        </a:lnTo>
                        <a:lnTo>
                          <a:pt x="3408" y="3378"/>
                        </a:lnTo>
                        <a:lnTo>
                          <a:pt x="3408" y="3378"/>
                        </a:lnTo>
                        <a:lnTo>
                          <a:pt x="3410" y="3368"/>
                        </a:lnTo>
                        <a:lnTo>
                          <a:pt x="3414" y="3358"/>
                        </a:lnTo>
                        <a:lnTo>
                          <a:pt x="3418" y="3350"/>
                        </a:lnTo>
                        <a:lnTo>
                          <a:pt x="3418" y="3346"/>
                        </a:lnTo>
                        <a:lnTo>
                          <a:pt x="3418" y="3342"/>
                        </a:lnTo>
                        <a:lnTo>
                          <a:pt x="3418" y="3342"/>
                        </a:lnTo>
                        <a:lnTo>
                          <a:pt x="3416" y="3334"/>
                        </a:lnTo>
                        <a:lnTo>
                          <a:pt x="3416" y="3328"/>
                        </a:lnTo>
                        <a:lnTo>
                          <a:pt x="3418" y="3324"/>
                        </a:lnTo>
                        <a:lnTo>
                          <a:pt x="3420" y="3318"/>
                        </a:lnTo>
                        <a:lnTo>
                          <a:pt x="3420" y="3318"/>
                        </a:lnTo>
                        <a:lnTo>
                          <a:pt x="3420" y="3314"/>
                        </a:lnTo>
                        <a:lnTo>
                          <a:pt x="3418" y="3310"/>
                        </a:lnTo>
                        <a:lnTo>
                          <a:pt x="3412" y="3304"/>
                        </a:lnTo>
                        <a:lnTo>
                          <a:pt x="3406" y="3300"/>
                        </a:lnTo>
                        <a:lnTo>
                          <a:pt x="3406" y="3300"/>
                        </a:lnTo>
                        <a:lnTo>
                          <a:pt x="3388" y="3290"/>
                        </a:lnTo>
                        <a:lnTo>
                          <a:pt x="3380" y="3280"/>
                        </a:lnTo>
                        <a:lnTo>
                          <a:pt x="3380" y="3280"/>
                        </a:lnTo>
                        <a:lnTo>
                          <a:pt x="3372" y="3274"/>
                        </a:lnTo>
                        <a:lnTo>
                          <a:pt x="3360" y="3270"/>
                        </a:lnTo>
                        <a:lnTo>
                          <a:pt x="3350" y="3268"/>
                        </a:lnTo>
                        <a:lnTo>
                          <a:pt x="3344" y="3268"/>
                        </a:lnTo>
                        <a:lnTo>
                          <a:pt x="3344" y="3268"/>
                        </a:lnTo>
                        <a:lnTo>
                          <a:pt x="3340" y="3270"/>
                        </a:lnTo>
                        <a:lnTo>
                          <a:pt x="3334" y="3270"/>
                        </a:lnTo>
                        <a:lnTo>
                          <a:pt x="3326" y="3270"/>
                        </a:lnTo>
                        <a:lnTo>
                          <a:pt x="3320" y="3268"/>
                        </a:lnTo>
                        <a:lnTo>
                          <a:pt x="3320" y="3268"/>
                        </a:lnTo>
                        <a:lnTo>
                          <a:pt x="3308" y="3264"/>
                        </a:lnTo>
                        <a:lnTo>
                          <a:pt x="3306" y="3264"/>
                        </a:lnTo>
                        <a:lnTo>
                          <a:pt x="3308" y="3266"/>
                        </a:lnTo>
                        <a:lnTo>
                          <a:pt x="3308" y="3266"/>
                        </a:lnTo>
                        <a:lnTo>
                          <a:pt x="3308" y="3268"/>
                        </a:lnTo>
                        <a:lnTo>
                          <a:pt x="3308" y="3270"/>
                        </a:lnTo>
                        <a:lnTo>
                          <a:pt x="3304" y="3272"/>
                        </a:lnTo>
                        <a:lnTo>
                          <a:pt x="3292" y="3276"/>
                        </a:lnTo>
                        <a:lnTo>
                          <a:pt x="3292" y="3276"/>
                        </a:lnTo>
                        <a:lnTo>
                          <a:pt x="3278" y="3278"/>
                        </a:lnTo>
                        <a:lnTo>
                          <a:pt x="3266" y="3276"/>
                        </a:lnTo>
                        <a:lnTo>
                          <a:pt x="3258" y="3274"/>
                        </a:lnTo>
                        <a:lnTo>
                          <a:pt x="3248" y="3274"/>
                        </a:lnTo>
                        <a:lnTo>
                          <a:pt x="3248" y="3274"/>
                        </a:lnTo>
                        <a:lnTo>
                          <a:pt x="3244" y="3276"/>
                        </a:lnTo>
                        <a:lnTo>
                          <a:pt x="3242" y="3274"/>
                        </a:lnTo>
                        <a:lnTo>
                          <a:pt x="3240" y="3272"/>
                        </a:lnTo>
                        <a:lnTo>
                          <a:pt x="3238" y="3270"/>
                        </a:lnTo>
                        <a:lnTo>
                          <a:pt x="3238" y="3270"/>
                        </a:lnTo>
                        <a:lnTo>
                          <a:pt x="3236" y="3270"/>
                        </a:lnTo>
                        <a:lnTo>
                          <a:pt x="3232" y="3272"/>
                        </a:lnTo>
                        <a:lnTo>
                          <a:pt x="3226" y="3276"/>
                        </a:lnTo>
                        <a:lnTo>
                          <a:pt x="3222" y="3282"/>
                        </a:lnTo>
                        <a:lnTo>
                          <a:pt x="3218" y="3282"/>
                        </a:lnTo>
                        <a:lnTo>
                          <a:pt x="3216" y="3280"/>
                        </a:lnTo>
                        <a:lnTo>
                          <a:pt x="3216" y="3280"/>
                        </a:lnTo>
                        <a:lnTo>
                          <a:pt x="3206" y="3272"/>
                        </a:lnTo>
                        <a:lnTo>
                          <a:pt x="3202" y="3268"/>
                        </a:lnTo>
                        <a:lnTo>
                          <a:pt x="3200" y="3268"/>
                        </a:lnTo>
                        <a:lnTo>
                          <a:pt x="3202" y="3270"/>
                        </a:lnTo>
                        <a:lnTo>
                          <a:pt x="3202" y="3270"/>
                        </a:lnTo>
                        <a:lnTo>
                          <a:pt x="3204" y="3274"/>
                        </a:lnTo>
                        <a:lnTo>
                          <a:pt x="3202" y="3280"/>
                        </a:lnTo>
                        <a:lnTo>
                          <a:pt x="3202" y="3280"/>
                        </a:lnTo>
                        <a:lnTo>
                          <a:pt x="3200" y="3282"/>
                        </a:lnTo>
                        <a:lnTo>
                          <a:pt x="3198" y="3280"/>
                        </a:lnTo>
                        <a:lnTo>
                          <a:pt x="3194" y="3274"/>
                        </a:lnTo>
                        <a:lnTo>
                          <a:pt x="3188" y="3270"/>
                        </a:lnTo>
                        <a:lnTo>
                          <a:pt x="3188" y="3270"/>
                        </a:lnTo>
                        <a:lnTo>
                          <a:pt x="3188" y="3268"/>
                        </a:lnTo>
                        <a:lnTo>
                          <a:pt x="3190" y="3264"/>
                        </a:lnTo>
                        <a:lnTo>
                          <a:pt x="3196" y="3256"/>
                        </a:lnTo>
                        <a:lnTo>
                          <a:pt x="3202" y="3250"/>
                        </a:lnTo>
                        <a:lnTo>
                          <a:pt x="3208" y="3242"/>
                        </a:lnTo>
                        <a:lnTo>
                          <a:pt x="3208" y="3242"/>
                        </a:lnTo>
                        <a:lnTo>
                          <a:pt x="3212" y="3236"/>
                        </a:lnTo>
                        <a:lnTo>
                          <a:pt x="3214" y="3228"/>
                        </a:lnTo>
                        <a:lnTo>
                          <a:pt x="3216" y="3206"/>
                        </a:lnTo>
                        <a:lnTo>
                          <a:pt x="3218" y="3182"/>
                        </a:lnTo>
                        <a:lnTo>
                          <a:pt x="3222" y="3160"/>
                        </a:lnTo>
                        <a:lnTo>
                          <a:pt x="3222" y="3160"/>
                        </a:lnTo>
                        <a:lnTo>
                          <a:pt x="3222" y="3154"/>
                        </a:lnTo>
                        <a:lnTo>
                          <a:pt x="3220" y="3150"/>
                        </a:lnTo>
                        <a:lnTo>
                          <a:pt x="3218" y="3148"/>
                        </a:lnTo>
                        <a:lnTo>
                          <a:pt x="3216" y="3148"/>
                        </a:lnTo>
                        <a:lnTo>
                          <a:pt x="3216" y="3148"/>
                        </a:lnTo>
                        <a:lnTo>
                          <a:pt x="3214" y="3150"/>
                        </a:lnTo>
                        <a:lnTo>
                          <a:pt x="3212" y="3150"/>
                        </a:lnTo>
                        <a:lnTo>
                          <a:pt x="3212" y="3144"/>
                        </a:lnTo>
                        <a:lnTo>
                          <a:pt x="3212" y="3144"/>
                        </a:lnTo>
                        <a:lnTo>
                          <a:pt x="3220" y="3128"/>
                        </a:lnTo>
                        <a:lnTo>
                          <a:pt x="3220" y="3128"/>
                        </a:lnTo>
                        <a:lnTo>
                          <a:pt x="3222" y="3124"/>
                        </a:lnTo>
                        <a:lnTo>
                          <a:pt x="3224" y="3124"/>
                        </a:lnTo>
                        <a:lnTo>
                          <a:pt x="3224" y="3128"/>
                        </a:lnTo>
                        <a:lnTo>
                          <a:pt x="3222" y="3134"/>
                        </a:lnTo>
                        <a:lnTo>
                          <a:pt x="3222" y="3134"/>
                        </a:lnTo>
                        <a:lnTo>
                          <a:pt x="3222" y="3140"/>
                        </a:lnTo>
                        <a:lnTo>
                          <a:pt x="3224" y="3144"/>
                        </a:lnTo>
                        <a:lnTo>
                          <a:pt x="3226" y="3148"/>
                        </a:lnTo>
                        <a:lnTo>
                          <a:pt x="3230" y="3154"/>
                        </a:lnTo>
                        <a:lnTo>
                          <a:pt x="3230" y="3154"/>
                        </a:lnTo>
                        <a:lnTo>
                          <a:pt x="3232" y="3156"/>
                        </a:lnTo>
                        <a:lnTo>
                          <a:pt x="3232" y="3152"/>
                        </a:lnTo>
                        <a:lnTo>
                          <a:pt x="3236" y="3138"/>
                        </a:lnTo>
                        <a:lnTo>
                          <a:pt x="3242" y="3118"/>
                        </a:lnTo>
                        <a:lnTo>
                          <a:pt x="3244" y="3104"/>
                        </a:lnTo>
                        <a:lnTo>
                          <a:pt x="3244" y="3104"/>
                        </a:lnTo>
                        <a:lnTo>
                          <a:pt x="3246" y="3102"/>
                        </a:lnTo>
                        <a:lnTo>
                          <a:pt x="3244" y="3102"/>
                        </a:lnTo>
                        <a:lnTo>
                          <a:pt x="3240" y="3102"/>
                        </a:lnTo>
                        <a:lnTo>
                          <a:pt x="3238" y="3102"/>
                        </a:lnTo>
                        <a:lnTo>
                          <a:pt x="3242" y="3098"/>
                        </a:lnTo>
                        <a:lnTo>
                          <a:pt x="3242" y="3098"/>
                        </a:lnTo>
                        <a:lnTo>
                          <a:pt x="3250" y="3088"/>
                        </a:lnTo>
                        <a:lnTo>
                          <a:pt x="3248" y="3086"/>
                        </a:lnTo>
                        <a:lnTo>
                          <a:pt x="3244" y="3088"/>
                        </a:lnTo>
                        <a:lnTo>
                          <a:pt x="3244" y="3088"/>
                        </a:lnTo>
                        <a:lnTo>
                          <a:pt x="3238" y="3090"/>
                        </a:lnTo>
                        <a:lnTo>
                          <a:pt x="3236" y="3088"/>
                        </a:lnTo>
                        <a:lnTo>
                          <a:pt x="3236" y="3084"/>
                        </a:lnTo>
                        <a:lnTo>
                          <a:pt x="3242" y="3078"/>
                        </a:lnTo>
                        <a:lnTo>
                          <a:pt x="3242" y="3078"/>
                        </a:lnTo>
                        <a:lnTo>
                          <a:pt x="3246" y="3076"/>
                        </a:lnTo>
                        <a:lnTo>
                          <a:pt x="3248" y="3072"/>
                        </a:lnTo>
                        <a:lnTo>
                          <a:pt x="3248" y="3064"/>
                        </a:lnTo>
                        <a:lnTo>
                          <a:pt x="3252" y="3050"/>
                        </a:lnTo>
                        <a:lnTo>
                          <a:pt x="3256" y="3040"/>
                        </a:lnTo>
                        <a:lnTo>
                          <a:pt x="3264" y="3030"/>
                        </a:lnTo>
                        <a:lnTo>
                          <a:pt x="3264" y="3030"/>
                        </a:lnTo>
                        <a:lnTo>
                          <a:pt x="3274" y="3016"/>
                        </a:lnTo>
                        <a:lnTo>
                          <a:pt x="3276" y="3010"/>
                        </a:lnTo>
                        <a:lnTo>
                          <a:pt x="3274" y="3006"/>
                        </a:lnTo>
                        <a:lnTo>
                          <a:pt x="3272" y="3002"/>
                        </a:lnTo>
                        <a:lnTo>
                          <a:pt x="3272" y="3002"/>
                        </a:lnTo>
                        <a:lnTo>
                          <a:pt x="3272" y="2996"/>
                        </a:lnTo>
                        <a:lnTo>
                          <a:pt x="3272" y="2994"/>
                        </a:lnTo>
                        <a:lnTo>
                          <a:pt x="3268" y="2992"/>
                        </a:lnTo>
                        <a:lnTo>
                          <a:pt x="3266" y="2988"/>
                        </a:lnTo>
                        <a:lnTo>
                          <a:pt x="3266" y="2988"/>
                        </a:lnTo>
                        <a:lnTo>
                          <a:pt x="3264" y="2986"/>
                        </a:lnTo>
                        <a:lnTo>
                          <a:pt x="3260" y="2986"/>
                        </a:lnTo>
                        <a:lnTo>
                          <a:pt x="3256" y="2986"/>
                        </a:lnTo>
                        <a:lnTo>
                          <a:pt x="3252" y="2988"/>
                        </a:lnTo>
                        <a:lnTo>
                          <a:pt x="3252" y="2988"/>
                        </a:lnTo>
                        <a:lnTo>
                          <a:pt x="3254" y="2990"/>
                        </a:lnTo>
                        <a:lnTo>
                          <a:pt x="3254" y="2990"/>
                        </a:lnTo>
                        <a:lnTo>
                          <a:pt x="3260" y="2990"/>
                        </a:lnTo>
                        <a:lnTo>
                          <a:pt x="3260" y="2992"/>
                        </a:lnTo>
                        <a:lnTo>
                          <a:pt x="3256" y="2994"/>
                        </a:lnTo>
                        <a:lnTo>
                          <a:pt x="3256" y="2994"/>
                        </a:lnTo>
                        <a:lnTo>
                          <a:pt x="3254" y="2994"/>
                        </a:lnTo>
                        <a:lnTo>
                          <a:pt x="3250" y="2994"/>
                        </a:lnTo>
                        <a:lnTo>
                          <a:pt x="3242" y="2990"/>
                        </a:lnTo>
                        <a:lnTo>
                          <a:pt x="3230" y="2988"/>
                        </a:lnTo>
                        <a:lnTo>
                          <a:pt x="3222" y="2986"/>
                        </a:lnTo>
                        <a:lnTo>
                          <a:pt x="3214" y="2986"/>
                        </a:lnTo>
                        <a:lnTo>
                          <a:pt x="3214" y="2986"/>
                        </a:lnTo>
                        <a:lnTo>
                          <a:pt x="3202" y="2990"/>
                        </a:lnTo>
                        <a:lnTo>
                          <a:pt x="3196" y="2992"/>
                        </a:lnTo>
                        <a:lnTo>
                          <a:pt x="3190" y="2996"/>
                        </a:lnTo>
                        <a:lnTo>
                          <a:pt x="3180" y="2998"/>
                        </a:lnTo>
                        <a:lnTo>
                          <a:pt x="3180" y="2998"/>
                        </a:lnTo>
                        <a:lnTo>
                          <a:pt x="3162" y="3000"/>
                        </a:lnTo>
                        <a:lnTo>
                          <a:pt x="3146" y="3004"/>
                        </a:lnTo>
                        <a:lnTo>
                          <a:pt x="3140" y="3008"/>
                        </a:lnTo>
                        <a:lnTo>
                          <a:pt x="3134" y="3012"/>
                        </a:lnTo>
                        <a:lnTo>
                          <a:pt x="3130" y="3016"/>
                        </a:lnTo>
                        <a:lnTo>
                          <a:pt x="3130" y="3020"/>
                        </a:lnTo>
                        <a:lnTo>
                          <a:pt x="3130" y="3020"/>
                        </a:lnTo>
                        <a:lnTo>
                          <a:pt x="3128" y="3028"/>
                        </a:lnTo>
                        <a:lnTo>
                          <a:pt x="3126" y="3034"/>
                        </a:lnTo>
                        <a:lnTo>
                          <a:pt x="3124" y="3040"/>
                        </a:lnTo>
                        <a:lnTo>
                          <a:pt x="3124" y="3056"/>
                        </a:lnTo>
                        <a:lnTo>
                          <a:pt x="3124" y="3056"/>
                        </a:lnTo>
                        <a:lnTo>
                          <a:pt x="3126" y="3068"/>
                        </a:lnTo>
                        <a:lnTo>
                          <a:pt x="3124" y="3070"/>
                        </a:lnTo>
                        <a:lnTo>
                          <a:pt x="3122" y="3072"/>
                        </a:lnTo>
                        <a:lnTo>
                          <a:pt x="3118" y="3076"/>
                        </a:lnTo>
                        <a:lnTo>
                          <a:pt x="3116" y="3080"/>
                        </a:lnTo>
                        <a:lnTo>
                          <a:pt x="3116" y="3088"/>
                        </a:lnTo>
                        <a:lnTo>
                          <a:pt x="3116" y="3088"/>
                        </a:lnTo>
                        <a:lnTo>
                          <a:pt x="3114" y="3096"/>
                        </a:lnTo>
                        <a:lnTo>
                          <a:pt x="3112" y="3102"/>
                        </a:lnTo>
                        <a:lnTo>
                          <a:pt x="3108" y="3108"/>
                        </a:lnTo>
                        <a:lnTo>
                          <a:pt x="3104" y="3112"/>
                        </a:lnTo>
                        <a:lnTo>
                          <a:pt x="3094" y="3118"/>
                        </a:lnTo>
                        <a:lnTo>
                          <a:pt x="3086" y="3122"/>
                        </a:lnTo>
                        <a:lnTo>
                          <a:pt x="3086" y="3122"/>
                        </a:lnTo>
                        <a:lnTo>
                          <a:pt x="3084" y="3126"/>
                        </a:lnTo>
                        <a:lnTo>
                          <a:pt x="3084" y="3126"/>
                        </a:lnTo>
                        <a:lnTo>
                          <a:pt x="3088" y="3128"/>
                        </a:lnTo>
                        <a:lnTo>
                          <a:pt x="3092" y="3132"/>
                        </a:lnTo>
                        <a:lnTo>
                          <a:pt x="3092" y="3134"/>
                        </a:lnTo>
                        <a:lnTo>
                          <a:pt x="3090" y="3138"/>
                        </a:lnTo>
                        <a:lnTo>
                          <a:pt x="3090" y="3138"/>
                        </a:lnTo>
                        <a:lnTo>
                          <a:pt x="3086" y="3142"/>
                        </a:lnTo>
                        <a:lnTo>
                          <a:pt x="3078" y="3144"/>
                        </a:lnTo>
                        <a:lnTo>
                          <a:pt x="3072" y="3144"/>
                        </a:lnTo>
                        <a:lnTo>
                          <a:pt x="3070" y="3142"/>
                        </a:lnTo>
                        <a:lnTo>
                          <a:pt x="3070" y="3140"/>
                        </a:lnTo>
                        <a:lnTo>
                          <a:pt x="3070" y="3140"/>
                        </a:lnTo>
                        <a:lnTo>
                          <a:pt x="3068" y="3134"/>
                        </a:lnTo>
                        <a:lnTo>
                          <a:pt x="3066" y="3132"/>
                        </a:lnTo>
                        <a:lnTo>
                          <a:pt x="3058" y="3132"/>
                        </a:lnTo>
                        <a:lnTo>
                          <a:pt x="3046" y="3132"/>
                        </a:lnTo>
                        <a:lnTo>
                          <a:pt x="3046" y="3132"/>
                        </a:lnTo>
                        <a:lnTo>
                          <a:pt x="3038" y="3134"/>
                        </a:lnTo>
                        <a:lnTo>
                          <a:pt x="3034" y="3138"/>
                        </a:lnTo>
                        <a:lnTo>
                          <a:pt x="3028" y="3142"/>
                        </a:lnTo>
                        <a:lnTo>
                          <a:pt x="3010" y="3144"/>
                        </a:lnTo>
                        <a:lnTo>
                          <a:pt x="3010" y="3144"/>
                        </a:lnTo>
                        <a:lnTo>
                          <a:pt x="2996" y="3146"/>
                        </a:lnTo>
                        <a:lnTo>
                          <a:pt x="2986" y="3152"/>
                        </a:lnTo>
                        <a:lnTo>
                          <a:pt x="2978" y="3156"/>
                        </a:lnTo>
                        <a:lnTo>
                          <a:pt x="2968" y="3160"/>
                        </a:lnTo>
                        <a:lnTo>
                          <a:pt x="2968" y="3160"/>
                        </a:lnTo>
                        <a:lnTo>
                          <a:pt x="2964" y="3160"/>
                        </a:lnTo>
                        <a:lnTo>
                          <a:pt x="2960" y="3158"/>
                        </a:lnTo>
                        <a:lnTo>
                          <a:pt x="2956" y="3148"/>
                        </a:lnTo>
                        <a:lnTo>
                          <a:pt x="2952" y="3144"/>
                        </a:lnTo>
                        <a:lnTo>
                          <a:pt x="2946" y="3138"/>
                        </a:lnTo>
                        <a:lnTo>
                          <a:pt x="2938" y="3134"/>
                        </a:lnTo>
                        <a:lnTo>
                          <a:pt x="2924" y="3130"/>
                        </a:lnTo>
                        <a:lnTo>
                          <a:pt x="2924" y="3130"/>
                        </a:lnTo>
                        <a:lnTo>
                          <a:pt x="2912" y="3126"/>
                        </a:lnTo>
                        <a:lnTo>
                          <a:pt x="2904" y="3120"/>
                        </a:lnTo>
                        <a:lnTo>
                          <a:pt x="2898" y="3112"/>
                        </a:lnTo>
                        <a:lnTo>
                          <a:pt x="2894" y="3102"/>
                        </a:lnTo>
                        <a:lnTo>
                          <a:pt x="2884" y="3076"/>
                        </a:lnTo>
                        <a:lnTo>
                          <a:pt x="2876" y="3062"/>
                        </a:lnTo>
                        <a:lnTo>
                          <a:pt x="2864" y="3046"/>
                        </a:lnTo>
                        <a:lnTo>
                          <a:pt x="2864" y="3046"/>
                        </a:lnTo>
                        <a:lnTo>
                          <a:pt x="2858" y="3036"/>
                        </a:lnTo>
                        <a:lnTo>
                          <a:pt x="2852" y="3028"/>
                        </a:lnTo>
                        <a:lnTo>
                          <a:pt x="2848" y="3010"/>
                        </a:lnTo>
                        <a:lnTo>
                          <a:pt x="2844" y="2998"/>
                        </a:lnTo>
                        <a:lnTo>
                          <a:pt x="2844" y="2994"/>
                        </a:lnTo>
                        <a:lnTo>
                          <a:pt x="2842" y="2992"/>
                        </a:lnTo>
                        <a:lnTo>
                          <a:pt x="2842" y="2992"/>
                        </a:lnTo>
                        <a:lnTo>
                          <a:pt x="2838" y="2990"/>
                        </a:lnTo>
                        <a:lnTo>
                          <a:pt x="2836" y="2988"/>
                        </a:lnTo>
                        <a:lnTo>
                          <a:pt x="2834" y="2976"/>
                        </a:lnTo>
                        <a:lnTo>
                          <a:pt x="2830" y="2948"/>
                        </a:lnTo>
                        <a:lnTo>
                          <a:pt x="2830" y="2948"/>
                        </a:lnTo>
                        <a:lnTo>
                          <a:pt x="2830" y="2938"/>
                        </a:lnTo>
                        <a:lnTo>
                          <a:pt x="2828" y="2934"/>
                        </a:lnTo>
                        <a:lnTo>
                          <a:pt x="2828" y="2932"/>
                        </a:lnTo>
                        <a:lnTo>
                          <a:pt x="2830" y="2926"/>
                        </a:lnTo>
                        <a:lnTo>
                          <a:pt x="2830" y="2926"/>
                        </a:lnTo>
                        <a:lnTo>
                          <a:pt x="2830" y="2916"/>
                        </a:lnTo>
                        <a:lnTo>
                          <a:pt x="2830" y="2906"/>
                        </a:lnTo>
                        <a:lnTo>
                          <a:pt x="2830" y="2886"/>
                        </a:lnTo>
                        <a:lnTo>
                          <a:pt x="2834" y="2854"/>
                        </a:lnTo>
                        <a:lnTo>
                          <a:pt x="2834" y="2854"/>
                        </a:lnTo>
                        <a:lnTo>
                          <a:pt x="2840" y="2820"/>
                        </a:lnTo>
                        <a:lnTo>
                          <a:pt x="2846" y="2800"/>
                        </a:lnTo>
                        <a:lnTo>
                          <a:pt x="2852" y="2784"/>
                        </a:lnTo>
                        <a:lnTo>
                          <a:pt x="2856" y="2766"/>
                        </a:lnTo>
                        <a:lnTo>
                          <a:pt x="2856" y="2766"/>
                        </a:lnTo>
                        <a:lnTo>
                          <a:pt x="2854" y="2748"/>
                        </a:lnTo>
                        <a:lnTo>
                          <a:pt x="2850" y="2728"/>
                        </a:lnTo>
                        <a:lnTo>
                          <a:pt x="2846" y="2710"/>
                        </a:lnTo>
                        <a:lnTo>
                          <a:pt x="2846" y="2696"/>
                        </a:lnTo>
                        <a:lnTo>
                          <a:pt x="2846" y="2696"/>
                        </a:lnTo>
                        <a:lnTo>
                          <a:pt x="2850" y="2686"/>
                        </a:lnTo>
                        <a:lnTo>
                          <a:pt x="2854" y="2678"/>
                        </a:lnTo>
                        <a:lnTo>
                          <a:pt x="2858" y="2672"/>
                        </a:lnTo>
                        <a:lnTo>
                          <a:pt x="2864" y="2662"/>
                        </a:lnTo>
                        <a:lnTo>
                          <a:pt x="2864" y="2662"/>
                        </a:lnTo>
                        <a:lnTo>
                          <a:pt x="2866" y="2658"/>
                        </a:lnTo>
                        <a:lnTo>
                          <a:pt x="2870" y="2654"/>
                        </a:lnTo>
                        <a:lnTo>
                          <a:pt x="2880" y="2646"/>
                        </a:lnTo>
                        <a:lnTo>
                          <a:pt x="2886" y="2642"/>
                        </a:lnTo>
                        <a:lnTo>
                          <a:pt x="2888" y="2640"/>
                        </a:lnTo>
                        <a:lnTo>
                          <a:pt x="2886" y="2638"/>
                        </a:lnTo>
                        <a:lnTo>
                          <a:pt x="2886" y="2638"/>
                        </a:lnTo>
                        <a:lnTo>
                          <a:pt x="2880" y="2628"/>
                        </a:lnTo>
                        <a:lnTo>
                          <a:pt x="2878" y="2626"/>
                        </a:lnTo>
                        <a:lnTo>
                          <a:pt x="2882" y="2628"/>
                        </a:lnTo>
                        <a:lnTo>
                          <a:pt x="2882" y="2628"/>
                        </a:lnTo>
                        <a:lnTo>
                          <a:pt x="2886" y="2628"/>
                        </a:lnTo>
                        <a:lnTo>
                          <a:pt x="2890" y="2628"/>
                        </a:lnTo>
                        <a:lnTo>
                          <a:pt x="2892" y="2626"/>
                        </a:lnTo>
                        <a:lnTo>
                          <a:pt x="2894" y="2628"/>
                        </a:lnTo>
                        <a:lnTo>
                          <a:pt x="2894" y="2628"/>
                        </a:lnTo>
                        <a:lnTo>
                          <a:pt x="2896" y="2628"/>
                        </a:lnTo>
                        <a:lnTo>
                          <a:pt x="2902" y="2628"/>
                        </a:lnTo>
                        <a:lnTo>
                          <a:pt x="2912" y="2624"/>
                        </a:lnTo>
                        <a:lnTo>
                          <a:pt x="2926" y="2616"/>
                        </a:lnTo>
                        <a:lnTo>
                          <a:pt x="2936" y="2606"/>
                        </a:lnTo>
                        <a:lnTo>
                          <a:pt x="2936" y="2606"/>
                        </a:lnTo>
                        <a:lnTo>
                          <a:pt x="2942" y="2600"/>
                        </a:lnTo>
                        <a:lnTo>
                          <a:pt x="2948" y="2594"/>
                        </a:lnTo>
                        <a:lnTo>
                          <a:pt x="2964" y="2584"/>
                        </a:lnTo>
                        <a:lnTo>
                          <a:pt x="2964" y="2584"/>
                        </a:lnTo>
                        <a:lnTo>
                          <a:pt x="2980" y="2572"/>
                        </a:lnTo>
                        <a:lnTo>
                          <a:pt x="2990" y="2570"/>
                        </a:lnTo>
                        <a:lnTo>
                          <a:pt x="3006" y="2568"/>
                        </a:lnTo>
                        <a:lnTo>
                          <a:pt x="3006" y="2568"/>
                        </a:lnTo>
                        <a:lnTo>
                          <a:pt x="3014" y="2568"/>
                        </a:lnTo>
                        <a:lnTo>
                          <a:pt x="3020" y="2570"/>
                        </a:lnTo>
                        <a:lnTo>
                          <a:pt x="3032" y="2574"/>
                        </a:lnTo>
                        <a:lnTo>
                          <a:pt x="3040" y="2580"/>
                        </a:lnTo>
                        <a:lnTo>
                          <a:pt x="3046" y="2580"/>
                        </a:lnTo>
                        <a:lnTo>
                          <a:pt x="3050" y="2580"/>
                        </a:lnTo>
                        <a:lnTo>
                          <a:pt x="3050" y="2580"/>
                        </a:lnTo>
                        <a:lnTo>
                          <a:pt x="3060" y="2578"/>
                        </a:lnTo>
                        <a:lnTo>
                          <a:pt x="3064" y="2580"/>
                        </a:lnTo>
                        <a:lnTo>
                          <a:pt x="3068" y="2582"/>
                        </a:lnTo>
                        <a:lnTo>
                          <a:pt x="3072" y="2580"/>
                        </a:lnTo>
                        <a:lnTo>
                          <a:pt x="3072" y="2580"/>
                        </a:lnTo>
                        <a:lnTo>
                          <a:pt x="3074" y="2578"/>
                        </a:lnTo>
                        <a:lnTo>
                          <a:pt x="3072" y="2578"/>
                        </a:lnTo>
                        <a:lnTo>
                          <a:pt x="3066" y="2576"/>
                        </a:lnTo>
                        <a:lnTo>
                          <a:pt x="3058" y="2572"/>
                        </a:lnTo>
                        <a:lnTo>
                          <a:pt x="3058" y="2572"/>
                        </a:lnTo>
                        <a:lnTo>
                          <a:pt x="3060" y="2568"/>
                        </a:lnTo>
                        <a:lnTo>
                          <a:pt x="3060" y="2568"/>
                        </a:lnTo>
                        <a:lnTo>
                          <a:pt x="3068" y="2566"/>
                        </a:lnTo>
                        <a:lnTo>
                          <a:pt x="3074" y="2568"/>
                        </a:lnTo>
                        <a:lnTo>
                          <a:pt x="3078" y="2572"/>
                        </a:lnTo>
                        <a:lnTo>
                          <a:pt x="3082" y="2578"/>
                        </a:lnTo>
                        <a:lnTo>
                          <a:pt x="3082" y="2578"/>
                        </a:lnTo>
                        <a:lnTo>
                          <a:pt x="3084" y="2580"/>
                        </a:lnTo>
                        <a:lnTo>
                          <a:pt x="3086" y="2582"/>
                        </a:lnTo>
                        <a:lnTo>
                          <a:pt x="3092" y="2584"/>
                        </a:lnTo>
                        <a:lnTo>
                          <a:pt x="3096" y="2586"/>
                        </a:lnTo>
                        <a:lnTo>
                          <a:pt x="3094" y="2588"/>
                        </a:lnTo>
                        <a:lnTo>
                          <a:pt x="3092" y="2590"/>
                        </a:lnTo>
                        <a:lnTo>
                          <a:pt x="3092" y="2590"/>
                        </a:lnTo>
                        <a:lnTo>
                          <a:pt x="3092" y="2594"/>
                        </a:lnTo>
                        <a:lnTo>
                          <a:pt x="3094" y="2596"/>
                        </a:lnTo>
                        <a:lnTo>
                          <a:pt x="3102" y="2600"/>
                        </a:lnTo>
                        <a:lnTo>
                          <a:pt x="3112" y="2600"/>
                        </a:lnTo>
                        <a:lnTo>
                          <a:pt x="3118" y="2600"/>
                        </a:lnTo>
                        <a:lnTo>
                          <a:pt x="3118" y="2600"/>
                        </a:lnTo>
                        <a:lnTo>
                          <a:pt x="3120" y="2596"/>
                        </a:lnTo>
                        <a:lnTo>
                          <a:pt x="3126" y="2594"/>
                        </a:lnTo>
                        <a:lnTo>
                          <a:pt x="3130" y="2594"/>
                        </a:lnTo>
                        <a:lnTo>
                          <a:pt x="3134" y="2600"/>
                        </a:lnTo>
                        <a:lnTo>
                          <a:pt x="3134" y="2600"/>
                        </a:lnTo>
                        <a:lnTo>
                          <a:pt x="3136" y="2602"/>
                        </a:lnTo>
                        <a:lnTo>
                          <a:pt x="3138" y="2604"/>
                        </a:lnTo>
                        <a:lnTo>
                          <a:pt x="3142" y="2602"/>
                        </a:lnTo>
                        <a:lnTo>
                          <a:pt x="3144" y="2596"/>
                        </a:lnTo>
                        <a:lnTo>
                          <a:pt x="3144" y="2592"/>
                        </a:lnTo>
                        <a:lnTo>
                          <a:pt x="3142" y="2588"/>
                        </a:lnTo>
                        <a:lnTo>
                          <a:pt x="3142" y="2588"/>
                        </a:lnTo>
                        <a:lnTo>
                          <a:pt x="3142" y="2584"/>
                        </a:lnTo>
                        <a:lnTo>
                          <a:pt x="3146" y="2584"/>
                        </a:lnTo>
                        <a:lnTo>
                          <a:pt x="3152" y="2586"/>
                        </a:lnTo>
                        <a:lnTo>
                          <a:pt x="3160" y="2594"/>
                        </a:lnTo>
                        <a:lnTo>
                          <a:pt x="3160" y="2594"/>
                        </a:lnTo>
                        <a:lnTo>
                          <a:pt x="3166" y="2602"/>
                        </a:lnTo>
                        <a:lnTo>
                          <a:pt x="3168" y="2608"/>
                        </a:lnTo>
                        <a:lnTo>
                          <a:pt x="3168" y="2610"/>
                        </a:lnTo>
                        <a:lnTo>
                          <a:pt x="3170" y="2610"/>
                        </a:lnTo>
                        <a:lnTo>
                          <a:pt x="3176" y="2606"/>
                        </a:lnTo>
                        <a:lnTo>
                          <a:pt x="3176" y="2606"/>
                        </a:lnTo>
                        <a:lnTo>
                          <a:pt x="3180" y="2602"/>
                        </a:lnTo>
                        <a:lnTo>
                          <a:pt x="3182" y="2600"/>
                        </a:lnTo>
                        <a:lnTo>
                          <a:pt x="3182" y="2596"/>
                        </a:lnTo>
                        <a:lnTo>
                          <a:pt x="3180" y="2594"/>
                        </a:lnTo>
                        <a:lnTo>
                          <a:pt x="3174" y="2590"/>
                        </a:lnTo>
                        <a:lnTo>
                          <a:pt x="3162" y="2584"/>
                        </a:lnTo>
                        <a:lnTo>
                          <a:pt x="3162" y="2584"/>
                        </a:lnTo>
                        <a:lnTo>
                          <a:pt x="3158" y="2580"/>
                        </a:lnTo>
                        <a:lnTo>
                          <a:pt x="3158" y="2578"/>
                        </a:lnTo>
                        <a:lnTo>
                          <a:pt x="3160" y="2576"/>
                        </a:lnTo>
                        <a:lnTo>
                          <a:pt x="3164" y="2574"/>
                        </a:lnTo>
                        <a:lnTo>
                          <a:pt x="3170" y="2568"/>
                        </a:lnTo>
                        <a:lnTo>
                          <a:pt x="3172" y="2564"/>
                        </a:lnTo>
                        <a:lnTo>
                          <a:pt x="3172" y="2560"/>
                        </a:lnTo>
                        <a:lnTo>
                          <a:pt x="3172" y="2560"/>
                        </a:lnTo>
                        <a:lnTo>
                          <a:pt x="3170" y="2556"/>
                        </a:lnTo>
                        <a:lnTo>
                          <a:pt x="3168" y="2556"/>
                        </a:lnTo>
                        <a:lnTo>
                          <a:pt x="3164" y="2558"/>
                        </a:lnTo>
                        <a:lnTo>
                          <a:pt x="3160" y="2562"/>
                        </a:lnTo>
                        <a:lnTo>
                          <a:pt x="3158" y="2562"/>
                        </a:lnTo>
                        <a:lnTo>
                          <a:pt x="3156" y="2562"/>
                        </a:lnTo>
                        <a:lnTo>
                          <a:pt x="3156" y="2562"/>
                        </a:lnTo>
                        <a:lnTo>
                          <a:pt x="3154" y="2560"/>
                        </a:lnTo>
                        <a:lnTo>
                          <a:pt x="3154" y="2558"/>
                        </a:lnTo>
                        <a:lnTo>
                          <a:pt x="3156" y="2556"/>
                        </a:lnTo>
                        <a:lnTo>
                          <a:pt x="3158" y="2552"/>
                        </a:lnTo>
                        <a:lnTo>
                          <a:pt x="3154" y="2550"/>
                        </a:lnTo>
                        <a:lnTo>
                          <a:pt x="3154" y="2550"/>
                        </a:lnTo>
                        <a:lnTo>
                          <a:pt x="3148" y="2550"/>
                        </a:lnTo>
                        <a:lnTo>
                          <a:pt x="3144" y="2554"/>
                        </a:lnTo>
                        <a:lnTo>
                          <a:pt x="3142" y="2556"/>
                        </a:lnTo>
                        <a:lnTo>
                          <a:pt x="3134" y="2554"/>
                        </a:lnTo>
                        <a:lnTo>
                          <a:pt x="3134" y="2554"/>
                        </a:lnTo>
                        <a:lnTo>
                          <a:pt x="3130" y="2550"/>
                        </a:lnTo>
                        <a:lnTo>
                          <a:pt x="3128" y="2548"/>
                        </a:lnTo>
                        <a:lnTo>
                          <a:pt x="3128" y="2544"/>
                        </a:lnTo>
                        <a:lnTo>
                          <a:pt x="3130" y="2540"/>
                        </a:lnTo>
                        <a:lnTo>
                          <a:pt x="3132" y="2538"/>
                        </a:lnTo>
                        <a:lnTo>
                          <a:pt x="3136" y="2536"/>
                        </a:lnTo>
                        <a:lnTo>
                          <a:pt x="3142" y="2536"/>
                        </a:lnTo>
                        <a:lnTo>
                          <a:pt x="3148" y="2538"/>
                        </a:lnTo>
                        <a:lnTo>
                          <a:pt x="3148" y="2538"/>
                        </a:lnTo>
                        <a:lnTo>
                          <a:pt x="3156" y="2544"/>
                        </a:lnTo>
                        <a:lnTo>
                          <a:pt x="3164" y="2546"/>
                        </a:lnTo>
                        <a:lnTo>
                          <a:pt x="3170" y="2544"/>
                        </a:lnTo>
                        <a:lnTo>
                          <a:pt x="3178" y="2538"/>
                        </a:lnTo>
                        <a:lnTo>
                          <a:pt x="3178" y="2538"/>
                        </a:lnTo>
                        <a:lnTo>
                          <a:pt x="3182" y="2536"/>
                        </a:lnTo>
                        <a:lnTo>
                          <a:pt x="3190" y="2536"/>
                        </a:lnTo>
                        <a:lnTo>
                          <a:pt x="3202" y="2536"/>
                        </a:lnTo>
                        <a:lnTo>
                          <a:pt x="3214" y="2538"/>
                        </a:lnTo>
                        <a:lnTo>
                          <a:pt x="3218" y="2538"/>
                        </a:lnTo>
                        <a:lnTo>
                          <a:pt x="3220" y="2536"/>
                        </a:lnTo>
                        <a:lnTo>
                          <a:pt x="3220" y="2536"/>
                        </a:lnTo>
                        <a:lnTo>
                          <a:pt x="3222" y="2522"/>
                        </a:lnTo>
                        <a:lnTo>
                          <a:pt x="3224" y="2520"/>
                        </a:lnTo>
                        <a:lnTo>
                          <a:pt x="3226" y="2522"/>
                        </a:lnTo>
                        <a:lnTo>
                          <a:pt x="3232" y="2534"/>
                        </a:lnTo>
                        <a:lnTo>
                          <a:pt x="3232" y="2534"/>
                        </a:lnTo>
                        <a:lnTo>
                          <a:pt x="3232" y="2538"/>
                        </a:lnTo>
                        <a:lnTo>
                          <a:pt x="3230" y="2540"/>
                        </a:lnTo>
                        <a:lnTo>
                          <a:pt x="3226" y="2544"/>
                        </a:lnTo>
                        <a:lnTo>
                          <a:pt x="3224" y="2546"/>
                        </a:lnTo>
                        <a:lnTo>
                          <a:pt x="3234" y="2544"/>
                        </a:lnTo>
                        <a:lnTo>
                          <a:pt x="3234" y="2544"/>
                        </a:lnTo>
                        <a:lnTo>
                          <a:pt x="3268" y="2536"/>
                        </a:lnTo>
                        <a:lnTo>
                          <a:pt x="3282" y="2536"/>
                        </a:lnTo>
                        <a:lnTo>
                          <a:pt x="3296" y="2538"/>
                        </a:lnTo>
                        <a:lnTo>
                          <a:pt x="3296" y="2538"/>
                        </a:lnTo>
                        <a:lnTo>
                          <a:pt x="3312" y="2544"/>
                        </a:lnTo>
                        <a:lnTo>
                          <a:pt x="3318" y="2546"/>
                        </a:lnTo>
                        <a:lnTo>
                          <a:pt x="3320" y="2552"/>
                        </a:lnTo>
                        <a:lnTo>
                          <a:pt x="3320" y="2552"/>
                        </a:lnTo>
                        <a:lnTo>
                          <a:pt x="3324" y="2556"/>
                        </a:lnTo>
                        <a:lnTo>
                          <a:pt x="3326" y="2556"/>
                        </a:lnTo>
                        <a:lnTo>
                          <a:pt x="3330" y="2560"/>
                        </a:lnTo>
                        <a:lnTo>
                          <a:pt x="3330" y="2566"/>
                        </a:lnTo>
                        <a:lnTo>
                          <a:pt x="3330" y="2566"/>
                        </a:lnTo>
                        <a:lnTo>
                          <a:pt x="3332" y="2570"/>
                        </a:lnTo>
                        <a:lnTo>
                          <a:pt x="3336" y="2572"/>
                        </a:lnTo>
                        <a:lnTo>
                          <a:pt x="3340" y="2570"/>
                        </a:lnTo>
                        <a:lnTo>
                          <a:pt x="3346" y="2570"/>
                        </a:lnTo>
                        <a:lnTo>
                          <a:pt x="3360" y="2564"/>
                        </a:lnTo>
                        <a:lnTo>
                          <a:pt x="3368" y="2562"/>
                        </a:lnTo>
                        <a:lnTo>
                          <a:pt x="3368" y="2562"/>
                        </a:lnTo>
                        <a:lnTo>
                          <a:pt x="3370" y="2560"/>
                        </a:lnTo>
                        <a:lnTo>
                          <a:pt x="3372" y="2560"/>
                        </a:lnTo>
                        <a:lnTo>
                          <a:pt x="3372" y="2556"/>
                        </a:lnTo>
                        <a:lnTo>
                          <a:pt x="3376" y="2552"/>
                        </a:lnTo>
                        <a:lnTo>
                          <a:pt x="3382" y="2552"/>
                        </a:lnTo>
                        <a:lnTo>
                          <a:pt x="3382" y="2552"/>
                        </a:lnTo>
                        <a:lnTo>
                          <a:pt x="3388" y="2554"/>
                        </a:lnTo>
                        <a:lnTo>
                          <a:pt x="3394" y="2558"/>
                        </a:lnTo>
                        <a:lnTo>
                          <a:pt x="3406" y="2574"/>
                        </a:lnTo>
                        <a:lnTo>
                          <a:pt x="3418" y="2592"/>
                        </a:lnTo>
                        <a:lnTo>
                          <a:pt x="3424" y="2596"/>
                        </a:lnTo>
                        <a:lnTo>
                          <a:pt x="3428" y="2598"/>
                        </a:lnTo>
                        <a:lnTo>
                          <a:pt x="3428" y="2598"/>
                        </a:lnTo>
                        <a:lnTo>
                          <a:pt x="3432" y="2600"/>
                        </a:lnTo>
                        <a:lnTo>
                          <a:pt x="3434" y="2604"/>
                        </a:lnTo>
                        <a:lnTo>
                          <a:pt x="3438" y="2616"/>
                        </a:lnTo>
                        <a:lnTo>
                          <a:pt x="3440" y="2630"/>
                        </a:lnTo>
                        <a:lnTo>
                          <a:pt x="3436" y="2646"/>
                        </a:lnTo>
                        <a:lnTo>
                          <a:pt x="3436" y="2646"/>
                        </a:lnTo>
                        <a:lnTo>
                          <a:pt x="3434" y="2658"/>
                        </a:lnTo>
                        <a:lnTo>
                          <a:pt x="3434" y="2670"/>
                        </a:lnTo>
                        <a:lnTo>
                          <a:pt x="3436" y="2676"/>
                        </a:lnTo>
                        <a:lnTo>
                          <a:pt x="3438" y="2678"/>
                        </a:lnTo>
                        <a:lnTo>
                          <a:pt x="3440" y="2676"/>
                        </a:lnTo>
                        <a:lnTo>
                          <a:pt x="3440" y="2676"/>
                        </a:lnTo>
                        <a:lnTo>
                          <a:pt x="3446" y="2672"/>
                        </a:lnTo>
                        <a:lnTo>
                          <a:pt x="3450" y="2670"/>
                        </a:lnTo>
                        <a:lnTo>
                          <a:pt x="3450" y="2670"/>
                        </a:lnTo>
                        <a:lnTo>
                          <a:pt x="3452" y="2672"/>
                        </a:lnTo>
                        <a:lnTo>
                          <a:pt x="3448" y="2678"/>
                        </a:lnTo>
                        <a:lnTo>
                          <a:pt x="3448" y="2678"/>
                        </a:lnTo>
                        <a:lnTo>
                          <a:pt x="3444" y="2682"/>
                        </a:lnTo>
                        <a:lnTo>
                          <a:pt x="3444" y="2688"/>
                        </a:lnTo>
                        <a:lnTo>
                          <a:pt x="3446" y="2698"/>
                        </a:lnTo>
                        <a:lnTo>
                          <a:pt x="3450" y="2710"/>
                        </a:lnTo>
                        <a:lnTo>
                          <a:pt x="3456" y="2718"/>
                        </a:lnTo>
                        <a:lnTo>
                          <a:pt x="3456" y="2718"/>
                        </a:lnTo>
                        <a:lnTo>
                          <a:pt x="3458" y="2720"/>
                        </a:lnTo>
                        <a:lnTo>
                          <a:pt x="3460" y="2720"/>
                        </a:lnTo>
                        <a:lnTo>
                          <a:pt x="3462" y="2720"/>
                        </a:lnTo>
                        <a:lnTo>
                          <a:pt x="3462" y="2718"/>
                        </a:lnTo>
                        <a:lnTo>
                          <a:pt x="3462" y="2720"/>
                        </a:lnTo>
                        <a:lnTo>
                          <a:pt x="3464" y="2726"/>
                        </a:lnTo>
                        <a:lnTo>
                          <a:pt x="3464" y="2726"/>
                        </a:lnTo>
                        <a:lnTo>
                          <a:pt x="3466" y="2734"/>
                        </a:lnTo>
                        <a:lnTo>
                          <a:pt x="3470" y="2738"/>
                        </a:lnTo>
                        <a:lnTo>
                          <a:pt x="3474" y="2742"/>
                        </a:lnTo>
                        <a:lnTo>
                          <a:pt x="3476" y="2754"/>
                        </a:lnTo>
                        <a:lnTo>
                          <a:pt x="3476" y="2754"/>
                        </a:lnTo>
                        <a:lnTo>
                          <a:pt x="3478" y="2760"/>
                        </a:lnTo>
                        <a:lnTo>
                          <a:pt x="3480" y="2764"/>
                        </a:lnTo>
                        <a:lnTo>
                          <a:pt x="3484" y="2768"/>
                        </a:lnTo>
                        <a:lnTo>
                          <a:pt x="3486" y="2768"/>
                        </a:lnTo>
                        <a:lnTo>
                          <a:pt x="3492" y="2772"/>
                        </a:lnTo>
                        <a:lnTo>
                          <a:pt x="3496" y="2776"/>
                        </a:lnTo>
                        <a:lnTo>
                          <a:pt x="3498" y="2782"/>
                        </a:lnTo>
                        <a:lnTo>
                          <a:pt x="3498" y="2782"/>
                        </a:lnTo>
                        <a:lnTo>
                          <a:pt x="3500" y="2792"/>
                        </a:lnTo>
                        <a:lnTo>
                          <a:pt x="3504" y="2796"/>
                        </a:lnTo>
                        <a:lnTo>
                          <a:pt x="3506" y="2796"/>
                        </a:lnTo>
                        <a:lnTo>
                          <a:pt x="3504" y="2798"/>
                        </a:lnTo>
                        <a:lnTo>
                          <a:pt x="3504" y="2798"/>
                        </a:lnTo>
                        <a:lnTo>
                          <a:pt x="3502" y="2804"/>
                        </a:lnTo>
                        <a:lnTo>
                          <a:pt x="3504" y="2808"/>
                        </a:lnTo>
                        <a:lnTo>
                          <a:pt x="3508" y="2808"/>
                        </a:lnTo>
                        <a:lnTo>
                          <a:pt x="3518" y="2806"/>
                        </a:lnTo>
                        <a:lnTo>
                          <a:pt x="3518" y="2806"/>
                        </a:lnTo>
                        <a:lnTo>
                          <a:pt x="3522" y="2806"/>
                        </a:lnTo>
                        <a:lnTo>
                          <a:pt x="3524" y="2806"/>
                        </a:lnTo>
                        <a:lnTo>
                          <a:pt x="3526" y="2810"/>
                        </a:lnTo>
                        <a:lnTo>
                          <a:pt x="3526" y="2810"/>
                        </a:lnTo>
                        <a:lnTo>
                          <a:pt x="3530" y="2804"/>
                        </a:lnTo>
                        <a:lnTo>
                          <a:pt x="3530" y="2804"/>
                        </a:lnTo>
                        <a:lnTo>
                          <a:pt x="3534" y="2796"/>
                        </a:lnTo>
                        <a:lnTo>
                          <a:pt x="3536" y="2790"/>
                        </a:lnTo>
                        <a:lnTo>
                          <a:pt x="3536" y="2786"/>
                        </a:lnTo>
                        <a:lnTo>
                          <a:pt x="3540" y="2778"/>
                        </a:lnTo>
                        <a:lnTo>
                          <a:pt x="3540" y="2778"/>
                        </a:lnTo>
                        <a:lnTo>
                          <a:pt x="3544" y="2768"/>
                        </a:lnTo>
                        <a:lnTo>
                          <a:pt x="3544" y="2758"/>
                        </a:lnTo>
                        <a:lnTo>
                          <a:pt x="3544" y="2746"/>
                        </a:lnTo>
                        <a:lnTo>
                          <a:pt x="3546" y="2732"/>
                        </a:lnTo>
                        <a:lnTo>
                          <a:pt x="3546" y="2732"/>
                        </a:lnTo>
                        <a:lnTo>
                          <a:pt x="3546" y="2722"/>
                        </a:lnTo>
                        <a:lnTo>
                          <a:pt x="3544" y="2712"/>
                        </a:lnTo>
                        <a:lnTo>
                          <a:pt x="3536" y="2686"/>
                        </a:lnTo>
                        <a:lnTo>
                          <a:pt x="3526" y="2662"/>
                        </a:lnTo>
                        <a:lnTo>
                          <a:pt x="3526" y="2650"/>
                        </a:lnTo>
                        <a:lnTo>
                          <a:pt x="3526" y="2642"/>
                        </a:lnTo>
                        <a:lnTo>
                          <a:pt x="3526" y="2642"/>
                        </a:lnTo>
                        <a:lnTo>
                          <a:pt x="3526" y="2636"/>
                        </a:lnTo>
                        <a:lnTo>
                          <a:pt x="3524" y="2630"/>
                        </a:lnTo>
                        <a:lnTo>
                          <a:pt x="3514" y="2610"/>
                        </a:lnTo>
                        <a:lnTo>
                          <a:pt x="3506" y="2598"/>
                        </a:lnTo>
                        <a:lnTo>
                          <a:pt x="3500" y="2582"/>
                        </a:lnTo>
                        <a:lnTo>
                          <a:pt x="3496" y="2564"/>
                        </a:lnTo>
                        <a:lnTo>
                          <a:pt x="3492" y="2542"/>
                        </a:lnTo>
                        <a:lnTo>
                          <a:pt x="3492" y="2542"/>
                        </a:lnTo>
                        <a:lnTo>
                          <a:pt x="3490" y="2520"/>
                        </a:lnTo>
                        <a:lnTo>
                          <a:pt x="3492" y="2500"/>
                        </a:lnTo>
                        <a:lnTo>
                          <a:pt x="3496" y="2484"/>
                        </a:lnTo>
                        <a:lnTo>
                          <a:pt x="3502" y="2470"/>
                        </a:lnTo>
                        <a:lnTo>
                          <a:pt x="3508" y="2458"/>
                        </a:lnTo>
                        <a:lnTo>
                          <a:pt x="3514" y="2448"/>
                        </a:lnTo>
                        <a:lnTo>
                          <a:pt x="3524" y="2438"/>
                        </a:lnTo>
                        <a:lnTo>
                          <a:pt x="3524" y="2438"/>
                        </a:lnTo>
                        <a:lnTo>
                          <a:pt x="3528" y="2434"/>
                        </a:lnTo>
                        <a:lnTo>
                          <a:pt x="3528" y="2432"/>
                        </a:lnTo>
                        <a:lnTo>
                          <a:pt x="3528" y="2428"/>
                        </a:lnTo>
                        <a:lnTo>
                          <a:pt x="3528" y="2426"/>
                        </a:lnTo>
                        <a:lnTo>
                          <a:pt x="3528" y="2426"/>
                        </a:lnTo>
                        <a:lnTo>
                          <a:pt x="3536" y="2424"/>
                        </a:lnTo>
                        <a:lnTo>
                          <a:pt x="3536" y="2424"/>
                        </a:lnTo>
                        <a:lnTo>
                          <a:pt x="3542" y="2424"/>
                        </a:lnTo>
                        <a:lnTo>
                          <a:pt x="3548" y="2420"/>
                        </a:lnTo>
                        <a:lnTo>
                          <a:pt x="3556" y="2412"/>
                        </a:lnTo>
                        <a:lnTo>
                          <a:pt x="3564" y="2402"/>
                        </a:lnTo>
                        <a:lnTo>
                          <a:pt x="3568" y="2400"/>
                        </a:lnTo>
                        <a:lnTo>
                          <a:pt x="3570" y="2398"/>
                        </a:lnTo>
                        <a:lnTo>
                          <a:pt x="3570" y="2398"/>
                        </a:lnTo>
                        <a:lnTo>
                          <a:pt x="3574" y="2398"/>
                        </a:lnTo>
                        <a:lnTo>
                          <a:pt x="3576" y="2394"/>
                        </a:lnTo>
                        <a:lnTo>
                          <a:pt x="3580" y="2384"/>
                        </a:lnTo>
                        <a:lnTo>
                          <a:pt x="3588" y="2370"/>
                        </a:lnTo>
                        <a:lnTo>
                          <a:pt x="3592" y="2362"/>
                        </a:lnTo>
                        <a:lnTo>
                          <a:pt x="3600" y="2356"/>
                        </a:lnTo>
                        <a:lnTo>
                          <a:pt x="3600" y="2356"/>
                        </a:lnTo>
                        <a:lnTo>
                          <a:pt x="3606" y="2352"/>
                        </a:lnTo>
                        <a:lnTo>
                          <a:pt x="3612" y="2350"/>
                        </a:lnTo>
                        <a:lnTo>
                          <a:pt x="3624" y="2350"/>
                        </a:lnTo>
                        <a:lnTo>
                          <a:pt x="3628" y="2350"/>
                        </a:lnTo>
                        <a:lnTo>
                          <a:pt x="3630" y="2350"/>
                        </a:lnTo>
                        <a:lnTo>
                          <a:pt x="3634" y="2346"/>
                        </a:lnTo>
                        <a:lnTo>
                          <a:pt x="3636" y="2342"/>
                        </a:lnTo>
                        <a:lnTo>
                          <a:pt x="3636" y="2342"/>
                        </a:lnTo>
                        <a:lnTo>
                          <a:pt x="3638" y="2334"/>
                        </a:lnTo>
                        <a:lnTo>
                          <a:pt x="3642" y="2328"/>
                        </a:lnTo>
                        <a:lnTo>
                          <a:pt x="3654" y="2318"/>
                        </a:lnTo>
                        <a:lnTo>
                          <a:pt x="3666" y="2310"/>
                        </a:lnTo>
                        <a:lnTo>
                          <a:pt x="3680" y="2306"/>
                        </a:lnTo>
                        <a:lnTo>
                          <a:pt x="3680" y="2306"/>
                        </a:lnTo>
                        <a:lnTo>
                          <a:pt x="3690" y="2304"/>
                        </a:lnTo>
                        <a:lnTo>
                          <a:pt x="3696" y="2300"/>
                        </a:lnTo>
                        <a:lnTo>
                          <a:pt x="3698" y="2294"/>
                        </a:lnTo>
                        <a:lnTo>
                          <a:pt x="3698" y="2292"/>
                        </a:lnTo>
                        <a:lnTo>
                          <a:pt x="3696" y="2290"/>
                        </a:lnTo>
                        <a:lnTo>
                          <a:pt x="3696" y="2290"/>
                        </a:lnTo>
                        <a:lnTo>
                          <a:pt x="3694" y="2290"/>
                        </a:lnTo>
                        <a:lnTo>
                          <a:pt x="3690" y="2290"/>
                        </a:lnTo>
                        <a:lnTo>
                          <a:pt x="3686" y="2294"/>
                        </a:lnTo>
                        <a:lnTo>
                          <a:pt x="3680" y="2296"/>
                        </a:lnTo>
                        <a:lnTo>
                          <a:pt x="3676" y="2298"/>
                        </a:lnTo>
                        <a:lnTo>
                          <a:pt x="3674" y="2296"/>
                        </a:lnTo>
                        <a:lnTo>
                          <a:pt x="3674" y="2296"/>
                        </a:lnTo>
                        <a:lnTo>
                          <a:pt x="3672" y="2294"/>
                        </a:lnTo>
                        <a:lnTo>
                          <a:pt x="3674" y="2292"/>
                        </a:lnTo>
                        <a:lnTo>
                          <a:pt x="3680" y="2290"/>
                        </a:lnTo>
                        <a:lnTo>
                          <a:pt x="3682" y="2288"/>
                        </a:lnTo>
                        <a:lnTo>
                          <a:pt x="3684" y="2286"/>
                        </a:lnTo>
                        <a:lnTo>
                          <a:pt x="3684" y="2286"/>
                        </a:lnTo>
                        <a:lnTo>
                          <a:pt x="3686" y="2282"/>
                        </a:lnTo>
                        <a:lnTo>
                          <a:pt x="3684" y="2278"/>
                        </a:lnTo>
                        <a:lnTo>
                          <a:pt x="3678" y="2272"/>
                        </a:lnTo>
                        <a:lnTo>
                          <a:pt x="3676" y="2268"/>
                        </a:lnTo>
                        <a:lnTo>
                          <a:pt x="3682" y="2268"/>
                        </a:lnTo>
                        <a:lnTo>
                          <a:pt x="3682" y="2268"/>
                        </a:lnTo>
                        <a:lnTo>
                          <a:pt x="3692" y="2272"/>
                        </a:lnTo>
                        <a:lnTo>
                          <a:pt x="3696" y="2274"/>
                        </a:lnTo>
                        <a:lnTo>
                          <a:pt x="3698" y="2276"/>
                        </a:lnTo>
                        <a:lnTo>
                          <a:pt x="3700" y="2274"/>
                        </a:lnTo>
                        <a:lnTo>
                          <a:pt x="3706" y="2270"/>
                        </a:lnTo>
                        <a:lnTo>
                          <a:pt x="3706" y="2270"/>
                        </a:lnTo>
                        <a:lnTo>
                          <a:pt x="3710" y="2264"/>
                        </a:lnTo>
                        <a:lnTo>
                          <a:pt x="3714" y="2262"/>
                        </a:lnTo>
                        <a:lnTo>
                          <a:pt x="3716" y="2260"/>
                        </a:lnTo>
                        <a:lnTo>
                          <a:pt x="3718" y="2254"/>
                        </a:lnTo>
                        <a:lnTo>
                          <a:pt x="3718" y="2254"/>
                        </a:lnTo>
                        <a:lnTo>
                          <a:pt x="3720" y="2246"/>
                        </a:lnTo>
                        <a:lnTo>
                          <a:pt x="3718" y="2242"/>
                        </a:lnTo>
                        <a:lnTo>
                          <a:pt x="3714" y="2240"/>
                        </a:lnTo>
                        <a:lnTo>
                          <a:pt x="3710" y="2244"/>
                        </a:lnTo>
                        <a:lnTo>
                          <a:pt x="3710" y="2244"/>
                        </a:lnTo>
                        <a:lnTo>
                          <a:pt x="3708" y="2244"/>
                        </a:lnTo>
                        <a:lnTo>
                          <a:pt x="3708" y="2242"/>
                        </a:lnTo>
                        <a:lnTo>
                          <a:pt x="3704" y="2240"/>
                        </a:lnTo>
                        <a:lnTo>
                          <a:pt x="3694" y="2240"/>
                        </a:lnTo>
                        <a:lnTo>
                          <a:pt x="3694" y="2240"/>
                        </a:lnTo>
                        <a:lnTo>
                          <a:pt x="3684" y="2242"/>
                        </a:lnTo>
                        <a:lnTo>
                          <a:pt x="3678" y="2240"/>
                        </a:lnTo>
                        <a:lnTo>
                          <a:pt x="3678" y="2236"/>
                        </a:lnTo>
                        <a:lnTo>
                          <a:pt x="3678" y="2230"/>
                        </a:lnTo>
                        <a:lnTo>
                          <a:pt x="3678" y="2230"/>
                        </a:lnTo>
                        <a:lnTo>
                          <a:pt x="3678" y="2228"/>
                        </a:lnTo>
                        <a:lnTo>
                          <a:pt x="3678" y="2228"/>
                        </a:lnTo>
                        <a:lnTo>
                          <a:pt x="3680" y="2232"/>
                        </a:lnTo>
                        <a:lnTo>
                          <a:pt x="3684" y="2236"/>
                        </a:lnTo>
                        <a:lnTo>
                          <a:pt x="3686" y="2236"/>
                        </a:lnTo>
                        <a:lnTo>
                          <a:pt x="3690" y="2236"/>
                        </a:lnTo>
                        <a:lnTo>
                          <a:pt x="3696" y="2234"/>
                        </a:lnTo>
                        <a:lnTo>
                          <a:pt x="3696" y="2234"/>
                        </a:lnTo>
                        <a:lnTo>
                          <a:pt x="3704" y="2230"/>
                        </a:lnTo>
                        <a:lnTo>
                          <a:pt x="3708" y="2230"/>
                        </a:lnTo>
                        <a:lnTo>
                          <a:pt x="3714" y="2232"/>
                        </a:lnTo>
                        <a:lnTo>
                          <a:pt x="3718" y="2236"/>
                        </a:lnTo>
                        <a:lnTo>
                          <a:pt x="3724" y="2244"/>
                        </a:lnTo>
                        <a:lnTo>
                          <a:pt x="3726" y="2248"/>
                        </a:lnTo>
                        <a:lnTo>
                          <a:pt x="3728" y="2248"/>
                        </a:lnTo>
                        <a:lnTo>
                          <a:pt x="3728" y="2248"/>
                        </a:lnTo>
                        <a:lnTo>
                          <a:pt x="3728" y="2246"/>
                        </a:lnTo>
                        <a:lnTo>
                          <a:pt x="3728" y="2244"/>
                        </a:lnTo>
                        <a:lnTo>
                          <a:pt x="3724" y="2236"/>
                        </a:lnTo>
                        <a:lnTo>
                          <a:pt x="3718" y="2222"/>
                        </a:lnTo>
                        <a:lnTo>
                          <a:pt x="3712" y="2198"/>
                        </a:lnTo>
                        <a:lnTo>
                          <a:pt x="3712" y="2198"/>
                        </a:lnTo>
                        <a:lnTo>
                          <a:pt x="3708" y="2188"/>
                        </a:lnTo>
                        <a:lnTo>
                          <a:pt x="3706" y="2186"/>
                        </a:lnTo>
                        <a:lnTo>
                          <a:pt x="3704" y="2186"/>
                        </a:lnTo>
                        <a:lnTo>
                          <a:pt x="3700" y="2188"/>
                        </a:lnTo>
                        <a:lnTo>
                          <a:pt x="3694" y="2190"/>
                        </a:lnTo>
                        <a:lnTo>
                          <a:pt x="3694" y="2190"/>
                        </a:lnTo>
                        <a:lnTo>
                          <a:pt x="3692" y="2190"/>
                        </a:lnTo>
                        <a:lnTo>
                          <a:pt x="3692" y="2190"/>
                        </a:lnTo>
                        <a:lnTo>
                          <a:pt x="3696" y="2186"/>
                        </a:lnTo>
                        <a:lnTo>
                          <a:pt x="3698" y="2180"/>
                        </a:lnTo>
                        <a:lnTo>
                          <a:pt x="3698" y="2176"/>
                        </a:lnTo>
                        <a:lnTo>
                          <a:pt x="3694" y="2174"/>
                        </a:lnTo>
                        <a:lnTo>
                          <a:pt x="3694" y="2174"/>
                        </a:lnTo>
                        <a:lnTo>
                          <a:pt x="3690" y="2170"/>
                        </a:lnTo>
                        <a:lnTo>
                          <a:pt x="3692" y="2170"/>
                        </a:lnTo>
                        <a:lnTo>
                          <a:pt x="3696" y="2168"/>
                        </a:lnTo>
                        <a:lnTo>
                          <a:pt x="3698" y="2166"/>
                        </a:lnTo>
                        <a:lnTo>
                          <a:pt x="3698" y="2162"/>
                        </a:lnTo>
                        <a:lnTo>
                          <a:pt x="3698" y="2156"/>
                        </a:lnTo>
                        <a:lnTo>
                          <a:pt x="3698" y="2156"/>
                        </a:lnTo>
                        <a:lnTo>
                          <a:pt x="3696" y="2144"/>
                        </a:lnTo>
                        <a:lnTo>
                          <a:pt x="3696" y="2140"/>
                        </a:lnTo>
                        <a:lnTo>
                          <a:pt x="3696" y="2136"/>
                        </a:lnTo>
                        <a:lnTo>
                          <a:pt x="3690" y="2130"/>
                        </a:lnTo>
                        <a:lnTo>
                          <a:pt x="3690" y="2130"/>
                        </a:lnTo>
                        <a:lnTo>
                          <a:pt x="3678" y="2118"/>
                        </a:lnTo>
                        <a:lnTo>
                          <a:pt x="3678" y="2118"/>
                        </a:lnTo>
                        <a:lnTo>
                          <a:pt x="3678" y="2118"/>
                        </a:lnTo>
                        <a:lnTo>
                          <a:pt x="3686" y="2122"/>
                        </a:lnTo>
                        <a:lnTo>
                          <a:pt x="3686" y="2122"/>
                        </a:lnTo>
                        <a:lnTo>
                          <a:pt x="3694" y="2126"/>
                        </a:lnTo>
                        <a:lnTo>
                          <a:pt x="3696" y="2124"/>
                        </a:lnTo>
                        <a:lnTo>
                          <a:pt x="3696" y="2124"/>
                        </a:lnTo>
                        <a:lnTo>
                          <a:pt x="3692" y="2108"/>
                        </a:lnTo>
                        <a:lnTo>
                          <a:pt x="3692" y="2108"/>
                        </a:lnTo>
                        <a:lnTo>
                          <a:pt x="3688" y="2092"/>
                        </a:lnTo>
                        <a:lnTo>
                          <a:pt x="3690" y="2076"/>
                        </a:lnTo>
                        <a:lnTo>
                          <a:pt x="3690" y="2076"/>
                        </a:lnTo>
                        <a:lnTo>
                          <a:pt x="3692" y="2064"/>
                        </a:lnTo>
                        <a:lnTo>
                          <a:pt x="3696" y="2058"/>
                        </a:lnTo>
                        <a:lnTo>
                          <a:pt x="3702" y="2054"/>
                        </a:lnTo>
                        <a:lnTo>
                          <a:pt x="3702" y="2054"/>
                        </a:lnTo>
                        <a:lnTo>
                          <a:pt x="3704" y="2050"/>
                        </a:lnTo>
                        <a:lnTo>
                          <a:pt x="3704" y="2052"/>
                        </a:lnTo>
                        <a:lnTo>
                          <a:pt x="3700" y="2058"/>
                        </a:lnTo>
                        <a:lnTo>
                          <a:pt x="3698" y="2064"/>
                        </a:lnTo>
                        <a:lnTo>
                          <a:pt x="3698" y="2064"/>
                        </a:lnTo>
                        <a:lnTo>
                          <a:pt x="3694" y="2076"/>
                        </a:lnTo>
                        <a:lnTo>
                          <a:pt x="3694" y="2082"/>
                        </a:lnTo>
                        <a:lnTo>
                          <a:pt x="3696" y="2086"/>
                        </a:lnTo>
                        <a:lnTo>
                          <a:pt x="3696" y="2086"/>
                        </a:lnTo>
                        <a:lnTo>
                          <a:pt x="3696" y="2088"/>
                        </a:lnTo>
                        <a:lnTo>
                          <a:pt x="3696" y="2090"/>
                        </a:lnTo>
                        <a:lnTo>
                          <a:pt x="3694" y="2094"/>
                        </a:lnTo>
                        <a:lnTo>
                          <a:pt x="3696" y="2098"/>
                        </a:lnTo>
                        <a:lnTo>
                          <a:pt x="3696" y="2098"/>
                        </a:lnTo>
                        <a:lnTo>
                          <a:pt x="3698" y="2104"/>
                        </a:lnTo>
                        <a:lnTo>
                          <a:pt x="3696" y="2106"/>
                        </a:lnTo>
                        <a:lnTo>
                          <a:pt x="3696" y="2110"/>
                        </a:lnTo>
                        <a:lnTo>
                          <a:pt x="3700" y="2114"/>
                        </a:lnTo>
                        <a:lnTo>
                          <a:pt x="3700" y="2114"/>
                        </a:lnTo>
                        <a:lnTo>
                          <a:pt x="3706" y="2116"/>
                        </a:lnTo>
                        <a:lnTo>
                          <a:pt x="3708" y="2116"/>
                        </a:lnTo>
                        <a:lnTo>
                          <a:pt x="3710" y="2116"/>
                        </a:lnTo>
                        <a:lnTo>
                          <a:pt x="3712" y="2120"/>
                        </a:lnTo>
                        <a:lnTo>
                          <a:pt x="3712" y="2120"/>
                        </a:lnTo>
                        <a:lnTo>
                          <a:pt x="3712" y="2126"/>
                        </a:lnTo>
                        <a:lnTo>
                          <a:pt x="3712" y="2130"/>
                        </a:lnTo>
                        <a:lnTo>
                          <a:pt x="3712" y="2134"/>
                        </a:lnTo>
                        <a:lnTo>
                          <a:pt x="3716" y="2136"/>
                        </a:lnTo>
                        <a:lnTo>
                          <a:pt x="3716" y="2136"/>
                        </a:lnTo>
                        <a:lnTo>
                          <a:pt x="3718" y="2138"/>
                        </a:lnTo>
                        <a:lnTo>
                          <a:pt x="3716" y="2142"/>
                        </a:lnTo>
                        <a:lnTo>
                          <a:pt x="3710" y="2154"/>
                        </a:lnTo>
                        <a:lnTo>
                          <a:pt x="3706" y="2166"/>
                        </a:lnTo>
                        <a:lnTo>
                          <a:pt x="3706" y="2172"/>
                        </a:lnTo>
                        <a:lnTo>
                          <a:pt x="3710" y="2176"/>
                        </a:lnTo>
                        <a:lnTo>
                          <a:pt x="3710" y="2176"/>
                        </a:lnTo>
                        <a:lnTo>
                          <a:pt x="3712" y="2176"/>
                        </a:lnTo>
                        <a:lnTo>
                          <a:pt x="3714" y="2172"/>
                        </a:lnTo>
                        <a:lnTo>
                          <a:pt x="3720" y="2158"/>
                        </a:lnTo>
                        <a:lnTo>
                          <a:pt x="3728" y="2138"/>
                        </a:lnTo>
                        <a:lnTo>
                          <a:pt x="3738" y="2122"/>
                        </a:lnTo>
                        <a:lnTo>
                          <a:pt x="3738" y="2122"/>
                        </a:lnTo>
                        <a:lnTo>
                          <a:pt x="3744" y="2114"/>
                        </a:lnTo>
                        <a:lnTo>
                          <a:pt x="3746" y="2108"/>
                        </a:lnTo>
                        <a:lnTo>
                          <a:pt x="3748" y="2102"/>
                        </a:lnTo>
                        <a:lnTo>
                          <a:pt x="3748" y="2096"/>
                        </a:lnTo>
                        <a:lnTo>
                          <a:pt x="3748" y="2092"/>
                        </a:lnTo>
                        <a:lnTo>
                          <a:pt x="3746" y="2088"/>
                        </a:lnTo>
                        <a:lnTo>
                          <a:pt x="3744" y="2086"/>
                        </a:lnTo>
                        <a:lnTo>
                          <a:pt x="3740" y="2086"/>
                        </a:lnTo>
                        <a:lnTo>
                          <a:pt x="3740" y="2086"/>
                        </a:lnTo>
                        <a:lnTo>
                          <a:pt x="3738" y="2084"/>
                        </a:lnTo>
                        <a:lnTo>
                          <a:pt x="3736" y="2082"/>
                        </a:lnTo>
                        <a:lnTo>
                          <a:pt x="3732" y="2074"/>
                        </a:lnTo>
                        <a:lnTo>
                          <a:pt x="3726" y="2054"/>
                        </a:lnTo>
                        <a:lnTo>
                          <a:pt x="3726" y="2054"/>
                        </a:lnTo>
                        <a:lnTo>
                          <a:pt x="3724" y="2044"/>
                        </a:lnTo>
                        <a:lnTo>
                          <a:pt x="3726" y="2036"/>
                        </a:lnTo>
                        <a:lnTo>
                          <a:pt x="3730" y="2030"/>
                        </a:lnTo>
                        <a:lnTo>
                          <a:pt x="3738" y="2024"/>
                        </a:lnTo>
                        <a:lnTo>
                          <a:pt x="3738" y="2024"/>
                        </a:lnTo>
                        <a:lnTo>
                          <a:pt x="3742" y="2024"/>
                        </a:lnTo>
                        <a:lnTo>
                          <a:pt x="3736" y="2030"/>
                        </a:lnTo>
                        <a:lnTo>
                          <a:pt x="3732" y="2034"/>
                        </a:lnTo>
                        <a:lnTo>
                          <a:pt x="3730" y="2040"/>
                        </a:lnTo>
                        <a:lnTo>
                          <a:pt x="3730" y="2046"/>
                        </a:lnTo>
                        <a:lnTo>
                          <a:pt x="3732" y="2054"/>
                        </a:lnTo>
                        <a:lnTo>
                          <a:pt x="3732" y="2054"/>
                        </a:lnTo>
                        <a:lnTo>
                          <a:pt x="3738" y="2060"/>
                        </a:lnTo>
                        <a:lnTo>
                          <a:pt x="3742" y="2062"/>
                        </a:lnTo>
                        <a:lnTo>
                          <a:pt x="3748" y="2064"/>
                        </a:lnTo>
                        <a:lnTo>
                          <a:pt x="3750" y="2066"/>
                        </a:lnTo>
                        <a:lnTo>
                          <a:pt x="3750" y="2072"/>
                        </a:lnTo>
                        <a:lnTo>
                          <a:pt x="3750" y="2072"/>
                        </a:lnTo>
                        <a:lnTo>
                          <a:pt x="3750" y="2078"/>
                        </a:lnTo>
                        <a:lnTo>
                          <a:pt x="3752" y="2078"/>
                        </a:lnTo>
                        <a:lnTo>
                          <a:pt x="3754" y="2078"/>
                        </a:lnTo>
                        <a:lnTo>
                          <a:pt x="3758" y="2074"/>
                        </a:lnTo>
                        <a:lnTo>
                          <a:pt x="3766" y="2062"/>
                        </a:lnTo>
                        <a:lnTo>
                          <a:pt x="3774" y="2048"/>
                        </a:lnTo>
                        <a:lnTo>
                          <a:pt x="3774" y="2048"/>
                        </a:lnTo>
                        <a:lnTo>
                          <a:pt x="3784" y="2030"/>
                        </a:lnTo>
                        <a:lnTo>
                          <a:pt x="3790" y="2014"/>
                        </a:lnTo>
                        <a:lnTo>
                          <a:pt x="3790" y="2008"/>
                        </a:lnTo>
                        <a:lnTo>
                          <a:pt x="3790" y="2002"/>
                        </a:lnTo>
                        <a:lnTo>
                          <a:pt x="3790" y="2000"/>
                        </a:lnTo>
                        <a:lnTo>
                          <a:pt x="3786" y="1998"/>
                        </a:lnTo>
                        <a:lnTo>
                          <a:pt x="3786" y="1998"/>
                        </a:lnTo>
                        <a:lnTo>
                          <a:pt x="3778" y="1996"/>
                        </a:lnTo>
                        <a:lnTo>
                          <a:pt x="3776" y="1996"/>
                        </a:lnTo>
                        <a:lnTo>
                          <a:pt x="3776" y="1994"/>
                        </a:lnTo>
                        <a:lnTo>
                          <a:pt x="3778" y="1988"/>
                        </a:lnTo>
                        <a:lnTo>
                          <a:pt x="3784" y="1980"/>
                        </a:lnTo>
                        <a:lnTo>
                          <a:pt x="3784" y="1980"/>
                        </a:lnTo>
                        <a:lnTo>
                          <a:pt x="3796" y="1972"/>
                        </a:lnTo>
                        <a:lnTo>
                          <a:pt x="3808" y="1962"/>
                        </a:lnTo>
                        <a:lnTo>
                          <a:pt x="3824" y="1956"/>
                        </a:lnTo>
                        <a:lnTo>
                          <a:pt x="3838" y="1950"/>
                        </a:lnTo>
                        <a:lnTo>
                          <a:pt x="3838" y="1950"/>
                        </a:lnTo>
                        <a:lnTo>
                          <a:pt x="3854" y="1948"/>
                        </a:lnTo>
                        <a:lnTo>
                          <a:pt x="3870" y="1946"/>
                        </a:lnTo>
                        <a:lnTo>
                          <a:pt x="3886" y="1944"/>
                        </a:lnTo>
                        <a:lnTo>
                          <a:pt x="3890" y="1944"/>
                        </a:lnTo>
                        <a:lnTo>
                          <a:pt x="3892" y="1940"/>
                        </a:lnTo>
                        <a:lnTo>
                          <a:pt x="3892" y="1940"/>
                        </a:lnTo>
                        <a:lnTo>
                          <a:pt x="3894" y="1926"/>
                        </a:lnTo>
                        <a:lnTo>
                          <a:pt x="3896" y="1924"/>
                        </a:lnTo>
                        <a:lnTo>
                          <a:pt x="3898" y="1928"/>
                        </a:lnTo>
                        <a:lnTo>
                          <a:pt x="3898" y="1928"/>
                        </a:lnTo>
                        <a:lnTo>
                          <a:pt x="3900" y="1936"/>
                        </a:lnTo>
                        <a:lnTo>
                          <a:pt x="3904" y="1940"/>
                        </a:lnTo>
                        <a:lnTo>
                          <a:pt x="3906" y="1940"/>
                        </a:lnTo>
                        <a:lnTo>
                          <a:pt x="3908" y="1940"/>
                        </a:lnTo>
                        <a:lnTo>
                          <a:pt x="3914" y="1932"/>
                        </a:lnTo>
                        <a:lnTo>
                          <a:pt x="3914" y="1932"/>
                        </a:lnTo>
                        <a:lnTo>
                          <a:pt x="3920" y="1928"/>
                        </a:lnTo>
                        <a:lnTo>
                          <a:pt x="3922" y="1926"/>
                        </a:lnTo>
                        <a:lnTo>
                          <a:pt x="3924" y="1928"/>
                        </a:lnTo>
                        <a:lnTo>
                          <a:pt x="3924" y="1930"/>
                        </a:lnTo>
                        <a:lnTo>
                          <a:pt x="3924" y="1936"/>
                        </a:lnTo>
                        <a:lnTo>
                          <a:pt x="3926" y="1936"/>
                        </a:lnTo>
                        <a:lnTo>
                          <a:pt x="3928" y="1934"/>
                        </a:lnTo>
                        <a:lnTo>
                          <a:pt x="3928" y="1934"/>
                        </a:lnTo>
                        <a:lnTo>
                          <a:pt x="3932" y="1932"/>
                        </a:lnTo>
                        <a:lnTo>
                          <a:pt x="3936" y="1930"/>
                        </a:lnTo>
                        <a:lnTo>
                          <a:pt x="3946" y="1930"/>
                        </a:lnTo>
                        <a:lnTo>
                          <a:pt x="3952" y="1928"/>
                        </a:lnTo>
                        <a:lnTo>
                          <a:pt x="3952" y="1924"/>
                        </a:lnTo>
                        <a:lnTo>
                          <a:pt x="3952" y="1920"/>
                        </a:lnTo>
                        <a:lnTo>
                          <a:pt x="3952" y="1920"/>
                        </a:lnTo>
                        <a:lnTo>
                          <a:pt x="3948" y="1906"/>
                        </a:lnTo>
                        <a:lnTo>
                          <a:pt x="3946" y="1904"/>
                        </a:lnTo>
                        <a:lnTo>
                          <a:pt x="3942" y="1904"/>
                        </a:lnTo>
                        <a:lnTo>
                          <a:pt x="3942" y="1904"/>
                        </a:lnTo>
                        <a:lnTo>
                          <a:pt x="3940" y="1904"/>
                        </a:lnTo>
                        <a:lnTo>
                          <a:pt x="3942" y="1906"/>
                        </a:lnTo>
                        <a:lnTo>
                          <a:pt x="3946" y="1908"/>
                        </a:lnTo>
                        <a:lnTo>
                          <a:pt x="3948" y="1914"/>
                        </a:lnTo>
                        <a:lnTo>
                          <a:pt x="3948" y="1914"/>
                        </a:lnTo>
                        <a:lnTo>
                          <a:pt x="3944" y="1920"/>
                        </a:lnTo>
                        <a:lnTo>
                          <a:pt x="3940" y="1924"/>
                        </a:lnTo>
                        <a:lnTo>
                          <a:pt x="3936" y="1926"/>
                        </a:lnTo>
                        <a:lnTo>
                          <a:pt x="3932" y="1926"/>
                        </a:lnTo>
                        <a:lnTo>
                          <a:pt x="3930" y="1922"/>
                        </a:lnTo>
                        <a:lnTo>
                          <a:pt x="3928" y="1918"/>
                        </a:lnTo>
                        <a:lnTo>
                          <a:pt x="3928" y="1918"/>
                        </a:lnTo>
                        <a:lnTo>
                          <a:pt x="3924" y="1908"/>
                        </a:lnTo>
                        <a:lnTo>
                          <a:pt x="3924" y="1902"/>
                        </a:lnTo>
                        <a:lnTo>
                          <a:pt x="3920" y="1896"/>
                        </a:lnTo>
                        <a:lnTo>
                          <a:pt x="3912" y="1894"/>
                        </a:lnTo>
                        <a:lnTo>
                          <a:pt x="3912" y="1894"/>
                        </a:lnTo>
                        <a:lnTo>
                          <a:pt x="3910" y="1894"/>
                        </a:lnTo>
                        <a:lnTo>
                          <a:pt x="3910" y="1892"/>
                        </a:lnTo>
                        <a:lnTo>
                          <a:pt x="3918" y="1884"/>
                        </a:lnTo>
                        <a:lnTo>
                          <a:pt x="3926" y="1876"/>
                        </a:lnTo>
                        <a:lnTo>
                          <a:pt x="3926" y="1874"/>
                        </a:lnTo>
                        <a:lnTo>
                          <a:pt x="3924" y="1872"/>
                        </a:lnTo>
                        <a:lnTo>
                          <a:pt x="3924" y="1872"/>
                        </a:lnTo>
                        <a:lnTo>
                          <a:pt x="3922" y="1868"/>
                        </a:lnTo>
                        <a:lnTo>
                          <a:pt x="3920" y="1864"/>
                        </a:lnTo>
                        <a:lnTo>
                          <a:pt x="3922" y="1850"/>
                        </a:lnTo>
                        <a:lnTo>
                          <a:pt x="3928" y="1836"/>
                        </a:lnTo>
                        <a:lnTo>
                          <a:pt x="3936" y="1826"/>
                        </a:lnTo>
                        <a:lnTo>
                          <a:pt x="3936" y="1826"/>
                        </a:lnTo>
                        <a:lnTo>
                          <a:pt x="3940" y="1820"/>
                        </a:lnTo>
                        <a:lnTo>
                          <a:pt x="3940" y="1816"/>
                        </a:lnTo>
                        <a:lnTo>
                          <a:pt x="3940" y="1814"/>
                        </a:lnTo>
                        <a:lnTo>
                          <a:pt x="3942" y="1810"/>
                        </a:lnTo>
                        <a:lnTo>
                          <a:pt x="3942" y="1810"/>
                        </a:lnTo>
                        <a:lnTo>
                          <a:pt x="3944" y="1808"/>
                        </a:lnTo>
                        <a:lnTo>
                          <a:pt x="3946" y="1808"/>
                        </a:lnTo>
                        <a:lnTo>
                          <a:pt x="3948" y="1812"/>
                        </a:lnTo>
                        <a:lnTo>
                          <a:pt x="3952" y="1814"/>
                        </a:lnTo>
                        <a:lnTo>
                          <a:pt x="3954" y="1814"/>
                        </a:lnTo>
                        <a:lnTo>
                          <a:pt x="3958" y="1812"/>
                        </a:lnTo>
                        <a:lnTo>
                          <a:pt x="3958" y="1812"/>
                        </a:lnTo>
                        <a:lnTo>
                          <a:pt x="3966" y="1806"/>
                        </a:lnTo>
                        <a:lnTo>
                          <a:pt x="3970" y="1802"/>
                        </a:lnTo>
                        <a:lnTo>
                          <a:pt x="3974" y="1800"/>
                        </a:lnTo>
                        <a:lnTo>
                          <a:pt x="3976" y="1800"/>
                        </a:lnTo>
                        <a:lnTo>
                          <a:pt x="3976" y="1800"/>
                        </a:lnTo>
                        <a:lnTo>
                          <a:pt x="3982" y="1798"/>
                        </a:lnTo>
                        <a:lnTo>
                          <a:pt x="3984" y="1796"/>
                        </a:lnTo>
                        <a:lnTo>
                          <a:pt x="3988" y="1786"/>
                        </a:lnTo>
                        <a:lnTo>
                          <a:pt x="3992" y="1778"/>
                        </a:lnTo>
                        <a:lnTo>
                          <a:pt x="3996" y="1776"/>
                        </a:lnTo>
                        <a:lnTo>
                          <a:pt x="4000" y="1778"/>
                        </a:lnTo>
                        <a:lnTo>
                          <a:pt x="4000" y="1778"/>
                        </a:lnTo>
                        <a:lnTo>
                          <a:pt x="4006" y="1782"/>
                        </a:lnTo>
                        <a:lnTo>
                          <a:pt x="4008" y="1780"/>
                        </a:lnTo>
                        <a:lnTo>
                          <a:pt x="4010" y="1780"/>
                        </a:lnTo>
                        <a:lnTo>
                          <a:pt x="4012" y="1776"/>
                        </a:lnTo>
                        <a:lnTo>
                          <a:pt x="4016" y="1772"/>
                        </a:lnTo>
                        <a:lnTo>
                          <a:pt x="4016" y="1772"/>
                        </a:lnTo>
                        <a:lnTo>
                          <a:pt x="4022" y="1772"/>
                        </a:lnTo>
                        <a:lnTo>
                          <a:pt x="4024" y="1774"/>
                        </a:lnTo>
                        <a:lnTo>
                          <a:pt x="4028" y="1776"/>
                        </a:lnTo>
                        <a:lnTo>
                          <a:pt x="4036" y="1772"/>
                        </a:lnTo>
                        <a:lnTo>
                          <a:pt x="4036" y="1772"/>
                        </a:lnTo>
                        <a:lnTo>
                          <a:pt x="4044" y="1766"/>
                        </a:lnTo>
                        <a:lnTo>
                          <a:pt x="4052" y="1764"/>
                        </a:lnTo>
                        <a:lnTo>
                          <a:pt x="4060" y="1762"/>
                        </a:lnTo>
                        <a:lnTo>
                          <a:pt x="4066" y="1756"/>
                        </a:lnTo>
                        <a:lnTo>
                          <a:pt x="4066" y="1756"/>
                        </a:lnTo>
                        <a:lnTo>
                          <a:pt x="4070" y="1752"/>
                        </a:lnTo>
                        <a:lnTo>
                          <a:pt x="4070" y="1748"/>
                        </a:lnTo>
                        <a:lnTo>
                          <a:pt x="4068" y="1746"/>
                        </a:lnTo>
                        <a:lnTo>
                          <a:pt x="4066" y="1742"/>
                        </a:lnTo>
                        <a:lnTo>
                          <a:pt x="4066" y="1742"/>
                        </a:lnTo>
                        <a:lnTo>
                          <a:pt x="4064" y="1736"/>
                        </a:lnTo>
                        <a:lnTo>
                          <a:pt x="4062" y="1734"/>
                        </a:lnTo>
                        <a:lnTo>
                          <a:pt x="4054" y="1730"/>
                        </a:lnTo>
                        <a:lnTo>
                          <a:pt x="4054" y="1730"/>
                        </a:lnTo>
                        <a:lnTo>
                          <a:pt x="4052" y="1726"/>
                        </a:lnTo>
                        <a:lnTo>
                          <a:pt x="4050" y="1718"/>
                        </a:lnTo>
                        <a:lnTo>
                          <a:pt x="4050" y="1704"/>
                        </a:lnTo>
                        <a:lnTo>
                          <a:pt x="4050" y="1704"/>
                        </a:lnTo>
                        <a:lnTo>
                          <a:pt x="4052" y="1706"/>
                        </a:lnTo>
                        <a:lnTo>
                          <a:pt x="4054" y="1708"/>
                        </a:lnTo>
                        <a:lnTo>
                          <a:pt x="4054" y="1716"/>
                        </a:lnTo>
                        <a:lnTo>
                          <a:pt x="4054" y="1716"/>
                        </a:lnTo>
                        <a:lnTo>
                          <a:pt x="4054" y="1720"/>
                        </a:lnTo>
                        <a:lnTo>
                          <a:pt x="4056" y="1724"/>
                        </a:lnTo>
                        <a:lnTo>
                          <a:pt x="4060" y="1728"/>
                        </a:lnTo>
                        <a:lnTo>
                          <a:pt x="4066" y="1730"/>
                        </a:lnTo>
                        <a:lnTo>
                          <a:pt x="4066" y="1730"/>
                        </a:lnTo>
                        <a:lnTo>
                          <a:pt x="4078" y="1734"/>
                        </a:lnTo>
                        <a:lnTo>
                          <a:pt x="4088" y="1734"/>
                        </a:lnTo>
                        <a:lnTo>
                          <a:pt x="4096" y="1734"/>
                        </a:lnTo>
                        <a:lnTo>
                          <a:pt x="4106" y="1732"/>
                        </a:lnTo>
                        <a:lnTo>
                          <a:pt x="4122" y="1724"/>
                        </a:lnTo>
                        <a:lnTo>
                          <a:pt x="4144" y="1714"/>
                        </a:lnTo>
                        <a:lnTo>
                          <a:pt x="4144" y="1714"/>
                        </a:lnTo>
                        <a:lnTo>
                          <a:pt x="4152" y="1708"/>
                        </a:lnTo>
                        <a:lnTo>
                          <a:pt x="4156" y="1708"/>
                        </a:lnTo>
                        <a:lnTo>
                          <a:pt x="4156" y="1708"/>
                        </a:lnTo>
                        <a:lnTo>
                          <a:pt x="4158" y="1712"/>
                        </a:lnTo>
                        <a:lnTo>
                          <a:pt x="4160" y="1714"/>
                        </a:lnTo>
                        <a:lnTo>
                          <a:pt x="4164" y="1718"/>
                        </a:lnTo>
                        <a:lnTo>
                          <a:pt x="4172" y="1718"/>
                        </a:lnTo>
                        <a:lnTo>
                          <a:pt x="4188" y="1716"/>
                        </a:lnTo>
                        <a:lnTo>
                          <a:pt x="4188" y="1716"/>
                        </a:lnTo>
                        <a:lnTo>
                          <a:pt x="4202" y="1716"/>
                        </a:lnTo>
                        <a:lnTo>
                          <a:pt x="4194" y="1720"/>
                        </a:lnTo>
                        <a:lnTo>
                          <a:pt x="4172" y="1728"/>
                        </a:lnTo>
                        <a:lnTo>
                          <a:pt x="4148" y="1740"/>
                        </a:lnTo>
                        <a:lnTo>
                          <a:pt x="4148" y="1740"/>
                        </a:lnTo>
                        <a:lnTo>
                          <a:pt x="4136" y="1746"/>
                        </a:lnTo>
                        <a:lnTo>
                          <a:pt x="4126" y="1754"/>
                        </a:lnTo>
                        <a:lnTo>
                          <a:pt x="4118" y="1762"/>
                        </a:lnTo>
                        <a:lnTo>
                          <a:pt x="4110" y="1770"/>
                        </a:lnTo>
                        <a:lnTo>
                          <a:pt x="4106" y="1780"/>
                        </a:lnTo>
                        <a:lnTo>
                          <a:pt x="4104" y="1790"/>
                        </a:lnTo>
                        <a:lnTo>
                          <a:pt x="4106" y="1802"/>
                        </a:lnTo>
                        <a:lnTo>
                          <a:pt x="4110" y="1812"/>
                        </a:lnTo>
                        <a:lnTo>
                          <a:pt x="4110" y="1812"/>
                        </a:lnTo>
                        <a:lnTo>
                          <a:pt x="4116" y="1822"/>
                        </a:lnTo>
                        <a:lnTo>
                          <a:pt x="4124" y="1826"/>
                        </a:lnTo>
                        <a:lnTo>
                          <a:pt x="4130" y="1828"/>
                        </a:lnTo>
                        <a:lnTo>
                          <a:pt x="4138" y="1824"/>
                        </a:lnTo>
                        <a:lnTo>
                          <a:pt x="4146" y="1818"/>
                        </a:lnTo>
                        <a:lnTo>
                          <a:pt x="4154" y="1810"/>
                        </a:lnTo>
                        <a:lnTo>
                          <a:pt x="4174" y="1786"/>
                        </a:lnTo>
                        <a:lnTo>
                          <a:pt x="4174" y="1786"/>
                        </a:lnTo>
                        <a:lnTo>
                          <a:pt x="4182" y="1776"/>
                        </a:lnTo>
                        <a:lnTo>
                          <a:pt x="4190" y="1770"/>
                        </a:lnTo>
                        <a:lnTo>
                          <a:pt x="4196" y="1768"/>
                        </a:lnTo>
                        <a:lnTo>
                          <a:pt x="4202" y="1768"/>
                        </a:lnTo>
                        <a:lnTo>
                          <a:pt x="4208" y="1768"/>
                        </a:lnTo>
                        <a:lnTo>
                          <a:pt x="4216" y="1766"/>
                        </a:lnTo>
                        <a:lnTo>
                          <a:pt x="4224" y="1764"/>
                        </a:lnTo>
                        <a:lnTo>
                          <a:pt x="4238" y="1756"/>
                        </a:lnTo>
                        <a:lnTo>
                          <a:pt x="4238" y="1756"/>
                        </a:lnTo>
                        <a:lnTo>
                          <a:pt x="4252" y="1748"/>
                        </a:lnTo>
                        <a:lnTo>
                          <a:pt x="4266" y="1742"/>
                        </a:lnTo>
                        <a:lnTo>
                          <a:pt x="4290" y="1734"/>
                        </a:lnTo>
                        <a:lnTo>
                          <a:pt x="4300" y="1730"/>
                        </a:lnTo>
                        <a:lnTo>
                          <a:pt x="4306" y="1728"/>
                        </a:lnTo>
                        <a:lnTo>
                          <a:pt x="4308" y="1724"/>
                        </a:lnTo>
                        <a:lnTo>
                          <a:pt x="4304" y="1720"/>
                        </a:lnTo>
                        <a:lnTo>
                          <a:pt x="4304" y="1720"/>
                        </a:lnTo>
                        <a:lnTo>
                          <a:pt x="4284" y="1700"/>
                        </a:lnTo>
                        <a:lnTo>
                          <a:pt x="4280" y="1698"/>
                        </a:lnTo>
                        <a:lnTo>
                          <a:pt x="4276" y="1696"/>
                        </a:lnTo>
                        <a:lnTo>
                          <a:pt x="4270" y="1696"/>
                        </a:lnTo>
                        <a:lnTo>
                          <a:pt x="4264" y="1698"/>
                        </a:lnTo>
                        <a:lnTo>
                          <a:pt x="4264" y="1698"/>
                        </a:lnTo>
                        <a:lnTo>
                          <a:pt x="4258" y="1700"/>
                        </a:lnTo>
                        <a:lnTo>
                          <a:pt x="4246" y="1700"/>
                        </a:lnTo>
                        <a:lnTo>
                          <a:pt x="4236" y="1700"/>
                        </a:lnTo>
                        <a:lnTo>
                          <a:pt x="4224" y="1696"/>
                        </a:lnTo>
                        <a:lnTo>
                          <a:pt x="4212" y="1694"/>
                        </a:lnTo>
                        <a:lnTo>
                          <a:pt x="4204" y="1690"/>
                        </a:lnTo>
                        <a:lnTo>
                          <a:pt x="4198" y="1684"/>
                        </a:lnTo>
                        <a:lnTo>
                          <a:pt x="4196" y="1682"/>
                        </a:lnTo>
                        <a:lnTo>
                          <a:pt x="4196" y="1680"/>
                        </a:lnTo>
                        <a:lnTo>
                          <a:pt x="4196" y="1680"/>
                        </a:lnTo>
                        <a:lnTo>
                          <a:pt x="4196" y="1676"/>
                        </a:lnTo>
                        <a:lnTo>
                          <a:pt x="4194" y="1674"/>
                        </a:lnTo>
                        <a:lnTo>
                          <a:pt x="4186" y="1672"/>
                        </a:lnTo>
                        <a:lnTo>
                          <a:pt x="4178" y="1668"/>
                        </a:lnTo>
                        <a:lnTo>
                          <a:pt x="4172" y="1664"/>
                        </a:lnTo>
                        <a:lnTo>
                          <a:pt x="4166" y="1654"/>
                        </a:lnTo>
                        <a:lnTo>
                          <a:pt x="4160" y="1640"/>
                        </a:lnTo>
                        <a:lnTo>
                          <a:pt x="4160" y="1640"/>
                        </a:lnTo>
                        <a:lnTo>
                          <a:pt x="4156" y="1624"/>
                        </a:lnTo>
                        <a:lnTo>
                          <a:pt x="4156" y="1610"/>
                        </a:lnTo>
                        <a:lnTo>
                          <a:pt x="4158" y="1598"/>
                        </a:lnTo>
                        <a:lnTo>
                          <a:pt x="4160" y="1588"/>
                        </a:lnTo>
                        <a:lnTo>
                          <a:pt x="4162" y="1580"/>
                        </a:lnTo>
                        <a:lnTo>
                          <a:pt x="4162" y="1576"/>
                        </a:lnTo>
                        <a:lnTo>
                          <a:pt x="4158" y="1574"/>
                        </a:lnTo>
                        <a:lnTo>
                          <a:pt x="4148" y="1576"/>
                        </a:lnTo>
                        <a:lnTo>
                          <a:pt x="4148" y="1576"/>
                        </a:lnTo>
                        <a:lnTo>
                          <a:pt x="4134" y="1578"/>
                        </a:lnTo>
                        <a:lnTo>
                          <a:pt x="4126" y="1580"/>
                        </a:lnTo>
                        <a:lnTo>
                          <a:pt x="4124" y="1578"/>
                        </a:lnTo>
                        <a:lnTo>
                          <a:pt x="4126" y="1574"/>
                        </a:lnTo>
                        <a:lnTo>
                          <a:pt x="4140" y="1564"/>
                        </a:lnTo>
                        <a:lnTo>
                          <a:pt x="4164" y="1550"/>
                        </a:lnTo>
                        <a:lnTo>
                          <a:pt x="4164" y="1550"/>
                        </a:lnTo>
                        <a:lnTo>
                          <a:pt x="4178" y="1538"/>
                        </a:lnTo>
                        <a:lnTo>
                          <a:pt x="4182" y="1532"/>
                        </a:lnTo>
                        <a:lnTo>
                          <a:pt x="4184" y="1528"/>
                        </a:lnTo>
                        <a:lnTo>
                          <a:pt x="4184" y="1522"/>
                        </a:lnTo>
                        <a:lnTo>
                          <a:pt x="4180" y="1516"/>
                        </a:lnTo>
                        <a:lnTo>
                          <a:pt x="4174" y="1508"/>
                        </a:lnTo>
                        <a:lnTo>
                          <a:pt x="4166" y="1502"/>
                        </a:lnTo>
                        <a:lnTo>
                          <a:pt x="4166" y="1502"/>
                        </a:lnTo>
                        <a:lnTo>
                          <a:pt x="4160" y="1498"/>
                        </a:lnTo>
                        <a:lnTo>
                          <a:pt x="4150" y="1496"/>
                        </a:lnTo>
                        <a:lnTo>
                          <a:pt x="4140" y="1496"/>
                        </a:lnTo>
                        <a:lnTo>
                          <a:pt x="4130" y="1496"/>
                        </a:lnTo>
                        <a:lnTo>
                          <a:pt x="4102" y="1500"/>
                        </a:lnTo>
                        <a:lnTo>
                          <a:pt x="4074" y="1508"/>
                        </a:lnTo>
                        <a:lnTo>
                          <a:pt x="4044" y="1518"/>
                        </a:lnTo>
                        <a:lnTo>
                          <a:pt x="4018" y="1532"/>
                        </a:lnTo>
                        <a:lnTo>
                          <a:pt x="3996" y="1546"/>
                        </a:lnTo>
                        <a:lnTo>
                          <a:pt x="3988" y="1554"/>
                        </a:lnTo>
                        <a:lnTo>
                          <a:pt x="3982" y="1560"/>
                        </a:lnTo>
                        <a:lnTo>
                          <a:pt x="3982" y="1560"/>
                        </a:lnTo>
                        <a:lnTo>
                          <a:pt x="3964" y="1584"/>
                        </a:lnTo>
                        <a:lnTo>
                          <a:pt x="3948" y="1602"/>
                        </a:lnTo>
                        <a:lnTo>
                          <a:pt x="3934" y="1616"/>
                        </a:lnTo>
                        <a:lnTo>
                          <a:pt x="3922" y="1626"/>
                        </a:lnTo>
                        <a:lnTo>
                          <a:pt x="3914" y="1634"/>
                        </a:lnTo>
                        <a:lnTo>
                          <a:pt x="3908" y="1636"/>
                        </a:lnTo>
                        <a:lnTo>
                          <a:pt x="3908" y="1636"/>
                        </a:lnTo>
                        <a:lnTo>
                          <a:pt x="3908" y="1634"/>
                        </a:lnTo>
                        <a:lnTo>
                          <a:pt x="3914" y="1628"/>
                        </a:lnTo>
                        <a:lnTo>
                          <a:pt x="3914" y="1628"/>
                        </a:lnTo>
                        <a:lnTo>
                          <a:pt x="3924" y="1616"/>
                        </a:lnTo>
                        <a:lnTo>
                          <a:pt x="3936" y="1600"/>
                        </a:lnTo>
                        <a:lnTo>
                          <a:pt x="3964" y="1560"/>
                        </a:lnTo>
                        <a:lnTo>
                          <a:pt x="3978" y="1542"/>
                        </a:lnTo>
                        <a:lnTo>
                          <a:pt x="3994" y="1524"/>
                        </a:lnTo>
                        <a:lnTo>
                          <a:pt x="4010" y="1510"/>
                        </a:lnTo>
                        <a:lnTo>
                          <a:pt x="4020" y="1504"/>
                        </a:lnTo>
                        <a:lnTo>
                          <a:pt x="4030" y="1500"/>
                        </a:lnTo>
                        <a:lnTo>
                          <a:pt x="4030" y="1500"/>
                        </a:lnTo>
                        <a:lnTo>
                          <a:pt x="4040" y="1496"/>
                        </a:lnTo>
                        <a:lnTo>
                          <a:pt x="4050" y="1490"/>
                        </a:lnTo>
                        <a:lnTo>
                          <a:pt x="4056" y="1486"/>
                        </a:lnTo>
                        <a:lnTo>
                          <a:pt x="4060" y="1482"/>
                        </a:lnTo>
                        <a:lnTo>
                          <a:pt x="4066" y="1472"/>
                        </a:lnTo>
                        <a:lnTo>
                          <a:pt x="4068" y="1464"/>
                        </a:lnTo>
                        <a:lnTo>
                          <a:pt x="4072" y="1456"/>
                        </a:lnTo>
                        <a:lnTo>
                          <a:pt x="4076" y="1452"/>
                        </a:lnTo>
                        <a:lnTo>
                          <a:pt x="4082" y="1448"/>
                        </a:lnTo>
                        <a:lnTo>
                          <a:pt x="4090" y="1444"/>
                        </a:lnTo>
                        <a:lnTo>
                          <a:pt x="4102" y="1440"/>
                        </a:lnTo>
                        <a:lnTo>
                          <a:pt x="4136" y="1432"/>
                        </a:lnTo>
                        <a:lnTo>
                          <a:pt x="4136" y="1432"/>
                        </a:lnTo>
                        <a:lnTo>
                          <a:pt x="4160" y="1430"/>
                        </a:lnTo>
                        <a:lnTo>
                          <a:pt x="4182" y="1428"/>
                        </a:lnTo>
                        <a:lnTo>
                          <a:pt x="4202" y="1430"/>
                        </a:lnTo>
                        <a:lnTo>
                          <a:pt x="4220" y="1432"/>
                        </a:lnTo>
                        <a:lnTo>
                          <a:pt x="4252" y="1436"/>
                        </a:lnTo>
                        <a:lnTo>
                          <a:pt x="4278" y="1442"/>
                        </a:lnTo>
                        <a:lnTo>
                          <a:pt x="4304" y="1446"/>
                        </a:lnTo>
                        <a:lnTo>
                          <a:pt x="4316" y="1444"/>
                        </a:lnTo>
                        <a:lnTo>
                          <a:pt x="4330" y="1442"/>
                        </a:lnTo>
                        <a:lnTo>
                          <a:pt x="4342" y="1438"/>
                        </a:lnTo>
                        <a:lnTo>
                          <a:pt x="4356" y="1430"/>
                        </a:lnTo>
                        <a:lnTo>
                          <a:pt x="4370" y="1420"/>
                        </a:lnTo>
                        <a:lnTo>
                          <a:pt x="4386" y="1406"/>
                        </a:lnTo>
                        <a:lnTo>
                          <a:pt x="4386" y="1406"/>
                        </a:lnTo>
                        <a:lnTo>
                          <a:pt x="4414" y="1382"/>
                        </a:lnTo>
                        <a:lnTo>
                          <a:pt x="4434" y="1368"/>
                        </a:lnTo>
                        <a:lnTo>
                          <a:pt x="4448" y="1362"/>
                        </a:lnTo>
                        <a:lnTo>
                          <a:pt x="4458" y="1362"/>
                        </a:lnTo>
                        <a:lnTo>
                          <a:pt x="4470" y="1366"/>
                        </a:lnTo>
                        <a:lnTo>
                          <a:pt x="4474" y="1366"/>
                        </a:lnTo>
                        <a:lnTo>
                          <a:pt x="4482" y="1358"/>
                        </a:lnTo>
                        <a:lnTo>
                          <a:pt x="4482" y="1358"/>
                        </a:lnTo>
                        <a:lnTo>
                          <a:pt x="4492" y="1348"/>
                        </a:lnTo>
                        <a:lnTo>
                          <a:pt x="4502" y="1342"/>
                        </a:lnTo>
                        <a:lnTo>
                          <a:pt x="4518" y="1330"/>
                        </a:lnTo>
                        <a:lnTo>
                          <a:pt x="4524" y="1324"/>
                        </a:lnTo>
                        <a:lnTo>
                          <a:pt x="4526" y="1316"/>
                        </a:lnTo>
                        <a:lnTo>
                          <a:pt x="4526" y="1308"/>
                        </a:lnTo>
                        <a:lnTo>
                          <a:pt x="4522" y="1296"/>
                        </a:lnTo>
                        <a:lnTo>
                          <a:pt x="4522" y="1296"/>
                        </a:lnTo>
                        <a:lnTo>
                          <a:pt x="4518" y="1284"/>
                        </a:lnTo>
                        <a:lnTo>
                          <a:pt x="4518" y="1278"/>
                        </a:lnTo>
                        <a:lnTo>
                          <a:pt x="4518" y="1274"/>
                        </a:lnTo>
                        <a:lnTo>
                          <a:pt x="4522" y="1270"/>
                        </a:lnTo>
                        <a:lnTo>
                          <a:pt x="4524" y="1268"/>
                        </a:lnTo>
                        <a:lnTo>
                          <a:pt x="4526" y="1264"/>
                        </a:lnTo>
                        <a:lnTo>
                          <a:pt x="4524" y="1258"/>
                        </a:lnTo>
                        <a:lnTo>
                          <a:pt x="4522" y="1248"/>
                        </a:lnTo>
                        <a:lnTo>
                          <a:pt x="4522" y="1248"/>
                        </a:lnTo>
                        <a:lnTo>
                          <a:pt x="4516" y="1238"/>
                        </a:lnTo>
                        <a:lnTo>
                          <a:pt x="4510" y="1234"/>
                        </a:lnTo>
                        <a:lnTo>
                          <a:pt x="4502" y="1232"/>
                        </a:lnTo>
                        <a:lnTo>
                          <a:pt x="4496" y="1230"/>
                        </a:lnTo>
                        <a:lnTo>
                          <a:pt x="4488" y="1230"/>
                        </a:lnTo>
                        <a:lnTo>
                          <a:pt x="4480" y="1228"/>
                        </a:lnTo>
                        <a:lnTo>
                          <a:pt x="4472" y="1222"/>
                        </a:lnTo>
                        <a:lnTo>
                          <a:pt x="4464" y="1214"/>
                        </a:lnTo>
                        <a:lnTo>
                          <a:pt x="4464" y="1214"/>
                        </a:lnTo>
                        <a:lnTo>
                          <a:pt x="4454" y="1204"/>
                        </a:lnTo>
                        <a:lnTo>
                          <a:pt x="4446" y="1198"/>
                        </a:lnTo>
                        <a:lnTo>
                          <a:pt x="4436" y="1198"/>
                        </a:lnTo>
                        <a:lnTo>
                          <a:pt x="4428" y="1200"/>
                        </a:lnTo>
                        <a:lnTo>
                          <a:pt x="4416" y="1204"/>
                        </a:lnTo>
                        <a:lnTo>
                          <a:pt x="4406" y="1212"/>
                        </a:lnTo>
                        <a:lnTo>
                          <a:pt x="4376" y="1234"/>
                        </a:lnTo>
                        <a:lnTo>
                          <a:pt x="4376" y="1234"/>
                        </a:lnTo>
                        <a:lnTo>
                          <a:pt x="4362" y="1242"/>
                        </a:lnTo>
                        <a:lnTo>
                          <a:pt x="4352" y="1246"/>
                        </a:lnTo>
                        <a:lnTo>
                          <a:pt x="4344" y="1246"/>
                        </a:lnTo>
                        <a:lnTo>
                          <a:pt x="4342" y="1242"/>
                        </a:lnTo>
                        <a:lnTo>
                          <a:pt x="4342" y="1238"/>
                        </a:lnTo>
                        <a:lnTo>
                          <a:pt x="4346" y="1230"/>
                        </a:lnTo>
                        <a:lnTo>
                          <a:pt x="4354" y="1226"/>
                        </a:lnTo>
                        <a:lnTo>
                          <a:pt x="4364" y="1220"/>
                        </a:lnTo>
                        <a:lnTo>
                          <a:pt x="4364" y="1220"/>
                        </a:lnTo>
                        <a:lnTo>
                          <a:pt x="4376" y="1218"/>
                        </a:lnTo>
                        <a:lnTo>
                          <a:pt x="4386" y="1214"/>
                        </a:lnTo>
                        <a:lnTo>
                          <a:pt x="4400" y="1204"/>
                        </a:lnTo>
                        <a:lnTo>
                          <a:pt x="4414" y="1196"/>
                        </a:lnTo>
                        <a:lnTo>
                          <a:pt x="4424" y="1192"/>
                        </a:lnTo>
                        <a:lnTo>
                          <a:pt x="4438" y="1190"/>
                        </a:lnTo>
                        <a:lnTo>
                          <a:pt x="4438" y="1190"/>
                        </a:lnTo>
                        <a:lnTo>
                          <a:pt x="4450" y="1186"/>
                        </a:lnTo>
                        <a:lnTo>
                          <a:pt x="4456" y="1184"/>
                        </a:lnTo>
                        <a:lnTo>
                          <a:pt x="4458" y="1178"/>
                        </a:lnTo>
                        <a:lnTo>
                          <a:pt x="4456" y="1174"/>
                        </a:lnTo>
                        <a:lnTo>
                          <a:pt x="4450" y="1170"/>
                        </a:lnTo>
                        <a:lnTo>
                          <a:pt x="4442" y="1166"/>
                        </a:lnTo>
                        <a:lnTo>
                          <a:pt x="4432" y="1162"/>
                        </a:lnTo>
                        <a:lnTo>
                          <a:pt x="4418" y="1160"/>
                        </a:lnTo>
                        <a:lnTo>
                          <a:pt x="4418" y="1160"/>
                        </a:lnTo>
                        <a:lnTo>
                          <a:pt x="4406" y="1158"/>
                        </a:lnTo>
                        <a:lnTo>
                          <a:pt x="4400" y="1154"/>
                        </a:lnTo>
                        <a:lnTo>
                          <a:pt x="4396" y="1150"/>
                        </a:lnTo>
                        <a:lnTo>
                          <a:pt x="4394" y="1146"/>
                        </a:lnTo>
                        <a:lnTo>
                          <a:pt x="4392" y="1142"/>
                        </a:lnTo>
                        <a:lnTo>
                          <a:pt x="4388" y="1138"/>
                        </a:lnTo>
                        <a:lnTo>
                          <a:pt x="4378" y="1136"/>
                        </a:lnTo>
                        <a:lnTo>
                          <a:pt x="4364" y="1132"/>
                        </a:lnTo>
                        <a:lnTo>
                          <a:pt x="4364" y="1132"/>
                        </a:lnTo>
                        <a:lnTo>
                          <a:pt x="4350" y="1130"/>
                        </a:lnTo>
                        <a:lnTo>
                          <a:pt x="4342" y="1126"/>
                        </a:lnTo>
                        <a:lnTo>
                          <a:pt x="4340" y="1122"/>
                        </a:lnTo>
                        <a:lnTo>
                          <a:pt x="4338" y="1116"/>
                        </a:lnTo>
                        <a:lnTo>
                          <a:pt x="4340" y="1112"/>
                        </a:lnTo>
                        <a:lnTo>
                          <a:pt x="4338" y="1106"/>
                        </a:lnTo>
                        <a:lnTo>
                          <a:pt x="4334" y="1102"/>
                        </a:lnTo>
                        <a:lnTo>
                          <a:pt x="4324" y="1096"/>
                        </a:lnTo>
                        <a:lnTo>
                          <a:pt x="4324" y="1096"/>
                        </a:lnTo>
                        <a:lnTo>
                          <a:pt x="4314" y="1090"/>
                        </a:lnTo>
                        <a:lnTo>
                          <a:pt x="4304" y="1084"/>
                        </a:lnTo>
                        <a:lnTo>
                          <a:pt x="4296" y="1078"/>
                        </a:lnTo>
                        <a:lnTo>
                          <a:pt x="4290" y="1070"/>
                        </a:lnTo>
                        <a:lnTo>
                          <a:pt x="4286" y="1062"/>
                        </a:lnTo>
                        <a:lnTo>
                          <a:pt x="4286" y="1052"/>
                        </a:lnTo>
                        <a:lnTo>
                          <a:pt x="4288" y="1042"/>
                        </a:lnTo>
                        <a:lnTo>
                          <a:pt x="4294" y="1030"/>
                        </a:lnTo>
                        <a:lnTo>
                          <a:pt x="4294" y="1030"/>
                        </a:lnTo>
                        <a:lnTo>
                          <a:pt x="4298" y="1024"/>
                        </a:lnTo>
                        <a:lnTo>
                          <a:pt x="4298" y="1020"/>
                        </a:lnTo>
                        <a:lnTo>
                          <a:pt x="4298" y="1016"/>
                        </a:lnTo>
                        <a:lnTo>
                          <a:pt x="4296" y="1012"/>
                        </a:lnTo>
                        <a:lnTo>
                          <a:pt x="4290" y="1008"/>
                        </a:lnTo>
                        <a:lnTo>
                          <a:pt x="4282" y="1004"/>
                        </a:lnTo>
                        <a:lnTo>
                          <a:pt x="4274" y="1002"/>
                        </a:lnTo>
                        <a:lnTo>
                          <a:pt x="4268" y="998"/>
                        </a:lnTo>
                        <a:lnTo>
                          <a:pt x="4266" y="996"/>
                        </a:lnTo>
                        <a:lnTo>
                          <a:pt x="4266" y="994"/>
                        </a:lnTo>
                        <a:lnTo>
                          <a:pt x="4266" y="990"/>
                        </a:lnTo>
                        <a:lnTo>
                          <a:pt x="4270" y="986"/>
                        </a:lnTo>
                        <a:lnTo>
                          <a:pt x="4270" y="986"/>
                        </a:lnTo>
                        <a:lnTo>
                          <a:pt x="4274" y="978"/>
                        </a:lnTo>
                        <a:lnTo>
                          <a:pt x="4274" y="970"/>
                        </a:lnTo>
                        <a:lnTo>
                          <a:pt x="4270" y="966"/>
                        </a:lnTo>
                        <a:lnTo>
                          <a:pt x="4264" y="960"/>
                        </a:lnTo>
                        <a:lnTo>
                          <a:pt x="4258" y="954"/>
                        </a:lnTo>
                        <a:lnTo>
                          <a:pt x="4252" y="948"/>
                        </a:lnTo>
                        <a:lnTo>
                          <a:pt x="4246" y="940"/>
                        </a:lnTo>
                        <a:lnTo>
                          <a:pt x="4244" y="928"/>
                        </a:lnTo>
                        <a:lnTo>
                          <a:pt x="4244" y="928"/>
                        </a:lnTo>
                        <a:lnTo>
                          <a:pt x="4240" y="912"/>
                        </a:lnTo>
                        <a:lnTo>
                          <a:pt x="4238" y="908"/>
                        </a:lnTo>
                        <a:lnTo>
                          <a:pt x="4236" y="906"/>
                        </a:lnTo>
                        <a:lnTo>
                          <a:pt x="4230" y="902"/>
                        </a:lnTo>
                        <a:lnTo>
                          <a:pt x="4228" y="898"/>
                        </a:lnTo>
                        <a:lnTo>
                          <a:pt x="4226" y="890"/>
                        </a:lnTo>
                        <a:lnTo>
                          <a:pt x="4226" y="890"/>
                        </a:lnTo>
                        <a:lnTo>
                          <a:pt x="4222" y="882"/>
                        </a:lnTo>
                        <a:lnTo>
                          <a:pt x="4218" y="878"/>
                        </a:lnTo>
                        <a:lnTo>
                          <a:pt x="4210" y="872"/>
                        </a:lnTo>
                        <a:lnTo>
                          <a:pt x="4206" y="868"/>
                        </a:lnTo>
                        <a:lnTo>
                          <a:pt x="4200" y="862"/>
                        </a:lnTo>
                        <a:lnTo>
                          <a:pt x="4194" y="852"/>
                        </a:lnTo>
                        <a:lnTo>
                          <a:pt x="4186" y="838"/>
                        </a:lnTo>
                        <a:lnTo>
                          <a:pt x="4186" y="838"/>
                        </a:lnTo>
                        <a:lnTo>
                          <a:pt x="4180" y="824"/>
                        </a:lnTo>
                        <a:lnTo>
                          <a:pt x="4174" y="816"/>
                        </a:lnTo>
                        <a:lnTo>
                          <a:pt x="4168" y="812"/>
                        </a:lnTo>
                        <a:lnTo>
                          <a:pt x="4164" y="812"/>
                        </a:lnTo>
                        <a:lnTo>
                          <a:pt x="4158" y="814"/>
                        </a:lnTo>
                        <a:lnTo>
                          <a:pt x="4154" y="820"/>
                        </a:lnTo>
                        <a:lnTo>
                          <a:pt x="4140" y="836"/>
                        </a:lnTo>
                        <a:lnTo>
                          <a:pt x="4140" y="836"/>
                        </a:lnTo>
                        <a:lnTo>
                          <a:pt x="4132" y="848"/>
                        </a:lnTo>
                        <a:lnTo>
                          <a:pt x="4128" y="860"/>
                        </a:lnTo>
                        <a:lnTo>
                          <a:pt x="4124" y="884"/>
                        </a:lnTo>
                        <a:lnTo>
                          <a:pt x="4120" y="896"/>
                        </a:lnTo>
                        <a:lnTo>
                          <a:pt x="4116" y="904"/>
                        </a:lnTo>
                        <a:lnTo>
                          <a:pt x="4114" y="906"/>
                        </a:lnTo>
                        <a:lnTo>
                          <a:pt x="4110" y="908"/>
                        </a:lnTo>
                        <a:lnTo>
                          <a:pt x="4106" y="908"/>
                        </a:lnTo>
                        <a:lnTo>
                          <a:pt x="4100" y="906"/>
                        </a:lnTo>
                        <a:lnTo>
                          <a:pt x="4100" y="906"/>
                        </a:lnTo>
                        <a:lnTo>
                          <a:pt x="4090" y="904"/>
                        </a:lnTo>
                        <a:lnTo>
                          <a:pt x="4086" y="906"/>
                        </a:lnTo>
                        <a:lnTo>
                          <a:pt x="4084" y="908"/>
                        </a:lnTo>
                        <a:lnTo>
                          <a:pt x="4084" y="912"/>
                        </a:lnTo>
                        <a:lnTo>
                          <a:pt x="4082" y="916"/>
                        </a:lnTo>
                        <a:lnTo>
                          <a:pt x="4080" y="922"/>
                        </a:lnTo>
                        <a:lnTo>
                          <a:pt x="4074" y="928"/>
                        </a:lnTo>
                        <a:lnTo>
                          <a:pt x="4060" y="934"/>
                        </a:lnTo>
                        <a:lnTo>
                          <a:pt x="4060" y="934"/>
                        </a:lnTo>
                        <a:lnTo>
                          <a:pt x="4048" y="936"/>
                        </a:lnTo>
                        <a:lnTo>
                          <a:pt x="4038" y="934"/>
                        </a:lnTo>
                        <a:lnTo>
                          <a:pt x="4030" y="930"/>
                        </a:lnTo>
                        <a:lnTo>
                          <a:pt x="4024" y="922"/>
                        </a:lnTo>
                        <a:lnTo>
                          <a:pt x="4018" y="914"/>
                        </a:lnTo>
                        <a:lnTo>
                          <a:pt x="4010" y="908"/>
                        </a:lnTo>
                        <a:lnTo>
                          <a:pt x="4002" y="902"/>
                        </a:lnTo>
                        <a:lnTo>
                          <a:pt x="3988" y="900"/>
                        </a:lnTo>
                        <a:lnTo>
                          <a:pt x="3988" y="900"/>
                        </a:lnTo>
                        <a:lnTo>
                          <a:pt x="3976" y="900"/>
                        </a:lnTo>
                        <a:lnTo>
                          <a:pt x="3972" y="900"/>
                        </a:lnTo>
                        <a:lnTo>
                          <a:pt x="3970" y="896"/>
                        </a:lnTo>
                        <a:lnTo>
                          <a:pt x="3972" y="892"/>
                        </a:lnTo>
                        <a:lnTo>
                          <a:pt x="3974" y="888"/>
                        </a:lnTo>
                        <a:lnTo>
                          <a:pt x="3976" y="884"/>
                        </a:lnTo>
                        <a:lnTo>
                          <a:pt x="3974" y="880"/>
                        </a:lnTo>
                        <a:lnTo>
                          <a:pt x="3968" y="874"/>
                        </a:lnTo>
                        <a:lnTo>
                          <a:pt x="3968" y="874"/>
                        </a:lnTo>
                        <a:lnTo>
                          <a:pt x="3962" y="870"/>
                        </a:lnTo>
                        <a:lnTo>
                          <a:pt x="3960" y="866"/>
                        </a:lnTo>
                        <a:lnTo>
                          <a:pt x="3962" y="864"/>
                        </a:lnTo>
                        <a:lnTo>
                          <a:pt x="3964" y="860"/>
                        </a:lnTo>
                        <a:lnTo>
                          <a:pt x="3966" y="856"/>
                        </a:lnTo>
                        <a:lnTo>
                          <a:pt x="3968" y="850"/>
                        </a:lnTo>
                        <a:lnTo>
                          <a:pt x="3968" y="844"/>
                        </a:lnTo>
                        <a:lnTo>
                          <a:pt x="3964" y="836"/>
                        </a:lnTo>
                        <a:lnTo>
                          <a:pt x="3964" y="836"/>
                        </a:lnTo>
                        <a:lnTo>
                          <a:pt x="3960" y="824"/>
                        </a:lnTo>
                        <a:lnTo>
                          <a:pt x="3958" y="814"/>
                        </a:lnTo>
                        <a:lnTo>
                          <a:pt x="3962" y="802"/>
                        </a:lnTo>
                        <a:lnTo>
                          <a:pt x="3966" y="794"/>
                        </a:lnTo>
                        <a:lnTo>
                          <a:pt x="3974" y="776"/>
                        </a:lnTo>
                        <a:lnTo>
                          <a:pt x="3974" y="770"/>
                        </a:lnTo>
                        <a:lnTo>
                          <a:pt x="3972" y="764"/>
                        </a:lnTo>
                        <a:lnTo>
                          <a:pt x="3972" y="764"/>
                        </a:lnTo>
                        <a:lnTo>
                          <a:pt x="3968" y="758"/>
                        </a:lnTo>
                        <a:lnTo>
                          <a:pt x="3964" y="758"/>
                        </a:lnTo>
                        <a:lnTo>
                          <a:pt x="3960" y="760"/>
                        </a:lnTo>
                        <a:lnTo>
                          <a:pt x="3958" y="764"/>
                        </a:lnTo>
                        <a:lnTo>
                          <a:pt x="3954" y="770"/>
                        </a:lnTo>
                        <a:lnTo>
                          <a:pt x="3952" y="772"/>
                        </a:lnTo>
                        <a:lnTo>
                          <a:pt x="3950" y="770"/>
                        </a:lnTo>
                        <a:lnTo>
                          <a:pt x="3950" y="770"/>
                        </a:lnTo>
                        <a:lnTo>
                          <a:pt x="3944" y="766"/>
                        </a:lnTo>
                        <a:lnTo>
                          <a:pt x="3936" y="762"/>
                        </a:lnTo>
                        <a:lnTo>
                          <a:pt x="3914" y="756"/>
                        </a:lnTo>
                        <a:lnTo>
                          <a:pt x="3902" y="752"/>
                        </a:lnTo>
                        <a:lnTo>
                          <a:pt x="3894" y="748"/>
                        </a:lnTo>
                        <a:lnTo>
                          <a:pt x="3888" y="742"/>
                        </a:lnTo>
                        <a:lnTo>
                          <a:pt x="3886" y="740"/>
                        </a:lnTo>
                        <a:lnTo>
                          <a:pt x="3886" y="736"/>
                        </a:lnTo>
                        <a:lnTo>
                          <a:pt x="3886" y="736"/>
                        </a:lnTo>
                        <a:lnTo>
                          <a:pt x="3886" y="728"/>
                        </a:lnTo>
                        <a:lnTo>
                          <a:pt x="3882" y="722"/>
                        </a:lnTo>
                        <a:lnTo>
                          <a:pt x="3878" y="716"/>
                        </a:lnTo>
                        <a:lnTo>
                          <a:pt x="3870" y="710"/>
                        </a:lnTo>
                        <a:lnTo>
                          <a:pt x="3826" y="680"/>
                        </a:lnTo>
                        <a:lnTo>
                          <a:pt x="3826" y="680"/>
                        </a:lnTo>
                        <a:lnTo>
                          <a:pt x="3806" y="668"/>
                        </a:lnTo>
                        <a:lnTo>
                          <a:pt x="3800" y="668"/>
                        </a:lnTo>
                        <a:lnTo>
                          <a:pt x="3796" y="666"/>
                        </a:lnTo>
                        <a:lnTo>
                          <a:pt x="3790" y="668"/>
                        </a:lnTo>
                        <a:lnTo>
                          <a:pt x="3788" y="670"/>
                        </a:lnTo>
                        <a:lnTo>
                          <a:pt x="3780" y="678"/>
                        </a:lnTo>
                        <a:lnTo>
                          <a:pt x="3774" y="680"/>
                        </a:lnTo>
                        <a:lnTo>
                          <a:pt x="3768" y="684"/>
                        </a:lnTo>
                        <a:lnTo>
                          <a:pt x="3760" y="684"/>
                        </a:lnTo>
                        <a:lnTo>
                          <a:pt x="3750" y="686"/>
                        </a:lnTo>
                        <a:lnTo>
                          <a:pt x="3736" y="684"/>
                        </a:lnTo>
                        <a:lnTo>
                          <a:pt x="3720" y="680"/>
                        </a:lnTo>
                        <a:lnTo>
                          <a:pt x="3700" y="674"/>
                        </a:lnTo>
                        <a:lnTo>
                          <a:pt x="3676" y="664"/>
                        </a:lnTo>
                        <a:lnTo>
                          <a:pt x="3676" y="664"/>
                        </a:lnTo>
                        <a:lnTo>
                          <a:pt x="3666" y="662"/>
                        </a:lnTo>
                        <a:lnTo>
                          <a:pt x="3656" y="660"/>
                        </a:lnTo>
                        <a:lnTo>
                          <a:pt x="3648" y="660"/>
                        </a:lnTo>
                        <a:lnTo>
                          <a:pt x="3642" y="662"/>
                        </a:lnTo>
                        <a:lnTo>
                          <a:pt x="3636" y="664"/>
                        </a:lnTo>
                        <a:lnTo>
                          <a:pt x="3632" y="668"/>
                        </a:lnTo>
                        <a:lnTo>
                          <a:pt x="3626" y="678"/>
                        </a:lnTo>
                        <a:lnTo>
                          <a:pt x="3622" y="690"/>
                        </a:lnTo>
                        <a:lnTo>
                          <a:pt x="3622" y="702"/>
                        </a:lnTo>
                        <a:lnTo>
                          <a:pt x="3626" y="712"/>
                        </a:lnTo>
                        <a:lnTo>
                          <a:pt x="3630" y="720"/>
                        </a:lnTo>
                        <a:lnTo>
                          <a:pt x="3630" y="720"/>
                        </a:lnTo>
                        <a:lnTo>
                          <a:pt x="3634" y="726"/>
                        </a:lnTo>
                        <a:lnTo>
                          <a:pt x="3636" y="732"/>
                        </a:lnTo>
                        <a:lnTo>
                          <a:pt x="3638" y="738"/>
                        </a:lnTo>
                        <a:lnTo>
                          <a:pt x="3638" y="746"/>
                        </a:lnTo>
                        <a:lnTo>
                          <a:pt x="3634" y="760"/>
                        </a:lnTo>
                        <a:lnTo>
                          <a:pt x="3626" y="772"/>
                        </a:lnTo>
                        <a:lnTo>
                          <a:pt x="3626" y="772"/>
                        </a:lnTo>
                        <a:lnTo>
                          <a:pt x="3622" y="776"/>
                        </a:lnTo>
                        <a:lnTo>
                          <a:pt x="3622" y="780"/>
                        </a:lnTo>
                        <a:lnTo>
                          <a:pt x="3624" y="782"/>
                        </a:lnTo>
                        <a:lnTo>
                          <a:pt x="3626" y="786"/>
                        </a:lnTo>
                        <a:lnTo>
                          <a:pt x="3634" y="794"/>
                        </a:lnTo>
                        <a:lnTo>
                          <a:pt x="3640" y="802"/>
                        </a:lnTo>
                        <a:lnTo>
                          <a:pt x="3644" y="814"/>
                        </a:lnTo>
                        <a:lnTo>
                          <a:pt x="3644" y="814"/>
                        </a:lnTo>
                        <a:lnTo>
                          <a:pt x="3648" y="824"/>
                        </a:lnTo>
                        <a:lnTo>
                          <a:pt x="3650" y="832"/>
                        </a:lnTo>
                        <a:lnTo>
                          <a:pt x="3650" y="840"/>
                        </a:lnTo>
                        <a:lnTo>
                          <a:pt x="3648" y="844"/>
                        </a:lnTo>
                        <a:lnTo>
                          <a:pt x="3642" y="854"/>
                        </a:lnTo>
                        <a:lnTo>
                          <a:pt x="3636" y="870"/>
                        </a:lnTo>
                        <a:lnTo>
                          <a:pt x="3636" y="870"/>
                        </a:lnTo>
                        <a:lnTo>
                          <a:pt x="3634" y="878"/>
                        </a:lnTo>
                        <a:lnTo>
                          <a:pt x="3630" y="882"/>
                        </a:lnTo>
                        <a:lnTo>
                          <a:pt x="3620" y="888"/>
                        </a:lnTo>
                        <a:lnTo>
                          <a:pt x="3616" y="890"/>
                        </a:lnTo>
                        <a:lnTo>
                          <a:pt x="3612" y="894"/>
                        </a:lnTo>
                        <a:lnTo>
                          <a:pt x="3610" y="900"/>
                        </a:lnTo>
                        <a:lnTo>
                          <a:pt x="3606" y="910"/>
                        </a:lnTo>
                        <a:lnTo>
                          <a:pt x="3606" y="910"/>
                        </a:lnTo>
                        <a:lnTo>
                          <a:pt x="3606" y="916"/>
                        </a:lnTo>
                        <a:lnTo>
                          <a:pt x="3608" y="920"/>
                        </a:lnTo>
                        <a:lnTo>
                          <a:pt x="3614" y="926"/>
                        </a:lnTo>
                        <a:lnTo>
                          <a:pt x="3622" y="932"/>
                        </a:lnTo>
                        <a:lnTo>
                          <a:pt x="3634" y="940"/>
                        </a:lnTo>
                        <a:lnTo>
                          <a:pt x="3648" y="950"/>
                        </a:lnTo>
                        <a:lnTo>
                          <a:pt x="3660" y="964"/>
                        </a:lnTo>
                        <a:lnTo>
                          <a:pt x="3666" y="972"/>
                        </a:lnTo>
                        <a:lnTo>
                          <a:pt x="3672" y="984"/>
                        </a:lnTo>
                        <a:lnTo>
                          <a:pt x="3678" y="996"/>
                        </a:lnTo>
                        <a:lnTo>
                          <a:pt x="3684" y="1010"/>
                        </a:lnTo>
                        <a:lnTo>
                          <a:pt x="3684" y="1010"/>
                        </a:lnTo>
                        <a:lnTo>
                          <a:pt x="3686" y="1026"/>
                        </a:lnTo>
                        <a:lnTo>
                          <a:pt x="3688" y="1040"/>
                        </a:lnTo>
                        <a:lnTo>
                          <a:pt x="3688" y="1052"/>
                        </a:lnTo>
                        <a:lnTo>
                          <a:pt x="3684" y="1066"/>
                        </a:lnTo>
                        <a:lnTo>
                          <a:pt x="3680" y="1078"/>
                        </a:lnTo>
                        <a:lnTo>
                          <a:pt x="3674" y="1088"/>
                        </a:lnTo>
                        <a:lnTo>
                          <a:pt x="3668" y="1100"/>
                        </a:lnTo>
                        <a:lnTo>
                          <a:pt x="3660" y="1108"/>
                        </a:lnTo>
                        <a:lnTo>
                          <a:pt x="3642" y="1126"/>
                        </a:lnTo>
                        <a:lnTo>
                          <a:pt x="3624" y="1140"/>
                        </a:lnTo>
                        <a:lnTo>
                          <a:pt x="3604" y="1150"/>
                        </a:lnTo>
                        <a:lnTo>
                          <a:pt x="3584" y="1158"/>
                        </a:lnTo>
                        <a:lnTo>
                          <a:pt x="3584" y="1158"/>
                        </a:lnTo>
                        <a:lnTo>
                          <a:pt x="3570" y="1166"/>
                        </a:lnTo>
                        <a:lnTo>
                          <a:pt x="3562" y="1172"/>
                        </a:lnTo>
                        <a:lnTo>
                          <a:pt x="3562" y="1174"/>
                        </a:lnTo>
                        <a:lnTo>
                          <a:pt x="3562" y="1176"/>
                        </a:lnTo>
                        <a:lnTo>
                          <a:pt x="3566" y="1184"/>
                        </a:lnTo>
                        <a:lnTo>
                          <a:pt x="3572" y="1190"/>
                        </a:lnTo>
                        <a:lnTo>
                          <a:pt x="3578" y="1200"/>
                        </a:lnTo>
                        <a:lnTo>
                          <a:pt x="3582" y="1212"/>
                        </a:lnTo>
                        <a:lnTo>
                          <a:pt x="3584" y="1220"/>
                        </a:lnTo>
                        <a:lnTo>
                          <a:pt x="3584" y="1228"/>
                        </a:lnTo>
                        <a:lnTo>
                          <a:pt x="3584" y="1228"/>
                        </a:lnTo>
                        <a:lnTo>
                          <a:pt x="3586" y="1244"/>
                        </a:lnTo>
                        <a:lnTo>
                          <a:pt x="3588" y="1260"/>
                        </a:lnTo>
                        <a:lnTo>
                          <a:pt x="3598" y="1290"/>
                        </a:lnTo>
                        <a:lnTo>
                          <a:pt x="3602" y="1302"/>
                        </a:lnTo>
                        <a:lnTo>
                          <a:pt x="3604" y="1314"/>
                        </a:lnTo>
                        <a:lnTo>
                          <a:pt x="3604" y="1324"/>
                        </a:lnTo>
                        <a:lnTo>
                          <a:pt x="3600" y="1328"/>
                        </a:lnTo>
                        <a:lnTo>
                          <a:pt x="3598" y="1330"/>
                        </a:lnTo>
                        <a:lnTo>
                          <a:pt x="3598" y="1330"/>
                        </a:lnTo>
                        <a:lnTo>
                          <a:pt x="3594" y="1334"/>
                        </a:lnTo>
                        <a:lnTo>
                          <a:pt x="3592" y="1336"/>
                        </a:lnTo>
                        <a:lnTo>
                          <a:pt x="3590" y="1344"/>
                        </a:lnTo>
                        <a:lnTo>
                          <a:pt x="3592" y="1352"/>
                        </a:lnTo>
                        <a:lnTo>
                          <a:pt x="3594" y="1358"/>
                        </a:lnTo>
                        <a:lnTo>
                          <a:pt x="3596" y="1362"/>
                        </a:lnTo>
                        <a:lnTo>
                          <a:pt x="3594" y="1366"/>
                        </a:lnTo>
                        <a:lnTo>
                          <a:pt x="3590" y="1364"/>
                        </a:lnTo>
                        <a:lnTo>
                          <a:pt x="3580" y="1358"/>
                        </a:lnTo>
                        <a:lnTo>
                          <a:pt x="3580" y="1358"/>
                        </a:lnTo>
                        <a:lnTo>
                          <a:pt x="3570" y="1354"/>
                        </a:lnTo>
                        <a:lnTo>
                          <a:pt x="3568" y="1354"/>
                        </a:lnTo>
                        <a:lnTo>
                          <a:pt x="3566" y="1356"/>
                        </a:lnTo>
                        <a:lnTo>
                          <a:pt x="3562" y="1362"/>
                        </a:lnTo>
                        <a:lnTo>
                          <a:pt x="3562" y="1370"/>
                        </a:lnTo>
                        <a:lnTo>
                          <a:pt x="3562" y="1376"/>
                        </a:lnTo>
                        <a:lnTo>
                          <a:pt x="3560" y="1382"/>
                        </a:lnTo>
                        <a:lnTo>
                          <a:pt x="3558" y="1384"/>
                        </a:lnTo>
                        <a:lnTo>
                          <a:pt x="3554" y="1384"/>
                        </a:lnTo>
                        <a:lnTo>
                          <a:pt x="3546" y="1380"/>
                        </a:lnTo>
                        <a:lnTo>
                          <a:pt x="3546" y="1380"/>
                        </a:lnTo>
                        <a:lnTo>
                          <a:pt x="3536" y="1372"/>
                        </a:lnTo>
                        <a:lnTo>
                          <a:pt x="3530" y="1366"/>
                        </a:lnTo>
                        <a:lnTo>
                          <a:pt x="3522" y="1352"/>
                        </a:lnTo>
                        <a:lnTo>
                          <a:pt x="3516" y="1342"/>
                        </a:lnTo>
                        <a:lnTo>
                          <a:pt x="3508" y="1332"/>
                        </a:lnTo>
                        <a:lnTo>
                          <a:pt x="3494" y="1316"/>
                        </a:lnTo>
                        <a:lnTo>
                          <a:pt x="3474" y="1298"/>
                        </a:lnTo>
                        <a:lnTo>
                          <a:pt x="3474" y="1298"/>
                        </a:lnTo>
                        <a:lnTo>
                          <a:pt x="3464" y="1286"/>
                        </a:lnTo>
                        <a:lnTo>
                          <a:pt x="3458" y="1276"/>
                        </a:lnTo>
                        <a:lnTo>
                          <a:pt x="3456" y="1266"/>
                        </a:lnTo>
                        <a:lnTo>
                          <a:pt x="3456" y="1254"/>
                        </a:lnTo>
                        <a:lnTo>
                          <a:pt x="3456" y="1234"/>
                        </a:lnTo>
                        <a:lnTo>
                          <a:pt x="3456" y="1222"/>
                        </a:lnTo>
                        <a:lnTo>
                          <a:pt x="3454" y="1210"/>
                        </a:lnTo>
                        <a:lnTo>
                          <a:pt x="3454" y="1210"/>
                        </a:lnTo>
                        <a:lnTo>
                          <a:pt x="3450" y="1194"/>
                        </a:lnTo>
                        <a:lnTo>
                          <a:pt x="3450" y="1182"/>
                        </a:lnTo>
                        <a:lnTo>
                          <a:pt x="3454" y="1172"/>
                        </a:lnTo>
                        <a:lnTo>
                          <a:pt x="3456" y="1162"/>
                        </a:lnTo>
                        <a:lnTo>
                          <a:pt x="3458" y="1154"/>
                        </a:lnTo>
                        <a:lnTo>
                          <a:pt x="3456" y="1148"/>
                        </a:lnTo>
                        <a:lnTo>
                          <a:pt x="3452" y="1142"/>
                        </a:lnTo>
                        <a:lnTo>
                          <a:pt x="3440" y="1138"/>
                        </a:lnTo>
                        <a:lnTo>
                          <a:pt x="3440" y="1138"/>
                        </a:lnTo>
                        <a:lnTo>
                          <a:pt x="3414" y="1134"/>
                        </a:lnTo>
                        <a:lnTo>
                          <a:pt x="3394" y="1130"/>
                        </a:lnTo>
                        <a:lnTo>
                          <a:pt x="3378" y="1130"/>
                        </a:lnTo>
                        <a:lnTo>
                          <a:pt x="3368" y="1130"/>
                        </a:lnTo>
                        <a:lnTo>
                          <a:pt x="3354" y="1132"/>
                        </a:lnTo>
                        <a:lnTo>
                          <a:pt x="3346" y="1132"/>
                        </a:lnTo>
                        <a:lnTo>
                          <a:pt x="3340" y="1130"/>
                        </a:lnTo>
                        <a:lnTo>
                          <a:pt x="3340" y="1130"/>
                        </a:lnTo>
                        <a:lnTo>
                          <a:pt x="3334" y="1128"/>
                        </a:lnTo>
                        <a:lnTo>
                          <a:pt x="3330" y="1124"/>
                        </a:lnTo>
                        <a:lnTo>
                          <a:pt x="3322" y="1116"/>
                        </a:lnTo>
                        <a:lnTo>
                          <a:pt x="3316" y="1110"/>
                        </a:lnTo>
                        <a:lnTo>
                          <a:pt x="3306" y="1104"/>
                        </a:lnTo>
                        <a:lnTo>
                          <a:pt x="3290" y="1098"/>
                        </a:lnTo>
                        <a:lnTo>
                          <a:pt x="3268" y="1092"/>
                        </a:lnTo>
                        <a:lnTo>
                          <a:pt x="3268" y="1092"/>
                        </a:lnTo>
                        <a:lnTo>
                          <a:pt x="3246" y="1084"/>
                        </a:lnTo>
                        <a:lnTo>
                          <a:pt x="3236" y="1078"/>
                        </a:lnTo>
                        <a:lnTo>
                          <a:pt x="3232" y="1072"/>
                        </a:lnTo>
                        <a:lnTo>
                          <a:pt x="3230" y="1066"/>
                        </a:lnTo>
                        <a:lnTo>
                          <a:pt x="3226" y="1058"/>
                        </a:lnTo>
                        <a:lnTo>
                          <a:pt x="3216" y="1048"/>
                        </a:lnTo>
                        <a:lnTo>
                          <a:pt x="3198" y="1036"/>
                        </a:lnTo>
                        <a:lnTo>
                          <a:pt x="3166" y="1022"/>
                        </a:lnTo>
                        <a:lnTo>
                          <a:pt x="3166" y="1022"/>
                        </a:lnTo>
                        <a:lnTo>
                          <a:pt x="3146" y="1016"/>
                        </a:lnTo>
                        <a:lnTo>
                          <a:pt x="3130" y="1012"/>
                        </a:lnTo>
                        <a:lnTo>
                          <a:pt x="3114" y="1010"/>
                        </a:lnTo>
                        <a:lnTo>
                          <a:pt x="3102" y="1010"/>
                        </a:lnTo>
                        <a:lnTo>
                          <a:pt x="3090" y="1012"/>
                        </a:lnTo>
                        <a:lnTo>
                          <a:pt x="3080" y="1014"/>
                        </a:lnTo>
                        <a:lnTo>
                          <a:pt x="3064" y="1020"/>
                        </a:lnTo>
                        <a:lnTo>
                          <a:pt x="3052" y="1026"/>
                        </a:lnTo>
                        <a:lnTo>
                          <a:pt x="3046" y="1028"/>
                        </a:lnTo>
                        <a:lnTo>
                          <a:pt x="3044" y="1026"/>
                        </a:lnTo>
                        <a:lnTo>
                          <a:pt x="3042" y="1022"/>
                        </a:lnTo>
                        <a:lnTo>
                          <a:pt x="3040" y="1008"/>
                        </a:lnTo>
                        <a:lnTo>
                          <a:pt x="3040" y="1008"/>
                        </a:lnTo>
                        <a:lnTo>
                          <a:pt x="3040" y="992"/>
                        </a:lnTo>
                        <a:lnTo>
                          <a:pt x="3038" y="978"/>
                        </a:lnTo>
                        <a:lnTo>
                          <a:pt x="3032" y="962"/>
                        </a:lnTo>
                        <a:lnTo>
                          <a:pt x="3026" y="948"/>
                        </a:lnTo>
                        <a:lnTo>
                          <a:pt x="3024" y="938"/>
                        </a:lnTo>
                        <a:lnTo>
                          <a:pt x="3020" y="928"/>
                        </a:lnTo>
                        <a:lnTo>
                          <a:pt x="3020" y="928"/>
                        </a:lnTo>
                        <a:lnTo>
                          <a:pt x="3018" y="922"/>
                        </a:lnTo>
                        <a:lnTo>
                          <a:pt x="3016" y="918"/>
                        </a:lnTo>
                        <a:lnTo>
                          <a:pt x="3012" y="914"/>
                        </a:lnTo>
                        <a:lnTo>
                          <a:pt x="3008" y="914"/>
                        </a:lnTo>
                        <a:lnTo>
                          <a:pt x="2998" y="912"/>
                        </a:lnTo>
                        <a:lnTo>
                          <a:pt x="2986" y="912"/>
                        </a:lnTo>
                        <a:lnTo>
                          <a:pt x="2974" y="910"/>
                        </a:lnTo>
                        <a:lnTo>
                          <a:pt x="2968" y="908"/>
                        </a:lnTo>
                        <a:lnTo>
                          <a:pt x="2962" y="904"/>
                        </a:lnTo>
                        <a:lnTo>
                          <a:pt x="2958" y="898"/>
                        </a:lnTo>
                        <a:lnTo>
                          <a:pt x="2954" y="890"/>
                        </a:lnTo>
                        <a:lnTo>
                          <a:pt x="2950" y="882"/>
                        </a:lnTo>
                        <a:lnTo>
                          <a:pt x="2948" y="868"/>
                        </a:lnTo>
                        <a:lnTo>
                          <a:pt x="2948" y="868"/>
                        </a:lnTo>
                        <a:lnTo>
                          <a:pt x="2948" y="854"/>
                        </a:lnTo>
                        <a:lnTo>
                          <a:pt x="2948" y="840"/>
                        </a:lnTo>
                        <a:lnTo>
                          <a:pt x="2952" y="824"/>
                        </a:lnTo>
                        <a:lnTo>
                          <a:pt x="2956" y="808"/>
                        </a:lnTo>
                        <a:lnTo>
                          <a:pt x="2968" y="778"/>
                        </a:lnTo>
                        <a:lnTo>
                          <a:pt x="2982" y="750"/>
                        </a:lnTo>
                        <a:lnTo>
                          <a:pt x="2998" y="724"/>
                        </a:lnTo>
                        <a:lnTo>
                          <a:pt x="3014" y="706"/>
                        </a:lnTo>
                        <a:lnTo>
                          <a:pt x="3026" y="692"/>
                        </a:lnTo>
                        <a:lnTo>
                          <a:pt x="3030" y="690"/>
                        </a:lnTo>
                        <a:lnTo>
                          <a:pt x="3034" y="690"/>
                        </a:lnTo>
                        <a:lnTo>
                          <a:pt x="3034" y="690"/>
                        </a:lnTo>
                        <a:lnTo>
                          <a:pt x="3038" y="688"/>
                        </a:lnTo>
                        <a:lnTo>
                          <a:pt x="3042" y="684"/>
                        </a:lnTo>
                        <a:lnTo>
                          <a:pt x="3044" y="670"/>
                        </a:lnTo>
                        <a:lnTo>
                          <a:pt x="3048" y="662"/>
                        </a:lnTo>
                        <a:lnTo>
                          <a:pt x="3052" y="654"/>
                        </a:lnTo>
                        <a:lnTo>
                          <a:pt x="3060" y="648"/>
                        </a:lnTo>
                        <a:lnTo>
                          <a:pt x="3070" y="646"/>
                        </a:lnTo>
                        <a:lnTo>
                          <a:pt x="3070" y="646"/>
                        </a:lnTo>
                        <a:lnTo>
                          <a:pt x="3096" y="644"/>
                        </a:lnTo>
                        <a:lnTo>
                          <a:pt x="3106" y="640"/>
                        </a:lnTo>
                        <a:lnTo>
                          <a:pt x="3116" y="636"/>
                        </a:lnTo>
                        <a:lnTo>
                          <a:pt x="3120" y="630"/>
                        </a:lnTo>
                        <a:lnTo>
                          <a:pt x="3120" y="624"/>
                        </a:lnTo>
                        <a:lnTo>
                          <a:pt x="3116" y="614"/>
                        </a:lnTo>
                        <a:lnTo>
                          <a:pt x="3106" y="604"/>
                        </a:lnTo>
                        <a:lnTo>
                          <a:pt x="3106" y="604"/>
                        </a:lnTo>
                        <a:lnTo>
                          <a:pt x="3098" y="596"/>
                        </a:lnTo>
                        <a:lnTo>
                          <a:pt x="3098" y="594"/>
                        </a:lnTo>
                        <a:lnTo>
                          <a:pt x="3098" y="592"/>
                        </a:lnTo>
                        <a:lnTo>
                          <a:pt x="3104" y="590"/>
                        </a:lnTo>
                        <a:lnTo>
                          <a:pt x="3112" y="590"/>
                        </a:lnTo>
                        <a:lnTo>
                          <a:pt x="3124" y="590"/>
                        </a:lnTo>
                        <a:lnTo>
                          <a:pt x="3136" y="586"/>
                        </a:lnTo>
                        <a:lnTo>
                          <a:pt x="3140" y="584"/>
                        </a:lnTo>
                        <a:lnTo>
                          <a:pt x="3144" y="580"/>
                        </a:lnTo>
                        <a:lnTo>
                          <a:pt x="3148" y="576"/>
                        </a:lnTo>
                        <a:lnTo>
                          <a:pt x="3150" y="568"/>
                        </a:lnTo>
                        <a:lnTo>
                          <a:pt x="3150" y="568"/>
                        </a:lnTo>
                        <a:lnTo>
                          <a:pt x="3152" y="562"/>
                        </a:lnTo>
                        <a:lnTo>
                          <a:pt x="3154" y="558"/>
                        </a:lnTo>
                        <a:lnTo>
                          <a:pt x="3156" y="556"/>
                        </a:lnTo>
                        <a:lnTo>
                          <a:pt x="3158" y="556"/>
                        </a:lnTo>
                        <a:lnTo>
                          <a:pt x="3166" y="560"/>
                        </a:lnTo>
                        <a:lnTo>
                          <a:pt x="3176" y="566"/>
                        </a:lnTo>
                        <a:lnTo>
                          <a:pt x="3188" y="570"/>
                        </a:lnTo>
                        <a:lnTo>
                          <a:pt x="3194" y="572"/>
                        </a:lnTo>
                        <a:lnTo>
                          <a:pt x="3200" y="570"/>
                        </a:lnTo>
                        <a:lnTo>
                          <a:pt x="3206" y="568"/>
                        </a:lnTo>
                        <a:lnTo>
                          <a:pt x="3214" y="562"/>
                        </a:lnTo>
                        <a:lnTo>
                          <a:pt x="3220" y="554"/>
                        </a:lnTo>
                        <a:lnTo>
                          <a:pt x="3228" y="542"/>
                        </a:lnTo>
                        <a:lnTo>
                          <a:pt x="3228" y="542"/>
                        </a:lnTo>
                        <a:lnTo>
                          <a:pt x="3242" y="520"/>
                        </a:lnTo>
                        <a:lnTo>
                          <a:pt x="3252" y="506"/>
                        </a:lnTo>
                        <a:lnTo>
                          <a:pt x="3258" y="496"/>
                        </a:lnTo>
                        <a:lnTo>
                          <a:pt x="3260" y="492"/>
                        </a:lnTo>
                        <a:lnTo>
                          <a:pt x="3258" y="490"/>
                        </a:lnTo>
                        <a:lnTo>
                          <a:pt x="3256" y="488"/>
                        </a:lnTo>
                        <a:lnTo>
                          <a:pt x="3244" y="486"/>
                        </a:lnTo>
                        <a:lnTo>
                          <a:pt x="3228" y="484"/>
                        </a:lnTo>
                        <a:lnTo>
                          <a:pt x="3204" y="478"/>
                        </a:lnTo>
                        <a:lnTo>
                          <a:pt x="3204" y="478"/>
                        </a:lnTo>
                        <a:lnTo>
                          <a:pt x="3186" y="474"/>
                        </a:lnTo>
                        <a:lnTo>
                          <a:pt x="3176" y="470"/>
                        </a:lnTo>
                        <a:lnTo>
                          <a:pt x="3170" y="464"/>
                        </a:lnTo>
                        <a:lnTo>
                          <a:pt x="3164" y="460"/>
                        </a:lnTo>
                        <a:lnTo>
                          <a:pt x="3154" y="450"/>
                        </a:lnTo>
                        <a:lnTo>
                          <a:pt x="3144" y="444"/>
                        </a:lnTo>
                        <a:lnTo>
                          <a:pt x="3132" y="438"/>
                        </a:lnTo>
                        <a:lnTo>
                          <a:pt x="3132" y="438"/>
                        </a:lnTo>
                        <a:lnTo>
                          <a:pt x="3140" y="438"/>
                        </a:lnTo>
                        <a:lnTo>
                          <a:pt x="3148" y="438"/>
                        </a:lnTo>
                        <a:lnTo>
                          <a:pt x="3158" y="440"/>
                        </a:lnTo>
                        <a:lnTo>
                          <a:pt x="3166" y="442"/>
                        </a:lnTo>
                        <a:lnTo>
                          <a:pt x="3184" y="452"/>
                        </a:lnTo>
                        <a:lnTo>
                          <a:pt x="3202" y="462"/>
                        </a:lnTo>
                        <a:lnTo>
                          <a:pt x="3220" y="470"/>
                        </a:lnTo>
                        <a:lnTo>
                          <a:pt x="3230" y="472"/>
                        </a:lnTo>
                        <a:lnTo>
                          <a:pt x="3238" y="474"/>
                        </a:lnTo>
                        <a:lnTo>
                          <a:pt x="3246" y="474"/>
                        </a:lnTo>
                        <a:lnTo>
                          <a:pt x="3254" y="472"/>
                        </a:lnTo>
                        <a:lnTo>
                          <a:pt x="3262" y="466"/>
                        </a:lnTo>
                        <a:lnTo>
                          <a:pt x="3270" y="460"/>
                        </a:lnTo>
                        <a:lnTo>
                          <a:pt x="3270" y="460"/>
                        </a:lnTo>
                        <a:lnTo>
                          <a:pt x="3296" y="434"/>
                        </a:lnTo>
                        <a:lnTo>
                          <a:pt x="3302" y="426"/>
                        </a:lnTo>
                        <a:lnTo>
                          <a:pt x="3304" y="420"/>
                        </a:lnTo>
                        <a:lnTo>
                          <a:pt x="3304" y="416"/>
                        </a:lnTo>
                        <a:lnTo>
                          <a:pt x="3298" y="412"/>
                        </a:lnTo>
                        <a:lnTo>
                          <a:pt x="3278" y="402"/>
                        </a:lnTo>
                        <a:lnTo>
                          <a:pt x="3278" y="402"/>
                        </a:lnTo>
                        <a:lnTo>
                          <a:pt x="3270" y="394"/>
                        </a:lnTo>
                        <a:lnTo>
                          <a:pt x="3270" y="392"/>
                        </a:lnTo>
                        <a:lnTo>
                          <a:pt x="3270" y="390"/>
                        </a:lnTo>
                        <a:lnTo>
                          <a:pt x="3278" y="388"/>
                        </a:lnTo>
                        <a:lnTo>
                          <a:pt x="3288" y="388"/>
                        </a:lnTo>
                        <a:lnTo>
                          <a:pt x="3302" y="388"/>
                        </a:lnTo>
                        <a:lnTo>
                          <a:pt x="3316" y="390"/>
                        </a:lnTo>
                        <a:lnTo>
                          <a:pt x="3328" y="394"/>
                        </a:lnTo>
                        <a:lnTo>
                          <a:pt x="3336" y="400"/>
                        </a:lnTo>
                        <a:lnTo>
                          <a:pt x="3336" y="400"/>
                        </a:lnTo>
                        <a:lnTo>
                          <a:pt x="3346" y="410"/>
                        </a:lnTo>
                        <a:lnTo>
                          <a:pt x="3356" y="418"/>
                        </a:lnTo>
                        <a:lnTo>
                          <a:pt x="3366" y="426"/>
                        </a:lnTo>
                        <a:lnTo>
                          <a:pt x="3374" y="438"/>
                        </a:lnTo>
                        <a:lnTo>
                          <a:pt x="3374" y="438"/>
                        </a:lnTo>
                        <a:lnTo>
                          <a:pt x="3380" y="448"/>
                        </a:lnTo>
                        <a:lnTo>
                          <a:pt x="3388" y="452"/>
                        </a:lnTo>
                        <a:lnTo>
                          <a:pt x="3398" y="454"/>
                        </a:lnTo>
                        <a:lnTo>
                          <a:pt x="3410" y="452"/>
                        </a:lnTo>
                        <a:lnTo>
                          <a:pt x="3410" y="452"/>
                        </a:lnTo>
                        <a:lnTo>
                          <a:pt x="3412" y="450"/>
                        </a:lnTo>
                        <a:lnTo>
                          <a:pt x="3414" y="448"/>
                        </a:lnTo>
                        <a:lnTo>
                          <a:pt x="3412" y="444"/>
                        </a:lnTo>
                        <a:lnTo>
                          <a:pt x="3398" y="436"/>
                        </a:lnTo>
                        <a:lnTo>
                          <a:pt x="3392" y="432"/>
                        </a:lnTo>
                        <a:lnTo>
                          <a:pt x="3386" y="426"/>
                        </a:lnTo>
                        <a:lnTo>
                          <a:pt x="3384" y="424"/>
                        </a:lnTo>
                        <a:lnTo>
                          <a:pt x="3384" y="422"/>
                        </a:lnTo>
                        <a:lnTo>
                          <a:pt x="3386" y="418"/>
                        </a:lnTo>
                        <a:lnTo>
                          <a:pt x="3390" y="416"/>
                        </a:lnTo>
                        <a:lnTo>
                          <a:pt x="3390" y="416"/>
                        </a:lnTo>
                        <a:lnTo>
                          <a:pt x="3398" y="412"/>
                        </a:lnTo>
                        <a:lnTo>
                          <a:pt x="3404" y="406"/>
                        </a:lnTo>
                        <a:lnTo>
                          <a:pt x="3414" y="396"/>
                        </a:lnTo>
                        <a:lnTo>
                          <a:pt x="3426" y="388"/>
                        </a:lnTo>
                        <a:lnTo>
                          <a:pt x="3432" y="386"/>
                        </a:lnTo>
                        <a:lnTo>
                          <a:pt x="3438" y="386"/>
                        </a:lnTo>
                        <a:lnTo>
                          <a:pt x="3438" y="386"/>
                        </a:lnTo>
                        <a:lnTo>
                          <a:pt x="3444" y="386"/>
                        </a:lnTo>
                        <a:lnTo>
                          <a:pt x="3450" y="384"/>
                        </a:lnTo>
                        <a:lnTo>
                          <a:pt x="3456" y="380"/>
                        </a:lnTo>
                        <a:lnTo>
                          <a:pt x="3460" y="374"/>
                        </a:lnTo>
                        <a:lnTo>
                          <a:pt x="3468" y="364"/>
                        </a:lnTo>
                        <a:lnTo>
                          <a:pt x="3474" y="360"/>
                        </a:lnTo>
                        <a:lnTo>
                          <a:pt x="3478" y="360"/>
                        </a:lnTo>
                        <a:lnTo>
                          <a:pt x="3478" y="360"/>
                        </a:lnTo>
                        <a:lnTo>
                          <a:pt x="3484" y="358"/>
                        </a:lnTo>
                        <a:lnTo>
                          <a:pt x="3490" y="354"/>
                        </a:lnTo>
                        <a:lnTo>
                          <a:pt x="3492" y="348"/>
                        </a:lnTo>
                        <a:lnTo>
                          <a:pt x="3494" y="342"/>
                        </a:lnTo>
                        <a:lnTo>
                          <a:pt x="3492" y="334"/>
                        </a:lnTo>
                        <a:lnTo>
                          <a:pt x="3488" y="324"/>
                        </a:lnTo>
                        <a:lnTo>
                          <a:pt x="3482" y="316"/>
                        </a:lnTo>
                        <a:lnTo>
                          <a:pt x="3472" y="306"/>
                        </a:lnTo>
                        <a:lnTo>
                          <a:pt x="3472" y="306"/>
                        </a:lnTo>
                        <a:lnTo>
                          <a:pt x="3464" y="298"/>
                        </a:lnTo>
                        <a:lnTo>
                          <a:pt x="3460" y="292"/>
                        </a:lnTo>
                        <a:lnTo>
                          <a:pt x="3460" y="288"/>
                        </a:lnTo>
                        <a:lnTo>
                          <a:pt x="3462" y="284"/>
                        </a:lnTo>
                        <a:lnTo>
                          <a:pt x="3464" y="282"/>
                        </a:lnTo>
                        <a:lnTo>
                          <a:pt x="3466" y="278"/>
                        </a:lnTo>
                        <a:lnTo>
                          <a:pt x="3464" y="272"/>
                        </a:lnTo>
                        <a:lnTo>
                          <a:pt x="3458" y="266"/>
                        </a:lnTo>
                        <a:lnTo>
                          <a:pt x="3458" y="266"/>
                        </a:lnTo>
                        <a:lnTo>
                          <a:pt x="3452" y="260"/>
                        </a:lnTo>
                        <a:lnTo>
                          <a:pt x="3452" y="258"/>
                        </a:lnTo>
                        <a:lnTo>
                          <a:pt x="3452" y="258"/>
                        </a:lnTo>
                        <a:lnTo>
                          <a:pt x="3458" y="256"/>
                        </a:lnTo>
                        <a:lnTo>
                          <a:pt x="3466" y="256"/>
                        </a:lnTo>
                        <a:lnTo>
                          <a:pt x="3476" y="256"/>
                        </a:lnTo>
                        <a:lnTo>
                          <a:pt x="3484" y="254"/>
                        </a:lnTo>
                        <a:lnTo>
                          <a:pt x="3492" y="250"/>
                        </a:lnTo>
                        <a:lnTo>
                          <a:pt x="3494" y="248"/>
                        </a:lnTo>
                        <a:lnTo>
                          <a:pt x="3496" y="242"/>
                        </a:lnTo>
                        <a:lnTo>
                          <a:pt x="3496" y="242"/>
                        </a:lnTo>
                        <a:lnTo>
                          <a:pt x="3498" y="234"/>
                        </a:lnTo>
                        <a:lnTo>
                          <a:pt x="3496" y="230"/>
                        </a:lnTo>
                        <a:lnTo>
                          <a:pt x="3492" y="228"/>
                        </a:lnTo>
                        <a:lnTo>
                          <a:pt x="3488" y="226"/>
                        </a:lnTo>
                        <a:lnTo>
                          <a:pt x="3486" y="224"/>
                        </a:lnTo>
                        <a:lnTo>
                          <a:pt x="3484" y="222"/>
                        </a:lnTo>
                        <a:lnTo>
                          <a:pt x="3484" y="220"/>
                        </a:lnTo>
                        <a:lnTo>
                          <a:pt x="3490" y="214"/>
                        </a:lnTo>
                        <a:lnTo>
                          <a:pt x="3490" y="214"/>
                        </a:lnTo>
                        <a:lnTo>
                          <a:pt x="3492" y="206"/>
                        </a:lnTo>
                        <a:lnTo>
                          <a:pt x="3492" y="204"/>
                        </a:lnTo>
                        <a:lnTo>
                          <a:pt x="3486" y="202"/>
                        </a:lnTo>
                        <a:lnTo>
                          <a:pt x="3480" y="200"/>
                        </a:lnTo>
                        <a:lnTo>
                          <a:pt x="3472" y="198"/>
                        </a:lnTo>
                        <a:lnTo>
                          <a:pt x="3464" y="196"/>
                        </a:lnTo>
                        <a:lnTo>
                          <a:pt x="3458" y="192"/>
                        </a:lnTo>
                        <a:lnTo>
                          <a:pt x="3454" y="182"/>
                        </a:lnTo>
                        <a:lnTo>
                          <a:pt x="3454" y="182"/>
                        </a:lnTo>
                        <a:lnTo>
                          <a:pt x="3452" y="174"/>
                        </a:lnTo>
                        <a:lnTo>
                          <a:pt x="3446" y="170"/>
                        </a:lnTo>
                        <a:lnTo>
                          <a:pt x="3438" y="168"/>
                        </a:lnTo>
                        <a:lnTo>
                          <a:pt x="3428" y="168"/>
                        </a:lnTo>
                        <a:lnTo>
                          <a:pt x="3404" y="166"/>
                        </a:lnTo>
                        <a:lnTo>
                          <a:pt x="3392" y="164"/>
                        </a:lnTo>
                        <a:lnTo>
                          <a:pt x="3378" y="160"/>
                        </a:lnTo>
                        <a:lnTo>
                          <a:pt x="3378" y="160"/>
                        </a:lnTo>
                        <a:lnTo>
                          <a:pt x="3360" y="152"/>
                        </a:lnTo>
                        <a:lnTo>
                          <a:pt x="3356" y="152"/>
                        </a:lnTo>
                        <a:lnTo>
                          <a:pt x="3354" y="152"/>
                        </a:lnTo>
                        <a:lnTo>
                          <a:pt x="3348" y="156"/>
                        </a:lnTo>
                        <a:lnTo>
                          <a:pt x="3344" y="158"/>
                        </a:lnTo>
                        <a:lnTo>
                          <a:pt x="3334" y="158"/>
                        </a:lnTo>
                        <a:lnTo>
                          <a:pt x="3334" y="158"/>
                        </a:lnTo>
                        <a:lnTo>
                          <a:pt x="3326" y="160"/>
                        </a:lnTo>
                        <a:lnTo>
                          <a:pt x="3320" y="164"/>
                        </a:lnTo>
                        <a:lnTo>
                          <a:pt x="3318" y="172"/>
                        </a:lnTo>
                        <a:lnTo>
                          <a:pt x="3318" y="180"/>
                        </a:lnTo>
                        <a:lnTo>
                          <a:pt x="3322" y="190"/>
                        </a:lnTo>
                        <a:lnTo>
                          <a:pt x="3326" y="198"/>
                        </a:lnTo>
                        <a:lnTo>
                          <a:pt x="3330" y="206"/>
                        </a:lnTo>
                        <a:lnTo>
                          <a:pt x="3338" y="210"/>
                        </a:lnTo>
                        <a:lnTo>
                          <a:pt x="3338" y="210"/>
                        </a:lnTo>
                        <a:lnTo>
                          <a:pt x="3342" y="212"/>
                        </a:lnTo>
                        <a:lnTo>
                          <a:pt x="3346" y="216"/>
                        </a:lnTo>
                        <a:lnTo>
                          <a:pt x="3346" y="222"/>
                        </a:lnTo>
                        <a:lnTo>
                          <a:pt x="3344" y="226"/>
                        </a:lnTo>
                        <a:lnTo>
                          <a:pt x="3342" y="230"/>
                        </a:lnTo>
                        <a:lnTo>
                          <a:pt x="3338" y="232"/>
                        </a:lnTo>
                        <a:lnTo>
                          <a:pt x="3332" y="234"/>
                        </a:lnTo>
                        <a:lnTo>
                          <a:pt x="3326" y="234"/>
                        </a:lnTo>
                        <a:lnTo>
                          <a:pt x="3326" y="234"/>
                        </a:lnTo>
                        <a:lnTo>
                          <a:pt x="3322" y="236"/>
                        </a:lnTo>
                        <a:lnTo>
                          <a:pt x="3320" y="240"/>
                        </a:lnTo>
                        <a:lnTo>
                          <a:pt x="3318" y="256"/>
                        </a:lnTo>
                        <a:lnTo>
                          <a:pt x="3318" y="266"/>
                        </a:lnTo>
                        <a:lnTo>
                          <a:pt x="3316" y="278"/>
                        </a:lnTo>
                        <a:lnTo>
                          <a:pt x="3310" y="288"/>
                        </a:lnTo>
                        <a:lnTo>
                          <a:pt x="3300" y="296"/>
                        </a:lnTo>
                        <a:lnTo>
                          <a:pt x="3300" y="296"/>
                        </a:lnTo>
                        <a:lnTo>
                          <a:pt x="3292" y="302"/>
                        </a:lnTo>
                        <a:lnTo>
                          <a:pt x="3286" y="310"/>
                        </a:lnTo>
                        <a:lnTo>
                          <a:pt x="3284" y="316"/>
                        </a:lnTo>
                        <a:lnTo>
                          <a:pt x="3282" y="322"/>
                        </a:lnTo>
                        <a:lnTo>
                          <a:pt x="3280" y="328"/>
                        </a:lnTo>
                        <a:lnTo>
                          <a:pt x="3278" y="332"/>
                        </a:lnTo>
                        <a:lnTo>
                          <a:pt x="3274" y="338"/>
                        </a:lnTo>
                        <a:lnTo>
                          <a:pt x="3264" y="342"/>
                        </a:lnTo>
                        <a:lnTo>
                          <a:pt x="3264" y="342"/>
                        </a:lnTo>
                        <a:lnTo>
                          <a:pt x="3250" y="344"/>
                        </a:lnTo>
                        <a:lnTo>
                          <a:pt x="3246" y="344"/>
                        </a:lnTo>
                        <a:lnTo>
                          <a:pt x="3244" y="340"/>
                        </a:lnTo>
                        <a:lnTo>
                          <a:pt x="3238" y="330"/>
                        </a:lnTo>
                        <a:lnTo>
                          <a:pt x="3232" y="322"/>
                        </a:lnTo>
                        <a:lnTo>
                          <a:pt x="3222" y="312"/>
                        </a:lnTo>
                        <a:lnTo>
                          <a:pt x="3222" y="312"/>
                        </a:lnTo>
                        <a:lnTo>
                          <a:pt x="3214" y="304"/>
                        </a:lnTo>
                        <a:lnTo>
                          <a:pt x="3210" y="298"/>
                        </a:lnTo>
                        <a:lnTo>
                          <a:pt x="3212" y="292"/>
                        </a:lnTo>
                        <a:lnTo>
                          <a:pt x="3216" y="288"/>
                        </a:lnTo>
                        <a:lnTo>
                          <a:pt x="3226" y="280"/>
                        </a:lnTo>
                        <a:lnTo>
                          <a:pt x="3232" y="276"/>
                        </a:lnTo>
                        <a:lnTo>
                          <a:pt x="3234" y="270"/>
                        </a:lnTo>
                        <a:lnTo>
                          <a:pt x="3234" y="270"/>
                        </a:lnTo>
                        <a:lnTo>
                          <a:pt x="3232" y="260"/>
                        </a:lnTo>
                        <a:lnTo>
                          <a:pt x="3228" y="248"/>
                        </a:lnTo>
                        <a:lnTo>
                          <a:pt x="3220" y="234"/>
                        </a:lnTo>
                        <a:lnTo>
                          <a:pt x="3212" y="220"/>
                        </a:lnTo>
                        <a:lnTo>
                          <a:pt x="3200" y="210"/>
                        </a:lnTo>
                        <a:lnTo>
                          <a:pt x="3190" y="202"/>
                        </a:lnTo>
                        <a:lnTo>
                          <a:pt x="3184" y="200"/>
                        </a:lnTo>
                        <a:lnTo>
                          <a:pt x="3178" y="200"/>
                        </a:lnTo>
                        <a:lnTo>
                          <a:pt x="3172" y="202"/>
                        </a:lnTo>
                        <a:lnTo>
                          <a:pt x="3168" y="206"/>
                        </a:lnTo>
                        <a:lnTo>
                          <a:pt x="3168" y="206"/>
                        </a:lnTo>
                        <a:lnTo>
                          <a:pt x="3158" y="216"/>
                        </a:lnTo>
                        <a:lnTo>
                          <a:pt x="3154" y="230"/>
                        </a:lnTo>
                        <a:lnTo>
                          <a:pt x="3148" y="254"/>
                        </a:lnTo>
                        <a:lnTo>
                          <a:pt x="3146" y="262"/>
                        </a:lnTo>
                        <a:lnTo>
                          <a:pt x="3142" y="268"/>
                        </a:lnTo>
                        <a:lnTo>
                          <a:pt x="3140" y="268"/>
                        </a:lnTo>
                        <a:lnTo>
                          <a:pt x="3138" y="268"/>
                        </a:lnTo>
                        <a:lnTo>
                          <a:pt x="3130" y="260"/>
                        </a:lnTo>
                        <a:lnTo>
                          <a:pt x="3130" y="260"/>
                        </a:lnTo>
                        <a:lnTo>
                          <a:pt x="3124" y="252"/>
                        </a:lnTo>
                        <a:lnTo>
                          <a:pt x="3122" y="246"/>
                        </a:lnTo>
                        <a:lnTo>
                          <a:pt x="3122" y="242"/>
                        </a:lnTo>
                        <a:lnTo>
                          <a:pt x="3124" y="238"/>
                        </a:lnTo>
                        <a:lnTo>
                          <a:pt x="3126" y="236"/>
                        </a:lnTo>
                        <a:lnTo>
                          <a:pt x="3128" y="232"/>
                        </a:lnTo>
                        <a:lnTo>
                          <a:pt x="3124" y="226"/>
                        </a:lnTo>
                        <a:lnTo>
                          <a:pt x="3118" y="216"/>
                        </a:lnTo>
                        <a:lnTo>
                          <a:pt x="3118" y="216"/>
                        </a:lnTo>
                        <a:lnTo>
                          <a:pt x="3112" y="208"/>
                        </a:lnTo>
                        <a:lnTo>
                          <a:pt x="3110" y="204"/>
                        </a:lnTo>
                        <a:lnTo>
                          <a:pt x="3110" y="202"/>
                        </a:lnTo>
                        <a:lnTo>
                          <a:pt x="3114" y="198"/>
                        </a:lnTo>
                        <a:lnTo>
                          <a:pt x="3120" y="194"/>
                        </a:lnTo>
                        <a:lnTo>
                          <a:pt x="3126" y="192"/>
                        </a:lnTo>
                        <a:lnTo>
                          <a:pt x="3128" y="190"/>
                        </a:lnTo>
                        <a:lnTo>
                          <a:pt x="3126" y="186"/>
                        </a:lnTo>
                        <a:lnTo>
                          <a:pt x="3116" y="180"/>
                        </a:lnTo>
                        <a:lnTo>
                          <a:pt x="3116" y="180"/>
                        </a:lnTo>
                        <a:lnTo>
                          <a:pt x="3104" y="174"/>
                        </a:lnTo>
                        <a:lnTo>
                          <a:pt x="3094" y="172"/>
                        </a:lnTo>
                        <a:lnTo>
                          <a:pt x="3088" y="172"/>
                        </a:lnTo>
                        <a:lnTo>
                          <a:pt x="3082" y="174"/>
                        </a:lnTo>
                        <a:lnTo>
                          <a:pt x="3076" y="176"/>
                        </a:lnTo>
                        <a:lnTo>
                          <a:pt x="3070" y="178"/>
                        </a:lnTo>
                        <a:lnTo>
                          <a:pt x="3064" y="176"/>
                        </a:lnTo>
                        <a:lnTo>
                          <a:pt x="3054" y="172"/>
                        </a:lnTo>
                        <a:lnTo>
                          <a:pt x="3054" y="172"/>
                        </a:lnTo>
                        <a:lnTo>
                          <a:pt x="3050" y="170"/>
                        </a:lnTo>
                        <a:lnTo>
                          <a:pt x="3048" y="168"/>
                        </a:lnTo>
                        <a:lnTo>
                          <a:pt x="3048" y="164"/>
                        </a:lnTo>
                        <a:lnTo>
                          <a:pt x="3048" y="162"/>
                        </a:lnTo>
                        <a:lnTo>
                          <a:pt x="3054" y="154"/>
                        </a:lnTo>
                        <a:lnTo>
                          <a:pt x="3062" y="148"/>
                        </a:lnTo>
                        <a:lnTo>
                          <a:pt x="3076" y="134"/>
                        </a:lnTo>
                        <a:lnTo>
                          <a:pt x="3080" y="130"/>
                        </a:lnTo>
                        <a:lnTo>
                          <a:pt x="3080" y="126"/>
                        </a:lnTo>
                        <a:lnTo>
                          <a:pt x="3078" y="124"/>
                        </a:lnTo>
                        <a:lnTo>
                          <a:pt x="3078" y="124"/>
                        </a:lnTo>
                        <a:lnTo>
                          <a:pt x="3064" y="114"/>
                        </a:lnTo>
                        <a:lnTo>
                          <a:pt x="3046" y="102"/>
                        </a:lnTo>
                        <a:lnTo>
                          <a:pt x="3038" y="94"/>
                        </a:lnTo>
                        <a:lnTo>
                          <a:pt x="3032" y="86"/>
                        </a:lnTo>
                        <a:lnTo>
                          <a:pt x="3028" y="78"/>
                        </a:lnTo>
                        <a:lnTo>
                          <a:pt x="3026" y="66"/>
                        </a:lnTo>
                        <a:lnTo>
                          <a:pt x="3026" y="66"/>
                        </a:lnTo>
                        <a:lnTo>
                          <a:pt x="3026" y="62"/>
                        </a:lnTo>
                        <a:lnTo>
                          <a:pt x="3026" y="56"/>
                        </a:lnTo>
                        <a:lnTo>
                          <a:pt x="3020" y="44"/>
                        </a:lnTo>
                        <a:lnTo>
                          <a:pt x="3010" y="34"/>
                        </a:lnTo>
                        <a:lnTo>
                          <a:pt x="2998" y="24"/>
                        </a:lnTo>
                        <a:lnTo>
                          <a:pt x="2986" y="14"/>
                        </a:lnTo>
                        <a:lnTo>
                          <a:pt x="2972" y="8"/>
                        </a:lnTo>
                        <a:lnTo>
                          <a:pt x="2960" y="2"/>
                        </a:lnTo>
                        <a:lnTo>
                          <a:pt x="2948" y="0"/>
                        </a:lnTo>
                        <a:lnTo>
                          <a:pt x="2948" y="0"/>
                        </a:lnTo>
                        <a:lnTo>
                          <a:pt x="2940" y="0"/>
                        </a:lnTo>
                        <a:lnTo>
                          <a:pt x="2936" y="2"/>
                        </a:lnTo>
                        <a:lnTo>
                          <a:pt x="2934" y="4"/>
                        </a:lnTo>
                        <a:lnTo>
                          <a:pt x="2932" y="8"/>
                        </a:lnTo>
                        <a:lnTo>
                          <a:pt x="2932" y="12"/>
                        </a:lnTo>
                        <a:lnTo>
                          <a:pt x="2928" y="16"/>
                        </a:lnTo>
                        <a:lnTo>
                          <a:pt x="2924" y="20"/>
                        </a:lnTo>
                        <a:lnTo>
                          <a:pt x="2916" y="22"/>
                        </a:lnTo>
                        <a:lnTo>
                          <a:pt x="2916" y="22"/>
                        </a:lnTo>
                        <a:lnTo>
                          <a:pt x="2908" y="26"/>
                        </a:lnTo>
                        <a:lnTo>
                          <a:pt x="2904" y="28"/>
                        </a:lnTo>
                        <a:lnTo>
                          <a:pt x="2902" y="30"/>
                        </a:lnTo>
                        <a:lnTo>
                          <a:pt x="2902" y="34"/>
                        </a:lnTo>
                        <a:lnTo>
                          <a:pt x="2902" y="38"/>
                        </a:lnTo>
                        <a:lnTo>
                          <a:pt x="2900" y="42"/>
                        </a:lnTo>
                        <a:lnTo>
                          <a:pt x="2894" y="46"/>
                        </a:lnTo>
                        <a:lnTo>
                          <a:pt x="2886" y="50"/>
                        </a:lnTo>
                        <a:lnTo>
                          <a:pt x="2886" y="50"/>
                        </a:lnTo>
                        <a:lnTo>
                          <a:pt x="2878" y="56"/>
                        </a:lnTo>
                        <a:lnTo>
                          <a:pt x="2876" y="62"/>
                        </a:lnTo>
                        <a:lnTo>
                          <a:pt x="2876" y="70"/>
                        </a:lnTo>
                        <a:lnTo>
                          <a:pt x="2878" y="80"/>
                        </a:lnTo>
                        <a:lnTo>
                          <a:pt x="2886" y="98"/>
                        </a:lnTo>
                        <a:lnTo>
                          <a:pt x="2888" y="106"/>
                        </a:lnTo>
                        <a:lnTo>
                          <a:pt x="2886" y="114"/>
                        </a:lnTo>
                        <a:lnTo>
                          <a:pt x="2886" y="114"/>
                        </a:lnTo>
                        <a:lnTo>
                          <a:pt x="2884" y="128"/>
                        </a:lnTo>
                        <a:lnTo>
                          <a:pt x="2884" y="136"/>
                        </a:lnTo>
                        <a:lnTo>
                          <a:pt x="2886" y="142"/>
                        </a:lnTo>
                        <a:lnTo>
                          <a:pt x="2890" y="150"/>
                        </a:lnTo>
                        <a:lnTo>
                          <a:pt x="2898" y="156"/>
                        </a:lnTo>
                        <a:lnTo>
                          <a:pt x="2910" y="162"/>
                        </a:lnTo>
                        <a:lnTo>
                          <a:pt x="2924" y="168"/>
                        </a:lnTo>
                        <a:lnTo>
                          <a:pt x="2924" y="168"/>
                        </a:lnTo>
                        <a:lnTo>
                          <a:pt x="2940" y="172"/>
                        </a:lnTo>
                        <a:lnTo>
                          <a:pt x="2954" y="180"/>
                        </a:lnTo>
                        <a:lnTo>
                          <a:pt x="2964" y="186"/>
                        </a:lnTo>
                        <a:lnTo>
                          <a:pt x="2970" y="194"/>
                        </a:lnTo>
                        <a:lnTo>
                          <a:pt x="2974" y="202"/>
                        </a:lnTo>
                        <a:lnTo>
                          <a:pt x="2974" y="208"/>
                        </a:lnTo>
                        <a:lnTo>
                          <a:pt x="2972" y="214"/>
                        </a:lnTo>
                        <a:lnTo>
                          <a:pt x="2966" y="218"/>
                        </a:lnTo>
                        <a:lnTo>
                          <a:pt x="2966" y="218"/>
                        </a:lnTo>
                        <a:lnTo>
                          <a:pt x="2958" y="222"/>
                        </a:lnTo>
                        <a:lnTo>
                          <a:pt x="2954" y="226"/>
                        </a:lnTo>
                        <a:lnTo>
                          <a:pt x="2954" y="232"/>
                        </a:lnTo>
                        <a:lnTo>
                          <a:pt x="2956" y="234"/>
                        </a:lnTo>
                        <a:lnTo>
                          <a:pt x="2960" y="238"/>
                        </a:lnTo>
                        <a:lnTo>
                          <a:pt x="2966" y="238"/>
                        </a:lnTo>
                        <a:lnTo>
                          <a:pt x="2972" y="236"/>
                        </a:lnTo>
                        <a:lnTo>
                          <a:pt x="2980" y="234"/>
                        </a:lnTo>
                        <a:lnTo>
                          <a:pt x="2980" y="234"/>
                        </a:lnTo>
                        <a:lnTo>
                          <a:pt x="2986" y="230"/>
                        </a:lnTo>
                        <a:lnTo>
                          <a:pt x="2992" y="230"/>
                        </a:lnTo>
                        <a:lnTo>
                          <a:pt x="2996" y="232"/>
                        </a:lnTo>
                        <a:lnTo>
                          <a:pt x="2996" y="238"/>
                        </a:lnTo>
                        <a:lnTo>
                          <a:pt x="2994" y="246"/>
                        </a:lnTo>
                        <a:lnTo>
                          <a:pt x="2988" y="254"/>
                        </a:lnTo>
                        <a:lnTo>
                          <a:pt x="2980" y="262"/>
                        </a:lnTo>
                        <a:lnTo>
                          <a:pt x="2968" y="272"/>
                        </a:lnTo>
                        <a:lnTo>
                          <a:pt x="2968" y="272"/>
                        </a:lnTo>
                        <a:lnTo>
                          <a:pt x="2956" y="280"/>
                        </a:lnTo>
                        <a:lnTo>
                          <a:pt x="2946" y="282"/>
                        </a:lnTo>
                        <a:lnTo>
                          <a:pt x="2940" y="284"/>
                        </a:lnTo>
                        <a:lnTo>
                          <a:pt x="2934" y="282"/>
                        </a:lnTo>
                        <a:lnTo>
                          <a:pt x="2930" y="280"/>
                        </a:lnTo>
                        <a:lnTo>
                          <a:pt x="2928" y="282"/>
                        </a:lnTo>
                        <a:lnTo>
                          <a:pt x="2926" y="284"/>
                        </a:lnTo>
                        <a:lnTo>
                          <a:pt x="2922" y="290"/>
                        </a:lnTo>
                        <a:lnTo>
                          <a:pt x="2922" y="290"/>
                        </a:lnTo>
                        <a:lnTo>
                          <a:pt x="2920" y="300"/>
                        </a:lnTo>
                        <a:lnTo>
                          <a:pt x="2924" y="312"/>
                        </a:lnTo>
                        <a:lnTo>
                          <a:pt x="2930" y="334"/>
                        </a:lnTo>
                        <a:lnTo>
                          <a:pt x="2934" y="342"/>
                        </a:lnTo>
                        <a:lnTo>
                          <a:pt x="2934" y="348"/>
                        </a:lnTo>
                        <a:lnTo>
                          <a:pt x="2934" y="350"/>
                        </a:lnTo>
                        <a:lnTo>
                          <a:pt x="2930" y="348"/>
                        </a:lnTo>
                        <a:lnTo>
                          <a:pt x="2922" y="344"/>
                        </a:lnTo>
                        <a:lnTo>
                          <a:pt x="2922" y="344"/>
                        </a:lnTo>
                        <a:lnTo>
                          <a:pt x="2902" y="330"/>
                        </a:lnTo>
                        <a:lnTo>
                          <a:pt x="2896" y="326"/>
                        </a:lnTo>
                        <a:lnTo>
                          <a:pt x="2892" y="320"/>
                        </a:lnTo>
                        <a:lnTo>
                          <a:pt x="2892" y="316"/>
                        </a:lnTo>
                        <a:lnTo>
                          <a:pt x="2892" y="312"/>
                        </a:lnTo>
                        <a:lnTo>
                          <a:pt x="2896" y="298"/>
                        </a:lnTo>
                        <a:lnTo>
                          <a:pt x="2896" y="298"/>
                        </a:lnTo>
                        <a:lnTo>
                          <a:pt x="2900" y="286"/>
                        </a:lnTo>
                        <a:lnTo>
                          <a:pt x="2902" y="280"/>
                        </a:lnTo>
                        <a:lnTo>
                          <a:pt x="2900" y="276"/>
                        </a:lnTo>
                        <a:lnTo>
                          <a:pt x="2898" y="272"/>
                        </a:lnTo>
                        <a:lnTo>
                          <a:pt x="2892" y="270"/>
                        </a:lnTo>
                        <a:lnTo>
                          <a:pt x="2886" y="270"/>
                        </a:lnTo>
                        <a:lnTo>
                          <a:pt x="2876" y="270"/>
                        </a:lnTo>
                        <a:lnTo>
                          <a:pt x="2876" y="270"/>
                        </a:lnTo>
                        <a:lnTo>
                          <a:pt x="2866" y="270"/>
                        </a:lnTo>
                        <a:lnTo>
                          <a:pt x="2858" y="268"/>
                        </a:lnTo>
                        <a:lnTo>
                          <a:pt x="2844" y="260"/>
                        </a:lnTo>
                        <a:lnTo>
                          <a:pt x="2838" y="256"/>
                        </a:lnTo>
                        <a:lnTo>
                          <a:pt x="2830" y="254"/>
                        </a:lnTo>
                        <a:lnTo>
                          <a:pt x="2820" y="254"/>
                        </a:lnTo>
                        <a:lnTo>
                          <a:pt x="2810" y="258"/>
                        </a:lnTo>
                        <a:lnTo>
                          <a:pt x="2810" y="258"/>
                        </a:lnTo>
                        <a:lnTo>
                          <a:pt x="2800" y="264"/>
                        </a:lnTo>
                        <a:lnTo>
                          <a:pt x="2796" y="272"/>
                        </a:lnTo>
                        <a:lnTo>
                          <a:pt x="2796" y="278"/>
                        </a:lnTo>
                        <a:lnTo>
                          <a:pt x="2796" y="286"/>
                        </a:lnTo>
                        <a:lnTo>
                          <a:pt x="2798" y="292"/>
                        </a:lnTo>
                        <a:lnTo>
                          <a:pt x="2798" y="298"/>
                        </a:lnTo>
                        <a:lnTo>
                          <a:pt x="2794" y="304"/>
                        </a:lnTo>
                        <a:lnTo>
                          <a:pt x="2786" y="308"/>
                        </a:lnTo>
                        <a:lnTo>
                          <a:pt x="2786" y="308"/>
                        </a:lnTo>
                        <a:lnTo>
                          <a:pt x="2778" y="310"/>
                        </a:lnTo>
                        <a:lnTo>
                          <a:pt x="2772" y="308"/>
                        </a:lnTo>
                        <a:lnTo>
                          <a:pt x="2760" y="302"/>
                        </a:lnTo>
                        <a:lnTo>
                          <a:pt x="2752" y="300"/>
                        </a:lnTo>
                        <a:lnTo>
                          <a:pt x="2742" y="298"/>
                        </a:lnTo>
                        <a:lnTo>
                          <a:pt x="2726" y="298"/>
                        </a:lnTo>
                        <a:lnTo>
                          <a:pt x="2708" y="302"/>
                        </a:lnTo>
                        <a:lnTo>
                          <a:pt x="2708" y="302"/>
                        </a:lnTo>
                        <a:lnTo>
                          <a:pt x="2680" y="306"/>
                        </a:lnTo>
                        <a:lnTo>
                          <a:pt x="2658" y="306"/>
                        </a:lnTo>
                        <a:lnTo>
                          <a:pt x="2640" y="302"/>
                        </a:lnTo>
                        <a:lnTo>
                          <a:pt x="2626" y="298"/>
                        </a:lnTo>
                        <a:lnTo>
                          <a:pt x="2606" y="286"/>
                        </a:lnTo>
                        <a:lnTo>
                          <a:pt x="2598" y="284"/>
                        </a:lnTo>
                        <a:lnTo>
                          <a:pt x="2590" y="286"/>
                        </a:lnTo>
                        <a:lnTo>
                          <a:pt x="2590" y="286"/>
                        </a:lnTo>
                        <a:lnTo>
                          <a:pt x="2580" y="288"/>
                        </a:lnTo>
                        <a:lnTo>
                          <a:pt x="2572" y="288"/>
                        </a:lnTo>
                        <a:lnTo>
                          <a:pt x="2564" y="286"/>
                        </a:lnTo>
                        <a:lnTo>
                          <a:pt x="2556" y="282"/>
                        </a:lnTo>
                        <a:lnTo>
                          <a:pt x="2544" y="272"/>
                        </a:lnTo>
                        <a:lnTo>
                          <a:pt x="2532" y="260"/>
                        </a:lnTo>
                        <a:lnTo>
                          <a:pt x="2520" y="246"/>
                        </a:lnTo>
                        <a:lnTo>
                          <a:pt x="2510" y="234"/>
                        </a:lnTo>
                        <a:lnTo>
                          <a:pt x="2504" y="230"/>
                        </a:lnTo>
                        <a:lnTo>
                          <a:pt x="2498" y="226"/>
                        </a:lnTo>
                        <a:lnTo>
                          <a:pt x="2492" y="224"/>
                        </a:lnTo>
                        <a:lnTo>
                          <a:pt x="2486" y="224"/>
                        </a:lnTo>
                        <a:lnTo>
                          <a:pt x="2486" y="224"/>
                        </a:lnTo>
                        <a:lnTo>
                          <a:pt x="2456" y="230"/>
                        </a:lnTo>
                        <a:lnTo>
                          <a:pt x="2438" y="234"/>
                        </a:lnTo>
                        <a:lnTo>
                          <a:pt x="2422" y="240"/>
                        </a:lnTo>
                        <a:lnTo>
                          <a:pt x="2408" y="246"/>
                        </a:lnTo>
                        <a:lnTo>
                          <a:pt x="2398" y="252"/>
                        </a:lnTo>
                        <a:lnTo>
                          <a:pt x="2394" y="256"/>
                        </a:lnTo>
                        <a:lnTo>
                          <a:pt x="2392" y="262"/>
                        </a:lnTo>
                        <a:lnTo>
                          <a:pt x="2392" y="266"/>
                        </a:lnTo>
                        <a:lnTo>
                          <a:pt x="2394" y="270"/>
                        </a:lnTo>
                        <a:lnTo>
                          <a:pt x="2394" y="270"/>
                        </a:lnTo>
                        <a:lnTo>
                          <a:pt x="2398" y="274"/>
                        </a:lnTo>
                        <a:lnTo>
                          <a:pt x="2400" y="278"/>
                        </a:lnTo>
                        <a:lnTo>
                          <a:pt x="2406" y="280"/>
                        </a:lnTo>
                        <a:lnTo>
                          <a:pt x="2410" y="280"/>
                        </a:lnTo>
                        <a:lnTo>
                          <a:pt x="2420" y="278"/>
                        </a:lnTo>
                        <a:lnTo>
                          <a:pt x="2432" y="274"/>
                        </a:lnTo>
                        <a:lnTo>
                          <a:pt x="2456" y="264"/>
                        </a:lnTo>
                        <a:lnTo>
                          <a:pt x="2464" y="262"/>
                        </a:lnTo>
                        <a:lnTo>
                          <a:pt x="2468" y="262"/>
                        </a:lnTo>
                        <a:lnTo>
                          <a:pt x="2472" y="264"/>
                        </a:lnTo>
                        <a:lnTo>
                          <a:pt x="2472" y="264"/>
                        </a:lnTo>
                        <a:lnTo>
                          <a:pt x="2474" y="266"/>
                        </a:lnTo>
                        <a:lnTo>
                          <a:pt x="2476" y="268"/>
                        </a:lnTo>
                        <a:lnTo>
                          <a:pt x="2472" y="272"/>
                        </a:lnTo>
                        <a:lnTo>
                          <a:pt x="2456" y="278"/>
                        </a:lnTo>
                        <a:lnTo>
                          <a:pt x="2436" y="286"/>
                        </a:lnTo>
                        <a:lnTo>
                          <a:pt x="2428" y="292"/>
                        </a:lnTo>
                        <a:lnTo>
                          <a:pt x="2422" y="298"/>
                        </a:lnTo>
                        <a:lnTo>
                          <a:pt x="2422" y="298"/>
                        </a:lnTo>
                        <a:lnTo>
                          <a:pt x="2422" y="304"/>
                        </a:lnTo>
                        <a:lnTo>
                          <a:pt x="2424" y="308"/>
                        </a:lnTo>
                        <a:lnTo>
                          <a:pt x="2428" y="320"/>
                        </a:lnTo>
                        <a:lnTo>
                          <a:pt x="2440" y="342"/>
                        </a:lnTo>
                        <a:lnTo>
                          <a:pt x="2444" y="350"/>
                        </a:lnTo>
                        <a:lnTo>
                          <a:pt x="2444" y="352"/>
                        </a:lnTo>
                        <a:lnTo>
                          <a:pt x="2444" y="354"/>
                        </a:lnTo>
                        <a:lnTo>
                          <a:pt x="2436" y="350"/>
                        </a:lnTo>
                        <a:lnTo>
                          <a:pt x="2418" y="340"/>
                        </a:lnTo>
                        <a:lnTo>
                          <a:pt x="2418" y="340"/>
                        </a:lnTo>
                        <a:lnTo>
                          <a:pt x="2398" y="326"/>
                        </a:lnTo>
                        <a:lnTo>
                          <a:pt x="2382" y="318"/>
                        </a:lnTo>
                        <a:lnTo>
                          <a:pt x="2364" y="310"/>
                        </a:lnTo>
                        <a:lnTo>
                          <a:pt x="2354" y="306"/>
                        </a:lnTo>
                        <a:lnTo>
                          <a:pt x="2348" y="302"/>
                        </a:lnTo>
                        <a:lnTo>
                          <a:pt x="2340" y="294"/>
                        </a:lnTo>
                        <a:lnTo>
                          <a:pt x="2340" y="294"/>
                        </a:lnTo>
                        <a:lnTo>
                          <a:pt x="2334" y="288"/>
                        </a:lnTo>
                        <a:lnTo>
                          <a:pt x="2330" y="286"/>
                        </a:lnTo>
                        <a:lnTo>
                          <a:pt x="2326" y="288"/>
                        </a:lnTo>
                        <a:lnTo>
                          <a:pt x="2320" y="290"/>
                        </a:lnTo>
                        <a:lnTo>
                          <a:pt x="2314" y="296"/>
                        </a:lnTo>
                        <a:lnTo>
                          <a:pt x="2304" y="300"/>
                        </a:lnTo>
                        <a:lnTo>
                          <a:pt x="2286" y="304"/>
                        </a:lnTo>
                        <a:lnTo>
                          <a:pt x="2262" y="308"/>
                        </a:lnTo>
                        <a:lnTo>
                          <a:pt x="2262" y="308"/>
                        </a:lnTo>
                        <a:lnTo>
                          <a:pt x="2206" y="308"/>
                        </a:lnTo>
                        <a:lnTo>
                          <a:pt x="2180" y="308"/>
                        </a:lnTo>
                        <a:lnTo>
                          <a:pt x="2156" y="306"/>
                        </a:lnTo>
                        <a:lnTo>
                          <a:pt x="2140" y="302"/>
                        </a:lnTo>
                        <a:lnTo>
                          <a:pt x="2128" y="298"/>
                        </a:lnTo>
                        <a:lnTo>
                          <a:pt x="2124" y="296"/>
                        </a:lnTo>
                        <a:lnTo>
                          <a:pt x="2124" y="292"/>
                        </a:lnTo>
                        <a:lnTo>
                          <a:pt x="2126" y="288"/>
                        </a:lnTo>
                        <a:lnTo>
                          <a:pt x="2130" y="284"/>
                        </a:lnTo>
                        <a:lnTo>
                          <a:pt x="2130" y="284"/>
                        </a:lnTo>
                        <a:lnTo>
                          <a:pt x="2142" y="278"/>
                        </a:lnTo>
                        <a:lnTo>
                          <a:pt x="2154" y="274"/>
                        </a:lnTo>
                        <a:lnTo>
                          <a:pt x="2172" y="272"/>
                        </a:lnTo>
                        <a:lnTo>
                          <a:pt x="2178" y="270"/>
                        </a:lnTo>
                        <a:lnTo>
                          <a:pt x="2180" y="268"/>
                        </a:lnTo>
                        <a:lnTo>
                          <a:pt x="2178" y="264"/>
                        </a:lnTo>
                        <a:lnTo>
                          <a:pt x="2170" y="256"/>
                        </a:lnTo>
                        <a:lnTo>
                          <a:pt x="2170" y="256"/>
                        </a:lnTo>
                        <a:lnTo>
                          <a:pt x="2154" y="240"/>
                        </a:lnTo>
                        <a:lnTo>
                          <a:pt x="2144" y="232"/>
                        </a:lnTo>
                        <a:lnTo>
                          <a:pt x="2134" y="228"/>
                        </a:lnTo>
                        <a:lnTo>
                          <a:pt x="2124" y="222"/>
                        </a:lnTo>
                        <a:lnTo>
                          <a:pt x="2110" y="220"/>
                        </a:lnTo>
                        <a:lnTo>
                          <a:pt x="2096" y="220"/>
                        </a:lnTo>
                        <a:lnTo>
                          <a:pt x="2080" y="220"/>
                        </a:lnTo>
                        <a:lnTo>
                          <a:pt x="2080" y="220"/>
                        </a:lnTo>
                        <a:lnTo>
                          <a:pt x="2064" y="222"/>
                        </a:lnTo>
                        <a:lnTo>
                          <a:pt x="2046" y="220"/>
                        </a:lnTo>
                        <a:lnTo>
                          <a:pt x="2030" y="218"/>
                        </a:lnTo>
                        <a:lnTo>
                          <a:pt x="2014" y="212"/>
                        </a:lnTo>
                        <a:lnTo>
                          <a:pt x="1982" y="202"/>
                        </a:lnTo>
                        <a:lnTo>
                          <a:pt x="1948" y="194"/>
                        </a:lnTo>
                        <a:lnTo>
                          <a:pt x="1948" y="194"/>
                        </a:lnTo>
                        <a:lnTo>
                          <a:pt x="1932" y="190"/>
                        </a:lnTo>
                        <a:lnTo>
                          <a:pt x="1918" y="184"/>
                        </a:lnTo>
                        <a:lnTo>
                          <a:pt x="1890" y="172"/>
                        </a:lnTo>
                        <a:lnTo>
                          <a:pt x="1876" y="166"/>
                        </a:lnTo>
                        <a:lnTo>
                          <a:pt x="1862" y="160"/>
                        </a:lnTo>
                        <a:lnTo>
                          <a:pt x="1848" y="158"/>
                        </a:lnTo>
                        <a:lnTo>
                          <a:pt x="1832" y="158"/>
                        </a:lnTo>
                        <a:lnTo>
                          <a:pt x="1832" y="158"/>
                        </a:lnTo>
                        <a:lnTo>
                          <a:pt x="1820" y="160"/>
                        </a:lnTo>
                        <a:lnTo>
                          <a:pt x="1812" y="164"/>
                        </a:lnTo>
                        <a:lnTo>
                          <a:pt x="1808" y="170"/>
                        </a:lnTo>
                        <a:lnTo>
                          <a:pt x="1806" y="176"/>
                        </a:lnTo>
                        <a:lnTo>
                          <a:pt x="1804" y="182"/>
                        </a:lnTo>
                        <a:lnTo>
                          <a:pt x="1800" y="186"/>
                        </a:lnTo>
                        <a:lnTo>
                          <a:pt x="1792" y="188"/>
                        </a:lnTo>
                        <a:lnTo>
                          <a:pt x="1780" y="188"/>
                        </a:lnTo>
                        <a:lnTo>
                          <a:pt x="1780" y="188"/>
                        </a:lnTo>
                        <a:lnTo>
                          <a:pt x="1774" y="186"/>
                        </a:lnTo>
                        <a:lnTo>
                          <a:pt x="1768" y="184"/>
                        </a:lnTo>
                        <a:lnTo>
                          <a:pt x="1764" y="180"/>
                        </a:lnTo>
                        <a:lnTo>
                          <a:pt x="1762" y="176"/>
                        </a:lnTo>
                        <a:lnTo>
                          <a:pt x="1760" y="166"/>
                        </a:lnTo>
                        <a:lnTo>
                          <a:pt x="1760" y="156"/>
                        </a:lnTo>
                        <a:lnTo>
                          <a:pt x="1760" y="146"/>
                        </a:lnTo>
                        <a:lnTo>
                          <a:pt x="1758" y="138"/>
                        </a:lnTo>
                        <a:lnTo>
                          <a:pt x="1756" y="136"/>
                        </a:lnTo>
                        <a:lnTo>
                          <a:pt x="1750" y="134"/>
                        </a:lnTo>
                        <a:lnTo>
                          <a:pt x="1744" y="134"/>
                        </a:lnTo>
                        <a:lnTo>
                          <a:pt x="1736" y="134"/>
                        </a:lnTo>
                        <a:lnTo>
                          <a:pt x="1736" y="134"/>
                        </a:lnTo>
                        <a:lnTo>
                          <a:pt x="1732" y="136"/>
                        </a:lnTo>
                        <a:lnTo>
                          <a:pt x="1730" y="140"/>
                        </a:lnTo>
                        <a:lnTo>
                          <a:pt x="1726" y="148"/>
                        </a:lnTo>
                        <a:lnTo>
                          <a:pt x="1724" y="172"/>
                        </a:lnTo>
                        <a:lnTo>
                          <a:pt x="1720" y="182"/>
                        </a:lnTo>
                        <a:lnTo>
                          <a:pt x="1718" y="186"/>
                        </a:lnTo>
                        <a:lnTo>
                          <a:pt x="1716" y="190"/>
                        </a:lnTo>
                        <a:lnTo>
                          <a:pt x="1712" y="190"/>
                        </a:lnTo>
                        <a:lnTo>
                          <a:pt x="1706" y="190"/>
                        </a:lnTo>
                        <a:lnTo>
                          <a:pt x="1698" y="188"/>
                        </a:lnTo>
                        <a:lnTo>
                          <a:pt x="1688" y="184"/>
                        </a:lnTo>
                        <a:lnTo>
                          <a:pt x="1688" y="184"/>
                        </a:lnTo>
                        <a:lnTo>
                          <a:pt x="1684" y="182"/>
                        </a:lnTo>
                        <a:lnTo>
                          <a:pt x="1678" y="176"/>
                        </a:lnTo>
                        <a:lnTo>
                          <a:pt x="1668" y="162"/>
                        </a:lnTo>
                        <a:lnTo>
                          <a:pt x="1650" y="132"/>
                        </a:lnTo>
                        <a:lnTo>
                          <a:pt x="1640" y="116"/>
                        </a:lnTo>
                        <a:lnTo>
                          <a:pt x="1630" y="106"/>
                        </a:lnTo>
                        <a:lnTo>
                          <a:pt x="1624" y="104"/>
                        </a:lnTo>
                        <a:lnTo>
                          <a:pt x="1620" y="102"/>
                        </a:lnTo>
                        <a:lnTo>
                          <a:pt x="1614" y="102"/>
                        </a:lnTo>
                        <a:lnTo>
                          <a:pt x="1608" y="106"/>
                        </a:lnTo>
                        <a:lnTo>
                          <a:pt x="1608" y="106"/>
                        </a:lnTo>
                        <a:lnTo>
                          <a:pt x="1600" y="114"/>
                        </a:lnTo>
                        <a:lnTo>
                          <a:pt x="1598" y="116"/>
                        </a:lnTo>
                        <a:lnTo>
                          <a:pt x="1600" y="118"/>
                        </a:lnTo>
                        <a:lnTo>
                          <a:pt x="1604" y="120"/>
                        </a:lnTo>
                        <a:lnTo>
                          <a:pt x="1610" y="122"/>
                        </a:lnTo>
                        <a:lnTo>
                          <a:pt x="1616" y="124"/>
                        </a:lnTo>
                        <a:lnTo>
                          <a:pt x="1616" y="126"/>
                        </a:lnTo>
                        <a:lnTo>
                          <a:pt x="1616" y="130"/>
                        </a:lnTo>
                        <a:lnTo>
                          <a:pt x="1610" y="138"/>
                        </a:lnTo>
                        <a:lnTo>
                          <a:pt x="1592" y="150"/>
                        </a:lnTo>
                        <a:lnTo>
                          <a:pt x="1592" y="150"/>
                        </a:lnTo>
                        <a:lnTo>
                          <a:pt x="1574" y="160"/>
                        </a:lnTo>
                        <a:lnTo>
                          <a:pt x="1572" y="160"/>
                        </a:lnTo>
                        <a:lnTo>
                          <a:pt x="1570" y="158"/>
                        </a:lnTo>
                        <a:lnTo>
                          <a:pt x="1568" y="156"/>
                        </a:lnTo>
                        <a:lnTo>
                          <a:pt x="1560" y="156"/>
                        </a:lnTo>
                        <a:lnTo>
                          <a:pt x="1546" y="160"/>
                        </a:lnTo>
                        <a:lnTo>
                          <a:pt x="1522" y="168"/>
                        </a:lnTo>
                        <a:lnTo>
                          <a:pt x="1522" y="168"/>
                        </a:lnTo>
                        <a:lnTo>
                          <a:pt x="1482" y="180"/>
                        </a:lnTo>
                        <a:lnTo>
                          <a:pt x="1476" y="182"/>
                        </a:lnTo>
                        <a:lnTo>
                          <a:pt x="1476" y="180"/>
                        </a:lnTo>
                        <a:lnTo>
                          <a:pt x="1476" y="180"/>
                        </a:lnTo>
                        <a:lnTo>
                          <a:pt x="1494" y="168"/>
                        </a:lnTo>
                        <a:lnTo>
                          <a:pt x="1526" y="152"/>
                        </a:lnTo>
                        <a:lnTo>
                          <a:pt x="1526" y="152"/>
                        </a:lnTo>
                        <a:lnTo>
                          <a:pt x="1552" y="140"/>
                        </a:lnTo>
                        <a:lnTo>
                          <a:pt x="1558" y="136"/>
                        </a:lnTo>
                        <a:lnTo>
                          <a:pt x="1560" y="132"/>
                        </a:lnTo>
                        <a:lnTo>
                          <a:pt x="1560" y="132"/>
                        </a:lnTo>
                        <a:lnTo>
                          <a:pt x="1556" y="132"/>
                        </a:lnTo>
                        <a:lnTo>
                          <a:pt x="1538" y="134"/>
                        </a:lnTo>
                        <a:lnTo>
                          <a:pt x="1538" y="134"/>
                        </a:lnTo>
                        <a:lnTo>
                          <a:pt x="1530" y="136"/>
                        </a:lnTo>
                        <a:lnTo>
                          <a:pt x="1522" y="134"/>
                        </a:lnTo>
                        <a:lnTo>
                          <a:pt x="1510" y="134"/>
                        </a:lnTo>
                        <a:lnTo>
                          <a:pt x="1506" y="134"/>
                        </a:lnTo>
                        <a:lnTo>
                          <a:pt x="1498" y="136"/>
                        </a:lnTo>
                        <a:lnTo>
                          <a:pt x="1488" y="140"/>
                        </a:lnTo>
                        <a:lnTo>
                          <a:pt x="1474" y="148"/>
                        </a:lnTo>
                        <a:lnTo>
                          <a:pt x="1474" y="148"/>
                        </a:lnTo>
                        <a:lnTo>
                          <a:pt x="1462" y="156"/>
                        </a:lnTo>
                        <a:lnTo>
                          <a:pt x="1454" y="160"/>
                        </a:lnTo>
                        <a:lnTo>
                          <a:pt x="1448" y="160"/>
                        </a:lnTo>
                        <a:lnTo>
                          <a:pt x="1442" y="162"/>
                        </a:lnTo>
                        <a:lnTo>
                          <a:pt x="1438" y="162"/>
                        </a:lnTo>
                        <a:lnTo>
                          <a:pt x="1432" y="164"/>
                        </a:lnTo>
                        <a:lnTo>
                          <a:pt x="1422" y="168"/>
                        </a:lnTo>
                        <a:lnTo>
                          <a:pt x="1406" y="178"/>
                        </a:lnTo>
                        <a:lnTo>
                          <a:pt x="1406" y="178"/>
                        </a:lnTo>
                        <a:lnTo>
                          <a:pt x="1378" y="198"/>
                        </a:lnTo>
                        <a:lnTo>
                          <a:pt x="1358" y="210"/>
                        </a:lnTo>
                        <a:lnTo>
                          <a:pt x="1352" y="214"/>
                        </a:lnTo>
                        <a:lnTo>
                          <a:pt x="1350" y="218"/>
                        </a:lnTo>
                        <a:lnTo>
                          <a:pt x="1350" y="224"/>
                        </a:lnTo>
                        <a:lnTo>
                          <a:pt x="1352" y="230"/>
                        </a:lnTo>
                        <a:lnTo>
                          <a:pt x="1352" y="230"/>
                        </a:lnTo>
                        <a:lnTo>
                          <a:pt x="1352" y="234"/>
                        </a:lnTo>
                        <a:lnTo>
                          <a:pt x="1352" y="236"/>
                        </a:lnTo>
                        <a:lnTo>
                          <a:pt x="1340" y="232"/>
                        </a:lnTo>
                        <a:lnTo>
                          <a:pt x="1332" y="230"/>
                        </a:lnTo>
                        <a:lnTo>
                          <a:pt x="1324" y="228"/>
                        </a:lnTo>
                        <a:lnTo>
                          <a:pt x="1316" y="230"/>
                        </a:lnTo>
                        <a:lnTo>
                          <a:pt x="1308" y="232"/>
                        </a:lnTo>
                        <a:lnTo>
                          <a:pt x="1308" y="232"/>
                        </a:lnTo>
                        <a:lnTo>
                          <a:pt x="1300" y="236"/>
                        </a:lnTo>
                        <a:lnTo>
                          <a:pt x="1296" y="236"/>
                        </a:lnTo>
                        <a:lnTo>
                          <a:pt x="1294" y="236"/>
                        </a:lnTo>
                        <a:lnTo>
                          <a:pt x="1290" y="232"/>
                        </a:lnTo>
                        <a:lnTo>
                          <a:pt x="1286" y="228"/>
                        </a:lnTo>
                        <a:lnTo>
                          <a:pt x="1280" y="226"/>
                        </a:lnTo>
                        <a:lnTo>
                          <a:pt x="1270" y="224"/>
                        </a:lnTo>
                        <a:lnTo>
                          <a:pt x="1258" y="222"/>
                        </a:lnTo>
                        <a:lnTo>
                          <a:pt x="1258" y="222"/>
                        </a:lnTo>
                        <a:lnTo>
                          <a:pt x="1236" y="220"/>
                        </a:lnTo>
                        <a:lnTo>
                          <a:pt x="1216" y="214"/>
                        </a:lnTo>
                        <a:lnTo>
                          <a:pt x="1198" y="206"/>
                        </a:lnTo>
                        <a:lnTo>
                          <a:pt x="1178" y="196"/>
                        </a:lnTo>
                        <a:lnTo>
                          <a:pt x="1160" y="186"/>
                        </a:lnTo>
                        <a:lnTo>
                          <a:pt x="1138" y="178"/>
                        </a:lnTo>
                        <a:lnTo>
                          <a:pt x="1114" y="172"/>
                        </a:lnTo>
                        <a:lnTo>
                          <a:pt x="1102" y="172"/>
                        </a:lnTo>
                        <a:lnTo>
                          <a:pt x="1088" y="172"/>
                        </a:lnTo>
                        <a:lnTo>
                          <a:pt x="1088" y="172"/>
                        </a:lnTo>
                        <a:lnTo>
                          <a:pt x="1074" y="170"/>
                        </a:lnTo>
                        <a:lnTo>
                          <a:pt x="1062" y="168"/>
                        </a:lnTo>
                        <a:lnTo>
                          <a:pt x="1052" y="162"/>
                        </a:lnTo>
                        <a:lnTo>
                          <a:pt x="1044" y="158"/>
                        </a:lnTo>
                        <a:lnTo>
                          <a:pt x="1036" y="152"/>
                        </a:lnTo>
                        <a:lnTo>
                          <a:pt x="1026" y="146"/>
                        </a:lnTo>
                        <a:lnTo>
                          <a:pt x="1014" y="142"/>
                        </a:lnTo>
                        <a:lnTo>
                          <a:pt x="998" y="140"/>
                        </a:lnTo>
                        <a:lnTo>
                          <a:pt x="998" y="140"/>
                        </a:lnTo>
                        <a:lnTo>
                          <a:pt x="982" y="138"/>
                        </a:lnTo>
                        <a:lnTo>
                          <a:pt x="970" y="140"/>
                        </a:lnTo>
                        <a:lnTo>
                          <a:pt x="950" y="144"/>
                        </a:lnTo>
                        <a:lnTo>
                          <a:pt x="940" y="146"/>
                        </a:lnTo>
                        <a:lnTo>
                          <a:pt x="932" y="146"/>
                        </a:lnTo>
                        <a:lnTo>
                          <a:pt x="922" y="146"/>
                        </a:lnTo>
                        <a:lnTo>
                          <a:pt x="912" y="142"/>
                        </a:lnTo>
                        <a:lnTo>
                          <a:pt x="912" y="142"/>
                        </a:lnTo>
                        <a:lnTo>
                          <a:pt x="898" y="138"/>
                        </a:lnTo>
                        <a:lnTo>
                          <a:pt x="884" y="134"/>
                        </a:lnTo>
                        <a:lnTo>
                          <a:pt x="852" y="132"/>
                        </a:lnTo>
                        <a:lnTo>
                          <a:pt x="816" y="128"/>
                        </a:lnTo>
                        <a:lnTo>
                          <a:pt x="798" y="122"/>
                        </a:lnTo>
                        <a:lnTo>
                          <a:pt x="778" y="116"/>
                        </a:lnTo>
                        <a:lnTo>
                          <a:pt x="778" y="116"/>
                        </a:lnTo>
                        <a:lnTo>
                          <a:pt x="758" y="110"/>
                        </a:lnTo>
                        <a:lnTo>
                          <a:pt x="744" y="108"/>
                        </a:lnTo>
                        <a:lnTo>
                          <a:pt x="732" y="108"/>
                        </a:lnTo>
                        <a:lnTo>
                          <a:pt x="722" y="110"/>
                        </a:lnTo>
                        <a:lnTo>
                          <a:pt x="710" y="114"/>
                        </a:lnTo>
                        <a:lnTo>
                          <a:pt x="698" y="116"/>
                        </a:lnTo>
                        <a:lnTo>
                          <a:pt x="682" y="114"/>
                        </a:lnTo>
                        <a:lnTo>
                          <a:pt x="664" y="110"/>
                        </a:lnTo>
                        <a:lnTo>
                          <a:pt x="664" y="110"/>
                        </a:lnTo>
                        <a:lnTo>
                          <a:pt x="648" y="104"/>
                        </a:lnTo>
                        <a:lnTo>
                          <a:pt x="640" y="98"/>
                        </a:lnTo>
                        <a:lnTo>
                          <a:pt x="636" y="94"/>
                        </a:lnTo>
                        <a:lnTo>
                          <a:pt x="636" y="90"/>
                        </a:lnTo>
                        <a:lnTo>
                          <a:pt x="634" y="86"/>
                        </a:lnTo>
                        <a:lnTo>
                          <a:pt x="630" y="82"/>
                        </a:lnTo>
                        <a:lnTo>
                          <a:pt x="622" y="82"/>
                        </a:lnTo>
                        <a:lnTo>
                          <a:pt x="604" y="80"/>
                        </a:lnTo>
                        <a:lnTo>
                          <a:pt x="604" y="80"/>
                        </a:lnTo>
                        <a:lnTo>
                          <a:pt x="572" y="82"/>
                        </a:lnTo>
                        <a:lnTo>
                          <a:pt x="556" y="82"/>
                        </a:lnTo>
                        <a:lnTo>
                          <a:pt x="552" y="82"/>
                        </a:lnTo>
                        <a:lnTo>
                          <a:pt x="548" y="80"/>
                        </a:lnTo>
                        <a:lnTo>
                          <a:pt x="540" y="72"/>
                        </a:lnTo>
                        <a:lnTo>
                          <a:pt x="540" y="72"/>
                        </a:lnTo>
                        <a:lnTo>
                          <a:pt x="534" y="66"/>
                        </a:lnTo>
                        <a:lnTo>
                          <a:pt x="528" y="66"/>
                        </a:lnTo>
                        <a:lnTo>
                          <a:pt x="524" y="66"/>
                        </a:lnTo>
                        <a:lnTo>
                          <a:pt x="518" y="68"/>
                        </a:lnTo>
                        <a:lnTo>
                          <a:pt x="510" y="70"/>
                        </a:lnTo>
                        <a:lnTo>
                          <a:pt x="506" y="70"/>
                        </a:lnTo>
                        <a:lnTo>
                          <a:pt x="500" y="66"/>
                        </a:lnTo>
                        <a:lnTo>
                          <a:pt x="500" y="66"/>
                        </a:lnTo>
                        <a:lnTo>
                          <a:pt x="488" y="56"/>
                        </a:lnTo>
                        <a:lnTo>
                          <a:pt x="482" y="52"/>
                        </a:lnTo>
                        <a:lnTo>
                          <a:pt x="474" y="50"/>
                        </a:lnTo>
                        <a:lnTo>
                          <a:pt x="466" y="50"/>
                        </a:lnTo>
                        <a:lnTo>
                          <a:pt x="456" y="52"/>
                        </a:lnTo>
                        <a:lnTo>
                          <a:pt x="444" y="58"/>
                        </a:lnTo>
                        <a:lnTo>
                          <a:pt x="432" y="68"/>
                        </a:lnTo>
                        <a:lnTo>
                          <a:pt x="432" y="68"/>
                        </a:lnTo>
                        <a:lnTo>
                          <a:pt x="418" y="78"/>
                        </a:lnTo>
                        <a:lnTo>
                          <a:pt x="404" y="82"/>
                        </a:lnTo>
                        <a:lnTo>
                          <a:pt x="392" y="84"/>
                        </a:lnTo>
                        <a:lnTo>
                          <a:pt x="378" y="84"/>
                        </a:lnTo>
                        <a:lnTo>
                          <a:pt x="364" y="84"/>
                        </a:lnTo>
                        <a:lnTo>
                          <a:pt x="348" y="86"/>
                        </a:lnTo>
                        <a:lnTo>
                          <a:pt x="330" y="94"/>
                        </a:lnTo>
                        <a:lnTo>
                          <a:pt x="310" y="106"/>
                        </a:lnTo>
                        <a:lnTo>
                          <a:pt x="310" y="106"/>
                        </a:lnTo>
                        <a:lnTo>
                          <a:pt x="300" y="114"/>
                        </a:lnTo>
                        <a:lnTo>
                          <a:pt x="290" y="120"/>
                        </a:lnTo>
                        <a:lnTo>
                          <a:pt x="282" y="122"/>
                        </a:lnTo>
                        <a:lnTo>
                          <a:pt x="274" y="124"/>
                        </a:lnTo>
                        <a:lnTo>
                          <a:pt x="260" y="126"/>
                        </a:lnTo>
                        <a:lnTo>
                          <a:pt x="250" y="124"/>
                        </a:lnTo>
                        <a:lnTo>
                          <a:pt x="240" y="124"/>
                        </a:lnTo>
                        <a:lnTo>
                          <a:pt x="236" y="124"/>
                        </a:lnTo>
                        <a:lnTo>
                          <a:pt x="230" y="126"/>
                        </a:lnTo>
                        <a:lnTo>
                          <a:pt x="226" y="130"/>
                        </a:lnTo>
                        <a:lnTo>
                          <a:pt x="222" y="134"/>
                        </a:lnTo>
                        <a:lnTo>
                          <a:pt x="212" y="152"/>
                        </a:lnTo>
                        <a:lnTo>
                          <a:pt x="212" y="152"/>
                        </a:lnTo>
                        <a:lnTo>
                          <a:pt x="202" y="172"/>
                        </a:lnTo>
                        <a:lnTo>
                          <a:pt x="192" y="188"/>
                        </a:lnTo>
                        <a:lnTo>
                          <a:pt x="182" y="202"/>
                        </a:lnTo>
                        <a:lnTo>
                          <a:pt x="172" y="212"/>
                        </a:lnTo>
                        <a:lnTo>
                          <a:pt x="158" y="220"/>
                        </a:lnTo>
                        <a:lnTo>
                          <a:pt x="142" y="224"/>
                        </a:lnTo>
                        <a:lnTo>
                          <a:pt x="122" y="228"/>
                        </a:lnTo>
                        <a:lnTo>
                          <a:pt x="96" y="228"/>
                        </a:lnTo>
                        <a:lnTo>
                          <a:pt x="96" y="228"/>
                        </a:lnTo>
                        <a:lnTo>
                          <a:pt x="84" y="230"/>
                        </a:lnTo>
                        <a:lnTo>
                          <a:pt x="78" y="232"/>
                        </a:lnTo>
                        <a:lnTo>
                          <a:pt x="74" y="236"/>
                        </a:lnTo>
                        <a:lnTo>
                          <a:pt x="74" y="240"/>
                        </a:lnTo>
                        <a:lnTo>
                          <a:pt x="74" y="244"/>
                        </a:lnTo>
                        <a:lnTo>
                          <a:pt x="72" y="250"/>
                        </a:lnTo>
                        <a:lnTo>
                          <a:pt x="66" y="254"/>
                        </a:lnTo>
                        <a:lnTo>
                          <a:pt x="58" y="258"/>
                        </a:lnTo>
                        <a:lnTo>
                          <a:pt x="58" y="258"/>
                        </a:lnTo>
                        <a:lnTo>
                          <a:pt x="54" y="260"/>
                        </a:lnTo>
                        <a:lnTo>
                          <a:pt x="52" y="262"/>
                        </a:lnTo>
                        <a:lnTo>
                          <a:pt x="54" y="266"/>
                        </a:lnTo>
                        <a:lnTo>
                          <a:pt x="58" y="268"/>
                        </a:lnTo>
                        <a:lnTo>
                          <a:pt x="72" y="274"/>
                        </a:lnTo>
                        <a:lnTo>
                          <a:pt x="92" y="282"/>
                        </a:lnTo>
                        <a:lnTo>
                          <a:pt x="114" y="292"/>
                        </a:lnTo>
                        <a:lnTo>
                          <a:pt x="136" y="304"/>
                        </a:lnTo>
                        <a:lnTo>
                          <a:pt x="156" y="318"/>
                        </a:lnTo>
                        <a:lnTo>
                          <a:pt x="162" y="326"/>
                        </a:lnTo>
                        <a:lnTo>
                          <a:pt x="168" y="334"/>
                        </a:lnTo>
                        <a:lnTo>
                          <a:pt x="168" y="334"/>
                        </a:lnTo>
                        <a:lnTo>
                          <a:pt x="172" y="342"/>
                        </a:lnTo>
                        <a:lnTo>
                          <a:pt x="176" y="346"/>
                        </a:lnTo>
                        <a:lnTo>
                          <a:pt x="186" y="354"/>
                        </a:lnTo>
                        <a:lnTo>
                          <a:pt x="196" y="356"/>
                        </a:lnTo>
                        <a:lnTo>
                          <a:pt x="206" y="356"/>
                        </a:lnTo>
                        <a:lnTo>
                          <a:pt x="212" y="356"/>
                        </a:lnTo>
                        <a:lnTo>
                          <a:pt x="218" y="356"/>
                        </a:lnTo>
                        <a:lnTo>
                          <a:pt x="220" y="356"/>
                        </a:lnTo>
                        <a:lnTo>
                          <a:pt x="222" y="358"/>
                        </a:lnTo>
                        <a:lnTo>
                          <a:pt x="220" y="364"/>
                        </a:lnTo>
                        <a:lnTo>
                          <a:pt x="220" y="364"/>
                        </a:lnTo>
                        <a:lnTo>
                          <a:pt x="220" y="372"/>
                        </a:lnTo>
                        <a:lnTo>
                          <a:pt x="220" y="376"/>
                        </a:lnTo>
                        <a:lnTo>
                          <a:pt x="224" y="378"/>
                        </a:lnTo>
                        <a:lnTo>
                          <a:pt x="228" y="380"/>
                        </a:lnTo>
                        <a:lnTo>
                          <a:pt x="232" y="380"/>
                        </a:lnTo>
                        <a:lnTo>
                          <a:pt x="236" y="382"/>
                        </a:lnTo>
                        <a:lnTo>
                          <a:pt x="240" y="386"/>
                        </a:lnTo>
                        <a:lnTo>
                          <a:pt x="242" y="392"/>
                        </a:lnTo>
                        <a:lnTo>
                          <a:pt x="242" y="392"/>
                        </a:lnTo>
                        <a:lnTo>
                          <a:pt x="244" y="400"/>
                        </a:lnTo>
                        <a:lnTo>
                          <a:pt x="248" y="402"/>
                        </a:lnTo>
                        <a:lnTo>
                          <a:pt x="254" y="404"/>
                        </a:lnTo>
                        <a:lnTo>
                          <a:pt x="260" y="402"/>
                        </a:lnTo>
                        <a:lnTo>
                          <a:pt x="266" y="402"/>
                        </a:lnTo>
                        <a:lnTo>
                          <a:pt x="270" y="402"/>
                        </a:lnTo>
                        <a:lnTo>
                          <a:pt x="274" y="404"/>
                        </a:lnTo>
                        <a:lnTo>
                          <a:pt x="276" y="410"/>
                        </a:lnTo>
                        <a:lnTo>
                          <a:pt x="276" y="410"/>
                        </a:lnTo>
                        <a:lnTo>
                          <a:pt x="274" y="418"/>
                        </a:lnTo>
                        <a:lnTo>
                          <a:pt x="272" y="418"/>
                        </a:lnTo>
                        <a:lnTo>
                          <a:pt x="270" y="418"/>
                        </a:lnTo>
                        <a:lnTo>
                          <a:pt x="266" y="416"/>
                        </a:lnTo>
                        <a:lnTo>
                          <a:pt x="262" y="416"/>
                        </a:lnTo>
                        <a:lnTo>
                          <a:pt x="258" y="418"/>
                        </a:lnTo>
                        <a:lnTo>
                          <a:pt x="252" y="424"/>
                        </a:lnTo>
                        <a:lnTo>
                          <a:pt x="252" y="424"/>
                        </a:lnTo>
                        <a:lnTo>
                          <a:pt x="250" y="426"/>
                        </a:lnTo>
                        <a:lnTo>
                          <a:pt x="248" y="426"/>
                        </a:lnTo>
                        <a:lnTo>
                          <a:pt x="240" y="422"/>
                        </a:lnTo>
                        <a:lnTo>
                          <a:pt x="234" y="420"/>
                        </a:lnTo>
                        <a:lnTo>
                          <a:pt x="224" y="420"/>
                        </a:lnTo>
                        <a:lnTo>
                          <a:pt x="212" y="420"/>
                        </a:lnTo>
                        <a:lnTo>
                          <a:pt x="194" y="422"/>
                        </a:lnTo>
                        <a:lnTo>
                          <a:pt x="194" y="422"/>
                        </a:lnTo>
                        <a:lnTo>
                          <a:pt x="186" y="422"/>
                        </a:lnTo>
                        <a:lnTo>
                          <a:pt x="180" y="420"/>
                        </a:lnTo>
                        <a:lnTo>
                          <a:pt x="176" y="418"/>
                        </a:lnTo>
                        <a:lnTo>
                          <a:pt x="174" y="416"/>
                        </a:lnTo>
                        <a:lnTo>
                          <a:pt x="174" y="408"/>
                        </a:lnTo>
                        <a:lnTo>
                          <a:pt x="176" y="398"/>
                        </a:lnTo>
                        <a:lnTo>
                          <a:pt x="176" y="390"/>
                        </a:lnTo>
                        <a:lnTo>
                          <a:pt x="174" y="388"/>
                        </a:lnTo>
                        <a:lnTo>
                          <a:pt x="172" y="384"/>
                        </a:lnTo>
                        <a:lnTo>
                          <a:pt x="168" y="384"/>
                        </a:lnTo>
                        <a:lnTo>
                          <a:pt x="162" y="384"/>
                        </a:lnTo>
                        <a:lnTo>
                          <a:pt x="140" y="388"/>
                        </a:lnTo>
                        <a:lnTo>
                          <a:pt x="140" y="388"/>
                        </a:lnTo>
                        <a:lnTo>
                          <a:pt x="116" y="396"/>
                        </a:lnTo>
                        <a:lnTo>
                          <a:pt x="92" y="406"/>
                        </a:lnTo>
                        <a:lnTo>
                          <a:pt x="56" y="424"/>
                        </a:lnTo>
                        <a:lnTo>
                          <a:pt x="28" y="440"/>
                        </a:lnTo>
                        <a:lnTo>
                          <a:pt x="18" y="444"/>
                        </a:lnTo>
                        <a:lnTo>
                          <a:pt x="10" y="446"/>
                        </a:lnTo>
                        <a:lnTo>
                          <a:pt x="10" y="446"/>
                        </a:lnTo>
                        <a:lnTo>
                          <a:pt x="4" y="448"/>
                        </a:lnTo>
                        <a:lnTo>
                          <a:pt x="0" y="452"/>
                        </a:lnTo>
                        <a:lnTo>
                          <a:pt x="0" y="456"/>
                        </a:lnTo>
                        <a:lnTo>
                          <a:pt x="2" y="460"/>
                        </a:lnTo>
                        <a:lnTo>
                          <a:pt x="8" y="466"/>
                        </a:lnTo>
                        <a:lnTo>
                          <a:pt x="16" y="470"/>
                        </a:lnTo>
                        <a:lnTo>
                          <a:pt x="28" y="472"/>
                        </a:lnTo>
                        <a:lnTo>
                          <a:pt x="42" y="474"/>
                        </a:lnTo>
                        <a:lnTo>
                          <a:pt x="42" y="474"/>
                        </a:lnTo>
                        <a:lnTo>
                          <a:pt x="54" y="474"/>
                        </a:lnTo>
                        <a:lnTo>
                          <a:pt x="60" y="478"/>
                        </a:lnTo>
                        <a:lnTo>
                          <a:pt x="58" y="480"/>
                        </a:lnTo>
                        <a:lnTo>
                          <a:pt x="56" y="484"/>
                        </a:lnTo>
                        <a:lnTo>
                          <a:pt x="52" y="488"/>
                        </a:lnTo>
                        <a:lnTo>
                          <a:pt x="50" y="492"/>
                        </a:lnTo>
                        <a:lnTo>
                          <a:pt x="50" y="498"/>
                        </a:lnTo>
                        <a:lnTo>
                          <a:pt x="56" y="502"/>
                        </a:lnTo>
                        <a:lnTo>
                          <a:pt x="56" y="502"/>
                        </a:lnTo>
                        <a:lnTo>
                          <a:pt x="64" y="506"/>
                        </a:lnTo>
                        <a:lnTo>
                          <a:pt x="66" y="512"/>
                        </a:lnTo>
                        <a:lnTo>
                          <a:pt x="68" y="520"/>
                        </a:lnTo>
                        <a:lnTo>
                          <a:pt x="70" y="524"/>
                        </a:lnTo>
                        <a:lnTo>
                          <a:pt x="74" y="528"/>
                        </a:lnTo>
                        <a:lnTo>
                          <a:pt x="82" y="532"/>
                        </a:lnTo>
                        <a:lnTo>
                          <a:pt x="94" y="534"/>
                        </a:lnTo>
                        <a:lnTo>
                          <a:pt x="94" y="534"/>
                        </a:lnTo>
                        <a:lnTo>
                          <a:pt x="110" y="534"/>
                        </a:lnTo>
                        <a:lnTo>
                          <a:pt x="122" y="534"/>
                        </a:lnTo>
                        <a:lnTo>
                          <a:pt x="144" y="528"/>
                        </a:lnTo>
                        <a:lnTo>
                          <a:pt x="154" y="526"/>
                        </a:lnTo>
                        <a:lnTo>
                          <a:pt x="166" y="526"/>
                        </a:lnTo>
                        <a:lnTo>
                          <a:pt x="176" y="528"/>
                        </a:lnTo>
                        <a:lnTo>
                          <a:pt x="190" y="534"/>
                        </a:lnTo>
                        <a:lnTo>
                          <a:pt x="190" y="534"/>
                        </a:lnTo>
                        <a:lnTo>
                          <a:pt x="198" y="536"/>
                        </a:lnTo>
                        <a:lnTo>
                          <a:pt x="204" y="538"/>
                        </a:lnTo>
                        <a:lnTo>
                          <a:pt x="210" y="538"/>
                        </a:lnTo>
                        <a:lnTo>
                          <a:pt x="218" y="536"/>
                        </a:lnTo>
                        <a:lnTo>
                          <a:pt x="230" y="530"/>
                        </a:lnTo>
                        <a:lnTo>
                          <a:pt x="242" y="522"/>
                        </a:lnTo>
                        <a:lnTo>
                          <a:pt x="254" y="512"/>
                        </a:lnTo>
                        <a:lnTo>
                          <a:pt x="266" y="506"/>
                        </a:lnTo>
                        <a:lnTo>
                          <a:pt x="270" y="506"/>
                        </a:lnTo>
                        <a:lnTo>
                          <a:pt x="276" y="506"/>
                        </a:lnTo>
                        <a:lnTo>
                          <a:pt x="280" y="508"/>
                        </a:lnTo>
                        <a:lnTo>
                          <a:pt x="286" y="510"/>
                        </a:lnTo>
                        <a:lnTo>
                          <a:pt x="286" y="510"/>
                        </a:lnTo>
                        <a:lnTo>
                          <a:pt x="290" y="516"/>
                        </a:lnTo>
                        <a:lnTo>
                          <a:pt x="290" y="518"/>
                        </a:lnTo>
                        <a:lnTo>
                          <a:pt x="290" y="522"/>
                        </a:lnTo>
                        <a:lnTo>
                          <a:pt x="288" y="524"/>
                        </a:lnTo>
                        <a:lnTo>
                          <a:pt x="282" y="526"/>
                        </a:lnTo>
                        <a:lnTo>
                          <a:pt x="272" y="528"/>
                        </a:lnTo>
                        <a:lnTo>
                          <a:pt x="264" y="530"/>
                        </a:lnTo>
                        <a:lnTo>
                          <a:pt x="260" y="534"/>
                        </a:lnTo>
                        <a:lnTo>
                          <a:pt x="260" y="536"/>
                        </a:lnTo>
                        <a:lnTo>
                          <a:pt x="262" y="538"/>
                        </a:lnTo>
                        <a:lnTo>
                          <a:pt x="274" y="544"/>
                        </a:lnTo>
                        <a:lnTo>
                          <a:pt x="274" y="544"/>
                        </a:lnTo>
                        <a:lnTo>
                          <a:pt x="280" y="550"/>
                        </a:lnTo>
                        <a:lnTo>
                          <a:pt x="286" y="554"/>
                        </a:lnTo>
                        <a:lnTo>
                          <a:pt x="290" y="558"/>
                        </a:lnTo>
                        <a:lnTo>
                          <a:pt x="292" y="564"/>
                        </a:lnTo>
                        <a:lnTo>
                          <a:pt x="292" y="570"/>
                        </a:lnTo>
                        <a:lnTo>
                          <a:pt x="292" y="574"/>
                        </a:lnTo>
                        <a:lnTo>
                          <a:pt x="288" y="584"/>
                        </a:lnTo>
                        <a:lnTo>
                          <a:pt x="280" y="592"/>
                        </a:lnTo>
                        <a:lnTo>
                          <a:pt x="270" y="598"/>
                        </a:lnTo>
                        <a:lnTo>
                          <a:pt x="258" y="600"/>
                        </a:lnTo>
                        <a:lnTo>
                          <a:pt x="244" y="598"/>
                        </a:lnTo>
                        <a:lnTo>
                          <a:pt x="244" y="598"/>
                        </a:lnTo>
                        <a:lnTo>
                          <a:pt x="240" y="598"/>
                        </a:lnTo>
                        <a:lnTo>
                          <a:pt x="234" y="598"/>
                        </a:lnTo>
                        <a:lnTo>
                          <a:pt x="226" y="602"/>
                        </a:lnTo>
                        <a:lnTo>
                          <a:pt x="220" y="610"/>
                        </a:lnTo>
                        <a:lnTo>
                          <a:pt x="214" y="618"/>
                        </a:lnTo>
                        <a:lnTo>
                          <a:pt x="210" y="624"/>
                        </a:lnTo>
                        <a:lnTo>
                          <a:pt x="202" y="630"/>
                        </a:lnTo>
                        <a:lnTo>
                          <a:pt x="198" y="630"/>
                        </a:lnTo>
                        <a:lnTo>
                          <a:pt x="192" y="630"/>
                        </a:lnTo>
                        <a:lnTo>
                          <a:pt x="186" y="628"/>
                        </a:lnTo>
                        <a:lnTo>
                          <a:pt x="180" y="624"/>
                        </a:lnTo>
                        <a:lnTo>
                          <a:pt x="180" y="624"/>
                        </a:lnTo>
                        <a:lnTo>
                          <a:pt x="172" y="620"/>
                        </a:lnTo>
                        <a:lnTo>
                          <a:pt x="166" y="618"/>
                        </a:lnTo>
                        <a:lnTo>
                          <a:pt x="160" y="618"/>
                        </a:lnTo>
                        <a:lnTo>
                          <a:pt x="154" y="620"/>
                        </a:lnTo>
                        <a:lnTo>
                          <a:pt x="144" y="626"/>
                        </a:lnTo>
                        <a:lnTo>
                          <a:pt x="136" y="636"/>
                        </a:lnTo>
                        <a:lnTo>
                          <a:pt x="124" y="658"/>
                        </a:lnTo>
                        <a:lnTo>
                          <a:pt x="118" y="666"/>
                        </a:lnTo>
                        <a:lnTo>
                          <a:pt x="112" y="672"/>
                        </a:lnTo>
                        <a:lnTo>
                          <a:pt x="112" y="672"/>
                        </a:lnTo>
                        <a:lnTo>
                          <a:pt x="106" y="674"/>
                        </a:lnTo>
                        <a:lnTo>
                          <a:pt x="102" y="678"/>
                        </a:lnTo>
                        <a:lnTo>
                          <a:pt x="96" y="690"/>
                        </a:lnTo>
                        <a:lnTo>
                          <a:pt x="92" y="702"/>
                        </a:lnTo>
                        <a:lnTo>
                          <a:pt x="88" y="708"/>
                        </a:lnTo>
                        <a:lnTo>
                          <a:pt x="82" y="712"/>
                        </a:lnTo>
                        <a:lnTo>
                          <a:pt x="82" y="712"/>
                        </a:lnTo>
                        <a:lnTo>
                          <a:pt x="76" y="716"/>
                        </a:lnTo>
                        <a:lnTo>
                          <a:pt x="74" y="720"/>
                        </a:lnTo>
                        <a:lnTo>
                          <a:pt x="74" y="726"/>
                        </a:lnTo>
                        <a:lnTo>
                          <a:pt x="76" y="730"/>
                        </a:lnTo>
                        <a:lnTo>
                          <a:pt x="88" y="740"/>
                        </a:lnTo>
                        <a:lnTo>
                          <a:pt x="108" y="756"/>
                        </a:lnTo>
                        <a:lnTo>
                          <a:pt x="108" y="756"/>
                        </a:lnTo>
                        <a:lnTo>
                          <a:pt x="116" y="764"/>
                        </a:lnTo>
                        <a:lnTo>
                          <a:pt x="118" y="772"/>
                        </a:lnTo>
                        <a:lnTo>
                          <a:pt x="118" y="778"/>
                        </a:lnTo>
                        <a:lnTo>
                          <a:pt x="116" y="784"/>
                        </a:lnTo>
                        <a:lnTo>
                          <a:pt x="114" y="790"/>
                        </a:lnTo>
                        <a:lnTo>
                          <a:pt x="112" y="794"/>
                        </a:lnTo>
                        <a:lnTo>
                          <a:pt x="112" y="800"/>
                        </a:lnTo>
                        <a:lnTo>
                          <a:pt x="116" y="804"/>
                        </a:lnTo>
                        <a:lnTo>
                          <a:pt x="116" y="804"/>
                        </a:lnTo>
                        <a:lnTo>
                          <a:pt x="132" y="818"/>
                        </a:lnTo>
                        <a:lnTo>
                          <a:pt x="148" y="834"/>
                        </a:lnTo>
                        <a:lnTo>
                          <a:pt x="158" y="840"/>
                        </a:lnTo>
                        <a:lnTo>
                          <a:pt x="168" y="844"/>
                        </a:lnTo>
                        <a:lnTo>
                          <a:pt x="180" y="844"/>
                        </a:lnTo>
                        <a:lnTo>
                          <a:pt x="194" y="840"/>
                        </a:lnTo>
                        <a:lnTo>
                          <a:pt x="194" y="840"/>
                        </a:lnTo>
                        <a:lnTo>
                          <a:pt x="208" y="836"/>
                        </a:lnTo>
                        <a:lnTo>
                          <a:pt x="218" y="834"/>
                        </a:lnTo>
                        <a:lnTo>
                          <a:pt x="228" y="836"/>
                        </a:lnTo>
                        <a:lnTo>
                          <a:pt x="234" y="838"/>
                        </a:lnTo>
                        <a:lnTo>
                          <a:pt x="240" y="842"/>
                        </a:lnTo>
                        <a:lnTo>
                          <a:pt x="242" y="848"/>
                        </a:lnTo>
                        <a:lnTo>
                          <a:pt x="242" y="858"/>
                        </a:lnTo>
                        <a:lnTo>
                          <a:pt x="238" y="868"/>
                        </a:lnTo>
                        <a:lnTo>
                          <a:pt x="238" y="868"/>
                        </a:lnTo>
                        <a:lnTo>
                          <a:pt x="236" y="878"/>
                        </a:lnTo>
                        <a:lnTo>
                          <a:pt x="236" y="884"/>
                        </a:lnTo>
                        <a:lnTo>
                          <a:pt x="238" y="888"/>
                        </a:lnTo>
                        <a:lnTo>
                          <a:pt x="242" y="890"/>
                        </a:lnTo>
                        <a:lnTo>
                          <a:pt x="244" y="892"/>
                        </a:lnTo>
                        <a:lnTo>
                          <a:pt x="246" y="896"/>
                        </a:lnTo>
                        <a:lnTo>
                          <a:pt x="246" y="900"/>
                        </a:lnTo>
                        <a:lnTo>
                          <a:pt x="244" y="908"/>
                        </a:lnTo>
                        <a:lnTo>
                          <a:pt x="244" y="908"/>
                        </a:lnTo>
                        <a:lnTo>
                          <a:pt x="242" y="918"/>
                        </a:lnTo>
                        <a:lnTo>
                          <a:pt x="244" y="922"/>
                        </a:lnTo>
                        <a:lnTo>
                          <a:pt x="248" y="924"/>
                        </a:lnTo>
                        <a:lnTo>
                          <a:pt x="254" y="924"/>
                        </a:lnTo>
                        <a:lnTo>
                          <a:pt x="262" y="920"/>
                        </a:lnTo>
                        <a:lnTo>
                          <a:pt x="270" y="916"/>
                        </a:lnTo>
                        <a:lnTo>
                          <a:pt x="284" y="904"/>
                        </a:lnTo>
                        <a:lnTo>
                          <a:pt x="284" y="904"/>
                        </a:lnTo>
                        <a:lnTo>
                          <a:pt x="292" y="900"/>
                        </a:lnTo>
                        <a:lnTo>
                          <a:pt x="300" y="898"/>
                        </a:lnTo>
                        <a:lnTo>
                          <a:pt x="308" y="898"/>
                        </a:lnTo>
                        <a:lnTo>
                          <a:pt x="316" y="902"/>
                        </a:lnTo>
                        <a:lnTo>
                          <a:pt x="326" y="906"/>
                        </a:lnTo>
                        <a:lnTo>
                          <a:pt x="336" y="912"/>
                        </a:lnTo>
                        <a:lnTo>
                          <a:pt x="352" y="926"/>
                        </a:lnTo>
                        <a:lnTo>
                          <a:pt x="352" y="926"/>
                        </a:lnTo>
                        <a:lnTo>
                          <a:pt x="358" y="930"/>
                        </a:lnTo>
                        <a:lnTo>
                          <a:pt x="362" y="932"/>
                        </a:lnTo>
                        <a:lnTo>
                          <a:pt x="366" y="930"/>
                        </a:lnTo>
                        <a:lnTo>
                          <a:pt x="370" y="926"/>
                        </a:lnTo>
                        <a:lnTo>
                          <a:pt x="376" y="918"/>
                        </a:lnTo>
                        <a:lnTo>
                          <a:pt x="380" y="916"/>
                        </a:lnTo>
                        <a:lnTo>
                          <a:pt x="386" y="918"/>
                        </a:lnTo>
                        <a:lnTo>
                          <a:pt x="386" y="918"/>
                        </a:lnTo>
                        <a:lnTo>
                          <a:pt x="392" y="920"/>
                        </a:lnTo>
                        <a:lnTo>
                          <a:pt x="402" y="918"/>
                        </a:lnTo>
                        <a:lnTo>
                          <a:pt x="420" y="912"/>
                        </a:lnTo>
                        <a:lnTo>
                          <a:pt x="432" y="908"/>
                        </a:lnTo>
                        <a:lnTo>
                          <a:pt x="432" y="908"/>
                        </a:lnTo>
                        <a:lnTo>
                          <a:pt x="432" y="910"/>
                        </a:lnTo>
                        <a:lnTo>
                          <a:pt x="430" y="916"/>
                        </a:lnTo>
                        <a:lnTo>
                          <a:pt x="430" y="916"/>
                        </a:lnTo>
                        <a:lnTo>
                          <a:pt x="418" y="932"/>
                        </a:lnTo>
                        <a:lnTo>
                          <a:pt x="412" y="946"/>
                        </a:lnTo>
                        <a:lnTo>
                          <a:pt x="410" y="962"/>
                        </a:lnTo>
                        <a:lnTo>
                          <a:pt x="410" y="978"/>
                        </a:lnTo>
                        <a:lnTo>
                          <a:pt x="410" y="978"/>
                        </a:lnTo>
                        <a:lnTo>
                          <a:pt x="408" y="986"/>
                        </a:lnTo>
                        <a:lnTo>
                          <a:pt x="406" y="990"/>
                        </a:lnTo>
                        <a:lnTo>
                          <a:pt x="402" y="992"/>
                        </a:lnTo>
                        <a:lnTo>
                          <a:pt x="396" y="994"/>
                        </a:lnTo>
                        <a:lnTo>
                          <a:pt x="392" y="998"/>
                        </a:lnTo>
                        <a:lnTo>
                          <a:pt x="386" y="1000"/>
                        </a:lnTo>
                        <a:lnTo>
                          <a:pt x="380" y="1008"/>
                        </a:lnTo>
                        <a:lnTo>
                          <a:pt x="374" y="1018"/>
                        </a:lnTo>
                        <a:lnTo>
                          <a:pt x="374" y="1018"/>
                        </a:lnTo>
                        <a:lnTo>
                          <a:pt x="368" y="1028"/>
                        </a:lnTo>
                        <a:lnTo>
                          <a:pt x="360" y="1036"/>
                        </a:lnTo>
                        <a:lnTo>
                          <a:pt x="352" y="1040"/>
                        </a:lnTo>
                        <a:lnTo>
                          <a:pt x="342" y="1044"/>
                        </a:lnTo>
                        <a:lnTo>
                          <a:pt x="332" y="1048"/>
                        </a:lnTo>
                        <a:lnTo>
                          <a:pt x="324" y="1054"/>
                        </a:lnTo>
                        <a:lnTo>
                          <a:pt x="314" y="1060"/>
                        </a:lnTo>
                        <a:lnTo>
                          <a:pt x="306" y="1072"/>
                        </a:lnTo>
                        <a:lnTo>
                          <a:pt x="306" y="1072"/>
                        </a:lnTo>
                        <a:lnTo>
                          <a:pt x="300" y="1082"/>
                        </a:lnTo>
                        <a:lnTo>
                          <a:pt x="296" y="1088"/>
                        </a:lnTo>
                        <a:lnTo>
                          <a:pt x="292" y="1090"/>
                        </a:lnTo>
                        <a:lnTo>
                          <a:pt x="288" y="1088"/>
                        </a:lnTo>
                        <a:lnTo>
                          <a:pt x="276" y="1086"/>
                        </a:lnTo>
                        <a:lnTo>
                          <a:pt x="268" y="1088"/>
                        </a:lnTo>
                        <a:lnTo>
                          <a:pt x="254" y="1090"/>
                        </a:lnTo>
                        <a:lnTo>
                          <a:pt x="254" y="1090"/>
                        </a:lnTo>
                        <a:lnTo>
                          <a:pt x="244" y="1096"/>
                        </a:lnTo>
                        <a:lnTo>
                          <a:pt x="236" y="1100"/>
                        </a:lnTo>
                        <a:lnTo>
                          <a:pt x="232" y="1104"/>
                        </a:lnTo>
                        <a:lnTo>
                          <a:pt x="228" y="1110"/>
                        </a:lnTo>
                        <a:lnTo>
                          <a:pt x="222" y="1118"/>
                        </a:lnTo>
                        <a:lnTo>
                          <a:pt x="218" y="1124"/>
                        </a:lnTo>
                        <a:lnTo>
                          <a:pt x="210" y="1128"/>
                        </a:lnTo>
                        <a:lnTo>
                          <a:pt x="210" y="1128"/>
                        </a:lnTo>
                        <a:lnTo>
                          <a:pt x="200" y="1132"/>
                        </a:lnTo>
                        <a:lnTo>
                          <a:pt x="194" y="1138"/>
                        </a:lnTo>
                        <a:lnTo>
                          <a:pt x="188" y="1144"/>
                        </a:lnTo>
                        <a:lnTo>
                          <a:pt x="186" y="1148"/>
                        </a:lnTo>
                        <a:lnTo>
                          <a:pt x="188" y="1152"/>
                        </a:lnTo>
                        <a:lnTo>
                          <a:pt x="192" y="1154"/>
                        </a:lnTo>
                        <a:lnTo>
                          <a:pt x="200" y="1154"/>
                        </a:lnTo>
                        <a:lnTo>
                          <a:pt x="212" y="1150"/>
                        </a:lnTo>
                        <a:lnTo>
                          <a:pt x="212" y="1150"/>
                        </a:lnTo>
                        <a:lnTo>
                          <a:pt x="224" y="1144"/>
                        </a:lnTo>
                        <a:lnTo>
                          <a:pt x="234" y="1138"/>
                        </a:lnTo>
                        <a:lnTo>
                          <a:pt x="248" y="1124"/>
                        </a:lnTo>
                        <a:lnTo>
                          <a:pt x="256" y="1116"/>
                        </a:lnTo>
                        <a:lnTo>
                          <a:pt x="258" y="1116"/>
                        </a:lnTo>
                        <a:lnTo>
                          <a:pt x="262" y="1120"/>
                        </a:lnTo>
                        <a:lnTo>
                          <a:pt x="262" y="1120"/>
                        </a:lnTo>
                        <a:lnTo>
                          <a:pt x="266" y="1124"/>
                        </a:lnTo>
                        <a:lnTo>
                          <a:pt x="270" y="1124"/>
                        </a:lnTo>
                        <a:lnTo>
                          <a:pt x="278" y="1122"/>
                        </a:lnTo>
                        <a:lnTo>
                          <a:pt x="282" y="1120"/>
                        </a:lnTo>
                        <a:lnTo>
                          <a:pt x="284" y="1120"/>
                        </a:lnTo>
                        <a:lnTo>
                          <a:pt x="288" y="1124"/>
                        </a:lnTo>
                        <a:lnTo>
                          <a:pt x="290" y="1128"/>
                        </a:lnTo>
                        <a:lnTo>
                          <a:pt x="290" y="1128"/>
                        </a:lnTo>
                        <a:lnTo>
                          <a:pt x="292" y="1136"/>
                        </a:lnTo>
                        <a:lnTo>
                          <a:pt x="296" y="1138"/>
                        </a:lnTo>
                        <a:lnTo>
                          <a:pt x="298" y="1140"/>
                        </a:lnTo>
                        <a:lnTo>
                          <a:pt x="302" y="1138"/>
                        </a:lnTo>
                        <a:lnTo>
                          <a:pt x="306" y="1136"/>
                        </a:lnTo>
                        <a:lnTo>
                          <a:pt x="308" y="1130"/>
                        </a:lnTo>
                        <a:lnTo>
                          <a:pt x="308" y="1126"/>
                        </a:lnTo>
                        <a:lnTo>
                          <a:pt x="306" y="1120"/>
                        </a:lnTo>
                        <a:lnTo>
                          <a:pt x="306" y="1120"/>
                        </a:lnTo>
                        <a:lnTo>
                          <a:pt x="306" y="1114"/>
                        </a:lnTo>
                        <a:lnTo>
                          <a:pt x="308" y="1110"/>
                        </a:lnTo>
                        <a:lnTo>
                          <a:pt x="312" y="1106"/>
                        </a:lnTo>
                        <a:lnTo>
                          <a:pt x="316" y="1102"/>
                        </a:lnTo>
                        <a:lnTo>
                          <a:pt x="322" y="1100"/>
                        </a:lnTo>
                        <a:lnTo>
                          <a:pt x="328" y="1100"/>
                        </a:lnTo>
                        <a:lnTo>
                          <a:pt x="332" y="1102"/>
                        </a:lnTo>
                        <a:lnTo>
                          <a:pt x="334" y="1108"/>
                        </a:lnTo>
                        <a:lnTo>
                          <a:pt x="334" y="1108"/>
                        </a:lnTo>
                        <a:lnTo>
                          <a:pt x="334" y="1110"/>
                        </a:lnTo>
                        <a:lnTo>
                          <a:pt x="336" y="1110"/>
                        </a:lnTo>
                        <a:lnTo>
                          <a:pt x="340" y="1110"/>
                        </a:lnTo>
                        <a:lnTo>
                          <a:pt x="354" y="1100"/>
                        </a:lnTo>
                        <a:lnTo>
                          <a:pt x="372" y="1088"/>
                        </a:lnTo>
                        <a:lnTo>
                          <a:pt x="380" y="1084"/>
                        </a:lnTo>
                        <a:lnTo>
                          <a:pt x="388" y="1082"/>
                        </a:lnTo>
                        <a:lnTo>
                          <a:pt x="388" y="1082"/>
                        </a:lnTo>
                        <a:lnTo>
                          <a:pt x="394" y="1082"/>
                        </a:lnTo>
                        <a:lnTo>
                          <a:pt x="396" y="1080"/>
                        </a:lnTo>
                        <a:lnTo>
                          <a:pt x="394" y="1074"/>
                        </a:lnTo>
                        <a:lnTo>
                          <a:pt x="394" y="1068"/>
                        </a:lnTo>
                        <a:lnTo>
                          <a:pt x="398" y="1062"/>
                        </a:lnTo>
                        <a:lnTo>
                          <a:pt x="408" y="1052"/>
                        </a:lnTo>
                        <a:lnTo>
                          <a:pt x="424" y="1042"/>
                        </a:lnTo>
                        <a:lnTo>
                          <a:pt x="424" y="1042"/>
                        </a:lnTo>
                        <a:lnTo>
                          <a:pt x="440" y="1032"/>
                        </a:lnTo>
                        <a:lnTo>
                          <a:pt x="452" y="1024"/>
                        </a:lnTo>
                        <a:lnTo>
                          <a:pt x="462" y="1016"/>
                        </a:lnTo>
                        <a:lnTo>
                          <a:pt x="468" y="1010"/>
                        </a:lnTo>
                        <a:lnTo>
                          <a:pt x="478" y="998"/>
                        </a:lnTo>
                        <a:lnTo>
                          <a:pt x="484" y="994"/>
                        </a:lnTo>
                        <a:lnTo>
                          <a:pt x="492" y="988"/>
                        </a:lnTo>
                        <a:lnTo>
                          <a:pt x="492" y="988"/>
                        </a:lnTo>
                        <a:lnTo>
                          <a:pt x="516" y="976"/>
                        </a:lnTo>
                        <a:lnTo>
                          <a:pt x="538" y="964"/>
                        </a:lnTo>
                        <a:lnTo>
                          <a:pt x="548" y="956"/>
                        </a:lnTo>
                        <a:lnTo>
                          <a:pt x="556" y="950"/>
                        </a:lnTo>
                        <a:lnTo>
                          <a:pt x="562" y="942"/>
                        </a:lnTo>
                        <a:lnTo>
                          <a:pt x="566" y="934"/>
                        </a:lnTo>
                        <a:lnTo>
                          <a:pt x="566" y="934"/>
                        </a:lnTo>
                        <a:lnTo>
                          <a:pt x="568" y="928"/>
                        </a:lnTo>
                        <a:lnTo>
                          <a:pt x="572" y="922"/>
                        </a:lnTo>
                        <a:lnTo>
                          <a:pt x="580" y="916"/>
                        </a:lnTo>
                        <a:lnTo>
                          <a:pt x="588" y="912"/>
                        </a:lnTo>
                        <a:lnTo>
                          <a:pt x="592" y="906"/>
                        </a:lnTo>
                        <a:lnTo>
                          <a:pt x="592" y="900"/>
                        </a:lnTo>
                        <a:lnTo>
                          <a:pt x="592" y="900"/>
                        </a:lnTo>
                        <a:lnTo>
                          <a:pt x="592" y="898"/>
                        </a:lnTo>
                        <a:lnTo>
                          <a:pt x="590" y="896"/>
                        </a:lnTo>
                        <a:lnTo>
                          <a:pt x="582" y="892"/>
                        </a:lnTo>
                        <a:lnTo>
                          <a:pt x="564" y="892"/>
                        </a:lnTo>
                        <a:lnTo>
                          <a:pt x="556" y="890"/>
                        </a:lnTo>
                        <a:lnTo>
                          <a:pt x="554" y="890"/>
                        </a:lnTo>
                        <a:lnTo>
                          <a:pt x="554" y="888"/>
                        </a:lnTo>
                        <a:lnTo>
                          <a:pt x="554" y="886"/>
                        </a:lnTo>
                        <a:lnTo>
                          <a:pt x="556" y="882"/>
                        </a:lnTo>
                        <a:lnTo>
                          <a:pt x="570" y="870"/>
                        </a:lnTo>
                        <a:lnTo>
                          <a:pt x="570" y="870"/>
                        </a:lnTo>
                        <a:lnTo>
                          <a:pt x="598" y="846"/>
                        </a:lnTo>
                        <a:lnTo>
                          <a:pt x="616" y="828"/>
                        </a:lnTo>
                        <a:lnTo>
                          <a:pt x="630" y="810"/>
                        </a:lnTo>
                        <a:lnTo>
                          <a:pt x="644" y="786"/>
                        </a:lnTo>
                        <a:lnTo>
                          <a:pt x="644" y="786"/>
                        </a:lnTo>
                        <a:lnTo>
                          <a:pt x="654" y="774"/>
                        </a:lnTo>
                        <a:lnTo>
                          <a:pt x="666" y="764"/>
                        </a:lnTo>
                        <a:lnTo>
                          <a:pt x="680" y="756"/>
                        </a:lnTo>
                        <a:lnTo>
                          <a:pt x="694" y="750"/>
                        </a:lnTo>
                        <a:lnTo>
                          <a:pt x="710" y="750"/>
                        </a:lnTo>
                        <a:lnTo>
                          <a:pt x="726" y="752"/>
                        </a:lnTo>
                        <a:lnTo>
                          <a:pt x="742" y="758"/>
                        </a:lnTo>
                        <a:lnTo>
                          <a:pt x="750" y="764"/>
                        </a:lnTo>
                        <a:lnTo>
                          <a:pt x="758" y="770"/>
                        </a:lnTo>
                        <a:lnTo>
                          <a:pt x="758" y="770"/>
                        </a:lnTo>
                        <a:lnTo>
                          <a:pt x="768" y="782"/>
                        </a:lnTo>
                        <a:lnTo>
                          <a:pt x="770" y="784"/>
                        </a:lnTo>
                        <a:lnTo>
                          <a:pt x="770" y="784"/>
                        </a:lnTo>
                        <a:lnTo>
                          <a:pt x="752" y="776"/>
                        </a:lnTo>
                        <a:lnTo>
                          <a:pt x="738" y="768"/>
                        </a:lnTo>
                        <a:lnTo>
                          <a:pt x="720" y="764"/>
                        </a:lnTo>
                        <a:lnTo>
                          <a:pt x="712" y="762"/>
                        </a:lnTo>
                        <a:lnTo>
                          <a:pt x="704" y="762"/>
                        </a:lnTo>
                        <a:lnTo>
                          <a:pt x="696" y="764"/>
                        </a:lnTo>
                        <a:lnTo>
                          <a:pt x="690" y="768"/>
                        </a:lnTo>
                        <a:lnTo>
                          <a:pt x="690" y="768"/>
                        </a:lnTo>
                        <a:lnTo>
                          <a:pt x="680" y="776"/>
                        </a:lnTo>
                        <a:lnTo>
                          <a:pt x="674" y="784"/>
                        </a:lnTo>
                        <a:lnTo>
                          <a:pt x="672" y="790"/>
                        </a:lnTo>
                        <a:lnTo>
                          <a:pt x="672" y="796"/>
                        </a:lnTo>
                        <a:lnTo>
                          <a:pt x="672" y="802"/>
                        </a:lnTo>
                        <a:lnTo>
                          <a:pt x="670" y="810"/>
                        </a:lnTo>
                        <a:lnTo>
                          <a:pt x="666" y="818"/>
                        </a:lnTo>
                        <a:lnTo>
                          <a:pt x="658" y="828"/>
                        </a:lnTo>
                        <a:lnTo>
                          <a:pt x="658" y="828"/>
                        </a:lnTo>
                        <a:lnTo>
                          <a:pt x="652" y="836"/>
                        </a:lnTo>
                        <a:lnTo>
                          <a:pt x="650" y="844"/>
                        </a:lnTo>
                        <a:lnTo>
                          <a:pt x="652" y="848"/>
                        </a:lnTo>
                        <a:lnTo>
                          <a:pt x="656" y="852"/>
                        </a:lnTo>
                        <a:lnTo>
                          <a:pt x="660" y="856"/>
                        </a:lnTo>
                        <a:lnTo>
                          <a:pt x="662" y="858"/>
                        </a:lnTo>
                        <a:lnTo>
                          <a:pt x="662" y="862"/>
                        </a:lnTo>
                        <a:lnTo>
                          <a:pt x="656" y="866"/>
                        </a:lnTo>
                        <a:lnTo>
                          <a:pt x="656" y="866"/>
                        </a:lnTo>
                        <a:lnTo>
                          <a:pt x="646" y="874"/>
                        </a:lnTo>
                        <a:lnTo>
                          <a:pt x="644" y="876"/>
                        </a:lnTo>
                        <a:lnTo>
                          <a:pt x="644" y="878"/>
                        </a:lnTo>
                        <a:lnTo>
                          <a:pt x="646" y="880"/>
                        </a:lnTo>
                        <a:lnTo>
                          <a:pt x="648" y="882"/>
                        </a:lnTo>
                        <a:lnTo>
                          <a:pt x="658" y="884"/>
                        </a:lnTo>
                        <a:lnTo>
                          <a:pt x="670" y="884"/>
                        </a:lnTo>
                        <a:lnTo>
                          <a:pt x="684" y="882"/>
                        </a:lnTo>
                        <a:lnTo>
                          <a:pt x="698" y="876"/>
                        </a:lnTo>
                        <a:lnTo>
                          <a:pt x="712" y="866"/>
                        </a:lnTo>
                        <a:lnTo>
                          <a:pt x="712" y="866"/>
                        </a:lnTo>
                        <a:lnTo>
                          <a:pt x="732" y="850"/>
                        </a:lnTo>
                        <a:lnTo>
                          <a:pt x="748" y="840"/>
                        </a:lnTo>
                        <a:lnTo>
                          <a:pt x="762" y="834"/>
                        </a:lnTo>
                        <a:lnTo>
                          <a:pt x="778" y="834"/>
                        </a:lnTo>
                        <a:lnTo>
                          <a:pt x="778" y="834"/>
                        </a:lnTo>
                        <a:lnTo>
                          <a:pt x="786" y="832"/>
                        </a:lnTo>
                        <a:lnTo>
                          <a:pt x="790" y="830"/>
                        </a:lnTo>
                        <a:lnTo>
                          <a:pt x="790" y="828"/>
                        </a:lnTo>
                        <a:lnTo>
                          <a:pt x="790" y="824"/>
                        </a:lnTo>
                        <a:lnTo>
                          <a:pt x="790" y="820"/>
                        </a:lnTo>
                        <a:lnTo>
                          <a:pt x="790" y="818"/>
                        </a:lnTo>
                        <a:lnTo>
                          <a:pt x="794" y="814"/>
                        </a:lnTo>
                        <a:lnTo>
                          <a:pt x="800" y="810"/>
                        </a:lnTo>
                        <a:lnTo>
                          <a:pt x="800" y="810"/>
                        </a:lnTo>
                        <a:lnTo>
                          <a:pt x="804" y="806"/>
                        </a:lnTo>
                        <a:lnTo>
                          <a:pt x="806" y="802"/>
                        </a:lnTo>
                        <a:lnTo>
                          <a:pt x="804" y="796"/>
                        </a:lnTo>
                        <a:lnTo>
                          <a:pt x="802" y="790"/>
                        </a:lnTo>
                        <a:lnTo>
                          <a:pt x="800" y="784"/>
                        </a:lnTo>
                        <a:lnTo>
                          <a:pt x="800" y="780"/>
                        </a:lnTo>
                        <a:lnTo>
                          <a:pt x="804" y="776"/>
                        </a:lnTo>
                        <a:lnTo>
                          <a:pt x="812" y="774"/>
                        </a:lnTo>
                        <a:lnTo>
                          <a:pt x="812" y="774"/>
                        </a:lnTo>
                        <a:lnTo>
                          <a:pt x="824" y="772"/>
                        </a:lnTo>
                        <a:lnTo>
                          <a:pt x="834" y="770"/>
                        </a:lnTo>
                        <a:lnTo>
                          <a:pt x="850" y="764"/>
                        </a:lnTo>
                        <a:lnTo>
                          <a:pt x="856" y="764"/>
                        </a:lnTo>
                        <a:lnTo>
                          <a:pt x="860" y="764"/>
                        </a:lnTo>
                        <a:lnTo>
                          <a:pt x="862" y="768"/>
                        </a:lnTo>
                        <a:lnTo>
                          <a:pt x="862" y="774"/>
                        </a:lnTo>
                        <a:lnTo>
                          <a:pt x="862" y="774"/>
                        </a:lnTo>
                        <a:lnTo>
                          <a:pt x="862" y="780"/>
                        </a:lnTo>
                        <a:lnTo>
                          <a:pt x="866" y="784"/>
                        </a:lnTo>
                        <a:lnTo>
                          <a:pt x="870" y="788"/>
                        </a:lnTo>
                        <a:lnTo>
                          <a:pt x="874" y="790"/>
                        </a:lnTo>
                        <a:lnTo>
                          <a:pt x="888" y="794"/>
                        </a:lnTo>
                        <a:lnTo>
                          <a:pt x="896" y="798"/>
                        </a:lnTo>
                        <a:lnTo>
                          <a:pt x="906" y="802"/>
                        </a:lnTo>
                        <a:lnTo>
                          <a:pt x="906" y="802"/>
                        </a:lnTo>
                        <a:lnTo>
                          <a:pt x="912" y="806"/>
                        </a:lnTo>
                        <a:lnTo>
                          <a:pt x="918" y="806"/>
                        </a:lnTo>
                        <a:lnTo>
                          <a:pt x="922" y="804"/>
                        </a:lnTo>
                        <a:lnTo>
                          <a:pt x="924" y="802"/>
                        </a:lnTo>
                        <a:lnTo>
                          <a:pt x="926" y="800"/>
                        </a:lnTo>
                        <a:lnTo>
                          <a:pt x="930" y="800"/>
                        </a:lnTo>
                        <a:lnTo>
                          <a:pt x="934" y="804"/>
                        </a:lnTo>
                        <a:lnTo>
                          <a:pt x="940" y="810"/>
                        </a:lnTo>
                        <a:lnTo>
                          <a:pt x="940" y="810"/>
                        </a:lnTo>
                        <a:lnTo>
                          <a:pt x="948" y="820"/>
                        </a:lnTo>
                        <a:lnTo>
                          <a:pt x="958" y="824"/>
                        </a:lnTo>
                        <a:lnTo>
                          <a:pt x="968" y="828"/>
                        </a:lnTo>
                        <a:lnTo>
                          <a:pt x="978" y="828"/>
                        </a:lnTo>
                        <a:lnTo>
                          <a:pt x="1002" y="826"/>
                        </a:lnTo>
                        <a:lnTo>
                          <a:pt x="1024" y="824"/>
                        </a:lnTo>
                        <a:lnTo>
                          <a:pt x="1024" y="824"/>
                        </a:lnTo>
                        <a:lnTo>
                          <a:pt x="1036" y="826"/>
                        </a:lnTo>
                        <a:lnTo>
                          <a:pt x="1050" y="830"/>
                        </a:lnTo>
                        <a:lnTo>
                          <a:pt x="1076" y="842"/>
                        </a:lnTo>
                        <a:lnTo>
                          <a:pt x="1090" y="846"/>
                        </a:lnTo>
                        <a:lnTo>
                          <a:pt x="1104" y="850"/>
                        </a:lnTo>
                        <a:lnTo>
                          <a:pt x="1116" y="850"/>
                        </a:lnTo>
                        <a:lnTo>
                          <a:pt x="1122" y="848"/>
                        </a:lnTo>
                        <a:lnTo>
                          <a:pt x="1126" y="846"/>
                        </a:lnTo>
                        <a:lnTo>
                          <a:pt x="1126" y="846"/>
                        </a:lnTo>
                        <a:lnTo>
                          <a:pt x="1136" y="842"/>
                        </a:lnTo>
                        <a:lnTo>
                          <a:pt x="1142" y="840"/>
                        </a:lnTo>
                        <a:lnTo>
                          <a:pt x="1146" y="840"/>
                        </a:lnTo>
                        <a:lnTo>
                          <a:pt x="1150" y="842"/>
                        </a:lnTo>
                        <a:lnTo>
                          <a:pt x="1150" y="846"/>
                        </a:lnTo>
                        <a:lnTo>
                          <a:pt x="1150" y="850"/>
                        </a:lnTo>
                        <a:lnTo>
                          <a:pt x="1146" y="854"/>
                        </a:lnTo>
                        <a:lnTo>
                          <a:pt x="1142" y="858"/>
                        </a:lnTo>
                        <a:lnTo>
                          <a:pt x="1142" y="858"/>
                        </a:lnTo>
                        <a:lnTo>
                          <a:pt x="1138" y="860"/>
                        </a:lnTo>
                        <a:lnTo>
                          <a:pt x="1140" y="864"/>
                        </a:lnTo>
                        <a:lnTo>
                          <a:pt x="1146" y="868"/>
                        </a:lnTo>
                        <a:lnTo>
                          <a:pt x="1154" y="874"/>
                        </a:lnTo>
                        <a:lnTo>
                          <a:pt x="1174" y="882"/>
                        </a:lnTo>
                        <a:lnTo>
                          <a:pt x="1192" y="892"/>
                        </a:lnTo>
                        <a:lnTo>
                          <a:pt x="1192" y="892"/>
                        </a:lnTo>
                        <a:lnTo>
                          <a:pt x="1206" y="900"/>
                        </a:lnTo>
                        <a:lnTo>
                          <a:pt x="1216" y="912"/>
                        </a:lnTo>
                        <a:lnTo>
                          <a:pt x="1228" y="924"/>
                        </a:lnTo>
                        <a:lnTo>
                          <a:pt x="1244" y="934"/>
                        </a:lnTo>
                        <a:lnTo>
                          <a:pt x="1244" y="934"/>
                        </a:lnTo>
                        <a:lnTo>
                          <a:pt x="1254" y="938"/>
                        </a:lnTo>
                        <a:lnTo>
                          <a:pt x="1264" y="940"/>
                        </a:lnTo>
                        <a:lnTo>
                          <a:pt x="1272" y="940"/>
                        </a:lnTo>
                        <a:lnTo>
                          <a:pt x="1278" y="940"/>
                        </a:lnTo>
                        <a:lnTo>
                          <a:pt x="1282" y="938"/>
                        </a:lnTo>
                        <a:lnTo>
                          <a:pt x="1284" y="934"/>
                        </a:lnTo>
                        <a:lnTo>
                          <a:pt x="1284" y="930"/>
                        </a:lnTo>
                        <a:lnTo>
                          <a:pt x="1280" y="924"/>
                        </a:lnTo>
                        <a:lnTo>
                          <a:pt x="1280" y="924"/>
                        </a:lnTo>
                        <a:lnTo>
                          <a:pt x="1272" y="912"/>
                        </a:lnTo>
                        <a:lnTo>
                          <a:pt x="1268" y="904"/>
                        </a:lnTo>
                        <a:lnTo>
                          <a:pt x="1268" y="902"/>
                        </a:lnTo>
                        <a:lnTo>
                          <a:pt x="1270" y="902"/>
                        </a:lnTo>
                        <a:lnTo>
                          <a:pt x="1282" y="912"/>
                        </a:lnTo>
                        <a:lnTo>
                          <a:pt x="1282" y="912"/>
                        </a:lnTo>
                        <a:lnTo>
                          <a:pt x="1298" y="928"/>
                        </a:lnTo>
                        <a:lnTo>
                          <a:pt x="1314" y="938"/>
                        </a:lnTo>
                        <a:lnTo>
                          <a:pt x="1320" y="940"/>
                        </a:lnTo>
                        <a:lnTo>
                          <a:pt x="1324" y="940"/>
                        </a:lnTo>
                        <a:lnTo>
                          <a:pt x="1326" y="938"/>
                        </a:lnTo>
                        <a:lnTo>
                          <a:pt x="1326" y="930"/>
                        </a:lnTo>
                        <a:lnTo>
                          <a:pt x="1326" y="930"/>
                        </a:lnTo>
                        <a:lnTo>
                          <a:pt x="1322" y="916"/>
                        </a:lnTo>
                        <a:lnTo>
                          <a:pt x="1322" y="908"/>
                        </a:lnTo>
                        <a:lnTo>
                          <a:pt x="1322" y="906"/>
                        </a:lnTo>
                        <a:lnTo>
                          <a:pt x="1324" y="908"/>
                        </a:lnTo>
                        <a:lnTo>
                          <a:pt x="1332" y="922"/>
                        </a:lnTo>
                        <a:lnTo>
                          <a:pt x="1332" y="922"/>
                        </a:lnTo>
                        <a:lnTo>
                          <a:pt x="1338" y="930"/>
                        </a:lnTo>
                        <a:lnTo>
                          <a:pt x="1344" y="934"/>
                        </a:lnTo>
                        <a:lnTo>
                          <a:pt x="1348" y="936"/>
                        </a:lnTo>
                        <a:lnTo>
                          <a:pt x="1354" y="938"/>
                        </a:lnTo>
                        <a:lnTo>
                          <a:pt x="1358" y="938"/>
                        </a:lnTo>
                        <a:lnTo>
                          <a:pt x="1362" y="940"/>
                        </a:lnTo>
                        <a:lnTo>
                          <a:pt x="1368" y="942"/>
                        </a:lnTo>
                        <a:lnTo>
                          <a:pt x="1372" y="950"/>
                        </a:lnTo>
                        <a:lnTo>
                          <a:pt x="1372" y="950"/>
                        </a:lnTo>
                        <a:lnTo>
                          <a:pt x="1378" y="966"/>
                        </a:lnTo>
                        <a:lnTo>
                          <a:pt x="1382" y="976"/>
                        </a:lnTo>
                        <a:lnTo>
                          <a:pt x="1384" y="982"/>
                        </a:lnTo>
                        <a:lnTo>
                          <a:pt x="1390" y="988"/>
                        </a:lnTo>
                        <a:lnTo>
                          <a:pt x="1390" y="988"/>
                        </a:lnTo>
                        <a:lnTo>
                          <a:pt x="1394" y="992"/>
                        </a:lnTo>
                        <a:lnTo>
                          <a:pt x="1394" y="996"/>
                        </a:lnTo>
                        <a:lnTo>
                          <a:pt x="1390" y="1002"/>
                        </a:lnTo>
                        <a:lnTo>
                          <a:pt x="1388" y="1006"/>
                        </a:lnTo>
                        <a:lnTo>
                          <a:pt x="1388" y="1008"/>
                        </a:lnTo>
                        <a:lnTo>
                          <a:pt x="1392" y="1012"/>
                        </a:lnTo>
                        <a:lnTo>
                          <a:pt x="1398" y="1014"/>
                        </a:lnTo>
                        <a:lnTo>
                          <a:pt x="1398" y="1014"/>
                        </a:lnTo>
                        <a:lnTo>
                          <a:pt x="1412" y="1020"/>
                        </a:lnTo>
                        <a:lnTo>
                          <a:pt x="1414" y="1024"/>
                        </a:lnTo>
                        <a:lnTo>
                          <a:pt x="1416" y="1026"/>
                        </a:lnTo>
                        <a:lnTo>
                          <a:pt x="1422" y="1036"/>
                        </a:lnTo>
                        <a:lnTo>
                          <a:pt x="1426" y="1042"/>
                        </a:lnTo>
                        <a:lnTo>
                          <a:pt x="1434" y="1052"/>
                        </a:lnTo>
                        <a:lnTo>
                          <a:pt x="1434" y="1052"/>
                        </a:lnTo>
                        <a:lnTo>
                          <a:pt x="1452" y="1064"/>
                        </a:lnTo>
                        <a:lnTo>
                          <a:pt x="1464" y="1070"/>
                        </a:lnTo>
                        <a:lnTo>
                          <a:pt x="1466" y="1074"/>
                        </a:lnTo>
                        <a:lnTo>
                          <a:pt x="1460" y="1076"/>
                        </a:lnTo>
                        <a:lnTo>
                          <a:pt x="1460" y="1076"/>
                        </a:lnTo>
                        <a:lnTo>
                          <a:pt x="1452" y="1080"/>
                        </a:lnTo>
                        <a:lnTo>
                          <a:pt x="1450" y="1086"/>
                        </a:lnTo>
                        <a:lnTo>
                          <a:pt x="1448" y="1092"/>
                        </a:lnTo>
                        <a:lnTo>
                          <a:pt x="1442" y="1100"/>
                        </a:lnTo>
                        <a:lnTo>
                          <a:pt x="1442" y="1100"/>
                        </a:lnTo>
                        <a:lnTo>
                          <a:pt x="1440" y="1104"/>
                        </a:lnTo>
                        <a:lnTo>
                          <a:pt x="1440" y="1108"/>
                        </a:lnTo>
                        <a:lnTo>
                          <a:pt x="1440" y="1112"/>
                        </a:lnTo>
                        <a:lnTo>
                          <a:pt x="1442" y="1114"/>
                        </a:lnTo>
                        <a:lnTo>
                          <a:pt x="1446" y="1116"/>
                        </a:lnTo>
                        <a:lnTo>
                          <a:pt x="1450" y="1114"/>
                        </a:lnTo>
                        <a:lnTo>
                          <a:pt x="1452" y="1112"/>
                        </a:lnTo>
                        <a:lnTo>
                          <a:pt x="1456" y="1106"/>
                        </a:lnTo>
                        <a:lnTo>
                          <a:pt x="1456" y="1106"/>
                        </a:lnTo>
                        <a:lnTo>
                          <a:pt x="1462" y="1092"/>
                        </a:lnTo>
                        <a:lnTo>
                          <a:pt x="1466" y="1088"/>
                        </a:lnTo>
                        <a:lnTo>
                          <a:pt x="1470" y="1084"/>
                        </a:lnTo>
                        <a:lnTo>
                          <a:pt x="1474" y="1082"/>
                        </a:lnTo>
                        <a:lnTo>
                          <a:pt x="1478" y="1084"/>
                        </a:lnTo>
                        <a:lnTo>
                          <a:pt x="1484" y="1088"/>
                        </a:lnTo>
                        <a:lnTo>
                          <a:pt x="1488" y="1094"/>
                        </a:lnTo>
                        <a:lnTo>
                          <a:pt x="1488" y="1094"/>
                        </a:lnTo>
                        <a:lnTo>
                          <a:pt x="1492" y="1104"/>
                        </a:lnTo>
                        <a:lnTo>
                          <a:pt x="1494" y="1112"/>
                        </a:lnTo>
                        <a:lnTo>
                          <a:pt x="1494" y="1118"/>
                        </a:lnTo>
                        <a:lnTo>
                          <a:pt x="1492" y="1124"/>
                        </a:lnTo>
                        <a:lnTo>
                          <a:pt x="1488" y="1134"/>
                        </a:lnTo>
                        <a:lnTo>
                          <a:pt x="1488" y="1138"/>
                        </a:lnTo>
                        <a:lnTo>
                          <a:pt x="1488" y="1144"/>
                        </a:lnTo>
                        <a:lnTo>
                          <a:pt x="1488" y="1144"/>
                        </a:lnTo>
                        <a:lnTo>
                          <a:pt x="1492" y="1152"/>
                        </a:lnTo>
                        <a:lnTo>
                          <a:pt x="1494" y="1160"/>
                        </a:lnTo>
                        <a:lnTo>
                          <a:pt x="1496" y="1164"/>
                        </a:lnTo>
                        <a:lnTo>
                          <a:pt x="1498" y="1164"/>
                        </a:lnTo>
                        <a:lnTo>
                          <a:pt x="1502" y="1162"/>
                        </a:lnTo>
                        <a:lnTo>
                          <a:pt x="1508" y="1158"/>
                        </a:lnTo>
                        <a:lnTo>
                          <a:pt x="1508" y="1158"/>
                        </a:lnTo>
                        <a:lnTo>
                          <a:pt x="1516" y="1150"/>
                        </a:lnTo>
                        <a:lnTo>
                          <a:pt x="1524" y="1142"/>
                        </a:lnTo>
                        <a:lnTo>
                          <a:pt x="1526" y="1138"/>
                        </a:lnTo>
                        <a:lnTo>
                          <a:pt x="1526" y="1132"/>
                        </a:lnTo>
                        <a:lnTo>
                          <a:pt x="1524" y="1118"/>
                        </a:lnTo>
                        <a:lnTo>
                          <a:pt x="1524" y="1118"/>
                        </a:lnTo>
                        <a:lnTo>
                          <a:pt x="1522" y="1106"/>
                        </a:lnTo>
                        <a:lnTo>
                          <a:pt x="1524" y="1098"/>
                        </a:lnTo>
                        <a:lnTo>
                          <a:pt x="1528" y="1094"/>
                        </a:lnTo>
                        <a:lnTo>
                          <a:pt x="1530" y="1090"/>
                        </a:lnTo>
                        <a:lnTo>
                          <a:pt x="1530" y="1090"/>
                        </a:lnTo>
                        <a:lnTo>
                          <a:pt x="1528" y="1098"/>
                        </a:lnTo>
                        <a:lnTo>
                          <a:pt x="1530" y="1106"/>
                        </a:lnTo>
                        <a:lnTo>
                          <a:pt x="1532" y="1118"/>
                        </a:lnTo>
                        <a:lnTo>
                          <a:pt x="1534" y="1130"/>
                        </a:lnTo>
                        <a:lnTo>
                          <a:pt x="1532" y="1136"/>
                        </a:lnTo>
                        <a:lnTo>
                          <a:pt x="1530" y="1140"/>
                        </a:lnTo>
                        <a:lnTo>
                          <a:pt x="1530" y="1140"/>
                        </a:lnTo>
                        <a:lnTo>
                          <a:pt x="1526" y="1142"/>
                        </a:lnTo>
                        <a:lnTo>
                          <a:pt x="1526" y="1146"/>
                        </a:lnTo>
                        <a:lnTo>
                          <a:pt x="1526" y="1152"/>
                        </a:lnTo>
                        <a:lnTo>
                          <a:pt x="1526" y="1160"/>
                        </a:lnTo>
                        <a:lnTo>
                          <a:pt x="1524" y="1162"/>
                        </a:lnTo>
                        <a:lnTo>
                          <a:pt x="1522" y="1166"/>
                        </a:lnTo>
                        <a:lnTo>
                          <a:pt x="1522" y="1166"/>
                        </a:lnTo>
                        <a:lnTo>
                          <a:pt x="1516" y="1172"/>
                        </a:lnTo>
                        <a:lnTo>
                          <a:pt x="1512" y="1178"/>
                        </a:lnTo>
                        <a:lnTo>
                          <a:pt x="1512" y="1182"/>
                        </a:lnTo>
                        <a:lnTo>
                          <a:pt x="1512" y="1186"/>
                        </a:lnTo>
                        <a:lnTo>
                          <a:pt x="1518" y="1192"/>
                        </a:lnTo>
                        <a:lnTo>
                          <a:pt x="1520" y="1194"/>
                        </a:lnTo>
                        <a:lnTo>
                          <a:pt x="1524" y="1198"/>
                        </a:lnTo>
                        <a:lnTo>
                          <a:pt x="1524" y="1198"/>
                        </a:lnTo>
                        <a:lnTo>
                          <a:pt x="1528" y="1210"/>
                        </a:lnTo>
                        <a:lnTo>
                          <a:pt x="1534" y="1222"/>
                        </a:lnTo>
                        <a:lnTo>
                          <a:pt x="1542" y="1232"/>
                        </a:lnTo>
                        <a:lnTo>
                          <a:pt x="1554" y="1244"/>
                        </a:lnTo>
                        <a:lnTo>
                          <a:pt x="1554" y="1244"/>
                        </a:lnTo>
                        <a:lnTo>
                          <a:pt x="1558" y="1246"/>
                        </a:lnTo>
                        <a:lnTo>
                          <a:pt x="1560" y="1244"/>
                        </a:lnTo>
                        <a:lnTo>
                          <a:pt x="1562" y="1236"/>
                        </a:lnTo>
                        <a:lnTo>
                          <a:pt x="1564" y="1230"/>
                        </a:lnTo>
                        <a:lnTo>
                          <a:pt x="1566" y="1224"/>
                        </a:lnTo>
                        <a:lnTo>
                          <a:pt x="1574" y="1218"/>
                        </a:lnTo>
                        <a:lnTo>
                          <a:pt x="1584" y="1216"/>
                        </a:lnTo>
                        <a:lnTo>
                          <a:pt x="1584" y="1216"/>
                        </a:lnTo>
                        <a:lnTo>
                          <a:pt x="1592" y="1216"/>
                        </a:lnTo>
                        <a:lnTo>
                          <a:pt x="1594" y="1216"/>
                        </a:lnTo>
                        <a:lnTo>
                          <a:pt x="1586" y="1222"/>
                        </a:lnTo>
                        <a:lnTo>
                          <a:pt x="1582" y="1228"/>
                        </a:lnTo>
                        <a:lnTo>
                          <a:pt x="1578" y="1234"/>
                        </a:lnTo>
                        <a:lnTo>
                          <a:pt x="1574" y="1240"/>
                        </a:lnTo>
                        <a:lnTo>
                          <a:pt x="1576" y="1248"/>
                        </a:lnTo>
                        <a:lnTo>
                          <a:pt x="1576" y="1248"/>
                        </a:lnTo>
                        <a:lnTo>
                          <a:pt x="1582" y="1258"/>
                        </a:lnTo>
                        <a:lnTo>
                          <a:pt x="1586" y="1260"/>
                        </a:lnTo>
                        <a:lnTo>
                          <a:pt x="1588" y="1262"/>
                        </a:lnTo>
                        <a:lnTo>
                          <a:pt x="1590" y="1274"/>
                        </a:lnTo>
                        <a:lnTo>
                          <a:pt x="1590" y="1274"/>
                        </a:lnTo>
                        <a:lnTo>
                          <a:pt x="1592" y="1280"/>
                        </a:lnTo>
                        <a:lnTo>
                          <a:pt x="1596" y="1280"/>
                        </a:lnTo>
                        <a:lnTo>
                          <a:pt x="1600" y="1280"/>
                        </a:lnTo>
                        <a:lnTo>
                          <a:pt x="1604" y="1278"/>
                        </a:lnTo>
                        <a:lnTo>
                          <a:pt x="1608" y="1278"/>
                        </a:lnTo>
                        <a:lnTo>
                          <a:pt x="1610" y="1278"/>
                        </a:lnTo>
                        <a:lnTo>
                          <a:pt x="1610" y="1280"/>
                        </a:lnTo>
                        <a:lnTo>
                          <a:pt x="1606" y="1290"/>
                        </a:lnTo>
                        <a:lnTo>
                          <a:pt x="1606" y="1290"/>
                        </a:lnTo>
                        <a:lnTo>
                          <a:pt x="1598" y="1306"/>
                        </a:lnTo>
                        <a:lnTo>
                          <a:pt x="1596" y="1318"/>
                        </a:lnTo>
                        <a:lnTo>
                          <a:pt x="1598" y="1322"/>
                        </a:lnTo>
                        <a:lnTo>
                          <a:pt x="1600" y="1322"/>
                        </a:lnTo>
                        <a:lnTo>
                          <a:pt x="1600" y="1322"/>
                        </a:lnTo>
                        <a:lnTo>
                          <a:pt x="1602" y="1322"/>
                        </a:lnTo>
                        <a:lnTo>
                          <a:pt x="1602" y="1324"/>
                        </a:lnTo>
                        <a:lnTo>
                          <a:pt x="1602" y="1330"/>
                        </a:lnTo>
                        <a:lnTo>
                          <a:pt x="1602" y="1336"/>
                        </a:lnTo>
                        <a:lnTo>
                          <a:pt x="1604" y="1340"/>
                        </a:lnTo>
                        <a:lnTo>
                          <a:pt x="1608" y="1342"/>
                        </a:lnTo>
                        <a:lnTo>
                          <a:pt x="1608" y="1342"/>
                        </a:lnTo>
                        <a:lnTo>
                          <a:pt x="1610" y="1342"/>
                        </a:lnTo>
                        <a:lnTo>
                          <a:pt x="1612" y="1340"/>
                        </a:lnTo>
                        <a:lnTo>
                          <a:pt x="1614" y="1330"/>
                        </a:lnTo>
                        <a:lnTo>
                          <a:pt x="1616" y="1320"/>
                        </a:lnTo>
                        <a:lnTo>
                          <a:pt x="1618" y="1316"/>
                        </a:lnTo>
                        <a:lnTo>
                          <a:pt x="1622" y="1314"/>
                        </a:lnTo>
                        <a:lnTo>
                          <a:pt x="1622" y="1314"/>
                        </a:lnTo>
                        <a:lnTo>
                          <a:pt x="1630" y="1310"/>
                        </a:lnTo>
                        <a:lnTo>
                          <a:pt x="1636" y="1304"/>
                        </a:lnTo>
                        <a:lnTo>
                          <a:pt x="1642" y="1300"/>
                        </a:lnTo>
                        <a:lnTo>
                          <a:pt x="1642" y="1300"/>
                        </a:lnTo>
                        <a:lnTo>
                          <a:pt x="1644" y="1304"/>
                        </a:lnTo>
                        <a:lnTo>
                          <a:pt x="1644" y="1304"/>
                        </a:lnTo>
                        <a:lnTo>
                          <a:pt x="1646" y="1306"/>
                        </a:lnTo>
                        <a:lnTo>
                          <a:pt x="1648" y="1308"/>
                        </a:lnTo>
                        <a:lnTo>
                          <a:pt x="1654" y="1308"/>
                        </a:lnTo>
                        <a:lnTo>
                          <a:pt x="1660" y="1308"/>
                        </a:lnTo>
                        <a:lnTo>
                          <a:pt x="1660" y="1310"/>
                        </a:lnTo>
                        <a:lnTo>
                          <a:pt x="1660" y="1314"/>
                        </a:lnTo>
                        <a:lnTo>
                          <a:pt x="1660" y="1314"/>
                        </a:lnTo>
                        <a:lnTo>
                          <a:pt x="1660" y="1318"/>
                        </a:lnTo>
                        <a:lnTo>
                          <a:pt x="1658" y="1318"/>
                        </a:lnTo>
                        <a:lnTo>
                          <a:pt x="1656" y="1316"/>
                        </a:lnTo>
                        <a:lnTo>
                          <a:pt x="1652" y="1314"/>
                        </a:lnTo>
                        <a:lnTo>
                          <a:pt x="1648" y="1312"/>
                        </a:lnTo>
                        <a:lnTo>
                          <a:pt x="1642" y="1314"/>
                        </a:lnTo>
                        <a:lnTo>
                          <a:pt x="1634" y="1318"/>
                        </a:lnTo>
                        <a:lnTo>
                          <a:pt x="1634" y="1318"/>
                        </a:lnTo>
                        <a:lnTo>
                          <a:pt x="1622" y="1330"/>
                        </a:lnTo>
                        <a:lnTo>
                          <a:pt x="1618" y="1336"/>
                        </a:lnTo>
                        <a:lnTo>
                          <a:pt x="1618" y="1342"/>
                        </a:lnTo>
                        <a:lnTo>
                          <a:pt x="1618" y="1350"/>
                        </a:lnTo>
                        <a:lnTo>
                          <a:pt x="1618" y="1350"/>
                        </a:lnTo>
                        <a:lnTo>
                          <a:pt x="1620" y="1356"/>
                        </a:lnTo>
                        <a:lnTo>
                          <a:pt x="1622" y="1358"/>
                        </a:lnTo>
                        <a:lnTo>
                          <a:pt x="1626" y="1360"/>
                        </a:lnTo>
                        <a:lnTo>
                          <a:pt x="1628" y="1362"/>
                        </a:lnTo>
                        <a:lnTo>
                          <a:pt x="1624" y="1366"/>
                        </a:lnTo>
                        <a:lnTo>
                          <a:pt x="1624" y="1366"/>
                        </a:lnTo>
                        <a:lnTo>
                          <a:pt x="1622" y="1368"/>
                        </a:lnTo>
                        <a:lnTo>
                          <a:pt x="1622" y="1370"/>
                        </a:lnTo>
                        <a:lnTo>
                          <a:pt x="1624" y="1372"/>
                        </a:lnTo>
                        <a:lnTo>
                          <a:pt x="1626" y="1374"/>
                        </a:lnTo>
                        <a:lnTo>
                          <a:pt x="1624" y="1376"/>
                        </a:lnTo>
                        <a:lnTo>
                          <a:pt x="1624" y="1376"/>
                        </a:lnTo>
                        <a:lnTo>
                          <a:pt x="1620" y="1378"/>
                        </a:lnTo>
                        <a:lnTo>
                          <a:pt x="1620" y="1382"/>
                        </a:lnTo>
                        <a:lnTo>
                          <a:pt x="1620" y="1384"/>
                        </a:lnTo>
                        <a:lnTo>
                          <a:pt x="1622" y="1386"/>
                        </a:lnTo>
                        <a:lnTo>
                          <a:pt x="1630" y="1392"/>
                        </a:lnTo>
                        <a:lnTo>
                          <a:pt x="1642" y="1396"/>
                        </a:lnTo>
                        <a:lnTo>
                          <a:pt x="1642" y="1396"/>
                        </a:lnTo>
                        <a:lnTo>
                          <a:pt x="1650" y="1398"/>
                        </a:lnTo>
                        <a:lnTo>
                          <a:pt x="1656" y="1396"/>
                        </a:lnTo>
                        <a:lnTo>
                          <a:pt x="1662" y="1394"/>
                        </a:lnTo>
                        <a:lnTo>
                          <a:pt x="1670" y="1394"/>
                        </a:lnTo>
                        <a:lnTo>
                          <a:pt x="1670" y="1394"/>
                        </a:lnTo>
                        <a:lnTo>
                          <a:pt x="1676" y="1396"/>
                        </a:lnTo>
                        <a:lnTo>
                          <a:pt x="1676" y="1398"/>
                        </a:lnTo>
                        <a:lnTo>
                          <a:pt x="1676" y="1400"/>
                        </a:lnTo>
                        <a:lnTo>
                          <a:pt x="1682" y="1400"/>
                        </a:lnTo>
                        <a:lnTo>
                          <a:pt x="1682" y="1400"/>
                        </a:lnTo>
                        <a:lnTo>
                          <a:pt x="1688" y="1402"/>
                        </a:lnTo>
                        <a:lnTo>
                          <a:pt x="1688" y="1404"/>
                        </a:lnTo>
                        <a:lnTo>
                          <a:pt x="1686" y="1412"/>
                        </a:lnTo>
                        <a:lnTo>
                          <a:pt x="1686" y="1416"/>
                        </a:lnTo>
                        <a:lnTo>
                          <a:pt x="1686" y="1420"/>
                        </a:lnTo>
                        <a:lnTo>
                          <a:pt x="1688" y="1422"/>
                        </a:lnTo>
                        <a:lnTo>
                          <a:pt x="1694" y="1420"/>
                        </a:lnTo>
                        <a:lnTo>
                          <a:pt x="1694" y="1420"/>
                        </a:lnTo>
                        <a:lnTo>
                          <a:pt x="1700" y="1420"/>
                        </a:lnTo>
                        <a:lnTo>
                          <a:pt x="1702" y="1422"/>
                        </a:lnTo>
                        <a:lnTo>
                          <a:pt x="1706" y="1424"/>
                        </a:lnTo>
                        <a:lnTo>
                          <a:pt x="1714" y="1422"/>
                        </a:lnTo>
                        <a:lnTo>
                          <a:pt x="1714" y="1422"/>
                        </a:lnTo>
                        <a:lnTo>
                          <a:pt x="1718" y="1422"/>
                        </a:lnTo>
                        <a:lnTo>
                          <a:pt x="1722" y="1422"/>
                        </a:lnTo>
                        <a:lnTo>
                          <a:pt x="1730" y="1426"/>
                        </a:lnTo>
                        <a:lnTo>
                          <a:pt x="1736" y="1430"/>
                        </a:lnTo>
                        <a:lnTo>
                          <a:pt x="1738" y="1430"/>
                        </a:lnTo>
                        <a:lnTo>
                          <a:pt x="1742" y="1428"/>
                        </a:lnTo>
                        <a:lnTo>
                          <a:pt x="1742" y="1428"/>
                        </a:lnTo>
                        <a:lnTo>
                          <a:pt x="1744" y="1428"/>
                        </a:lnTo>
                        <a:lnTo>
                          <a:pt x="1748" y="1430"/>
                        </a:lnTo>
                        <a:lnTo>
                          <a:pt x="1750" y="1434"/>
                        </a:lnTo>
                        <a:lnTo>
                          <a:pt x="1750" y="1442"/>
                        </a:lnTo>
                        <a:lnTo>
                          <a:pt x="1748" y="1444"/>
                        </a:lnTo>
                        <a:lnTo>
                          <a:pt x="1744" y="1446"/>
                        </a:lnTo>
                        <a:lnTo>
                          <a:pt x="1744" y="1446"/>
                        </a:lnTo>
                        <a:lnTo>
                          <a:pt x="1742" y="1448"/>
                        </a:lnTo>
                        <a:lnTo>
                          <a:pt x="1742" y="1450"/>
                        </a:lnTo>
                        <a:lnTo>
                          <a:pt x="1748" y="1458"/>
                        </a:lnTo>
                        <a:lnTo>
                          <a:pt x="1758" y="1464"/>
                        </a:lnTo>
                        <a:lnTo>
                          <a:pt x="1764" y="1464"/>
                        </a:lnTo>
                        <a:lnTo>
                          <a:pt x="1768" y="1464"/>
                        </a:lnTo>
                        <a:lnTo>
                          <a:pt x="1768" y="1464"/>
                        </a:lnTo>
                        <a:lnTo>
                          <a:pt x="1774" y="1458"/>
                        </a:lnTo>
                        <a:lnTo>
                          <a:pt x="1778" y="1454"/>
                        </a:lnTo>
                        <a:lnTo>
                          <a:pt x="1778" y="1452"/>
                        </a:lnTo>
                        <a:lnTo>
                          <a:pt x="1778" y="1454"/>
                        </a:lnTo>
                        <a:lnTo>
                          <a:pt x="1780" y="1460"/>
                        </a:lnTo>
                        <a:lnTo>
                          <a:pt x="1780" y="1460"/>
                        </a:lnTo>
                        <a:lnTo>
                          <a:pt x="1780" y="1468"/>
                        </a:lnTo>
                        <a:lnTo>
                          <a:pt x="1784" y="1470"/>
                        </a:lnTo>
                        <a:lnTo>
                          <a:pt x="1786" y="1470"/>
                        </a:lnTo>
                        <a:lnTo>
                          <a:pt x="1786" y="1474"/>
                        </a:lnTo>
                        <a:lnTo>
                          <a:pt x="1786" y="1474"/>
                        </a:lnTo>
                        <a:lnTo>
                          <a:pt x="1784" y="1476"/>
                        </a:lnTo>
                        <a:lnTo>
                          <a:pt x="1782" y="1476"/>
                        </a:lnTo>
                        <a:lnTo>
                          <a:pt x="1780" y="1472"/>
                        </a:lnTo>
                        <a:lnTo>
                          <a:pt x="1776" y="1468"/>
                        </a:lnTo>
                        <a:lnTo>
                          <a:pt x="1774" y="1468"/>
                        </a:lnTo>
                        <a:lnTo>
                          <a:pt x="1772" y="1470"/>
                        </a:lnTo>
                        <a:lnTo>
                          <a:pt x="1772" y="1470"/>
                        </a:lnTo>
                        <a:lnTo>
                          <a:pt x="1770" y="1472"/>
                        </a:lnTo>
                        <a:lnTo>
                          <a:pt x="1772" y="1476"/>
                        </a:lnTo>
                        <a:lnTo>
                          <a:pt x="1780" y="1484"/>
                        </a:lnTo>
                        <a:lnTo>
                          <a:pt x="1790" y="1486"/>
                        </a:lnTo>
                        <a:lnTo>
                          <a:pt x="1794" y="1486"/>
                        </a:lnTo>
                        <a:lnTo>
                          <a:pt x="1794" y="1484"/>
                        </a:lnTo>
                        <a:lnTo>
                          <a:pt x="1794" y="1484"/>
                        </a:lnTo>
                        <a:lnTo>
                          <a:pt x="1796" y="1478"/>
                        </a:lnTo>
                        <a:lnTo>
                          <a:pt x="1800" y="1474"/>
                        </a:lnTo>
                        <a:lnTo>
                          <a:pt x="1804" y="1474"/>
                        </a:lnTo>
                        <a:lnTo>
                          <a:pt x="1804" y="1478"/>
                        </a:lnTo>
                        <a:lnTo>
                          <a:pt x="1804" y="1478"/>
                        </a:lnTo>
                        <a:lnTo>
                          <a:pt x="1804" y="1486"/>
                        </a:lnTo>
                        <a:lnTo>
                          <a:pt x="1806" y="1492"/>
                        </a:lnTo>
                        <a:lnTo>
                          <a:pt x="1808" y="1498"/>
                        </a:lnTo>
                        <a:lnTo>
                          <a:pt x="1808" y="1504"/>
                        </a:lnTo>
                        <a:lnTo>
                          <a:pt x="1808" y="1504"/>
                        </a:lnTo>
                        <a:lnTo>
                          <a:pt x="1808" y="1510"/>
                        </a:lnTo>
                        <a:lnTo>
                          <a:pt x="1810" y="1512"/>
                        </a:lnTo>
                        <a:lnTo>
                          <a:pt x="1812" y="1510"/>
                        </a:lnTo>
                        <a:lnTo>
                          <a:pt x="1816" y="1506"/>
                        </a:lnTo>
                        <a:lnTo>
                          <a:pt x="1816" y="1506"/>
                        </a:lnTo>
                        <a:lnTo>
                          <a:pt x="1818" y="1504"/>
                        </a:lnTo>
                        <a:lnTo>
                          <a:pt x="1820" y="1506"/>
                        </a:lnTo>
                        <a:lnTo>
                          <a:pt x="1822" y="1508"/>
                        </a:lnTo>
                        <a:lnTo>
                          <a:pt x="1822" y="1508"/>
                        </a:lnTo>
                        <a:lnTo>
                          <a:pt x="1822" y="1516"/>
                        </a:lnTo>
                        <a:lnTo>
                          <a:pt x="1824" y="1520"/>
                        </a:lnTo>
                        <a:lnTo>
                          <a:pt x="1828" y="1526"/>
                        </a:lnTo>
                        <a:lnTo>
                          <a:pt x="1832" y="1528"/>
                        </a:lnTo>
                        <a:lnTo>
                          <a:pt x="1832" y="1530"/>
                        </a:lnTo>
                        <a:lnTo>
                          <a:pt x="1832" y="1534"/>
                        </a:lnTo>
                        <a:lnTo>
                          <a:pt x="1832" y="1534"/>
                        </a:lnTo>
                        <a:lnTo>
                          <a:pt x="1832" y="1538"/>
                        </a:lnTo>
                        <a:lnTo>
                          <a:pt x="1830" y="1538"/>
                        </a:lnTo>
                        <a:lnTo>
                          <a:pt x="1826" y="1540"/>
                        </a:lnTo>
                        <a:lnTo>
                          <a:pt x="1824" y="1540"/>
                        </a:lnTo>
                        <a:lnTo>
                          <a:pt x="1824" y="1542"/>
                        </a:lnTo>
                        <a:lnTo>
                          <a:pt x="1830" y="1550"/>
                        </a:lnTo>
                        <a:lnTo>
                          <a:pt x="1830" y="1550"/>
                        </a:lnTo>
                        <a:lnTo>
                          <a:pt x="1836" y="1562"/>
                        </a:lnTo>
                        <a:lnTo>
                          <a:pt x="1840" y="1570"/>
                        </a:lnTo>
                        <a:lnTo>
                          <a:pt x="1840" y="1582"/>
                        </a:lnTo>
                        <a:lnTo>
                          <a:pt x="1840" y="1600"/>
                        </a:lnTo>
                        <a:lnTo>
                          <a:pt x="1840" y="1600"/>
                        </a:lnTo>
                        <a:lnTo>
                          <a:pt x="1838" y="1608"/>
                        </a:lnTo>
                        <a:lnTo>
                          <a:pt x="1836" y="1610"/>
                        </a:lnTo>
                        <a:lnTo>
                          <a:pt x="1834" y="1608"/>
                        </a:lnTo>
                        <a:lnTo>
                          <a:pt x="1834" y="1604"/>
                        </a:lnTo>
                        <a:lnTo>
                          <a:pt x="1828" y="1570"/>
                        </a:lnTo>
                        <a:lnTo>
                          <a:pt x="1828" y="1570"/>
                        </a:lnTo>
                        <a:lnTo>
                          <a:pt x="1824" y="1564"/>
                        </a:lnTo>
                        <a:lnTo>
                          <a:pt x="1816" y="1560"/>
                        </a:lnTo>
                        <a:lnTo>
                          <a:pt x="1808" y="1558"/>
                        </a:lnTo>
                        <a:lnTo>
                          <a:pt x="1798" y="1556"/>
                        </a:lnTo>
                        <a:lnTo>
                          <a:pt x="1776" y="1554"/>
                        </a:lnTo>
                        <a:lnTo>
                          <a:pt x="1766" y="1552"/>
                        </a:lnTo>
                        <a:lnTo>
                          <a:pt x="1758" y="1548"/>
                        </a:lnTo>
                        <a:lnTo>
                          <a:pt x="1758" y="1548"/>
                        </a:lnTo>
                        <a:lnTo>
                          <a:pt x="1752" y="1546"/>
                        </a:lnTo>
                        <a:lnTo>
                          <a:pt x="1746" y="1546"/>
                        </a:lnTo>
                        <a:lnTo>
                          <a:pt x="1744" y="1548"/>
                        </a:lnTo>
                        <a:lnTo>
                          <a:pt x="1742" y="1552"/>
                        </a:lnTo>
                        <a:lnTo>
                          <a:pt x="1744" y="1556"/>
                        </a:lnTo>
                        <a:lnTo>
                          <a:pt x="1746" y="1564"/>
                        </a:lnTo>
                        <a:lnTo>
                          <a:pt x="1754" y="1578"/>
                        </a:lnTo>
                        <a:lnTo>
                          <a:pt x="1754" y="1578"/>
                        </a:lnTo>
                        <a:lnTo>
                          <a:pt x="1758" y="1586"/>
                        </a:lnTo>
                        <a:lnTo>
                          <a:pt x="1764" y="1598"/>
                        </a:lnTo>
                        <a:lnTo>
                          <a:pt x="1770" y="1626"/>
                        </a:lnTo>
                        <a:lnTo>
                          <a:pt x="1774" y="1658"/>
                        </a:lnTo>
                        <a:lnTo>
                          <a:pt x="1774" y="1690"/>
                        </a:lnTo>
                        <a:lnTo>
                          <a:pt x="1774" y="1690"/>
                        </a:lnTo>
                        <a:lnTo>
                          <a:pt x="1774" y="1726"/>
                        </a:lnTo>
                        <a:lnTo>
                          <a:pt x="1770" y="1768"/>
                        </a:lnTo>
                        <a:lnTo>
                          <a:pt x="1766" y="1810"/>
                        </a:lnTo>
                        <a:lnTo>
                          <a:pt x="1762" y="1828"/>
                        </a:lnTo>
                        <a:lnTo>
                          <a:pt x="1756" y="1842"/>
                        </a:lnTo>
                        <a:lnTo>
                          <a:pt x="1756" y="1842"/>
                        </a:lnTo>
                        <a:lnTo>
                          <a:pt x="1754" y="1854"/>
                        </a:lnTo>
                        <a:lnTo>
                          <a:pt x="1754" y="1870"/>
                        </a:lnTo>
                        <a:lnTo>
                          <a:pt x="1756" y="1886"/>
                        </a:lnTo>
                        <a:lnTo>
                          <a:pt x="1760" y="1904"/>
                        </a:lnTo>
                        <a:lnTo>
                          <a:pt x="1764" y="1920"/>
                        </a:lnTo>
                        <a:lnTo>
                          <a:pt x="1766" y="1938"/>
                        </a:lnTo>
                        <a:lnTo>
                          <a:pt x="1766" y="1956"/>
                        </a:lnTo>
                        <a:lnTo>
                          <a:pt x="1762" y="1972"/>
                        </a:lnTo>
                        <a:lnTo>
                          <a:pt x="1762" y="1972"/>
                        </a:lnTo>
                        <a:lnTo>
                          <a:pt x="1760" y="1986"/>
                        </a:lnTo>
                        <a:lnTo>
                          <a:pt x="1758" y="1996"/>
                        </a:lnTo>
                        <a:lnTo>
                          <a:pt x="1762" y="2006"/>
                        </a:lnTo>
                        <a:lnTo>
                          <a:pt x="1766" y="2012"/>
                        </a:lnTo>
                        <a:lnTo>
                          <a:pt x="1774" y="2030"/>
                        </a:lnTo>
                        <a:lnTo>
                          <a:pt x="1778" y="2042"/>
                        </a:lnTo>
                        <a:lnTo>
                          <a:pt x="1780" y="2056"/>
                        </a:lnTo>
                        <a:lnTo>
                          <a:pt x="1780" y="2056"/>
                        </a:lnTo>
                        <a:lnTo>
                          <a:pt x="1784" y="2072"/>
                        </a:lnTo>
                        <a:lnTo>
                          <a:pt x="1786" y="2082"/>
                        </a:lnTo>
                        <a:lnTo>
                          <a:pt x="1792" y="2090"/>
                        </a:lnTo>
                        <a:lnTo>
                          <a:pt x="1798" y="2096"/>
                        </a:lnTo>
                        <a:lnTo>
                          <a:pt x="1808" y="2104"/>
                        </a:lnTo>
                        <a:lnTo>
                          <a:pt x="1812" y="2110"/>
                        </a:lnTo>
                        <a:lnTo>
                          <a:pt x="1814" y="2118"/>
                        </a:lnTo>
                        <a:lnTo>
                          <a:pt x="1814" y="2118"/>
                        </a:lnTo>
                        <a:lnTo>
                          <a:pt x="1816" y="2124"/>
                        </a:lnTo>
                        <a:lnTo>
                          <a:pt x="1818" y="2128"/>
                        </a:lnTo>
                        <a:lnTo>
                          <a:pt x="1824" y="2132"/>
                        </a:lnTo>
                        <a:lnTo>
                          <a:pt x="1828" y="2136"/>
                        </a:lnTo>
                        <a:lnTo>
                          <a:pt x="1832" y="2140"/>
                        </a:lnTo>
                        <a:lnTo>
                          <a:pt x="1834" y="2146"/>
                        </a:lnTo>
                        <a:lnTo>
                          <a:pt x="1836" y="2158"/>
                        </a:lnTo>
                        <a:lnTo>
                          <a:pt x="1836" y="2158"/>
                        </a:lnTo>
                        <a:lnTo>
                          <a:pt x="1838" y="2170"/>
                        </a:lnTo>
                        <a:lnTo>
                          <a:pt x="1842" y="2178"/>
                        </a:lnTo>
                        <a:lnTo>
                          <a:pt x="1846" y="2182"/>
                        </a:lnTo>
                        <a:lnTo>
                          <a:pt x="1852" y="2186"/>
                        </a:lnTo>
                        <a:lnTo>
                          <a:pt x="1856" y="2188"/>
                        </a:lnTo>
                        <a:lnTo>
                          <a:pt x="1860" y="2190"/>
                        </a:lnTo>
                        <a:lnTo>
                          <a:pt x="1862" y="2194"/>
                        </a:lnTo>
                        <a:lnTo>
                          <a:pt x="1860" y="2200"/>
                        </a:lnTo>
                        <a:lnTo>
                          <a:pt x="1860" y="2200"/>
                        </a:lnTo>
                        <a:lnTo>
                          <a:pt x="1858" y="2208"/>
                        </a:lnTo>
                        <a:lnTo>
                          <a:pt x="1858" y="2214"/>
                        </a:lnTo>
                        <a:lnTo>
                          <a:pt x="1860" y="2218"/>
                        </a:lnTo>
                        <a:lnTo>
                          <a:pt x="1862" y="2224"/>
                        </a:lnTo>
                        <a:lnTo>
                          <a:pt x="1872" y="2238"/>
                        </a:lnTo>
                        <a:lnTo>
                          <a:pt x="1890" y="2260"/>
                        </a:lnTo>
                        <a:lnTo>
                          <a:pt x="1890" y="2260"/>
                        </a:lnTo>
                        <a:lnTo>
                          <a:pt x="1900" y="2272"/>
                        </a:lnTo>
                        <a:lnTo>
                          <a:pt x="1904" y="2282"/>
                        </a:lnTo>
                        <a:lnTo>
                          <a:pt x="1908" y="2292"/>
                        </a:lnTo>
                        <a:lnTo>
                          <a:pt x="1908" y="2298"/>
                        </a:lnTo>
                        <a:lnTo>
                          <a:pt x="1910" y="2310"/>
                        </a:lnTo>
                        <a:lnTo>
                          <a:pt x="1912" y="2314"/>
                        </a:lnTo>
                        <a:lnTo>
                          <a:pt x="1916" y="2318"/>
                        </a:lnTo>
                        <a:lnTo>
                          <a:pt x="1916" y="2318"/>
                        </a:lnTo>
                        <a:lnTo>
                          <a:pt x="1920" y="2322"/>
                        </a:lnTo>
                        <a:lnTo>
                          <a:pt x="1926" y="2324"/>
                        </a:lnTo>
                        <a:lnTo>
                          <a:pt x="1940" y="2326"/>
                        </a:lnTo>
                        <a:lnTo>
                          <a:pt x="1948" y="2328"/>
                        </a:lnTo>
                        <a:lnTo>
                          <a:pt x="1958" y="2332"/>
                        </a:lnTo>
                        <a:lnTo>
                          <a:pt x="1968" y="2336"/>
                        </a:lnTo>
                        <a:lnTo>
                          <a:pt x="1978" y="2344"/>
                        </a:lnTo>
                        <a:lnTo>
                          <a:pt x="1978" y="2344"/>
                        </a:lnTo>
                        <a:lnTo>
                          <a:pt x="1986" y="2352"/>
                        </a:lnTo>
                        <a:lnTo>
                          <a:pt x="1994" y="2358"/>
                        </a:lnTo>
                        <a:lnTo>
                          <a:pt x="2006" y="2360"/>
                        </a:lnTo>
                        <a:lnTo>
                          <a:pt x="2016" y="2364"/>
                        </a:lnTo>
                        <a:lnTo>
                          <a:pt x="2022" y="2368"/>
                        </a:lnTo>
                        <a:lnTo>
                          <a:pt x="2030" y="2374"/>
                        </a:lnTo>
                        <a:lnTo>
                          <a:pt x="2030" y="2374"/>
                        </a:lnTo>
                        <a:lnTo>
                          <a:pt x="2036" y="2382"/>
                        </a:lnTo>
                        <a:lnTo>
                          <a:pt x="2040" y="2388"/>
                        </a:lnTo>
                        <a:lnTo>
                          <a:pt x="2046" y="2400"/>
                        </a:lnTo>
                        <a:lnTo>
                          <a:pt x="2048" y="2410"/>
                        </a:lnTo>
                        <a:lnTo>
                          <a:pt x="2052" y="2424"/>
                        </a:lnTo>
                        <a:lnTo>
                          <a:pt x="2052" y="2424"/>
                        </a:lnTo>
                        <a:lnTo>
                          <a:pt x="2052" y="2424"/>
                        </a:lnTo>
                        <a:lnTo>
                          <a:pt x="2052" y="2424"/>
                        </a:lnTo>
                        <a:lnTo>
                          <a:pt x="2066" y="2454"/>
                        </a:lnTo>
                        <a:lnTo>
                          <a:pt x="2078" y="2480"/>
                        </a:lnTo>
                        <a:lnTo>
                          <a:pt x="2092" y="2520"/>
                        </a:lnTo>
                        <a:lnTo>
                          <a:pt x="2100" y="2548"/>
                        </a:lnTo>
                        <a:lnTo>
                          <a:pt x="2106" y="2560"/>
                        </a:lnTo>
                        <a:lnTo>
                          <a:pt x="2112" y="2568"/>
                        </a:lnTo>
                        <a:lnTo>
                          <a:pt x="2112" y="2568"/>
                        </a:lnTo>
                        <a:lnTo>
                          <a:pt x="2120" y="2578"/>
                        </a:lnTo>
                        <a:lnTo>
                          <a:pt x="2130" y="2586"/>
                        </a:lnTo>
                        <a:lnTo>
                          <a:pt x="2150" y="2604"/>
                        </a:lnTo>
                        <a:lnTo>
                          <a:pt x="2160" y="2614"/>
                        </a:lnTo>
                        <a:lnTo>
                          <a:pt x="2166" y="2624"/>
                        </a:lnTo>
                        <a:lnTo>
                          <a:pt x="2170" y="2636"/>
                        </a:lnTo>
                        <a:lnTo>
                          <a:pt x="2170" y="2650"/>
                        </a:lnTo>
                        <a:lnTo>
                          <a:pt x="2170" y="2650"/>
                        </a:lnTo>
                        <a:lnTo>
                          <a:pt x="2170" y="2656"/>
                        </a:lnTo>
                        <a:lnTo>
                          <a:pt x="2168" y="2662"/>
                        </a:lnTo>
                        <a:lnTo>
                          <a:pt x="2164" y="2664"/>
                        </a:lnTo>
                        <a:lnTo>
                          <a:pt x="2162" y="2668"/>
                        </a:lnTo>
                        <a:lnTo>
                          <a:pt x="2154" y="2668"/>
                        </a:lnTo>
                        <a:lnTo>
                          <a:pt x="2148" y="2668"/>
                        </a:lnTo>
                        <a:lnTo>
                          <a:pt x="2142" y="2668"/>
                        </a:lnTo>
                        <a:lnTo>
                          <a:pt x="2138" y="2668"/>
                        </a:lnTo>
                        <a:lnTo>
                          <a:pt x="2140" y="2672"/>
                        </a:lnTo>
                        <a:lnTo>
                          <a:pt x="2146" y="2682"/>
                        </a:lnTo>
                        <a:lnTo>
                          <a:pt x="2146" y="2682"/>
                        </a:lnTo>
                        <a:lnTo>
                          <a:pt x="2156" y="2692"/>
                        </a:lnTo>
                        <a:lnTo>
                          <a:pt x="2166" y="2700"/>
                        </a:lnTo>
                        <a:lnTo>
                          <a:pt x="2188" y="2716"/>
                        </a:lnTo>
                        <a:lnTo>
                          <a:pt x="2212" y="2730"/>
                        </a:lnTo>
                        <a:lnTo>
                          <a:pt x="2226" y="2738"/>
                        </a:lnTo>
                        <a:lnTo>
                          <a:pt x="2238" y="2748"/>
                        </a:lnTo>
                        <a:lnTo>
                          <a:pt x="2238" y="2748"/>
                        </a:lnTo>
                        <a:lnTo>
                          <a:pt x="2244" y="2754"/>
                        </a:lnTo>
                        <a:lnTo>
                          <a:pt x="2248" y="2758"/>
                        </a:lnTo>
                        <a:lnTo>
                          <a:pt x="2250" y="2764"/>
                        </a:lnTo>
                        <a:lnTo>
                          <a:pt x="2252" y="2770"/>
                        </a:lnTo>
                        <a:lnTo>
                          <a:pt x="2250" y="2782"/>
                        </a:lnTo>
                        <a:lnTo>
                          <a:pt x="2250" y="2794"/>
                        </a:lnTo>
                        <a:lnTo>
                          <a:pt x="2248" y="2808"/>
                        </a:lnTo>
                        <a:lnTo>
                          <a:pt x="2250" y="2814"/>
                        </a:lnTo>
                        <a:lnTo>
                          <a:pt x="2252" y="2820"/>
                        </a:lnTo>
                        <a:lnTo>
                          <a:pt x="2256" y="2828"/>
                        </a:lnTo>
                        <a:lnTo>
                          <a:pt x="2262" y="2834"/>
                        </a:lnTo>
                        <a:lnTo>
                          <a:pt x="2270" y="2842"/>
                        </a:lnTo>
                        <a:lnTo>
                          <a:pt x="2280" y="2850"/>
                        </a:lnTo>
                        <a:lnTo>
                          <a:pt x="2280" y="2850"/>
                        </a:lnTo>
                        <a:lnTo>
                          <a:pt x="2300" y="2866"/>
                        </a:lnTo>
                        <a:lnTo>
                          <a:pt x="2316" y="2882"/>
                        </a:lnTo>
                        <a:lnTo>
                          <a:pt x="2326" y="2894"/>
                        </a:lnTo>
                        <a:lnTo>
                          <a:pt x="2332" y="2906"/>
                        </a:lnTo>
                        <a:lnTo>
                          <a:pt x="2336" y="2914"/>
                        </a:lnTo>
                        <a:lnTo>
                          <a:pt x="2340" y="2918"/>
                        </a:lnTo>
                        <a:lnTo>
                          <a:pt x="2344" y="2920"/>
                        </a:lnTo>
                        <a:lnTo>
                          <a:pt x="2350" y="2916"/>
                        </a:lnTo>
                        <a:lnTo>
                          <a:pt x="2350" y="2916"/>
                        </a:lnTo>
                        <a:lnTo>
                          <a:pt x="2358" y="2910"/>
                        </a:lnTo>
                        <a:lnTo>
                          <a:pt x="2362" y="2906"/>
                        </a:lnTo>
                        <a:lnTo>
                          <a:pt x="2364" y="2900"/>
                        </a:lnTo>
                        <a:lnTo>
                          <a:pt x="2364" y="2896"/>
                        </a:lnTo>
                        <a:lnTo>
                          <a:pt x="2358" y="2884"/>
                        </a:lnTo>
                        <a:lnTo>
                          <a:pt x="2346" y="2864"/>
                        </a:lnTo>
                        <a:lnTo>
                          <a:pt x="2346" y="2864"/>
                        </a:lnTo>
                        <a:lnTo>
                          <a:pt x="2340" y="2856"/>
                        </a:lnTo>
                        <a:lnTo>
                          <a:pt x="2336" y="2850"/>
                        </a:lnTo>
                        <a:lnTo>
                          <a:pt x="2332" y="2850"/>
                        </a:lnTo>
                        <a:lnTo>
                          <a:pt x="2330" y="2850"/>
                        </a:lnTo>
                        <a:lnTo>
                          <a:pt x="2324" y="2854"/>
                        </a:lnTo>
                        <a:lnTo>
                          <a:pt x="2320" y="2854"/>
                        </a:lnTo>
                        <a:lnTo>
                          <a:pt x="2316" y="2850"/>
                        </a:lnTo>
                        <a:lnTo>
                          <a:pt x="2316" y="2850"/>
                        </a:lnTo>
                        <a:lnTo>
                          <a:pt x="2312" y="2846"/>
                        </a:lnTo>
                        <a:lnTo>
                          <a:pt x="2310" y="2842"/>
                        </a:lnTo>
                        <a:lnTo>
                          <a:pt x="2310" y="2832"/>
                        </a:lnTo>
                        <a:lnTo>
                          <a:pt x="2310" y="2826"/>
                        </a:lnTo>
                        <a:lnTo>
                          <a:pt x="2310" y="2820"/>
                        </a:lnTo>
                        <a:lnTo>
                          <a:pt x="2306" y="2810"/>
                        </a:lnTo>
                        <a:lnTo>
                          <a:pt x="2300" y="2798"/>
                        </a:lnTo>
                        <a:lnTo>
                          <a:pt x="2300" y="2798"/>
                        </a:lnTo>
                        <a:lnTo>
                          <a:pt x="2290" y="2776"/>
                        </a:lnTo>
                        <a:lnTo>
                          <a:pt x="2286" y="2762"/>
                        </a:lnTo>
                        <a:lnTo>
                          <a:pt x="2282" y="2748"/>
                        </a:lnTo>
                        <a:lnTo>
                          <a:pt x="2276" y="2730"/>
                        </a:lnTo>
                        <a:lnTo>
                          <a:pt x="2276" y="2730"/>
                        </a:lnTo>
                        <a:lnTo>
                          <a:pt x="2270" y="2718"/>
                        </a:lnTo>
                        <a:lnTo>
                          <a:pt x="2264" y="2708"/>
                        </a:lnTo>
                        <a:lnTo>
                          <a:pt x="2250" y="2690"/>
                        </a:lnTo>
                        <a:lnTo>
                          <a:pt x="2236" y="2672"/>
                        </a:lnTo>
                        <a:lnTo>
                          <a:pt x="2230" y="2662"/>
                        </a:lnTo>
                        <a:lnTo>
                          <a:pt x="2224" y="2648"/>
                        </a:lnTo>
                        <a:lnTo>
                          <a:pt x="2224" y="2648"/>
                        </a:lnTo>
                        <a:lnTo>
                          <a:pt x="2220" y="2636"/>
                        </a:lnTo>
                        <a:lnTo>
                          <a:pt x="2214" y="2624"/>
                        </a:lnTo>
                        <a:lnTo>
                          <a:pt x="2198" y="2604"/>
                        </a:lnTo>
                        <a:lnTo>
                          <a:pt x="2182" y="2584"/>
                        </a:lnTo>
                        <a:lnTo>
                          <a:pt x="2168" y="2564"/>
                        </a:lnTo>
                        <a:lnTo>
                          <a:pt x="2168" y="2564"/>
                        </a:lnTo>
                        <a:lnTo>
                          <a:pt x="2160" y="2550"/>
                        </a:lnTo>
                        <a:lnTo>
                          <a:pt x="2154" y="2534"/>
                        </a:lnTo>
                        <a:lnTo>
                          <a:pt x="2148" y="2516"/>
                        </a:lnTo>
                        <a:lnTo>
                          <a:pt x="2144" y="2498"/>
                        </a:lnTo>
                        <a:lnTo>
                          <a:pt x="2142" y="2482"/>
                        </a:lnTo>
                        <a:lnTo>
                          <a:pt x="2142" y="2470"/>
                        </a:lnTo>
                        <a:lnTo>
                          <a:pt x="2144" y="2466"/>
                        </a:lnTo>
                        <a:lnTo>
                          <a:pt x="2146" y="2464"/>
                        </a:lnTo>
                        <a:lnTo>
                          <a:pt x="2148" y="2464"/>
                        </a:lnTo>
                        <a:lnTo>
                          <a:pt x="2154" y="2466"/>
                        </a:lnTo>
                        <a:lnTo>
                          <a:pt x="2154" y="2466"/>
                        </a:lnTo>
                        <a:lnTo>
                          <a:pt x="2168" y="2474"/>
                        </a:lnTo>
                        <a:lnTo>
                          <a:pt x="2172" y="2476"/>
                        </a:lnTo>
                        <a:lnTo>
                          <a:pt x="2178" y="2474"/>
                        </a:lnTo>
                        <a:lnTo>
                          <a:pt x="2186" y="2478"/>
                        </a:lnTo>
                        <a:lnTo>
                          <a:pt x="2186" y="2478"/>
                        </a:lnTo>
                        <a:lnTo>
                          <a:pt x="2198" y="2484"/>
                        </a:lnTo>
                        <a:lnTo>
                          <a:pt x="2202" y="2488"/>
                        </a:lnTo>
                        <a:lnTo>
                          <a:pt x="2206" y="2492"/>
                        </a:lnTo>
                        <a:lnTo>
                          <a:pt x="2214" y="2508"/>
                        </a:lnTo>
                        <a:lnTo>
                          <a:pt x="2222" y="2536"/>
                        </a:lnTo>
                        <a:lnTo>
                          <a:pt x="2222" y="2536"/>
                        </a:lnTo>
                        <a:lnTo>
                          <a:pt x="2228" y="2556"/>
                        </a:lnTo>
                        <a:lnTo>
                          <a:pt x="2236" y="2574"/>
                        </a:lnTo>
                        <a:lnTo>
                          <a:pt x="2244" y="2594"/>
                        </a:lnTo>
                        <a:lnTo>
                          <a:pt x="2254" y="2612"/>
                        </a:lnTo>
                        <a:lnTo>
                          <a:pt x="2264" y="2628"/>
                        </a:lnTo>
                        <a:lnTo>
                          <a:pt x="2276" y="2642"/>
                        </a:lnTo>
                        <a:lnTo>
                          <a:pt x="2288" y="2654"/>
                        </a:lnTo>
                        <a:lnTo>
                          <a:pt x="2300" y="2664"/>
                        </a:lnTo>
                        <a:lnTo>
                          <a:pt x="2300" y="2664"/>
                        </a:lnTo>
                        <a:lnTo>
                          <a:pt x="2308" y="2672"/>
                        </a:lnTo>
                        <a:lnTo>
                          <a:pt x="2314" y="2678"/>
                        </a:lnTo>
                        <a:lnTo>
                          <a:pt x="2320" y="2694"/>
                        </a:lnTo>
                        <a:lnTo>
                          <a:pt x="2324" y="2700"/>
                        </a:lnTo>
                        <a:lnTo>
                          <a:pt x="2328" y="2706"/>
                        </a:lnTo>
                        <a:lnTo>
                          <a:pt x="2338" y="2714"/>
                        </a:lnTo>
                        <a:lnTo>
                          <a:pt x="2352" y="2722"/>
                        </a:lnTo>
                        <a:lnTo>
                          <a:pt x="2352" y="2722"/>
                        </a:lnTo>
                        <a:lnTo>
                          <a:pt x="2360" y="2724"/>
                        </a:lnTo>
                        <a:lnTo>
                          <a:pt x="2364" y="2728"/>
                        </a:lnTo>
                        <a:lnTo>
                          <a:pt x="2368" y="2732"/>
                        </a:lnTo>
                        <a:lnTo>
                          <a:pt x="2370" y="2736"/>
                        </a:lnTo>
                        <a:lnTo>
                          <a:pt x="2368" y="2746"/>
                        </a:lnTo>
                        <a:lnTo>
                          <a:pt x="2366" y="2754"/>
                        </a:lnTo>
                        <a:lnTo>
                          <a:pt x="2364" y="2764"/>
                        </a:lnTo>
                        <a:lnTo>
                          <a:pt x="2362" y="2772"/>
                        </a:lnTo>
                        <a:lnTo>
                          <a:pt x="2364" y="2776"/>
                        </a:lnTo>
                        <a:lnTo>
                          <a:pt x="2368" y="2782"/>
                        </a:lnTo>
                        <a:lnTo>
                          <a:pt x="2372" y="2786"/>
                        </a:lnTo>
                        <a:lnTo>
                          <a:pt x="2380" y="2790"/>
                        </a:lnTo>
                        <a:lnTo>
                          <a:pt x="2380" y="2790"/>
                        </a:lnTo>
                        <a:lnTo>
                          <a:pt x="2394" y="2798"/>
                        </a:lnTo>
                        <a:lnTo>
                          <a:pt x="2402" y="2804"/>
                        </a:lnTo>
                        <a:lnTo>
                          <a:pt x="2408" y="2810"/>
                        </a:lnTo>
                        <a:lnTo>
                          <a:pt x="2410" y="2816"/>
                        </a:lnTo>
                        <a:lnTo>
                          <a:pt x="2422" y="2834"/>
                        </a:lnTo>
                        <a:lnTo>
                          <a:pt x="2432" y="2848"/>
                        </a:lnTo>
                        <a:lnTo>
                          <a:pt x="2450" y="2864"/>
                        </a:lnTo>
                        <a:lnTo>
                          <a:pt x="2450" y="2864"/>
                        </a:lnTo>
                        <a:lnTo>
                          <a:pt x="2476" y="2890"/>
                        </a:lnTo>
                        <a:lnTo>
                          <a:pt x="2494" y="2912"/>
                        </a:lnTo>
                        <a:lnTo>
                          <a:pt x="2504" y="2928"/>
                        </a:lnTo>
                        <a:lnTo>
                          <a:pt x="2512" y="2942"/>
                        </a:lnTo>
                        <a:lnTo>
                          <a:pt x="2516" y="2954"/>
                        </a:lnTo>
                        <a:lnTo>
                          <a:pt x="2518" y="2964"/>
                        </a:lnTo>
                        <a:lnTo>
                          <a:pt x="2522" y="2976"/>
                        </a:lnTo>
                        <a:lnTo>
                          <a:pt x="2526" y="2988"/>
                        </a:lnTo>
                        <a:lnTo>
                          <a:pt x="2526" y="2988"/>
                        </a:lnTo>
                        <a:lnTo>
                          <a:pt x="2530" y="2998"/>
                        </a:lnTo>
                        <a:lnTo>
                          <a:pt x="2530" y="3010"/>
                        </a:lnTo>
                        <a:lnTo>
                          <a:pt x="2528" y="3020"/>
                        </a:lnTo>
                        <a:lnTo>
                          <a:pt x="2524" y="3028"/>
                        </a:lnTo>
                        <a:lnTo>
                          <a:pt x="2518" y="3038"/>
                        </a:lnTo>
                        <a:lnTo>
                          <a:pt x="2516" y="3050"/>
                        </a:lnTo>
                        <a:lnTo>
                          <a:pt x="2516" y="3060"/>
                        </a:lnTo>
                        <a:lnTo>
                          <a:pt x="2520" y="3072"/>
                        </a:lnTo>
                        <a:lnTo>
                          <a:pt x="2520" y="3072"/>
                        </a:lnTo>
                        <a:lnTo>
                          <a:pt x="2528" y="3084"/>
                        </a:lnTo>
                        <a:lnTo>
                          <a:pt x="2534" y="3094"/>
                        </a:lnTo>
                        <a:lnTo>
                          <a:pt x="2550" y="3106"/>
                        </a:lnTo>
                        <a:lnTo>
                          <a:pt x="2570" y="3120"/>
                        </a:lnTo>
                        <a:lnTo>
                          <a:pt x="2580" y="3130"/>
                        </a:lnTo>
                        <a:lnTo>
                          <a:pt x="2594" y="3140"/>
                        </a:lnTo>
                        <a:lnTo>
                          <a:pt x="2594" y="3140"/>
                        </a:lnTo>
                        <a:lnTo>
                          <a:pt x="2606" y="3152"/>
                        </a:lnTo>
                        <a:lnTo>
                          <a:pt x="2618" y="3158"/>
                        </a:lnTo>
                        <a:lnTo>
                          <a:pt x="2628" y="3162"/>
                        </a:lnTo>
                        <a:lnTo>
                          <a:pt x="2638" y="3164"/>
                        </a:lnTo>
                        <a:lnTo>
                          <a:pt x="2648" y="3168"/>
                        </a:lnTo>
                        <a:lnTo>
                          <a:pt x="2658" y="3170"/>
                        </a:lnTo>
                        <a:lnTo>
                          <a:pt x="2668" y="3176"/>
                        </a:lnTo>
                        <a:lnTo>
                          <a:pt x="2680" y="3186"/>
                        </a:lnTo>
                        <a:lnTo>
                          <a:pt x="2680" y="3186"/>
                        </a:lnTo>
                        <a:lnTo>
                          <a:pt x="2694" y="3198"/>
                        </a:lnTo>
                        <a:lnTo>
                          <a:pt x="2714" y="3210"/>
                        </a:lnTo>
                        <a:lnTo>
                          <a:pt x="2736" y="3224"/>
                        </a:lnTo>
                        <a:lnTo>
                          <a:pt x="2762" y="3236"/>
                        </a:lnTo>
                        <a:lnTo>
                          <a:pt x="2814" y="3260"/>
                        </a:lnTo>
                        <a:lnTo>
                          <a:pt x="2862" y="3278"/>
                        </a:lnTo>
                        <a:lnTo>
                          <a:pt x="2862" y="3278"/>
                        </a:lnTo>
                        <a:lnTo>
                          <a:pt x="2880" y="3282"/>
                        </a:lnTo>
                        <a:lnTo>
                          <a:pt x="2894" y="3282"/>
                        </a:lnTo>
                        <a:lnTo>
                          <a:pt x="2906" y="3278"/>
                        </a:lnTo>
                        <a:lnTo>
                          <a:pt x="2916" y="3272"/>
                        </a:lnTo>
                        <a:lnTo>
                          <a:pt x="2926" y="3266"/>
                        </a:lnTo>
                        <a:lnTo>
                          <a:pt x="2938" y="3260"/>
                        </a:lnTo>
                        <a:lnTo>
                          <a:pt x="2950" y="3258"/>
                        </a:lnTo>
                        <a:lnTo>
                          <a:pt x="2968" y="3260"/>
                        </a:lnTo>
                        <a:lnTo>
                          <a:pt x="2968" y="3260"/>
                        </a:lnTo>
                        <a:lnTo>
                          <a:pt x="2984" y="3264"/>
                        </a:lnTo>
                        <a:lnTo>
                          <a:pt x="2996" y="3272"/>
                        </a:lnTo>
                        <a:lnTo>
                          <a:pt x="3006" y="3280"/>
                        </a:lnTo>
                        <a:lnTo>
                          <a:pt x="3014" y="3290"/>
                        </a:lnTo>
                        <a:lnTo>
                          <a:pt x="3032" y="3314"/>
                        </a:lnTo>
                        <a:lnTo>
                          <a:pt x="3042" y="3326"/>
                        </a:lnTo>
                        <a:lnTo>
                          <a:pt x="3054" y="3338"/>
                        </a:lnTo>
                        <a:lnTo>
                          <a:pt x="3054" y="3338"/>
                        </a:lnTo>
                        <a:lnTo>
                          <a:pt x="3072" y="3356"/>
                        </a:lnTo>
                        <a:lnTo>
                          <a:pt x="3086" y="3364"/>
                        </a:lnTo>
                        <a:lnTo>
                          <a:pt x="3094" y="3368"/>
                        </a:lnTo>
                        <a:lnTo>
                          <a:pt x="3104" y="3368"/>
                        </a:lnTo>
                        <a:lnTo>
                          <a:pt x="3104" y="3368"/>
                        </a:lnTo>
                        <a:lnTo>
                          <a:pt x="3116" y="3368"/>
                        </a:lnTo>
                        <a:lnTo>
                          <a:pt x="3124" y="3370"/>
                        </a:lnTo>
                        <a:lnTo>
                          <a:pt x="3140" y="3376"/>
                        </a:lnTo>
                        <a:lnTo>
                          <a:pt x="3140" y="3376"/>
                        </a:lnTo>
                        <a:lnTo>
                          <a:pt x="3146" y="3382"/>
                        </a:lnTo>
                        <a:lnTo>
                          <a:pt x="3150" y="3386"/>
                        </a:lnTo>
                        <a:lnTo>
                          <a:pt x="3152" y="3388"/>
                        </a:lnTo>
                        <a:lnTo>
                          <a:pt x="3160" y="3390"/>
                        </a:lnTo>
                        <a:lnTo>
                          <a:pt x="3160" y="3390"/>
                        </a:lnTo>
                        <a:lnTo>
                          <a:pt x="3174" y="3392"/>
                        </a:lnTo>
                        <a:lnTo>
                          <a:pt x="3186" y="3398"/>
                        </a:lnTo>
                        <a:lnTo>
                          <a:pt x="3196" y="3404"/>
                        </a:lnTo>
                        <a:lnTo>
                          <a:pt x="3204" y="3406"/>
                        </a:lnTo>
                        <a:lnTo>
                          <a:pt x="3204" y="3406"/>
                        </a:lnTo>
                        <a:lnTo>
                          <a:pt x="3204" y="3406"/>
                        </a:lnTo>
                        <a:lnTo>
                          <a:pt x="3204" y="3404"/>
                        </a:lnTo>
                        <a:lnTo>
                          <a:pt x="3202" y="3402"/>
                        </a:lnTo>
                        <a:lnTo>
                          <a:pt x="3202" y="3400"/>
                        </a:lnTo>
                        <a:lnTo>
                          <a:pt x="3210" y="3404"/>
                        </a:lnTo>
                        <a:lnTo>
                          <a:pt x="3210" y="3404"/>
                        </a:lnTo>
                        <a:lnTo>
                          <a:pt x="3212" y="3406"/>
                        </a:lnTo>
                        <a:lnTo>
                          <a:pt x="3218" y="3406"/>
                        </a:lnTo>
                        <a:lnTo>
                          <a:pt x="3226" y="3406"/>
                        </a:lnTo>
                        <a:lnTo>
                          <a:pt x="3234" y="3404"/>
                        </a:lnTo>
                        <a:lnTo>
                          <a:pt x="3236" y="3402"/>
                        </a:lnTo>
                        <a:lnTo>
                          <a:pt x="3234" y="3400"/>
                        </a:lnTo>
                        <a:lnTo>
                          <a:pt x="3234" y="3400"/>
                        </a:lnTo>
                        <a:lnTo>
                          <a:pt x="3230" y="3398"/>
                        </a:lnTo>
                        <a:lnTo>
                          <a:pt x="3230" y="3396"/>
                        </a:lnTo>
                        <a:lnTo>
                          <a:pt x="3230" y="3394"/>
                        </a:lnTo>
                        <a:lnTo>
                          <a:pt x="3232" y="3394"/>
                        </a:lnTo>
                        <a:lnTo>
                          <a:pt x="3232" y="3394"/>
                        </a:lnTo>
                        <a:lnTo>
                          <a:pt x="3236" y="3396"/>
                        </a:lnTo>
                        <a:lnTo>
                          <a:pt x="3238" y="3396"/>
                        </a:lnTo>
                        <a:lnTo>
                          <a:pt x="3240" y="3392"/>
                        </a:lnTo>
                        <a:lnTo>
                          <a:pt x="3240" y="3392"/>
                        </a:lnTo>
                        <a:lnTo>
                          <a:pt x="3242" y="3398"/>
                        </a:lnTo>
                        <a:lnTo>
                          <a:pt x="3242" y="3398"/>
                        </a:lnTo>
                        <a:lnTo>
                          <a:pt x="3248" y="3406"/>
                        </a:lnTo>
                        <a:lnTo>
                          <a:pt x="3252" y="3410"/>
                        </a:lnTo>
                        <a:lnTo>
                          <a:pt x="3254" y="3412"/>
                        </a:lnTo>
                        <a:lnTo>
                          <a:pt x="3252" y="3416"/>
                        </a:lnTo>
                        <a:lnTo>
                          <a:pt x="3252" y="3416"/>
                        </a:lnTo>
                        <a:lnTo>
                          <a:pt x="3250" y="3418"/>
                        </a:lnTo>
                        <a:lnTo>
                          <a:pt x="3250" y="3418"/>
                        </a:lnTo>
                        <a:lnTo>
                          <a:pt x="3246" y="3416"/>
                        </a:lnTo>
                        <a:lnTo>
                          <a:pt x="3244" y="3412"/>
                        </a:lnTo>
                        <a:lnTo>
                          <a:pt x="3242" y="3412"/>
                        </a:lnTo>
                        <a:lnTo>
                          <a:pt x="3240" y="3414"/>
                        </a:lnTo>
                        <a:lnTo>
                          <a:pt x="3240" y="3414"/>
                        </a:lnTo>
                        <a:lnTo>
                          <a:pt x="3238" y="3418"/>
                        </a:lnTo>
                        <a:lnTo>
                          <a:pt x="3242" y="3422"/>
                        </a:lnTo>
                        <a:lnTo>
                          <a:pt x="3246" y="3426"/>
                        </a:lnTo>
                        <a:lnTo>
                          <a:pt x="3252" y="3434"/>
                        </a:lnTo>
                        <a:lnTo>
                          <a:pt x="3252" y="3434"/>
                        </a:lnTo>
                        <a:lnTo>
                          <a:pt x="3258" y="3442"/>
                        </a:lnTo>
                        <a:lnTo>
                          <a:pt x="3266" y="3448"/>
                        </a:lnTo>
                        <a:lnTo>
                          <a:pt x="3274" y="3454"/>
                        </a:lnTo>
                        <a:lnTo>
                          <a:pt x="3278" y="3460"/>
                        </a:lnTo>
                        <a:lnTo>
                          <a:pt x="3282" y="3466"/>
                        </a:lnTo>
                        <a:lnTo>
                          <a:pt x="3282" y="3466"/>
                        </a:lnTo>
                        <a:lnTo>
                          <a:pt x="3288" y="3478"/>
                        </a:lnTo>
                        <a:lnTo>
                          <a:pt x="3294" y="3486"/>
                        </a:lnTo>
                        <a:lnTo>
                          <a:pt x="3304" y="3494"/>
                        </a:lnTo>
                        <a:lnTo>
                          <a:pt x="3316" y="3506"/>
                        </a:lnTo>
                        <a:lnTo>
                          <a:pt x="3316" y="3506"/>
                        </a:lnTo>
                        <a:lnTo>
                          <a:pt x="3318" y="3510"/>
                        </a:lnTo>
                        <a:lnTo>
                          <a:pt x="3318" y="3512"/>
                        </a:lnTo>
                        <a:lnTo>
                          <a:pt x="3314" y="3514"/>
                        </a:lnTo>
                        <a:lnTo>
                          <a:pt x="3310" y="3518"/>
                        </a:lnTo>
                        <a:lnTo>
                          <a:pt x="3310" y="3518"/>
                        </a:lnTo>
                        <a:lnTo>
                          <a:pt x="3310" y="3520"/>
                        </a:lnTo>
                        <a:lnTo>
                          <a:pt x="3310" y="3520"/>
                        </a:lnTo>
                        <a:lnTo>
                          <a:pt x="3316" y="3522"/>
                        </a:lnTo>
                        <a:lnTo>
                          <a:pt x="3318" y="3522"/>
                        </a:lnTo>
                        <a:lnTo>
                          <a:pt x="3318" y="3522"/>
                        </a:lnTo>
                        <a:lnTo>
                          <a:pt x="3318" y="3528"/>
                        </a:lnTo>
                        <a:lnTo>
                          <a:pt x="3318" y="3528"/>
                        </a:lnTo>
                        <a:lnTo>
                          <a:pt x="3318" y="3534"/>
                        </a:lnTo>
                        <a:lnTo>
                          <a:pt x="3316" y="3534"/>
                        </a:lnTo>
                        <a:lnTo>
                          <a:pt x="3314" y="3536"/>
                        </a:lnTo>
                        <a:lnTo>
                          <a:pt x="3312" y="3540"/>
                        </a:lnTo>
                        <a:lnTo>
                          <a:pt x="3312" y="3540"/>
                        </a:lnTo>
                        <a:lnTo>
                          <a:pt x="3312" y="3550"/>
                        </a:lnTo>
                        <a:lnTo>
                          <a:pt x="3314" y="3558"/>
                        </a:lnTo>
                        <a:lnTo>
                          <a:pt x="3318" y="3564"/>
                        </a:lnTo>
                        <a:lnTo>
                          <a:pt x="3322" y="3566"/>
                        </a:lnTo>
                        <a:lnTo>
                          <a:pt x="3322" y="3566"/>
                        </a:lnTo>
                        <a:lnTo>
                          <a:pt x="3330" y="3570"/>
                        </a:lnTo>
                        <a:lnTo>
                          <a:pt x="3334" y="3574"/>
                        </a:lnTo>
                        <a:lnTo>
                          <a:pt x="3338" y="3578"/>
                        </a:lnTo>
                        <a:lnTo>
                          <a:pt x="3338" y="3578"/>
                        </a:lnTo>
                        <a:lnTo>
                          <a:pt x="3340" y="3582"/>
                        </a:lnTo>
                        <a:lnTo>
                          <a:pt x="3342" y="3580"/>
                        </a:lnTo>
                        <a:lnTo>
                          <a:pt x="3348" y="3574"/>
                        </a:lnTo>
                        <a:lnTo>
                          <a:pt x="3348" y="3574"/>
                        </a:lnTo>
                        <a:lnTo>
                          <a:pt x="3350" y="3572"/>
                        </a:lnTo>
                        <a:lnTo>
                          <a:pt x="3350" y="3570"/>
                        </a:lnTo>
                        <a:lnTo>
                          <a:pt x="3348" y="3566"/>
                        </a:lnTo>
                        <a:lnTo>
                          <a:pt x="3338" y="3558"/>
                        </a:lnTo>
                        <a:lnTo>
                          <a:pt x="3338" y="3558"/>
                        </a:lnTo>
                        <a:lnTo>
                          <a:pt x="3336" y="3554"/>
                        </a:lnTo>
                        <a:lnTo>
                          <a:pt x="3336" y="3552"/>
                        </a:lnTo>
                        <a:lnTo>
                          <a:pt x="3336" y="3550"/>
                        </a:lnTo>
                        <a:lnTo>
                          <a:pt x="3338" y="3552"/>
                        </a:lnTo>
                        <a:lnTo>
                          <a:pt x="3338" y="3552"/>
                        </a:lnTo>
                        <a:lnTo>
                          <a:pt x="3342" y="3554"/>
                        </a:lnTo>
                        <a:lnTo>
                          <a:pt x="3348" y="3558"/>
                        </a:lnTo>
                        <a:lnTo>
                          <a:pt x="3354" y="3562"/>
                        </a:lnTo>
                        <a:lnTo>
                          <a:pt x="3358" y="3566"/>
                        </a:lnTo>
                        <a:lnTo>
                          <a:pt x="3358" y="3566"/>
                        </a:lnTo>
                        <a:lnTo>
                          <a:pt x="3358" y="3576"/>
                        </a:lnTo>
                        <a:lnTo>
                          <a:pt x="3360" y="3578"/>
                        </a:lnTo>
                        <a:lnTo>
                          <a:pt x="3362" y="3582"/>
                        </a:lnTo>
                        <a:lnTo>
                          <a:pt x="3362" y="3582"/>
                        </a:lnTo>
                        <a:lnTo>
                          <a:pt x="3366" y="3584"/>
                        </a:lnTo>
                        <a:lnTo>
                          <a:pt x="3368" y="3586"/>
                        </a:lnTo>
                        <a:lnTo>
                          <a:pt x="3374" y="3586"/>
                        </a:lnTo>
                        <a:lnTo>
                          <a:pt x="3384" y="3592"/>
                        </a:lnTo>
                        <a:lnTo>
                          <a:pt x="3384" y="3592"/>
                        </a:lnTo>
                        <a:lnTo>
                          <a:pt x="3398" y="3604"/>
                        </a:lnTo>
                        <a:lnTo>
                          <a:pt x="3402" y="3608"/>
                        </a:lnTo>
                        <a:lnTo>
                          <a:pt x="3402" y="3612"/>
                        </a:lnTo>
                        <a:lnTo>
                          <a:pt x="3402" y="3612"/>
                        </a:lnTo>
                        <a:lnTo>
                          <a:pt x="3402" y="3620"/>
                        </a:lnTo>
                        <a:lnTo>
                          <a:pt x="3400" y="3624"/>
                        </a:lnTo>
                        <a:lnTo>
                          <a:pt x="3398" y="3626"/>
                        </a:lnTo>
                        <a:lnTo>
                          <a:pt x="3398" y="3626"/>
                        </a:lnTo>
                        <a:lnTo>
                          <a:pt x="3398" y="3628"/>
                        </a:lnTo>
                        <a:lnTo>
                          <a:pt x="3396" y="3630"/>
                        </a:lnTo>
                        <a:lnTo>
                          <a:pt x="3400" y="3634"/>
                        </a:lnTo>
                        <a:lnTo>
                          <a:pt x="3404" y="3636"/>
                        </a:lnTo>
                        <a:lnTo>
                          <a:pt x="3408" y="3638"/>
                        </a:lnTo>
                        <a:lnTo>
                          <a:pt x="3408" y="3638"/>
                        </a:lnTo>
                        <a:lnTo>
                          <a:pt x="3410" y="3640"/>
                        </a:lnTo>
                        <a:lnTo>
                          <a:pt x="3414" y="3640"/>
                        </a:lnTo>
                        <a:lnTo>
                          <a:pt x="3414" y="3642"/>
                        </a:lnTo>
                        <a:lnTo>
                          <a:pt x="3416" y="3640"/>
                        </a:lnTo>
                        <a:lnTo>
                          <a:pt x="3416" y="3640"/>
                        </a:lnTo>
                        <a:lnTo>
                          <a:pt x="3416" y="3636"/>
                        </a:lnTo>
                        <a:lnTo>
                          <a:pt x="3414" y="3634"/>
                        </a:lnTo>
                        <a:lnTo>
                          <a:pt x="3410" y="3630"/>
                        </a:lnTo>
                        <a:lnTo>
                          <a:pt x="3406" y="3626"/>
                        </a:lnTo>
                        <a:lnTo>
                          <a:pt x="3408" y="3626"/>
                        </a:lnTo>
                        <a:lnTo>
                          <a:pt x="3410" y="3624"/>
                        </a:lnTo>
                        <a:lnTo>
                          <a:pt x="3410" y="3624"/>
                        </a:lnTo>
                        <a:lnTo>
                          <a:pt x="3414" y="3622"/>
                        </a:lnTo>
                        <a:lnTo>
                          <a:pt x="3414" y="3624"/>
                        </a:lnTo>
                        <a:lnTo>
                          <a:pt x="3416" y="3628"/>
                        </a:lnTo>
                        <a:lnTo>
                          <a:pt x="3418" y="3630"/>
                        </a:lnTo>
                        <a:lnTo>
                          <a:pt x="3418" y="3630"/>
                        </a:lnTo>
                        <a:lnTo>
                          <a:pt x="3420" y="3630"/>
                        </a:lnTo>
                        <a:lnTo>
                          <a:pt x="3422" y="3632"/>
                        </a:lnTo>
                        <a:lnTo>
                          <a:pt x="3422" y="3636"/>
                        </a:lnTo>
                        <a:lnTo>
                          <a:pt x="3422" y="3642"/>
                        </a:lnTo>
                        <a:lnTo>
                          <a:pt x="3422" y="3646"/>
                        </a:lnTo>
                        <a:lnTo>
                          <a:pt x="3422" y="3646"/>
                        </a:lnTo>
                        <a:lnTo>
                          <a:pt x="3428" y="3654"/>
                        </a:lnTo>
                        <a:lnTo>
                          <a:pt x="3430" y="3656"/>
                        </a:lnTo>
                        <a:lnTo>
                          <a:pt x="3432" y="3656"/>
                        </a:lnTo>
                        <a:lnTo>
                          <a:pt x="3432" y="3656"/>
                        </a:lnTo>
                        <a:lnTo>
                          <a:pt x="3434" y="3648"/>
                        </a:lnTo>
                        <a:lnTo>
                          <a:pt x="3436" y="3646"/>
                        </a:lnTo>
                        <a:lnTo>
                          <a:pt x="3440" y="3644"/>
                        </a:lnTo>
                        <a:lnTo>
                          <a:pt x="3440" y="3644"/>
                        </a:lnTo>
                        <a:lnTo>
                          <a:pt x="3452" y="3646"/>
                        </a:lnTo>
                        <a:lnTo>
                          <a:pt x="3464" y="3650"/>
                        </a:lnTo>
                        <a:lnTo>
                          <a:pt x="3472" y="3652"/>
                        </a:lnTo>
                        <a:lnTo>
                          <a:pt x="3476" y="3654"/>
                        </a:lnTo>
                        <a:lnTo>
                          <a:pt x="3476" y="3654"/>
                        </a:lnTo>
                        <a:lnTo>
                          <a:pt x="3478" y="3652"/>
                        </a:lnTo>
                        <a:lnTo>
                          <a:pt x="3480" y="3654"/>
                        </a:lnTo>
                        <a:lnTo>
                          <a:pt x="3482" y="3662"/>
                        </a:lnTo>
                        <a:lnTo>
                          <a:pt x="3482" y="3662"/>
                        </a:lnTo>
                        <a:lnTo>
                          <a:pt x="3484" y="3666"/>
                        </a:lnTo>
                        <a:lnTo>
                          <a:pt x="3484" y="3670"/>
                        </a:lnTo>
                        <a:lnTo>
                          <a:pt x="3486" y="3672"/>
                        </a:lnTo>
                        <a:lnTo>
                          <a:pt x="3490" y="3676"/>
                        </a:lnTo>
                        <a:lnTo>
                          <a:pt x="3490" y="3676"/>
                        </a:lnTo>
                        <a:lnTo>
                          <a:pt x="3496" y="3678"/>
                        </a:lnTo>
                        <a:lnTo>
                          <a:pt x="3498" y="3678"/>
                        </a:lnTo>
                        <a:lnTo>
                          <a:pt x="3498" y="3674"/>
                        </a:lnTo>
                        <a:lnTo>
                          <a:pt x="3498" y="3674"/>
                        </a:lnTo>
                        <a:lnTo>
                          <a:pt x="3500" y="3668"/>
                        </a:lnTo>
                        <a:lnTo>
                          <a:pt x="3502" y="3666"/>
                        </a:lnTo>
                        <a:lnTo>
                          <a:pt x="3504" y="3666"/>
                        </a:lnTo>
                        <a:lnTo>
                          <a:pt x="3504" y="3668"/>
                        </a:lnTo>
                        <a:lnTo>
                          <a:pt x="3504" y="3668"/>
                        </a:lnTo>
                        <a:lnTo>
                          <a:pt x="3504" y="3672"/>
                        </a:lnTo>
                        <a:lnTo>
                          <a:pt x="3508" y="3680"/>
                        </a:lnTo>
                        <a:lnTo>
                          <a:pt x="3510" y="3686"/>
                        </a:lnTo>
                        <a:lnTo>
                          <a:pt x="3510" y="3694"/>
                        </a:lnTo>
                        <a:lnTo>
                          <a:pt x="3510" y="3694"/>
                        </a:lnTo>
                        <a:lnTo>
                          <a:pt x="3510" y="3696"/>
                        </a:lnTo>
                        <a:lnTo>
                          <a:pt x="3510" y="3698"/>
                        </a:lnTo>
                        <a:lnTo>
                          <a:pt x="3516" y="3698"/>
                        </a:lnTo>
                        <a:lnTo>
                          <a:pt x="3528" y="3696"/>
                        </a:lnTo>
                        <a:lnTo>
                          <a:pt x="3528" y="3696"/>
                        </a:lnTo>
                        <a:lnTo>
                          <a:pt x="3530" y="3696"/>
                        </a:lnTo>
                        <a:lnTo>
                          <a:pt x="3532" y="3696"/>
                        </a:lnTo>
                        <a:lnTo>
                          <a:pt x="3532" y="3692"/>
                        </a:lnTo>
                        <a:lnTo>
                          <a:pt x="3532" y="3690"/>
                        </a:lnTo>
                        <a:lnTo>
                          <a:pt x="3538" y="3688"/>
                        </a:lnTo>
                        <a:lnTo>
                          <a:pt x="3538" y="3688"/>
                        </a:lnTo>
                        <a:lnTo>
                          <a:pt x="3544" y="3688"/>
                        </a:lnTo>
                        <a:lnTo>
                          <a:pt x="3546" y="3686"/>
                        </a:lnTo>
                        <a:lnTo>
                          <a:pt x="3548" y="3684"/>
                        </a:lnTo>
                        <a:lnTo>
                          <a:pt x="3546" y="3680"/>
                        </a:lnTo>
                        <a:lnTo>
                          <a:pt x="3542" y="3672"/>
                        </a:lnTo>
                        <a:lnTo>
                          <a:pt x="3542" y="3672"/>
                        </a:lnTo>
                        <a:lnTo>
                          <a:pt x="3536" y="3664"/>
                        </a:lnTo>
                        <a:lnTo>
                          <a:pt x="3534" y="3660"/>
                        </a:lnTo>
                        <a:lnTo>
                          <a:pt x="3534" y="3658"/>
                        </a:lnTo>
                        <a:lnTo>
                          <a:pt x="3532" y="3658"/>
                        </a:lnTo>
                        <a:lnTo>
                          <a:pt x="3532" y="3658"/>
                        </a:lnTo>
                        <a:lnTo>
                          <a:pt x="3530" y="3658"/>
                        </a:lnTo>
                        <a:lnTo>
                          <a:pt x="3528" y="3656"/>
                        </a:lnTo>
                        <a:lnTo>
                          <a:pt x="3526" y="3652"/>
                        </a:lnTo>
                        <a:lnTo>
                          <a:pt x="3528" y="3648"/>
                        </a:lnTo>
                        <a:lnTo>
                          <a:pt x="3530" y="3646"/>
                        </a:lnTo>
                        <a:lnTo>
                          <a:pt x="3532" y="3646"/>
                        </a:lnTo>
                        <a:lnTo>
                          <a:pt x="3532" y="3646"/>
                        </a:lnTo>
                        <a:lnTo>
                          <a:pt x="3538" y="3644"/>
                        </a:lnTo>
                        <a:lnTo>
                          <a:pt x="3544" y="3642"/>
                        </a:lnTo>
                        <a:lnTo>
                          <a:pt x="3550" y="3636"/>
                        </a:lnTo>
                        <a:lnTo>
                          <a:pt x="3556" y="3628"/>
                        </a:lnTo>
                        <a:lnTo>
                          <a:pt x="3556" y="3628"/>
                        </a:lnTo>
                        <a:lnTo>
                          <a:pt x="3558" y="3624"/>
                        </a:lnTo>
                        <a:lnTo>
                          <a:pt x="3558" y="3622"/>
                        </a:lnTo>
                        <a:lnTo>
                          <a:pt x="3558" y="3618"/>
                        </a:lnTo>
                        <a:lnTo>
                          <a:pt x="3562" y="3616"/>
                        </a:lnTo>
                        <a:lnTo>
                          <a:pt x="3562" y="3616"/>
                        </a:lnTo>
                        <a:lnTo>
                          <a:pt x="3566" y="3614"/>
                        </a:lnTo>
                        <a:lnTo>
                          <a:pt x="3568" y="3612"/>
                        </a:lnTo>
                        <a:lnTo>
                          <a:pt x="3570" y="3610"/>
                        </a:lnTo>
                        <a:lnTo>
                          <a:pt x="3576" y="3610"/>
                        </a:lnTo>
                        <a:lnTo>
                          <a:pt x="3576" y="3610"/>
                        </a:lnTo>
                        <a:lnTo>
                          <a:pt x="3586" y="3612"/>
                        </a:lnTo>
                        <a:lnTo>
                          <a:pt x="3598" y="3620"/>
                        </a:lnTo>
                        <a:lnTo>
                          <a:pt x="3606" y="3626"/>
                        </a:lnTo>
                        <a:lnTo>
                          <a:pt x="3608" y="3630"/>
                        </a:lnTo>
                        <a:lnTo>
                          <a:pt x="3608" y="3632"/>
                        </a:lnTo>
                        <a:lnTo>
                          <a:pt x="3608" y="3632"/>
                        </a:lnTo>
                        <a:lnTo>
                          <a:pt x="3606" y="3636"/>
                        </a:lnTo>
                        <a:lnTo>
                          <a:pt x="3608" y="3638"/>
                        </a:lnTo>
                        <a:lnTo>
                          <a:pt x="3610" y="3640"/>
                        </a:lnTo>
                        <a:lnTo>
                          <a:pt x="3612" y="3640"/>
                        </a:lnTo>
                        <a:lnTo>
                          <a:pt x="3612" y="3640"/>
                        </a:lnTo>
                        <a:lnTo>
                          <a:pt x="3616" y="3638"/>
                        </a:lnTo>
                        <a:lnTo>
                          <a:pt x="3616" y="3638"/>
                        </a:lnTo>
                        <a:lnTo>
                          <a:pt x="3618" y="3638"/>
                        </a:lnTo>
                        <a:lnTo>
                          <a:pt x="3620" y="3638"/>
                        </a:lnTo>
                        <a:lnTo>
                          <a:pt x="3620" y="3638"/>
                        </a:lnTo>
                        <a:lnTo>
                          <a:pt x="3622" y="3638"/>
                        </a:lnTo>
                        <a:lnTo>
                          <a:pt x="3620" y="3640"/>
                        </a:lnTo>
                        <a:lnTo>
                          <a:pt x="3618" y="3648"/>
                        </a:lnTo>
                        <a:lnTo>
                          <a:pt x="3614" y="3658"/>
                        </a:lnTo>
                        <a:lnTo>
                          <a:pt x="3612" y="3662"/>
                        </a:lnTo>
                        <a:lnTo>
                          <a:pt x="3614" y="3666"/>
                        </a:lnTo>
                        <a:lnTo>
                          <a:pt x="3614" y="3666"/>
                        </a:lnTo>
                        <a:lnTo>
                          <a:pt x="3622" y="3682"/>
                        </a:lnTo>
                        <a:lnTo>
                          <a:pt x="3626" y="3690"/>
                        </a:lnTo>
                        <a:lnTo>
                          <a:pt x="3632" y="3696"/>
                        </a:lnTo>
                        <a:lnTo>
                          <a:pt x="3632" y="3696"/>
                        </a:lnTo>
                        <a:lnTo>
                          <a:pt x="3636" y="3700"/>
                        </a:lnTo>
                        <a:lnTo>
                          <a:pt x="3638" y="3702"/>
                        </a:lnTo>
                        <a:lnTo>
                          <a:pt x="3640" y="3704"/>
                        </a:lnTo>
                        <a:lnTo>
                          <a:pt x="3640" y="3708"/>
                        </a:lnTo>
                        <a:lnTo>
                          <a:pt x="3672" y="3654"/>
                        </a:lnTo>
                        <a:lnTo>
                          <a:pt x="3672" y="3654"/>
                        </a:lnTo>
                        <a:lnTo>
                          <a:pt x="3654" y="3626"/>
                        </a:lnTo>
                        <a:lnTo>
                          <a:pt x="3654" y="3626"/>
                        </a:lnTo>
                        <a:close/>
                        <a:moveTo>
                          <a:pt x="3590" y="1870"/>
                        </a:moveTo>
                        <a:lnTo>
                          <a:pt x="3590" y="1870"/>
                        </a:lnTo>
                        <a:lnTo>
                          <a:pt x="3570" y="1886"/>
                        </a:lnTo>
                        <a:lnTo>
                          <a:pt x="3558" y="1894"/>
                        </a:lnTo>
                        <a:lnTo>
                          <a:pt x="3546" y="1900"/>
                        </a:lnTo>
                        <a:lnTo>
                          <a:pt x="3546" y="1900"/>
                        </a:lnTo>
                        <a:lnTo>
                          <a:pt x="3536" y="1904"/>
                        </a:lnTo>
                        <a:lnTo>
                          <a:pt x="3524" y="1910"/>
                        </a:lnTo>
                        <a:lnTo>
                          <a:pt x="3508" y="1920"/>
                        </a:lnTo>
                        <a:lnTo>
                          <a:pt x="3488" y="1932"/>
                        </a:lnTo>
                        <a:lnTo>
                          <a:pt x="3488" y="1932"/>
                        </a:lnTo>
                        <a:lnTo>
                          <a:pt x="3466" y="1938"/>
                        </a:lnTo>
                        <a:lnTo>
                          <a:pt x="3448" y="1942"/>
                        </a:lnTo>
                        <a:lnTo>
                          <a:pt x="3434" y="1942"/>
                        </a:lnTo>
                        <a:lnTo>
                          <a:pt x="3426" y="1940"/>
                        </a:lnTo>
                        <a:lnTo>
                          <a:pt x="3426" y="1940"/>
                        </a:lnTo>
                        <a:lnTo>
                          <a:pt x="3424" y="1938"/>
                        </a:lnTo>
                        <a:lnTo>
                          <a:pt x="3424" y="1938"/>
                        </a:lnTo>
                        <a:lnTo>
                          <a:pt x="3430" y="1936"/>
                        </a:lnTo>
                        <a:lnTo>
                          <a:pt x="3434" y="1936"/>
                        </a:lnTo>
                        <a:lnTo>
                          <a:pt x="3434" y="1934"/>
                        </a:lnTo>
                        <a:lnTo>
                          <a:pt x="3434" y="1934"/>
                        </a:lnTo>
                        <a:lnTo>
                          <a:pt x="3434" y="1934"/>
                        </a:lnTo>
                        <a:lnTo>
                          <a:pt x="3426" y="1932"/>
                        </a:lnTo>
                        <a:lnTo>
                          <a:pt x="3418" y="1930"/>
                        </a:lnTo>
                        <a:lnTo>
                          <a:pt x="3410" y="1930"/>
                        </a:lnTo>
                        <a:lnTo>
                          <a:pt x="3408" y="1928"/>
                        </a:lnTo>
                        <a:lnTo>
                          <a:pt x="3406" y="1926"/>
                        </a:lnTo>
                        <a:lnTo>
                          <a:pt x="3406" y="1926"/>
                        </a:lnTo>
                        <a:lnTo>
                          <a:pt x="3408" y="1922"/>
                        </a:lnTo>
                        <a:lnTo>
                          <a:pt x="3410" y="1916"/>
                        </a:lnTo>
                        <a:lnTo>
                          <a:pt x="3414" y="1910"/>
                        </a:lnTo>
                        <a:lnTo>
                          <a:pt x="3416" y="1900"/>
                        </a:lnTo>
                        <a:lnTo>
                          <a:pt x="3416" y="1900"/>
                        </a:lnTo>
                        <a:lnTo>
                          <a:pt x="3420" y="1892"/>
                        </a:lnTo>
                        <a:lnTo>
                          <a:pt x="3422" y="1890"/>
                        </a:lnTo>
                        <a:lnTo>
                          <a:pt x="3426" y="1886"/>
                        </a:lnTo>
                        <a:lnTo>
                          <a:pt x="3430" y="1880"/>
                        </a:lnTo>
                        <a:lnTo>
                          <a:pt x="3430" y="1880"/>
                        </a:lnTo>
                        <a:lnTo>
                          <a:pt x="3434" y="1872"/>
                        </a:lnTo>
                        <a:lnTo>
                          <a:pt x="3436" y="1870"/>
                        </a:lnTo>
                        <a:lnTo>
                          <a:pt x="3438" y="1872"/>
                        </a:lnTo>
                        <a:lnTo>
                          <a:pt x="3440" y="1880"/>
                        </a:lnTo>
                        <a:lnTo>
                          <a:pt x="3440" y="1880"/>
                        </a:lnTo>
                        <a:lnTo>
                          <a:pt x="3446" y="1882"/>
                        </a:lnTo>
                        <a:lnTo>
                          <a:pt x="3448" y="1884"/>
                        </a:lnTo>
                        <a:lnTo>
                          <a:pt x="3450" y="1886"/>
                        </a:lnTo>
                        <a:lnTo>
                          <a:pt x="3448" y="1888"/>
                        </a:lnTo>
                        <a:lnTo>
                          <a:pt x="3442" y="1892"/>
                        </a:lnTo>
                        <a:lnTo>
                          <a:pt x="3432" y="1894"/>
                        </a:lnTo>
                        <a:lnTo>
                          <a:pt x="3432" y="1894"/>
                        </a:lnTo>
                        <a:lnTo>
                          <a:pt x="3426" y="1894"/>
                        </a:lnTo>
                        <a:lnTo>
                          <a:pt x="3424" y="1896"/>
                        </a:lnTo>
                        <a:lnTo>
                          <a:pt x="3422" y="1898"/>
                        </a:lnTo>
                        <a:lnTo>
                          <a:pt x="3422" y="1902"/>
                        </a:lnTo>
                        <a:lnTo>
                          <a:pt x="3422" y="1904"/>
                        </a:lnTo>
                        <a:lnTo>
                          <a:pt x="3424" y="1906"/>
                        </a:lnTo>
                        <a:lnTo>
                          <a:pt x="3428" y="1908"/>
                        </a:lnTo>
                        <a:lnTo>
                          <a:pt x="3432" y="1908"/>
                        </a:lnTo>
                        <a:lnTo>
                          <a:pt x="3432" y="1908"/>
                        </a:lnTo>
                        <a:lnTo>
                          <a:pt x="3438" y="1908"/>
                        </a:lnTo>
                        <a:lnTo>
                          <a:pt x="3442" y="1910"/>
                        </a:lnTo>
                        <a:lnTo>
                          <a:pt x="3444" y="1912"/>
                        </a:lnTo>
                        <a:lnTo>
                          <a:pt x="3446" y="1910"/>
                        </a:lnTo>
                        <a:lnTo>
                          <a:pt x="3446" y="1910"/>
                        </a:lnTo>
                        <a:lnTo>
                          <a:pt x="3450" y="1904"/>
                        </a:lnTo>
                        <a:lnTo>
                          <a:pt x="3456" y="1900"/>
                        </a:lnTo>
                        <a:lnTo>
                          <a:pt x="3466" y="1896"/>
                        </a:lnTo>
                        <a:lnTo>
                          <a:pt x="3466" y="1896"/>
                        </a:lnTo>
                        <a:lnTo>
                          <a:pt x="3470" y="1892"/>
                        </a:lnTo>
                        <a:lnTo>
                          <a:pt x="3474" y="1888"/>
                        </a:lnTo>
                        <a:lnTo>
                          <a:pt x="3482" y="1880"/>
                        </a:lnTo>
                        <a:lnTo>
                          <a:pt x="3488" y="1876"/>
                        </a:lnTo>
                        <a:lnTo>
                          <a:pt x="3496" y="1874"/>
                        </a:lnTo>
                        <a:lnTo>
                          <a:pt x="3504" y="1874"/>
                        </a:lnTo>
                        <a:lnTo>
                          <a:pt x="3518" y="1876"/>
                        </a:lnTo>
                        <a:lnTo>
                          <a:pt x="3518" y="1876"/>
                        </a:lnTo>
                        <a:lnTo>
                          <a:pt x="3534" y="1880"/>
                        </a:lnTo>
                        <a:lnTo>
                          <a:pt x="3538" y="1880"/>
                        </a:lnTo>
                        <a:lnTo>
                          <a:pt x="3536" y="1878"/>
                        </a:lnTo>
                        <a:lnTo>
                          <a:pt x="3532" y="1876"/>
                        </a:lnTo>
                        <a:lnTo>
                          <a:pt x="3532" y="1872"/>
                        </a:lnTo>
                        <a:lnTo>
                          <a:pt x="3532" y="1870"/>
                        </a:lnTo>
                        <a:lnTo>
                          <a:pt x="3532" y="1870"/>
                        </a:lnTo>
                        <a:lnTo>
                          <a:pt x="3536" y="1866"/>
                        </a:lnTo>
                        <a:lnTo>
                          <a:pt x="3540" y="1864"/>
                        </a:lnTo>
                        <a:lnTo>
                          <a:pt x="3560" y="1862"/>
                        </a:lnTo>
                        <a:lnTo>
                          <a:pt x="3560" y="1862"/>
                        </a:lnTo>
                        <a:lnTo>
                          <a:pt x="3580" y="1860"/>
                        </a:lnTo>
                        <a:lnTo>
                          <a:pt x="3584" y="1860"/>
                        </a:lnTo>
                        <a:lnTo>
                          <a:pt x="3586" y="1858"/>
                        </a:lnTo>
                        <a:lnTo>
                          <a:pt x="3586" y="1858"/>
                        </a:lnTo>
                        <a:lnTo>
                          <a:pt x="3586" y="1854"/>
                        </a:lnTo>
                        <a:lnTo>
                          <a:pt x="3586" y="1852"/>
                        </a:lnTo>
                        <a:lnTo>
                          <a:pt x="3588" y="1850"/>
                        </a:lnTo>
                        <a:lnTo>
                          <a:pt x="3588" y="1850"/>
                        </a:lnTo>
                        <a:lnTo>
                          <a:pt x="3590" y="1850"/>
                        </a:lnTo>
                        <a:lnTo>
                          <a:pt x="3592" y="1852"/>
                        </a:lnTo>
                        <a:lnTo>
                          <a:pt x="3594" y="1858"/>
                        </a:lnTo>
                        <a:lnTo>
                          <a:pt x="3592" y="1864"/>
                        </a:lnTo>
                        <a:lnTo>
                          <a:pt x="3590" y="1870"/>
                        </a:lnTo>
                        <a:lnTo>
                          <a:pt x="3590" y="1870"/>
                        </a:lnTo>
                        <a:close/>
                        <a:moveTo>
                          <a:pt x="3578" y="1812"/>
                        </a:moveTo>
                        <a:lnTo>
                          <a:pt x="3578" y="1812"/>
                        </a:lnTo>
                        <a:lnTo>
                          <a:pt x="3586" y="1806"/>
                        </a:lnTo>
                        <a:lnTo>
                          <a:pt x="3596" y="1804"/>
                        </a:lnTo>
                        <a:lnTo>
                          <a:pt x="3624" y="1798"/>
                        </a:lnTo>
                        <a:lnTo>
                          <a:pt x="3624" y="1798"/>
                        </a:lnTo>
                        <a:lnTo>
                          <a:pt x="3636" y="1796"/>
                        </a:lnTo>
                        <a:lnTo>
                          <a:pt x="3642" y="1794"/>
                        </a:lnTo>
                        <a:lnTo>
                          <a:pt x="3656" y="1802"/>
                        </a:lnTo>
                        <a:lnTo>
                          <a:pt x="3656" y="1802"/>
                        </a:lnTo>
                        <a:lnTo>
                          <a:pt x="3662" y="1804"/>
                        </a:lnTo>
                        <a:lnTo>
                          <a:pt x="3664" y="1804"/>
                        </a:lnTo>
                        <a:lnTo>
                          <a:pt x="3668" y="1804"/>
                        </a:lnTo>
                        <a:lnTo>
                          <a:pt x="3668" y="1802"/>
                        </a:lnTo>
                        <a:lnTo>
                          <a:pt x="3672" y="1794"/>
                        </a:lnTo>
                        <a:lnTo>
                          <a:pt x="3674" y="1790"/>
                        </a:lnTo>
                        <a:lnTo>
                          <a:pt x="3678" y="1788"/>
                        </a:lnTo>
                        <a:lnTo>
                          <a:pt x="3678" y="1788"/>
                        </a:lnTo>
                        <a:lnTo>
                          <a:pt x="3686" y="1782"/>
                        </a:lnTo>
                        <a:lnTo>
                          <a:pt x="3696" y="1778"/>
                        </a:lnTo>
                        <a:lnTo>
                          <a:pt x="3706" y="1776"/>
                        </a:lnTo>
                        <a:lnTo>
                          <a:pt x="3716" y="1770"/>
                        </a:lnTo>
                        <a:lnTo>
                          <a:pt x="3716" y="1770"/>
                        </a:lnTo>
                        <a:lnTo>
                          <a:pt x="3714" y="1774"/>
                        </a:lnTo>
                        <a:lnTo>
                          <a:pt x="3712" y="1778"/>
                        </a:lnTo>
                        <a:lnTo>
                          <a:pt x="3708" y="1782"/>
                        </a:lnTo>
                        <a:lnTo>
                          <a:pt x="3702" y="1784"/>
                        </a:lnTo>
                        <a:lnTo>
                          <a:pt x="3702" y="1784"/>
                        </a:lnTo>
                        <a:lnTo>
                          <a:pt x="3698" y="1786"/>
                        </a:lnTo>
                        <a:lnTo>
                          <a:pt x="3694" y="1790"/>
                        </a:lnTo>
                        <a:lnTo>
                          <a:pt x="3696" y="1794"/>
                        </a:lnTo>
                        <a:lnTo>
                          <a:pt x="3698" y="1798"/>
                        </a:lnTo>
                        <a:lnTo>
                          <a:pt x="3698" y="1798"/>
                        </a:lnTo>
                        <a:lnTo>
                          <a:pt x="3702" y="1800"/>
                        </a:lnTo>
                        <a:lnTo>
                          <a:pt x="3702" y="1802"/>
                        </a:lnTo>
                        <a:lnTo>
                          <a:pt x="3700" y="1806"/>
                        </a:lnTo>
                        <a:lnTo>
                          <a:pt x="3700" y="1814"/>
                        </a:lnTo>
                        <a:lnTo>
                          <a:pt x="3700" y="1814"/>
                        </a:lnTo>
                        <a:lnTo>
                          <a:pt x="3700" y="1820"/>
                        </a:lnTo>
                        <a:lnTo>
                          <a:pt x="3696" y="1822"/>
                        </a:lnTo>
                        <a:lnTo>
                          <a:pt x="3690" y="1826"/>
                        </a:lnTo>
                        <a:lnTo>
                          <a:pt x="3684" y="1830"/>
                        </a:lnTo>
                        <a:lnTo>
                          <a:pt x="3684" y="1830"/>
                        </a:lnTo>
                        <a:lnTo>
                          <a:pt x="3680" y="1834"/>
                        </a:lnTo>
                        <a:lnTo>
                          <a:pt x="3676" y="1836"/>
                        </a:lnTo>
                        <a:lnTo>
                          <a:pt x="3662" y="1838"/>
                        </a:lnTo>
                        <a:lnTo>
                          <a:pt x="3648" y="1838"/>
                        </a:lnTo>
                        <a:lnTo>
                          <a:pt x="3638" y="1834"/>
                        </a:lnTo>
                        <a:lnTo>
                          <a:pt x="3638" y="1834"/>
                        </a:lnTo>
                        <a:lnTo>
                          <a:pt x="3628" y="1832"/>
                        </a:lnTo>
                        <a:lnTo>
                          <a:pt x="3616" y="1830"/>
                        </a:lnTo>
                        <a:lnTo>
                          <a:pt x="3604" y="1832"/>
                        </a:lnTo>
                        <a:lnTo>
                          <a:pt x="3594" y="1834"/>
                        </a:lnTo>
                        <a:lnTo>
                          <a:pt x="3594" y="1834"/>
                        </a:lnTo>
                        <a:lnTo>
                          <a:pt x="3588" y="1838"/>
                        </a:lnTo>
                        <a:lnTo>
                          <a:pt x="3582" y="1840"/>
                        </a:lnTo>
                        <a:lnTo>
                          <a:pt x="3574" y="1842"/>
                        </a:lnTo>
                        <a:lnTo>
                          <a:pt x="3574" y="1842"/>
                        </a:lnTo>
                        <a:lnTo>
                          <a:pt x="3568" y="1842"/>
                        </a:lnTo>
                        <a:lnTo>
                          <a:pt x="3562" y="1842"/>
                        </a:lnTo>
                        <a:lnTo>
                          <a:pt x="3560" y="1840"/>
                        </a:lnTo>
                        <a:lnTo>
                          <a:pt x="3558" y="1838"/>
                        </a:lnTo>
                        <a:lnTo>
                          <a:pt x="3558" y="1834"/>
                        </a:lnTo>
                        <a:lnTo>
                          <a:pt x="3560" y="1828"/>
                        </a:lnTo>
                        <a:lnTo>
                          <a:pt x="3560" y="1828"/>
                        </a:lnTo>
                        <a:lnTo>
                          <a:pt x="3564" y="1820"/>
                        </a:lnTo>
                        <a:lnTo>
                          <a:pt x="3570" y="1818"/>
                        </a:lnTo>
                        <a:lnTo>
                          <a:pt x="3574" y="1816"/>
                        </a:lnTo>
                        <a:lnTo>
                          <a:pt x="3578" y="1812"/>
                        </a:lnTo>
                        <a:lnTo>
                          <a:pt x="3578" y="1812"/>
                        </a:lnTo>
                        <a:close/>
                        <a:moveTo>
                          <a:pt x="3092" y="1606"/>
                        </a:moveTo>
                        <a:lnTo>
                          <a:pt x="3092" y="1606"/>
                        </a:lnTo>
                        <a:lnTo>
                          <a:pt x="3104" y="1594"/>
                        </a:lnTo>
                        <a:lnTo>
                          <a:pt x="3118" y="1586"/>
                        </a:lnTo>
                        <a:lnTo>
                          <a:pt x="3158" y="1566"/>
                        </a:lnTo>
                        <a:lnTo>
                          <a:pt x="3158" y="1566"/>
                        </a:lnTo>
                        <a:lnTo>
                          <a:pt x="3164" y="1564"/>
                        </a:lnTo>
                        <a:lnTo>
                          <a:pt x="3164" y="1564"/>
                        </a:lnTo>
                        <a:lnTo>
                          <a:pt x="3168" y="1560"/>
                        </a:lnTo>
                        <a:lnTo>
                          <a:pt x="3172" y="1556"/>
                        </a:lnTo>
                        <a:lnTo>
                          <a:pt x="3176" y="1544"/>
                        </a:lnTo>
                        <a:lnTo>
                          <a:pt x="3176" y="1544"/>
                        </a:lnTo>
                        <a:lnTo>
                          <a:pt x="3180" y="1538"/>
                        </a:lnTo>
                        <a:lnTo>
                          <a:pt x="3184" y="1534"/>
                        </a:lnTo>
                        <a:lnTo>
                          <a:pt x="3188" y="1534"/>
                        </a:lnTo>
                        <a:lnTo>
                          <a:pt x="3190" y="1536"/>
                        </a:lnTo>
                        <a:lnTo>
                          <a:pt x="3190" y="1538"/>
                        </a:lnTo>
                        <a:lnTo>
                          <a:pt x="3190" y="1542"/>
                        </a:lnTo>
                        <a:lnTo>
                          <a:pt x="3190" y="1542"/>
                        </a:lnTo>
                        <a:lnTo>
                          <a:pt x="3188" y="1548"/>
                        </a:lnTo>
                        <a:lnTo>
                          <a:pt x="3192" y="1544"/>
                        </a:lnTo>
                        <a:lnTo>
                          <a:pt x="3196" y="1536"/>
                        </a:lnTo>
                        <a:lnTo>
                          <a:pt x="3200" y="1524"/>
                        </a:lnTo>
                        <a:lnTo>
                          <a:pt x="3200" y="1524"/>
                        </a:lnTo>
                        <a:lnTo>
                          <a:pt x="3204" y="1516"/>
                        </a:lnTo>
                        <a:lnTo>
                          <a:pt x="3206" y="1516"/>
                        </a:lnTo>
                        <a:lnTo>
                          <a:pt x="3208" y="1516"/>
                        </a:lnTo>
                        <a:lnTo>
                          <a:pt x="3208" y="1522"/>
                        </a:lnTo>
                        <a:lnTo>
                          <a:pt x="3206" y="1532"/>
                        </a:lnTo>
                        <a:lnTo>
                          <a:pt x="3206" y="1532"/>
                        </a:lnTo>
                        <a:lnTo>
                          <a:pt x="3204" y="1538"/>
                        </a:lnTo>
                        <a:lnTo>
                          <a:pt x="3204" y="1540"/>
                        </a:lnTo>
                        <a:lnTo>
                          <a:pt x="3204" y="1540"/>
                        </a:lnTo>
                        <a:lnTo>
                          <a:pt x="3216" y="1532"/>
                        </a:lnTo>
                        <a:lnTo>
                          <a:pt x="3216" y="1532"/>
                        </a:lnTo>
                        <a:lnTo>
                          <a:pt x="3218" y="1530"/>
                        </a:lnTo>
                        <a:lnTo>
                          <a:pt x="3220" y="1526"/>
                        </a:lnTo>
                        <a:lnTo>
                          <a:pt x="3218" y="1520"/>
                        </a:lnTo>
                        <a:lnTo>
                          <a:pt x="3216" y="1514"/>
                        </a:lnTo>
                        <a:lnTo>
                          <a:pt x="3216" y="1512"/>
                        </a:lnTo>
                        <a:lnTo>
                          <a:pt x="3216" y="1510"/>
                        </a:lnTo>
                        <a:lnTo>
                          <a:pt x="3216" y="1510"/>
                        </a:lnTo>
                        <a:lnTo>
                          <a:pt x="3220" y="1508"/>
                        </a:lnTo>
                        <a:lnTo>
                          <a:pt x="3224" y="1510"/>
                        </a:lnTo>
                        <a:lnTo>
                          <a:pt x="3236" y="1514"/>
                        </a:lnTo>
                        <a:lnTo>
                          <a:pt x="3248" y="1520"/>
                        </a:lnTo>
                        <a:lnTo>
                          <a:pt x="3254" y="1522"/>
                        </a:lnTo>
                        <a:lnTo>
                          <a:pt x="3260" y="1522"/>
                        </a:lnTo>
                        <a:lnTo>
                          <a:pt x="3260" y="1522"/>
                        </a:lnTo>
                        <a:lnTo>
                          <a:pt x="3268" y="1522"/>
                        </a:lnTo>
                        <a:lnTo>
                          <a:pt x="3272" y="1522"/>
                        </a:lnTo>
                        <a:lnTo>
                          <a:pt x="3276" y="1522"/>
                        </a:lnTo>
                        <a:lnTo>
                          <a:pt x="3284" y="1522"/>
                        </a:lnTo>
                        <a:lnTo>
                          <a:pt x="3284" y="1522"/>
                        </a:lnTo>
                        <a:lnTo>
                          <a:pt x="3288" y="1524"/>
                        </a:lnTo>
                        <a:lnTo>
                          <a:pt x="3292" y="1528"/>
                        </a:lnTo>
                        <a:lnTo>
                          <a:pt x="3296" y="1542"/>
                        </a:lnTo>
                        <a:lnTo>
                          <a:pt x="3298" y="1550"/>
                        </a:lnTo>
                        <a:lnTo>
                          <a:pt x="3302" y="1558"/>
                        </a:lnTo>
                        <a:lnTo>
                          <a:pt x="3308" y="1566"/>
                        </a:lnTo>
                        <a:lnTo>
                          <a:pt x="3314" y="1570"/>
                        </a:lnTo>
                        <a:lnTo>
                          <a:pt x="3314" y="1570"/>
                        </a:lnTo>
                        <a:lnTo>
                          <a:pt x="3320" y="1572"/>
                        </a:lnTo>
                        <a:lnTo>
                          <a:pt x="3328" y="1572"/>
                        </a:lnTo>
                        <a:lnTo>
                          <a:pt x="3340" y="1570"/>
                        </a:lnTo>
                        <a:lnTo>
                          <a:pt x="3344" y="1570"/>
                        </a:lnTo>
                        <a:lnTo>
                          <a:pt x="3348" y="1570"/>
                        </a:lnTo>
                        <a:lnTo>
                          <a:pt x="3348" y="1574"/>
                        </a:lnTo>
                        <a:lnTo>
                          <a:pt x="3346" y="1580"/>
                        </a:lnTo>
                        <a:lnTo>
                          <a:pt x="3346" y="1580"/>
                        </a:lnTo>
                        <a:lnTo>
                          <a:pt x="3344" y="1588"/>
                        </a:lnTo>
                        <a:lnTo>
                          <a:pt x="3346" y="1594"/>
                        </a:lnTo>
                        <a:lnTo>
                          <a:pt x="3358" y="1604"/>
                        </a:lnTo>
                        <a:lnTo>
                          <a:pt x="3358" y="1604"/>
                        </a:lnTo>
                        <a:lnTo>
                          <a:pt x="3360" y="1606"/>
                        </a:lnTo>
                        <a:lnTo>
                          <a:pt x="3360" y="1610"/>
                        </a:lnTo>
                        <a:lnTo>
                          <a:pt x="3358" y="1618"/>
                        </a:lnTo>
                        <a:lnTo>
                          <a:pt x="3354" y="1624"/>
                        </a:lnTo>
                        <a:lnTo>
                          <a:pt x="3354" y="1626"/>
                        </a:lnTo>
                        <a:lnTo>
                          <a:pt x="3356" y="1630"/>
                        </a:lnTo>
                        <a:lnTo>
                          <a:pt x="3356" y="1630"/>
                        </a:lnTo>
                        <a:lnTo>
                          <a:pt x="3362" y="1630"/>
                        </a:lnTo>
                        <a:lnTo>
                          <a:pt x="3364" y="1630"/>
                        </a:lnTo>
                        <a:lnTo>
                          <a:pt x="3366" y="1630"/>
                        </a:lnTo>
                        <a:lnTo>
                          <a:pt x="3368" y="1632"/>
                        </a:lnTo>
                        <a:lnTo>
                          <a:pt x="3368" y="1632"/>
                        </a:lnTo>
                        <a:lnTo>
                          <a:pt x="3370" y="1634"/>
                        </a:lnTo>
                        <a:lnTo>
                          <a:pt x="3368" y="1636"/>
                        </a:lnTo>
                        <a:lnTo>
                          <a:pt x="3364" y="1640"/>
                        </a:lnTo>
                        <a:lnTo>
                          <a:pt x="3362" y="1642"/>
                        </a:lnTo>
                        <a:lnTo>
                          <a:pt x="3362" y="1648"/>
                        </a:lnTo>
                        <a:lnTo>
                          <a:pt x="3362" y="1648"/>
                        </a:lnTo>
                        <a:lnTo>
                          <a:pt x="3362" y="1652"/>
                        </a:lnTo>
                        <a:lnTo>
                          <a:pt x="3364" y="1654"/>
                        </a:lnTo>
                        <a:lnTo>
                          <a:pt x="3372" y="1652"/>
                        </a:lnTo>
                        <a:lnTo>
                          <a:pt x="3380" y="1652"/>
                        </a:lnTo>
                        <a:lnTo>
                          <a:pt x="3382" y="1652"/>
                        </a:lnTo>
                        <a:lnTo>
                          <a:pt x="3382" y="1656"/>
                        </a:lnTo>
                        <a:lnTo>
                          <a:pt x="3382" y="1656"/>
                        </a:lnTo>
                        <a:lnTo>
                          <a:pt x="3382" y="1662"/>
                        </a:lnTo>
                        <a:lnTo>
                          <a:pt x="3386" y="1664"/>
                        </a:lnTo>
                        <a:lnTo>
                          <a:pt x="3392" y="1666"/>
                        </a:lnTo>
                        <a:lnTo>
                          <a:pt x="3402" y="1668"/>
                        </a:lnTo>
                        <a:lnTo>
                          <a:pt x="3402" y="1668"/>
                        </a:lnTo>
                        <a:lnTo>
                          <a:pt x="3416" y="1672"/>
                        </a:lnTo>
                        <a:lnTo>
                          <a:pt x="3430" y="1674"/>
                        </a:lnTo>
                        <a:lnTo>
                          <a:pt x="3446" y="1674"/>
                        </a:lnTo>
                        <a:lnTo>
                          <a:pt x="3460" y="1676"/>
                        </a:lnTo>
                        <a:lnTo>
                          <a:pt x="3460" y="1676"/>
                        </a:lnTo>
                        <a:lnTo>
                          <a:pt x="3470" y="1676"/>
                        </a:lnTo>
                        <a:lnTo>
                          <a:pt x="3478" y="1676"/>
                        </a:lnTo>
                        <a:lnTo>
                          <a:pt x="3484" y="1678"/>
                        </a:lnTo>
                        <a:lnTo>
                          <a:pt x="3484" y="1678"/>
                        </a:lnTo>
                        <a:lnTo>
                          <a:pt x="3484" y="1680"/>
                        </a:lnTo>
                        <a:lnTo>
                          <a:pt x="3484" y="1680"/>
                        </a:lnTo>
                        <a:lnTo>
                          <a:pt x="3484" y="1682"/>
                        </a:lnTo>
                        <a:lnTo>
                          <a:pt x="3484" y="1684"/>
                        </a:lnTo>
                        <a:lnTo>
                          <a:pt x="3490" y="1686"/>
                        </a:lnTo>
                        <a:lnTo>
                          <a:pt x="3508" y="1686"/>
                        </a:lnTo>
                        <a:lnTo>
                          <a:pt x="3508" y="1686"/>
                        </a:lnTo>
                        <a:lnTo>
                          <a:pt x="3514" y="1688"/>
                        </a:lnTo>
                        <a:lnTo>
                          <a:pt x="3518" y="1692"/>
                        </a:lnTo>
                        <a:lnTo>
                          <a:pt x="3526" y="1704"/>
                        </a:lnTo>
                        <a:lnTo>
                          <a:pt x="3532" y="1716"/>
                        </a:lnTo>
                        <a:lnTo>
                          <a:pt x="3534" y="1718"/>
                        </a:lnTo>
                        <a:lnTo>
                          <a:pt x="3536" y="1718"/>
                        </a:lnTo>
                        <a:lnTo>
                          <a:pt x="3536" y="1718"/>
                        </a:lnTo>
                        <a:lnTo>
                          <a:pt x="3540" y="1716"/>
                        </a:lnTo>
                        <a:lnTo>
                          <a:pt x="3542" y="1716"/>
                        </a:lnTo>
                        <a:lnTo>
                          <a:pt x="3544" y="1720"/>
                        </a:lnTo>
                        <a:lnTo>
                          <a:pt x="3544" y="1726"/>
                        </a:lnTo>
                        <a:lnTo>
                          <a:pt x="3544" y="1726"/>
                        </a:lnTo>
                        <a:lnTo>
                          <a:pt x="3544" y="1730"/>
                        </a:lnTo>
                        <a:lnTo>
                          <a:pt x="3546" y="1734"/>
                        </a:lnTo>
                        <a:lnTo>
                          <a:pt x="3552" y="1742"/>
                        </a:lnTo>
                        <a:lnTo>
                          <a:pt x="3556" y="1748"/>
                        </a:lnTo>
                        <a:lnTo>
                          <a:pt x="3560" y="1756"/>
                        </a:lnTo>
                        <a:lnTo>
                          <a:pt x="3560" y="1756"/>
                        </a:lnTo>
                        <a:lnTo>
                          <a:pt x="3558" y="1758"/>
                        </a:lnTo>
                        <a:lnTo>
                          <a:pt x="3558" y="1758"/>
                        </a:lnTo>
                        <a:lnTo>
                          <a:pt x="3554" y="1754"/>
                        </a:lnTo>
                        <a:lnTo>
                          <a:pt x="3548" y="1750"/>
                        </a:lnTo>
                        <a:lnTo>
                          <a:pt x="3546" y="1750"/>
                        </a:lnTo>
                        <a:lnTo>
                          <a:pt x="3544" y="1750"/>
                        </a:lnTo>
                        <a:lnTo>
                          <a:pt x="3544" y="1750"/>
                        </a:lnTo>
                        <a:lnTo>
                          <a:pt x="3542" y="1752"/>
                        </a:lnTo>
                        <a:lnTo>
                          <a:pt x="3542" y="1754"/>
                        </a:lnTo>
                        <a:lnTo>
                          <a:pt x="3546" y="1760"/>
                        </a:lnTo>
                        <a:lnTo>
                          <a:pt x="3548" y="1766"/>
                        </a:lnTo>
                        <a:lnTo>
                          <a:pt x="3546" y="1768"/>
                        </a:lnTo>
                        <a:lnTo>
                          <a:pt x="3544" y="1770"/>
                        </a:lnTo>
                        <a:lnTo>
                          <a:pt x="3544" y="1770"/>
                        </a:lnTo>
                        <a:lnTo>
                          <a:pt x="3542" y="1772"/>
                        </a:lnTo>
                        <a:lnTo>
                          <a:pt x="3538" y="1770"/>
                        </a:lnTo>
                        <a:lnTo>
                          <a:pt x="3530" y="1764"/>
                        </a:lnTo>
                        <a:lnTo>
                          <a:pt x="3520" y="1760"/>
                        </a:lnTo>
                        <a:lnTo>
                          <a:pt x="3516" y="1758"/>
                        </a:lnTo>
                        <a:lnTo>
                          <a:pt x="3512" y="1760"/>
                        </a:lnTo>
                        <a:lnTo>
                          <a:pt x="3512" y="1760"/>
                        </a:lnTo>
                        <a:lnTo>
                          <a:pt x="3508" y="1762"/>
                        </a:lnTo>
                        <a:lnTo>
                          <a:pt x="3508" y="1758"/>
                        </a:lnTo>
                        <a:lnTo>
                          <a:pt x="3508" y="1754"/>
                        </a:lnTo>
                        <a:lnTo>
                          <a:pt x="3508" y="1754"/>
                        </a:lnTo>
                        <a:lnTo>
                          <a:pt x="3504" y="1754"/>
                        </a:lnTo>
                        <a:lnTo>
                          <a:pt x="3504" y="1754"/>
                        </a:lnTo>
                        <a:lnTo>
                          <a:pt x="3502" y="1754"/>
                        </a:lnTo>
                        <a:lnTo>
                          <a:pt x="3502" y="1754"/>
                        </a:lnTo>
                        <a:lnTo>
                          <a:pt x="3504" y="1750"/>
                        </a:lnTo>
                        <a:lnTo>
                          <a:pt x="3506" y="1746"/>
                        </a:lnTo>
                        <a:lnTo>
                          <a:pt x="3504" y="1744"/>
                        </a:lnTo>
                        <a:lnTo>
                          <a:pt x="3502" y="1742"/>
                        </a:lnTo>
                        <a:lnTo>
                          <a:pt x="3502" y="1742"/>
                        </a:lnTo>
                        <a:lnTo>
                          <a:pt x="3498" y="1742"/>
                        </a:lnTo>
                        <a:lnTo>
                          <a:pt x="3496" y="1740"/>
                        </a:lnTo>
                        <a:lnTo>
                          <a:pt x="3494" y="1734"/>
                        </a:lnTo>
                        <a:lnTo>
                          <a:pt x="3494" y="1728"/>
                        </a:lnTo>
                        <a:lnTo>
                          <a:pt x="3492" y="1728"/>
                        </a:lnTo>
                        <a:lnTo>
                          <a:pt x="3490" y="1726"/>
                        </a:lnTo>
                        <a:lnTo>
                          <a:pt x="3490" y="1726"/>
                        </a:lnTo>
                        <a:lnTo>
                          <a:pt x="3486" y="1726"/>
                        </a:lnTo>
                        <a:lnTo>
                          <a:pt x="3482" y="1726"/>
                        </a:lnTo>
                        <a:lnTo>
                          <a:pt x="3480" y="1724"/>
                        </a:lnTo>
                        <a:lnTo>
                          <a:pt x="3478" y="1726"/>
                        </a:lnTo>
                        <a:lnTo>
                          <a:pt x="3478" y="1726"/>
                        </a:lnTo>
                        <a:lnTo>
                          <a:pt x="3480" y="1730"/>
                        </a:lnTo>
                        <a:lnTo>
                          <a:pt x="3484" y="1736"/>
                        </a:lnTo>
                        <a:lnTo>
                          <a:pt x="3490" y="1744"/>
                        </a:lnTo>
                        <a:lnTo>
                          <a:pt x="3496" y="1756"/>
                        </a:lnTo>
                        <a:lnTo>
                          <a:pt x="3496" y="1756"/>
                        </a:lnTo>
                        <a:lnTo>
                          <a:pt x="3496" y="1762"/>
                        </a:lnTo>
                        <a:lnTo>
                          <a:pt x="3494" y="1766"/>
                        </a:lnTo>
                        <a:lnTo>
                          <a:pt x="3486" y="1776"/>
                        </a:lnTo>
                        <a:lnTo>
                          <a:pt x="3482" y="1782"/>
                        </a:lnTo>
                        <a:lnTo>
                          <a:pt x="3480" y="1788"/>
                        </a:lnTo>
                        <a:lnTo>
                          <a:pt x="3476" y="1796"/>
                        </a:lnTo>
                        <a:lnTo>
                          <a:pt x="3476" y="1806"/>
                        </a:lnTo>
                        <a:lnTo>
                          <a:pt x="3476" y="1806"/>
                        </a:lnTo>
                        <a:lnTo>
                          <a:pt x="3476" y="1826"/>
                        </a:lnTo>
                        <a:lnTo>
                          <a:pt x="3476" y="1832"/>
                        </a:lnTo>
                        <a:lnTo>
                          <a:pt x="3472" y="1838"/>
                        </a:lnTo>
                        <a:lnTo>
                          <a:pt x="3468" y="1842"/>
                        </a:lnTo>
                        <a:lnTo>
                          <a:pt x="3464" y="1844"/>
                        </a:lnTo>
                        <a:lnTo>
                          <a:pt x="3448" y="1852"/>
                        </a:lnTo>
                        <a:lnTo>
                          <a:pt x="3448" y="1852"/>
                        </a:lnTo>
                        <a:lnTo>
                          <a:pt x="3446" y="1846"/>
                        </a:lnTo>
                        <a:lnTo>
                          <a:pt x="3444" y="1838"/>
                        </a:lnTo>
                        <a:lnTo>
                          <a:pt x="3440" y="1818"/>
                        </a:lnTo>
                        <a:lnTo>
                          <a:pt x="3438" y="1808"/>
                        </a:lnTo>
                        <a:lnTo>
                          <a:pt x="3434" y="1802"/>
                        </a:lnTo>
                        <a:lnTo>
                          <a:pt x="3428" y="1796"/>
                        </a:lnTo>
                        <a:lnTo>
                          <a:pt x="3424" y="1796"/>
                        </a:lnTo>
                        <a:lnTo>
                          <a:pt x="3424" y="1796"/>
                        </a:lnTo>
                        <a:lnTo>
                          <a:pt x="3418" y="1798"/>
                        </a:lnTo>
                        <a:lnTo>
                          <a:pt x="3414" y="1800"/>
                        </a:lnTo>
                        <a:lnTo>
                          <a:pt x="3408" y="1808"/>
                        </a:lnTo>
                        <a:lnTo>
                          <a:pt x="3404" y="1816"/>
                        </a:lnTo>
                        <a:lnTo>
                          <a:pt x="3400" y="1818"/>
                        </a:lnTo>
                        <a:lnTo>
                          <a:pt x="3398" y="1820"/>
                        </a:lnTo>
                        <a:lnTo>
                          <a:pt x="3398" y="1820"/>
                        </a:lnTo>
                        <a:lnTo>
                          <a:pt x="3394" y="1818"/>
                        </a:lnTo>
                        <a:lnTo>
                          <a:pt x="3392" y="1816"/>
                        </a:lnTo>
                        <a:lnTo>
                          <a:pt x="3388" y="1810"/>
                        </a:lnTo>
                        <a:lnTo>
                          <a:pt x="3390" y="1802"/>
                        </a:lnTo>
                        <a:lnTo>
                          <a:pt x="3392" y="1798"/>
                        </a:lnTo>
                        <a:lnTo>
                          <a:pt x="3394" y="1796"/>
                        </a:lnTo>
                        <a:lnTo>
                          <a:pt x="3394" y="1796"/>
                        </a:lnTo>
                        <a:lnTo>
                          <a:pt x="3400" y="1790"/>
                        </a:lnTo>
                        <a:lnTo>
                          <a:pt x="3406" y="1784"/>
                        </a:lnTo>
                        <a:lnTo>
                          <a:pt x="3410" y="1776"/>
                        </a:lnTo>
                        <a:lnTo>
                          <a:pt x="3412" y="1764"/>
                        </a:lnTo>
                        <a:lnTo>
                          <a:pt x="3412" y="1764"/>
                        </a:lnTo>
                        <a:lnTo>
                          <a:pt x="3412" y="1758"/>
                        </a:lnTo>
                        <a:lnTo>
                          <a:pt x="3412" y="1754"/>
                        </a:lnTo>
                        <a:lnTo>
                          <a:pt x="3410" y="1746"/>
                        </a:lnTo>
                        <a:lnTo>
                          <a:pt x="3408" y="1740"/>
                        </a:lnTo>
                        <a:lnTo>
                          <a:pt x="3408" y="1738"/>
                        </a:lnTo>
                        <a:lnTo>
                          <a:pt x="3410" y="1738"/>
                        </a:lnTo>
                        <a:lnTo>
                          <a:pt x="3410" y="1738"/>
                        </a:lnTo>
                        <a:lnTo>
                          <a:pt x="3414" y="1736"/>
                        </a:lnTo>
                        <a:lnTo>
                          <a:pt x="3414" y="1734"/>
                        </a:lnTo>
                        <a:lnTo>
                          <a:pt x="3410" y="1728"/>
                        </a:lnTo>
                        <a:lnTo>
                          <a:pt x="3402" y="1722"/>
                        </a:lnTo>
                        <a:lnTo>
                          <a:pt x="3392" y="1716"/>
                        </a:lnTo>
                        <a:lnTo>
                          <a:pt x="3392" y="1716"/>
                        </a:lnTo>
                        <a:lnTo>
                          <a:pt x="3382" y="1712"/>
                        </a:lnTo>
                        <a:lnTo>
                          <a:pt x="3380" y="1708"/>
                        </a:lnTo>
                        <a:lnTo>
                          <a:pt x="3378" y="1706"/>
                        </a:lnTo>
                        <a:lnTo>
                          <a:pt x="3372" y="1704"/>
                        </a:lnTo>
                        <a:lnTo>
                          <a:pt x="3372" y="1704"/>
                        </a:lnTo>
                        <a:lnTo>
                          <a:pt x="3366" y="1702"/>
                        </a:lnTo>
                        <a:lnTo>
                          <a:pt x="3362" y="1698"/>
                        </a:lnTo>
                        <a:lnTo>
                          <a:pt x="3358" y="1696"/>
                        </a:lnTo>
                        <a:lnTo>
                          <a:pt x="3356" y="1696"/>
                        </a:lnTo>
                        <a:lnTo>
                          <a:pt x="3352" y="1698"/>
                        </a:lnTo>
                        <a:lnTo>
                          <a:pt x="3346" y="1702"/>
                        </a:lnTo>
                        <a:lnTo>
                          <a:pt x="3346" y="1702"/>
                        </a:lnTo>
                        <a:lnTo>
                          <a:pt x="3342" y="1706"/>
                        </a:lnTo>
                        <a:lnTo>
                          <a:pt x="3340" y="1710"/>
                        </a:lnTo>
                        <a:lnTo>
                          <a:pt x="3342" y="1712"/>
                        </a:lnTo>
                        <a:lnTo>
                          <a:pt x="3344" y="1714"/>
                        </a:lnTo>
                        <a:lnTo>
                          <a:pt x="3346" y="1718"/>
                        </a:lnTo>
                        <a:lnTo>
                          <a:pt x="3340" y="1720"/>
                        </a:lnTo>
                        <a:lnTo>
                          <a:pt x="3340" y="1720"/>
                        </a:lnTo>
                        <a:lnTo>
                          <a:pt x="3334" y="1722"/>
                        </a:lnTo>
                        <a:lnTo>
                          <a:pt x="3330" y="1726"/>
                        </a:lnTo>
                        <a:lnTo>
                          <a:pt x="3328" y="1732"/>
                        </a:lnTo>
                        <a:lnTo>
                          <a:pt x="3328" y="1738"/>
                        </a:lnTo>
                        <a:lnTo>
                          <a:pt x="3326" y="1748"/>
                        </a:lnTo>
                        <a:lnTo>
                          <a:pt x="3324" y="1752"/>
                        </a:lnTo>
                        <a:lnTo>
                          <a:pt x="3322" y="1752"/>
                        </a:lnTo>
                        <a:lnTo>
                          <a:pt x="3322" y="1752"/>
                        </a:lnTo>
                        <a:lnTo>
                          <a:pt x="3320" y="1752"/>
                        </a:lnTo>
                        <a:lnTo>
                          <a:pt x="3318" y="1748"/>
                        </a:lnTo>
                        <a:lnTo>
                          <a:pt x="3318" y="1738"/>
                        </a:lnTo>
                        <a:lnTo>
                          <a:pt x="3318" y="1734"/>
                        </a:lnTo>
                        <a:lnTo>
                          <a:pt x="3316" y="1734"/>
                        </a:lnTo>
                        <a:lnTo>
                          <a:pt x="3314" y="1736"/>
                        </a:lnTo>
                        <a:lnTo>
                          <a:pt x="3308" y="1744"/>
                        </a:lnTo>
                        <a:lnTo>
                          <a:pt x="3308" y="1744"/>
                        </a:lnTo>
                        <a:lnTo>
                          <a:pt x="3300" y="1752"/>
                        </a:lnTo>
                        <a:lnTo>
                          <a:pt x="3296" y="1754"/>
                        </a:lnTo>
                        <a:lnTo>
                          <a:pt x="3294" y="1756"/>
                        </a:lnTo>
                        <a:lnTo>
                          <a:pt x="3294" y="1766"/>
                        </a:lnTo>
                        <a:lnTo>
                          <a:pt x="3294" y="1766"/>
                        </a:lnTo>
                        <a:lnTo>
                          <a:pt x="3296" y="1772"/>
                        </a:lnTo>
                        <a:lnTo>
                          <a:pt x="3294" y="1778"/>
                        </a:lnTo>
                        <a:lnTo>
                          <a:pt x="3290" y="1786"/>
                        </a:lnTo>
                        <a:lnTo>
                          <a:pt x="3286" y="1792"/>
                        </a:lnTo>
                        <a:lnTo>
                          <a:pt x="3286" y="1796"/>
                        </a:lnTo>
                        <a:lnTo>
                          <a:pt x="3286" y="1800"/>
                        </a:lnTo>
                        <a:lnTo>
                          <a:pt x="3286" y="1800"/>
                        </a:lnTo>
                        <a:lnTo>
                          <a:pt x="3288" y="1808"/>
                        </a:lnTo>
                        <a:lnTo>
                          <a:pt x="3286" y="1812"/>
                        </a:lnTo>
                        <a:lnTo>
                          <a:pt x="3284" y="1818"/>
                        </a:lnTo>
                        <a:lnTo>
                          <a:pt x="3286" y="1828"/>
                        </a:lnTo>
                        <a:lnTo>
                          <a:pt x="3286" y="1828"/>
                        </a:lnTo>
                        <a:lnTo>
                          <a:pt x="3292" y="1840"/>
                        </a:lnTo>
                        <a:lnTo>
                          <a:pt x="3294" y="1852"/>
                        </a:lnTo>
                        <a:lnTo>
                          <a:pt x="3296" y="1862"/>
                        </a:lnTo>
                        <a:lnTo>
                          <a:pt x="3294" y="1872"/>
                        </a:lnTo>
                        <a:lnTo>
                          <a:pt x="3294" y="1880"/>
                        </a:lnTo>
                        <a:lnTo>
                          <a:pt x="3290" y="1890"/>
                        </a:lnTo>
                        <a:lnTo>
                          <a:pt x="3282" y="1908"/>
                        </a:lnTo>
                        <a:lnTo>
                          <a:pt x="3282" y="1908"/>
                        </a:lnTo>
                        <a:lnTo>
                          <a:pt x="3276" y="1916"/>
                        </a:lnTo>
                        <a:lnTo>
                          <a:pt x="3270" y="1922"/>
                        </a:lnTo>
                        <a:lnTo>
                          <a:pt x="3264" y="1928"/>
                        </a:lnTo>
                        <a:lnTo>
                          <a:pt x="3258" y="1930"/>
                        </a:lnTo>
                        <a:lnTo>
                          <a:pt x="3252" y="1930"/>
                        </a:lnTo>
                        <a:lnTo>
                          <a:pt x="3246" y="1926"/>
                        </a:lnTo>
                        <a:lnTo>
                          <a:pt x="3242" y="1922"/>
                        </a:lnTo>
                        <a:lnTo>
                          <a:pt x="3236" y="1914"/>
                        </a:lnTo>
                        <a:lnTo>
                          <a:pt x="3236" y="1914"/>
                        </a:lnTo>
                        <a:lnTo>
                          <a:pt x="3232" y="1904"/>
                        </a:lnTo>
                        <a:lnTo>
                          <a:pt x="3230" y="1898"/>
                        </a:lnTo>
                        <a:lnTo>
                          <a:pt x="3230" y="1884"/>
                        </a:lnTo>
                        <a:lnTo>
                          <a:pt x="3230" y="1872"/>
                        </a:lnTo>
                        <a:lnTo>
                          <a:pt x="3230" y="1864"/>
                        </a:lnTo>
                        <a:lnTo>
                          <a:pt x="3230" y="1856"/>
                        </a:lnTo>
                        <a:lnTo>
                          <a:pt x="3230" y="1856"/>
                        </a:lnTo>
                        <a:lnTo>
                          <a:pt x="3228" y="1842"/>
                        </a:lnTo>
                        <a:lnTo>
                          <a:pt x="3228" y="1834"/>
                        </a:lnTo>
                        <a:lnTo>
                          <a:pt x="3232" y="1824"/>
                        </a:lnTo>
                        <a:lnTo>
                          <a:pt x="3234" y="1810"/>
                        </a:lnTo>
                        <a:lnTo>
                          <a:pt x="3234" y="1810"/>
                        </a:lnTo>
                        <a:lnTo>
                          <a:pt x="3234" y="1802"/>
                        </a:lnTo>
                        <a:lnTo>
                          <a:pt x="3236" y="1796"/>
                        </a:lnTo>
                        <a:lnTo>
                          <a:pt x="3238" y="1792"/>
                        </a:lnTo>
                        <a:lnTo>
                          <a:pt x="3240" y="1792"/>
                        </a:lnTo>
                        <a:lnTo>
                          <a:pt x="3242" y="1790"/>
                        </a:lnTo>
                        <a:lnTo>
                          <a:pt x="3242" y="1784"/>
                        </a:lnTo>
                        <a:lnTo>
                          <a:pt x="3242" y="1784"/>
                        </a:lnTo>
                        <a:lnTo>
                          <a:pt x="3240" y="1780"/>
                        </a:lnTo>
                        <a:lnTo>
                          <a:pt x="3242" y="1776"/>
                        </a:lnTo>
                        <a:lnTo>
                          <a:pt x="3246" y="1764"/>
                        </a:lnTo>
                        <a:lnTo>
                          <a:pt x="3248" y="1754"/>
                        </a:lnTo>
                        <a:lnTo>
                          <a:pt x="3248" y="1752"/>
                        </a:lnTo>
                        <a:lnTo>
                          <a:pt x="3246" y="1748"/>
                        </a:lnTo>
                        <a:lnTo>
                          <a:pt x="3246" y="1748"/>
                        </a:lnTo>
                        <a:lnTo>
                          <a:pt x="3240" y="1748"/>
                        </a:lnTo>
                        <a:lnTo>
                          <a:pt x="3238" y="1752"/>
                        </a:lnTo>
                        <a:lnTo>
                          <a:pt x="3234" y="1758"/>
                        </a:lnTo>
                        <a:lnTo>
                          <a:pt x="3228" y="1764"/>
                        </a:lnTo>
                        <a:lnTo>
                          <a:pt x="3228" y="1764"/>
                        </a:lnTo>
                        <a:lnTo>
                          <a:pt x="3226" y="1766"/>
                        </a:lnTo>
                        <a:lnTo>
                          <a:pt x="3224" y="1766"/>
                        </a:lnTo>
                        <a:lnTo>
                          <a:pt x="3224" y="1758"/>
                        </a:lnTo>
                        <a:lnTo>
                          <a:pt x="3226" y="1750"/>
                        </a:lnTo>
                        <a:lnTo>
                          <a:pt x="3230" y="1746"/>
                        </a:lnTo>
                        <a:lnTo>
                          <a:pt x="3232" y="1742"/>
                        </a:lnTo>
                        <a:lnTo>
                          <a:pt x="3232" y="1742"/>
                        </a:lnTo>
                        <a:lnTo>
                          <a:pt x="3236" y="1740"/>
                        </a:lnTo>
                        <a:lnTo>
                          <a:pt x="3238" y="1736"/>
                        </a:lnTo>
                        <a:lnTo>
                          <a:pt x="3240" y="1732"/>
                        </a:lnTo>
                        <a:lnTo>
                          <a:pt x="3244" y="1726"/>
                        </a:lnTo>
                        <a:lnTo>
                          <a:pt x="3244" y="1726"/>
                        </a:lnTo>
                        <a:lnTo>
                          <a:pt x="3252" y="1714"/>
                        </a:lnTo>
                        <a:lnTo>
                          <a:pt x="3258" y="1700"/>
                        </a:lnTo>
                        <a:lnTo>
                          <a:pt x="3264" y="1692"/>
                        </a:lnTo>
                        <a:lnTo>
                          <a:pt x="3266" y="1690"/>
                        </a:lnTo>
                        <a:lnTo>
                          <a:pt x="3266" y="1692"/>
                        </a:lnTo>
                        <a:lnTo>
                          <a:pt x="3266" y="1692"/>
                        </a:lnTo>
                        <a:lnTo>
                          <a:pt x="3268" y="1696"/>
                        </a:lnTo>
                        <a:lnTo>
                          <a:pt x="3270" y="1696"/>
                        </a:lnTo>
                        <a:lnTo>
                          <a:pt x="3274" y="1694"/>
                        </a:lnTo>
                        <a:lnTo>
                          <a:pt x="3278" y="1692"/>
                        </a:lnTo>
                        <a:lnTo>
                          <a:pt x="3280" y="1692"/>
                        </a:lnTo>
                        <a:lnTo>
                          <a:pt x="3278" y="1698"/>
                        </a:lnTo>
                        <a:lnTo>
                          <a:pt x="3278" y="1698"/>
                        </a:lnTo>
                        <a:lnTo>
                          <a:pt x="3278" y="1702"/>
                        </a:lnTo>
                        <a:lnTo>
                          <a:pt x="3278" y="1702"/>
                        </a:lnTo>
                        <a:lnTo>
                          <a:pt x="3284" y="1696"/>
                        </a:lnTo>
                        <a:lnTo>
                          <a:pt x="3292" y="1688"/>
                        </a:lnTo>
                        <a:lnTo>
                          <a:pt x="3296" y="1686"/>
                        </a:lnTo>
                        <a:lnTo>
                          <a:pt x="3300" y="1684"/>
                        </a:lnTo>
                        <a:lnTo>
                          <a:pt x="3300" y="1684"/>
                        </a:lnTo>
                        <a:lnTo>
                          <a:pt x="3310" y="1684"/>
                        </a:lnTo>
                        <a:lnTo>
                          <a:pt x="3314" y="1684"/>
                        </a:lnTo>
                        <a:lnTo>
                          <a:pt x="3320" y="1678"/>
                        </a:lnTo>
                        <a:lnTo>
                          <a:pt x="3324" y="1676"/>
                        </a:lnTo>
                        <a:lnTo>
                          <a:pt x="3328" y="1678"/>
                        </a:lnTo>
                        <a:lnTo>
                          <a:pt x="3336" y="1680"/>
                        </a:lnTo>
                        <a:lnTo>
                          <a:pt x="3346" y="1686"/>
                        </a:lnTo>
                        <a:lnTo>
                          <a:pt x="3346" y="1686"/>
                        </a:lnTo>
                        <a:lnTo>
                          <a:pt x="3352" y="1690"/>
                        </a:lnTo>
                        <a:lnTo>
                          <a:pt x="3354" y="1690"/>
                        </a:lnTo>
                        <a:lnTo>
                          <a:pt x="3356" y="1688"/>
                        </a:lnTo>
                        <a:lnTo>
                          <a:pt x="3358" y="1686"/>
                        </a:lnTo>
                        <a:lnTo>
                          <a:pt x="3358" y="1682"/>
                        </a:lnTo>
                        <a:lnTo>
                          <a:pt x="3360" y="1680"/>
                        </a:lnTo>
                        <a:lnTo>
                          <a:pt x="3362" y="1680"/>
                        </a:lnTo>
                        <a:lnTo>
                          <a:pt x="3362" y="1680"/>
                        </a:lnTo>
                        <a:lnTo>
                          <a:pt x="3370" y="1684"/>
                        </a:lnTo>
                        <a:lnTo>
                          <a:pt x="3380" y="1686"/>
                        </a:lnTo>
                        <a:lnTo>
                          <a:pt x="3386" y="1684"/>
                        </a:lnTo>
                        <a:lnTo>
                          <a:pt x="3388" y="1682"/>
                        </a:lnTo>
                        <a:lnTo>
                          <a:pt x="3388" y="1678"/>
                        </a:lnTo>
                        <a:lnTo>
                          <a:pt x="3388" y="1678"/>
                        </a:lnTo>
                        <a:lnTo>
                          <a:pt x="3384" y="1674"/>
                        </a:lnTo>
                        <a:lnTo>
                          <a:pt x="3380" y="1672"/>
                        </a:lnTo>
                        <a:lnTo>
                          <a:pt x="3376" y="1670"/>
                        </a:lnTo>
                        <a:lnTo>
                          <a:pt x="3374" y="1662"/>
                        </a:lnTo>
                        <a:lnTo>
                          <a:pt x="3374" y="1662"/>
                        </a:lnTo>
                        <a:lnTo>
                          <a:pt x="3374" y="1658"/>
                        </a:lnTo>
                        <a:lnTo>
                          <a:pt x="3372" y="1658"/>
                        </a:lnTo>
                        <a:lnTo>
                          <a:pt x="3368" y="1658"/>
                        </a:lnTo>
                        <a:lnTo>
                          <a:pt x="3360" y="1658"/>
                        </a:lnTo>
                        <a:lnTo>
                          <a:pt x="3348" y="1654"/>
                        </a:lnTo>
                        <a:lnTo>
                          <a:pt x="3348" y="1654"/>
                        </a:lnTo>
                        <a:lnTo>
                          <a:pt x="3346" y="1652"/>
                        </a:lnTo>
                        <a:lnTo>
                          <a:pt x="3344" y="1650"/>
                        </a:lnTo>
                        <a:lnTo>
                          <a:pt x="3344" y="1644"/>
                        </a:lnTo>
                        <a:lnTo>
                          <a:pt x="3346" y="1638"/>
                        </a:lnTo>
                        <a:lnTo>
                          <a:pt x="3344" y="1638"/>
                        </a:lnTo>
                        <a:lnTo>
                          <a:pt x="3340" y="1640"/>
                        </a:lnTo>
                        <a:lnTo>
                          <a:pt x="3340" y="1640"/>
                        </a:lnTo>
                        <a:lnTo>
                          <a:pt x="3330" y="1642"/>
                        </a:lnTo>
                        <a:lnTo>
                          <a:pt x="3314" y="1644"/>
                        </a:lnTo>
                        <a:lnTo>
                          <a:pt x="3300" y="1646"/>
                        </a:lnTo>
                        <a:lnTo>
                          <a:pt x="3294" y="1648"/>
                        </a:lnTo>
                        <a:lnTo>
                          <a:pt x="3288" y="1652"/>
                        </a:lnTo>
                        <a:lnTo>
                          <a:pt x="3288" y="1652"/>
                        </a:lnTo>
                        <a:lnTo>
                          <a:pt x="3280" y="1656"/>
                        </a:lnTo>
                        <a:lnTo>
                          <a:pt x="3274" y="1656"/>
                        </a:lnTo>
                        <a:lnTo>
                          <a:pt x="3268" y="1656"/>
                        </a:lnTo>
                        <a:lnTo>
                          <a:pt x="3258" y="1654"/>
                        </a:lnTo>
                        <a:lnTo>
                          <a:pt x="3258" y="1654"/>
                        </a:lnTo>
                        <a:lnTo>
                          <a:pt x="3252" y="1654"/>
                        </a:lnTo>
                        <a:lnTo>
                          <a:pt x="3250" y="1652"/>
                        </a:lnTo>
                        <a:lnTo>
                          <a:pt x="3244" y="1646"/>
                        </a:lnTo>
                        <a:lnTo>
                          <a:pt x="3238" y="1636"/>
                        </a:lnTo>
                        <a:lnTo>
                          <a:pt x="3234" y="1632"/>
                        </a:lnTo>
                        <a:lnTo>
                          <a:pt x="3228" y="1630"/>
                        </a:lnTo>
                        <a:lnTo>
                          <a:pt x="3228" y="1630"/>
                        </a:lnTo>
                        <a:lnTo>
                          <a:pt x="3222" y="1628"/>
                        </a:lnTo>
                        <a:lnTo>
                          <a:pt x="3218" y="1628"/>
                        </a:lnTo>
                        <a:lnTo>
                          <a:pt x="3210" y="1632"/>
                        </a:lnTo>
                        <a:lnTo>
                          <a:pt x="3208" y="1634"/>
                        </a:lnTo>
                        <a:lnTo>
                          <a:pt x="3206" y="1634"/>
                        </a:lnTo>
                        <a:lnTo>
                          <a:pt x="3206" y="1632"/>
                        </a:lnTo>
                        <a:lnTo>
                          <a:pt x="3204" y="1628"/>
                        </a:lnTo>
                        <a:lnTo>
                          <a:pt x="3204" y="1628"/>
                        </a:lnTo>
                        <a:lnTo>
                          <a:pt x="3202" y="1618"/>
                        </a:lnTo>
                        <a:lnTo>
                          <a:pt x="3200" y="1616"/>
                        </a:lnTo>
                        <a:lnTo>
                          <a:pt x="3198" y="1614"/>
                        </a:lnTo>
                        <a:lnTo>
                          <a:pt x="3190" y="1618"/>
                        </a:lnTo>
                        <a:lnTo>
                          <a:pt x="3180" y="1628"/>
                        </a:lnTo>
                        <a:lnTo>
                          <a:pt x="3180" y="1628"/>
                        </a:lnTo>
                        <a:lnTo>
                          <a:pt x="3176" y="1632"/>
                        </a:lnTo>
                        <a:lnTo>
                          <a:pt x="3170" y="1634"/>
                        </a:lnTo>
                        <a:lnTo>
                          <a:pt x="3164" y="1636"/>
                        </a:lnTo>
                        <a:lnTo>
                          <a:pt x="3156" y="1636"/>
                        </a:lnTo>
                        <a:lnTo>
                          <a:pt x="3150" y="1638"/>
                        </a:lnTo>
                        <a:lnTo>
                          <a:pt x="3144" y="1642"/>
                        </a:lnTo>
                        <a:lnTo>
                          <a:pt x="3144" y="1642"/>
                        </a:lnTo>
                        <a:lnTo>
                          <a:pt x="3134" y="1648"/>
                        </a:lnTo>
                        <a:lnTo>
                          <a:pt x="3126" y="1650"/>
                        </a:lnTo>
                        <a:lnTo>
                          <a:pt x="3118" y="1648"/>
                        </a:lnTo>
                        <a:lnTo>
                          <a:pt x="3110" y="1648"/>
                        </a:lnTo>
                        <a:lnTo>
                          <a:pt x="3110" y="1648"/>
                        </a:lnTo>
                        <a:lnTo>
                          <a:pt x="3106" y="1650"/>
                        </a:lnTo>
                        <a:lnTo>
                          <a:pt x="3104" y="1648"/>
                        </a:lnTo>
                        <a:lnTo>
                          <a:pt x="3108" y="1640"/>
                        </a:lnTo>
                        <a:lnTo>
                          <a:pt x="3112" y="1632"/>
                        </a:lnTo>
                        <a:lnTo>
                          <a:pt x="3110" y="1630"/>
                        </a:lnTo>
                        <a:lnTo>
                          <a:pt x="3108" y="1628"/>
                        </a:lnTo>
                        <a:lnTo>
                          <a:pt x="3108" y="1628"/>
                        </a:lnTo>
                        <a:lnTo>
                          <a:pt x="3104" y="1628"/>
                        </a:lnTo>
                        <a:lnTo>
                          <a:pt x="3098" y="1630"/>
                        </a:lnTo>
                        <a:lnTo>
                          <a:pt x="3086" y="1636"/>
                        </a:lnTo>
                        <a:lnTo>
                          <a:pt x="3074" y="1642"/>
                        </a:lnTo>
                        <a:lnTo>
                          <a:pt x="3068" y="1642"/>
                        </a:lnTo>
                        <a:lnTo>
                          <a:pt x="3062" y="1642"/>
                        </a:lnTo>
                        <a:lnTo>
                          <a:pt x="3062" y="1642"/>
                        </a:lnTo>
                        <a:lnTo>
                          <a:pt x="3058" y="1640"/>
                        </a:lnTo>
                        <a:lnTo>
                          <a:pt x="3058" y="1638"/>
                        </a:lnTo>
                        <a:lnTo>
                          <a:pt x="3060" y="1636"/>
                        </a:lnTo>
                        <a:lnTo>
                          <a:pt x="3064" y="1632"/>
                        </a:lnTo>
                        <a:lnTo>
                          <a:pt x="3076" y="1620"/>
                        </a:lnTo>
                        <a:lnTo>
                          <a:pt x="3092" y="1606"/>
                        </a:lnTo>
                        <a:lnTo>
                          <a:pt x="3092" y="160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5" name="Freeform 6087"/>
                  <p:cNvSpPr>
                    <a:spLocks/>
                  </p:cNvSpPr>
                  <p:nvPr/>
                </p:nvSpPr>
                <p:spPr bwMode="auto">
                  <a:xfrm>
                    <a:off x="1927860" y="823913"/>
                    <a:ext cx="304800" cy="171450"/>
                  </a:xfrm>
                  <a:custGeom>
                    <a:avLst/>
                    <a:gdLst/>
                    <a:ahLst/>
                    <a:cxnLst>
                      <a:cxn ang="0">
                        <a:pos x="78" y="174"/>
                      </a:cxn>
                      <a:cxn ang="0">
                        <a:pos x="110" y="166"/>
                      </a:cxn>
                      <a:cxn ang="0">
                        <a:pos x="110" y="174"/>
                      </a:cxn>
                      <a:cxn ang="0">
                        <a:pos x="176" y="164"/>
                      </a:cxn>
                      <a:cxn ang="0">
                        <a:pos x="174" y="172"/>
                      </a:cxn>
                      <a:cxn ang="0">
                        <a:pos x="118" y="192"/>
                      </a:cxn>
                      <a:cxn ang="0">
                        <a:pos x="108" y="204"/>
                      </a:cxn>
                      <a:cxn ang="0">
                        <a:pos x="148" y="238"/>
                      </a:cxn>
                      <a:cxn ang="0">
                        <a:pos x="224" y="268"/>
                      </a:cxn>
                      <a:cxn ang="0">
                        <a:pos x="260" y="262"/>
                      </a:cxn>
                      <a:cxn ang="0">
                        <a:pos x="268" y="252"/>
                      </a:cxn>
                      <a:cxn ang="0">
                        <a:pos x="288" y="260"/>
                      </a:cxn>
                      <a:cxn ang="0">
                        <a:pos x="282" y="242"/>
                      </a:cxn>
                      <a:cxn ang="0">
                        <a:pos x="296" y="246"/>
                      </a:cxn>
                      <a:cxn ang="0">
                        <a:pos x="322" y="266"/>
                      </a:cxn>
                      <a:cxn ang="0">
                        <a:pos x="328" y="246"/>
                      </a:cxn>
                      <a:cxn ang="0">
                        <a:pos x="340" y="234"/>
                      </a:cxn>
                      <a:cxn ang="0">
                        <a:pos x="364" y="230"/>
                      </a:cxn>
                      <a:cxn ang="0">
                        <a:pos x="426" y="192"/>
                      </a:cxn>
                      <a:cxn ang="0">
                        <a:pos x="480" y="174"/>
                      </a:cxn>
                      <a:cxn ang="0">
                        <a:pos x="472" y="166"/>
                      </a:cxn>
                      <a:cxn ang="0">
                        <a:pos x="438" y="146"/>
                      </a:cxn>
                      <a:cxn ang="0">
                        <a:pos x="400" y="146"/>
                      </a:cxn>
                      <a:cxn ang="0">
                        <a:pos x="390" y="142"/>
                      </a:cxn>
                      <a:cxn ang="0">
                        <a:pos x="400" y="122"/>
                      </a:cxn>
                      <a:cxn ang="0">
                        <a:pos x="382" y="108"/>
                      </a:cxn>
                      <a:cxn ang="0">
                        <a:pos x="376" y="86"/>
                      </a:cxn>
                      <a:cxn ang="0">
                        <a:pos x="352" y="78"/>
                      </a:cxn>
                      <a:cxn ang="0">
                        <a:pos x="328" y="90"/>
                      </a:cxn>
                      <a:cxn ang="0">
                        <a:pos x="326" y="102"/>
                      </a:cxn>
                      <a:cxn ang="0">
                        <a:pos x="306" y="92"/>
                      </a:cxn>
                      <a:cxn ang="0">
                        <a:pos x="306" y="74"/>
                      </a:cxn>
                      <a:cxn ang="0">
                        <a:pos x="274" y="68"/>
                      </a:cxn>
                      <a:cxn ang="0">
                        <a:pos x="192" y="20"/>
                      </a:cxn>
                      <a:cxn ang="0">
                        <a:pos x="134" y="0"/>
                      </a:cxn>
                      <a:cxn ang="0">
                        <a:pos x="100" y="4"/>
                      </a:cxn>
                      <a:cxn ang="0">
                        <a:pos x="112" y="20"/>
                      </a:cxn>
                      <a:cxn ang="0">
                        <a:pos x="98" y="28"/>
                      </a:cxn>
                      <a:cxn ang="0">
                        <a:pos x="66" y="32"/>
                      </a:cxn>
                      <a:cxn ang="0">
                        <a:pos x="54" y="54"/>
                      </a:cxn>
                      <a:cxn ang="0">
                        <a:pos x="26" y="76"/>
                      </a:cxn>
                      <a:cxn ang="0">
                        <a:pos x="18" y="92"/>
                      </a:cxn>
                      <a:cxn ang="0">
                        <a:pos x="50" y="100"/>
                      </a:cxn>
                      <a:cxn ang="0">
                        <a:pos x="90" y="104"/>
                      </a:cxn>
                      <a:cxn ang="0">
                        <a:pos x="72" y="112"/>
                      </a:cxn>
                      <a:cxn ang="0">
                        <a:pos x="4" y="106"/>
                      </a:cxn>
                      <a:cxn ang="0">
                        <a:pos x="2" y="116"/>
                      </a:cxn>
                      <a:cxn ang="0">
                        <a:pos x="32" y="148"/>
                      </a:cxn>
                    </a:cxnLst>
                    <a:rect l="0" t="0" r="r" b="b"/>
                    <a:pathLst>
                      <a:path w="480" h="270">
                        <a:moveTo>
                          <a:pt x="54" y="164"/>
                        </a:moveTo>
                        <a:lnTo>
                          <a:pt x="54" y="164"/>
                        </a:lnTo>
                        <a:lnTo>
                          <a:pt x="66" y="172"/>
                        </a:lnTo>
                        <a:lnTo>
                          <a:pt x="78" y="174"/>
                        </a:lnTo>
                        <a:lnTo>
                          <a:pt x="88" y="172"/>
                        </a:lnTo>
                        <a:lnTo>
                          <a:pt x="98" y="170"/>
                        </a:lnTo>
                        <a:lnTo>
                          <a:pt x="108" y="164"/>
                        </a:lnTo>
                        <a:lnTo>
                          <a:pt x="110" y="166"/>
                        </a:lnTo>
                        <a:lnTo>
                          <a:pt x="108" y="170"/>
                        </a:lnTo>
                        <a:lnTo>
                          <a:pt x="108" y="170"/>
                        </a:lnTo>
                        <a:lnTo>
                          <a:pt x="108" y="172"/>
                        </a:lnTo>
                        <a:lnTo>
                          <a:pt x="110" y="174"/>
                        </a:lnTo>
                        <a:lnTo>
                          <a:pt x="116" y="176"/>
                        </a:lnTo>
                        <a:lnTo>
                          <a:pt x="142" y="168"/>
                        </a:lnTo>
                        <a:lnTo>
                          <a:pt x="168" y="162"/>
                        </a:lnTo>
                        <a:lnTo>
                          <a:pt x="176" y="164"/>
                        </a:lnTo>
                        <a:lnTo>
                          <a:pt x="176" y="164"/>
                        </a:lnTo>
                        <a:lnTo>
                          <a:pt x="176" y="168"/>
                        </a:lnTo>
                        <a:lnTo>
                          <a:pt x="176" y="168"/>
                        </a:lnTo>
                        <a:lnTo>
                          <a:pt x="174" y="172"/>
                        </a:lnTo>
                        <a:lnTo>
                          <a:pt x="170" y="174"/>
                        </a:lnTo>
                        <a:lnTo>
                          <a:pt x="158" y="180"/>
                        </a:lnTo>
                        <a:lnTo>
                          <a:pt x="130" y="188"/>
                        </a:lnTo>
                        <a:lnTo>
                          <a:pt x="118" y="192"/>
                        </a:lnTo>
                        <a:lnTo>
                          <a:pt x="108" y="196"/>
                        </a:lnTo>
                        <a:lnTo>
                          <a:pt x="104" y="200"/>
                        </a:lnTo>
                        <a:lnTo>
                          <a:pt x="106" y="202"/>
                        </a:lnTo>
                        <a:lnTo>
                          <a:pt x="108" y="204"/>
                        </a:lnTo>
                        <a:lnTo>
                          <a:pt x="108" y="204"/>
                        </a:lnTo>
                        <a:lnTo>
                          <a:pt x="122" y="214"/>
                        </a:lnTo>
                        <a:lnTo>
                          <a:pt x="134" y="226"/>
                        </a:lnTo>
                        <a:lnTo>
                          <a:pt x="148" y="238"/>
                        </a:lnTo>
                        <a:lnTo>
                          <a:pt x="166" y="250"/>
                        </a:lnTo>
                        <a:lnTo>
                          <a:pt x="166" y="250"/>
                        </a:lnTo>
                        <a:lnTo>
                          <a:pt x="194" y="260"/>
                        </a:lnTo>
                        <a:lnTo>
                          <a:pt x="224" y="268"/>
                        </a:lnTo>
                        <a:lnTo>
                          <a:pt x="238" y="270"/>
                        </a:lnTo>
                        <a:lnTo>
                          <a:pt x="250" y="270"/>
                        </a:lnTo>
                        <a:lnTo>
                          <a:pt x="258" y="266"/>
                        </a:lnTo>
                        <a:lnTo>
                          <a:pt x="260" y="262"/>
                        </a:lnTo>
                        <a:lnTo>
                          <a:pt x="262" y="260"/>
                        </a:lnTo>
                        <a:lnTo>
                          <a:pt x="262" y="260"/>
                        </a:lnTo>
                        <a:lnTo>
                          <a:pt x="262" y="254"/>
                        </a:lnTo>
                        <a:lnTo>
                          <a:pt x="268" y="252"/>
                        </a:lnTo>
                        <a:lnTo>
                          <a:pt x="274" y="254"/>
                        </a:lnTo>
                        <a:lnTo>
                          <a:pt x="280" y="256"/>
                        </a:lnTo>
                        <a:lnTo>
                          <a:pt x="284" y="258"/>
                        </a:lnTo>
                        <a:lnTo>
                          <a:pt x="288" y="260"/>
                        </a:lnTo>
                        <a:lnTo>
                          <a:pt x="290" y="258"/>
                        </a:lnTo>
                        <a:lnTo>
                          <a:pt x="286" y="250"/>
                        </a:lnTo>
                        <a:lnTo>
                          <a:pt x="286" y="250"/>
                        </a:lnTo>
                        <a:lnTo>
                          <a:pt x="282" y="242"/>
                        </a:lnTo>
                        <a:lnTo>
                          <a:pt x="280" y="236"/>
                        </a:lnTo>
                        <a:lnTo>
                          <a:pt x="282" y="236"/>
                        </a:lnTo>
                        <a:lnTo>
                          <a:pt x="284" y="236"/>
                        </a:lnTo>
                        <a:lnTo>
                          <a:pt x="296" y="246"/>
                        </a:lnTo>
                        <a:lnTo>
                          <a:pt x="314" y="260"/>
                        </a:lnTo>
                        <a:lnTo>
                          <a:pt x="314" y="260"/>
                        </a:lnTo>
                        <a:lnTo>
                          <a:pt x="320" y="266"/>
                        </a:lnTo>
                        <a:lnTo>
                          <a:pt x="322" y="266"/>
                        </a:lnTo>
                        <a:lnTo>
                          <a:pt x="324" y="266"/>
                        </a:lnTo>
                        <a:lnTo>
                          <a:pt x="326" y="262"/>
                        </a:lnTo>
                        <a:lnTo>
                          <a:pt x="328" y="254"/>
                        </a:lnTo>
                        <a:lnTo>
                          <a:pt x="328" y="246"/>
                        </a:lnTo>
                        <a:lnTo>
                          <a:pt x="330" y="240"/>
                        </a:lnTo>
                        <a:lnTo>
                          <a:pt x="334" y="236"/>
                        </a:lnTo>
                        <a:lnTo>
                          <a:pt x="336" y="234"/>
                        </a:lnTo>
                        <a:lnTo>
                          <a:pt x="340" y="234"/>
                        </a:lnTo>
                        <a:lnTo>
                          <a:pt x="340" y="234"/>
                        </a:lnTo>
                        <a:lnTo>
                          <a:pt x="348" y="236"/>
                        </a:lnTo>
                        <a:lnTo>
                          <a:pt x="356" y="234"/>
                        </a:lnTo>
                        <a:lnTo>
                          <a:pt x="364" y="230"/>
                        </a:lnTo>
                        <a:lnTo>
                          <a:pt x="374" y="226"/>
                        </a:lnTo>
                        <a:lnTo>
                          <a:pt x="414" y="198"/>
                        </a:lnTo>
                        <a:lnTo>
                          <a:pt x="414" y="198"/>
                        </a:lnTo>
                        <a:lnTo>
                          <a:pt x="426" y="192"/>
                        </a:lnTo>
                        <a:lnTo>
                          <a:pt x="440" y="186"/>
                        </a:lnTo>
                        <a:lnTo>
                          <a:pt x="466" y="180"/>
                        </a:lnTo>
                        <a:lnTo>
                          <a:pt x="474" y="176"/>
                        </a:lnTo>
                        <a:lnTo>
                          <a:pt x="480" y="174"/>
                        </a:lnTo>
                        <a:lnTo>
                          <a:pt x="480" y="172"/>
                        </a:lnTo>
                        <a:lnTo>
                          <a:pt x="480" y="170"/>
                        </a:lnTo>
                        <a:lnTo>
                          <a:pt x="472" y="166"/>
                        </a:lnTo>
                        <a:lnTo>
                          <a:pt x="472" y="166"/>
                        </a:lnTo>
                        <a:lnTo>
                          <a:pt x="464" y="162"/>
                        </a:lnTo>
                        <a:lnTo>
                          <a:pt x="456" y="156"/>
                        </a:lnTo>
                        <a:lnTo>
                          <a:pt x="444" y="148"/>
                        </a:lnTo>
                        <a:lnTo>
                          <a:pt x="438" y="146"/>
                        </a:lnTo>
                        <a:lnTo>
                          <a:pt x="430" y="144"/>
                        </a:lnTo>
                        <a:lnTo>
                          <a:pt x="418" y="144"/>
                        </a:lnTo>
                        <a:lnTo>
                          <a:pt x="400" y="146"/>
                        </a:lnTo>
                        <a:lnTo>
                          <a:pt x="400" y="146"/>
                        </a:lnTo>
                        <a:lnTo>
                          <a:pt x="388" y="148"/>
                        </a:lnTo>
                        <a:lnTo>
                          <a:pt x="384" y="148"/>
                        </a:lnTo>
                        <a:lnTo>
                          <a:pt x="386" y="146"/>
                        </a:lnTo>
                        <a:lnTo>
                          <a:pt x="390" y="142"/>
                        </a:lnTo>
                        <a:lnTo>
                          <a:pt x="396" y="136"/>
                        </a:lnTo>
                        <a:lnTo>
                          <a:pt x="400" y="130"/>
                        </a:lnTo>
                        <a:lnTo>
                          <a:pt x="400" y="126"/>
                        </a:lnTo>
                        <a:lnTo>
                          <a:pt x="400" y="122"/>
                        </a:lnTo>
                        <a:lnTo>
                          <a:pt x="396" y="118"/>
                        </a:lnTo>
                        <a:lnTo>
                          <a:pt x="392" y="114"/>
                        </a:lnTo>
                        <a:lnTo>
                          <a:pt x="392" y="114"/>
                        </a:lnTo>
                        <a:lnTo>
                          <a:pt x="382" y="108"/>
                        </a:lnTo>
                        <a:lnTo>
                          <a:pt x="376" y="100"/>
                        </a:lnTo>
                        <a:lnTo>
                          <a:pt x="376" y="96"/>
                        </a:lnTo>
                        <a:lnTo>
                          <a:pt x="376" y="90"/>
                        </a:lnTo>
                        <a:lnTo>
                          <a:pt x="376" y="86"/>
                        </a:lnTo>
                        <a:lnTo>
                          <a:pt x="372" y="82"/>
                        </a:lnTo>
                        <a:lnTo>
                          <a:pt x="366" y="80"/>
                        </a:lnTo>
                        <a:lnTo>
                          <a:pt x="352" y="78"/>
                        </a:lnTo>
                        <a:lnTo>
                          <a:pt x="352" y="78"/>
                        </a:lnTo>
                        <a:lnTo>
                          <a:pt x="338" y="76"/>
                        </a:lnTo>
                        <a:lnTo>
                          <a:pt x="330" y="80"/>
                        </a:lnTo>
                        <a:lnTo>
                          <a:pt x="328" y="84"/>
                        </a:lnTo>
                        <a:lnTo>
                          <a:pt x="328" y="90"/>
                        </a:lnTo>
                        <a:lnTo>
                          <a:pt x="330" y="96"/>
                        </a:lnTo>
                        <a:lnTo>
                          <a:pt x="328" y="100"/>
                        </a:lnTo>
                        <a:lnTo>
                          <a:pt x="328" y="102"/>
                        </a:lnTo>
                        <a:lnTo>
                          <a:pt x="326" y="102"/>
                        </a:lnTo>
                        <a:lnTo>
                          <a:pt x="318" y="100"/>
                        </a:lnTo>
                        <a:lnTo>
                          <a:pt x="318" y="100"/>
                        </a:lnTo>
                        <a:lnTo>
                          <a:pt x="310" y="96"/>
                        </a:lnTo>
                        <a:lnTo>
                          <a:pt x="306" y="92"/>
                        </a:lnTo>
                        <a:lnTo>
                          <a:pt x="306" y="86"/>
                        </a:lnTo>
                        <a:lnTo>
                          <a:pt x="308" y="82"/>
                        </a:lnTo>
                        <a:lnTo>
                          <a:pt x="308" y="78"/>
                        </a:lnTo>
                        <a:lnTo>
                          <a:pt x="306" y="74"/>
                        </a:lnTo>
                        <a:lnTo>
                          <a:pt x="298" y="70"/>
                        </a:lnTo>
                        <a:lnTo>
                          <a:pt x="284" y="70"/>
                        </a:lnTo>
                        <a:lnTo>
                          <a:pt x="284" y="70"/>
                        </a:lnTo>
                        <a:lnTo>
                          <a:pt x="274" y="68"/>
                        </a:lnTo>
                        <a:lnTo>
                          <a:pt x="266" y="66"/>
                        </a:lnTo>
                        <a:lnTo>
                          <a:pt x="248" y="56"/>
                        </a:lnTo>
                        <a:lnTo>
                          <a:pt x="212" y="32"/>
                        </a:lnTo>
                        <a:lnTo>
                          <a:pt x="192" y="20"/>
                        </a:lnTo>
                        <a:lnTo>
                          <a:pt x="170" y="10"/>
                        </a:lnTo>
                        <a:lnTo>
                          <a:pt x="158" y="6"/>
                        </a:lnTo>
                        <a:lnTo>
                          <a:pt x="146" y="2"/>
                        </a:lnTo>
                        <a:lnTo>
                          <a:pt x="134" y="0"/>
                        </a:lnTo>
                        <a:lnTo>
                          <a:pt x="118" y="0"/>
                        </a:lnTo>
                        <a:lnTo>
                          <a:pt x="118" y="0"/>
                        </a:lnTo>
                        <a:lnTo>
                          <a:pt x="104" y="2"/>
                        </a:lnTo>
                        <a:lnTo>
                          <a:pt x="100" y="4"/>
                        </a:lnTo>
                        <a:lnTo>
                          <a:pt x="100" y="6"/>
                        </a:lnTo>
                        <a:lnTo>
                          <a:pt x="102" y="10"/>
                        </a:lnTo>
                        <a:lnTo>
                          <a:pt x="108" y="14"/>
                        </a:lnTo>
                        <a:lnTo>
                          <a:pt x="112" y="20"/>
                        </a:lnTo>
                        <a:lnTo>
                          <a:pt x="114" y="24"/>
                        </a:lnTo>
                        <a:lnTo>
                          <a:pt x="114" y="24"/>
                        </a:lnTo>
                        <a:lnTo>
                          <a:pt x="110" y="26"/>
                        </a:lnTo>
                        <a:lnTo>
                          <a:pt x="98" y="28"/>
                        </a:lnTo>
                        <a:lnTo>
                          <a:pt x="98" y="28"/>
                        </a:lnTo>
                        <a:lnTo>
                          <a:pt x="82" y="28"/>
                        </a:lnTo>
                        <a:lnTo>
                          <a:pt x="70" y="30"/>
                        </a:lnTo>
                        <a:lnTo>
                          <a:pt x="66" y="32"/>
                        </a:lnTo>
                        <a:lnTo>
                          <a:pt x="64" y="36"/>
                        </a:lnTo>
                        <a:lnTo>
                          <a:pt x="58" y="48"/>
                        </a:lnTo>
                        <a:lnTo>
                          <a:pt x="58" y="48"/>
                        </a:lnTo>
                        <a:lnTo>
                          <a:pt x="54" y="54"/>
                        </a:lnTo>
                        <a:lnTo>
                          <a:pt x="52" y="58"/>
                        </a:lnTo>
                        <a:lnTo>
                          <a:pt x="42" y="64"/>
                        </a:lnTo>
                        <a:lnTo>
                          <a:pt x="32" y="72"/>
                        </a:lnTo>
                        <a:lnTo>
                          <a:pt x="26" y="76"/>
                        </a:lnTo>
                        <a:lnTo>
                          <a:pt x="20" y="84"/>
                        </a:lnTo>
                        <a:lnTo>
                          <a:pt x="20" y="84"/>
                        </a:lnTo>
                        <a:lnTo>
                          <a:pt x="18" y="88"/>
                        </a:lnTo>
                        <a:lnTo>
                          <a:pt x="18" y="92"/>
                        </a:lnTo>
                        <a:lnTo>
                          <a:pt x="20" y="94"/>
                        </a:lnTo>
                        <a:lnTo>
                          <a:pt x="24" y="96"/>
                        </a:lnTo>
                        <a:lnTo>
                          <a:pt x="34" y="98"/>
                        </a:lnTo>
                        <a:lnTo>
                          <a:pt x="50" y="100"/>
                        </a:lnTo>
                        <a:lnTo>
                          <a:pt x="78" y="102"/>
                        </a:lnTo>
                        <a:lnTo>
                          <a:pt x="86" y="102"/>
                        </a:lnTo>
                        <a:lnTo>
                          <a:pt x="88" y="102"/>
                        </a:lnTo>
                        <a:lnTo>
                          <a:pt x="90" y="104"/>
                        </a:lnTo>
                        <a:lnTo>
                          <a:pt x="90" y="104"/>
                        </a:lnTo>
                        <a:lnTo>
                          <a:pt x="86" y="108"/>
                        </a:lnTo>
                        <a:lnTo>
                          <a:pt x="82" y="110"/>
                        </a:lnTo>
                        <a:lnTo>
                          <a:pt x="72" y="112"/>
                        </a:lnTo>
                        <a:lnTo>
                          <a:pt x="58" y="112"/>
                        </a:lnTo>
                        <a:lnTo>
                          <a:pt x="42" y="110"/>
                        </a:lnTo>
                        <a:lnTo>
                          <a:pt x="14" y="106"/>
                        </a:lnTo>
                        <a:lnTo>
                          <a:pt x="4" y="106"/>
                        </a:lnTo>
                        <a:lnTo>
                          <a:pt x="2" y="108"/>
                        </a:lnTo>
                        <a:lnTo>
                          <a:pt x="0" y="110"/>
                        </a:lnTo>
                        <a:lnTo>
                          <a:pt x="0" y="110"/>
                        </a:lnTo>
                        <a:lnTo>
                          <a:pt x="2" y="116"/>
                        </a:lnTo>
                        <a:lnTo>
                          <a:pt x="4" y="122"/>
                        </a:lnTo>
                        <a:lnTo>
                          <a:pt x="8" y="128"/>
                        </a:lnTo>
                        <a:lnTo>
                          <a:pt x="14" y="134"/>
                        </a:lnTo>
                        <a:lnTo>
                          <a:pt x="32" y="148"/>
                        </a:lnTo>
                        <a:lnTo>
                          <a:pt x="54" y="164"/>
                        </a:lnTo>
                        <a:lnTo>
                          <a:pt x="54" y="16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6" name="Freeform 6088"/>
                  <p:cNvSpPr>
                    <a:spLocks/>
                  </p:cNvSpPr>
                  <p:nvPr/>
                </p:nvSpPr>
                <p:spPr bwMode="auto">
                  <a:xfrm>
                    <a:off x="2100580" y="1206183"/>
                    <a:ext cx="734060" cy="539750"/>
                  </a:xfrm>
                  <a:custGeom>
                    <a:avLst/>
                    <a:gdLst/>
                    <a:ahLst/>
                    <a:cxnLst>
                      <a:cxn ang="0">
                        <a:pos x="1088" y="504"/>
                      </a:cxn>
                      <a:cxn ang="0">
                        <a:pos x="1060" y="480"/>
                      </a:cxn>
                      <a:cxn ang="0">
                        <a:pos x="960" y="426"/>
                      </a:cxn>
                      <a:cxn ang="0">
                        <a:pos x="890" y="396"/>
                      </a:cxn>
                      <a:cxn ang="0">
                        <a:pos x="890" y="348"/>
                      </a:cxn>
                      <a:cxn ang="0">
                        <a:pos x="926" y="328"/>
                      </a:cxn>
                      <a:cxn ang="0">
                        <a:pos x="926" y="298"/>
                      </a:cxn>
                      <a:cxn ang="0">
                        <a:pos x="846" y="276"/>
                      </a:cxn>
                      <a:cxn ang="0">
                        <a:pos x="844" y="232"/>
                      </a:cxn>
                      <a:cxn ang="0">
                        <a:pos x="782" y="204"/>
                      </a:cxn>
                      <a:cxn ang="0">
                        <a:pos x="706" y="174"/>
                      </a:cxn>
                      <a:cxn ang="0">
                        <a:pos x="642" y="134"/>
                      </a:cxn>
                      <a:cxn ang="0">
                        <a:pos x="560" y="98"/>
                      </a:cxn>
                      <a:cxn ang="0">
                        <a:pos x="462" y="112"/>
                      </a:cxn>
                      <a:cxn ang="0">
                        <a:pos x="404" y="110"/>
                      </a:cxn>
                      <a:cxn ang="0">
                        <a:pos x="388" y="90"/>
                      </a:cxn>
                      <a:cxn ang="0">
                        <a:pos x="352" y="18"/>
                      </a:cxn>
                      <a:cxn ang="0">
                        <a:pos x="200" y="50"/>
                      </a:cxn>
                      <a:cxn ang="0">
                        <a:pos x="174" y="84"/>
                      </a:cxn>
                      <a:cxn ang="0">
                        <a:pos x="168" y="138"/>
                      </a:cxn>
                      <a:cxn ang="0">
                        <a:pos x="222" y="180"/>
                      </a:cxn>
                      <a:cxn ang="0">
                        <a:pos x="150" y="122"/>
                      </a:cxn>
                      <a:cxn ang="0">
                        <a:pos x="188" y="26"/>
                      </a:cxn>
                      <a:cxn ang="0">
                        <a:pos x="116" y="8"/>
                      </a:cxn>
                      <a:cxn ang="0">
                        <a:pos x="18" y="90"/>
                      </a:cxn>
                      <a:cxn ang="0">
                        <a:pos x="58" y="196"/>
                      </a:cxn>
                      <a:cxn ang="0">
                        <a:pos x="40" y="216"/>
                      </a:cxn>
                      <a:cxn ang="0">
                        <a:pos x="118" y="270"/>
                      </a:cxn>
                      <a:cxn ang="0">
                        <a:pos x="234" y="288"/>
                      </a:cxn>
                      <a:cxn ang="0">
                        <a:pos x="336" y="290"/>
                      </a:cxn>
                      <a:cxn ang="0">
                        <a:pos x="358" y="284"/>
                      </a:cxn>
                      <a:cxn ang="0">
                        <a:pos x="462" y="284"/>
                      </a:cxn>
                      <a:cxn ang="0">
                        <a:pos x="498" y="274"/>
                      </a:cxn>
                      <a:cxn ang="0">
                        <a:pos x="580" y="338"/>
                      </a:cxn>
                      <a:cxn ang="0">
                        <a:pos x="538" y="376"/>
                      </a:cxn>
                      <a:cxn ang="0">
                        <a:pos x="654" y="402"/>
                      </a:cxn>
                      <a:cxn ang="0">
                        <a:pos x="712" y="474"/>
                      </a:cxn>
                      <a:cxn ang="0">
                        <a:pos x="640" y="558"/>
                      </a:cxn>
                      <a:cxn ang="0">
                        <a:pos x="628" y="608"/>
                      </a:cxn>
                      <a:cxn ang="0">
                        <a:pos x="510" y="624"/>
                      </a:cxn>
                      <a:cxn ang="0">
                        <a:pos x="514" y="688"/>
                      </a:cxn>
                      <a:cxn ang="0">
                        <a:pos x="616" y="688"/>
                      </a:cxn>
                      <a:cxn ang="0">
                        <a:pos x="656" y="674"/>
                      </a:cxn>
                      <a:cxn ang="0">
                        <a:pos x="736" y="724"/>
                      </a:cxn>
                      <a:cxn ang="0">
                        <a:pos x="732" y="752"/>
                      </a:cxn>
                      <a:cxn ang="0">
                        <a:pos x="854" y="818"/>
                      </a:cxn>
                      <a:cxn ang="0">
                        <a:pos x="966" y="822"/>
                      </a:cxn>
                      <a:cxn ang="0">
                        <a:pos x="854" y="724"/>
                      </a:cxn>
                      <a:cxn ang="0">
                        <a:pos x="908" y="744"/>
                      </a:cxn>
                      <a:cxn ang="0">
                        <a:pos x="1012" y="814"/>
                      </a:cxn>
                      <a:cxn ang="0">
                        <a:pos x="1018" y="766"/>
                      </a:cxn>
                      <a:cxn ang="0">
                        <a:pos x="1022" y="724"/>
                      </a:cxn>
                      <a:cxn ang="0">
                        <a:pos x="1000" y="694"/>
                      </a:cxn>
                      <a:cxn ang="0">
                        <a:pos x="942" y="632"/>
                      </a:cxn>
                      <a:cxn ang="0">
                        <a:pos x="890" y="586"/>
                      </a:cxn>
                      <a:cxn ang="0">
                        <a:pos x="902" y="544"/>
                      </a:cxn>
                      <a:cxn ang="0">
                        <a:pos x="942" y="544"/>
                      </a:cxn>
                      <a:cxn ang="0">
                        <a:pos x="990" y="580"/>
                      </a:cxn>
                      <a:cxn ang="0">
                        <a:pos x="1070" y="648"/>
                      </a:cxn>
                      <a:cxn ang="0">
                        <a:pos x="1102" y="596"/>
                      </a:cxn>
                      <a:cxn ang="0">
                        <a:pos x="1128" y="568"/>
                      </a:cxn>
                      <a:cxn ang="0">
                        <a:pos x="1148" y="514"/>
                      </a:cxn>
                    </a:cxnLst>
                    <a:rect l="0" t="0" r="r" b="b"/>
                    <a:pathLst>
                      <a:path w="1156" h="850">
                        <a:moveTo>
                          <a:pt x="1148" y="514"/>
                        </a:moveTo>
                        <a:lnTo>
                          <a:pt x="1148" y="514"/>
                        </a:lnTo>
                        <a:lnTo>
                          <a:pt x="1144" y="506"/>
                        </a:lnTo>
                        <a:lnTo>
                          <a:pt x="1138" y="502"/>
                        </a:lnTo>
                        <a:lnTo>
                          <a:pt x="1134" y="500"/>
                        </a:lnTo>
                        <a:lnTo>
                          <a:pt x="1128" y="498"/>
                        </a:lnTo>
                        <a:lnTo>
                          <a:pt x="1116" y="498"/>
                        </a:lnTo>
                        <a:lnTo>
                          <a:pt x="1106" y="502"/>
                        </a:lnTo>
                        <a:lnTo>
                          <a:pt x="1096" y="506"/>
                        </a:lnTo>
                        <a:lnTo>
                          <a:pt x="1090" y="508"/>
                        </a:lnTo>
                        <a:lnTo>
                          <a:pt x="1088" y="506"/>
                        </a:lnTo>
                        <a:lnTo>
                          <a:pt x="1088" y="504"/>
                        </a:lnTo>
                        <a:lnTo>
                          <a:pt x="1090" y="496"/>
                        </a:lnTo>
                        <a:lnTo>
                          <a:pt x="1090" y="496"/>
                        </a:lnTo>
                        <a:lnTo>
                          <a:pt x="1092" y="486"/>
                        </a:lnTo>
                        <a:lnTo>
                          <a:pt x="1090" y="482"/>
                        </a:lnTo>
                        <a:lnTo>
                          <a:pt x="1088" y="480"/>
                        </a:lnTo>
                        <a:lnTo>
                          <a:pt x="1084" y="480"/>
                        </a:lnTo>
                        <a:lnTo>
                          <a:pt x="1076" y="482"/>
                        </a:lnTo>
                        <a:lnTo>
                          <a:pt x="1062" y="486"/>
                        </a:lnTo>
                        <a:lnTo>
                          <a:pt x="1060" y="486"/>
                        </a:lnTo>
                        <a:lnTo>
                          <a:pt x="1058" y="486"/>
                        </a:lnTo>
                        <a:lnTo>
                          <a:pt x="1060" y="480"/>
                        </a:lnTo>
                        <a:lnTo>
                          <a:pt x="1060" y="480"/>
                        </a:lnTo>
                        <a:lnTo>
                          <a:pt x="1062" y="472"/>
                        </a:lnTo>
                        <a:lnTo>
                          <a:pt x="1062" y="466"/>
                        </a:lnTo>
                        <a:lnTo>
                          <a:pt x="1060" y="462"/>
                        </a:lnTo>
                        <a:lnTo>
                          <a:pt x="1056" y="458"/>
                        </a:lnTo>
                        <a:lnTo>
                          <a:pt x="1042" y="450"/>
                        </a:lnTo>
                        <a:lnTo>
                          <a:pt x="1022" y="436"/>
                        </a:lnTo>
                        <a:lnTo>
                          <a:pt x="1022" y="436"/>
                        </a:lnTo>
                        <a:lnTo>
                          <a:pt x="1010" y="430"/>
                        </a:lnTo>
                        <a:lnTo>
                          <a:pt x="996" y="428"/>
                        </a:lnTo>
                        <a:lnTo>
                          <a:pt x="984" y="426"/>
                        </a:lnTo>
                        <a:lnTo>
                          <a:pt x="970" y="426"/>
                        </a:lnTo>
                        <a:lnTo>
                          <a:pt x="960" y="426"/>
                        </a:lnTo>
                        <a:lnTo>
                          <a:pt x="950" y="424"/>
                        </a:lnTo>
                        <a:lnTo>
                          <a:pt x="944" y="420"/>
                        </a:lnTo>
                        <a:lnTo>
                          <a:pt x="942" y="416"/>
                        </a:lnTo>
                        <a:lnTo>
                          <a:pt x="940" y="410"/>
                        </a:lnTo>
                        <a:lnTo>
                          <a:pt x="940" y="410"/>
                        </a:lnTo>
                        <a:lnTo>
                          <a:pt x="938" y="406"/>
                        </a:lnTo>
                        <a:lnTo>
                          <a:pt x="936" y="402"/>
                        </a:lnTo>
                        <a:lnTo>
                          <a:pt x="930" y="400"/>
                        </a:lnTo>
                        <a:lnTo>
                          <a:pt x="926" y="398"/>
                        </a:lnTo>
                        <a:lnTo>
                          <a:pt x="914" y="396"/>
                        </a:lnTo>
                        <a:lnTo>
                          <a:pt x="900" y="396"/>
                        </a:lnTo>
                        <a:lnTo>
                          <a:pt x="890" y="396"/>
                        </a:lnTo>
                        <a:lnTo>
                          <a:pt x="882" y="394"/>
                        </a:lnTo>
                        <a:lnTo>
                          <a:pt x="882" y="394"/>
                        </a:lnTo>
                        <a:lnTo>
                          <a:pt x="882" y="392"/>
                        </a:lnTo>
                        <a:lnTo>
                          <a:pt x="890" y="384"/>
                        </a:lnTo>
                        <a:lnTo>
                          <a:pt x="890" y="384"/>
                        </a:lnTo>
                        <a:lnTo>
                          <a:pt x="896" y="380"/>
                        </a:lnTo>
                        <a:lnTo>
                          <a:pt x="900" y="376"/>
                        </a:lnTo>
                        <a:lnTo>
                          <a:pt x="902" y="372"/>
                        </a:lnTo>
                        <a:lnTo>
                          <a:pt x="902" y="366"/>
                        </a:lnTo>
                        <a:lnTo>
                          <a:pt x="900" y="360"/>
                        </a:lnTo>
                        <a:lnTo>
                          <a:pt x="894" y="352"/>
                        </a:lnTo>
                        <a:lnTo>
                          <a:pt x="890" y="348"/>
                        </a:lnTo>
                        <a:lnTo>
                          <a:pt x="888" y="344"/>
                        </a:lnTo>
                        <a:lnTo>
                          <a:pt x="890" y="344"/>
                        </a:lnTo>
                        <a:lnTo>
                          <a:pt x="902" y="346"/>
                        </a:lnTo>
                        <a:lnTo>
                          <a:pt x="902" y="346"/>
                        </a:lnTo>
                        <a:lnTo>
                          <a:pt x="916" y="348"/>
                        </a:lnTo>
                        <a:lnTo>
                          <a:pt x="928" y="348"/>
                        </a:lnTo>
                        <a:lnTo>
                          <a:pt x="938" y="346"/>
                        </a:lnTo>
                        <a:lnTo>
                          <a:pt x="942" y="342"/>
                        </a:lnTo>
                        <a:lnTo>
                          <a:pt x="944" y="340"/>
                        </a:lnTo>
                        <a:lnTo>
                          <a:pt x="944" y="338"/>
                        </a:lnTo>
                        <a:lnTo>
                          <a:pt x="938" y="334"/>
                        </a:lnTo>
                        <a:lnTo>
                          <a:pt x="926" y="328"/>
                        </a:lnTo>
                        <a:lnTo>
                          <a:pt x="906" y="324"/>
                        </a:lnTo>
                        <a:lnTo>
                          <a:pt x="906" y="324"/>
                        </a:lnTo>
                        <a:lnTo>
                          <a:pt x="876" y="318"/>
                        </a:lnTo>
                        <a:lnTo>
                          <a:pt x="876" y="318"/>
                        </a:lnTo>
                        <a:lnTo>
                          <a:pt x="876" y="318"/>
                        </a:lnTo>
                        <a:lnTo>
                          <a:pt x="880" y="316"/>
                        </a:lnTo>
                        <a:lnTo>
                          <a:pt x="900" y="312"/>
                        </a:lnTo>
                        <a:lnTo>
                          <a:pt x="910" y="308"/>
                        </a:lnTo>
                        <a:lnTo>
                          <a:pt x="920" y="304"/>
                        </a:lnTo>
                        <a:lnTo>
                          <a:pt x="920" y="304"/>
                        </a:lnTo>
                        <a:lnTo>
                          <a:pt x="924" y="300"/>
                        </a:lnTo>
                        <a:lnTo>
                          <a:pt x="926" y="298"/>
                        </a:lnTo>
                        <a:lnTo>
                          <a:pt x="926" y="294"/>
                        </a:lnTo>
                        <a:lnTo>
                          <a:pt x="926" y="290"/>
                        </a:lnTo>
                        <a:lnTo>
                          <a:pt x="922" y="284"/>
                        </a:lnTo>
                        <a:lnTo>
                          <a:pt x="914" y="278"/>
                        </a:lnTo>
                        <a:lnTo>
                          <a:pt x="904" y="272"/>
                        </a:lnTo>
                        <a:lnTo>
                          <a:pt x="894" y="268"/>
                        </a:lnTo>
                        <a:lnTo>
                          <a:pt x="886" y="268"/>
                        </a:lnTo>
                        <a:lnTo>
                          <a:pt x="880" y="270"/>
                        </a:lnTo>
                        <a:lnTo>
                          <a:pt x="880" y="270"/>
                        </a:lnTo>
                        <a:lnTo>
                          <a:pt x="872" y="274"/>
                        </a:lnTo>
                        <a:lnTo>
                          <a:pt x="864" y="276"/>
                        </a:lnTo>
                        <a:lnTo>
                          <a:pt x="846" y="276"/>
                        </a:lnTo>
                        <a:lnTo>
                          <a:pt x="842" y="276"/>
                        </a:lnTo>
                        <a:lnTo>
                          <a:pt x="840" y="274"/>
                        </a:lnTo>
                        <a:lnTo>
                          <a:pt x="842" y="270"/>
                        </a:lnTo>
                        <a:lnTo>
                          <a:pt x="852" y="266"/>
                        </a:lnTo>
                        <a:lnTo>
                          <a:pt x="852" y="266"/>
                        </a:lnTo>
                        <a:lnTo>
                          <a:pt x="874" y="258"/>
                        </a:lnTo>
                        <a:lnTo>
                          <a:pt x="880" y="254"/>
                        </a:lnTo>
                        <a:lnTo>
                          <a:pt x="882" y="252"/>
                        </a:lnTo>
                        <a:lnTo>
                          <a:pt x="878" y="248"/>
                        </a:lnTo>
                        <a:lnTo>
                          <a:pt x="872" y="244"/>
                        </a:lnTo>
                        <a:lnTo>
                          <a:pt x="844" y="232"/>
                        </a:lnTo>
                        <a:lnTo>
                          <a:pt x="844" y="232"/>
                        </a:lnTo>
                        <a:lnTo>
                          <a:pt x="826" y="226"/>
                        </a:lnTo>
                        <a:lnTo>
                          <a:pt x="812" y="226"/>
                        </a:lnTo>
                        <a:lnTo>
                          <a:pt x="802" y="228"/>
                        </a:lnTo>
                        <a:lnTo>
                          <a:pt x="794" y="230"/>
                        </a:lnTo>
                        <a:lnTo>
                          <a:pt x="790" y="232"/>
                        </a:lnTo>
                        <a:lnTo>
                          <a:pt x="786" y="232"/>
                        </a:lnTo>
                        <a:lnTo>
                          <a:pt x="786" y="230"/>
                        </a:lnTo>
                        <a:lnTo>
                          <a:pt x="786" y="220"/>
                        </a:lnTo>
                        <a:lnTo>
                          <a:pt x="786" y="220"/>
                        </a:lnTo>
                        <a:lnTo>
                          <a:pt x="788" y="210"/>
                        </a:lnTo>
                        <a:lnTo>
                          <a:pt x="784" y="206"/>
                        </a:lnTo>
                        <a:lnTo>
                          <a:pt x="782" y="204"/>
                        </a:lnTo>
                        <a:lnTo>
                          <a:pt x="776" y="204"/>
                        </a:lnTo>
                        <a:lnTo>
                          <a:pt x="768" y="206"/>
                        </a:lnTo>
                        <a:lnTo>
                          <a:pt x="764" y="204"/>
                        </a:lnTo>
                        <a:lnTo>
                          <a:pt x="762" y="198"/>
                        </a:lnTo>
                        <a:lnTo>
                          <a:pt x="762" y="198"/>
                        </a:lnTo>
                        <a:lnTo>
                          <a:pt x="762" y="190"/>
                        </a:lnTo>
                        <a:lnTo>
                          <a:pt x="756" y="184"/>
                        </a:lnTo>
                        <a:lnTo>
                          <a:pt x="748" y="178"/>
                        </a:lnTo>
                        <a:lnTo>
                          <a:pt x="738" y="174"/>
                        </a:lnTo>
                        <a:lnTo>
                          <a:pt x="728" y="170"/>
                        </a:lnTo>
                        <a:lnTo>
                          <a:pt x="716" y="170"/>
                        </a:lnTo>
                        <a:lnTo>
                          <a:pt x="706" y="174"/>
                        </a:lnTo>
                        <a:lnTo>
                          <a:pt x="696" y="182"/>
                        </a:lnTo>
                        <a:lnTo>
                          <a:pt x="696" y="182"/>
                        </a:lnTo>
                        <a:lnTo>
                          <a:pt x="686" y="190"/>
                        </a:lnTo>
                        <a:lnTo>
                          <a:pt x="680" y="192"/>
                        </a:lnTo>
                        <a:lnTo>
                          <a:pt x="674" y="190"/>
                        </a:lnTo>
                        <a:lnTo>
                          <a:pt x="670" y="186"/>
                        </a:lnTo>
                        <a:lnTo>
                          <a:pt x="666" y="178"/>
                        </a:lnTo>
                        <a:lnTo>
                          <a:pt x="662" y="168"/>
                        </a:lnTo>
                        <a:lnTo>
                          <a:pt x="652" y="148"/>
                        </a:lnTo>
                        <a:lnTo>
                          <a:pt x="652" y="148"/>
                        </a:lnTo>
                        <a:lnTo>
                          <a:pt x="648" y="138"/>
                        </a:lnTo>
                        <a:lnTo>
                          <a:pt x="642" y="134"/>
                        </a:lnTo>
                        <a:lnTo>
                          <a:pt x="638" y="134"/>
                        </a:lnTo>
                        <a:lnTo>
                          <a:pt x="632" y="134"/>
                        </a:lnTo>
                        <a:lnTo>
                          <a:pt x="628" y="134"/>
                        </a:lnTo>
                        <a:lnTo>
                          <a:pt x="622" y="134"/>
                        </a:lnTo>
                        <a:lnTo>
                          <a:pt x="616" y="128"/>
                        </a:lnTo>
                        <a:lnTo>
                          <a:pt x="610" y="120"/>
                        </a:lnTo>
                        <a:lnTo>
                          <a:pt x="610" y="120"/>
                        </a:lnTo>
                        <a:lnTo>
                          <a:pt x="602" y="110"/>
                        </a:lnTo>
                        <a:lnTo>
                          <a:pt x="594" y="104"/>
                        </a:lnTo>
                        <a:lnTo>
                          <a:pt x="586" y="100"/>
                        </a:lnTo>
                        <a:lnTo>
                          <a:pt x="578" y="100"/>
                        </a:lnTo>
                        <a:lnTo>
                          <a:pt x="560" y="98"/>
                        </a:lnTo>
                        <a:lnTo>
                          <a:pt x="552" y="98"/>
                        </a:lnTo>
                        <a:lnTo>
                          <a:pt x="546" y="94"/>
                        </a:lnTo>
                        <a:lnTo>
                          <a:pt x="546" y="94"/>
                        </a:lnTo>
                        <a:lnTo>
                          <a:pt x="528" y="88"/>
                        </a:lnTo>
                        <a:lnTo>
                          <a:pt x="518" y="84"/>
                        </a:lnTo>
                        <a:lnTo>
                          <a:pt x="506" y="82"/>
                        </a:lnTo>
                        <a:lnTo>
                          <a:pt x="494" y="84"/>
                        </a:lnTo>
                        <a:lnTo>
                          <a:pt x="484" y="88"/>
                        </a:lnTo>
                        <a:lnTo>
                          <a:pt x="474" y="94"/>
                        </a:lnTo>
                        <a:lnTo>
                          <a:pt x="466" y="106"/>
                        </a:lnTo>
                        <a:lnTo>
                          <a:pt x="466" y="106"/>
                        </a:lnTo>
                        <a:lnTo>
                          <a:pt x="462" y="112"/>
                        </a:lnTo>
                        <a:lnTo>
                          <a:pt x="460" y="116"/>
                        </a:lnTo>
                        <a:lnTo>
                          <a:pt x="456" y="118"/>
                        </a:lnTo>
                        <a:lnTo>
                          <a:pt x="452" y="118"/>
                        </a:lnTo>
                        <a:lnTo>
                          <a:pt x="444" y="116"/>
                        </a:lnTo>
                        <a:lnTo>
                          <a:pt x="436" y="112"/>
                        </a:lnTo>
                        <a:lnTo>
                          <a:pt x="428" y="106"/>
                        </a:lnTo>
                        <a:lnTo>
                          <a:pt x="420" y="104"/>
                        </a:lnTo>
                        <a:lnTo>
                          <a:pt x="416" y="102"/>
                        </a:lnTo>
                        <a:lnTo>
                          <a:pt x="412" y="104"/>
                        </a:lnTo>
                        <a:lnTo>
                          <a:pt x="408" y="106"/>
                        </a:lnTo>
                        <a:lnTo>
                          <a:pt x="404" y="110"/>
                        </a:lnTo>
                        <a:lnTo>
                          <a:pt x="404" y="110"/>
                        </a:lnTo>
                        <a:lnTo>
                          <a:pt x="396" y="118"/>
                        </a:lnTo>
                        <a:lnTo>
                          <a:pt x="388" y="124"/>
                        </a:lnTo>
                        <a:lnTo>
                          <a:pt x="380" y="130"/>
                        </a:lnTo>
                        <a:lnTo>
                          <a:pt x="376" y="132"/>
                        </a:lnTo>
                        <a:lnTo>
                          <a:pt x="372" y="132"/>
                        </a:lnTo>
                        <a:lnTo>
                          <a:pt x="370" y="130"/>
                        </a:lnTo>
                        <a:lnTo>
                          <a:pt x="372" y="126"/>
                        </a:lnTo>
                        <a:lnTo>
                          <a:pt x="376" y="118"/>
                        </a:lnTo>
                        <a:lnTo>
                          <a:pt x="376" y="118"/>
                        </a:lnTo>
                        <a:lnTo>
                          <a:pt x="382" y="110"/>
                        </a:lnTo>
                        <a:lnTo>
                          <a:pt x="386" y="100"/>
                        </a:lnTo>
                        <a:lnTo>
                          <a:pt x="388" y="90"/>
                        </a:lnTo>
                        <a:lnTo>
                          <a:pt x="388" y="82"/>
                        </a:lnTo>
                        <a:lnTo>
                          <a:pt x="386" y="72"/>
                        </a:lnTo>
                        <a:lnTo>
                          <a:pt x="382" y="64"/>
                        </a:lnTo>
                        <a:lnTo>
                          <a:pt x="376" y="58"/>
                        </a:lnTo>
                        <a:lnTo>
                          <a:pt x="368" y="54"/>
                        </a:lnTo>
                        <a:lnTo>
                          <a:pt x="368" y="54"/>
                        </a:lnTo>
                        <a:lnTo>
                          <a:pt x="360" y="50"/>
                        </a:lnTo>
                        <a:lnTo>
                          <a:pt x="356" y="44"/>
                        </a:lnTo>
                        <a:lnTo>
                          <a:pt x="356" y="38"/>
                        </a:lnTo>
                        <a:lnTo>
                          <a:pt x="354" y="32"/>
                        </a:lnTo>
                        <a:lnTo>
                          <a:pt x="354" y="24"/>
                        </a:lnTo>
                        <a:lnTo>
                          <a:pt x="352" y="18"/>
                        </a:lnTo>
                        <a:lnTo>
                          <a:pt x="346" y="14"/>
                        </a:lnTo>
                        <a:lnTo>
                          <a:pt x="338" y="12"/>
                        </a:lnTo>
                        <a:lnTo>
                          <a:pt x="338" y="12"/>
                        </a:lnTo>
                        <a:lnTo>
                          <a:pt x="326" y="10"/>
                        </a:lnTo>
                        <a:lnTo>
                          <a:pt x="306" y="12"/>
                        </a:lnTo>
                        <a:lnTo>
                          <a:pt x="282" y="14"/>
                        </a:lnTo>
                        <a:lnTo>
                          <a:pt x="260" y="18"/>
                        </a:lnTo>
                        <a:lnTo>
                          <a:pt x="236" y="24"/>
                        </a:lnTo>
                        <a:lnTo>
                          <a:pt x="218" y="32"/>
                        </a:lnTo>
                        <a:lnTo>
                          <a:pt x="210" y="38"/>
                        </a:lnTo>
                        <a:lnTo>
                          <a:pt x="204" y="44"/>
                        </a:lnTo>
                        <a:lnTo>
                          <a:pt x="200" y="50"/>
                        </a:lnTo>
                        <a:lnTo>
                          <a:pt x="198" y="56"/>
                        </a:lnTo>
                        <a:lnTo>
                          <a:pt x="198" y="56"/>
                        </a:lnTo>
                        <a:lnTo>
                          <a:pt x="198" y="62"/>
                        </a:lnTo>
                        <a:lnTo>
                          <a:pt x="196" y="66"/>
                        </a:lnTo>
                        <a:lnTo>
                          <a:pt x="194" y="68"/>
                        </a:lnTo>
                        <a:lnTo>
                          <a:pt x="192" y="70"/>
                        </a:lnTo>
                        <a:lnTo>
                          <a:pt x="186" y="72"/>
                        </a:lnTo>
                        <a:lnTo>
                          <a:pt x="178" y="70"/>
                        </a:lnTo>
                        <a:lnTo>
                          <a:pt x="174" y="72"/>
                        </a:lnTo>
                        <a:lnTo>
                          <a:pt x="172" y="72"/>
                        </a:lnTo>
                        <a:lnTo>
                          <a:pt x="172" y="74"/>
                        </a:lnTo>
                        <a:lnTo>
                          <a:pt x="174" y="84"/>
                        </a:lnTo>
                        <a:lnTo>
                          <a:pt x="182" y="100"/>
                        </a:lnTo>
                        <a:lnTo>
                          <a:pt x="182" y="100"/>
                        </a:lnTo>
                        <a:lnTo>
                          <a:pt x="188" y="116"/>
                        </a:lnTo>
                        <a:lnTo>
                          <a:pt x="188" y="122"/>
                        </a:lnTo>
                        <a:lnTo>
                          <a:pt x="188" y="126"/>
                        </a:lnTo>
                        <a:lnTo>
                          <a:pt x="188" y="130"/>
                        </a:lnTo>
                        <a:lnTo>
                          <a:pt x="184" y="130"/>
                        </a:lnTo>
                        <a:lnTo>
                          <a:pt x="180" y="132"/>
                        </a:lnTo>
                        <a:lnTo>
                          <a:pt x="174" y="132"/>
                        </a:lnTo>
                        <a:lnTo>
                          <a:pt x="168" y="134"/>
                        </a:lnTo>
                        <a:lnTo>
                          <a:pt x="168" y="136"/>
                        </a:lnTo>
                        <a:lnTo>
                          <a:pt x="168" y="138"/>
                        </a:lnTo>
                        <a:lnTo>
                          <a:pt x="174" y="148"/>
                        </a:lnTo>
                        <a:lnTo>
                          <a:pt x="174" y="148"/>
                        </a:lnTo>
                        <a:lnTo>
                          <a:pt x="184" y="158"/>
                        </a:lnTo>
                        <a:lnTo>
                          <a:pt x="192" y="164"/>
                        </a:lnTo>
                        <a:lnTo>
                          <a:pt x="200" y="166"/>
                        </a:lnTo>
                        <a:lnTo>
                          <a:pt x="208" y="166"/>
                        </a:lnTo>
                        <a:lnTo>
                          <a:pt x="212" y="164"/>
                        </a:lnTo>
                        <a:lnTo>
                          <a:pt x="218" y="166"/>
                        </a:lnTo>
                        <a:lnTo>
                          <a:pt x="220" y="168"/>
                        </a:lnTo>
                        <a:lnTo>
                          <a:pt x="222" y="176"/>
                        </a:lnTo>
                        <a:lnTo>
                          <a:pt x="222" y="176"/>
                        </a:lnTo>
                        <a:lnTo>
                          <a:pt x="222" y="180"/>
                        </a:lnTo>
                        <a:lnTo>
                          <a:pt x="220" y="182"/>
                        </a:lnTo>
                        <a:lnTo>
                          <a:pt x="216" y="184"/>
                        </a:lnTo>
                        <a:lnTo>
                          <a:pt x="210" y="184"/>
                        </a:lnTo>
                        <a:lnTo>
                          <a:pt x="196" y="180"/>
                        </a:lnTo>
                        <a:lnTo>
                          <a:pt x="180" y="174"/>
                        </a:lnTo>
                        <a:lnTo>
                          <a:pt x="164" y="164"/>
                        </a:lnTo>
                        <a:lnTo>
                          <a:pt x="152" y="150"/>
                        </a:lnTo>
                        <a:lnTo>
                          <a:pt x="148" y="144"/>
                        </a:lnTo>
                        <a:lnTo>
                          <a:pt x="146" y="136"/>
                        </a:lnTo>
                        <a:lnTo>
                          <a:pt x="146" y="130"/>
                        </a:lnTo>
                        <a:lnTo>
                          <a:pt x="150" y="122"/>
                        </a:lnTo>
                        <a:lnTo>
                          <a:pt x="150" y="122"/>
                        </a:lnTo>
                        <a:lnTo>
                          <a:pt x="154" y="110"/>
                        </a:lnTo>
                        <a:lnTo>
                          <a:pt x="152" y="102"/>
                        </a:lnTo>
                        <a:lnTo>
                          <a:pt x="150" y="98"/>
                        </a:lnTo>
                        <a:lnTo>
                          <a:pt x="144" y="94"/>
                        </a:lnTo>
                        <a:lnTo>
                          <a:pt x="142" y="90"/>
                        </a:lnTo>
                        <a:lnTo>
                          <a:pt x="140" y="84"/>
                        </a:lnTo>
                        <a:lnTo>
                          <a:pt x="144" y="74"/>
                        </a:lnTo>
                        <a:lnTo>
                          <a:pt x="154" y="60"/>
                        </a:lnTo>
                        <a:lnTo>
                          <a:pt x="154" y="60"/>
                        </a:lnTo>
                        <a:lnTo>
                          <a:pt x="168" y="44"/>
                        </a:lnTo>
                        <a:lnTo>
                          <a:pt x="180" y="34"/>
                        </a:lnTo>
                        <a:lnTo>
                          <a:pt x="188" y="26"/>
                        </a:lnTo>
                        <a:lnTo>
                          <a:pt x="198" y="22"/>
                        </a:lnTo>
                        <a:lnTo>
                          <a:pt x="208" y="16"/>
                        </a:lnTo>
                        <a:lnTo>
                          <a:pt x="212" y="14"/>
                        </a:lnTo>
                        <a:lnTo>
                          <a:pt x="212" y="10"/>
                        </a:lnTo>
                        <a:lnTo>
                          <a:pt x="212" y="10"/>
                        </a:lnTo>
                        <a:lnTo>
                          <a:pt x="212" y="8"/>
                        </a:lnTo>
                        <a:lnTo>
                          <a:pt x="210" y="6"/>
                        </a:lnTo>
                        <a:lnTo>
                          <a:pt x="200" y="2"/>
                        </a:lnTo>
                        <a:lnTo>
                          <a:pt x="184" y="0"/>
                        </a:lnTo>
                        <a:lnTo>
                          <a:pt x="164" y="0"/>
                        </a:lnTo>
                        <a:lnTo>
                          <a:pt x="140" y="2"/>
                        </a:lnTo>
                        <a:lnTo>
                          <a:pt x="116" y="8"/>
                        </a:lnTo>
                        <a:lnTo>
                          <a:pt x="92" y="16"/>
                        </a:lnTo>
                        <a:lnTo>
                          <a:pt x="70" y="26"/>
                        </a:lnTo>
                        <a:lnTo>
                          <a:pt x="70" y="26"/>
                        </a:lnTo>
                        <a:lnTo>
                          <a:pt x="52" y="38"/>
                        </a:lnTo>
                        <a:lnTo>
                          <a:pt x="40" y="48"/>
                        </a:lnTo>
                        <a:lnTo>
                          <a:pt x="34" y="56"/>
                        </a:lnTo>
                        <a:lnTo>
                          <a:pt x="32" y="62"/>
                        </a:lnTo>
                        <a:lnTo>
                          <a:pt x="30" y="72"/>
                        </a:lnTo>
                        <a:lnTo>
                          <a:pt x="28" y="76"/>
                        </a:lnTo>
                        <a:lnTo>
                          <a:pt x="24" y="82"/>
                        </a:lnTo>
                        <a:lnTo>
                          <a:pt x="24" y="82"/>
                        </a:lnTo>
                        <a:lnTo>
                          <a:pt x="18" y="90"/>
                        </a:lnTo>
                        <a:lnTo>
                          <a:pt x="14" y="96"/>
                        </a:lnTo>
                        <a:lnTo>
                          <a:pt x="8" y="112"/>
                        </a:lnTo>
                        <a:lnTo>
                          <a:pt x="4" y="132"/>
                        </a:lnTo>
                        <a:lnTo>
                          <a:pt x="2" y="156"/>
                        </a:lnTo>
                        <a:lnTo>
                          <a:pt x="2" y="156"/>
                        </a:lnTo>
                        <a:lnTo>
                          <a:pt x="0" y="168"/>
                        </a:lnTo>
                        <a:lnTo>
                          <a:pt x="0" y="178"/>
                        </a:lnTo>
                        <a:lnTo>
                          <a:pt x="2" y="184"/>
                        </a:lnTo>
                        <a:lnTo>
                          <a:pt x="8" y="188"/>
                        </a:lnTo>
                        <a:lnTo>
                          <a:pt x="14" y="192"/>
                        </a:lnTo>
                        <a:lnTo>
                          <a:pt x="26" y="194"/>
                        </a:lnTo>
                        <a:lnTo>
                          <a:pt x="58" y="196"/>
                        </a:lnTo>
                        <a:lnTo>
                          <a:pt x="58" y="196"/>
                        </a:lnTo>
                        <a:lnTo>
                          <a:pt x="76" y="200"/>
                        </a:lnTo>
                        <a:lnTo>
                          <a:pt x="90" y="202"/>
                        </a:lnTo>
                        <a:lnTo>
                          <a:pt x="100" y="208"/>
                        </a:lnTo>
                        <a:lnTo>
                          <a:pt x="106" y="212"/>
                        </a:lnTo>
                        <a:lnTo>
                          <a:pt x="106" y="216"/>
                        </a:lnTo>
                        <a:lnTo>
                          <a:pt x="102" y="218"/>
                        </a:lnTo>
                        <a:lnTo>
                          <a:pt x="94" y="220"/>
                        </a:lnTo>
                        <a:lnTo>
                          <a:pt x="78" y="218"/>
                        </a:lnTo>
                        <a:lnTo>
                          <a:pt x="78" y="218"/>
                        </a:lnTo>
                        <a:lnTo>
                          <a:pt x="50" y="216"/>
                        </a:lnTo>
                        <a:lnTo>
                          <a:pt x="40" y="216"/>
                        </a:lnTo>
                        <a:lnTo>
                          <a:pt x="32" y="218"/>
                        </a:lnTo>
                        <a:lnTo>
                          <a:pt x="32" y="220"/>
                        </a:lnTo>
                        <a:lnTo>
                          <a:pt x="30" y="222"/>
                        </a:lnTo>
                        <a:lnTo>
                          <a:pt x="32" y="228"/>
                        </a:lnTo>
                        <a:lnTo>
                          <a:pt x="40" y="238"/>
                        </a:lnTo>
                        <a:lnTo>
                          <a:pt x="52" y="250"/>
                        </a:lnTo>
                        <a:lnTo>
                          <a:pt x="52" y="250"/>
                        </a:lnTo>
                        <a:lnTo>
                          <a:pt x="68" y="262"/>
                        </a:lnTo>
                        <a:lnTo>
                          <a:pt x="82" y="268"/>
                        </a:lnTo>
                        <a:lnTo>
                          <a:pt x="94" y="270"/>
                        </a:lnTo>
                        <a:lnTo>
                          <a:pt x="106" y="270"/>
                        </a:lnTo>
                        <a:lnTo>
                          <a:pt x="118" y="270"/>
                        </a:lnTo>
                        <a:lnTo>
                          <a:pt x="130" y="270"/>
                        </a:lnTo>
                        <a:lnTo>
                          <a:pt x="142" y="272"/>
                        </a:lnTo>
                        <a:lnTo>
                          <a:pt x="152" y="278"/>
                        </a:lnTo>
                        <a:lnTo>
                          <a:pt x="152" y="278"/>
                        </a:lnTo>
                        <a:lnTo>
                          <a:pt x="162" y="284"/>
                        </a:lnTo>
                        <a:lnTo>
                          <a:pt x="174" y="288"/>
                        </a:lnTo>
                        <a:lnTo>
                          <a:pt x="184" y="290"/>
                        </a:lnTo>
                        <a:lnTo>
                          <a:pt x="194" y="288"/>
                        </a:lnTo>
                        <a:lnTo>
                          <a:pt x="208" y="286"/>
                        </a:lnTo>
                        <a:lnTo>
                          <a:pt x="218" y="286"/>
                        </a:lnTo>
                        <a:lnTo>
                          <a:pt x="218" y="286"/>
                        </a:lnTo>
                        <a:lnTo>
                          <a:pt x="234" y="288"/>
                        </a:lnTo>
                        <a:lnTo>
                          <a:pt x="244" y="290"/>
                        </a:lnTo>
                        <a:lnTo>
                          <a:pt x="260" y="290"/>
                        </a:lnTo>
                        <a:lnTo>
                          <a:pt x="268" y="290"/>
                        </a:lnTo>
                        <a:lnTo>
                          <a:pt x="276" y="290"/>
                        </a:lnTo>
                        <a:lnTo>
                          <a:pt x="288" y="292"/>
                        </a:lnTo>
                        <a:lnTo>
                          <a:pt x="304" y="296"/>
                        </a:lnTo>
                        <a:lnTo>
                          <a:pt x="304" y="296"/>
                        </a:lnTo>
                        <a:lnTo>
                          <a:pt x="316" y="300"/>
                        </a:lnTo>
                        <a:lnTo>
                          <a:pt x="324" y="298"/>
                        </a:lnTo>
                        <a:lnTo>
                          <a:pt x="328" y="296"/>
                        </a:lnTo>
                        <a:lnTo>
                          <a:pt x="332" y="292"/>
                        </a:lnTo>
                        <a:lnTo>
                          <a:pt x="336" y="290"/>
                        </a:lnTo>
                        <a:lnTo>
                          <a:pt x="340" y="290"/>
                        </a:lnTo>
                        <a:lnTo>
                          <a:pt x="346" y="292"/>
                        </a:lnTo>
                        <a:lnTo>
                          <a:pt x="356" y="298"/>
                        </a:lnTo>
                        <a:lnTo>
                          <a:pt x="356" y="298"/>
                        </a:lnTo>
                        <a:lnTo>
                          <a:pt x="374" y="312"/>
                        </a:lnTo>
                        <a:lnTo>
                          <a:pt x="378" y="314"/>
                        </a:lnTo>
                        <a:lnTo>
                          <a:pt x="380" y="312"/>
                        </a:lnTo>
                        <a:lnTo>
                          <a:pt x="378" y="310"/>
                        </a:lnTo>
                        <a:lnTo>
                          <a:pt x="376" y="306"/>
                        </a:lnTo>
                        <a:lnTo>
                          <a:pt x="362" y="292"/>
                        </a:lnTo>
                        <a:lnTo>
                          <a:pt x="362" y="292"/>
                        </a:lnTo>
                        <a:lnTo>
                          <a:pt x="358" y="284"/>
                        </a:lnTo>
                        <a:lnTo>
                          <a:pt x="358" y="282"/>
                        </a:lnTo>
                        <a:lnTo>
                          <a:pt x="360" y="282"/>
                        </a:lnTo>
                        <a:lnTo>
                          <a:pt x="368" y="282"/>
                        </a:lnTo>
                        <a:lnTo>
                          <a:pt x="380" y="284"/>
                        </a:lnTo>
                        <a:lnTo>
                          <a:pt x="410" y="290"/>
                        </a:lnTo>
                        <a:lnTo>
                          <a:pt x="444" y="296"/>
                        </a:lnTo>
                        <a:lnTo>
                          <a:pt x="444" y="296"/>
                        </a:lnTo>
                        <a:lnTo>
                          <a:pt x="450" y="296"/>
                        </a:lnTo>
                        <a:lnTo>
                          <a:pt x="454" y="296"/>
                        </a:lnTo>
                        <a:lnTo>
                          <a:pt x="458" y="294"/>
                        </a:lnTo>
                        <a:lnTo>
                          <a:pt x="460" y="290"/>
                        </a:lnTo>
                        <a:lnTo>
                          <a:pt x="462" y="284"/>
                        </a:lnTo>
                        <a:lnTo>
                          <a:pt x="460" y="274"/>
                        </a:lnTo>
                        <a:lnTo>
                          <a:pt x="456" y="260"/>
                        </a:lnTo>
                        <a:lnTo>
                          <a:pt x="456" y="260"/>
                        </a:lnTo>
                        <a:lnTo>
                          <a:pt x="458" y="260"/>
                        </a:lnTo>
                        <a:lnTo>
                          <a:pt x="464" y="264"/>
                        </a:lnTo>
                        <a:lnTo>
                          <a:pt x="464" y="264"/>
                        </a:lnTo>
                        <a:lnTo>
                          <a:pt x="472" y="270"/>
                        </a:lnTo>
                        <a:lnTo>
                          <a:pt x="478" y="272"/>
                        </a:lnTo>
                        <a:lnTo>
                          <a:pt x="484" y="272"/>
                        </a:lnTo>
                        <a:lnTo>
                          <a:pt x="490" y="272"/>
                        </a:lnTo>
                        <a:lnTo>
                          <a:pt x="494" y="272"/>
                        </a:lnTo>
                        <a:lnTo>
                          <a:pt x="498" y="274"/>
                        </a:lnTo>
                        <a:lnTo>
                          <a:pt x="500" y="278"/>
                        </a:lnTo>
                        <a:lnTo>
                          <a:pt x="502" y="286"/>
                        </a:lnTo>
                        <a:lnTo>
                          <a:pt x="502" y="286"/>
                        </a:lnTo>
                        <a:lnTo>
                          <a:pt x="502" y="294"/>
                        </a:lnTo>
                        <a:lnTo>
                          <a:pt x="504" y="302"/>
                        </a:lnTo>
                        <a:lnTo>
                          <a:pt x="508" y="306"/>
                        </a:lnTo>
                        <a:lnTo>
                          <a:pt x="512" y="310"/>
                        </a:lnTo>
                        <a:lnTo>
                          <a:pt x="528" y="318"/>
                        </a:lnTo>
                        <a:lnTo>
                          <a:pt x="556" y="326"/>
                        </a:lnTo>
                        <a:lnTo>
                          <a:pt x="556" y="326"/>
                        </a:lnTo>
                        <a:lnTo>
                          <a:pt x="570" y="332"/>
                        </a:lnTo>
                        <a:lnTo>
                          <a:pt x="580" y="338"/>
                        </a:lnTo>
                        <a:lnTo>
                          <a:pt x="584" y="344"/>
                        </a:lnTo>
                        <a:lnTo>
                          <a:pt x="584" y="348"/>
                        </a:lnTo>
                        <a:lnTo>
                          <a:pt x="580" y="352"/>
                        </a:lnTo>
                        <a:lnTo>
                          <a:pt x="574" y="356"/>
                        </a:lnTo>
                        <a:lnTo>
                          <a:pt x="568" y="356"/>
                        </a:lnTo>
                        <a:lnTo>
                          <a:pt x="558" y="356"/>
                        </a:lnTo>
                        <a:lnTo>
                          <a:pt x="558" y="356"/>
                        </a:lnTo>
                        <a:lnTo>
                          <a:pt x="550" y="358"/>
                        </a:lnTo>
                        <a:lnTo>
                          <a:pt x="542" y="360"/>
                        </a:lnTo>
                        <a:lnTo>
                          <a:pt x="538" y="366"/>
                        </a:lnTo>
                        <a:lnTo>
                          <a:pt x="538" y="370"/>
                        </a:lnTo>
                        <a:lnTo>
                          <a:pt x="538" y="376"/>
                        </a:lnTo>
                        <a:lnTo>
                          <a:pt x="544" y="378"/>
                        </a:lnTo>
                        <a:lnTo>
                          <a:pt x="550" y="380"/>
                        </a:lnTo>
                        <a:lnTo>
                          <a:pt x="562" y="378"/>
                        </a:lnTo>
                        <a:lnTo>
                          <a:pt x="562" y="378"/>
                        </a:lnTo>
                        <a:lnTo>
                          <a:pt x="576" y="374"/>
                        </a:lnTo>
                        <a:lnTo>
                          <a:pt x="590" y="374"/>
                        </a:lnTo>
                        <a:lnTo>
                          <a:pt x="606" y="376"/>
                        </a:lnTo>
                        <a:lnTo>
                          <a:pt x="618" y="380"/>
                        </a:lnTo>
                        <a:lnTo>
                          <a:pt x="630" y="384"/>
                        </a:lnTo>
                        <a:lnTo>
                          <a:pt x="640" y="390"/>
                        </a:lnTo>
                        <a:lnTo>
                          <a:pt x="648" y="396"/>
                        </a:lnTo>
                        <a:lnTo>
                          <a:pt x="654" y="402"/>
                        </a:lnTo>
                        <a:lnTo>
                          <a:pt x="654" y="402"/>
                        </a:lnTo>
                        <a:lnTo>
                          <a:pt x="656" y="406"/>
                        </a:lnTo>
                        <a:lnTo>
                          <a:pt x="662" y="408"/>
                        </a:lnTo>
                        <a:lnTo>
                          <a:pt x="674" y="414"/>
                        </a:lnTo>
                        <a:lnTo>
                          <a:pt x="682" y="416"/>
                        </a:lnTo>
                        <a:lnTo>
                          <a:pt x="688" y="420"/>
                        </a:lnTo>
                        <a:lnTo>
                          <a:pt x="692" y="428"/>
                        </a:lnTo>
                        <a:lnTo>
                          <a:pt x="696" y="438"/>
                        </a:lnTo>
                        <a:lnTo>
                          <a:pt x="696" y="438"/>
                        </a:lnTo>
                        <a:lnTo>
                          <a:pt x="698" y="450"/>
                        </a:lnTo>
                        <a:lnTo>
                          <a:pt x="704" y="460"/>
                        </a:lnTo>
                        <a:lnTo>
                          <a:pt x="712" y="474"/>
                        </a:lnTo>
                        <a:lnTo>
                          <a:pt x="716" y="480"/>
                        </a:lnTo>
                        <a:lnTo>
                          <a:pt x="718" y="486"/>
                        </a:lnTo>
                        <a:lnTo>
                          <a:pt x="716" y="490"/>
                        </a:lnTo>
                        <a:lnTo>
                          <a:pt x="710" y="494"/>
                        </a:lnTo>
                        <a:lnTo>
                          <a:pt x="710" y="494"/>
                        </a:lnTo>
                        <a:lnTo>
                          <a:pt x="696" y="504"/>
                        </a:lnTo>
                        <a:lnTo>
                          <a:pt x="682" y="518"/>
                        </a:lnTo>
                        <a:lnTo>
                          <a:pt x="668" y="532"/>
                        </a:lnTo>
                        <a:lnTo>
                          <a:pt x="648" y="548"/>
                        </a:lnTo>
                        <a:lnTo>
                          <a:pt x="648" y="548"/>
                        </a:lnTo>
                        <a:lnTo>
                          <a:pt x="644" y="554"/>
                        </a:lnTo>
                        <a:lnTo>
                          <a:pt x="640" y="558"/>
                        </a:lnTo>
                        <a:lnTo>
                          <a:pt x="640" y="564"/>
                        </a:lnTo>
                        <a:lnTo>
                          <a:pt x="642" y="570"/>
                        </a:lnTo>
                        <a:lnTo>
                          <a:pt x="646" y="580"/>
                        </a:lnTo>
                        <a:lnTo>
                          <a:pt x="654" y="590"/>
                        </a:lnTo>
                        <a:lnTo>
                          <a:pt x="666" y="604"/>
                        </a:lnTo>
                        <a:lnTo>
                          <a:pt x="666" y="606"/>
                        </a:lnTo>
                        <a:lnTo>
                          <a:pt x="666" y="608"/>
                        </a:lnTo>
                        <a:lnTo>
                          <a:pt x="656" y="606"/>
                        </a:lnTo>
                        <a:lnTo>
                          <a:pt x="656" y="606"/>
                        </a:lnTo>
                        <a:lnTo>
                          <a:pt x="646" y="602"/>
                        </a:lnTo>
                        <a:lnTo>
                          <a:pt x="636" y="604"/>
                        </a:lnTo>
                        <a:lnTo>
                          <a:pt x="628" y="608"/>
                        </a:lnTo>
                        <a:lnTo>
                          <a:pt x="620" y="612"/>
                        </a:lnTo>
                        <a:lnTo>
                          <a:pt x="608" y="616"/>
                        </a:lnTo>
                        <a:lnTo>
                          <a:pt x="594" y="620"/>
                        </a:lnTo>
                        <a:lnTo>
                          <a:pt x="576" y="620"/>
                        </a:lnTo>
                        <a:lnTo>
                          <a:pt x="552" y="614"/>
                        </a:lnTo>
                        <a:lnTo>
                          <a:pt x="552" y="614"/>
                        </a:lnTo>
                        <a:lnTo>
                          <a:pt x="528" y="610"/>
                        </a:lnTo>
                        <a:lnTo>
                          <a:pt x="516" y="608"/>
                        </a:lnTo>
                        <a:lnTo>
                          <a:pt x="510" y="608"/>
                        </a:lnTo>
                        <a:lnTo>
                          <a:pt x="510" y="612"/>
                        </a:lnTo>
                        <a:lnTo>
                          <a:pt x="510" y="616"/>
                        </a:lnTo>
                        <a:lnTo>
                          <a:pt x="510" y="624"/>
                        </a:lnTo>
                        <a:lnTo>
                          <a:pt x="504" y="630"/>
                        </a:lnTo>
                        <a:lnTo>
                          <a:pt x="494" y="638"/>
                        </a:lnTo>
                        <a:lnTo>
                          <a:pt x="494" y="638"/>
                        </a:lnTo>
                        <a:lnTo>
                          <a:pt x="488" y="642"/>
                        </a:lnTo>
                        <a:lnTo>
                          <a:pt x="484" y="648"/>
                        </a:lnTo>
                        <a:lnTo>
                          <a:pt x="482" y="652"/>
                        </a:lnTo>
                        <a:lnTo>
                          <a:pt x="480" y="658"/>
                        </a:lnTo>
                        <a:lnTo>
                          <a:pt x="482" y="664"/>
                        </a:lnTo>
                        <a:lnTo>
                          <a:pt x="484" y="668"/>
                        </a:lnTo>
                        <a:lnTo>
                          <a:pt x="494" y="678"/>
                        </a:lnTo>
                        <a:lnTo>
                          <a:pt x="506" y="686"/>
                        </a:lnTo>
                        <a:lnTo>
                          <a:pt x="514" y="688"/>
                        </a:lnTo>
                        <a:lnTo>
                          <a:pt x="522" y="690"/>
                        </a:lnTo>
                        <a:lnTo>
                          <a:pt x="532" y="690"/>
                        </a:lnTo>
                        <a:lnTo>
                          <a:pt x="542" y="690"/>
                        </a:lnTo>
                        <a:lnTo>
                          <a:pt x="552" y="686"/>
                        </a:lnTo>
                        <a:lnTo>
                          <a:pt x="562" y="682"/>
                        </a:lnTo>
                        <a:lnTo>
                          <a:pt x="562" y="682"/>
                        </a:lnTo>
                        <a:lnTo>
                          <a:pt x="580" y="676"/>
                        </a:lnTo>
                        <a:lnTo>
                          <a:pt x="592" y="674"/>
                        </a:lnTo>
                        <a:lnTo>
                          <a:pt x="602" y="676"/>
                        </a:lnTo>
                        <a:lnTo>
                          <a:pt x="608" y="680"/>
                        </a:lnTo>
                        <a:lnTo>
                          <a:pt x="612" y="684"/>
                        </a:lnTo>
                        <a:lnTo>
                          <a:pt x="616" y="688"/>
                        </a:lnTo>
                        <a:lnTo>
                          <a:pt x="622" y="686"/>
                        </a:lnTo>
                        <a:lnTo>
                          <a:pt x="628" y="680"/>
                        </a:lnTo>
                        <a:lnTo>
                          <a:pt x="628" y="680"/>
                        </a:lnTo>
                        <a:lnTo>
                          <a:pt x="634" y="674"/>
                        </a:lnTo>
                        <a:lnTo>
                          <a:pt x="640" y="674"/>
                        </a:lnTo>
                        <a:lnTo>
                          <a:pt x="642" y="676"/>
                        </a:lnTo>
                        <a:lnTo>
                          <a:pt x="644" y="680"/>
                        </a:lnTo>
                        <a:lnTo>
                          <a:pt x="646" y="688"/>
                        </a:lnTo>
                        <a:lnTo>
                          <a:pt x="648" y="690"/>
                        </a:lnTo>
                        <a:lnTo>
                          <a:pt x="650" y="686"/>
                        </a:lnTo>
                        <a:lnTo>
                          <a:pt x="650" y="686"/>
                        </a:lnTo>
                        <a:lnTo>
                          <a:pt x="656" y="674"/>
                        </a:lnTo>
                        <a:lnTo>
                          <a:pt x="658" y="672"/>
                        </a:lnTo>
                        <a:lnTo>
                          <a:pt x="662" y="672"/>
                        </a:lnTo>
                        <a:lnTo>
                          <a:pt x="666" y="674"/>
                        </a:lnTo>
                        <a:lnTo>
                          <a:pt x="672" y="680"/>
                        </a:lnTo>
                        <a:lnTo>
                          <a:pt x="696" y="706"/>
                        </a:lnTo>
                        <a:lnTo>
                          <a:pt x="696" y="706"/>
                        </a:lnTo>
                        <a:lnTo>
                          <a:pt x="708" y="720"/>
                        </a:lnTo>
                        <a:lnTo>
                          <a:pt x="718" y="726"/>
                        </a:lnTo>
                        <a:lnTo>
                          <a:pt x="724" y="728"/>
                        </a:lnTo>
                        <a:lnTo>
                          <a:pt x="728" y="728"/>
                        </a:lnTo>
                        <a:lnTo>
                          <a:pt x="732" y="726"/>
                        </a:lnTo>
                        <a:lnTo>
                          <a:pt x="736" y="724"/>
                        </a:lnTo>
                        <a:lnTo>
                          <a:pt x="742" y="726"/>
                        </a:lnTo>
                        <a:lnTo>
                          <a:pt x="750" y="732"/>
                        </a:lnTo>
                        <a:lnTo>
                          <a:pt x="750" y="732"/>
                        </a:lnTo>
                        <a:lnTo>
                          <a:pt x="756" y="738"/>
                        </a:lnTo>
                        <a:lnTo>
                          <a:pt x="756" y="740"/>
                        </a:lnTo>
                        <a:lnTo>
                          <a:pt x="754" y="742"/>
                        </a:lnTo>
                        <a:lnTo>
                          <a:pt x="750" y="744"/>
                        </a:lnTo>
                        <a:lnTo>
                          <a:pt x="742" y="744"/>
                        </a:lnTo>
                        <a:lnTo>
                          <a:pt x="734" y="746"/>
                        </a:lnTo>
                        <a:lnTo>
                          <a:pt x="732" y="748"/>
                        </a:lnTo>
                        <a:lnTo>
                          <a:pt x="732" y="750"/>
                        </a:lnTo>
                        <a:lnTo>
                          <a:pt x="732" y="752"/>
                        </a:lnTo>
                        <a:lnTo>
                          <a:pt x="734" y="756"/>
                        </a:lnTo>
                        <a:lnTo>
                          <a:pt x="744" y="768"/>
                        </a:lnTo>
                        <a:lnTo>
                          <a:pt x="744" y="768"/>
                        </a:lnTo>
                        <a:lnTo>
                          <a:pt x="754" y="776"/>
                        </a:lnTo>
                        <a:lnTo>
                          <a:pt x="766" y="780"/>
                        </a:lnTo>
                        <a:lnTo>
                          <a:pt x="792" y="788"/>
                        </a:lnTo>
                        <a:lnTo>
                          <a:pt x="816" y="794"/>
                        </a:lnTo>
                        <a:lnTo>
                          <a:pt x="826" y="798"/>
                        </a:lnTo>
                        <a:lnTo>
                          <a:pt x="834" y="804"/>
                        </a:lnTo>
                        <a:lnTo>
                          <a:pt x="834" y="804"/>
                        </a:lnTo>
                        <a:lnTo>
                          <a:pt x="842" y="812"/>
                        </a:lnTo>
                        <a:lnTo>
                          <a:pt x="854" y="818"/>
                        </a:lnTo>
                        <a:lnTo>
                          <a:pt x="868" y="824"/>
                        </a:lnTo>
                        <a:lnTo>
                          <a:pt x="882" y="828"/>
                        </a:lnTo>
                        <a:lnTo>
                          <a:pt x="916" y="836"/>
                        </a:lnTo>
                        <a:lnTo>
                          <a:pt x="948" y="846"/>
                        </a:lnTo>
                        <a:lnTo>
                          <a:pt x="948" y="846"/>
                        </a:lnTo>
                        <a:lnTo>
                          <a:pt x="962" y="850"/>
                        </a:lnTo>
                        <a:lnTo>
                          <a:pt x="970" y="850"/>
                        </a:lnTo>
                        <a:lnTo>
                          <a:pt x="972" y="848"/>
                        </a:lnTo>
                        <a:lnTo>
                          <a:pt x="974" y="846"/>
                        </a:lnTo>
                        <a:lnTo>
                          <a:pt x="974" y="840"/>
                        </a:lnTo>
                        <a:lnTo>
                          <a:pt x="972" y="832"/>
                        </a:lnTo>
                        <a:lnTo>
                          <a:pt x="966" y="822"/>
                        </a:lnTo>
                        <a:lnTo>
                          <a:pt x="958" y="812"/>
                        </a:lnTo>
                        <a:lnTo>
                          <a:pt x="948" y="802"/>
                        </a:lnTo>
                        <a:lnTo>
                          <a:pt x="948" y="802"/>
                        </a:lnTo>
                        <a:lnTo>
                          <a:pt x="936" y="792"/>
                        </a:lnTo>
                        <a:lnTo>
                          <a:pt x="920" y="780"/>
                        </a:lnTo>
                        <a:lnTo>
                          <a:pt x="888" y="758"/>
                        </a:lnTo>
                        <a:lnTo>
                          <a:pt x="872" y="748"/>
                        </a:lnTo>
                        <a:lnTo>
                          <a:pt x="862" y="738"/>
                        </a:lnTo>
                        <a:lnTo>
                          <a:pt x="854" y="732"/>
                        </a:lnTo>
                        <a:lnTo>
                          <a:pt x="854" y="728"/>
                        </a:lnTo>
                        <a:lnTo>
                          <a:pt x="854" y="724"/>
                        </a:lnTo>
                        <a:lnTo>
                          <a:pt x="854" y="724"/>
                        </a:lnTo>
                        <a:lnTo>
                          <a:pt x="854" y="724"/>
                        </a:lnTo>
                        <a:lnTo>
                          <a:pt x="858" y="722"/>
                        </a:lnTo>
                        <a:lnTo>
                          <a:pt x="864" y="724"/>
                        </a:lnTo>
                        <a:lnTo>
                          <a:pt x="880" y="736"/>
                        </a:lnTo>
                        <a:lnTo>
                          <a:pt x="894" y="748"/>
                        </a:lnTo>
                        <a:lnTo>
                          <a:pt x="900" y="748"/>
                        </a:lnTo>
                        <a:lnTo>
                          <a:pt x="902" y="748"/>
                        </a:lnTo>
                        <a:lnTo>
                          <a:pt x="902" y="746"/>
                        </a:lnTo>
                        <a:lnTo>
                          <a:pt x="902" y="746"/>
                        </a:lnTo>
                        <a:lnTo>
                          <a:pt x="902" y="742"/>
                        </a:lnTo>
                        <a:lnTo>
                          <a:pt x="904" y="742"/>
                        </a:lnTo>
                        <a:lnTo>
                          <a:pt x="908" y="744"/>
                        </a:lnTo>
                        <a:lnTo>
                          <a:pt x="924" y="754"/>
                        </a:lnTo>
                        <a:lnTo>
                          <a:pt x="932" y="762"/>
                        </a:lnTo>
                        <a:lnTo>
                          <a:pt x="944" y="770"/>
                        </a:lnTo>
                        <a:lnTo>
                          <a:pt x="956" y="776"/>
                        </a:lnTo>
                        <a:lnTo>
                          <a:pt x="968" y="778"/>
                        </a:lnTo>
                        <a:lnTo>
                          <a:pt x="968" y="778"/>
                        </a:lnTo>
                        <a:lnTo>
                          <a:pt x="980" y="782"/>
                        </a:lnTo>
                        <a:lnTo>
                          <a:pt x="990" y="788"/>
                        </a:lnTo>
                        <a:lnTo>
                          <a:pt x="998" y="798"/>
                        </a:lnTo>
                        <a:lnTo>
                          <a:pt x="1004" y="806"/>
                        </a:lnTo>
                        <a:lnTo>
                          <a:pt x="1010" y="812"/>
                        </a:lnTo>
                        <a:lnTo>
                          <a:pt x="1012" y="814"/>
                        </a:lnTo>
                        <a:lnTo>
                          <a:pt x="1014" y="812"/>
                        </a:lnTo>
                        <a:lnTo>
                          <a:pt x="1012" y="802"/>
                        </a:lnTo>
                        <a:lnTo>
                          <a:pt x="1012" y="802"/>
                        </a:lnTo>
                        <a:lnTo>
                          <a:pt x="1012" y="792"/>
                        </a:lnTo>
                        <a:lnTo>
                          <a:pt x="1012" y="788"/>
                        </a:lnTo>
                        <a:lnTo>
                          <a:pt x="1014" y="788"/>
                        </a:lnTo>
                        <a:lnTo>
                          <a:pt x="1016" y="788"/>
                        </a:lnTo>
                        <a:lnTo>
                          <a:pt x="1018" y="788"/>
                        </a:lnTo>
                        <a:lnTo>
                          <a:pt x="1020" y="786"/>
                        </a:lnTo>
                        <a:lnTo>
                          <a:pt x="1020" y="780"/>
                        </a:lnTo>
                        <a:lnTo>
                          <a:pt x="1018" y="766"/>
                        </a:lnTo>
                        <a:lnTo>
                          <a:pt x="1018" y="766"/>
                        </a:lnTo>
                        <a:lnTo>
                          <a:pt x="1016" y="750"/>
                        </a:lnTo>
                        <a:lnTo>
                          <a:pt x="1018" y="752"/>
                        </a:lnTo>
                        <a:lnTo>
                          <a:pt x="1020" y="754"/>
                        </a:lnTo>
                        <a:lnTo>
                          <a:pt x="1022" y="758"/>
                        </a:lnTo>
                        <a:lnTo>
                          <a:pt x="1026" y="760"/>
                        </a:lnTo>
                        <a:lnTo>
                          <a:pt x="1028" y="756"/>
                        </a:lnTo>
                        <a:lnTo>
                          <a:pt x="1032" y="746"/>
                        </a:lnTo>
                        <a:lnTo>
                          <a:pt x="1032" y="746"/>
                        </a:lnTo>
                        <a:lnTo>
                          <a:pt x="1032" y="734"/>
                        </a:lnTo>
                        <a:lnTo>
                          <a:pt x="1030" y="728"/>
                        </a:lnTo>
                        <a:lnTo>
                          <a:pt x="1026" y="724"/>
                        </a:lnTo>
                        <a:lnTo>
                          <a:pt x="1022" y="724"/>
                        </a:lnTo>
                        <a:lnTo>
                          <a:pt x="1018" y="722"/>
                        </a:lnTo>
                        <a:lnTo>
                          <a:pt x="1014" y="722"/>
                        </a:lnTo>
                        <a:lnTo>
                          <a:pt x="1014" y="720"/>
                        </a:lnTo>
                        <a:lnTo>
                          <a:pt x="1018" y="714"/>
                        </a:lnTo>
                        <a:lnTo>
                          <a:pt x="1018" y="714"/>
                        </a:lnTo>
                        <a:lnTo>
                          <a:pt x="1022" y="708"/>
                        </a:lnTo>
                        <a:lnTo>
                          <a:pt x="1020" y="704"/>
                        </a:lnTo>
                        <a:lnTo>
                          <a:pt x="1016" y="702"/>
                        </a:lnTo>
                        <a:lnTo>
                          <a:pt x="1012" y="700"/>
                        </a:lnTo>
                        <a:lnTo>
                          <a:pt x="1006" y="700"/>
                        </a:lnTo>
                        <a:lnTo>
                          <a:pt x="1000" y="698"/>
                        </a:lnTo>
                        <a:lnTo>
                          <a:pt x="1000" y="694"/>
                        </a:lnTo>
                        <a:lnTo>
                          <a:pt x="1002" y="688"/>
                        </a:lnTo>
                        <a:lnTo>
                          <a:pt x="1002" y="688"/>
                        </a:lnTo>
                        <a:lnTo>
                          <a:pt x="1006" y="682"/>
                        </a:lnTo>
                        <a:lnTo>
                          <a:pt x="1010" y="676"/>
                        </a:lnTo>
                        <a:lnTo>
                          <a:pt x="1008" y="672"/>
                        </a:lnTo>
                        <a:lnTo>
                          <a:pt x="1006" y="668"/>
                        </a:lnTo>
                        <a:lnTo>
                          <a:pt x="1000" y="664"/>
                        </a:lnTo>
                        <a:lnTo>
                          <a:pt x="992" y="660"/>
                        </a:lnTo>
                        <a:lnTo>
                          <a:pt x="966" y="648"/>
                        </a:lnTo>
                        <a:lnTo>
                          <a:pt x="966" y="648"/>
                        </a:lnTo>
                        <a:lnTo>
                          <a:pt x="952" y="642"/>
                        </a:lnTo>
                        <a:lnTo>
                          <a:pt x="942" y="632"/>
                        </a:lnTo>
                        <a:lnTo>
                          <a:pt x="936" y="622"/>
                        </a:lnTo>
                        <a:lnTo>
                          <a:pt x="930" y="612"/>
                        </a:lnTo>
                        <a:lnTo>
                          <a:pt x="928" y="602"/>
                        </a:lnTo>
                        <a:lnTo>
                          <a:pt x="924" y="596"/>
                        </a:lnTo>
                        <a:lnTo>
                          <a:pt x="918" y="592"/>
                        </a:lnTo>
                        <a:lnTo>
                          <a:pt x="912" y="592"/>
                        </a:lnTo>
                        <a:lnTo>
                          <a:pt x="912" y="592"/>
                        </a:lnTo>
                        <a:lnTo>
                          <a:pt x="904" y="594"/>
                        </a:lnTo>
                        <a:lnTo>
                          <a:pt x="896" y="594"/>
                        </a:lnTo>
                        <a:lnTo>
                          <a:pt x="892" y="592"/>
                        </a:lnTo>
                        <a:lnTo>
                          <a:pt x="890" y="590"/>
                        </a:lnTo>
                        <a:lnTo>
                          <a:pt x="890" y="586"/>
                        </a:lnTo>
                        <a:lnTo>
                          <a:pt x="894" y="584"/>
                        </a:lnTo>
                        <a:lnTo>
                          <a:pt x="900" y="580"/>
                        </a:lnTo>
                        <a:lnTo>
                          <a:pt x="908" y="578"/>
                        </a:lnTo>
                        <a:lnTo>
                          <a:pt x="908" y="578"/>
                        </a:lnTo>
                        <a:lnTo>
                          <a:pt x="912" y="576"/>
                        </a:lnTo>
                        <a:lnTo>
                          <a:pt x="916" y="576"/>
                        </a:lnTo>
                        <a:lnTo>
                          <a:pt x="916" y="572"/>
                        </a:lnTo>
                        <a:lnTo>
                          <a:pt x="916" y="570"/>
                        </a:lnTo>
                        <a:lnTo>
                          <a:pt x="914" y="564"/>
                        </a:lnTo>
                        <a:lnTo>
                          <a:pt x="910" y="556"/>
                        </a:lnTo>
                        <a:lnTo>
                          <a:pt x="902" y="546"/>
                        </a:lnTo>
                        <a:lnTo>
                          <a:pt x="902" y="544"/>
                        </a:lnTo>
                        <a:lnTo>
                          <a:pt x="904" y="544"/>
                        </a:lnTo>
                        <a:lnTo>
                          <a:pt x="910" y="546"/>
                        </a:lnTo>
                        <a:lnTo>
                          <a:pt x="910" y="546"/>
                        </a:lnTo>
                        <a:lnTo>
                          <a:pt x="918" y="548"/>
                        </a:lnTo>
                        <a:lnTo>
                          <a:pt x="924" y="546"/>
                        </a:lnTo>
                        <a:lnTo>
                          <a:pt x="928" y="542"/>
                        </a:lnTo>
                        <a:lnTo>
                          <a:pt x="930" y="538"/>
                        </a:lnTo>
                        <a:lnTo>
                          <a:pt x="932" y="536"/>
                        </a:lnTo>
                        <a:lnTo>
                          <a:pt x="934" y="534"/>
                        </a:lnTo>
                        <a:lnTo>
                          <a:pt x="938" y="536"/>
                        </a:lnTo>
                        <a:lnTo>
                          <a:pt x="942" y="544"/>
                        </a:lnTo>
                        <a:lnTo>
                          <a:pt x="942" y="544"/>
                        </a:lnTo>
                        <a:lnTo>
                          <a:pt x="950" y="552"/>
                        </a:lnTo>
                        <a:lnTo>
                          <a:pt x="954" y="556"/>
                        </a:lnTo>
                        <a:lnTo>
                          <a:pt x="958" y="558"/>
                        </a:lnTo>
                        <a:lnTo>
                          <a:pt x="962" y="558"/>
                        </a:lnTo>
                        <a:lnTo>
                          <a:pt x="968" y="560"/>
                        </a:lnTo>
                        <a:lnTo>
                          <a:pt x="972" y="562"/>
                        </a:lnTo>
                        <a:lnTo>
                          <a:pt x="974" y="568"/>
                        </a:lnTo>
                        <a:lnTo>
                          <a:pt x="974" y="568"/>
                        </a:lnTo>
                        <a:lnTo>
                          <a:pt x="976" y="574"/>
                        </a:lnTo>
                        <a:lnTo>
                          <a:pt x="980" y="576"/>
                        </a:lnTo>
                        <a:lnTo>
                          <a:pt x="986" y="580"/>
                        </a:lnTo>
                        <a:lnTo>
                          <a:pt x="990" y="580"/>
                        </a:lnTo>
                        <a:lnTo>
                          <a:pt x="992" y="582"/>
                        </a:lnTo>
                        <a:lnTo>
                          <a:pt x="994" y="586"/>
                        </a:lnTo>
                        <a:lnTo>
                          <a:pt x="994" y="592"/>
                        </a:lnTo>
                        <a:lnTo>
                          <a:pt x="994" y="592"/>
                        </a:lnTo>
                        <a:lnTo>
                          <a:pt x="994" y="596"/>
                        </a:lnTo>
                        <a:lnTo>
                          <a:pt x="996" y="600"/>
                        </a:lnTo>
                        <a:lnTo>
                          <a:pt x="1008" y="614"/>
                        </a:lnTo>
                        <a:lnTo>
                          <a:pt x="1022" y="626"/>
                        </a:lnTo>
                        <a:lnTo>
                          <a:pt x="1040" y="638"/>
                        </a:lnTo>
                        <a:lnTo>
                          <a:pt x="1056" y="646"/>
                        </a:lnTo>
                        <a:lnTo>
                          <a:pt x="1064" y="648"/>
                        </a:lnTo>
                        <a:lnTo>
                          <a:pt x="1070" y="648"/>
                        </a:lnTo>
                        <a:lnTo>
                          <a:pt x="1074" y="646"/>
                        </a:lnTo>
                        <a:lnTo>
                          <a:pt x="1078" y="642"/>
                        </a:lnTo>
                        <a:lnTo>
                          <a:pt x="1080" y="636"/>
                        </a:lnTo>
                        <a:lnTo>
                          <a:pt x="1078" y="628"/>
                        </a:lnTo>
                        <a:lnTo>
                          <a:pt x="1078" y="628"/>
                        </a:lnTo>
                        <a:lnTo>
                          <a:pt x="1078" y="618"/>
                        </a:lnTo>
                        <a:lnTo>
                          <a:pt x="1078" y="612"/>
                        </a:lnTo>
                        <a:lnTo>
                          <a:pt x="1080" y="606"/>
                        </a:lnTo>
                        <a:lnTo>
                          <a:pt x="1082" y="602"/>
                        </a:lnTo>
                        <a:lnTo>
                          <a:pt x="1086" y="600"/>
                        </a:lnTo>
                        <a:lnTo>
                          <a:pt x="1092" y="598"/>
                        </a:lnTo>
                        <a:lnTo>
                          <a:pt x="1102" y="596"/>
                        </a:lnTo>
                        <a:lnTo>
                          <a:pt x="1118" y="598"/>
                        </a:lnTo>
                        <a:lnTo>
                          <a:pt x="1122" y="596"/>
                        </a:lnTo>
                        <a:lnTo>
                          <a:pt x="1122" y="596"/>
                        </a:lnTo>
                        <a:lnTo>
                          <a:pt x="1122" y="592"/>
                        </a:lnTo>
                        <a:lnTo>
                          <a:pt x="1122" y="588"/>
                        </a:lnTo>
                        <a:lnTo>
                          <a:pt x="1122" y="588"/>
                        </a:lnTo>
                        <a:lnTo>
                          <a:pt x="1118" y="582"/>
                        </a:lnTo>
                        <a:lnTo>
                          <a:pt x="1118" y="576"/>
                        </a:lnTo>
                        <a:lnTo>
                          <a:pt x="1120" y="574"/>
                        </a:lnTo>
                        <a:lnTo>
                          <a:pt x="1122" y="574"/>
                        </a:lnTo>
                        <a:lnTo>
                          <a:pt x="1128" y="570"/>
                        </a:lnTo>
                        <a:lnTo>
                          <a:pt x="1128" y="568"/>
                        </a:lnTo>
                        <a:lnTo>
                          <a:pt x="1126" y="564"/>
                        </a:lnTo>
                        <a:lnTo>
                          <a:pt x="1126" y="564"/>
                        </a:lnTo>
                        <a:lnTo>
                          <a:pt x="1126" y="560"/>
                        </a:lnTo>
                        <a:lnTo>
                          <a:pt x="1126" y="558"/>
                        </a:lnTo>
                        <a:lnTo>
                          <a:pt x="1130" y="554"/>
                        </a:lnTo>
                        <a:lnTo>
                          <a:pt x="1144" y="548"/>
                        </a:lnTo>
                        <a:lnTo>
                          <a:pt x="1150" y="544"/>
                        </a:lnTo>
                        <a:lnTo>
                          <a:pt x="1154" y="536"/>
                        </a:lnTo>
                        <a:lnTo>
                          <a:pt x="1156" y="532"/>
                        </a:lnTo>
                        <a:lnTo>
                          <a:pt x="1154" y="528"/>
                        </a:lnTo>
                        <a:lnTo>
                          <a:pt x="1148" y="514"/>
                        </a:lnTo>
                        <a:lnTo>
                          <a:pt x="1148" y="51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7" name="Freeform 6089"/>
                  <p:cNvSpPr>
                    <a:spLocks/>
                  </p:cNvSpPr>
                  <p:nvPr/>
                </p:nvSpPr>
                <p:spPr bwMode="auto">
                  <a:xfrm>
                    <a:off x="2731770" y="1751013"/>
                    <a:ext cx="20320" cy="15240"/>
                  </a:xfrm>
                  <a:custGeom>
                    <a:avLst/>
                    <a:gdLst/>
                    <a:ahLst/>
                    <a:cxnLst>
                      <a:cxn ang="0">
                        <a:pos x="6" y="0"/>
                      </a:cxn>
                      <a:cxn ang="0">
                        <a:pos x="6" y="0"/>
                      </a:cxn>
                      <a:cxn ang="0">
                        <a:pos x="2" y="4"/>
                      </a:cxn>
                      <a:cxn ang="0">
                        <a:pos x="0" y="8"/>
                      </a:cxn>
                      <a:cxn ang="0">
                        <a:pos x="2" y="12"/>
                      </a:cxn>
                      <a:cxn ang="0">
                        <a:pos x="8" y="18"/>
                      </a:cxn>
                      <a:cxn ang="0">
                        <a:pos x="14" y="22"/>
                      </a:cxn>
                      <a:cxn ang="0">
                        <a:pos x="20" y="24"/>
                      </a:cxn>
                      <a:cxn ang="0">
                        <a:pos x="26" y="24"/>
                      </a:cxn>
                      <a:cxn ang="0">
                        <a:pos x="30" y="22"/>
                      </a:cxn>
                      <a:cxn ang="0">
                        <a:pos x="30" y="22"/>
                      </a:cxn>
                      <a:cxn ang="0">
                        <a:pos x="32" y="16"/>
                      </a:cxn>
                      <a:cxn ang="0">
                        <a:pos x="32" y="12"/>
                      </a:cxn>
                      <a:cxn ang="0">
                        <a:pos x="32" y="8"/>
                      </a:cxn>
                      <a:cxn ang="0">
                        <a:pos x="28" y="4"/>
                      </a:cxn>
                      <a:cxn ang="0">
                        <a:pos x="24" y="2"/>
                      </a:cxn>
                      <a:cxn ang="0">
                        <a:pos x="20" y="0"/>
                      </a:cxn>
                      <a:cxn ang="0">
                        <a:pos x="14" y="0"/>
                      </a:cxn>
                      <a:cxn ang="0">
                        <a:pos x="6" y="0"/>
                      </a:cxn>
                      <a:cxn ang="0">
                        <a:pos x="6" y="0"/>
                      </a:cxn>
                    </a:cxnLst>
                    <a:rect l="0" t="0" r="r" b="b"/>
                    <a:pathLst>
                      <a:path w="32" h="24">
                        <a:moveTo>
                          <a:pt x="6" y="0"/>
                        </a:moveTo>
                        <a:lnTo>
                          <a:pt x="6" y="0"/>
                        </a:lnTo>
                        <a:lnTo>
                          <a:pt x="2" y="4"/>
                        </a:lnTo>
                        <a:lnTo>
                          <a:pt x="0" y="8"/>
                        </a:lnTo>
                        <a:lnTo>
                          <a:pt x="2" y="12"/>
                        </a:lnTo>
                        <a:lnTo>
                          <a:pt x="8" y="18"/>
                        </a:lnTo>
                        <a:lnTo>
                          <a:pt x="14" y="22"/>
                        </a:lnTo>
                        <a:lnTo>
                          <a:pt x="20" y="24"/>
                        </a:lnTo>
                        <a:lnTo>
                          <a:pt x="26" y="24"/>
                        </a:lnTo>
                        <a:lnTo>
                          <a:pt x="30" y="22"/>
                        </a:lnTo>
                        <a:lnTo>
                          <a:pt x="30" y="22"/>
                        </a:lnTo>
                        <a:lnTo>
                          <a:pt x="32" y="16"/>
                        </a:lnTo>
                        <a:lnTo>
                          <a:pt x="32" y="12"/>
                        </a:lnTo>
                        <a:lnTo>
                          <a:pt x="32" y="8"/>
                        </a:lnTo>
                        <a:lnTo>
                          <a:pt x="28" y="4"/>
                        </a:lnTo>
                        <a:lnTo>
                          <a:pt x="24" y="2"/>
                        </a:lnTo>
                        <a:lnTo>
                          <a:pt x="20" y="0"/>
                        </a:lnTo>
                        <a:lnTo>
                          <a:pt x="14" y="0"/>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8" name="Freeform 6091"/>
                  <p:cNvSpPr>
                    <a:spLocks/>
                  </p:cNvSpPr>
                  <p:nvPr/>
                </p:nvSpPr>
                <p:spPr bwMode="auto">
                  <a:xfrm>
                    <a:off x="2656840" y="1799273"/>
                    <a:ext cx="13970" cy="15240"/>
                  </a:xfrm>
                  <a:custGeom>
                    <a:avLst/>
                    <a:gdLst/>
                    <a:ahLst/>
                    <a:cxnLst>
                      <a:cxn ang="0">
                        <a:pos x="4" y="24"/>
                      </a:cxn>
                      <a:cxn ang="0">
                        <a:pos x="4" y="24"/>
                      </a:cxn>
                      <a:cxn ang="0">
                        <a:pos x="12" y="22"/>
                      </a:cxn>
                      <a:cxn ang="0">
                        <a:pos x="20" y="16"/>
                      </a:cxn>
                      <a:cxn ang="0">
                        <a:pos x="22" y="12"/>
                      </a:cxn>
                      <a:cxn ang="0">
                        <a:pos x="22" y="10"/>
                      </a:cxn>
                      <a:cxn ang="0">
                        <a:pos x="22" y="6"/>
                      </a:cxn>
                      <a:cxn ang="0">
                        <a:pos x="18" y="2"/>
                      </a:cxn>
                      <a:cxn ang="0">
                        <a:pos x="18" y="2"/>
                      </a:cxn>
                      <a:cxn ang="0">
                        <a:pos x="14" y="0"/>
                      </a:cxn>
                      <a:cxn ang="0">
                        <a:pos x="10" y="2"/>
                      </a:cxn>
                      <a:cxn ang="0">
                        <a:pos x="6" y="4"/>
                      </a:cxn>
                      <a:cxn ang="0">
                        <a:pos x="2" y="10"/>
                      </a:cxn>
                      <a:cxn ang="0">
                        <a:pos x="0" y="14"/>
                      </a:cxn>
                      <a:cxn ang="0">
                        <a:pos x="0" y="18"/>
                      </a:cxn>
                      <a:cxn ang="0">
                        <a:pos x="2" y="22"/>
                      </a:cxn>
                      <a:cxn ang="0">
                        <a:pos x="4" y="24"/>
                      </a:cxn>
                      <a:cxn ang="0">
                        <a:pos x="4" y="24"/>
                      </a:cxn>
                    </a:cxnLst>
                    <a:rect l="0" t="0" r="r" b="b"/>
                    <a:pathLst>
                      <a:path w="22" h="24">
                        <a:moveTo>
                          <a:pt x="4" y="24"/>
                        </a:moveTo>
                        <a:lnTo>
                          <a:pt x="4" y="24"/>
                        </a:lnTo>
                        <a:lnTo>
                          <a:pt x="12" y="22"/>
                        </a:lnTo>
                        <a:lnTo>
                          <a:pt x="20" y="16"/>
                        </a:lnTo>
                        <a:lnTo>
                          <a:pt x="22" y="12"/>
                        </a:lnTo>
                        <a:lnTo>
                          <a:pt x="22" y="10"/>
                        </a:lnTo>
                        <a:lnTo>
                          <a:pt x="22" y="6"/>
                        </a:lnTo>
                        <a:lnTo>
                          <a:pt x="18" y="2"/>
                        </a:lnTo>
                        <a:lnTo>
                          <a:pt x="18" y="2"/>
                        </a:lnTo>
                        <a:lnTo>
                          <a:pt x="14" y="0"/>
                        </a:lnTo>
                        <a:lnTo>
                          <a:pt x="10" y="2"/>
                        </a:lnTo>
                        <a:lnTo>
                          <a:pt x="6" y="4"/>
                        </a:lnTo>
                        <a:lnTo>
                          <a:pt x="2" y="10"/>
                        </a:lnTo>
                        <a:lnTo>
                          <a:pt x="0" y="14"/>
                        </a:lnTo>
                        <a:lnTo>
                          <a:pt x="0" y="18"/>
                        </a:lnTo>
                        <a:lnTo>
                          <a:pt x="2" y="22"/>
                        </a:lnTo>
                        <a:lnTo>
                          <a:pt x="4" y="24"/>
                        </a:lnTo>
                        <a:lnTo>
                          <a:pt x="4" y="2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9" name="Freeform 6092"/>
                  <p:cNvSpPr>
                    <a:spLocks/>
                  </p:cNvSpPr>
                  <p:nvPr/>
                </p:nvSpPr>
                <p:spPr bwMode="auto">
                  <a:xfrm>
                    <a:off x="2352040" y="1724343"/>
                    <a:ext cx="22860" cy="34290"/>
                  </a:xfrm>
                  <a:custGeom>
                    <a:avLst/>
                    <a:gdLst/>
                    <a:ahLst/>
                    <a:cxnLst>
                      <a:cxn ang="0">
                        <a:pos x="20" y="54"/>
                      </a:cxn>
                      <a:cxn ang="0">
                        <a:pos x="20" y="54"/>
                      </a:cxn>
                      <a:cxn ang="0">
                        <a:pos x="26" y="50"/>
                      </a:cxn>
                      <a:cxn ang="0">
                        <a:pos x="30" y="42"/>
                      </a:cxn>
                      <a:cxn ang="0">
                        <a:pos x="34" y="32"/>
                      </a:cxn>
                      <a:cxn ang="0">
                        <a:pos x="36" y="22"/>
                      </a:cxn>
                      <a:cxn ang="0">
                        <a:pos x="36" y="12"/>
                      </a:cxn>
                      <a:cxn ang="0">
                        <a:pos x="34" y="4"/>
                      </a:cxn>
                      <a:cxn ang="0">
                        <a:pos x="32" y="2"/>
                      </a:cxn>
                      <a:cxn ang="0">
                        <a:pos x="28" y="0"/>
                      </a:cxn>
                      <a:cxn ang="0">
                        <a:pos x="24" y="0"/>
                      </a:cxn>
                      <a:cxn ang="0">
                        <a:pos x="18" y="0"/>
                      </a:cxn>
                      <a:cxn ang="0">
                        <a:pos x="18" y="0"/>
                      </a:cxn>
                      <a:cxn ang="0">
                        <a:pos x="14" y="2"/>
                      </a:cxn>
                      <a:cxn ang="0">
                        <a:pos x="8" y="6"/>
                      </a:cxn>
                      <a:cxn ang="0">
                        <a:pos x="4" y="12"/>
                      </a:cxn>
                      <a:cxn ang="0">
                        <a:pos x="0" y="22"/>
                      </a:cxn>
                      <a:cxn ang="0">
                        <a:pos x="2" y="32"/>
                      </a:cxn>
                      <a:cxn ang="0">
                        <a:pos x="4" y="40"/>
                      </a:cxn>
                      <a:cxn ang="0">
                        <a:pos x="8" y="48"/>
                      </a:cxn>
                      <a:cxn ang="0">
                        <a:pos x="14" y="52"/>
                      </a:cxn>
                      <a:cxn ang="0">
                        <a:pos x="20" y="54"/>
                      </a:cxn>
                      <a:cxn ang="0">
                        <a:pos x="20" y="54"/>
                      </a:cxn>
                    </a:cxnLst>
                    <a:rect l="0" t="0" r="r" b="b"/>
                    <a:pathLst>
                      <a:path w="36" h="54">
                        <a:moveTo>
                          <a:pt x="20" y="54"/>
                        </a:moveTo>
                        <a:lnTo>
                          <a:pt x="20" y="54"/>
                        </a:lnTo>
                        <a:lnTo>
                          <a:pt x="26" y="50"/>
                        </a:lnTo>
                        <a:lnTo>
                          <a:pt x="30" y="42"/>
                        </a:lnTo>
                        <a:lnTo>
                          <a:pt x="34" y="32"/>
                        </a:lnTo>
                        <a:lnTo>
                          <a:pt x="36" y="22"/>
                        </a:lnTo>
                        <a:lnTo>
                          <a:pt x="36" y="12"/>
                        </a:lnTo>
                        <a:lnTo>
                          <a:pt x="34" y="4"/>
                        </a:lnTo>
                        <a:lnTo>
                          <a:pt x="32" y="2"/>
                        </a:lnTo>
                        <a:lnTo>
                          <a:pt x="28" y="0"/>
                        </a:lnTo>
                        <a:lnTo>
                          <a:pt x="24" y="0"/>
                        </a:lnTo>
                        <a:lnTo>
                          <a:pt x="18" y="0"/>
                        </a:lnTo>
                        <a:lnTo>
                          <a:pt x="18" y="0"/>
                        </a:lnTo>
                        <a:lnTo>
                          <a:pt x="14" y="2"/>
                        </a:lnTo>
                        <a:lnTo>
                          <a:pt x="8" y="6"/>
                        </a:lnTo>
                        <a:lnTo>
                          <a:pt x="4" y="12"/>
                        </a:lnTo>
                        <a:lnTo>
                          <a:pt x="0" y="22"/>
                        </a:lnTo>
                        <a:lnTo>
                          <a:pt x="2" y="32"/>
                        </a:lnTo>
                        <a:lnTo>
                          <a:pt x="4" y="40"/>
                        </a:lnTo>
                        <a:lnTo>
                          <a:pt x="8" y="48"/>
                        </a:lnTo>
                        <a:lnTo>
                          <a:pt x="14" y="52"/>
                        </a:lnTo>
                        <a:lnTo>
                          <a:pt x="20" y="54"/>
                        </a:lnTo>
                        <a:lnTo>
                          <a:pt x="20" y="5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0" name="Freeform 6094"/>
                  <p:cNvSpPr>
                    <a:spLocks/>
                  </p:cNvSpPr>
                  <p:nvPr/>
                </p:nvSpPr>
                <p:spPr bwMode="auto">
                  <a:xfrm>
                    <a:off x="2428240" y="1463993"/>
                    <a:ext cx="59690" cy="48260"/>
                  </a:xfrm>
                  <a:custGeom>
                    <a:avLst/>
                    <a:gdLst/>
                    <a:ahLst/>
                    <a:cxnLst>
                      <a:cxn ang="0">
                        <a:pos x="8" y="26"/>
                      </a:cxn>
                      <a:cxn ang="0">
                        <a:pos x="8" y="26"/>
                      </a:cxn>
                      <a:cxn ang="0">
                        <a:pos x="4" y="36"/>
                      </a:cxn>
                      <a:cxn ang="0">
                        <a:pos x="0" y="46"/>
                      </a:cxn>
                      <a:cxn ang="0">
                        <a:pos x="0" y="56"/>
                      </a:cxn>
                      <a:cxn ang="0">
                        <a:pos x="2" y="64"/>
                      </a:cxn>
                      <a:cxn ang="0">
                        <a:pos x="8" y="70"/>
                      </a:cxn>
                      <a:cxn ang="0">
                        <a:pos x="18" y="74"/>
                      </a:cxn>
                      <a:cxn ang="0">
                        <a:pos x="34" y="76"/>
                      </a:cxn>
                      <a:cxn ang="0">
                        <a:pos x="54" y="76"/>
                      </a:cxn>
                      <a:cxn ang="0">
                        <a:pos x="54" y="76"/>
                      </a:cxn>
                      <a:cxn ang="0">
                        <a:pos x="72" y="74"/>
                      </a:cxn>
                      <a:cxn ang="0">
                        <a:pos x="84" y="70"/>
                      </a:cxn>
                      <a:cxn ang="0">
                        <a:pos x="90" y="64"/>
                      </a:cxn>
                      <a:cxn ang="0">
                        <a:pos x="94" y="58"/>
                      </a:cxn>
                      <a:cxn ang="0">
                        <a:pos x="92" y="50"/>
                      </a:cxn>
                      <a:cxn ang="0">
                        <a:pos x="92" y="40"/>
                      </a:cxn>
                      <a:cxn ang="0">
                        <a:pos x="90" y="32"/>
                      </a:cxn>
                      <a:cxn ang="0">
                        <a:pos x="92" y="22"/>
                      </a:cxn>
                      <a:cxn ang="0">
                        <a:pos x="92" y="22"/>
                      </a:cxn>
                      <a:cxn ang="0">
                        <a:pos x="92" y="18"/>
                      </a:cxn>
                      <a:cxn ang="0">
                        <a:pos x="90" y="14"/>
                      </a:cxn>
                      <a:cxn ang="0">
                        <a:pos x="88" y="10"/>
                      </a:cxn>
                      <a:cxn ang="0">
                        <a:pos x="84" y="6"/>
                      </a:cxn>
                      <a:cxn ang="0">
                        <a:pos x="74" y="2"/>
                      </a:cxn>
                      <a:cxn ang="0">
                        <a:pos x="60" y="0"/>
                      </a:cxn>
                      <a:cxn ang="0">
                        <a:pos x="46" y="2"/>
                      </a:cxn>
                      <a:cxn ang="0">
                        <a:pos x="32" y="6"/>
                      </a:cxn>
                      <a:cxn ang="0">
                        <a:pos x="18" y="14"/>
                      </a:cxn>
                      <a:cxn ang="0">
                        <a:pos x="14" y="20"/>
                      </a:cxn>
                      <a:cxn ang="0">
                        <a:pos x="8" y="26"/>
                      </a:cxn>
                      <a:cxn ang="0">
                        <a:pos x="8" y="26"/>
                      </a:cxn>
                    </a:cxnLst>
                    <a:rect l="0" t="0" r="r" b="b"/>
                    <a:pathLst>
                      <a:path w="94" h="76">
                        <a:moveTo>
                          <a:pt x="8" y="26"/>
                        </a:moveTo>
                        <a:lnTo>
                          <a:pt x="8" y="26"/>
                        </a:lnTo>
                        <a:lnTo>
                          <a:pt x="4" y="36"/>
                        </a:lnTo>
                        <a:lnTo>
                          <a:pt x="0" y="46"/>
                        </a:lnTo>
                        <a:lnTo>
                          <a:pt x="0" y="56"/>
                        </a:lnTo>
                        <a:lnTo>
                          <a:pt x="2" y="64"/>
                        </a:lnTo>
                        <a:lnTo>
                          <a:pt x="8" y="70"/>
                        </a:lnTo>
                        <a:lnTo>
                          <a:pt x="18" y="74"/>
                        </a:lnTo>
                        <a:lnTo>
                          <a:pt x="34" y="76"/>
                        </a:lnTo>
                        <a:lnTo>
                          <a:pt x="54" y="76"/>
                        </a:lnTo>
                        <a:lnTo>
                          <a:pt x="54" y="76"/>
                        </a:lnTo>
                        <a:lnTo>
                          <a:pt x="72" y="74"/>
                        </a:lnTo>
                        <a:lnTo>
                          <a:pt x="84" y="70"/>
                        </a:lnTo>
                        <a:lnTo>
                          <a:pt x="90" y="64"/>
                        </a:lnTo>
                        <a:lnTo>
                          <a:pt x="94" y="58"/>
                        </a:lnTo>
                        <a:lnTo>
                          <a:pt x="92" y="50"/>
                        </a:lnTo>
                        <a:lnTo>
                          <a:pt x="92" y="40"/>
                        </a:lnTo>
                        <a:lnTo>
                          <a:pt x="90" y="32"/>
                        </a:lnTo>
                        <a:lnTo>
                          <a:pt x="92" y="22"/>
                        </a:lnTo>
                        <a:lnTo>
                          <a:pt x="92" y="22"/>
                        </a:lnTo>
                        <a:lnTo>
                          <a:pt x="92" y="18"/>
                        </a:lnTo>
                        <a:lnTo>
                          <a:pt x="90" y="14"/>
                        </a:lnTo>
                        <a:lnTo>
                          <a:pt x="88" y="10"/>
                        </a:lnTo>
                        <a:lnTo>
                          <a:pt x="84" y="6"/>
                        </a:lnTo>
                        <a:lnTo>
                          <a:pt x="74" y="2"/>
                        </a:lnTo>
                        <a:lnTo>
                          <a:pt x="60" y="0"/>
                        </a:lnTo>
                        <a:lnTo>
                          <a:pt x="46" y="2"/>
                        </a:lnTo>
                        <a:lnTo>
                          <a:pt x="32" y="6"/>
                        </a:lnTo>
                        <a:lnTo>
                          <a:pt x="18" y="14"/>
                        </a:lnTo>
                        <a:lnTo>
                          <a:pt x="14" y="20"/>
                        </a:lnTo>
                        <a:lnTo>
                          <a:pt x="8" y="26"/>
                        </a:lnTo>
                        <a:lnTo>
                          <a:pt x="8" y="2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1" name="Freeform 6098"/>
                  <p:cNvSpPr>
                    <a:spLocks/>
                  </p:cNvSpPr>
                  <p:nvPr/>
                </p:nvSpPr>
                <p:spPr bwMode="auto">
                  <a:xfrm>
                    <a:off x="1668780" y="1211263"/>
                    <a:ext cx="63500" cy="43180"/>
                  </a:xfrm>
                  <a:custGeom>
                    <a:avLst/>
                    <a:gdLst/>
                    <a:ahLst/>
                    <a:cxnLst>
                      <a:cxn ang="0">
                        <a:pos x="46" y="2"/>
                      </a:cxn>
                      <a:cxn ang="0">
                        <a:pos x="46" y="2"/>
                      </a:cxn>
                      <a:cxn ang="0">
                        <a:pos x="32" y="4"/>
                      </a:cxn>
                      <a:cxn ang="0">
                        <a:pos x="20" y="6"/>
                      </a:cxn>
                      <a:cxn ang="0">
                        <a:pos x="10" y="10"/>
                      </a:cxn>
                      <a:cxn ang="0">
                        <a:pos x="4" y="12"/>
                      </a:cxn>
                      <a:cxn ang="0">
                        <a:pos x="0" y="16"/>
                      </a:cxn>
                      <a:cxn ang="0">
                        <a:pos x="0" y="20"/>
                      </a:cxn>
                      <a:cxn ang="0">
                        <a:pos x="2" y="22"/>
                      </a:cxn>
                      <a:cxn ang="0">
                        <a:pos x="8" y="24"/>
                      </a:cxn>
                      <a:cxn ang="0">
                        <a:pos x="8" y="24"/>
                      </a:cxn>
                      <a:cxn ang="0">
                        <a:pos x="20" y="28"/>
                      </a:cxn>
                      <a:cxn ang="0">
                        <a:pos x="28" y="32"/>
                      </a:cxn>
                      <a:cxn ang="0">
                        <a:pos x="32" y="36"/>
                      </a:cxn>
                      <a:cxn ang="0">
                        <a:pos x="34" y="40"/>
                      </a:cxn>
                      <a:cxn ang="0">
                        <a:pos x="34" y="40"/>
                      </a:cxn>
                      <a:cxn ang="0">
                        <a:pos x="38" y="46"/>
                      </a:cxn>
                      <a:cxn ang="0">
                        <a:pos x="44" y="50"/>
                      </a:cxn>
                      <a:cxn ang="0">
                        <a:pos x="54" y="56"/>
                      </a:cxn>
                      <a:cxn ang="0">
                        <a:pos x="64" y="66"/>
                      </a:cxn>
                      <a:cxn ang="0">
                        <a:pos x="64" y="66"/>
                      </a:cxn>
                      <a:cxn ang="0">
                        <a:pos x="68" y="68"/>
                      </a:cxn>
                      <a:cxn ang="0">
                        <a:pos x="70" y="68"/>
                      </a:cxn>
                      <a:cxn ang="0">
                        <a:pos x="70" y="66"/>
                      </a:cxn>
                      <a:cxn ang="0">
                        <a:pos x="70" y="66"/>
                      </a:cxn>
                      <a:cxn ang="0">
                        <a:pos x="70" y="62"/>
                      </a:cxn>
                      <a:cxn ang="0">
                        <a:pos x="74" y="60"/>
                      </a:cxn>
                      <a:cxn ang="0">
                        <a:pos x="80" y="56"/>
                      </a:cxn>
                      <a:cxn ang="0">
                        <a:pos x="86" y="48"/>
                      </a:cxn>
                      <a:cxn ang="0">
                        <a:pos x="86" y="48"/>
                      </a:cxn>
                      <a:cxn ang="0">
                        <a:pos x="100" y="26"/>
                      </a:cxn>
                      <a:cxn ang="0">
                        <a:pos x="100" y="20"/>
                      </a:cxn>
                      <a:cxn ang="0">
                        <a:pos x="100" y="16"/>
                      </a:cxn>
                      <a:cxn ang="0">
                        <a:pos x="98" y="14"/>
                      </a:cxn>
                      <a:cxn ang="0">
                        <a:pos x="94" y="10"/>
                      </a:cxn>
                      <a:cxn ang="0">
                        <a:pos x="94" y="10"/>
                      </a:cxn>
                      <a:cxn ang="0">
                        <a:pos x="86" y="6"/>
                      </a:cxn>
                      <a:cxn ang="0">
                        <a:pos x="80" y="2"/>
                      </a:cxn>
                      <a:cxn ang="0">
                        <a:pos x="70" y="0"/>
                      </a:cxn>
                      <a:cxn ang="0">
                        <a:pos x="46" y="2"/>
                      </a:cxn>
                      <a:cxn ang="0">
                        <a:pos x="46" y="2"/>
                      </a:cxn>
                    </a:cxnLst>
                    <a:rect l="0" t="0" r="r" b="b"/>
                    <a:pathLst>
                      <a:path w="100" h="68">
                        <a:moveTo>
                          <a:pt x="46" y="2"/>
                        </a:moveTo>
                        <a:lnTo>
                          <a:pt x="46" y="2"/>
                        </a:lnTo>
                        <a:lnTo>
                          <a:pt x="32" y="4"/>
                        </a:lnTo>
                        <a:lnTo>
                          <a:pt x="20" y="6"/>
                        </a:lnTo>
                        <a:lnTo>
                          <a:pt x="10" y="10"/>
                        </a:lnTo>
                        <a:lnTo>
                          <a:pt x="4" y="12"/>
                        </a:lnTo>
                        <a:lnTo>
                          <a:pt x="0" y="16"/>
                        </a:lnTo>
                        <a:lnTo>
                          <a:pt x="0" y="20"/>
                        </a:lnTo>
                        <a:lnTo>
                          <a:pt x="2" y="22"/>
                        </a:lnTo>
                        <a:lnTo>
                          <a:pt x="8" y="24"/>
                        </a:lnTo>
                        <a:lnTo>
                          <a:pt x="8" y="24"/>
                        </a:lnTo>
                        <a:lnTo>
                          <a:pt x="20" y="28"/>
                        </a:lnTo>
                        <a:lnTo>
                          <a:pt x="28" y="32"/>
                        </a:lnTo>
                        <a:lnTo>
                          <a:pt x="32" y="36"/>
                        </a:lnTo>
                        <a:lnTo>
                          <a:pt x="34" y="40"/>
                        </a:lnTo>
                        <a:lnTo>
                          <a:pt x="34" y="40"/>
                        </a:lnTo>
                        <a:lnTo>
                          <a:pt x="38" y="46"/>
                        </a:lnTo>
                        <a:lnTo>
                          <a:pt x="44" y="50"/>
                        </a:lnTo>
                        <a:lnTo>
                          <a:pt x="54" y="56"/>
                        </a:lnTo>
                        <a:lnTo>
                          <a:pt x="64" y="66"/>
                        </a:lnTo>
                        <a:lnTo>
                          <a:pt x="64" y="66"/>
                        </a:lnTo>
                        <a:lnTo>
                          <a:pt x="68" y="68"/>
                        </a:lnTo>
                        <a:lnTo>
                          <a:pt x="70" y="68"/>
                        </a:lnTo>
                        <a:lnTo>
                          <a:pt x="70" y="66"/>
                        </a:lnTo>
                        <a:lnTo>
                          <a:pt x="70" y="66"/>
                        </a:lnTo>
                        <a:lnTo>
                          <a:pt x="70" y="62"/>
                        </a:lnTo>
                        <a:lnTo>
                          <a:pt x="74" y="60"/>
                        </a:lnTo>
                        <a:lnTo>
                          <a:pt x="80" y="56"/>
                        </a:lnTo>
                        <a:lnTo>
                          <a:pt x="86" y="48"/>
                        </a:lnTo>
                        <a:lnTo>
                          <a:pt x="86" y="48"/>
                        </a:lnTo>
                        <a:lnTo>
                          <a:pt x="100" y="26"/>
                        </a:lnTo>
                        <a:lnTo>
                          <a:pt x="100" y="20"/>
                        </a:lnTo>
                        <a:lnTo>
                          <a:pt x="100" y="16"/>
                        </a:lnTo>
                        <a:lnTo>
                          <a:pt x="98" y="14"/>
                        </a:lnTo>
                        <a:lnTo>
                          <a:pt x="94" y="10"/>
                        </a:lnTo>
                        <a:lnTo>
                          <a:pt x="94" y="10"/>
                        </a:lnTo>
                        <a:lnTo>
                          <a:pt x="86" y="6"/>
                        </a:lnTo>
                        <a:lnTo>
                          <a:pt x="80" y="2"/>
                        </a:lnTo>
                        <a:lnTo>
                          <a:pt x="70" y="0"/>
                        </a:lnTo>
                        <a:lnTo>
                          <a:pt x="46" y="2"/>
                        </a:lnTo>
                        <a:lnTo>
                          <a:pt x="4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2" name="Freeform 6099"/>
                  <p:cNvSpPr>
                    <a:spLocks/>
                  </p:cNvSpPr>
                  <p:nvPr/>
                </p:nvSpPr>
                <p:spPr bwMode="auto">
                  <a:xfrm>
                    <a:off x="1733550" y="1088073"/>
                    <a:ext cx="48260" cy="10160"/>
                  </a:xfrm>
                  <a:custGeom>
                    <a:avLst/>
                    <a:gdLst/>
                    <a:ahLst/>
                    <a:cxnLst>
                      <a:cxn ang="0">
                        <a:pos x="76" y="2"/>
                      </a:cxn>
                      <a:cxn ang="0">
                        <a:pos x="76" y="2"/>
                      </a:cxn>
                      <a:cxn ang="0">
                        <a:pos x="68" y="0"/>
                      </a:cxn>
                      <a:cxn ang="0">
                        <a:pos x="56" y="0"/>
                      </a:cxn>
                      <a:cxn ang="0">
                        <a:pos x="30" y="2"/>
                      </a:cxn>
                      <a:cxn ang="0">
                        <a:pos x="16" y="6"/>
                      </a:cxn>
                      <a:cxn ang="0">
                        <a:pos x="6" y="8"/>
                      </a:cxn>
                      <a:cxn ang="0">
                        <a:pos x="0" y="12"/>
                      </a:cxn>
                      <a:cxn ang="0">
                        <a:pos x="0" y="14"/>
                      </a:cxn>
                      <a:cxn ang="0">
                        <a:pos x="2" y="16"/>
                      </a:cxn>
                      <a:cxn ang="0">
                        <a:pos x="2" y="16"/>
                      </a:cxn>
                      <a:cxn ang="0">
                        <a:pos x="8" y="16"/>
                      </a:cxn>
                      <a:cxn ang="0">
                        <a:pos x="20" y="16"/>
                      </a:cxn>
                      <a:cxn ang="0">
                        <a:pos x="48" y="14"/>
                      </a:cxn>
                      <a:cxn ang="0">
                        <a:pos x="70" y="8"/>
                      </a:cxn>
                      <a:cxn ang="0">
                        <a:pos x="76" y="4"/>
                      </a:cxn>
                      <a:cxn ang="0">
                        <a:pos x="76" y="2"/>
                      </a:cxn>
                      <a:cxn ang="0">
                        <a:pos x="76" y="2"/>
                      </a:cxn>
                      <a:cxn ang="0">
                        <a:pos x="76" y="2"/>
                      </a:cxn>
                    </a:cxnLst>
                    <a:rect l="0" t="0" r="r" b="b"/>
                    <a:pathLst>
                      <a:path w="76" h="16">
                        <a:moveTo>
                          <a:pt x="76" y="2"/>
                        </a:moveTo>
                        <a:lnTo>
                          <a:pt x="76" y="2"/>
                        </a:lnTo>
                        <a:lnTo>
                          <a:pt x="68" y="0"/>
                        </a:lnTo>
                        <a:lnTo>
                          <a:pt x="56" y="0"/>
                        </a:lnTo>
                        <a:lnTo>
                          <a:pt x="30" y="2"/>
                        </a:lnTo>
                        <a:lnTo>
                          <a:pt x="16" y="6"/>
                        </a:lnTo>
                        <a:lnTo>
                          <a:pt x="6" y="8"/>
                        </a:lnTo>
                        <a:lnTo>
                          <a:pt x="0" y="12"/>
                        </a:lnTo>
                        <a:lnTo>
                          <a:pt x="0" y="14"/>
                        </a:lnTo>
                        <a:lnTo>
                          <a:pt x="2" y="16"/>
                        </a:lnTo>
                        <a:lnTo>
                          <a:pt x="2" y="16"/>
                        </a:lnTo>
                        <a:lnTo>
                          <a:pt x="8" y="16"/>
                        </a:lnTo>
                        <a:lnTo>
                          <a:pt x="20" y="16"/>
                        </a:lnTo>
                        <a:lnTo>
                          <a:pt x="48" y="14"/>
                        </a:lnTo>
                        <a:lnTo>
                          <a:pt x="70" y="8"/>
                        </a:lnTo>
                        <a:lnTo>
                          <a:pt x="76" y="4"/>
                        </a:lnTo>
                        <a:lnTo>
                          <a:pt x="76" y="2"/>
                        </a:lnTo>
                        <a:lnTo>
                          <a:pt x="76" y="2"/>
                        </a:lnTo>
                        <a:lnTo>
                          <a:pt x="7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3" name="Freeform 6100"/>
                  <p:cNvSpPr>
                    <a:spLocks/>
                  </p:cNvSpPr>
                  <p:nvPr/>
                </p:nvSpPr>
                <p:spPr bwMode="auto">
                  <a:xfrm>
                    <a:off x="1723390" y="1129983"/>
                    <a:ext cx="30480" cy="20320"/>
                  </a:xfrm>
                  <a:custGeom>
                    <a:avLst/>
                    <a:gdLst/>
                    <a:ahLst/>
                    <a:cxnLst>
                      <a:cxn ang="0">
                        <a:pos x="0" y="20"/>
                      </a:cxn>
                      <a:cxn ang="0">
                        <a:pos x="0" y="20"/>
                      </a:cxn>
                      <a:cxn ang="0">
                        <a:pos x="0" y="22"/>
                      </a:cxn>
                      <a:cxn ang="0">
                        <a:pos x="2" y="26"/>
                      </a:cxn>
                      <a:cxn ang="0">
                        <a:pos x="8" y="30"/>
                      </a:cxn>
                      <a:cxn ang="0">
                        <a:pos x="16" y="32"/>
                      </a:cxn>
                      <a:cxn ang="0">
                        <a:pos x="26" y="32"/>
                      </a:cxn>
                      <a:cxn ang="0">
                        <a:pos x="34" y="30"/>
                      </a:cxn>
                      <a:cxn ang="0">
                        <a:pos x="42" y="28"/>
                      </a:cxn>
                      <a:cxn ang="0">
                        <a:pos x="46" y="22"/>
                      </a:cxn>
                      <a:cxn ang="0">
                        <a:pos x="48" y="20"/>
                      </a:cxn>
                      <a:cxn ang="0">
                        <a:pos x="48" y="18"/>
                      </a:cxn>
                      <a:cxn ang="0">
                        <a:pos x="48" y="18"/>
                      </a:cxn>
                      <a:cxn ang="0">
                        <a:pos x="44" y="12"/>
                      </a:cxn>
                      <a:cxn ang="0">
                        <a:pos x="38" y="6"/>
                      </a:cxn>
                      <a:cxn ang="0">
                        <a:pos x="30" y="2"/>
                      </a:cxn>
                      <a:cxn ang="0">
                        <a:pos x="22" y="0"/>
                      </a:cxn>
                      <a:cxn ang="0">
                        <a:pos x="14" y="0"/>
                      </a:cxn>
                      <a:cxn ang="0">
                        <a:pos x="6" y="2"/>
                      </a:cxn>
                      <a:cxn ang="0">
                        <a:pos x="2" y="8"/>
                      </a:cxn>
                      <a:cxn ang="0">
                        <a:pos x="0" y="20"/>
                      </a:cxn>
                      <a:cxn ang="0">
                        <a:pos x="0" y="20"/>
                      </a:cxn>
                    </a:cxnLst>
                    <a:rect l="0" t="0" r="r" b="b"/>
                    <a:pathLst>
                      <a:path w="48" h="32">
                        <a:moveTo>
                          <a:pt x="0" y="20"/>
                        </a:moveTo>
                        <a:lnTo>
                          <a:pt x="0" y="20"/>
                        </a:lnTo>
                        <a:lnTo>
                          <a:pt x="0" y="22"/>
                        </a:lnTo>
                        <a:lnTo>
                          <a:pt x="2" y="26"/>
                        </a:lnTo>
                        <a:lnTo>
                          <a:pt x="8" y="30"/>
                        </a:lnTo>
                        <a:lnTo>
                          <a:pt x="16" y="32"/>
                        </a:lnTo>
                        <a:lnTo>
                          <a:pt x="26" y="32"/>
                        </a:lnTo>
                        <a:lnTo>
                          <a:pt x="34" y="30"/>
                        </a:lnTo>
                        <a:lnTo>
                          <a:pt x="42" y="28"/>
                        </a:lnTo>
                        <a:lnTo>
                          <a:pt x="46" y="22"/>
                        </a:lnTo>
                        <a:lnTo>
                          <a:pt x="48" y="20"/>
                        </a:lnTo>
                        <a:lnTo>
                          <a:pt x="48" y="18"/>
                        </a:lnTo>
                        <a:lnTo>
                          <a:pt x="48" y="18"/>
                        </a:lnTo>
                        <a:lnTo>
                          <a:pt x="44" y="12"/>
                        </a:lnTo>
                        <a:lnTo>
                          <a:pt x="38" y="6"/>
                        </a:lnTo>
                        <a:lnTo>
                          <a:pt x="30" y="2"/>
                        </a:lnTo>
                        <a:lnTo>
                          <a:pt x="22" y="0"/>
                        </a:lnTo>
                        <a:lnTo>
                          <a:pt x="14" y="0"/>
                        </a:lnTo>
                        <a:lnTo>
                          <a:pt x="6" y="2"/>
                        </a:lnTo>
                        <a:lnTo>
                          <a:pt x="2" y="8"/>
                        </a:lnTo>
                        <a:lnTo>
                          <a:pt x="0" y="20"/>
                        </a:lnTo>
                        <a:lnTo>
                          <a:pt x="0" y="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4" name="Freeform 6101"/>
                  <p:cNvSpPr>
                    <a:spLocks/>
                  </p:cNvSpPr>
                  <p:nvPr/>
                </p:nvSpPr>
                <p:spPr bwMode="auto">
                  <a:xfrm>
                    <a:off x="1728470" y="1065213"/>
                    <a:ext cx="44450" cy="21590"/>
                  </a:xfrm>
                  <a:custGeom>
                    <a:avLst/>
                    <a:gdLst/>
                    <a:ahLst/>
                    <a:cxnLst>
                      <a:cxn ang="0">
                        <a:pos x="62" y="18"/>
                      </a:cxn>
                      <a:cxn ang="0">
                        <a:pos x="62" y="18"/>
                      </a:cxn>
                      <a:cxn ang="0">
                        <a:pos x="52" y="16"/>
                      </a:cxn>
                      <a:cxn ang="0">
                        <a:pos x="44" y="14"/>
                      </a:cxn>
                      <a:cxn ang="0">
                        <a:pos x="34" y="6"/>
                      </a:cxn>
                      <a:cxn ang="0">
                        <a:pos x="30" y="2"/>
                      </a:cxn>
                      <a:cxn ang="0">
                        <a:pos x="24" y="0"/>
                      </a:cxn>
                      <a:cxn ang="0">
                        <a:pos x="18" y="2"/>
                      </a:cxn>
                      <a:cxn ang="0">
                        <a:pos x="8" y="6"/>
                      </a:cxn>
                      <a:cxn ang="0">
                        <a:pos x="8" y="6"/>
                      </a:cxn>
                      <a:cxn ang="0">
                        <a:pos x="2" y="8"/>
                      </a:cxn>
                      <a:cxn ang="0">
                        <a:pos x="0" y="12"/>
                      </a:cxn>
                      <a:cxn ang="0">
                        <a:pos x="2" y="18"/>
                      </a:cxn>
                      <a:cxn ang="0">
                        <a:pos x="8" y="28"/>
                      </a:cxn>
                      <a:cxn ang="0">
                        <a:pos x="8" y="28"/>
                      </a:cxn>
                      <a:cxn ang="0">
                        <a:pos x="12" y="30"/>
                      </a:cxn>
                      <a:cxn ang="0">
                        <a:pos x="16" y="32"/>
                      </a:cxn>
                      <a:cxn ang="0">
                        <a:pos x="26" y="34"/>
                      </a:cxn>
                      <a:cxn ang="0">
                        <a:pos x="40" y="32"/>
                      </a:cxn>
                      <a:cxn ang="0">
                        <a:pos x="52" y="30"/>
                      </a:cxn>
                      <a:cxn ang="0">
                        <a:pos x="62" y="28"/>
                      </a:cxn>
                      <a:cxn ang="0">
                        <a:pos x="68" y="24"/>
                      </a:cxn>
                      <a:cxn ang="0">
                        <a:pos x="70" y="22"/>
                      </a:cxn>
                      <a:cxn ang="0">
                        <a:pos x="70" y="20"/>
                      </a:cxn>
                      <a:cxn ang="0">
                        <a:pos x="62" y="18"/>
                      </a:cxn>
                      <a:cxn ang="0">
                        <a:pos x="62" y="18"/>
                      </a:cxn>
                    </a:cxnLst>
                    <a:rect l="0" t="0" r="r" b="b"/>
                    <a:pathLst>
                      <a:path w="70" h="34">
                        <a:moveTo>
                          <a:pt x="62" y="18"/>
                        </a:moveTo>
                        <a:lnTo>
                          <a:pt x="62" y="18"/>
                        </a:lnTo>
                        <a:lnTo>
                          <a:pt x="52" y="16"/>
                        </a:lnTo>
                        <a:lnTo>
                          <a:pt x="44" y="14"/>
                        </a:lnTo>
                        <a:lnTo>
                          <a:pt x="34" y="6"/>
                        </a:lnTo>
                        <a:lnTo>
                          <a:pt x="30" y="2"/>
                        </a:lnTo>
                        <a:lnTo>
                          <a:pt x="24" y="0"/>
                        </a:lnTo>
                        <a:lnTo>
                          <a:pt x="18" y="2"/>
                        </a:lnTo>
                        <a:lnTo>
                          <a:pt x="8" y="6"/>
                        </a:lnTo>
                        <a:lnTo>
                          <a:pt x="8" y="6"/>
                        </a:lnTo>
                        <a:lnTo>
                          <a:pt x="2" y="8"/>
                        </a:lnTo>
                        <a:lnTo>
                          <a:pt x="0" y="12"/>
                        </a:lnTo>
                        <a:lnTo>
                          <a:pt x="2" y="18"/>
                        </a:lnTo>
                        <a:lnTo>
                          <a:pt x="8" y="28"/>
                        </a:lnTo>
                        <a:lnTo>
                          <a:pt x="8" y="28"/>
                        </a:lnTo>
                        <a:lnTo>
                          <a:pt x="12" y="30"/>
                        </a:lnTo>
                        <a:lnTo>
                          <a:pt x="16" y="32"/>
                        </a:lnTo>
                        <a:lnTo>
                          <a:pt x="26" y="34"/>
                        </a:lnTo>
                        <a:lnTo>
                          <a:pt x="40" y="32"/>
                        </a:lnTo>
                        <a:lnTo>
                          <a:pt x="52" y="30"/>
                        </a:lnTo>
                        <a:lnTo>
                          <a:pt x="62" y="28"/>
                        </a:lnTo>
                        <a:lnTo>
                          <a:pt x="68" y="24"/>
                        </a:lnTo>
                        <a:lnTo>
                          <a:pt x="70" y="22"/>
                        </a:lnTo>
                        <a:lnTo>
                          <a:pt x="70" y="20"/>
                        </a:lnTo>
                        <a:lnTo>
                          <a:pt x="62" y="18"/>
                        </a:lnTo>
                        <a:lnTo>
                          <a:pt x="62" y="1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5" name="Freeform 6102"/>
                  <p:cNvSpPr>
                    <a:spLocks/>
                  </p:cNvSpPr>
                  <p:nvPr/>
                </p:nvSpPr>
                <p:spPr bwMode="auto">
                  <a:xfrm>
                    <a:off x="1922780" y="1048703"/>
                    <a:ext cx="449580" cy="129540"/>
                  </a:xfrm>
                  <a:custGeom>
                    <a:avLst/>
                    <a:gdLst/>
                    <a:ahLst/>
                    <a:cxnLst>
                      <a:cxn ang="0">
                        <a:pos x="342" y="198"/>
                      </a:cxn>
                      <a:cxn ang="0">
                        <a:pos x="406" y="202"/>
                      </a:cxn>
                      <a:cxn ang="0">
                        <a:pos x="530" y="198"/>
                      </a:cxn>
                      <a:cxn ang="0">
                        <a:pos x="560" y="176"/>
                      </a:cxn>
                      <a:cxn ang="0">
                        <a:pos x="566" y="188"/>
                      </a:cxn>
                      <a:cxn ang="0">
                        <a:pos x="624" y="200"/>
                      </a:cxn>
                      <a:cxn ang="0">
                        <a:pos x="680" y="190"/>
                      </a:cxn>
                      <a:cxn ang="0">
                        <a:pos x="688" y="174"/>
                      </a:cxn>
                      <a:cxn ang="0">
                        <a:pos x="708" y="168"/>
                      </a:cxn>
                      <a:cxn ang="0">
                        <a:pos x="694" y="158"/>
                      </a:cxn>
                      <a:cxn ang="0">
                        <a:pos x="700" y="144"/>
                      </a:cxn>
                      <a:cxn ang="0">
                        <a:pos x="700" y="126"/>
                      </a:cxn>
                      <a:cxn ang="0">
                        <a:pos x="672" y="110"/>
                      </a:cxn>
                      <a:cxn ang="0">
                        <a:pos x="642" y="104"/>
                      </a:cxn>
                      <a:cxn ang="0">
                        <a:pos x="600" y="96"/>
                      </a:cxn>
                      <a:cxn ang="0">
                        <a:pos x="480" y="110"/>
                      </a:cxn>
                      <a:cxn ang="0">
                        <a:pos x="442" y="126"/>
                      </a:cxn>
                      <a:cxn ang="0">
                        <a:pos x="416" y="122"/>
                      </a:cxn>
                      <a:cxn ang="0">
                        <a:pos x="374" y="120"/>
                      </a:cxn>
                      <a:cxn ang="0">
                        <a:pos x="346" y="114"/>
                      </a:cxn>
                      <a:cxn ang="0">
                        <a:pos x="330" y="110"/>
                      </a:cxn>
                      <a:cxn ang="0">
                        <a:pos x="324" y="124"/>
                      </a:cxn>
                      <a:cxn ang="0">
                        <a:pos x="310" y="116"/>
                      </a:cxn>
                      <a:cxn ang="0">
                        <a:pos x="310" y="102"/>
                      </a:cxn>
                      <a:cxn ang="0">
                        <a:pos x="294" y="84"/>
                      </a:cxn>
                      <a:cxn ang="0">
                        <a:pos x="268" y="84"/>
                      </a:cxn>
                      <a:cxn ang="0">
                        <a:pos x="262" y="76"/>
                      </a:cxn>
                      <a:cxn ang="0">
                        <a:pos x="308" y="74"/>
                      </a:cxn>
                      <a:cxn ang="0">
                        <a:pos x="316" y="66"/>
                      </a:cxn>
                      <a:cxn ang="0">
                        <a:pos x="278" y="52"/>
                      </a:cxn>
                      <a:cxn ang="0">
                        <a:pos x="240" y="34"/>
                      </a:cxn>
                      <a:cxn ang="0">
                        <a:pos x="182" y="36"/>
                      </a:cxn>
                      <a:cxn ang="0">
                        <a:pos x="154" y="30"/>
                      </a:cxn>
                      <a:cxn ang="0">
                        <a:pos x="124" y="10"/>
                      </a:cxn>
                      <a:cxn ang="0">
                        <a:pos x="78" y="6"/>
                      </a:cxn>
                      <a:cxn ang="0">
                        <a:pos x="10" y="0"/>
                      </a:cxn>
                      <a:cxn ang="0">
                        <a:pos x="2" y="12"/>
                      </a:cxn>
                      <a:cxn ang="0">
                        <a:pos x="18" y="32"/>
                      </a:cxn>
                      <a:cxn ang="0">
                        <a:pos x="58" y="52"/>
                      </a:cxn>
                      <a:cxn ang="0">
                        <a:pos x="66" y="66"/>
                      </a:cxn>
                      <a:cxn ang="0">
                        <a:pos x="112" y="66"/>
                      </a:cxn>
                      <a:cxn ang="0">
                        <a:pos x="160" y="60"/>
                      </a:cxn>
                      <a:cxn ang="0">
                        <a:pos x="186" y="84"/>
                      </a:cxn>
                      <a:cxn ang="0">
                        <a:pos x="202" y="98"/>
                      </a:cxn>
                      <a:cxn ang="0">
                        <a:pos x="194" y="120"/>
                      </a:cxn>
                      <a:cxn ang="0">
                        <a:pos x="186" y="142"/>
                      </a:cxn>
                      <a:cxn ang="0">
                        <a:pos x="198" y="154"/>
                      </a:cxn>
                      <a:cxn ang="0">
                        <a:pos x="206" y="182"/>
                      </a:cxn>
                      <a:cxn ang="0">
                        <a:pos x="232" y="190"/>
                      </a:cxn>
                      <a:cxn ang="0">
                        <a:pos x="250" y="186"/>
                      </a:cxn>
                      <a:cxn ang="0">
                        <a:pos x="282" y="198"/>
                      </a:cxn>
                      <a:cxn ang="0">
                        <a:pos x="326" y="188"/>
                      </a:cxn>
                      <a:cxn ang="0">
                        <a:pos x="342" y="188"/>
                      </a:cxn>
                    </a:cxnLst>
                    <a:rect l="0" t="0" r="r" b="b"/>
                    <a:pathLst>
                      <a:path w="708" h="204">
                        <a:moveTo>
                          <a:pt x="342" y="188"/>
                        </a:moveTo>
                        <a:lnTo>
                          <a:pt x="342" y="188"/>
                        </a:lnTo>
                        <a:lnTo>
                          <a:pt x="342" y="196"/>
                        </a:lnTo>
                        <a:lnTo>
                          <a:pt x="342" y="198"/>
                        </a:lnTo>
                        <a:lnTo>
                          <a:pt x="344" y="200"/>
                        </a:lnTo>
                        <a:lnTo>
                          <a:pt x="352" y="202"/>
                        </a:lnTo>
                        <a:lnTo>
                          <a:pt x="364" y="204"/>
                        </a:lnTo>
                        <a:lnTo>
                          <a:pt x="406" y="202"/>
                        </a:lnTo>
                        <a:lnTo>
                          <a:pt x="472" y="202"/>
                        </a:lnTo>
                        <a:lnTo>
                          <a:pt x="472" y="202"/>
                        </a:lnTo>
                        <a:lnTo>
                          <a:pt x="506" y="202"/>
                        </a:lnTo>
                        <a:lnTo>
                          <a:pt x="530" y="198"/>
                        </a:lnTo>
                        <a:lnTo>
                          <a:pt x="546" y="192"/>
                        </a:lnTo>
                        <a:lnTo>
                          <a:pt x="554" y="186"/>
                        </a:lnTo>
                        <a:lnTo>
                          <a:pt x="558" y="180"/>
                        </a:lnTo>
                        <a:lnTo>
                          <a:pt x="560" y="176"/>
                        </a:lnTo>
                        <a:lnTo>
                          <a:pt x="562" y="178"/>
                        </a:lnTo>
                        <a:lnTo>
                          <a:pt x="562" y="184"/>
                        </a:lnTo>
                        <a:lnTo>
                          <a:pt x="562" y="184"/>
                        </a:lnTo>
                        <a:lnTo>
                          <a:pt x="566" y="188"/>
                        </a:lnTo>
                        <a:lnTo>
                          <a:pt x="570" y="190"/>
                        </a:lnTo>
                        <a:lnTo>
                          <a:pt x="584" y="196"/>
                        </a:lnTo>
                        <a:lnTo>
                          <a:pt x="604" y="200"/>
                        </a:lnTo>
                        <a:lnTo>
                          <a:pt x="624" y="200"/>
                        </a:lnTo>
                        <a:lnTo>
                          <a:pt x="646" y="200"/>
                        </a:lnTo>
                        <a:lnTo>
                          <a:pt x="664" y="198"/>
                        </a:lnTo>
                        <a:lnTo>
                          <a:pt x="676" y="192"/>
                        </a:lnTo>
                        <a:lnTo>
                          <a:pt x="680" y="190"/>
                        </a:lnTo>
                        <a:lnTo>
                          <a:pt x="682" y="186"/>
                        </a:lnTo>
                        <a:lnTo>
                          <a:pt x="682" y="186"/>
                        </a:lnTo>
                        <a:lnTo>
                          <a:pt x="684" y="178"/>
                        </a:lnTo>
                        <a:lnTo>
                          <a:pt x="688" y="174"/>
                        </a:lnTo>
                        <a:lnTo>
                          <a:pt x="694" y="172"/>
                        </a:lnTo>
                        <a:lnTo>
                          <a:pt x="700" y="170"/>
                        </a:lnTo>
                        <a:lnTo>
                          <a:pt x="706" y="168"/>
                        </a:lnTo>
                        <a:lnTo>
                          <a:pt x="708" y="168"/>
                        </a:lnTo>
                        <a:lnTo>
                          <a:pt x="708" y="166"/>
                        </a:lnTo>
                        <a:lnTo>
                          <a:pt x="700" y="162"/>
                        </a:lnTo>
                        <a:lnTo>
                          <a:pt x="700" y="162"/>
                        </a:lnTo>
                        <a:lnTo>
                          <a:pt x="694" y="158"/>
                        </a:lnTo>
                        <a:lnTo>
                          <a:pt x="690" y="154"/>
                        </a:lnTo>
                        <a:lnTo>
                          <a:pt x="692" y="152"/>
                        </a:lnTo>
                        <a:lnTo>
                          <a:pt x="696" y="148"/>
                        </a:lnTo>
                        <a:lnTo>
                          <a:pt x="700" y="144"/>
                        </a:lnTo>
                        <a:lnTo>
                          <a:pt x="702" y="140"/>
                        </a:lnTo>
                        <a:lnTo>
                          <a:pt x="704" y="134"/>
                        </a:lnTo>
                        <a:lnTo>
                          <a:pt x="700" y="126"/>
                        </a:lnTo>
                        <a:lnTo>
                          <a:pt x="700" y="126"/>
                        </a:lnTo>
                        <a:lnTo>
                          <a:pt x="694" y="118"/>
                        </a:lnTo>
                        <a:lnTo>
                          <a:pt x="688" y="114"/>
                        </a:lnTo>
                        <a:lnTo>
                          <a:pt x="680" y="112"/>
                        </a:lnTo>
                        <a:lnTo>
                          <a:pt x="672" y="110"/>
                        </a:lnTo>
                        <a:lnTo>
                          <a:pt x="654" y="110"/>
                        </a:lnTo>
                        <a:lnTo>
                          <a:pt x="648" y="108"/>
                        </a:lnTo>
                        <a:lnTo>
                          <a:pt x="642" y="104"/>
                        </a:lnTo>
                        <a:lnTo>
                          <a:pt x="642" y="104"/>
                        </a:lnTo>
                        <a:lnTo>
                          <a:pt x="636" y="98"/>
                        </a:lnTo>
                        <a:lnTo>
                          <a:pt x="626" y="96"/>
                        </a:lnTo>
                        <a:lnTo>
                          <a:pt x="614" y="94"/>
                        </a:lnTo>
                        <a:lnTo>
                          <a:pt x="600" y="96"/>
                        </a:lnTo>
                        <a:lnTo>
                          <a:pt x="560" y="98"/>
                        </a:lnTo>
                        <a:lnTo>
                          <a:pt x="506" y="106"/>
                        </a:lnTo>
                        <a:lnTo>
                          <a:pt x="506" y="106"/>
                        </a:lnTo>
                        <a:lnTo>
                          <a:pt x="480" y="110"/>
                        </a:lnTo>
                        <a:lnTo>
                          <a:pt x="464" y="114"/>
                        </a:lnTo>
                        <a:lnTo>
                          <a:pt x="454" y="120"/>
                        </a:lnTo>
                        <a:lnTo>
                          <a:pt x="446" y="124"/>
                        </a:lnTo>
                        <a:lnTo>
                          <a:pt x="442" y="126"/>
                        </a:lnTo>
                        <a:lnTo>
                          <a:pt x="438" y="128"/>
                        </a:lnTo>
                        <a:lnTo>
                          <a:pt x="430" y="126"/>
                        </a:lnTo>
                        <a:lnTo>
                          <a:pt x="416" y="122"/>
                        </a:lnTo>
                        <a:lnTo>
                          <a:pt x="416" y="122"/>
                        </a:lnTo>
                        <a:lnTo>
                          <a:pt x="402" y="118"/>
                        </a:lnTo>
                        <a:lnTo>
                          <a:pt x="390" y="118"/>
                        </a:lnTo>
                        <a:lnTo>
                          <a:pt x="382" y="118"/>
                        </a:lnTo>
                        <a:lnTo>
                          <a:pt x="374" y="120"/>
                        </a:lnTo>
                        <a:lnTo>
                          <a:pt x="368" y="122"/>
                        </a:lnTo>
                        <a:lnTo>
                          <a:pt x="362" y="122"/>
                        </a:lnTo>
                        <a:lnTo>
                          <a:pt x="354" y="120"/>
                        </a:lnTo>
                        <a:lnTo>
                          <a:pt x="346" y="114"/>
                        </a:lnTo>
                        <a:lnTo>
                          <a:pt x="346" y="114"/>
                        </a:lnTo>
                        <a:lnTo>
                          <a:pt x="338" y="110"/>
                        </a:lnTo>
                        <a:lnTo>
                          <a:pt x="332" y="108"/>
                        </a:lnTo>
                        <a:lnTo>
                          <a:pt x="330" y="110"/>
                        </a:lnTo>
                        <a:lnTo>
                          <a:pt x="328" y="114"/>
                        </a:lnTo>
                        <a:lnTo>
                          <a:pt x="328" y="118"/>
                        </a:lnTo>
                        <a:lnTo>
                          <a:pt x="326" y="122"/>
                        </a:lnTo>
                        <a:lnTo>
                          <a:pt x="324" y="124"/>
                        </a:lnTo>
                        <a:lnTo>
                          <a:pt x="318" y="122"/>
                        </a:lnTo>
                        <a:lnTo>
                          <a:pt x="318" y="122"/>
                        </a:lnTo>
                        <a:lnTo>
                          <a:pt x="312" y="118"/>
                        </a:lnTo>
                        <a:lnTo>
                          <a:pt x="310" y="116"/>
                        </a:lnTo>
                        <a:lnTo>
                          <a:pt x="310" y="112"/>
                        </a:lnTo>
                        <a:lnTo>
                          <a:pt x="310" y="110"/>
                        </a:lnTo>
                        <a:lnTo>
                          <a:pt x="312" y="106"/>
                        </a:lnTo>
                        <a:lnTo>
                          <a:pt x="310" y="102"/>
                        </a:lnTo>
                        <a:lnTo>
                          <a:pt x="308" y="96"/>
                        </a:lnTo>
                        <a:lnTo>
                          <a:pt x="300" y="90"/>
                        </a:lnTo>
                        <a:lnTo>
                          <a:pt x="300" y="90"/>
                        </a:lnTo>
                        <a:lnTo>
                          <a:pt x="294" y="84"/>
                        </a:lnTo>
                        <a:lnTo>
                          <a:pt x="286" y="82"/>
                        </a:lnTo>
                        <a:lnTo>
                          <a:pt x="280" y="82"/>
                        </a:lnTo>
                        <a:lnTo>
                          <a:pt x="276" y="82"/>
                        </a:lnTo>
                        <a:lnTo>
                          <a:pt x="268" y="84"/>
                        </a:lnTo>
                        <a:lnTo>
                          <a:pt x="266" y="82"/>
                        </a:lnTo>
                        <a:lnTo>
                          <a:pt x="264" y="78"/>
                        </a:lnTo>
                        <a:lnTo>
                          <a:pt x="264" y="78"/>
                        </a:lnTo>
                        <a:lnTo>
                          <a:pt x="262" y="76"/>
                        </a:lnTo>
                        <a:lnTo>
                          <a:pt x="264" y="74"/>
                        </a:lnTo>
                        <a:lnTo>
                          <a:pt x="270" y="72"/>
                        </a:lnTo>
                        <a:lnTo>
                          <a:pt x="290" y="72"/>
                        </a:lnTo>
                        <a:lnTo>
                          <a:pt x="308" y="74"/>
                        </a:lnTo>
                        <a:lnTo>
                          <a:pt x="314" y="72"/>
                        </a:lnTo>
                        <a:lnTo>
                          <a:pt x="316" y="70"/>
                        </a:lnTo>
                        <a:lnTo>
                          <a:pt x="316" y="66"/>
                        </a:lnTo>
                        <a:lnTo>
                          <a:pt x="316" y="66"/>
                        </a:lnTo>
                        <a:lnTo>
                          <a:pt x="314" y="62"/>
                        </a:lnTo>
                        <a:lnTo>
                          <a:pt x="308" y="58"/>
                        </a:lnTo>
                        <a:lnTo>
                          <a:pt x="296" y="56"/>
                        </a:lnTo>
                        <a:lnTo>
                          <a:pt x="278" y="52"/>
                        </a:lnTo>
                        <a:lnTo>
                          <a:pt x="268" y="48"/>
                        </a:lnTo>
                        <a:lnTo>
                          <a:pt x="258" y="44"/>
                        </a:lnTo>
                        <a:lnTo>
                          <a:pt x="258" y="44"/>
                        </a:lnTo>
                        <a:lnTo>
                          <a:pt x="240" y="34"/>
                        </a:lnTo>
                        <a:lnTo>
                          <a:pt x="232" y="32"/>
                        </a:lnTo>
                        <a:lnTo>
                          <a:pt x="224" y="30"/>
                        </a:lnTo>
                        <a:lnTo>
                          <a:pt x="204" y="32"/>
                        </a:lnTo>
                        <a:lnTo>
                          <a:pt x="182" y="36"/>
                        </a:lnTo>
                        <a:lnTo>
                          <a:pt x="182" y="36"/>
                        </a:lnTo>
                        <a:lnTo>
                          <a:pt x="170" y="36"/>
                        </a:lnTo>
                        <a:lnTo>
                          <a:pt x="162" y="34"/>
                        </a:lnTo>
                        <a:lnTo>
                          <a:pt x="154" y="30"/>
                        </a:lnTo>
                        <a:lnTo>
                          <a:pt x="148" y="24"/>
                        </a:lnTo>
                        <a:lnTo>
                          <a:pt x="136" y="14"/>
                        </a:lnTo>
                        <a:lnTo>
                          <a:pt x="130" y="10"/>
                        </a:lnTo>
                        <a:lnTo>
                          <a:pt x="124" y="10"/>
                        </a:lnTo>
                        <a:lnTo>
                          <a:pt x="124" y="10"/>
                        </a:lnTo>
                        <a:lnTo>
                          <a:pt x="114" y="10"/>
                        </a:lnTo>
                        <a:lnTo>
                          <a:pt x="104" y="10"/>
                        </a:lnTo>
                        <a:lnTo>
                          <a:pt x="78" y="6"/>
                        </a:lnTo>
                        <a:lnTo>
                          <a:pt x="48" y="2"/>
                        </a:lnTo>
                        <a:lnTo>
                          <a:pt x="14" y="0"/>
                        </a:lnTo>
                        <a:lnTo>
                          <a:pt x="14" y="0"/>
                        </a:lnTo>
                        <a:lnTo>
                          <a:pt x="10" y="0"/>
                        </a:lnTo>
                        <a:lnTo>
                          <a:pt x="4" y="2"/>
                        </a:lnTo>
                        <a:lnTo>
                          <a:pt x="2" y="4"/>
                        </a:lnTo>
                        <a:lnTo>
                          <a:pt x="0" y="8"/>
                        </a:lnTo>
                        <a:lnTo>
                          <a:pt x="2" y="12"/>
                        </a:lnTo>
                        <a:lnTo>
                          <a:pt x="4" y="18"/>
                        </a:lnTo>
                        <a:lnTo>
                          <a:pt x="10" y="24"/>
                        </a:lnTo>
                        <a:lnTo>
                          <a:pt x="18" y="32"/>
                        </a:lnTo>
                        <a:lnTo>
                          <a:pt x="18" y="32"/>
                        </a:lnTo>
                        <a:lnTo>
                          <a:pt x="26" y="38"/>
                        </a:lnTo>
                        <a:lnTo>
                          <a:pt x="36" y="42"/>
                        </a:lnTo>
                        <a:lnTo>
                          <a:pt x="50" y="48"/>
                        </a:lnTo>
                        <a:lnTo>
                          <a:pt x="58" y="52"/>
                        </a:lnTo>
                        <a:lnTo>
                          <a:pt x="62" y="56"/>
                        </a:lnTo>
                        <a:lnTo>
                          <a:pt x="62" y="60"/>
                        </a:lnTo>
                        <a:lnTo>
                          <a:pt x="62" y="60"/>
                        </a:lnTo>
                        <a:lnTo>
                          <a:pt x="66" y="66"/>
                        </a:lnTo>
                        <a:lnTo>
                          <a:pt x="70" y="68"/>
                        </a:lnTo>
                        <a:lnTo>
                          <a:pt x="78" y="70"/>
                        </a:lnTo>
                        <a:lnTo>
                          <a:pt x="88" y="70"/>
                        </a:lnTo>
                        <a:lnTo>
                          <a:pt x="112" y="66"/>
                        </a:lnTo>
                        <a:lnTo>
                          <a:pt x="138" y="60"/>
                        </a:lnTo>
                        <a:lnTo>
                          <a:pt x="138" y="60"/>
                        </a:lnTo>
                        <a:lnTo>
                          <a:pt x="150" y="60"/>
                        </a:lnTo>
                        <a:lnTo>
                          <a:pt x="160" y="60"/>
                        </a:lnTo>
                        <a:lnTo>
                          <a:pt x="166" y="62"/>
                        </a:lnTo>
                        <a:lnTo>
                          <a:pt x="170" y="66"/>
                        </a:lnTo>
                        <a:lnTo>
                          <a:pt x="180" y="78"/>
                        </a:lnTo>
                        <a:lnTo>
                          <a:pt x="186" y="84"/>
                        </a:lnTo>
                        <a:lnTo>
                          <a:pt x="194" y="90"/>
                        </a:lnTo>
                        <a:lnTo>
                          <a:pt x="194" y="90"/>
                        </a:lnTo>
                        <a:lnTo>
                          <a:pt x="198" y="94"/>
                        </a:lnTo>
                        <a:lnTo>
                          <a:pt x="202" y="98"/>
                        </a:lnTo>
                        <a:lnTo>
                          <a:pt x="202" y="102"/>
                        </a:lnTo>
                        <a:lnTo>
                          <a:pt x="202" y="106"/>
                        </a:lnTo>
                        <a:lnTo>
                          <a:pt x="200" y="114"/>
                        </a:lnTo>
                        <a:lnTo>
                          <a:pt x="194" y="120"/>
                        </a:lnTo>
                        <a:lnTo>
                          <a:pt x="190" y="128"/>
                        </a:lnTo>
                        <a:lnTo>
                          <a:pt x="186" y="134"/>
                        </a:lnTo>
                        <a:lnTo>
                          <a:pt x="184" y="140"/>
                        </a:lnTo>
                        <a:lnTo>
                          <a:pt x="186" y="142"/>
                        </a:lnTo>
                        <a:lnTo>
                          <a:pt x="190" y="144"/>
                        </a:lnTo>
                        <a:lnTo>
                          <a:pt x="190" y="144"/>
                        </a:lnTo>
                        <a:lnTo>
                          <a:pt x="196" y="150"/>
                        </a:lnTo>
                        <a:lnTo>
                          <a:pt x="198" y="154"/>
                        </a:lnTo>
                        <a:lnTo>
                          <a:pt x="200" y="164"/>
                        </a:lnTo>
                        <a:lnTo>
                          <a:pt x="200" y="170"/>
                        </a:lnTo>
                        <a:lnTo>
                          <a:pt x="202" y="176"/>
                        </a:lnTo>
                        <a:lnTo>
                          <a:pt x="206" y="182"/>
                        </a:lnTo>
                        <a:lnTo>
                          <a:pt x="216" y="186"/>
                        </a:lnTo>
                        <a:lnTo>
                          <a:pt x="216" y="186"/>
                        </a:lnTo>
                        <a:lnTo>
                          <a:pt x="224" y="190"/>
                        </a:lnTo>
                        <a:lnTo>
                          <a:pt x="232" y="190"/>
                        </a:lnTo>
                        <a:lnTo>
                          <a:pt x="236" y="190"/>
                        </a:lnTo>
                        <a:lnTo>
                          <a:pt x="240" y="188"/>
                        </a:lnTo>
                        <a:lnTo>
                          <a:pt x="244" y="186"/>
                        </a:lnTo>
                        <a:lnTo>
                          <a:pt x="250" y="186"/>
                        </a:lnTo>
                        <a:lnTo>
                          <a:pt x="260" y="188"/>
                        </a:lnTo>
                        <a:lnTo>
                          <a:pt x="274" y="194"/>
                        </a:lnTo>
                        <a:lnTo>
                          <a:pt x="274" y="194"/>
                        </a:lnTo>
                        <a:lnTo>
                          <a:pt x="282" y="198"/>
                        </a:lnTo>
                        <a:lnTo>
                          <a:pt x="290" y="198"/>
                        </a:lnTo>
                        <a:lnTo>
                          <a:pt x="304" y="198"/>
                        </a:lnTo>
                        <a:lnTo>
                          <a:pt x="316" y="194"/>
                        </a:lnTo>
                        <a:lnTo>
                          <a:pt x="326" y="188"/>
                        </a:lnTo>
                        <a:lnTo>
                          <a:pt x="340" y="180"/>
                        </a:lnTo>
                        <a:lnTo>
                          <a:pt x="342" y="180"/>
                        </a:lnTo>
                        <a:lnTo>
                          <a:pt x="342" y="180"/>
                        </a:lnTo>
                        <a:lnTo>
                          <a:pt x="342" y="188"/>
                        </a:lnTo>
                        <a:lnTo>
                          <a:pt x="342" y="18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6" name="Freeform 6103"/>
                  <p:cNvSpPr>
                    <a:spLocks/>
                  </p:cNvSpPr>
                  <p:nvPr/>
                </p:nvSpPr>
                <p:spPr bwMode="auto">
                  <a:xfrm>
                    <a:off x="1936750" y="1119823"/>
                    <a:ext cx="81280" cy="49530"/>
                  </a:xfrm>
                  <a:custGeom>
                    <a:avLst/>
                    <a:gdLst/>
                    <a:ahLst/>
                    <a:cxnLst>
                      <a:cxn ang="0">
                        <a:pos x="94" y="78"/>
                      </a:cxn>
                      <a:cxn ang="0">
                        <a:pos x="94" y="78"/>
                      </a:cxn>
                      <a:cxn ang="0">
                        <a:pos x="110" y="76"/>
                      </a:cxn>
                      <a:cxn ang="0">
                        <a:pos x="120" y="72"/>
                      </a:cxn>
                      <a:cxn ang="0">
                        <a:pos x="126" y="66"/>
                      </a:cxn>
                      <a:cxn ang="0">
                        <a:pos x="128" y="58"/>
                      </a:cxn>
                      <a:cxn ang="0">
                        <a:pos x="126" y="48"/>
                      </a:cxn>
                      <a:cxn ang="0">
                        <a:pos x="120" y="38"/>
                      </a:cxn>
                      <a:cxn ang="0">
                        <a:pos x="114" y="28"/>
                      </a:cxn>
                      <a:cxn ang="0">
                        <a:pos x="104" y="16"/>
                      </a:cxn>
                      <a:cxn ang="0">
                        <a:pos x="104" y="16"/>
                      </a:cxn>
                      <a:cxn ang="0">
                        <a:pos x="92" y="8"/>
                      </a:cxn>
                      <a:cxn ang="0">
                        <a:pos x="80" y="2"/>
                      </a:cxn>
                      <a:cxn ang="0">
                        <a:pos x="68" y="0"/>
                      </a:cxn>
                      <a:cxn ang="0">
                        <a:pos x="58" y="0"/>
                      </a:cxn>
                      <a:cxn ang="0">
                        <a:pos x="46" y="2"/>
                      </a:cxn>
                      <a:cxn ang="0">
                        <a:pos x="34" y="8"/>
                      </a:cxn>
                      <a:cxn ang="0">
                        <a:pos x="24" y="14"/>
                      </a:cxn>
                      <a:cxn ang="0">
                        <a:pos x="16" y="24"/>
                      </a:cxn>
                      <a:cxn ang="0">
                        <a:pos x="16" y="24"/>
                      </a:cxn>
                      <a:cxn ang="0">
                        <a:pos x="6" y="36"/>
                      </a:cxn>
                      <a:cxn ang="0">
                        <a:pos x="2" y="42"/>
                      </a:cxn>
                      <a:cxn ang="0">
                        <a:pos x="0" y="48"/>
                      </a:cxn>
                      <a:cxn ang="0">
                        <a:pos x="0" y="52"/>
                      </a:cxn>
                      <a:cxn ang="0">
                        <a:pos x="4" y="56"/>
                      </a:cxn>
                      <a:cxn ang="0">
                        <a:pos x="10" y="58"/>
                      </a:cxn>
                      <a:cxn ang="0">
                        <a:pos x="22" y="60"/>
                      </a:cxn>
                      <a:cxn ang="0">
                        <a:pos x="22" y="60"/>
                      </a:cxn>
                      <a:cxn ang="0">
                        <a:pos x="32" y="62"/>
                      </a:cxn>
                      <a:cxn ang="0">
                        <a:pos x="40" y="64"/>
                      </a:cxn>
                      <a:cxn ang="0">
                        <a:pos x="54" y="70"/>
                      </a:cxn>
                      <a:cxn ang="0">
                        <a:pos x="68" y="76"/>
                      </a:cxn>
                      <a:cxn ang="0">
                        <a:pos x="80" y="76"/>
                      </a:cxn>
                      <a:cxn ang="0">
                        <a:pos x="94" y="78"/>
                      </a:cxn>
                      <a:cxn ang="0">
                        <a:pos x="94" y="78"/>
                      </a:cxn>
                    </a:cxnLst>
                    <a:rect l="0" t="0" r="r" b="b"/>
                    <a:pathLst>
                      <a:path w="128" h="78">
                        <a:moveTo>
                          <a:pt x="94" y="78"/>
                        </a:moveTo>
                        <a:lnTo>
                          <a:pt x="94" y="78"/>
                        </a:lnTo>
                        <a:lnTo>
                          <a:pt x="110" y="76"/>
                        </a:lnTo>
                        <a:lnTo>
                          <a:pt x="120" y="72"/>
                        </a:lnTo>
                        <a:lnTo>
                          <a:pt x="126" y="66"/>
                        </a:lnTo>
                        <a:lnTo>
                          <a:pt x="128" y="58"/>
                        </a:lnTo>
                        <a:lnTo>
                          <a:pt x="126" y="48"/>
                        </a:lnTo>
                        <a:lnTo>
                          <a:pt x="120" y="38"/>
                        </a:lnTo>
                        <a:lnTo>
                          <a:pt x="114" y="28"/>
                        </a:lnTo>
                        <a:lnTo>
                          <a:pt x="104" y="16"/>
                        </a:lnTo>
                        <a:lnTo>
                          <a:pt x="104" y="16"/>
                        </a:lnTo>
                        <a:lnTo>
                          <a:pt x="92" y="8"/>
                        </a:lnTo>
                        <a:lnTo>
                          <a:pt x="80" y="2"/>
                        </a:lnTo>
                        <a:lnTo>
                          <a:pt x="68" y="0"/>
                        </a:lnTo>
                        <a:lnTo>
                          <a:pt x="58" y="0"/>
                        </a:lnTo>
                        <a:lnTo>
                          <a:pt x="46" y="2"/>
                        </a:lnTo>
                        <a:lnTo>
                          <a:pt x="34" y="8"/>
                        </a:lnTo>
                        <a:lnTo>
                          <a:pt x="24" y="14"/>
                        </a:lnTo>
                        <a:lnTo>
                          <a:pt x="16" y="24"/>
                        </a:lnTo>
                        <a:lnTo>
                          <a:pt x="16" y="24"/>
                        </a:lnTo>
                        <a:lnTo>
                          <a:pt x="6" y="36"/>
                        </a:lnTo>
                        <a:lnTo>
                          <a:pt x="2" y="42"/>
                        </a:lnTo>
                        <a:lnTo>
                          <a:pt x="0" y="48"/>
                        </a:lnTo>
                        <a:lnTo>
                          <a:pt x="0" y="52"/>
                        </a:lnTo>
                        <a:lnTo>
                          <a:pt x="4" y="56"/>
                        </a:lnTo>
                        <a:lnTo>
                          <a:pt x="10" y="58"/>
                        </a:lnTo>
                        <a:lnTo>
                          <a:pt x="22" y="60"/>
                        </a:lnTo>
                        <a:lnTo>
                          <a:pt x="22" y="60"/>
                        </a:lnTo>
                        <a:lnTo>
                          <a:pt x="32" y="62"/>
                        </a:lnTo>
                        <a:lnTo>
                          <a:pt x="40" y="64"/>
                        </a:lnTo>
                        <a:lnTo>
                          <a:pt x="54" y="70"/>
                        </a:lnTo>
                        <a:lnTo>
                          <a:pt x="68" y="76"/>
                        </a:lnTo>
                        <a:lnTo>
                          <a:pt x="80" y="76"/>
                        </a:lnTo>
                        <a:lnTo>
                          <a:pt x="94" y="78"/>
                        </a:lnTo>
                        <a:lnTo>
                          <a:pt x="94" y="7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7" name="Freeform 6104"/>
                  <p:cNvSpPr>
                    <a:spLocks/>
                  </p:cNvSpPr>
                  <p:nvPr/>
                </p:nvSpPr>
                <p:spPr bwMode="auto">
                  <a:xfrm>
                    <a:off x="1940560" y="1010603"/>
                    <a:ext cx="80010" cy="19050"/>
                  </a:xfrm>
                  <a:custGeom>
                    <a:avLst/>
                    <a:gdLst/>
                    <a:ahLst/>
                    <a:cxnLst>
                      <a:cxn ang="0">
                        <a:pos x="92" y="28"/>
                      </a:cxn>
                      <a:cxn ang="0">
                        <a:pos x="92" y="28"/>
                      </a:cxn>
                      <a:cxn ang="0">
                        <a:pos x="108" y="28"/>
                      </a:cxn>
                      <a:cxn ang="0">
                        <a:pos x="120" y="26"/>
                      </a:cxn>
                      <a:cxn ang="0">
                        <a:pos x="124" y="22"/>
                      </a:cxn>
                      <a:cxn ang="0">
                        <a:pos x="126" y="20"/>
                      </a:cxn>
                      <a:cxn ang="0">
                        <a:pos x="126" y="16"/>
                      </a:cxn>
                      <a:cxn ang="0">
                        <a:pos x="122" y="12"/>
                      </a:cxn>
                      <a:cxn ang="0">
                        <a:pos x="112" y="8"/>
                      </a:cxn>
                      <a:cxn ang="0">
                        <a:pos x="100" y="4"/>
                      </a:cxn>
                      <a:cxn ang="0">
                        <a:pos x="82" y="2"/>
                      </a:cxn>
                      <a:cxn ang="0">
                        <a:pos x="82" y="2"/>
                      </a:cxn>
                      <a:cxn ang="0">
                        <a:pos x="48" y="0"/>
                      </a:cxn>
                      <a:cxn ang="0">
                        <a:pos x="22" y="4"/>
                      </a:cxn>
                      <a:cxn ang="0">
                        <a:pos x="14" y="6"/>
                      </a:cxn>
                      <a:cxn ang="0">
                        <a:pos x="6" y="8"/>
                      </a:cxn>
                      <a:cxn ang="0">
                        <a:pos x="2" y="12"/>
                      </a:cxn>
                      <a:cxn ang="0">
                        <a:pos x="0" y="18"/>
                      </a:cxn>
                      <a:cxn ang="0">
                        <a:pos x="0" y="18"/>
                      </a:cxn>
                      <a:cxn ang="0">
                        <a:pos x="2" y="24"/>
                      </a:cxn>
                      <a:cxn ang="0">
                        <a:pos x="6" y="26"/>
                      </a:cxn>
                      <a:cxn ang="0">
                        <a:pos x="16" y="28"/>
                      </a:cxn>
                      <a:cxn ang="0">
                        <a:pos x="26" y="30"/>
                      </a:cxn>
                      <a:cxn ang="0">
                        <a:pos x="56" y="28"/>
                      </a:cxn>
                      <a:cxn ang="0">
                        <a:pos x="92" y="28"/>
                      </a:cxn>
                      <a:cxn ang="0">
                        <a:pos x="92" y="28"/>
                      </a:cxn>
                    </a:cxnLst>
                    <a:rect l="0" t="0" r="r" b="b"/>
                    <a:pathLst>
                      <a:path w="126" h="30">
                        <a:moveTo>
                          <a:pt x="92" y="28"/>
                        </a:moveTo>
                        <a:lnTo>
                          <a:pt x="92" y="28"/>
                        </a:lnTo>
                        <a:lnTo>
                          <a:pt x="108" y="28"/>
                        </a:lnTo>
                        <a:lnTo>
                          <a:pt x="120" y="26"/>
                        </a:lnTo>
                        <a:lnTo>
                          <a:pt x="124" y="22"/>
                        </a:lnTo>
                        <a:lnTo>
                          <a:pt x="126" y="20"/>
                        </a:lnTo>
                        <a:lnTo>
                          <a:pt x="126" y="16"/>
                        </a:lnTo>
                        <a:lnTo>
                          <a:pt x="122" y="12"/>
                        </a:lnTo>
                        <a:lnTo>
                          <a:pt x="112" y="8"/>
                        </a:lnTo>
                        <a:lnTo>
                          <a:pt x="100" y="4"/>
                        </a:lnTo>
                        <a:lnTo>
                          <a:pt x="82" y="2"/>
                        </a:lnTo>
                        <a:lnTo>
                          <a:pt x="82" y="2"/>
                        </a:lnTo>
                        <a:lnTo>
                          <a:pt x="48" y="0"/>
                        </a:lnTo>
                        <a:lnTo>
                          <a:pt x="22" y="4"/>
                        </a:lnTo>
                        <a:lnTo>
                          <a:pt x="14" y="6"/>
                        </a:lnTo>
                        <a:lnTo>
                          <a:pt x="6" y="8"/>
                        </a:lnTo>
                        <a:lnTo>
                          <a:pt x="2" y="12"/>
                        </a:lnTo>
                        <a:lnTo>
                          <a:pt x="0" y="18"/>
                        </a:lnTo>
                        <a:lnTo>
                          <a:pt x="0" y="18"/>
                        </a:lnTo>
                        <a:lnTo>
                          <a:pt x="2" y="24"/>
                        </a:lnTo>
                        <a:lnTo>
                          <a:pt x="6" y="26"/>
                        </a:lnTo>
                        <a:lnTo>
                          <a:pt x="16" y="28"/>
                        </a:lnTo>
                        <a:lnTo>
                          <a:pt x="26" y="30"/>
                        </a:lnTo>
                        <a:lnTo>
                          <a:pt x="56" y="28"/>
                        </a:lnTo>
                        <a:lnTo>
                          <a:pt x="92" y="28"/>
                        </a:lnTo>
                        <a:lnTo>
                          <a:pt x="92" y="2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8" name="Freeform 6105"/>
                  <p:cNvSpPr>
                    <a:spLocks/>
                  </p:cNvSpPr>
                  <p:nvPr/>
                </p:nvSpPr>
                <p:spPr bwMode="auto">
                  <a:xfrm>
                    <a:off x="2194560" y="944563"/>
                    <a:ext cx="34290" cy="12700"/>
                  </a:xfrm>
                  <a:custGeom>
                    <a:avLst/>
                    <a:gdLst/>
                    <a:ahLst/>
                    <a:cxnLst>
                      <a:cxn ang="0">
                        <a:pos x="54" y="4"/>
                      </a:cxn>
                      <a:cxn ang="0">
                        <a:pos x="54" y="4"/>
                      </a:cxn>
                      <a:cxn ang="0">
                        <a:pos x="54" y="2"/>
                      </a:cxn>
                      <a:cxn ang="0">
                        <a:pos x="50" y="0"/>
                      </a:cxn>
                      <a:cxn ang="0">
                        <a:pos x="36" y="0"/>
                      </a:cxn>
                      <a:cxn ang="0">
                        <a:pos x="18" y="6"/>
                      </a:cxn>
                      <a:cxn ang="0">
                        <a:pos x="8" y="10"/>
                      </a:cxn>
                      <a:cxn ang="0">
                        <a:pos x="2" y="14"/>
                      </a:cxn>
                      <a:cxn ang="0">
                        <a:pos x="2" y="14"/>
                      </a:cxn>
                      <a:cxn ang="0">
                        <a:pos x="0" y="18"/>
                      </a:cxn>
                      <a:cxn ang="0">
                        <a:pos x="4" y="20"/>
                      </a:cxn>
                      <a:cxn ang="0">
                        <a:pos x="20" y="18"/>
                      </a:cxn>
                      <a:cxn ang="0">
                        <a:pos x="42" y="12"/>
                      </a:cxn>
                      <a:cxn ang="0">
                        <a:pos x="50" y="8"/>
                      </a:cxn>
                      <a:cxn ang="0">
                        <a:pos x="54" y="4"/>
                      </a:cxn>
                      <a:cxn ang="0">
                        <a:pos x="54" y="4"/>
                      </a:cxn>
                    </a:cxnLst>
                    <a:rect l="0" t="0" r="r" b="b"/>
                    <a:pathLst>
                      <a:path w="54" h="20">
                        <a:moveTo>
                          <a:pt x="54" y="4"/>
                        </a:moveTo>
                        <a:lnTo>
                          <a:pt x="54" y="4"/>
                        </a:lnTo>
                        <a:lnTo>
                          <a:pt x="54" y="2"/>
                        </a:lnTo>
                        <a:lnTo>
                          <a:pt x="50" y="0"/>
                        </a:lnTo>
                        <a:lnTo>
                          <a:pt x="36" y="0"/>
                        </a:lnTo>
                        <a:lnTo>
                          <a:pt x="18" y="6"/>
                        </a:lnTo>
                        <a:lnTo>
                          <a:pt x="8" y="10"/>
                        </a:lnTo>
                        <a:lnTo>
                          <a:pt x="2" y="14"/>
                        </a:lnTo>
                        <a:lnTo>
                          <a:pt x="2" y="14"/>
                        </a:lnTo>
                        <a:lnTo>
                          <a:pt x="0" y="18"/>
                        </a:lnTo>
                        <a:lnTo>
                          <a:pt x="4" y="20"/>
                        </a:lnTo>
                        <a:lnTo>
                          <a:pt x="20" y="18"/>
                        </a:lnTo>
                        <a:lnTo>
                          <a:pt x="42" y="12"/>
                        </a:lnTo>
                        <a:lnTo>
                          <a:pt x="50" y="8"/>
                        </a:lnTo>
                        <a:lnTo>
                          <a:pt x="54" y="4"/>
                        </a:lnTo>
                        <a:lnTo>
                          <a:pt x="54"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9" name="Freeform 6106"/>
                  <p:cNvSpPr>
                    <a:spLocks/>
                  </p:cNvSpPr>
                  <p:nvPr/>
                </p:nvSpPr>
                <p:spPr bwMode="auto">
                  <a:xfrm>
                    <a:off x="2057400" y="727393"/>
                    <a:ext cx="784860" cy="367030"/>
                  </a:xfrm>
                  <a:custGeom>
                    <a:avLst/>
                    <a:gdLst/>
                    <a:ahLst/>
                    <a:cxnLst>
                      <a:cxn ang="0">
                        <a:pos x="68" y="162"/>
                      </a:cxn>
                      <a:cxn ang="0">
                        <a:pos x="122" y="204"/>
                      </a:cxn>
                      <a:cxn ang="0">
                        <a:pos x="246" y="182"/>
                      </a:cxn>
                      <a:cxn ang="0">
                        <a:pos x="202" y="210"/>
                      </a:cxn>
                      <a:cxn ang="0">
                        <a:pos x="334" y="210"/>
                      </a:cxn>
                      <a:cxn ang="0">
                        <a:pos x="494" y="186"/>
                      </a:cxn>
                      <a:cxn ang="0">
                        <a:pos x="540" y="190"/>
                      </a:cxn>
                      <a:cxn ang="0">
                        <a:pos x="450" y="222"/>
                      </a:cxn>
                      <a:cxn ang="0">
                        <a:pos x="402" y="274"/>
                      </a:cxn>
                      <a:cxn ang="0">
                        <a:pos x="402" y="298"/>
                      </a:cxn>
                      <a:cxn ang="0">
                        <a:pos x="246" y="240"/>
                      </a:cxn>
                      <a:cxn ang="0">
                        <a:pos x="226" y="284"/>
                      </a:cxn>
                      <a:cxn ang="0">
                        <a:pos x="296" y="336"/>
                      </a:cxn>
                      <a:cxn ang="0">
                        <a:pos x="336" y="356"/>
                      </a:cxn>
                      <a:cxn ang="0">
                        <a:pos x="298" y="364"/>
                      </a:cxn>
                      <a:cxn ang="0">
                        <a:pos x="168" y="410"/>
                      </a:cxn>
                      <a:cxn ang="0">
                        <a:pos x="226" y="422"/>
                      </a:cxn>
                      <a:cxn ang="0">
                        <a:pos x="256" y="440"/>
                      </a:cxn>
                      <a:cxn ang="0">
                        <a:pos x="330" y="460"/>
                      </a:cxn>
                      <a:cxn ang="0">
                        <a:pos x="342" y="464"/>
                      </a:cxn>
                      <a:cxn ang="0">
                        <a:pos x="238" y="460"/>
                      </a:cxn>
                      <a:cxn ang="0">
                        <a:pos x="140" y="450"/>
                      </a:cxn>
                      <a:cxn ang="0">
                        <a:pos x="160" y="502"/>
                      </a:cxn>
                      <a:cxn ang="0">
                        <a:pos x="92" y="546"/>
                      </a:cxn>
                      <a:cxn ang="0">
                        <a:pos x="146" y="562"/>
                      </a:cxn>
                      <a:cxn ang="0">
                        <a:pos x="244" y="562"/>
                      </a:cxn>
                      <a:cxn ang="0">
                        <a:pos x="322" y="552"/>
                      </a:cxn>
                      <a:cxn ang="0">
                        <a:pos x="438" y="548"/>
                      </a:cxn>
                      <a:cxn ang="0">
                        <a:pos x="462" y="578"/>
                      </a:cxn>
                      <a:cxn ang="0">
                        <a:pos x="560" y="538"/>
                      </a:cxn>
                      <a:cxn ang="0">
                        <a:pos x="518" y="514"/>
                      </a:cxn>
                      <a:cxn ang="0">
                        <a:pos x="550" y="472"/>
                      </a:cxn>
                      <a:cxn ang="0">
                        <a:pos x="550" y="432"/>
                      </a:cxn>
                      <a:cxn ang="0">
                        <a:pos x="668" y="402"/>
                      </a:cxn>
                      <a:cxn ang="0">
                        <a:pos x="684" y="372"/>
                      </a:cxn>
                      <a:cxn ang="0">
                        <a:pos x="686" y="348"/>
                      </a:cxn>
                      <a:cxn ang="0">
                        <a:pos x="658" y="326"/>
                      </a:cxn>
                      <a:cxn ang="0">
                        <a:pos x="588" y="318"/>
                      </a:cxn>
                      <a:cxn ang="0">
                        <a:pos x="752" y="284"/>
                      </a:cxn>
                      <a:cxn ang="0">
                        <a:pos x="832" y="278"/>
                      </a:cxn>
                      <a:cxn ang="0">
                        <a:pos x="1076" y="154"/>
                      </a:cxn>
                      <a:cxn ang="0">
                        <a:pos x="1000" y="142"/>
                      </a:cxn>
                      <a:cxn ang="0">
                        <a:pos x="1232" y="76"/>
                      </a:cxn>
                      <a:cxn ang="0">
                        <a:pos x="1168" y="54"/>
                      </a:cxn>
                      <a:cxn ang="0">
                        <a:pos x="1094" y="20"/>
                      </a:cxn>
                      <a:cxn ang="0">
                        <a:pos x="962" y="40"/>
                      </a:cxn>
                      <a:cxn ang="0">
                        <a:pos x="1006" y="20"/>
                      </a:cxn>
                      <a:cxn ang="0">
                        <a:pos x="858" y="2"/>
                      </a:cxn>
                      <a:cxn ang="0">
                        <a:pos x="690" y="10"/>
                      </a:cxn>
                      <a:cxn ang="0">
                        <a:pos x="500" y="14"/>
                      </a:cxn>
                      <a:cxn ang="0">
                        <a:pos x="412" y="24"/>
                      </a:cxn>
                      <a:cxn ang="0">
                        <a:pos x="392" y="42"/>
                      </a:cxn>
                      <a:cxn ang="0">
                        <a:pos x="340" y="70"/>
                      </a:cxn>
                      <a:cxn ang="0">
                        <a:pos x="264" y="52"/>
                      </a:cxn>
                      <a:cxn ang="0">
                        <a:pos x="224" y="76"/>
                      </a:cxn>
                      <a:cxn ang="0">
                        <a:pos x="248" y="98"/>
                      </a:cxn>
                      <a:cxn ang="0">
                        <a:pos x="130" y="92"/>
                      </a:cxn>
                      <a:cxn ang="0">
                        <a:pos x="50" y="104"/>
                      </a:cxn>
                      <a:cxn ang="0">
                        <a:pos x="12" y="144"/>
                      </a:cxn>
                    </a:cxnLst>
                    <a:rect l="0" t="0" r="r" b="b"/>
                    <a:pathLst>
                      <a:path w="1236" h="578">
                        <a:moveTo>
                          <a:pt x="44" y="148"/>
                        </a:moveTo>
                        <a:lnTo>
                          <a:pt x="44" y="148"/>
                        </a:lnTo>
                        <a:lnTo>
                          <a:pt x="50" y="150"/>
                        </a:lnTo>
                        <a:lnTo>
                          <a:pt x="58" y="152"/>
                        </a:lnTo>
                        <a:lnTo>
                          <a:pt x="74" y="150"/>
                        </a:lnTo>
                        <a:lnTo>
                          <a:pt x="80" y="150"/>
                        </a:lnTo>
                        <a:lnTo>
                          <a:pt x="80" y="152"/>
                        </a:lnTo>
                        <a:lnTo>
                          <a:pt x="74" y="156"/>
                        </a:lnTo>
                        <a:lnTo>
                          <a:pt x="74" y="156"/>
                        </a:lnTo>
                        <a:lnTo>
                          <a:pt x="68" y="162"/>
                        </a:lnTo>
                        <a:lnTo>
                          <a:pt x="62" y="168"/>
                        </a:lnTo>
                        <a:lnTo>
                          <a:pt x="62" y="172"/>
                        </a:lnTo>
                        <a:lnTo>
                          <a:pt x="62" y="178"/>
                        </a:lnTo>
                        <a:lnTo>
                          <a:pt x="66" y="182"/>
                        </a:lnTo>
                        <a:lnTo>
                          <a:pt x="72" y="186"/>
                        </a:lnTo>
                        <a:lnTo>
                          <a:pt x="82" y="190"/>
                        </a:lnTo>
                        <a:lnTo>
                          <a:pt x="94" y="194"/>
                        </a:lnTo>
                        <a:lnTo>
                          <a:pt x="94" y="194"/>
                        </a:lnTo>
                        <a:lnTo>
                          <a:pt x="108" y="200"/>
                        </a:lnTo>
                        <a:lnTo>
                          <a:pt x="122" y="204"/>
                        </a:lnTo>
                        <a:lnTo>
                          <a:pt x="144" y="212"/>
                        </a:lnTo>
                        <a:lnTo>
                          <a:pt x="156" y="216"/>
                        </a:lnTo>
                        <a:lnTo>
                          <a:pt x="166" y="214"/>
                        </a:lnTo>
                        <a:lnTo>
                          <a:pt x="178" y="212"/>
                        </a:lnTo>
                        <a:lnTo>
                          <a:pt x="192" y="204"/>
                        </a:lnTo>
                        <a:lnTo>
                          <a:pt x="192" y="204"/>
                        </a:lnTo>
                        <a:lnTo>
                          <a:pt x="206" y="194"/>
                        </a:lnTo>
                        <a:lnTo>
                          <a:pt x="222" y="188"/>
                        </a:lnTo>
                        <a:lnTo>
                          <a:pt x="234" y="184"/>
                        </a:lnTo>
                        <a:lnTo>
                          <a:pt x="246" y="182"/>
                        </a:lnTo>
                        <a:lnTo>
                          <a:pt x="254" y="182"/>
                        </a:lnTo>
                        <a:lnTo>
                          <a:pt x="258" y="182"/>
                        </a:lnTo>
                        <a:lnTo>
                          <a:pt x="256" y="184"/>
                        </a:lnTo>
                        <a:lnTo>
                          <a:pt x="250" y="186"/>
                        </a:lnTo>
                        <a:lnTo>
                          <a:pt x="250" y="186"/>
                        </a:lnTo>
                        <a:lnTo>
                          <a:pt x="224" y="194"/>
                        </a:lnTo>
                        <a:lnTo>
                          <a:pt x="212" y="200"/>
                        </a:lnTo>
                        <a:lnTo>
                          <a:pt x="204" y="206"/>
                        </a:lnTo>
                        <a:lnTo>
                          <a:pt x="202" y="208"/>
                        </a:lnTo>
                        <a:lnTo>
                          <a:pt x="202" y="210"/>
                        </a:lnTo>
                        <a:lnTo>
                          <a:pt x="204" y="214"/>
                        </a:lnTo>
                        <a:lnTo>
                          <a:pt x="208" y="216"/>
                        </a:lnTo>
                        <a:lnTo>
                          <a:pt x="224" y="220"/>
                        </a:lnTo>
                        <a:lnTo>
                          <a:pt x="254" y="224"/>
                        </a:lnTo>
                        <a:lnTo>
                          <a:pt x="254" y="224"/>
                        </a:lnTo>
                        <a:lnTo>
                          <a:pt x="284" y="224"/>
                        </a:lnTo>
                        <a:lnTo>
                          <a:pt x="304" y="224"/>
                        </a:lnTo>
                        <a:lnTo>
                          <a:pt x="318" y="220"/>
                        </a:lnTo>
                        <a:lnTo>
                          <a:pt x="326" y="216"/>
                        </a:lnTo>
                        <a:lnTo>
                          <a:pt x="334" y="210"/>
                        </a:lnTo>
                        <a:lnTo>
                          <a:pt x="338" y="210"/>
                        </a:lnTo>
                        <a:lnTo>
                          <a:pt x="346" y="214"/>
                        </a:lnTo>
                        <a:lnTo>
                          <a:pt x="346" y="214"/>
                        </a:lnTo>
                        <a:lnTo>
                          <a:pt x="358" y="218"/>
                        </a:lnTo>
                        <a:lnTo>
                          <a:pt x="374" y="218"/>
                        </a:lnTo>
                        <a:lnTo>
                          <a:pt x="394" y="216"/>
                        </a:lnTo>
                        <a:lnTo>
                          <a:pt x="418" y="212"/>
                        </a:lnTo>
                        <a:lnTo>
                          <a:pt x="442" y="206"/>
                        </a:lnTo>
                        <a:lnTo>
                          <a:pt x="468" y="196"/>
                        </a:lnTo>
                        <a:lnTo>
                          <a:pt x="494" y="186"/>
                        </a:lnTo>
                        <a:lnTo>
                          <a:pt x="520" y="174"/>
                        </a:lnTo>
                        <a:lnTo>
                          <a:pt x="520" y="174"/>
                        </a:lnTo>
                        <a:lnTo>
                          <a:pt x="546" y="160"/>
                        </a:lnTo>
                        <a:lnTo>
                          <a:pt x="544" y="162"/>
                        </a:lnTo>
                        <a:lnTo>
                          <a:pt x="540" y="168"/>
                        </a:lnTo>
                        <a:lnTo>
                          <a:pt x="536" y="176"/>
                        </a:lnTo>
                        <a:lnTo>
                          <a:pt x="534" y="180"/>
                        </a:lnTo>
                        <a:lnTo>
                          <a:pt x="534" y="184"/>
                        </a:lnTo>
                        <a:lnTo>
                          <a:pt x="536" y="186"/>
                        </a:lnTo>
                        <a:lnTo>
                          <a:pt x="540" y="190"/>
                        </a:lnTo>
                        <a:lnTo>
                          <a:pt x="548" y="192"/>
                        </a:lnTo>
                        <a:lnTo>
                          <a:pt x="558" y="192"/>
                        </a:lnTo>
                        <a:lnTo>
                          <a:pt x="558" y="192"/>
                        </a:lnTo>
                        <a:lnTo>
                          <a:pt x="576" y="194"/>
                        </a:lnTo>
                        <a:lnTo>
                          <a:pt x="584" y="196"/>
                        </a:lnTo>
                        <a:lnTo>
                          <a:pt x="584" y="196"/>
                        </a:lnTo>
                        <a:lnTo>
                          <a:pt x="580" y="198"/>
                        </a:lnTo>
                        <a:lnTo>
                          <a:pt x="570" y="200"/>
                        </a:lnTo>
                        <a:lnTo>
                          <a:pt x="524" y="208"/>
                        </a:lnTo>
                        <a:lnTo>
                          <a:pt x="450" y="222"/>
                        </a:lnTo>
                        <a:lnTo>
                          <a:pt x="450" y="222"/>
                        </a:lnTo>
                        <a:lnTo>
                          <a:pt x="388" y="236"/>
                        </a:lnTo>
                        <a:lnTo>
                          <a:pt x="370" y="238"/>
                        </a:lnTo>
                        <a:lnTo>
                          <a:pt x="360" y="242"/>
                        </a:lnTo>
                        <a:lnTo>
                          <a:pt x="358" y="242"/>
                        </a:lnTo>
                        <a:lnTo>
                          <a:pt x="358" y="244"/>
                        </a:lnTo>
                        <a:lnTo>
                          <a:pt x="362" y="248"/>
                        </a:lnTo>
                        <a:lnTo>
                          <a:pt x="386" y="264"/>
                        </a:lnTo>
                        <a:lnTo>
                          <a:pt x="386" y="264"/>
                        </a:lnTo>
                        <a:lnTo>
                          <a:pt x="402" y="274"/>
                        </a:lnTo>
                        <a:lnTo>
                          <a:pt x="418" y="282"/>
                        </a:lnTo>
                        <a:lnTo>
                          <a:pt x="442" y="292"/>
                        </a:lnTo>
                        <a:lnTo>
                          <a:pt x="450" y="296"/>
                        </a:lnTo>
                        <a:lnTo>
                          <a:pt x="452" y="298"/>
                        </a:lnTo>
                        <a:lnTo>
                          <a:pt x="448" y="302"/>
                        </a:lnTo>
                        <a:lnTo>
                          <a:pt x="436" y="304"/>
                        </a:lnTo>
                        <a:lnTo>
                          <a:pt x="436" y="304"/>
                        </a:lnTo>
                        <a:lnTo>
                          <a:pt x="422" y="304"/>
                        </a:lnTo>
                        <a:lnTo>
                          <a:pt x="410" y="302"/>
                        </a:lnTo>
                        <a:lnTo>
                          <a:pt x="402" y="298"/>
                        </a:lnTo>
                        <a:lnTo>
                          <a:pt x="394" y="292"/>
                        </a:lnTo>
                        <a:lnTo>
                          <a:pt x="378" y="276"/>
                        </a:lnTo>
                        <a:lnTo>
                          <a:pt x="368" y="268"/>
                        </a:lnTo>
                        <a:lnTo>
                          <a:pt x="356" y="260"/>
                        </a:lnTo>
                        <a:lnTo>
                          <a:pt x="356" y="260"/>
                        </a:lnTo>
                        <a:lnTo>
                          <a:pt x="338" y="254"/>
                        </a:lnTo>
                        <a:lnTo>
                          <a:pt x="316" y="248"/>
                        </a:lnTo>
                        <a:lnTo>
                          <a:pt x="292" y="244"/>
                        </a:lnTo>
                        <a:lnTo>
                          <a:pt x="268" y="242"/>
                        </a:lnTo>
                        <a:lnTo>
                          <a:pt x="246" y="240"/>
                        </a:lnTo>
                        <a:lnTo>
                          <a:pt x="228" y="242"/>
                        </a:lnTo>
                        <a:lnTo>
                          <a:pt x="220" y="244"/>
                        </a:lnTo>
                        <a:lnTo>
                          <a:pt x="216" y="246"/>
                        </a:lnTo>
                        <a:lnTo>
                          <a:pt x="212" y="250"/>
                        </a:lnTo>
                        <a:lnTo>
                          <a:pt x="210" y="254"/>
                        </a:lnTo>
                        <a:lnTo>
                          <a:pt x="210" y="254"/>
                        </a:lnTo>
                        <a:lnTo>
                          <a:pt x="210" y="270"/>
                        </a:lnTo>
                        <a:lnTo>
                          <a:pt x="212" y="274"/>
                        </a:lnTo>
                        <a:lnTo>
                          <a:pt x="214" y="278"/>
                        </a:lnTo>
                        <a:lnTo>
                          <a:pt x="226" y="284"/>
                        </a:lnTo>
                        <a:lnTo>
                          <a:pt x="250" y="292"/>
                        </a:lnTo>
                        <a:lnTo>
                          <a:pt x="250" y="292"/>
                        </a:lnTo>
                        <a:lnTo>
                          <a:pt x="262" y="298"/>
                        </a:lnTo>
                        <a:lnTo>
                          <a:pt x="276" y="304"/>
                        </a:lnTo>
                        <a:lnTo>
                          <a:pt x="294" y="318"/>
                        </a:lnTo>
                        <a:lnTo>
                          <a:pt x="300" y="326"/>
                        </a:lnTo>
                        <a:lnTo>
                          <a:pt x="302" y="330"/>
                        </a:lnTo>
                        <a:lnTo>
                          <a:pt x="302" y="334"/>
                        </a:lnTo>
                        <a:lnTo>
                          <a:pt x="296" y="336"/>
                        </a:lnTo>
                        <a:lnTo>
                          <a:pt x="296" y="336"/>
                        </a:lnTo>
                        <a:lnTo>
                          <a:pt x="290" y="338"/>
                        </a:lnTo>
                        <a:lnTo>
                          <a:pt x="286" y="340"/>
                        </a:lnTo>
                        <a:lnTo>
                          <a:pt x="284" y="344"/>
                        </a:lnTo>
                        <a:lnTo>
                          <a:pt x="286" y="346"/>
                        </a:lnTo>
                        <a:lnTo>
                          <a:pt x="290" y="348"/>
                        </a:lnTo>
                        <a:lnTo>
                          <a:pt x="296" y="352"/>
                        </a:lnTo>
                        <a:lnTo>
                          <a:pt x="308" y="354"/>
                        </a:lnTo>
                        <a:lnTo>
                          <a:pt x="320" y="356"/>
                        </a:lnTo>
                        <a:lnTo>
                          <a:pt x="320" y="356"/>
                        </a:lnTo>
                        <a:lnTo>
                          <a:pt x="336" y="356"/>
                        </a:lnTo>
                        <a:lnTo>
                          <a:pt x="348" y="360"/>
                        </a:lnTo>
                        <a:lnTo>
                          <a:pt x="356" y="362"/>
                        </a:lnTo>
                        <a:lnTo>
                          <a:pt x="362" y="366"/>
                        </a:lnTo>
                        <a:lnTo>
                          <a:pt x="364" y="368"/>
                        </a:lnTo>
                        <a:lnTo>
                          <a:pt x="360" y="368"/>
                        </a:lnTo>
                        <a:lnTo>
                          <a:pt x="352" y="368"/>
                        </a:lnTo>
                        <a:lnTo>
                          <a:pt x="340" y="368"/>
                        </a:lnTo>
                        <a:lnTo>
                          <a:pt x="340" y="368"/>
                        </a:lnTo>
                        <a:lnTo>
                          <a:pt x="320" y="366"/>
                        </a:lnTo>
                        <a:lnTo>
                          <a:pt x="298" y="364"/>
                        </a:lnTo>
                        <a:lnTo>
                          <a:pt x="250" y="366"/>
                        </a:lnTo>
                        <a:lnTo>
                          <a:pt x="228" y="368"/>
                        </a:lnTo>
                        <a:lnTo>
                          <a:pt x="208" y="372"/>
                        </a:lnTo>
                        <a:lnTo>
                          <a:pt x="192" y="376"/>
                        </a:lnTo>
                        <a:lnTo>
                          <a:pt x="182" y="382"/>
                        </a:lnTo>
                        <a:lnTo>
                          <a:pt x="182" y="382"/>
                        </a:lnTo>
                        <a:lnTo>
                          <a:pt x="176" y="388"/>
                        </a:lnTo>
                        <a:lnTo>
                          <a:pt x="172" y="394"/>
                        </a:lnTo>
                        <a:lnTo>
                          <a:pt x="170" y="402"/>
                        </a:lnTo>
                        <a:lnTo>
                          <a:pt x="168" y="410"/>
                        </a:lnTo>
                        <a:lnTo>
                          <a:pt x="170" y="416"/>
                        </a:lnTo>
                        <a:lnTo>
                          <a:pt x="176" y="420"/>
                        </a:lnTo>
                        <a:lnTo>
                          <a:pt x="184" y="422"/>
                        </a:lnTo>
                        <a:lnTo>
                          <a:pt x="196" y="420"/>
                        </a:lnTo>
                        <a:lnTo>
                          <a:pt x="196" y="420"/>
                        </a:lnTo>
                        <a:lnTo>
                          <a:pt x="208" y="418"/>
                        </a:lnTo>
                        <a:lnTo>
                          <a:pt x="216" y="418"/>
                        </a:lnTo>
                        <a:lnTo>
                          <a:pt x="220" y="418"/>
                        </a:lnTo>
                        <a:lnTo>
                          <a:pt x="224" y="420"/>
                        </a:lnTo>
                        <a:lnTo>
                          <a:pt x="226" y="422"/>
                        </a:lnTo>
                        <a:lnTo>
                          <a:pt x="230" y="424"/>
                        </a:lnTo>
                        <a:lnTo>
                          <a:pt x="236" y="424"/>
                        </a:lnTo>
                        <a:lnTo>
                          <a:pt x="246" y="424"/>
                        </a:lnTo>
                        <a:lnTo>
                          <a:pt x="246" y="424"/>
                        </a:lnTo>
                        <a:lnTo>
                          <a:pt x="256" y="422"/>
                        </a:lnTo>
                        <a:lnTo>
                          <a:pt x="260" y="422"/>
                        </a:lnTo>
                        <a:lnTo>
                          <a:pt x="260" y="424"/>
                        </a:lnTo>
                        <a:lnTo>
                          <a:pt x="260" y="428"/>
                        </a:lnTo>
                        <a:lnTo>
                          <a:pt x="258" y="434"/>
                        </a:lnTo>
                        <a:lnTo>
                          <a:pt x="256" y="440"/>
                        </a:lnTo>
                        <a:lnTo>
                          <a:pt x="258" y="450"/>
                        </a:lnTo>
                        <a:lnTo>
                          <a:pt x="266" y="460"/>
                        </a:lnTo>
                        <a:lnTo>
                          <a:pt x="266" y="460"/>
                        </a:lnTo>
                        <a:lnTo>
                          <a:pt x="270" y="464"/>
                        </a:lnTo>
                        <a:lnTo>
                          <a:pt x="276" y="468"/>
                        </a:lnTo>
                        <a:lnTo>
                          <a:pt x="282" y="470"/>
                        </a:lnTo>
                        <a:lnTo>
                          <a:pt x="288" y="472"/>
                        </a:lnTo>
                        <a:lnTo>
                          <a:pt x="302" y="470"/>
                        </a:lnTo>
                        <a:lnTo>
                          <a:pt x="316" y="466"/>
                        </a:lnTo>
                        <a:lnTo>
                          <a:pt x="330" y="460"/>
                        </a:lnTo>
                        <a:lnTo>
                          <a:pt x="342" y="450"/>
                        </a:lnTo>
                        <a:lnTo>
                          <a:pt x="354" y="442"/>
                        </a:lnTo>
                        <a:lnTo>
                          <a:pt x="366" y="432"/>
                        </a:lnTo>
                        <a:lnTo>
                          <a:pt x="366" y="432"/>
                        </a:lnTo>
                        <a:lnTo>
                          <a:pt x="372" y="426"/>
                        </a:lnTo>
                        <a:lnTo>
                          <a:pt x="372" y="428"/>
                        </a:lnTo>
                        <a:lnTo>
                          <a:pt x="372" y="430"/>
                        </a:lnTo>
                        <a:lnTo>
                          <a:pt x="366" y="440"/>
                        </a:lnTo>
                        <a:lnTo>
                          <a:pt x="356" y="452"/>
                        </a:lnTo>
                        <a:lnTo>
                          <a:pt x="342" y="464"/>
                        </a:lnTo>
                        <a:lnTo>
                          <a:pt x="326" y="476"/>
                        </a:lnTo>
                        <a:lnTo>
                          <a:pt x="316" y="482"/>
                        </a:lnTo>
                        <a:lnTo>
                          <a:pt x="306" y="484"/>
                        </a:lnTo>
                        <a:lnTo>
                          <a:pt x="296" y="486"/>
                        </a:lnTo>
                        <a:lnTo>
                          <a:pt x="286" y="486"/>
                        </a:lnTo>
                        <a:lnTo>
                          <a:pt x="286" y="486"/>
                        </a:lnTo>
                        <a:lnTo>
                          <a:pt x="270" y="482"/>
                        </a:lnTo>
                        <a:lnTo>
                          <a:pt x="256" y="476"/>
                        </a:lnTo>
                        <a:lnTo>
                          <a:pt x="246" y="468"/>
                        </a:lnTo>
                        <a:lnTo>
                          <a:pt x="238" y="460"/>
                        </a:lnTo>
                        <a:lnTo>
                          <a:pt x="228" y="452"/>
                        </a:lnTo>
                        <a:lnTo>
                          <a:pt x="218" y="446"/>
                        </a:lnTo>
                        <a:lnTo>
                          <a:pt x="206" y="440"/>
                        </a:lnTo>
                        <a:lnTo>
                          <a:pt x="190" y="438"/>
                        </a:lnTo>
                        <a:lnTo>
                          <a:pt x="190" y="438"/>
                        </a:lnTo>
                        <a:lnTo>
                          <a:pt x="160" y="440"/>
                        </a:lnTo>
                        <a:lnTo>
                          <a:pt x="150" y="440"/>
                        </a:lnTo>
                        <a:lnTo>
                          <a:pt x="144" y="444"/>
                        </a:lnTo>
                        <a:lnTo>
                          <a:pt x="140" y="446"/>
                        </a:lnTo>
                        <a:lnTo>
                          <a:pt x="140" y="450"/>
                        </a:lnTo>
                        <a:lnTo>
                          <a:pt x="144" y="456"/>
                        </a:lnTo>
                        <a:lnTo>
                          <a:pt x="150" y="462"/>
                        </a:lnTo>
                        <a:lnTo>
                          <a:pt x="150" y="462"/>
                        </a:lnTo>
                        <a:lnTo>
                          <a:pt x="166" y="476"/>
                        </a:lnTo>
                        <a:lnTo>
                          <a:pt x="182" y="490"/>
                        </a:lnTo>
                        <a:lnTo>
                          <a:pt x="184" y="494"/>
                        </a:lnTo>
                        <a:lnTo>
                          <a:pt x="184" y="496"/>
                        </a:lnTo>
                        <a:lnTo>
                          <a:pt x="182" y="498"/>
                        </a:lnTo>
                        <a:lnTo>
                          <a:pt x="174" y="500"/>
                        </a:lnTo>
                        <a:lnTo>
                          <a:pt x="160" y="502"/>
                        </a:lnTo>
                        <a:lnTo>
                          <a:pt x="160" y="502"/>
                        </a:lnTo>
                        <a:lnTo>
                          <a:pt x="142" y="502"/>
                        </a:lnTo>
                        <a:lnTo>
                          <a:pt x="124" y="506"/>
                        </a:lnTo>
                        <a:lnTo>
                          <a:pt x="110" y="512"/>
                        </a:lnTo>
                        <a:lnTo>
                          <a:pt x="98" y="518"/>
                        </a:lnTo>
                        <a:lnTo>
                          <a:pt x="90" y="526"/>
                        </a:lnTo>
                        <a:lnTo>
                          <a:pt x="88" y="534"/>
                        </a:lnTo>
                        <a:lnTo>
                          <a:pt x="88" y="538"/>
                        </a:lnTo>
                        <a:lnTo>
                          <a:pt x="88" y="542"/>
                        </a:lnTo>
                        <a:lnTo>
                          <a:pt x="92" y="546"/>
                        </a:lnTo>
                        <a:lnTo>
                          <a:pt x="96" y="550"/>
                        </a:lnTo>
                        <a:lnTo>
                          <a:pt x="96" y="550"/>
                        </a:lnTo>
                        <a:lnTo>
                          <a:pt x="100" y="552"/>
                        </a:lnTo>
                        <a:lnTo>
                          <a:pt x="104" y="552"/>
                        </a:lnTo>
                        <a:lnTo>
                          <a:pt x="114" y="552"/>
                        </a:lnTo>
                        <a:lnTo>
                          <a:pt x="124" y="552"/>
                        </a:lnTo>
                        <a:lnTo>
                          <a:pt x="130" y="554"/>
                        </a:lnTo>
                        <a:lnTo>
                          <a:pt x="138" y="558"/>
                        </a:lnTo>
                        <a:lnTo>
                          <a:pt x="138" y="558"/>
                        </a:lnTo>
                        <a:lnTo>
                          <a:pt x="146" y="562"/>
                        </a:lnTo>
                        <a:lnTo>
                          <a:pt x="154" y="566"/>
                        </a:lnTo>
                        <a:lnTo>
                          <a:pt x="162" y="566"/>
                        </a:lnTo>
                        <a:lnTo>
                          <a:pt x="170" y="564"/>
                        </a:lnTo>
                        <a:lnTo>
                          <a:pt x="186" y="560"/>
                        </a:lnTo>
                        <a:lnTo>
                          <a:pt x="200" y="552"/>
                        </a:lnTo>
                        <a:lnTo>
                          <a:pt x="200" y="552"/>
                        </a:lnTo>
                        <a:lnTo>
                          <a:pt x="206" y="552"/>
                        </a:lnTo>
                        <a:lnTo>
                          <a:pt x="212" y="552"/>
                        </a:lnTo>
                        <a:lnTo>
                          <a:pt x="226" y="556"/>
                        </a:lnTo>
                        <a:lnTo>
                          <a:pt x="244" y="562"/>
                        </a:lnTo>
                        <a:lnTo>
                          <a:pt x="256" y="566"/>
                        </a:lnTo>
                        <a:lnTo>
                          <a:pt x="272" y="566"/>
                        </a:lnTo>
                        <a:lnTo>
                          <a:pt x="272" y="566"/>
                        </a:lnTo>
                        <a:lnTo>
                          <a:pt x="286" y="566"/>
                        </a:lnTo>
                        <a:lnTo>
                          <a:pt x="294" y="564"/>
                        </a:lnTo>
                        <a:lnTo>
                          <a:pt x="298" y="560"/>
                        </a:lnTo>
                        <a:lnTo>
                          <a:pt x="302" y="556"/>
                        </a:lnTo>
                        <a:lnTo>
                          <a:pt x="306" y="554"/>
                        </a:lnTo>
                        <a:lnTo>
                          <a:pt x="312" y="552"/>
                        </a:lnTo>
                        <a:lnTo>
                          <a:pt x="322" y="552"/>
                        </a:lnTo>
                        <a:lnTo>
                          <a:pt x="336" y="558"/>
                        </a:lnTo>
                        <a:lnTo>
                          <a:pt x="336" y="558"/>
                        </a:lnTo>
                        <a:lnTo>
                          <a:pt x="346" y="560"/>
                        </a:lnTo>
                        <a:lnTo>
                          <a:pt x="356" y="560"/>
                        </a:lnTo>
                        <a:lnTo>
                          <a:pt x="376" y="560"/>
                        </a:lnTo>
                        <a:lnTo>
                          <a:pt x="394" y="556"/>
                        </a:lnTo>
                        <a:lnTo>
                          <a:pt x="412" y="552"/>
                        </a:lnTo>
                        <a:lnTo>
                          <a:pt x="426" y="548"/>
                        </a:lnTo>
                        <a:lnTo>
                          <a:pt x="436" y="548"/>
                        </a:lnTo>
                        <a:lnTo>
                          <a:pt x="438" y="548"/>
                        </a:lnTo>
                        <a:lnTo>
                          <a:pt x="440" y="550"/>
                        </a:lnTo>
                        <a:lnTo>
                          <a:pt x="442" y="554"/>
                        </a:lnTo>
                        <a:lnTo>
                          <a:pt x="440" y="560"/>
                        </a:lnTo>
                        <a:lnTo>
                          <a:pt x="440" y="560"/>
                        </a:lnTo>
                        <a:lnTo>
                          <a:pt x="438" y="564"/>
                        </a:lnTo>
                        <a:lnTo>
                          <a:pt x="438" y="570"/>
                        </a:lnTo>
                        <a:lnTo>
                          <a:pt x="440" y="572"/>
                        </a:lnTo>
                        <a:lnTo>
                          <a:pt x="442" y="576"/>
                        </a:lnTo>
                        <a:lnTo>
                          <a:pt x="450" y="578"/>
                        </a:lnTo>
                        <a:lnTo>
                          <a:pt x="462" y="578"/>
                        </a:lnTo>
                        <a:lnTo>
                          <a:pt x="474" y="574"/>
                        </a:lnTo>
                        <a:lnTo>
                          <a:pt x="486" y="570"/>
                        </a:lnTo>
                        <a:lnTo>
                          <a:pt x="510" y="558"/>
                        </a:lnTo>
                        <a:lnTo>
                          <a:pt x="510" y="558"/>
                        </a:lnTo>
                        <a:lnTo>
                          <a:pt x="518" y="552"/>
                        </a:lnTo>
                        <a:lnTo>
                          <a:pt x="528" y="552"/>
                        </a:lnTo>
                        <a:lnTo>
                          <a:pt x="544" y="550"/>
                        </a:lnTo>
                        <a:lnTo>
                          <a:pt x="550" y="550"/>
                        </a:lnTo>
                        <a:lnTo>
                          <a:pt x="556" y="546"/>
                        </a:lnTo>
                        <a:lnTo>
                          <a:pt x="560" y="538"/>
                        </a:lnTo>
                        <a:lnTo>
                          <a:pt x="562" y="526"/>
                        </a:lnTo>
                        <a:lnTo>
                          <a:pt x="562" y="526"/>
                        </a:lnTo>
                        <a:lnTo>
                          <a:pt x="562" y="520"/>
                        </a:lnTo>
                        <a:lnTo>
                          <a:pt x="560" y="518"/>
                        </a:lnTo>
                        <a:lnTo>
                          <a:pt x="558" y="514"/>
                        </a:lnTo>
                        <a:lnTo>
                          <a:pt x="556" y="514"/>
                        </a:lnTo>
                        <a:lnTo>
                          <a:pt x="546" y="512"/>
                        </a:lnTo>
                        <a:lnTo>
                          <a:pt x="536" y="512"/>
                        </a:lnTo>
                        <a:lnTo>
                          <a:pt x="526" y="514"/>
                        </a:lnTo>
                        <a:lnTo>
                          <a:pt x="518" y="514"/>
                        </a:lnTo>
                        <a:lnTo>
                          <a:pt x="512" y="512"/>
                        </a:lnTo>
                        <a:lnTo>
                          <a:pt x="510" y="510"/>
                        </a:lnTo>
                        <a:lnTo>
                          <a:pt x="508" y="506"/>
                        </a:lnTo>
                        <a:lnTo>
                          <a:pt x="508" y="506"/>
                        </a:lnTo>
                        <a:lnTo>
                          <a:pt x="510" y="500"/>
                        </a:lnTo>
                        <a:lnTo>
                          <a:pt x="512" y="494"/>
                        </a:lnTo>
                        <a:lnTo>
                          <a:pt x="514" y="490"/>
                        </a:lnTo>
                        <a:lnTo>
                          <a:pt x="520" y="488"/>
                        </a:lnTo>
                        <a:lnTo>
                          <a:pt x="532" y="482"/>
                        </a:lnTo>
                        <a:lnTo>
                          <a:pt x="550" y="472"/>
                        </a:lnTo>
                        <a:lnTo>
                          <a:pt x="550" y="472"/>
                        </a:lnTo>
                        <a:lnTo>
                          <a:pt x="554" y="468"/>
                        </a:lnTo>
                        <a:lnTo>
                          <a:pt x="556" y="464"/>
                        </a:lnTo>
                        <a:lnTo>
                          <a:pt x="556" y="460"/>
                        </a:lnTo>
                        <a:lnTo>
                          <a:pt x="556" y="456"/>
                        </a:lnTo>
                        <a:lnTo>
                          <a:pt x="552" y="448"/>
                        </a:lnTo>
                        <a:lnTo>
                          <a:pt x="548" y="442"/>
                        </a:lnTo>
                        <a:lnTo>
                          <a:pt x="546" y="436"/>
                        </a:lnTo>
                        <a:lnTo>
                          <a:pt x="548" y="434"/>
                        </a:lnTo>
                        <a:lnTo>
                          <a:pt x="550" y="432"/>
                        </a:lnTo>
                        <a:lnTo>
                          <a:pt x="560" y="430"/>
                        </a:lnTo>
                        <a:lnTo>
                          <a:pt x="582" y="434"/>
                        </a:lnTo>
                        <a:lnTo>
                          <a:pt x="582" y="434"/>
                        </a:lnTo>
                        <a:lnTo>
                          <a:pt x="602" y="436"/>
                        </a:lnTo>
                        <a:lnTo>
                          <a:pt x="620" y="434"/>
                        </a:lnTo>
                        <a:lnTo>
                          <a:pt x="636" y="430"/>
                        </a:lnTo>
                        <a:lnTo>
                          <a:pt x="650" y="424"/>
                        </a:lnTo>
                        <a:lnTo>
                          <a:pt x="660" y="418"/>
                        </a:lnTo>
                        <a:lnTo>
                          <a:pt x="666" y="410"/>
                        </a:lnTo>
                        <a:lnTo>
                          <a:pt x="668" y="402"/>
                        </a:lnTo>
                        <a:lnTo>
                          <a:pt x="668" y="400"/>
                        </a:lnTo>
                        <a:lnTo>
                          <a:pt x="666" y="396"/>
                        </a:lnTo>
                        <a:lnTo>
                          <a:pt x="666" y="396"/>
                        </a:lnTo>
                        <a:lnTo>
                          <a:pt x="664" y="394"/>
                        </a:lnTo>
                        <a:lnTo>
                          <a:pt x="664" y="392"/>
                        </a:lnTo>
                        <a:lnTo>
                          <a:pt x="666" y="388"/>
                        </a:lnTo>
                        <a:lnTo>
                          <a:pt x="680" y="382"/>
                        </a:lnTo>
                        <a:lnTo>
                          <a:pt x="684" y="378"/>
                        </a:lnTo>
                        <a:lnTo>
                          <a:pt x="684" y="376"/>
                        </a:lnTo>
                        <a:lnTo>
                          <a:pt x="684" y="372"/>
                        </a:lnTo>
                        <a:lnTo>
                          <a:pt x="678" y="366"/>
                        </a:lnTo>
                        <a:lnTo>
                          <a:pt x="662" y="356"/>
                        </a:lnTo>
                        <a:lnTo>
                          <a:pt x="662" y="356"/>
                        </a:lnTo>
                        <a:lnTo>
                          <a:pt x="648" y="350"/>
                        </a:lnTo>
                        <a:lnTo>
                          <a:pt x="644" y="348"/>
                        </a:lnTo>
                        <a:lnTo>
                          <a:pt x="644" y="346"/>
                        </a:lnTo>
                        <a:lnTo>
                          <a:pt x="650" y="346"/>
                        </a:lnTo>
                        <a:lnTo>
                          <a:pt x="662" y="348"/>
                        </a:lnTo>
                        <a:lnTo>
                          <a:pt x="674" y="348"/>
                        </a:lnTo>
                        <a:lnTo>
                          <a:pt x="686" y="348"/>
                        </a:lnTo>
                        <a:lnTo>
                          <a:pt x="690" y="348"/>
                        </a:lnTo>
                        <a:lnTo>
                          <a:pt x="694" y="346"/>
                        </a:lnTo>
                        <a:lnTo>
                          <a:pt x="696" y="344"/>
                        </a:lnTo>
                        <a:lnTo>
                          <a:pt x="694" y="340"/>
                        </a:lnTo>
                        <a:lnTo>
                          <a:pt x="694" y="340"/>
                        </a:lnTo>
                        <a:lnTo>
                          <a:pt x="690" y="332"/>
                        </a:lnTo>
                        <a:lnTo>
                          <a:pt x="684" y="328"/>
                        </a:lnTo>
                        <a:lnTo>
                          <a:pt x="680" y="324"/>
                        </a:lnTo>
                        <a:lnTo>
                          <a:pt x="674" y="324"/>
                        </a:lnTo>
                        <a:lnTo>
                          <a:pt x="658" y="326"/>
                        </a:lnTo>
                        <a:lnTo>
                          <a:pt x="638" y="328"/>
                        </a:lnTo>
                        <a:lnTo>
                          <a:pt x="638" y="328"/>
                        </a:lnTo>
                        <a:lnTo>
                          <a:pt x="614" y="328"/>
                        </a:lnTo>
                        <a:lnTo>
                          <a:pt x="592" y="328"/>
                        </a:lnTo>
                        <a:lnTo>
                          <a:pt x="584" y="328"/>
                        </a:lnTo>
                        <a:lnTo>
                          <a:pt x="578" y="326"/>
                        </a:lnTo>
                        <a:lnTo>
                          <a:pt x="576" y="324"/>
                        </a:lnTo>
                        <a:lnTo>
                          <a:pt x="580" y="320"/>
                        </a:lnTo>
                        <a:lnTo>
                          <a:pt x="580" y="320"/>
                        </a:lnTo>
                        <a:lnTo>
                          <a:pt x="588" y="318"/>
                        </a:lnTo>
                        <a:lnTo>
                          <a:pt x="602" y="314"/>
                        </a:lnTo>
                        <a:lnTo>
                          <a:pt x="644" y="312"/>
                        </a:lnTo>
                        <a:lnTo>
                          <a:pt x="692" y="310"/>
                        </a:lnTo>
                        <a:lnTo>
                          <a:pt x="730" y="306"/>
                        </a:lnTo>
                        <a:lnTo>
                          <a:pt x="730" y="306"/>
                        </a:lnTo>
                        <a:lnTo>
                          <a:pt x="742" y="304"/>
                        </a:lnTo>
                        <a:lnTo>
                          <a:pt x="750" y="300"/>
                        </a:lnTo>
                        <a:lnTo>
                          <a:pt x="752" y="296"/>
                        </a:lnTo>
                        <a:lnTo>
                          <a:pt x="752" y="290"/>
                        </a:lnTo>
                        <a:lnTo>
                          <a:pt x="752" y="284"/>
                        </a:lnTo>
                        <a:lnTo>
                          <a:pt x="754" y="284"/>
                        </a:lnTo>
                        <a:lnTo>
                          <a:pt x="762" y="286"/>
                        </a:lnTo>
                        <a:lnTo>
                          <a:pt x="762" y="286"/>
                        </a:lnTo>
                        <a:lnTo>
                          <a:pt x="770" y="290"/>
                        </a:lnTo>
                        <a:lnTo>
                          <a:pt x="780" y="292"/>
                        </a:lnTo>
                        <a:lnTo>
                          <a:pt x="790" y="294"/>
                        </a:lnTo>
                        <a:lnTo>
                          <a:pt x="800" y="292"/>
                        </a:lnTo>
                        <a:lnTo>
                          <a:pt x="812" y="290"/>
                        </a:lnTo>
                        <a:lnTo>
                          <a:pt x="822" y="286"/>
                        </a:lnTo>
                        <a:lnTo>
                          <a:pt x="832" y="278"/>
                        </a:lnTo>
                        <a:lnTo>
                          <a:pt x="842" y="270"/>
                        </a:lnTo>
                        <a:lnTo>
                          <a:pt x="842" y="270"/>
                        </a:lnTo>
                        <a:lnTo>
                          <a:pt x="852" y="260"/>
                        </a:lnTo>
                        <a:lnTo>
                          <a:pt x="866" y="248"/>
                        </a:lnTo>
                        <a:lnTo>
                          <a:pt x="882" y="238"/>
                        </a:lnTo>
                        <a:lnTo>
                          <a:pt x="902" y="228"/>
                        </a:lnTo>
                        <a:lnTo>
                          <a:pt x="954" y="204"/>
                        </a:lnTo>
                        <a:lnTo>
                          <a:pt x="1020" y="178"/>
                        </a:lnTo>
                        <a:lnTo>
                          <a:pt x="1020" y="178"/>
                        </a:lnTo>
                        <a:lnTo>
                          <a:pt x="1076" y="154"/>
                        </a:lnTo>
                        <a:lnTo>
                          <a:pt x="1092" y="146"/>
                        </a:lnTo>
                        <a:lnTo>
                          <a:pt x="1098" y="142"/>
                        </a:lnTo>
                        <a:lnTo>
                          <a:pt x="1098" y="140"/>
                        </a:lnTo>
                        <a:lnTo>
                          <a:pt x="1094" y="140"/>
                        </a:lnTo>
                        <a:lnTo>
                          <a:pt x="1084" y="140"/>
                        </a:lnTo>
                        <a:lnTo>
                          <a:pt x="1038" y="142"/>
                        </a:lnTo>
                        <a:lnTo>
                          <a:pt x="1038" y="142"/>
                        </a:lnTo>
                        <a:lnTo>
                          <a:pt x="1014" y="144"/>
                        </a:lnTo>
                        <a:lnTo>
                          <a:pt x="1002" y="144"/>
                        </a:lnTo>
                        <a:lnTo>
                          <a:pt x="1000" y="142"/>
                        </a:lnTo>
                        <a:lnTo>
                          <a:pt x="1000" y="142"/>
                        </a:lnTo>
                        <a:lnTo>
                          <a:pt x="1006" y="138"/>
                        </a:lnTo>
                        <a:lnTo>
                          <a:pt x="1034" y="130"/>
                        </a:lnTo>
                        <a:lnTo>
                          <a:pt x="1072" y="122"/>
                        </a:lnTo>
                        <a:lnTo>
                          <a:pt x="1072" y="122"/>
                        </a:lnTo>
                        <a:lnTo>
                          <a:pt x="1118" y="112"/>
                        </a:lnTo>
                        <a:lnTo>
                          <a:pt x="1172" y="100"/>
                        </a:lnTo>
                        <a:lnTo>
                          <a:pt x="1198" y="92"/>
                        </a:lnTo>
                        <a:lnTo>
                          <a:pt x="1218" y="84"/>
                        </a:lnTo>
                        <a:lnTo>
                          <a:pt x="1232" y="76"/>
                        </a:lnTo>
                        <a:lnTo>
                          <a:pt x="1236" y="72"/>
                        </a:lnTo>
                        <a:lnTo>
                          <a:pt x="1236" y="68"/>
                        </a:lnTo>
                        <a:lnTo>
                          <a:pt x="1236" y="68"/>
                        </a:lnTo>
                        <a:lnTo>
                          <a:pt x="1236" y="64"/>
                        </a:lnTo>
                        <a:lnTo>
                          <a:pt x="1234" y="62"/>
                        </a:lnTo>
                        <a:lnTo>
                          <a:pt x="1224" y="58"/>
                        </a:lnTo>
                        <a:lnTo>
                          <a:pt x="1210" y="58"/>
                        </a:lnTo>
                        <a:lnTo>
                          <a:pt x="1196" y="56"/>
                        </a:lnTo>
                        <a:lnTo>
                          <a:pt x="1182" y="56"/>
                        </a:lnTo>
                        <a:lnTo>
                          <a:pt x="1168" y="54"/>
                        </a:lnTo>
                        <a:lnTo>
                          <a:pt x="1160" y="50"/>
                        </a:lnTo>
                        <a:lnTo>
                          <a:pt x="1158" y="48"/>
                        </a:lnTo>
                        <a:lnTo>
                          <a:pt x="1156" y="44"/>
                        </a:lnTo>
                        <a:lnTo>
                          <a:pt x="1156" y="44"/>
                        </a:lnTo>
                        <a:lnTo>
                          <a:pt x="1156" y="40"/>
                        </a:lnTo>
                        <a:lnTo>
                          <a:pt x="1154" y="36"/>
                        </a:lnTo>
                        <a:lnTo>
                          <a:pt x="1146" y="30"/>
                        </a:lnTo>
                        <a:lnTo>
                          <a:pt x="1136" y="26"/>
                        </a:lnTo>
                        <a:lnTo>
                          <a:pt x="1122" y="24"/>
                        </a:lnTo>
                        <a:lnTo>
                          <a:pt x="1094" y="20"/>
                        </a:lnTo>
                        <a:lnTo>
                          <a:pt x="1078" y="20"/>
                        </a:lnTo>
                        <a:lnTo>
                          <a:pt x="1078" y="20"/>
                        </a:lnTo>
                        <a:lnTo>
                          <a:pt x="1062" y="22"/>
                        </a:lnTo>
                        <a:lnTo>
                          <a:pt x="1050" y="22"/>
                        </a:lnTo>
                        <a:lnTo>
                          <a:pt x="1038" y="22"/>
                        </a:lnTo>
                        <a:lnTo>
                          <a:pt x="1018" y="30"/>
                        </a:lnTo>
                        <a:lnTo>
                          <a:pt x="1018" y="30"/>
                        </a:lnTo>
                        <a:lnTo>
                          <a:pt x="1004" y="34"/>
                        </a:lnTo>
                        <a:lnTo>
                          <a:pt x="990" y="38"/>
                        </a:lnTo>
                        <a:lnTo>
                          <a:pt x="962" y="40"/>
                        </a:lnTo>
                        <a:lnTo>
                          <a:pt x="948" y="40"/>
                        </a:lnTo>
                        <a:lnTo>
                          <a:pt x="948" y="40"/>
                        </a:lnTo>
                        <a:lnTo>
                          <a:pt x="948" y="38"/>
                        </a:lnTo>
                        <a:lnTo>
                          <a:pt x="958" y="36"/>
                        </a:lnTo>
                        <a:lnTo>
                          <a:pt x="958" y="36"/>
                        </a:lnTo>
                        <a:lnTo>
                          <a:pt x="986" y="30"/>
                        </a:lnTo>
                        <a:lnTo>
                          <a:pt x="1004" y="24"/>
                        </a:lnTo>
                        <a:lnTo>
                          <a:pt x="1008" y="22"/>
                        </a:lnTo>
                        <a:lnTo>
                          <a:pt x="1008" y="20"/>
                        </a:lnTo>
                        <a:lnTo>
                          <a:pt x="1006" y="20"/>
                        </a:lnTo>
                        <a:lnTo>
                          <a:pt x="998" y="18"/>
                        </a:lnTo>
                        <a:lnTo>
                          <a:pt x="980" y="16"/>
                        </a:lnTo>
                        <a:lnTo>
                          <a:pt x="980" y="16"/>
                        </a:lnTo>
                        <a:lnTo>
                          <a:pt x="958" y="16"/>
                        </a:lnTo>
                        <a:lnTo>
                          <a:pt x="942" y="14"/>
                        </a:lnTo>
                        <a:lnTo>
                          <a:pt x="912" y="6"/>
                        </a:lnTo>
                        <a:lnTo>
                          <a:pt x="900" y="2"/>
                        </a:lnTo>
                        <a:lnTo>
                          <a:pt x="888" y="0"/>
                        </a:lnTo>
                        <a:lnTo>
                          <a:pt x="874" y="0"/>
                        </a:lnTo>
                        <a:lnTo>
                          <a:pt x="858" y="2"/>
                        </a:lnTo>
                        <a:lnTo>
                          <a:pt x="858" y="2"/>
                        </a:lnTo>
                        <a:lnTo>
                          <a:pt x="830" y="4"/>
                        </a:lnTo>
                        <a:lnTo>
                          <a:pt x="808" y="4"/>
                        </a:lnTo>
                        <a:lnTo>
                          <a:pt x="788" y="4"/>
                        </a:lnTo>
                        <a:lnTo>
                          <a:pt x="776" y="6"/>
                        </a:lnTo>
                        <a:lnTo>
                          <a:pt x="762" y="10"/>
                        </a:lnTo>
                        <a:lnTo>
                          <a:pt x="762" y="10"/>
                        </a:lnTo>
                        <a:lnTo>
                          <a:pt x="746" y="14"/>
                        </a:lnTo>
                        <a:lnTo>
                          <a:pt x="728" y="14"/>
                        </a:lnTo>
                        <a:lnTo>
                          <a:pt x="690" y="10"/>
                        </a:lnTo>
                        <a:lnTo>
                          <a:pt x="666" y="10"/>
                        </a:lnTo>
                        <a:lnTo>
                          <a:pt x="640" y="10"/>
                        </a:lnTo>
                        <a:lnTo>
                          <a:pt x="608" y="12"/>
                        </a:lnTo>
                        <a:lnTo>
                          <a:pt x="574" y="20"/>
                        </a:lnTo>
                        <a:lnTo>
                          <a:pt x="574" y="20"/>
                        </a:lnTo>
                        <a:lnTo>
                          <a:pt x="556" y="22"/>
                        </a:lnTo>
                        <a:lnTo>
                          <a:pt x="540" y="22"/>
                        </a:lnTo>
                        <a:lnTo>
                          <a:pt x="526" y="20"/>
                        </a:lnTo>
                        <a:lnTo>
                          <a:pt x="514" y="16"/>
                        </a:lnTo>
                        <a:lnTo>
                          <a:pt x="500" y="14"/>
                        </a:lnTo>
                        <a:lnTo>
                          <a:pt x="490" y="12"/>
                        </a:lnTo>
                        <a:lnTo>
                          <a:pt x="478" y="14"/>
                        </a:lnTo>
                        <a:lnTo>
                          <a:pt x="466" y="18"/>
                        </a:lnTo>
                        <a:lnTo>
                          <a:pt x="466" y="18"/>
                        </a:lnTo>
                        <a:lnTo>
                          <a:pt x="454" y="22"/>
                        </a:lnTo>
                        <a:lnTo>
                          <a:pt x="442" y="24"/>
                        </a:lnTo>
                        <a:lnTo>
                          <a:pt x="432" y="24"/>
                        </a:lnTo>
                        <a:lnTo>
                          <a:pt x="422" y="24"/>
                        </a:lnTo>
                        <a:lnTo>
                          <a:pt x="416" y="22"/>
                        </a:lnTo>
                        <a:lnTo>
                          <a:pt x="412" y="24"/>
                        </a:lnTo>
                        <a:lnTo>
                          <a:pt x="416" y="28"/>
                        </a:lnTo>
                        <a:lnTo>
                          <a:pt x="424" y="36"/>
                        </a:lnTo>
                        <a:lnTo>
                          <a:pt x="424" y="36"/>
                        </a:lnTo>
                        <a:lnTo>
                          <a:pt x="430" y="44"/>
                        </a:lnTo>
                        <a:lnTo>
                          <a:pt x="430" y="46"/>
                        </a:lnTo>
                        <a:lnTo>
                          <a:pt x="430" y="48"/>
                        </a:lnTo>
                        <a:lnTo>
                          <a:pt x="424" y="48"/>
                        </a:lnTo>
                        <a:lnTo>
                          <a:pt x="414" y="46"/>
                        </a:lnTo>
                        <a:lnTo>
                          <a:pt x="404" y="44"/>
                        </a:lnTo>
                        <a:lnTo>
                          <a:pt x="392" y="42"/>
                        </a:lnTo>
                        <a:lnTo>
                          <a:pt x="384" y="44"/>
                        </a:lnTo>
                        <a:lnTo>
                          <a:pt x="380" y="46"/>
                        </a:lnTo>
                        <a:lnTo>
                          <a:pt x="378" y="50"/>
                        </a:lnTo>
                        <a:lnTo>
                          <a:pt x="378" y="50"/>
                        </a:lnTo>
                        <a:lnTo>
                          <a:pt x="376" y="58"/>
                        </a:lnTo>
                        <a:lnTo>
                          <a:pt x="372" y="62"/>
                        </a:lnTo>
                        <a:lnTo>
                          <a:pt x="366" y="66"/>
                        </a:lnTo>
                        <a:lnTo>
                          <a:pt x="360" y="68"/>
                        </a:lnTo>
                        <a:lnTo>
                          <a:pt x="352" y="70"/>
                        </a:lnTo>
                        <a:lnTo>
                          <a:pt x="340" y="70"/>
                        </a:lnTo>
                        <a:lnTo>
                          <a:pt x="312" y="68"/>
                        </a:lnTo>
                        <a:lnTo>
                          <a:pt x="312" y="68"/>
                        </a:lnTo>
                        <a:lnTo>
                          <a:pt x="300" y="66"/>
                        </a:lnTo>
                        <a:lnTo>
                          <a:pt x="292" y="64"/>
                        </a:lnTo>
                        <a:lnTo>
                          <a:pt x="290" y="60"/>
                        </a:lnTo>
                        <a:lnTo>
                          <a:pt x="290" y="58"/>
                        </a:lnTo>
                        <a:lnTo>
                          <a:pt x="290" y="56"/>
                        </a:lnTo>
                        <a:lnTo>
                          <a:pt x="288" y="54"/>
                        </a:lnTo>
                        <a:lnTo>
                          <a:pt x="280" y="52"/>
                        </a:lnTo>
                        <a:lnTo>
                          <a:pt x="264" y="52"/>
                        </a:lnTo>
                        <a:lnTo>
                          <a:pt x="264" y="52"/>
                        </a:lnTo>
                        <a:lnTo>
                          <a:pt x="250" y="52"/>
                        </a:lnTo>
                        <a:lnTo>
                          <a:pt x="244" y="52"/>
                        </a:lnTo>
                        <a:lnTo>
                          <a:pt x="244" y="56"/>
                        </a:lnTo>
                        <a:lnTo>
                          <a:pt x="246" y="60"/>
                        </a:lnTo>
                        <a:lnTo>
                          <a:pt x="248" y="64"/>
                        </a:lnTo>
                        <a:lnTo>
                          <a:pt x="248" y="66"/>
                        </a:lnTo>
                        <a:lnTo>
                          <a:pt x="248" y="68"/>
                        </a:lnTo>
                        <a:lnTo>
                          <a:pt x="240" y="72"/>
                        </a:lnTo>
                        <a:lnTo>
                          <a:pt x="224" y="76"/>
                        </a:lnTo>
                        <a:lnTo>
                          <a:pt x="224" y="76"/>
                        </a:lnTo>
                        <a:lnTo>
                          <a:pt x="208" y="78"/>
                        </a:lnTo>
                        <a:lnTo>
                          <a:pt x="206" y="78"/>
                        </a:lnTo>
                        <a:lnTo>
                          <a:pt x="206" y="80"/>
                        </a:lnTo>
                        <a:lnTo>
                          <a:pt x="212" y="82"/>
                        </a:lnTo>
                        <a:lnTo>
                          <a:pt x="224" y="86"/>
                        </a:lnTo>
                        <a:lnTo>
                          <a:pt x="248" y="92"/>
                        </a:lnTo>
                        <a:lnTo>
                          <a:pt x="254" y="94"/>
                        </a:lnTo>
                        <a:lnTo>
                          <a:pt x="252" y="96"/>
                        </a:lnTo>
                        <a:lnTo>
                          <a:pt x="248" y="98"/>
                        </a:lnTo>
                        <a:lnTo>
                          <a:pt x="248" y="98"/>
                        </a:lnTo>
                        <a:lnTo>
                          <a:pt x="238" y="98"/>
                        </a:lnTo>
                        <a:lnTo>
                          <a:pt x="228" y="98"/>
                        </a:lnTo>
                        <a:lnTo>
                          <a:pt x="206" y="92"/>
                        </a:lnTo>
                        <a:lnTo>
                          <a:pt x="194" y="90"/>
                        </a:lnTo>
                        <a:lnTo>
                          <a:pt x="180" y="88"/>
                        </a:lnTo>
                        <a:lnTo>
                          <a:pt x="166" y="86"/>
                        </a:lnTo>
                        <a:lnTo>
                          <a:pt x="146" y="88"/>
                        </a:lnTo>
                        <a:lnTo>
                          <a:pt x="146" y="88"/>
                        </a:lnTo>
                        <a:lnTo>
                          <a:pt x="130" y="92"/>
                        </a:lnTo>
                        <a:lnTo>
                          <a:pt x="120" y="94"/>
                        </a:lnTo>
                        <a:lnTo>
                          <a:pt x="112" y="98"/>
                        </a:lnTo>
                        <a:lnTo>
                          <a:pt x="108" y="102"/>
                        </a:lnTo>
                        <a:lnTo>
                          <a:pt x="104" y="106"/>
                        </a:lnTo>
                        <a:lnTo>
                          <a:pt x="100" y="106"/>
                        </a:lnTo>
                        <a:lnTo>
                          <a:pt x="92" y="108"/>
                        </a:lnTo>
                        <a:lnTo>
                          <a:pt x="80" y="106"/>
                        </a:lnTo>
                        <a:lnTo>
                          <a:pt x="80" y="106"/>
                        </a:lnTo>
                        <a:lnTo>
                          <a:pt x="66" y="104"/>
                        </a:lnTo>
                        <a:lnTo>
                          <a:pt x="50" y="104"/>
                        </a:lnTo>
                        <a:lnTo>
                          <a:pt x="36" y="108"/>
                        </a:lnTo>
                        <a:lnTo>
                          <a:pt x="22" y="112"/>
                        </a:lnTo>
                        <a:lnTo>
                          <a:pt x="12" y="118"/>
                        </a:lnTo>
                        <a:lnTo>
                          <a:pt x="4" y="124"/>
                        </a:lnTo>
                        <a:lnTo>
                          <a:pt x="0" y="130"/>
                        </a:lnTo>
                        <a:lnTo>
                          <a:pt x="2" y="134"/>
                        </a:lnTo>
                        <a:lnTo>
                          <a:pt x="4" y="138"/>
                        </a:lnTo>
                        <a:lnTo>
                          <a:pt x="4" y="138"/>
                        </a:lnTo>
                        <a:lnTo>
                          <a:pt x="8" y="142"/>
                        </a:lnTo>
                        <a:lnTo>
                          <a:pt x="12" y="144"/>
                        </a:lnTo>
                        <a:lnTo>
                          <a:pt x="16" y="144"/>
                        </a:lnTo>
                        <a:lnTo>
                          <a:pt x="22" y="144"/>
                        </a:lnTo>
                        <a:lnTo>
                          <a:pt x="32" y="144"/>
                        </a:lnTo>
                        <a:lnTo>
                          <a:pt x="36" y="144"/>
                        </a:lnTo>
                        <a:lnTo>
                          <a:pt x="44" y="148"/>
                        </a:lnTo>
                        <a:lnTo>
                          <a:pt x="44" y="14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0" name="Freeform 6107"/>
                  <p:cNvSpPr>
                    <a:spLocks/>
                  </p:cNvSpPr>
                  <p:nvPr/>
                </p:nvSpPr>
                <p:spPr bwMode="auto">
                  <a:xfrm>
                    <a:off x="2335530" y="1211263"/>
                    <a:ext cx="121920" cy="48260"/>
                  </a:xfrm>
                  <a:custGeom>
                    <a:avLst/>
                    <a:gdLst/>
                    <a:ahLst/>
                    <a:cxnLst>
                      <a:cxn ang="0">
                        <a:pos x="2" y="16"/>
                      </a:cxn>
                      <a:cxn ang="0">
                        <a:pos x="2" y="16"/>
                      </a:cxn>
                      <a:cxn ang="0">
                        <a:pos x="0" y="24"/>
                      </a:cxn>
                      <a:cxn ang="0">
                        <a:pos x="2" y="30"/>
                      </a:cxn>
                      <a:cxn ang="0">
                        <a:pos x="6" y="34"/>
                      </a:cxn>
                      <a:cxn ang="0">
                        <a:pos x="18" y="38"/>
                      </a:cxn>
                      <a:cxn ang="0">
                        <a:pos x="18" y="38"/>
                      </a:cxn>
                      <a:cxn ang="0">
                        <a:pos x="22" y="42"/>
                      </a:cxn>
                      <a:cxn ang="0">
                        <a:pos x="26" y="46"/>
                      </a:cxn>
                      <a:cxn ang="0">
                        <a:pos x="26" y="52"/>
                      </a:cxn>
                      <a:cxn ang="0">
                        <a:pos x="28" y="56"/>
                      </a:cxn>
                      <a:cxn ang="0">
                        <a:pos x="30" y="62"/>
                      </a:cxn>
                      <a:cxn ang="0">
                        <a:pos x="36" y="66"/>
                      </a:cxn>
                      <a:cxn ang="0">
                        <a:pos x="46" y="72"/>
                      </a:cxn>
                      <a:cxn ang="0">
                        <a:pos x="46" y="72"/>
                      </a:cxn>
                      <a:cxn ang="0">
                        <a:pos x="56" y="76"/>
                      </a:cxn>
                      <a:cxn ang="0">
                        <a:pos x="66" y="76"/>
                      </a:cxn>
                      <a:cxn ang="0">
                        <a:pos x="72" y="76"/>
                      </a:cxn>
                      <a:cxn ang="0">
                        <a:pos x="80" y="74"/>
                      </a:cxn>
                      <a:cxn ang="0">
                        <a:pos x="94" y="68"/>
                      </a:cxn>
                      <a:cxn ang="0">
                        <a:pos x="104" y="66"/>
                      </a:cxn>
                      <a:cxn ang="0">
                        <a:pos x="118" y="68"/>
                      </a:cxn>
                      <a:cxn ang="0">
                        <a:pos x="118" y="68"/>
                      </a:cxn>
                      <a:cxn ang="0">
                        <a:pos x="148" y="70"/>
                      </a:cxn>
                      <a:cxn ang="0">
                        <a:pos x="176" y="72"/>
                      </a:cxn>
                      <a:cxn ang="0">
                        <a:pos x="184" y="70"/>
                      </a:cxn>
                      <a:cxn ang="0">
                        <a:pos x="192" y="68"/>
                      </a:cxn>
                      <a:cxn ang="0">
                        <a:pos x="192" y="66"/>
                      </a:cxn>
                      <a:cxn ang="0">
                        <a:pos x="192" y="62"/>
                      </a:cxn>
                      <a:cxn ang="0">
                        <a:pos x="188" y="58"/>
                      </a:cxn>
                      <a:cxn ang="0">
                        <a:pos x="188" y="58"/>
                      </a:cxn>
                      <a:cxn ang="0">
                        <a:pos x="174" y="42"/>
                      </a:cxn>
                      <a:cxn ang="0">
                        <a:pos x="166" y="34"/>
                      </a:cxn>
                      <a:cxn ang="0">
                        <a:pos x="156" y="26"/>
                      </a:cxn>
                      <a:cxn ang="0">
                        <a:pos x="144" y="18"/>
                      </a:cxn>
                      <a:cxn ang="0">
                        <a:pos x="130" y="12"/>
                      </a:cxn>
                      <a:cxn ang="0">
                        <a:pos x="114" y="10"/>
                      </a:cxn>
                      <a:cxn ang="0">
                        <a:pos x="96" y="10"/>
                      </a:cxn>
                      <a:cxn ang="0">
                        <a:pos x="96" y="10"/>
                      </a:cxn>
                      <a:cxn ang="0">
                        <a:pos x="76" y="8"/>
                      </a:cxn>
                      <a:cxn ang="0">
                        <a:pos x="58" y="6"/>
                      </a:cxn>
                      <a:cxn ang="0">
                        <a:pos x="30" y="2"/>
                      </a:cxn>
                      <a:cxn ang="0">
                        <a:pos x="18" y="0"/>
                      </a:cxn>
                      <a:cxn ang="0">
                        <a:pos x="10" y="2"/>
                      </a:cxn>
                      <a:cxn ang="0">
                        <a:pos x="8" y="4"/>
                      </a:cxn>
                      <a:cxn ang="0">
                        <a:pos x="4" y="6"/>
                      </a:cxn>
                      <a:cxn ang="0">
                        <a:pos x="2" y="16"/>
                      </a:cxn>
                      <a:cxn ang="0">
                        <a:pos x="2" y="16"/>
                      </a:cxn>
                    </a:cxnLst>
                    <a:rect l="0" t="0" r="r" b="b"/>
                    <a:pathLst>
                      <a:path w="192" h="76">
                        <a:moveTo>
                          <a:pt x="2" y="16"/>
                        </a:moveTo>
                        <a:lnTo>
                          <a:pt x="2" y="16"/>
                        </a:lnTo>
                        <a:lnTo>
                          <a:pt x="0" y="24"/>
                        </a:lnTo>
                        <a:lnTo>
                          <a:pt x="2" y="30"/>
                        </a:lnTo>
                        <a:lnTo>
                          <a:pt x="6" y="34"/>
                        </a:lnTo>
                        <a:lnTo>
                          <a:pt x="18" y="38"/>
                        </a:lnTo>
                        <a:lnTo>
                          <a:pt x="18" y="38"/>
                        </a:lnTo>
                        <a:lnTo>
                          <a:pt x="22" y="42"/>
                        </a:lnTo>
                        <a:lnTo>
                          <a:pt x="26" y="46"/>
                        </a:lnTo>
                        <a:lnTo>
                          <a:pt x="26" y="52"/>
                        </a:lnTo>
                        <a:lnTo>
                          <a:pt x="28" y="56"/>
                        </a:lnTo>
                        <a:lnTo>
                          <a:pt x="30" y="62"/>
                        </a:lnTo>
                        <a:lnTo>
                          <a:pt x="36" y="66"/>
                        </a:lnTo>
                        <a:lnTo>
                          <a:pt x="46" y="72"/>
                        </a:lnTo>
                        <a:lnTo>
                          <a:pt x="46" y="72"/>
                        </a:lnTo>
                        <a:lnTo>
                          <a:pt x="56" y="76"/>
                        </a:lnTo>
                        <a:lnTo>
                          <a:pt x="66" y="76"/>
                        </a:lnTo>
                        <a:lnTo>
                          <a:pt x="72" y="76"/>
                        </a:lnTo>
                        <a:lnTo>
                          <a:pt x="80" y="74"/>
                        </a:lnTo>
                        <a:lnTo>
                          <a:pt x="94" y="68"/>
                        </a:lnTo>
                        <a:lnTo>
                          <a:pt x="104" y="66"/>
                        </a:lnTo>
                        <a:lnTo>
                          <a:pt x="118" y="68"/>
                        </a:lnTo>
                        <a:lnTo>
                          <a:pt x="118" y="68"/>
                        </a:lnTo>
                        <a:lnTo>
                          <a:pt x="148" y="70"/>
                        </a:lnTo>
                        <a:lnTo>
                          <a:pt x="176" y="72"/>
                        </a:lnTo>
                        <a:lnTo>
                          <a:pt x="184" y="70"/>
                        </a:lnTo>
                        <a:lnTo>
                          <a:pt x="192" y="68"/>
                        </a:lnTo>
                        <a:lnTo>
                          <a:pt x="192" y="66"/>
                        </a:lnTo>
                        <a:lnTo>
                          <a:pt x="192" y="62"/>
                        </a:lnTo>
                        <a:lnTo>
                          <a:pt x="188" y="58"/>
                        </a:lnTo>
                        <a:lnTo>
                          <a:pt x="188" y="58"/>
                        </a:lnTo>
                        <a:lnTo>
                          <a:pt x="174" y="42"/>
                        </a:lnTo>
                        <a:lnTo>
                          <a:pt x="166" y="34"/>
                        </a:lnTo>
                        <a:lnTo>
                          <a:pt x="156" y="26"/>
                        </a:lnTo>
                        <a:lnTo>
                          <a:pt x="144" y="18"/>
                        </a:lnTo>
                        <a:lnTo>
                          <a:pt x="130" y="12"/>
                        </a:lnTo>
                        <a:lnTo>
                          <a:pt x="114" y="10"/>
                        </a:lnTo>
                        <a:lnTo>
                          <a:pt x="96" y="10"/>
                        </a:lnTo>
                        <a:lnTo>
                          <a:pt x="96" y="10"/>
                        </a:lnTo>
                        <a:lnTo>
                          <a:pt x="76" y="8"/>
                        </a:lnTo>
                        <a:lnTo>
                          <a:pt x="58" y="6"/>
                        </a:lnTo>
                        <a:lnTo>
                          <a:pt x="30" y="2"/>
                        </a:lnTo>
                        <a:lnTo>
                          <a:pt x="18" y="0"/>
                        </a:lnTo>
                        <a:lnTo>
                          <a:pt x="10" y="2"/>
                        </a:lnTo>
                        <a:lnTo>
                          <a:pt x="8" y="4"/>
                        </a:lnTo>
                        <a:lnTo>
                          <a:pt x="4" y="6"/>
                        </a:lnTo>
                        <a:lnTo>
                          <a:pt x="2" y="16"/>
                        </a:lnTo>
                        <a:lnTo>
                          <a:pt x="2" y="1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1" name="Freeform 6108"/>
                  <p:cNvSpPr>
                    <a:spLocks/>
                  </p:cNvSpPr>
                  <p:nvPr/>
                </p:nvSpPr>
                <p:spPr bwMode="auto">
                  <a:xfrm>
                    <a:off x="1762760" y="1103313"/>
                    <a:ext cx="29210" cy="11430"/>
                  </a:xfrm>
                  <a:custGeom>
                    <a:avLst/>
                    <a:gdLst/>
                    <a:ahLst/>
                    <a:cxnLst>
                      <a:cxn ang="0">
                        <a:pos x="2" y="18"/>
                      </a:cxn>
                      <a:cxn ang="0">
                        <a:pos x="2" y="18"/>
                      </a:cxn>
                      <a:cxn ang="0">
                        <a:pos x="8" y="18"/>
                      </a:cxn>
                      <a:cxn ang="0">
                        <a:pos x="14" y="18"/>
                      </a:cxn>
                      <a:cxn ang="0">
                        <a:pos x="30" y="12"/>
                      </a:cxn>
                      <a:cxn ang="0">
                        <a:pos x="42" y="4"/>
                      </a:cxn>
                      <a:cxn ang="0">
                        <a:pos x="46" y="2"/>
                      </a:cxn>
                      <a:cxn ang="0">
                        <a:pos x="44" y="0"/>
                      </a:cxn>
                      <a:cxn ang="0">
                        <a:pos x="44" y="0"/>
                      </a:cxn>
                      <a:cxn ang="0">
                        <a:pos x="32" y="2"/>
                      </a:cxn>
                      <a:cxn ang="0">
                        <a:pos x="16" y="6"/>
                      </a:cxn>
                      <a:cxn ang="0">
                        <a:pos x="2" y="14"/>
                      </a:cxn>
                      <a:cxn ang="0">
                        <a:pos x="0" y="16"/>
                      </a:cxn>
                      <a:cxn ang="0">
                        <a:pos x="2" y="18"/>
                      </a:cxn>
                      <a:cxn ang="0">
                        <a:pos x="2" y="18"/>
                      </a:cxn>
                    </a:cxnLst>
                    <a:rect l="0" t="0" r="r" b="b"/>
                    <a:pathLst>
                      <a:path w="46" h="18">
                        <a:moveTo>
                          <a:pt x="2" y="18"/>
                        </a:moveTo>
                        <a:lnTo>
                          <a:pt x="2" y="18"/>
                        </a:lnTo>
                        <a:lnTo>
                          <a:pt x="8" y="18"/>
                        </a:lnTo>
                        <a:lnTo>
                          <a:pt x="14" y="18"/>
                        </a:lnTo>
                        <a:lnTo>
                          <a:pt x="30" y="12"/>
                        </a:lnTo>
                        <a:lnTo>
                          <a:pt x="42" y="4"/>
                        </a:lnTo>
                        <a:lnTo>
                          <a:pt x="46" y="2"/>
                        </a:lnTo>
                        <a:lnTo>
                          <a:pt x="44" y="0"/>
                        </a:lnTo>
                        <a:lnTo>
                          <a:pt x="44" y="0"/>
                        </a:lnTo>
                        <a:lnTo>
                          <a:pt x="32" y="2"/>
                        </a:lnTo>
                        <a:lnTo>
                          <a:pt x="16" y="6"/>
                        </a:lnTo>
                        <a:lnTo>
                          <a:pt x="2" y="14"/>
                        </a:lnTo>
                        <a:lnTo>
                          <a:pt x="0" y="16"/>
                        </a:lnTo>
                        <a:lnTo>
                          <a:pt x="2" y="18"/>
                        </a:lnTo>
                        <a:lnTo>
                          <a:pt x="2" y="1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2" name="Freeform 6109"/>
                  <p:cNvSpPr>
                    <a:spLocks/>
                  </p:cNvSpPr>
                  <p:nvPr/>
                </p:nvSpPr>
                <p:spPr bwMode="auto">
                  <a:xfrm>
                    <a:off x="1954530" y="1190943"/>
                    <a:ext cx="138430" cy="102870"/>
                  </a:xfrm>
                  <a:custGeom>
                    <a:avLst/>
                    <a:gdLst/>
                    <a:ahLst/>
                    <a:cxnLst>
                      <a:cxn ang="0">
                        <a:pos x="166" y="92"/>
                      </a:cxn>
                      <a:cxn ang="0">
                        <a:pos x="186" y="66"/>
                      </a:cxn>
                      <a:cxn ang="0">
                        <a:pos x="216" y="36"/>
                      </a:cxn>
                      <a:cxn ang="0">
                        <a:pos x="218" y="28"/>
                      </a:cxn>
                      <a:cxn ang="0">
                        <a:pos x="216" y="22"/>
                      </a:cxn>
                      <a:cxn ang="0">
                        <a:pos x="204" y="16"/>
                      </a:cxn>
                      <a:cxn ang="0">
                        <a:pos x="190" y="12"/>
                      </a:cxn>
                      <a:cxn ang="0">
                        <a:pos x="172" y="12"/>
                      </a:cxn>
                      <a:cxn ang="0">
                        <a:pos x="156" y="16"/>
                      </a:cxn>
                      <a:cxn ang="0">
                        <a:pos x="140" y="12"/>
                      </a:cxn>
                      <a:cxn ang="0">
                        <a:pos x="122" y="4"/>
                      </a:cxn>
                      <a:cxn ang="0">
                        <a:pos x="106" y="0"/>
                      </a:cxn>
                      <a:cxn ang="0">
                        <a:pos x="84" y="0"/>
                      </a:cxn>
                      <a:cxn ang="0">
                        <a:pos x="48" y="6"/>
                      </a:cxn>
                      <a:cxn ang="0">
                        <a:pos x="20" y="16"/>
                      </a:cxn>
                      <a:cxn ang="0">
                        <a:pos x="16" y="24"/>
                      </a:cxn>
                      <a:cxn ang="0">
                        <a:pos x="22" y="30"/>
                      </a:cxn>
                      <a:cxn ang="0">
                        <a:pos x="18" y="32"/>
                      </a:cxn>
                      <a:cxn ang="0">
                        <a:pos x="6" y="32"/>
                      </a:cxn>
                      <a:cxn ang="0">
                        <a:pos x="0" y="48"/>
                      </a:cxn>
                      <a:cxn ang="0">
                        <a:pos x="0" y="74"/>
                      </a:cxn>
                      <a:cxn ang="0">
                        <a:pos x="2" y="98"/>
                      </a:cxn>
                      <a:cxn ang="0">
                        <a:pos x="10" y="114"/>
                      </a:cxn>
                      <a:cxn ang="0">
                        <a:pos x="20" y="134"/>
                      </a:cxn>
                      <a:cxn ang="0">
                        <a:pos x="20" y="142"/>
                      </a:cxn>
                      <a:cxn ang="0">
                        <a:pos x="22" y="154"/>
                      </a:cxn>
                      <a:cxn ang="0">
                        <a:pos x="30" y="156"/>
                      </a:cxn>
                      <a:cxn ang="0">
                        <a:pos x="54" y="156"/>
                      </a:cxn>
                      <a:cxn ang="0">
                        <a:pos x="62" y="160"/>
                      </a:cxn>
                      <a:cxn ang="0">
                        <a:pos x="70" y="160"/>
                      </a:cxn>
                      <a:cxn ang="0">
                        <a:pos x="76" y="146"/>
                      </a:cxn>
                      <a:cxn ang="0">
                        <a:pos x="82" y="138"/>
                      </a:cxn>
                      <a:cxn ang="0">
                        <a:pos x="90" y="132"/>
                      </a:cxn>
                      <a:cxn ang="0">
                        <a:pos x="90" y="122"/>
                      </a:cxn>
                      <a:cxn ang="0">
                        <a:pos x="86" y="114"/>
                      </a:cxn>
                      <a:cxn ang="0">
                        <a:pos x="84" y="106"/>
                      </a:cxn>
                      <a:cxn ang="0">
                        <a:pos x="88" y="104"/>
                      </a:cxn>
                      <a:cxn ang="0">
                        <a:pos x="112" y="106"/>
                      </a:cxn>
                      <a:cxn ang="0">
                        <a:pos x="142" y="106"/>
                      </a:cxn>
                      <a:cxn ang="0">
                        <a:pos x="156" y="102"/>
                      </a:cxn>
                      <a:cxn ang="0">
                        <a:pos x="166" y="92"/>
                      </a:cxn>
                    </a:cxnLst>
                    <a:rect l="0" t="0" r="r" b="b"/>
                    <a:pathLst>
                      <a:path w="218" h="162">
                        <a:moveTo>
                          <a:pt x="166" y="92"/>
                        </a:moveTo>
                        <a:lnTo>
                          <a:pt x="166" y="92"/>
                        </a:lnTo>
                        <a:lnTo>
                          <a:pt x="176" y="80"/>
                        </a:lnTo>
                        <a:lnTo>
                          <a:pt x="186" y="66"/>
                        </a:lnTo>
                        <a:lnTo>
                          <a:pt x="208" y="46"/>
                        </a:lnTo>
                        <a:lnTo>
                          <a:pt x="216" y="36"/>
                        </a:lnTo>
                        <a:lnTo>
                          <a:pt x="218" y="32"/>
                        </a:lnTo>
                        <a:lnTo>
                          <a:pt x="218" y="28"/>
                        </a:lnTo>
                        <a:lnTo>
                          <a:pt x="218" y="24"/>
                        </a:lnTo>
                        <a:lnTo>
                          <a:pt x="216" y="22"/>
                        </a:lnTo>
                        <a:lnTo>
                          <a:pt x="210" y="18"/>
                        </a:lnTo>
                        <a:lnTo>
                          <a:pt x="204" y="16"/>
                        </a:lnTo>
                        <a:lnTo>
                          <a:pt x="204" y="16"/>
                        </a:lnTo>
                        <a:lnTo>
                          <a:pt x="190" y="12"/>
                        </a:lnTo>
                        <a:lnTo>
                          <a:pt x="180" y="12"/>
                        </a:lnTo>
                        <a:lnTo>
                          <a:pt x="172" y="12"/>
                        </a:lnTo>
                        <a:lnTo>
                          <a:pt x="166" y="14"/>
                        </a:lnTo>
                        <a:lnTo>
                          <a:pt x="156" y="16"/>
                        </a:lnTo>
                        <a:lnTo>
                          <a:pt x="148" y="16"/>
                        </a:lnTo>
                        <a:lnTo>
                          <a:pt x="140" y="12"/>
                        </a:lnTo>
                        <a:lnTo>
                          <a:pt x="140" y="12"/>
                        </a:lnTo>
                        <a:lnTo>
                          <a:pt x="122" y="4"/>
                        </a:lnTo>
                        <a:lnTo>
                          <a:pt x="114" y="2"/>
                        </a:lnTo>
                        <a:lnTo>
                          <a:pt x="106" y="0"/>
                        </a:lnTo>
                        <a:lnTo>
                          <a:pt x="96" y="0"/>
                        </a:lnTo>
                        <a:lnTo>
                          <a:pt x="84" y="0"/>
                        </a:lnTo>
                        <a:lnTo>
                          <a:pt x="48" y="6"/>
                        </a:lnTo>
                        <a:lnTo>
                          <a:pt x="48" y="6"/>
                        </a:lnTo>
                        <a:lnTo>
                          <a:pt x="30" y="10"/>
                        </a:lnTo>
                        <a:lnTo>
                          <a:pt x="20" y="16"/>
                        </a:lnTo>
                        <a:lnTo>
                          <a:pt x="16" y="20"/>
                        </a:lnTo>
                        <a:lnTo>
                          <a:pt x="16" y="24"/>
                        </a:lnTo>
                        <a:lnTo>
                          <a:pt x="22" y="30"/>
                        </a:lnTo>
                        <a:lnTo>
                          <a:pt x="22" y="30"/>
                        </a:lnTo>
                        <a:lnTo>
                          <a:pt x="18" y="32"/>
                        </a:lnTo>
                        <a:lnTo>
                          <a:pt x="18" y="32"/>
                        </a:lnTo>
                        <a:lnTo>
                          <a:pt x="8" y="30"/>
                        </a:lnTo>
                        <a:lnTo>
                          <a:pt x="6" y="32"/>
                        </a:lnTo>
                        <a:lnTo>
                          <a:pt x="4" y="36"/>
                        </a:lnTo>
                        <a:lnTo>
                          <a:pt x="0" y="48"/>
                        </a:lnTo>
                        <a:lnTo>
                          <a:pt x="0" y="74"/>
                        </a:lnTo>
                        <a:lnTo>
                          <a:pt x="0" y="74"/>
                        </a:lnTo>
                        <a:lnTo>
                          <a:pt x="0" y="88"/>
                        </a:lnTo>
                        <a:lnTo>
                          <a:pt x="2" y="98"/>
                        </a:lnTo>
                        <a:lnTo>
                          <a:pt x="6" y="108"/>
                        </a:lnTo>
                        <a:lnTo>
                          <a:pt x="10" y="114"/>
                        </a:lnTo>
                        <a:lnTo>
                          <a:pt x="18" y="126"/>
                        </a:lnTo>
                        <a:lnTo>
                          <a:pt x="20" y="134"/>
                        </a:lnTo>
                        <a:lnTo>
                          <a:pt x="20" y="142"/>
                        </a:lnTo>
                        <a:lnTo>
                          <a:pt x="20" y="142"/>
                        </a:lnTo>
                        <a:lnTo>
                          <a:pt x="20" y="150"/>
                        </a:lnTo>
                        <a:lnTo>
                          <a:pt x="22" y="154"/>
                        </a:lnTo>
                        <a:lnTo>
                          <a:pt x="26" y="156"/>
                        </a:lnTo>
                        <a:lnTo>
                          <a:pt x="30" y="156"/>
                        </a:lnTo>
                        <a:lnTo>
                          <a:pt x="46" y="156"/>
                        </a:lnTo>
                        <a:lnTo>
                          <a:pt x="54" y="156"/>
                        </a:lnTo>
                        <a:lnTo>
                          <a:pt x="62" y="160"/>
                        </a:lnTo>
                        <a:lnTo>
                          <a:pt x="62" y="160"/>
                        </a:lnTo>
                        <a:lnTo>
                          <a:pt x="68" y="162"/>
                        </a:lnTo>
                        <a:lnTo>
                          <a:pt x="70" y="160"/>
                        </a:lnTo>
                        <a:lnTo>
                          <a:pt x="76" y="146"/>
                        </a:lnTo>
                        <a:lnTo>
                          <a:pt x="76" y="146"/>
                        </a:lnTo>
                        <a:lnTo>
                          <a:pt x="78" y="140"/>
                        </a:lnTo>
                        <a:lnTo>
                          <a:pt x="82" y="138"/>
                        </a:lnTo>
                        <a:lnTo>
                          <a:pt x="88" y="134"/>
                        </a:lnTo>
                        <a:lnTo>
                          <a:pt x="90" y="132"/>
                        </a:lnTo>
                        <a:lnTo>
                          <a:pt x="90" y="128"/>
                        </a:lnTo>
                        <a:lnTo>
                          <a:pt x="90" y="122"/>
                        </a:lnTo>
                        <a:lnTo>
                          <a:pt x="86" y="114"/>
                        </a:lnTo>
                        <a:lnTo>
                          <a:pt x="86" y="114"/>
                        </a:lnTo>
                        <a:lnTo>
                          <a:pt x="84" y="110"/>
                        </a:lnTo>
                        <a:lnTo>
                          <a:pt x="84" y="106"/>
                        </a:lnTo>
                        <a:lnTo>
                          <a:pt x="86" y="104"/>
                        </a:lnTo>
                        <a:lnTo>
                          <a:pt x="88" y="104"/>
                        </a:lnTo>
                        <a:lnTo>
                          <a:pt x="98" y="104"/>
                        </a:lnTo>
                        <a:lnTo>
                          <a:pt x="112" y="106"/>
                        </a:lnTo>
                        <a:lnTo>
                          <a:pt x="128" y="108"/>
                        </a:lnTo>
                        <a:lnTo>
                          <a:pt x="142" y="106"/>
                        </a:lnTo>
                        <a:lnTo>
                          <a:pt x="150" y="106"/>
                        </a:lnTo>
                        <a:lnTo>
                          <a:pt x="156" y="102"/>
                        </a:lnTo>
                        <a:lnTo>
                          <a:pt x="162" y="98"/>
                        </a:lnTo>
                        <a:lnTo>
                          <a:pt x="166" y="92"/>
                        </a:lnTo>
                        <a:lnTo>
                          <a:pt x="166" y="9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3" name="Freeform 6110"/>
                  <p:cNvSpPr>
                    <a:spLocks/>
                  </p:cNvSpPr>
                  <p:nvPr/>
                </p:nvSpPr>
                <p:spPr bwMode="auto">
                  <a:xfrm>
                    <a:off x="2172970" y="1573213"/>
                    <a:ext cx="176530" cy="121920"/>
                  </a:xfrm>
                  <a:custGeom>
                    <a:avLst/>
                    <a:gdLst/>
                    <a:ahLst/>
                    <a:cxnLst>
                      <a:cxn ang="0">
                        <a:pos x="272" y="132"/>
                      </a:cxn>
                      <a:cxn ang="0">
                        <a:pos x="258" y="122"/>
                      </a:cxn>
                      <a:cxn ang="0">
                        <a:pos x="250" y="126"/>
                      </a:cxn>
                      <a:cxn ang="0">
                        <a:pos x="236" y="124"/>
                      </a:cxn>
                      <a:cxn ang="0">
                        <a:pos x="228" y="120"/>
                      </a:cxn>
                      <a:cxn ang="0">
                        <a:pos x="220" y="102"/>
                      </a:cxn>
                      <a:cxn ang="0">
                        <a:pos x="212" y="88"/>
                      </a:cxn>
                      <a:cxn ang="0">
                        <a:pos x="192" y="78"/>
                      </a:cxn>
                      <a:cxn ang="0">
                        <a:pos x="178" y="72"/>
                      </a:cxn>
                      <a:cxn ang="0">
                        <a:pos x="140" y="46"/>
                      </a:cxn>
                      <a:cxn ang="0">
                        <a:pos x="122" y="34"/>
                      </a:cxn>
                      <a:cxn ang="0">
                        <a:pos x="110" y="34"/>
                      </a:cxn>
                      <a:cxn ang="0">
                        <a:pos x="106" y="36"/>
                      </a:cxn>
                      <a:cxn ang="0">
                        <a:pos x="100" y="40"/>
                      </a:cxn>
                      <a:cxn ang="0">
                        <a:pos x="96" y="38"/>
                      </a:cxn>
                      <a:cxn ang="0">
                        <a:pos x="86" y="24"/>
                      </a:cxn>
                      <a:cxn ang="0">
                        <a:pos x="76" y="8"/>
                      </a:cxn>
                      <a:cxn ang="0">
                        <a:pos x="66" y="0"/>
                      </a:cxn>
                      <a:cxn ang="0">
                        <a:pos x="62" y="2"/>
                      </a:cxn>
                      <a:cxn ang="0">
                        <a:pos x="54" y="6"/>
                      </a:cxn>
                      <a:cxn ang="0">
                        <a:pos x="42" y="26"/>
                      </a:cxn>
                      <a:cxn ang="0">
                        <a:pos x="36" y="58"/>
                      </a:cxn>
                      <a:cxn ang="0">
                        <a:pos x="34" y="90"/>
                      </a:cxn>
                      <a:cxn ang="0">
                        <a:pos x="38" y="106"/>
                      </a:cxn>
                      <a:cxn ang="0">
                        <a:pos x="38" y="116"/>
                      </a:cxn>
                      <a:cxn ang="0">
                        <a:pos x="34" y="124"/>
                      </a:cxn>
                      <a:cxn ang="0">
                        <a:pos x="18" y="134"/>
                      </a:cxn>
                      <a:cxn ang="0">
                        <a:pos x="4" y="142"/>
                      </a:cxn>
                      <a:cxn ang="0">
                        <a:pos x="0" y="150"/>
                      </a:cxn>
                      <a:cxn ang="0">
                        <a:pos x="4" y="158"/>
                      </a:cxn>
                      <a:cxn ang="0">
                        <a:pos x="4" y="160"/>
                      </a:cxn>
                      <a:cxn ang="0">
                        <a:pos x="16" y="162"/>
                      </a:cxn>
                      <a:cxn ang="0">
                        <a:pos x="50" y="156"/>
                      </a:cxn>
                      <a:cxn ang="0">
                        <a:pos x="64" y="156"/>
                      </a:cxn>
                      <a:cxn ang="0">
                        <a:pos x="66" y="162"/>
                      </a:cxn>
                      <a:cxn ang="0">
                        <a:pos x="66" y="166"/>
                      </a:cxn>
                      <a:cxn ang="0">
                        <a:pos x="70" y="182"/>
                      </a:cxn>
                      <a:cxn ang="0">
                        <a:pos x="82" y="190"/>
                      </a:cxn>
                      <a:cxn ang="0">
                        <a:pos x="96" y="190"/>
                      </a:cxn>
                      <a:cxn ang="0">
                        <a:pos x="110" y="176"/>
                      </a:cxn>
                      <a:cxn ang="0">
                        <a:pos x="114" y="166"/>
                      </a:cxn>
                      <a:cxn ang="0">
                        <a:pos x="124" y="160"/>
                      </a:cxn>
                      <a:cxn ang="0">
                        <a:pos x="134" y="158"/>
                      </a:cxn>
                      <a:cxn ang="0">
                        <a:pos x="142" y="150"/>
                      </a:cxn>
                      <a:cxn ang="0">
                        <a:pos x="144" y="142"/>
                      </a:cxn>
                      <a:cxn ang="0">
                        <a:pos x="154" y="128"/>
                      </a:cxn>
                      <a:cxn ang="0">
                        <a:pos x="170" y="124"/>
                      </a:cxn>
                      <a:cxn ang="0">
                        <a:pos x="184" y="130"/>
                      </a:cxn>
                      <a:cxn ang="0">
                        <a:pos x="192" y="142"/>
                      </a:cxn>
                      <a:cxn ang="0">
                        <a:pos x="194" y="148"/>
                      </a:cxn>
                      <a:cxn ang="0">
                        <a:pos x="198" y="154"/>
                      </a:cxn>
                      <a:cxn ang="0">
                        <a:pos x="214" y="156"/>
                      </a:cxn>
                      <a:cxn ang="0">
                        <a:pos x="232" y="160"/>
                      </a:cxn>
                      <a:cxn ang="0">
                        <a:pos x="254" y="162"/>
                      </a:cxn>
                      <a:cxn ang="0">
                        <a:pos x="272" y="158"/>
                      </a:cxn>
                      <a:cxn ang="0">
                        <a:pos x="278" y="148"/>
                      </a:cxn>
                      <a:cxn ang="0">
                        <a:pos x="272" y="132"/>
                      </a:cxn>
                    </a:cxnLst>
                    <a:rect l="0" t="0" r="r" b="b"/>
                    <a:pathLst>
                      <a:path w="278" h="192">
                        <a:moveTo>
                          <a:pt x="272" y="132"/>
                        </a:moveTo>
                        <a:lnTo>
                          <a:pt x="272" y="132"/>
                        </a:lnTo>
                        <a:lnTo>
                          <a:pt x="262" y="122"/>
                        </a:lnTo>
                        <a:lnTo>
                          <a:pt x="258" y="122"/>
                        </a:lnTo>
                        <a:lnTo>
                          <a:pt x="256" y="122"/>
                        </a:lnTo>
                        <a:lnTo>
                          <a:pt x="250" y="126"/>
                        </a:lnTo>
                        <a:lnTo>
                          <a:pt x="244" y="126"/>
                        </a:lnTo>
                        <a:lnTo>
                          <a:pt x="236" y="124"/>
                        </a:lnTo>
                        <a:lnTo>
                          <a:pt x="236" y="124"/>
                        </a:lnTo>
                        <a:lnTo>
                          <a:pt x="228" y="120"/>
                        </a:lnTo>
                        <a:lnTo>
                          <a:pt x="224" y="114"/>
                        </a:lnTo>
                        <a:lnTo>
                          <a:pt x="220" y="102"/>
                        </a:lnTo>
                        <a:lnTo>
                          <a:pt x="218" y="96"/>
                        </a:lnTo>
                        <a:lnTo>
                          <a:pt x="212" y="88"/>
                        </a:lnTo>
                        <a:lnTo>
                          <a:pt x="204" y="82"/>
                        </a:lnTo>
                        <a:lnTo>
                          <a:pt x="192" y="78"/>
                        </a:lnTo>
                        <a:lnTo>
                          <a:pt x="192" y="78"/>
                        </a:lnTo>
                        <a:lnTo>
                          <a:pt x="178" y="72"/>
                        </a:lnTo>
                        <a:lnTo>
                          <a:pt x="164" y="64"/>
                        </a:lnTo>
                        <a:lnTo>
                          <a:pt x="140" y="46"/>
                        </a:lnTo>
                        <a:lnTo>
                          <a:pt x="130" y="38"/>
                        </a:lnTo>
                        <a:lnTo>
                          <a:pt x="122" y="34"/>
                        </a:lnTo>
                        <a:lnTo>
                          <a:pt x="114" y="32"/>
                        </a:lnTo>
                        <a:lnTo>
                          <a:pt x="110" y="34"/>
                        </a:lnTo>
                        <a:lnTo>
                          <a:pt x="106" y="36"/>
                        </a:lnTo>
                        <a:lnTo>
                          <a:pt x="106" y="36"/>
                        </a:lnTo>
                        <a:lnTo>
                          <a:pt x="104" y="38"/>
                        </a:lnTo>
                        <a:lnTo>
                          <a:pt x="100" y="40"/>
                        </a:lnTo>
                        <a:lnTo>
                          <a:pt x="98" y="40"/>
                        </a:lnTo>
                        <a:lnTo>
                          <a:pt x="96" y="38"/>
                        </a:lnTo>
                        <a:lnTo>
                          <a:pt x="90" y="32"/>
                        </a:lnTo>
                        <a:lnTo>
                          <a:pt x="86" y="24"/>
                        </a:lnTo>
                        <a:lnTo>
                          <a:pt x="82" y="14"/>
                        </a:lnTo>
                        <a:lnTo>
                          <a:pt x="76" y="8"/>
                        </a:lnTo>
                        <a:lnTo>
                          <a:pt x="70" y="2"/>
                        </a:lnTo>
                        <a:lnTo>
                          <a:pt x="66" y="0"/>
                        </a:lnTo>
                        <a:lnTo>
                          <a:pt x="62" y="2"/>
                        </a:lnTo>
                        <a:lnTo>
                          <a:pt x="62" y="2"/>
                        </a:lnTo>
                        <a:lnTo>
                          <a:pt x="58" y="2"/>
                        </a:lnTo>
                        <a:lnTo>
                          <a:pt x="54" y="6"/>
                        </a:lnTo>
                        <a:lnTo>
                          <a:pt x="48" y="14"/>
                        </a:lnTo>
                        <a:lnTo>
                          <a:pt x="42" y="26"/>
                        </a:lnTo>
                        <a:lnTo>
                          <a:pt x="38" y="42"/>
                        </a:lnTo>
                        <a:lnTo>
                          <a:pt x="36" y="58"/>
                        </a:lnTo>
                        <a:lnTo>
                          <a:pt x="34" y="74"/>
                        </a:lnTo>
                        <a:lnTo>
                          <a:pt x="34" y="90"/>
                        </a:lnTo>
                        <a:lnTo>
                          <a:pt x="38" y="106"/>
                        </a:lnTo>
                        <a:lnTo>
                          <a:pt x="38" y="106"/>
                        </a:lnTo>
                        <a:lnTo>
                          <a:pt x="38" y="112"/>
                        </a:lnTo>
                        <a:lnTo>
                          <a:pt x="38" y="116"/>
                        </a:lnTo>
                        <a:lnTo>
                          <a:pt x="36" y="122"/>
                        </a:lnTo>
                        <a:lnTo>
                          <a:pt x="34" y="124"/>
                        </a:lnTo>
                        <a:lnTo>
                          <a:pt x="26" y="130"/>
                        </a:lnTo>
                        <a:lnTo>
                          <a:pt x="18" y="134"/>
                        </a:lnTo>
                        <a:lnTo>
                          <a:pt x="10" y="138"/>
                        </a:lnTo>
                        <a:lnTo>
                          <a:pt x="4" y="142"/>
                        </a:lnTo>
                        <a:lnTo>
                          <a:pt x="2" y="146"/>
                        </a:lnTo>
                        <a:lnTo>
                          <a:pt x="0" y="150"/>
                        </a:lnTo>
                        <a:lnTo>
                          <a:pt x="2" y="154"/>
                        </a:lnTo>
                        <a:lnTo>
                          <a:pt x="4" y="158"/>
                        </a:lnTo>
                        <a:lnTo>
                          <a:pt x="4" y="158"/>
                        </a:lnTo>
                        <a:lnTo>
                          <a:pt x="4" y="160"/>
                        </a:lnTo>
                        <a:lnTo>
                          <a:pt x="8" y="162"/>
                        </a:lnTo>
                        <a:lnTo>
                          <a:pt x="16" y="162"/>
                        </a:lnTo>
                        <a:lnTo>
                          <a:pt x="38" y="158"/>
                        </a:lnTo>
                        <a:lnTo>
                          <a:pt x="50" y="156"/>
                        </a:lnTo>
                        <a:lnTo>
                          <a:pt x="60" y="156"/>
                        </a:lnTo>
                        <a:lnTo>
                          <a:pt x="64" y="156"/>
                        </a:lnTo>
                        <a:lnTo>
                          <a:pt x="66" y="158"/>
                        </a:lnTo>
                        <a:lnTo>
                          <a:pt x="66" y="162"/>
                        </a:lnTo>
                        <a:lnTo>
                          <a:pt x="66" y="166"/>
                        </a:lnTo>
                        <a:lnTo>
                          <a:pt x="66" y="166"/>
                        </a:lnTo>
                        <a:lnTo>
                          <a:pt x="66" y="174"/>
                        </a:lnTo>
                        <a:lnTo>
                          <a:pt x="70" y="182"/>
                        </a:lnTo>
                        <a:lnTo>
                          <a:pt x="74" y="188"/>
                        </a:lnTo>
                        <a:lnTo>
                          <a:pt x="82" y="190"/>
                        </a:lnTo>
                        <a:lnTo>
                          <a:pt x="88" y="192"/>
                        </a:lnTo>
                        <a:lnTo>
                          <a:pt x="96" y="190"/>
                        </a:lnTo>
                        <a:lnTo>
                          <a:pt x="104" y="184"/>
                        </a:lnTo>
                        <a:lnTo>
                          <a:pt x="110" y="176"/>
                        </a:lnTo>
                        <a:lnTo>
                          <a:pt x="110" y="176"/>
                        </a:lnTo>
                        <a:lnTo>
                          <a:pt x="114" y="166"/>
                        </a:lnTo>
                        <a:lnTo>
                          <a:pt x="120" y="162"/>
                        </a:lnTo>
                        <a:lnTo>
                          <a:pt x="124" y="160"/>
                        </a:lnTo>
                        <a:lnTo>
                          <a:pt x="130" y="158"/>
                        </a:lnTo>
                        <a:lnTo>
                          <a:pt x="134" y="158"/>
                        </a:lnTo>
                        <a:lnTo>
                          <a:pt x="138" y="156"/>
                        </a:lnTo>
                        <a:lnTo>
                          <a:pt x="142" y="150"/>
                        </a:lnTo>
                        <a:lnTo>
                          <a:pt x="144" y="142"/>
                        </a:lnTo>
                        <a:lnTo>
                          <a:pt x="144" y="142"/>
                        </a:lnTo>
                        <a:lnTo>
                          <a:pt x="148" y="134"/>
                        </a:lnTo>
                        <a:lnTo>
                          <a:pt x="154" y="128"/>
                        </a:lnTo>
                        <a:lnTo>
                          <a:pt x="162" y="124"/>
                        </a:lnTo>
                        <a:lnTo>
                          <a:pt x="170" y="124"/>
                        </a:lnTo>
                        <a:lnTo>
                          <a:pt x="178" y="126"/>
                        </a:lnTo>
                        <a:lnTo>
                          <a:pt x="184" y="130"/>
                        </a:lnTo>
                        <a:lnTo>
                          <a:pt x="190" y="136"/>
                        </a:lnTo>
                        <a:lnTo>
                          <a:pt x="192" y="142"/>
                        </a:lnTo>
                        <a:lnTo>
                          <a:pt x="192" y="142"/>
                        </a:lnTo>
                        <a:lnTo>
                          <a:pt x="194" y="148"/>
                        </a:lnTo>
                        <a:lnTo>
                          <a:pt x="196" y="152"/>
                        </a:lnTo>
                        <a:lnTo>
                          <a:pt x="198" y="154"/>
                        </a:lnTo>
                        <a:lnTo>
                          <a:pt x="202" y="156"/>
                        </a:lnTo>
                        <a:lnTo>
                          <a:pt x="214" y="156"/>
                        </a:lnTo>
                        <a:lnTo>
                          <a:pt x="232" y="160"/>
                        </a:lnTo>
                        <a:lnTo>
                          <a:pt x="232" y="160"/>
                        </a:lnTo>
                        <a:lnTo>
                          <a:pt x="244" y="162"/>
                        </a:lnTo>
                        <a:lnTo>
                          <a:pt x="254" y="162"/>
                        </a:lnTo>
                        <a:lnTo>
                          <a:pt x="264" y="160"/>
                        </a:lnTo>
                        <a:lnTo>
                          <a:pt x="272" y="158"/>
                        </a:lnTo>
                        <a:lnTo>
                          <a:pt x="276" y="154"/>
                        </a:lnTo>
                        <a:lnTo>
                          <a:pt x="278" y="148"/>
                        </a:lnTo>
                        <a:lnTo>
                          <a:pt x="278" y="140"/>
                        </a:lnTo>
                        <a:lnTo>
                          <a:pt x="272" y="132"/>
                        </a:lnTo>
                        <a:lnTo>
                          <a:pt x="272" y="13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4" name="Freeform 6111"/>
                  <p:cNvSpPr>
                    <a:spLocks/>
                  </p:cNvSpPr>
                  <p:nvPr/>
                </p:nvSpPr>
                <p:spPr bwMode="auto">
                  <a:xfrm>
                    <a:off x="2178050" y="1465263"/>
                    <a:ext cx="15240" cy="24130"/>
                  </a:xfrm>
                  <a:custGeom>
                    <a:avLst/>
                    <a:gdLst/>
                    <a:ahLst/>
                    <a:cxnLst>
                      <a:cxn ang="0">
                        <a:pos x="4" y="28"/>
                      </a:cxn>
                      <a:cxn ang="0">
                        <a:pos x="4" y="28"/>
                      </a:cxn>
                      <a:cxn ang="0">
                        <a:pos x="12" y="36"/>
                      </a:cxn>
                      <a:cxn ang="0">
                        <a:pos x="16" y="38"/>
                      </a:cxn>
                      <a:cxn ang="0">
                        <a:pos x="18" y="38"/>
                      </a:cxn>
                      <a:cxn ang="0">
                        <a:pos x="22" y="36"/>
                      </a:cxn>
                      <a:cxn ang="0">
                        <a:pos x="24" y="30"/>
                      </a:cxn>
                      <a:cxn ang="0">
                        <a:pos x="24" y="12"/>
                      </a:cxn>
                      <a:cxn ang="0">
                        <a:pos x="20" y="0"/>
                      </a:cxn>
                      <a:cxn ang="0">
                        <a:pos x="20" y="0"/>
                      </a:cxn>
                      <a:cxn ang="0">
                        <a:pos x="18" y="0"/>
                      </a:cxn>
                      <a:cxn ang="0">
                        <a:pos x="14" y="0"/>
                      </a:cxn>
                      <a:cxn ang="0">
                        <a:pos x="10" y="2"/>
                      </a:cxn>
                      <a:cxn ang="0">
                        <a:pos x="6" y="6"/>
                      </a:cxn>
                      <a:cxn ang="0">
                        <a:pos x="2" y="10"/>
                      </a:cxn>
                      <a:cxn ang="0">
                        <a:pos x="0" y="16"/>
                      </a:cxn>
                      <a:cxn ang="0">
                        <a:pos x="0" y="22"/>
                      </a:cxn>
                      <a:cxn ang="0">
                        <a:pos x="4" y="28"/>
                      </a:cxn>
                      <a:cxn ang="0">
                        <a:pos x="4" y="28"/>
                      </a:cxn>
                    </a:cxnLst>
                    <a:rect l="0" t="0" r="r" b="b"/>
                    <a:pathLst>
                      <a:path w="24" h="38">
                        <a:moveTo>
                          <a:pt x="4" y="28"/>
                        </a:moveTo>
                        <a:lnTo>
                          <a:pt x="4" y="28"/>
                        </a:lnTo>
                        <a:lnTo>
                          <a:pt x="12" y="36"/>
                        </a:lnTo>
                        <a:lnTo>
                          <a:pt x="16" y="38"/>
                        </a:lnTo>
                        <a:lnTo>
                          <a:pt x="18" y="38"/>
                        </a:lnTo>
                        <a:lnTo>
                          <a:pt x="22" y="36"/>
                        </a:lnTo>
                        <a:lnTo>
                          <a:pt x="24" y="30"/>
                        </a:lnTo>
                        <a:lnTo>
                          <a:pt x="24" y="12"/>
                        </a:lnTo>
                        <a:lnTo>
                          <a:pt x="20" y="0"/>
                        </a:lnTo>
                        <a:lnTo>
                          <a:pt x="20" y="0"/>
                        </a:lnTo>
                        <a:lnTo>
                          <a:pt x="18" y="0"/>
                        </a:lnTo>
                        <a:lnTo>
                          <a:pt x="14" y="0"/>
                        </a:lnTo>
                        <a:lnTo>
                          <a:pt x="10" y="2"/>
                        </a:lnTo>
                        <a:lnTo>
                          <a:pt x="6" y="6"/>
                        </a:lnTo>
                        <a:lnTo>
                          <a:pt x="2" y="10"/>
                        </a:lnTo>
                        <a:lnTo>
                          <a:pt x="0" y="16"/>
                        </a:lnTo>
                        <a:lnTo>
                          <a:pt x="0" y="22"/>
                        </a:lnTo>
                        <a:lnTo>
                          <a:pt x="4" y="28"/>
                        </a:lnTo>
                        <a:lnTo>
                          <a:pt x="4" y="2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5" name="Freeform 6112"/>
                  <p:cNvSpPr>
                    <a:spLocks/>
                  </p:cNvSpPr>
                  <p:nvPr/>
                </p:nvSpPr>
                <p:spPr bwMode="auto">
                  <a:xfrm>
                    <a:off x="2258060" y="1697673"/>
                    <a:ext cx="52070" cy="36830"/>
                  </a:xfrm>
                  <a:custGeom>
                    <a:avLst/>
                    <a:gdLst/>
                    <a:ahLst/>
                    <a:cxnLst>
                      <a:cxn ang="0">
                        <a:pos x="78" y="4"/>
                      </a:cxn>
                      <a:cxn ang="0">
                        <a:pos x="78" y="4"/>
                      </a:cxn>
                      <a:cxn ang="0">
                        <a:pos x="72" y="2"/>
                      </a:cxn>
                      <a:cxn ang="0">
                        <a:pos x="68" y="0"/>
                      </a:cxn>
                      <a:cxn ang="0">
                        <a:pos x="54" y="2"/>
                      </a:cxn>
                      <a:cxn ang="0">
                        <a:pos x="38" y="6"/>
                      </a:cxn>
                      <a:cxn ang="0">
                        <a:pos x="24" y="14"/>
                      </a:cxn>
                      <a:cxn ang="0">
                        <a:pos x="12" y="22"/>
                      </a:cxn>
                      <a:cxn ang="0">
                        <a:pos x="4" y="32"/>
                      </a:cxn>
                      <a:cxn ang="0">
                        <a:pos x="0" y="38"/>
                      </a:cxn>
                      <a:cxn ang="0">
                        <a:pos x="0" y="42"/>
                      </a:cxn>
                      <a:cxn ang="0">
                        <a:pos x="2" y="48"/>
                      </a:cxn>
                      <a:cxn ang="0">
                        <a:pos x="6" y="52"/>
                      </a:cxn>
                      <a:cxn ang="0">
                        <a:pos x="6" y="52"/>
                      </a:cxn>
                      <a:cxn ang="0">
                        <a:pos x="10" y="56"/>
                      </a:cxn>
                      <a:cxn ang="0">
                        <a:pos x="16" y="58"/>
                      </a:cxn>
                      <a:cxn ang="0">
                        <a:pos x="22" y="58"/>
                      </a:cxn>
                      <a:cxn ang="0">
                        <a:pos x="28" y="56"/>
                      </a:cxn>
                      <a:cxn ang="0">
                        <a:pos x="42" y="50"/>
                      </a:cxn>
                      <a:cxn ang="0">
                        <a:pos x="58" y="42"/>
                      </a:cxn>
                      <a:cxn ang="0">
                        <a:pos x="70" y="32"/>
                      </a:cxn>
                      <a:cxn ang="0">
                        <a:pos x="78" y="20"/>
                      </a:cxn>
                      <a:cxn ang="0">
                        <a:pos x="80" y="16"/>
                      </a:cxn>
                      <a:cxn ang="0">
                        <a:pos x="82" y="10"/>
                      </a:cxn>
                      <a:cxn ang="0">
                        <a:pos x="80" y="6"/>
                      </a:cxn>
                      <a:cxn ang="0">
                        <a:pos x="78" y="4"/>
                      </a:cxn>
                      <a:cxn ang="0">
                        <a:pos x="78" y="4"/>
                      </a:cxn>
                    </a:cxnLst>
                    <a:rect l="0" t="0" r="r" b="b"/>
                    <a:pathLst>
                      <a:path w="82" h="58">
                        <a:moveTo>
                          <a:pt x="78" y="4"/>
                        </a:moveTo>
                        <a:lnTo>
                          <a:pt x="78" y="4"/>
                        </a:lnTo>
                        <a:lnTo>
                          <a:pt x="72" y="2"/>
                        </a:lnTo>
                        <a:lnTo>
                          <a:pt x="68" y="0"/>
                        </a:lnTo>
                        <a:lnTo>
                          <a:pt x="54" y="2"/>
                        </a:lnTo>
                        <a:lnTo>
                          <a:pt x="38" y="6"/>
                        </a:lnTo>
                        <a:lnTo>
                          <a:pt x="24" y="14"/>
                        </a:lnTo>
                        <a:lnTo>
                          <a:pt x="12" y="22"/>
                        </a:lnTo>
                        <a:lnTo>
                          <a:pt x="4" y="32"/>
                        </a:lnTo>
                        <a:lnTo>
                          <a:pt x="0" y="38"/>
                        </a:lnTo>
                        <a:lnTo>
                          <a:pt x="0" y="42"/>
                        </a:lnTo>
                        <a:lnTo>
                          <a:pt x="2" y="48"/>
                        </a:lnTo>
                        <a:lnTo>
                          <a:pt x="6" y="52"/>
                        </a:lnTo>
                        <a:lnTo>
                          <a:pt x="6" y="52"/>
                        </a:lnTo>
                        <a:lnTo>
                          <a:pt x="10" y="56"/>
                        </a:lnTo>
                        <a:lnTo>
                          <a:pt x="16" y="58"/>
                        </a:lnTo>
                        <a:lnTo>
                          <a:pt x="22" y="58"/>
                        </a:lnTo>
                        <a:lnTo>
                          <a:pt x="28" y="56"/>
                        </a:lnTo>
                        <a:lnTo>
                          <a:pt x="42" y="50"/>
                        </a:lnTo>
                        <a:lnTo>
                          <a:pt x="58" y="42"/>
                        </a:lnTo>
                        <a:lnTo>
                          <a:pt x="70" y="32"/>
                        </a:lnTo>
                        <a:lnTo>
                          <a:pt x="78" y="20"/>
                        </a:lnTo>
                        <a:lnTo>
                          <a:pt x="80" y="16"/>
                        </a:lnTo>
                        <a:lnTo>
                          <a:pt x="82" y="10"/>
                        </a:lnTo>
                        <a:lnTo>
                          <a:pt x="80" y="6"/>
                        </a:lnTo>
                        <a:lnTo>
                          <a:pt x="78" y="4"/>
                        </a:lnTo>
                        <a:lnTo>
                          <a:pt x="78"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6" name="Freeform 6113"/>
                  <p:cNvSpPr>
                    <a:spLocks/>
                  </p:cNvSpPr>
                  <p:nvPr/>
                </p:nvSpPr>
                <p:spPr bwMode="auto">
                  <a:xfrm>
                    <a:off x="1357630" y="1230313"/>
                    <a:ext cx="467360" cy="227330"/>
                  </a:xfrm>
                  <a:custGeom>
                    <a:avLst/>
                    <a:gdLst/>
                    <a:ahLst/>
                    <a:cxnLst>
                      <a:cxn ang="0">
                        <a:pos x="700" y="272"/>
                      </a:cxn>
                      <a:cxn ang="0">
                        <a:pos x="720" y="274"/>
                      </a:cxn>
                      <a:cxn ang="0">
                        <a:pos x="736" y="254"/>
                      </a:cxn>
                      <a:cxn ang="0">
                        <a:pos x="708" y="238"/>
                      </a:cxn>
                      <a:cxn ang="0">
                        <a:pos x="684" y="224"/>
                      </a:cxn>
                      <a:cxn ang="0">
                        <a:pos x="646" y="206"/>
                      </a:cxn>
                      <a:cxn ang="0">
                        <a:pos x="608" y="190"/>
                      </a:cxn>
                      <a:cxn ang="0">
                        <a:pos x="586" y="166"/>
                      </a:cxn>
                      <a:cxn ang="0">
                        <a:pos x="592" y="128"/>
                      </a:cxn>
                      <a:cxn ang="0">
                        <a:pos x="560" y="58"/>
                      </a:cxn>
                      <a:cxn ang="0">
                        <a:pos x="506" y="10"/>
                      </a:cxn>
                      <a:cxn ang="0">
                        <a:pos x="482" y="10"/>
                      </a:cxn>
                      <a:cxn ang="0">
                        <a:pos x="438" y="8"/>
                      </a:cxn>
                      <a:cxn ang="0">
                        <a:pos x="450" y="68"/>
                      </a:cxn>
                      <a:cxn ang="0">
                        <a:pos x="478" y="114"/>
                      </a:cxn>
                      <a:cxn ang="0">
                        <a:pos x="456" y="132"/>
                      </a:cxn>
                      <a:cxn ang="0">
                        <a:pos x="420" y="68"/>
                      </a:cxn>
                      <a:cxn ang="0">
                        <a:pos x="382" y="40"/>
                      </a:cxn>
                      <a:cxn ang="0">
                        <a:pos x="354" y="26"/>
                      </a:cxn>
                      <a:cxn ang="0">
                        <a:pos x="352" y="40"/>
                      </a:cxn>
                      <a:cxn ang="0">
                        <a:pos x="372" y="58"/>
                      </a:cxn>
                      <a:cxn ang="0">
                        <a:pos x="336" y="62"/>
                      </a:cxn>
                      <a:cxn ang="0">
                        <a:pos x="318" y="74"/>
                      </a:cxn>
                      <a:cxn ang="0">
                        <a:pos x="296" y="40"/>
                      </a:cxn>
                      <a:cxn ang="0">
                        <a:pos x="224" y="38"/>
                      </a:cxn>
                      <a:cxn ang="0">
                        <a:pos x="190" y="60"/>
                      </a:cxn>
                      <a:cxn ang="0">
                        <a:pos x="206" y="32"/>
                      </a:cxn>
                      <a:cxn ang="0">
                        <a:pos x="196" y="2"/>
                      </a:cxn>
                      <a:cxn ang="0">
                        <a:pos x="100" y="26"/>
                      </a:cxn>
                      <a:cxn ang="0">
                        <a:pos x="22" y="72"/>
                      </a:cxn>
                      <a:cxn ang="0">
                        <a:pos x="40" y="86"/>
                      </a:cxn>
                      <a:cxn ang="0">
                        <a:pos x="2" y="116"/>
                      </a:cxn>
                      <a:cxn ang="0">
                        <a:pos x="14" y="130"/>
                      </a:cxn>
                      <a:cxn ang="0">
                        <a:pos x="34" y="146"/>
                      </a:cxn>
                      <a:cxn ang="0">
                        <a:pos x="116" y="140"/>
                      </a:cxn>
                      <a:cxn ang="0">
                        <a:pos x="76" y="160"/>
                      </a:cxn>
                      <a:cxn ang="0">
                        <a:pos x="44" y="192"/>
                      </a:cxn>
                      <a:cxn ang="0">
                        <a:pos x="110" y="204"/>
                      </a:cxn>
                      <a:cxn ang="0">
                        <a:pos x="210" y="202"/>
                      </a:cxn>
                      <a:cxn ang="0">
                        <a:pos x="276" y="214"/>
                      </a:cxn>
                      <a:cxn ang="0">
                        <a:pos x="294" y="230"/>
                      </a:cxn>
                      <a:cxn ang="0">
                        <a:pos x="168" y="230"/>
                      </a:cxn>
                      <a:cxn ang="0">
                        <a:pos x="70" y="254"/>
                      </a:cxn>
                      <a:cxn ang="0">
                        <a:pos x="122" y="300"/>
                      </a:cxn>
                      <a:cxn ang="0">
                        <a:pos x="222" y="308"/>
                      </a:cxn>
                      <a:cxn ang="0">
                        <a:pos x="232" y="350"/>
                      </a:cxn>
                      <a:cxn ang="0">
                        <a:pos x="314" y="358"/>
                      </a:cxn>
                      <a:cxn ang="0">
                        <a:pos x="420" y="332"/>
                      </a:cxn>
                      <a:cxn ang="0">
                        <a:pos x="478" y="318"/>
                      </a:cxn>
                      <a:cxn ang="0">
                        <a:pos x="490" y="296"/>
                      </a:cxn>
                      <a:cxn ang="0">
                        <a:pos x="516" y="294"/>
                      </a:cxn>
                      <a:cxn ang="0">
                        <a:pos x="540" y="312"/>
                      </a:cxn>
                      <a:cxn ang="0">
                        <a:pos x="560" y="324"/>
                      </a:cxn>
                      <a:cxn ang="0">
                        <a:pos x="592" y="328"/>
                      </a:cxn>
                      <a:cxn ang="0">
                        <a:pos x="640" y="334"/>
                      </a:cxn>
                      <a:cxn ang="0">
                        <a:pos x="680" y="324"/>
                      </a:cxn>
                      <a:cxn ang="0">
                        <a:pos x="700" y="306"/>
                      </a:cxn>
                      <a:cxn ang="0">
                        <a:pos x="692" y="288"/>
                      </a:cxn>
                      <a:cxn ang="0">
                        <a:pos x="648" y="300"/>
                      </a:cxn>
                      <a:cxn ang="0">
                        <a:pos x="632" y="278"/>
                      </a:cxn>
                      <a:cxn ang="0">
                        <a:pos x="660" y="282"/>
                      </a:cxn>
                      <a:cxn ang="0">
                        <a:pos x="668" y="272"/>
                      </a:cxn>
                    </a:cxnLst>
                    <a:rect l="0" t="0" r="r" b="b"/>
                    <a:pathLst>
                      <a:path w="736" h="358">
                        <a:moveTo>
                          <a:pt x="674" y="264"/>
                        </a:moveTo>
                        <a:lnTo>
                          <a:pt x="674" y="264"/>
                        </a:lnTo>
                        <a:lnTo>
                          <a:pt x="682" y="262"/>
                        </a:lnTo>
                        <a:lnTo>
                          <a:pt x="686" y="262"/>
                        </a:lnTo>
                        <a:lnTo>
                          <a:pt x="690" y="264"/>
                        </a:lnTo>
                        <a:lnTo>
                          <a:pt x="694" y="268"/>
                        </a:lnTo>
                        <a:lnTo>
                          <a:pt x="700" y="272"/>
                        </a:lnTo>
                        <a:lnTo>
                          <a:pt x="702" y="274"/>
                        </a:lnTo>
                        <a:lnTo>
                          <a:pt x="704" y="272"/>
                        </a:lnTo>
                        <a:lnTo>
                          <a:pt x="704" y="272"/>
                        </a:lnTo>
                        <a:lnTo>
                          <a:pt x="710" y="268"/>
                        </a:lnTo>
                        <a:lnTo>
                          <a:pt x="714" y="268"/>
                        </a:lnTo>
                        <a:lnTo>
                          <a:pt x="718" y="272"/>
                        </a:lnTo>
                        <a:lnTo>
                          <a:pt x="720" y="274"/>
                        </a:lnTo>
                        <a:lnTo>
                          <a:pt x="726" y="274"/>
                        </a:lnTo>
                        <a:lnTo>
                          <a:pt x="726" y="274"/>
                        </a:lnTo>
                        <a:lnTo>
                          <a:pt x="730" y="274"/>
                        </a:lnTo>
                        <a:lnTo>
                          <a:pt x="734" y="272"/>
                        </a:lnTo>
                        <a:lnTo>
                          <a:pt x="736" y="268"/>
                        </a:lnTo>
                        <a:lnTo>
                          <a:pt x="736" y="264"/>
                        </a:lnTo>
                        <a:lnTo>
                          <a:pt x="736" y="254"/>
                        </a:lnTo>
                        <a:lnTo>
                          <a:pt x="734" y="244"/>
                        </a:lnTo>
                        <a:lnTo>
                          <a:pt x="734" y="244"/>
                        </a:lnTo>
                        <a:lnTo>
                          <a:pt x="732" y="240"/>
                        </a:lnTo>
                        <a:lnTo>
                          <a:pt x="728" y="238"/>
                        </a:lnTo>
                        <a:lnTo>
                          <a:pt x="720" y="238"/>
                        </a:lnTo>
                        <a:lnTo>
                          <a:pt x="712" y="238"/>
                        </a:lnTo>
                        <a:lnTo>
                          <a:pt x="708" y="238"/>
                        </a:lnTo>
                        <a:lnTo>
                          <a:pt x="708" y="234"/>
                        </a:lnTo>
                        <a:lnTo>
                          <a:pt x="708" y="234"/>
                        </a:lnTo>
                        <a:lnTo>
                          <a:pt x="706" y="230"/>
                        </a:lnTo>
                        <a:lnTo>
                          <a:pt x="704" y="230"/>
                        </a:lnTo>
                        <a:lnTo>
                          <a:pt x="698" y="228"/>
                        </a:lnTo>
                        <a:lnTo>
                          <a:pt x="692" y="228"/>
                        </a:lnTo>
                        <a:lnTo>
                          <a:pt x="684" y="224"/>
                        </a:lnTo>
                        <a:lnTo>
                          <a:pt x="674" y="218"/>
                        </a:lnTo>
                        <a:lnTo>
                          <a:pt x="660" y="210"/>
                        </a:lnTo>
                        <a:lnTo>
                          <a:pt x="660" y="210"/>
                        </a:lnTo>
                        <a:lnTo>
                          <a:pt x="652" y="204"/>
                        </a:lnTo>
                        <a:lnTo>
                          <a:pt x="648" y="200"/>
                        </a:lnTo>
                        <a:lnTo>
                          <a:pt x="644" y="202"/>
                        </a:lnTo>
                        <a:lnTo>
                          <a:pt x="646" y="206"/>
                        </a:lnTo>
                        <a:lnTo>
                          <a:pt x="646" y="206"/>
                        </a:lnTo>
                        <a:lnTo>
                          <a:pt x="646" y="208"/>
                        </a:lnTo>
                        <a:lnTo>
                          <a:pt x="642" y="210"/>
                        </a:lnTo>
                        <a:lnTo>
                          <a:pt x="632" y="208"/>
                        </a:lnTo>
                        <a:lnTo>
                          <a:pt x="618" y="200"/>
                        </a:lnTo>
                        <a:lnTo>
                          <a:pt x="612" y="196"/>
                        </a:lnTo>
                        <a:lnTo>
                          <a:pt x="608" y="190"/>
                        </a:lnTo>
                        <a:lnTo>
                          <a:pt x="608" y="190"/>
                        </a:lnTo>
                        <a:lnTo>
                          <a:pt x="602" y="184"/>
                        </a:lnTo>
                        <a:lnTo>
                          <a:pt x="598" y="180"/>
                        </a:lnTo>
                        <a:lnTo>
                          <a:pt x="590" y="174"/>
                        </a:lnTo>
                        <a:lnTo>
                          <a:pt x="586" y="172"/>
                        </a:lnTo>
                        <a:lnTo>
                          <a:pt x="584" y="168"/>
                        </a:lnTo>
                        <a:lnTo>
                          <a:pt x="586" y="166"/>
                        </a:lnTo>
                        <a:lnTo>
                          <a:pt x="588" y="162"/>
                        </a:lnTo>
                        <a:lnTo>
                          <a:pt x="588" y="162"/>
                        </a:lnTo>
                        <a:lnTo>
                          <a:pt x="594" y="152"/>
                        </a:lnTo>
                        <a:lnTo>
                          <a:pt x="596" y="146"/>
                        </a:lnTo>
                        <a:lnTo>
                          <a:pt x="596" y="140"/>
                        </a:lnTo>
                        <a:lnTo>
                          <a:pt x="594" y="134"/>
                        </a:lnTo>
                        <a:lnTo>
                          <a:pt x="592" y="128"/>
                        </a:lnTo>
                        <a:lnTo>
                          <a:pt x="588" y="124"/>
                        </a:lnTo>
                        <a:lnTo>
                          <a:pt x="582" y="118"/>
                        </a:lnTo>
                        <a:lnTo>
                          <a:pt x="582" y="118"/>
                        </a:lnTo>
                        <a:lnTo>
                          <a:pt x="576" y="112"/>
                        </a:lnTo>
                        <a:lnTo>
                          <a:pt x="572" y="102"/>
                        </a:lnTo>
                        <a:lnTo>
                          <a:pt x="566" y="82"/>
                        </a:lnTo>
                        <a:lnTo>
                          <a:pt x="560" y="58"/>
                        </a:lnTo>
                        <a:lnTo>
                          <a:pt x="554" y="48"/>
                        </a:lnTo>
                        <a:lnTo>
                          <a:pt x="548" y="38"/>
                        </a:lnTo>
                        <a:lnTo>
                          <a:pt x="548" y="38"/>
                        </a:lnTo>
                        <a:lnTo>
                          <a:pt x="540" y="28"/>
                        </a:lnTo>
                        <a:lnTo>
                          <a:pt x="532" y="24"/>
                        </a:lnTo>
                        <a:lnTo>
                          <a:pt x="522" y="20"/>
                        </a:lnTo>
                        <a:lnTo>
                          <a:pt x="506" y="10"/>
                        </a:lnTo>
                        <a:lnTo>
                          <a:pt x="506" y="10"/>
                        </a:lnTo>
                        <a:lnTo>
                          <a:pt x="498" y="6"/>
                        </a:lnTo>
                        <a:lnTo>
                          <a:pt x="492" y="4"/>
                        </a:lnTo>
                        <a:lnTo>
                          <a:pt x="490" y="4"/>
                        </a:lnTo>
                        <a:lnTo>
                          <a:pt x="488" y="6"/>
                        </a:lnTo>
                        <a:lnTo>
                          <a:pt x="486" y="8"/>
                        </a:lnTo>
                        <a:lnTo>
                          <a:pt x="482" y="10"/>
                        </a:lnTo>
                        <a:lnTo>
                          <a:pt x="476" y="10"/>
                        </a:lnTo>
                        <a:lnTo>
                          <a:pt x="464" y="6"/>
                        </a:lnTo>
                        <a:lnTo>
                          <a:pt x="464" y="6"/>
                        </a:lnTo>
                        <a:lnTo>
                          <a:pt x="450" y="2"/>
                        </a:lnTo>
                        <a:lnTo>
                          <a:pt x="446" y="2"/>
                        </a:lnTo>
                        <a:lnTo>
                          <a:pt x="440" y="4"/>
                        </a:lnTo>
                        <a:lnTo>
                          <a:pt x="438" y="8"/>
                        </a:lnTo>
                        <a:lnTo>
                          <a:pt x="436" y="12"/>
                        </a:lnTo>
                        <a:lnTo>
                          <a:pt x="436" y="20"/>
                        </a:lnTo>
                        <a:lnTo>
                          <a:pt x="440" y="28"/>
                        </a:lnTo>
                        <a:lnTo>
                          <a:pt x="440" y="28"/>
                        </a:lnTo>
                        <a:lnTo>
                          <a:pt x="444" y="38"/>
                        </a:lnTo>
                        <a:lnTo>
                          <a:pt x="446" y="48"/>
                        </a:lnTo>
                        <a:lnTo>
                          <a:pt x="450" y="68"/>
                        </a:lnTo>
                        <a:lnTo>
                          <a:pt x="454" y="78"/>
                        </a:lnTo>
                        <a:lnTo>
                          <a:pt x="458" y="88"/>
                        </a:lnTo>
                        <a:lnTo>
                          <a:pt x="464" y="98"/>
                        </a:lnTo>
                        <a:lnTo>
                          <a:pt x="472" y="106"/>
                        </a:lnTo>
                        <a:lnTo>
                          <a:pt x="472" y="106"/>
                        </a:lnTo>
                        <a:lnTo>
                          <a:pt x="476" y="110"/>
                        </a:lnTo>
                        <a:lnTo>
                          <a:pt x="478" y="114"/>
                        </a:lnTo>
                        <a:lnTo>
                          <a:pt x="478" y="116"/>
                        </a:lnTo>
                        <a:lnTo>
                          <a:pt x="474" y="118"/>
                        </a:lnTo>
                        <a:lnTo>
                          <a:pt x="468" y="122"/>
                        </a:lnTo>
                        <a:lnTo>
                          <a:pt x="462" y="128"/>
                        </a:lnTo>
                        <a:lnTo>
                          <a:pt x="462" y="128"/>
                        </a:lnTo>
                        <a:lnTo>
                          <a:pt x="458" y="130"/>
                        </a:lnTo>
                        <a:lnTo>
                          <a:pt x="456" y="132"/>
                        </a:lnTo>
                        <a:lnTo>
                          <a:pt x="452" y="130"/>
                        </a:lnTo>
                        <a:lnTo>
                          <a:pt x="446" y="122"/>
                        </a:lnTo>
                        <a:lnTo>
                          <a:pt x="434" y="104"/>
                        </a:lnTo>
                        <a:lnTo>
                          <a:pt x="434" y="104"/>
                        </a:lnTo>
                        <a:lnTo>
                          <a:pt x="430" y="94"/>
                        </a:lnTo>
                        <a:lnTo>
                          <a:pt x="426" y="84"/>
                        </a:lnTo>
                        <a:lnTo>
                          <a:pt x="420" y="68"/>
                        </a:lnTo>
                        <a:lnTo>
                          <a:pt x="418" y="62"/>
                        </a:lnTo>
                        <a:lnTo>
                          <a:pt x="412" y="56"/>
                        </a:lnTo>
                        <a:lnTo>
                          <a:pt x="406" y="50"/>
                        </a:lnTo>
                        <a:lnTo>
                          <a:pt x="396" y="46"/>
                        </a:lnTo>
                        <a:lnTo>
                          <a:pt x="396" y="46"/>
                        </a:lnTo>
                        <a:lnTo>
                          <a:pt x="384" y="42"/>
                        </a:lnTo>
                        <a:lnTo>
                          <a:pt x="382" y="40"/>
                        </a:lnTo>
                        <a:lnTo>
                          <a:pt x="384" y="38"/>
                        </a:lnTo>
                        <a:lnTo>
                          <a:pt x="384" y="36"/>
                        </a:lnTo>
                        <a:lnTo>
                          <a:pt x="384" y="34"/>
                        </a:lnTo>
                        <a:lnTo>
                          <a:pt x="380" y="32"/>
                        </a:lnTo>
                        <a:lnTo>
                          <a:pt x="372" y="30"/>
                        </a:lnTo>
                        <a:lnTo>
                          <a:pt x="372" y="30"/>
                        </a:lnTo>
                        <a:lnTo>
                          <a:pt x="354" y="26"/>
                        </a:lnTo>
                        <a:lnTo>
                          <a:pt x="340" y="26"/>
                        </a:lnTo>
                        <a:lnTo>
                          <a:pt x="338" y="28"/>
                        </a:lnTo>
                        <a:lnTo>
                          <a:pt x="338" y="30"/>
                        </a:lnTo>
                        <a:lnTo>
                          <a:pt x="340" y="32"/>
                        </a:lnTo>
                        <a:lnTo>
                          <a:pt x="346" y="36"/>
                        </a:lnTo>
                        <a:lnTo>
                          <a:pt x="346" y="36"/>
                        </a:lnTo>
                        <a:lnTo>
                          <a:pt x="352" y="40"/>
                        </a:lnTo>
                        <a:lnTo>
                          <a:pt x="356" y="44"/>
                        </a:lnTo>
                        <a:lnTo>
                          <a:pt x="358" y="46"/>
                        </a:lnTo>
                        <a:lnTo>
                          <a:pt x="356" y="48"/>
                        </a:lnTo>
                        <a:lnTo>
                          <a:pt x="356" y="52"/>
                        </a:lnTo>
                        <a:lnTo>
                          <a:pt x="362" y="54"/>
                        </a:lnTo>
                        <a:lnTo>
                          <a:pt x="362" y="54"/>
                        </a:lnTo>
                        <a:lnTo>
                          <a:pt x="372" y="58"/>
                        </a:lnTo>
                        <a:lnTo>
                          <a:pt x="376" y="62"/>
                        </a:lnTo>
                        <a:lnTo>
                          <a:pt x="376" y="64"/>
                        </a:lnTo>
                        <a:lnTo>
                          <a:pt x="372" y="64"/>
                        </a:lnTo>
                        <a:lnTo>
                          <a:pt x="354" y="60"/>
                        </a:lnTo>
                        <a:lnTo>
                          <a:pt x="354" y="60"/>
                        </a:lnTo>
                        <a:lnTo>
                          <a:pt x="344" y="60"/>
                        </a:lnTo>
                        <a:lnTo>
                          <a:pt x="336" y="62"/>
                        </a:lnTo>
                        <a:lnTo>
                          <a:pt x="332" y="66"/>
                        </a:lnTo>
                        <a:lnTo>
                          <a:pt x="330" y="70"/>
                        </a:lnTo>
                        <a:lnTo>
                          <a:pt x="328" y="76"/>
                        </a:lnTo>
                        <a:lnTo>
                          <a:pt x="326" y="78"/>
                        </a:lnTo>
                        <a:lnTo>
                          <a:pt x="322" y="78"/>
                        </a:lnTo>
                        <a:lnTo>
                          <a:pt x="318" y="74"/>
                        </a:lnTo>
                        <a:lnTo>
                          <a:pt x="318" y="74"/>
                        </a:lnTo>
                        <a:lnTo>
                          <a:pt x="314" y="68"/>
                        </a:lnTo>
                        <a:lnTo>
                          <a:pt x="314" y="64"/>
                        </a:lnTo>
                        <a:lnTo>
                          <a:pt x="318" y="56"/>
                        </a:lnTo>
                        <a:lnTo>
                          <a:pt x="318" y="52"/>
                        </a:lnTo>
                        <a:lnTo>
                          <a:pt x="316" y="48"/>
                        </a:lnTo>
                        <a:lnTo>
                          <a:pt x="310" y="44"/>
                        </a:lnTo>
                        <a:lnTo>
                          <a:pt x="296" y="40"/>
                        </a:lnTo>
                        <a:lnTo>
                          <a:pt x="296" y="40"/>
                        </a:lnTo>
                        <a:lnTo>
                          <a:pt x="268" y="34"/>
                        </a:lnTo>
                        <a:lnTo>
                          <a:pt x="250" y="30"/>
                        </a:lnTo>
                        <a:lnTo>
                          <a:pt x="238" y="32"/>
                        </a:lnTo>
                        <a:lnTo>
                          <a:pt x="230" y="36"/>
                        </a:lnTo>
                        <a:lnTo>
                          <a:pt x="230" y="36"/>
                        </a:lnTo>
                        <a:lnTo>
                          <a:pt x="224" y="38"/>
                        </a:lnTo>
                        <a:lnTo>
                          <a:pt x="224" y="42"/>
                        </a:lnTo>
                        <a:lnTo>
                          <a:pt x="226" y="46"/>
                        </a:lnTo>
                        <a:lnTo>
                          <a:pt x="224" y="48"/>
                        </a:lnTo>
                        <a:lnTo>
                          <a:pt x="220" y="50"/>
                        </a:lnTo>
                        <a:lnTo>
                          <a:pt x="198" y="58"/>
                        </a:lnTo>
                        <a:lnTo>
                          <a:pt x="198" y="58"/>
                        </a:lnTo>
                        <a:lnTo>
                          <a:pt x="190" y="60"/>
                        </a:lnTo>
                        <a:lnTo>
                          <a:pt x="186" y="60"/>
                        </a:lnTo>
                        <a:lnTo>
                          <a:pt x="192" y="54"/>
                        </a:lnTo>
                        <a:lnTo>
                          <a:pt x="204" y="44"/>
                        </a:lnTo>
                        <a:lnTo>
                          <a:pt x="206" y="40"/>
                        </a:lnTo>
                        <a:lnTo>
                          <a:pt x="206" y="36"/>
                        </a:lnTo>
                        <a:lnTo>
                          <a:pt x="206" y="36"/>
                        </a:lnTo>
                        <a:lnTo>
                          <a:pt x="206" y="32"/>
                        </a:lnTo>
                        <a:lnTo>
                          <a:pt x="206" y="28"/>
                        </a:lnTo>
                        <a:lnTo>
                          <a:pt x="208" y="20"/>
                        </a:lnTo>
                        <a:lnTo>
                          <a:pt x="208" y="16"/>
                        </a:lnTo>
                        <a:lnTo>
                          <a:pt x="208" y="12"/>
                        </a:lnTo>
                        <a:lnTo>
                          <a:pt x="204" y="8"/>
                        </a:lnTo>
                        <a:lnTo>
                          <a:pt x="196" y="2"/>
                        </a:lnTo>
                        <a:lnTo>
                          <a:pt x="196" y="2"/>
                        </a:lnTo>
                        <a:lnTo>
                          <a:pt x="186" y="0"/>
                        </a:lnTo>
                        <a:lnTo>
                          <a:pt x="176" y="0"/>
                        </a:lnTo>
                        <a:lnTo>
                          <a:pt x="162" y="4"/>
                        </a:lnTo>
                        <a:lnTo>
                          <a:pt x="150" y="8"/>
                        </a:lnTo>
                        <a:lnTo>
                          <a:pt x="122" y="18"/>
                        </a:lnTo>
                        <a:lnTo>
                          <a:pt x="100" y="26"/>
                        </a:lnTo>
                        <a:lnTo>
                          <a:pt x="100" y="26"/>
                        </a:lnTo>
                        <a:lnTo>
                          <a:pt x="82" y="32"/>
                        </a:lnTo>
                        <a:lnTo>
                          <a:pt x="66" y="40"/>
                        </a:lnTo>
                        <a:lnTo>
                          <a:pt x="32" y="60"/>
                        </a:lnTo>
                        <a:lnTo>
                          <a:pt x="32" y="60"/>
                        </a:lnTo>
                        <a:lnTo>
                          <a:pt x="24" y="66"/>
                        </a:lnTo>
                        <a:lnTo>
                          <a:pt x="22" y="70"/>
                        </a:lnTo>
                        <a:lnTo>
                          <a:pt x="22" y="72"/>
                        </a:lnTo>
                        <a:lnTo>
                          <a:pt x="26" y="74"/>
                        </a:lnTo>
                        <a:lnTo>
                          <a:pt x="36" y="78"/>
                        </a:lnTo>
                        <a:lnTo>
                          <a:pt x="40" y="80"/>
                        </a:lnTo>
                        <a:lnTo>
                          <a:pt x="42" y="82"/>
                        </a:lnTo>
                        <a:lnTo>
                          <a:pt x="42" y="82"/>
                        </a:lnTo>
                        <a:lnTo>
                          <a:pt x="42" y="86"/>
                        </a:lnTo>
                        <a:lnTo>
                          <a:pt x="40" y="86"/>
                        </a:lnTo>
                        <a:lnTo>
                          <a:pt x="32" y="90"/>
                        </a:lnTo>
                        <a:lnTo>
                          <a:pt x="20" y="94"/>
                        </a:lnTo>
                        <a:lnTo>
                          <a:pt x="16" y="98"/>
                        </a:lnTo>
                        <a:lnTo>
                          <a:pt x="10" y="104"/>
                        </a:lnTo>
                        <a:lnTo>
                          <a:pt x="10" y="104"/>
                        </a:lnTo>
                        <a:lnTo>
                          <a:pt x="4" y="110"/>
                        </a:lnTo>
                        <a:lnTo>
                          <a:pt x="2" y="116"/>
                        </a:lnTo>
                        <a:lnTo>
                          <a:pt x="0" y="122"/>
                        </a:lnTo>
                        <a:lnTo>
                          <a:pt x="0" y="126"/>
                        </a:lnTo>
                        <a:lnTo>
                          <a:pt x="2" y="130"/>
                        </a:lnTo>
                        <a:lnTo>
                          <a:pt x="6" y="132"/>
                        </a:lnTo>
                        <a:lnTo>
                          <a:pt x="10" y="132"/>
                        </a:lnTo>
                        <a:lnTo>
                          <a:pt x="14" y="130"/>
                        </a:lnTo>
                        <a:lnTo>
                          <a:pt x="14" y="130"/>
                        </a:lnTo>
                        <a:lnTo>
                          <a:pt x="20" y="128"/>
                        </a:lnTo>
                        <a:lnTo>
                          <a:pt x="24" y="126"/>
                        </a:lnTo>
                        <a:lnTo>
                          <a:pt x="26" y="128"/>
                        </a:lnTo>
                        <a:lnTo>
                          <a:pt x="28" y="130"/>
                        </a:lnTo>
                        <a:lnTo>
                          <a:pt x="30" y="138"/>
                        </a:lnTo>
                        <a:lnTo>
                          <a:pt x="34" y="146"/>
                        </a:lnTo>
                        <a:lnTo>
                          <a:pt x="34" y="146"/>
                        </a:lnTo>
                        <a:lnTo>
                          <a:pt x="38" y="150"/>
                        </a:lnTo>
                        <a:lnTo>
                          <a:pt x="44" y="150"/>
                        </a:lnTo>
                        <a:lnTo>
                          <a:pt x="64" y="150"/>
                        </a:lnTo>
                        <a:lnTo>
                          <a:pt x="88" y="144"/>
                        </a:lnTo>
                        <a:lnTo>
                          <a:pt x="104" y="140"/>
                        </a:lnTo>
                        <a:lnTo>
                          <a:pt x="104" y="140"/>
                        </a:lnTo>
                        <a:lnTo>
                          <a:pt x="116" y="140"/>
                        </a:lnTo>
                        <a:lnTo>
                          <a:pt x="120" y="142"/>
                        </a:lnTo>
                        <a:lnTo>
                          <a:pt x="122" y="144"/>
                        </a:lnTo>
                        <a:lnTo>
                          <a:pt x="120" y="146"/>
                        </a:lnTo>
                        <a:lnTo>
                          <a:pt x="114" y="150"/>
                        </a:lnTo>
                        <a:lnTo>
                          <a:pt x="98" y="156"/>
                        </a:lnTo>
                        <a:lnTo>
                          <a:pt x="76" y="160"/>
                        </a:lnTo>
                        <a:lnTo>
                          <a:pt x="76" y="160"/>
                        </a:lnTo>
                        <a:lnTo>
                          <a:pt x="46" y="168"/>
                        </a:lnTo>
                        <a:lnTo>
                          <a:pt x="38" y="170"/>
                        </a:lnTo>
                        <a:lnTo>
                          <a:pt x="34" y="174"/>
                        </a:lnTo>
                        <a:lnTo>
                          <a:pt x="32" y="178"/>
                        </a:lnTo>
                        <a:lnTo>
                          <a:pt x="34" y="182"/>
                        </a:lnTo>
                        <a:lnTo>
                          <a:pt x="38" y="188"/>
                        </a:lnTo>
                        <a:lnTo>
                          <a:pt x="44" y="192"/>
                        </a:lnTo>
                        <a:lnTo>
                          <a:pt x="44" y="192"/>
                        </a:lnTo>
                        <a:lnTo>
                          <a:pt x="56" y="202"/>
                        </a:lnTo>
                        <a:lnTo>
                          <a:pt x="66" y="206"/>
                        </a:lnTo>
                        <a:lnTo>
                          <a:pt x="76" y="206"/>
                        </a:lnTo>
                        <a:lnTo>
                          <a:pt x="94" y="204"/>
                        </a:lnTo>
                        <a:lnTo>
                          <a:pt x="94" y="204"/>
                        </a:lnTo>
                        <a:lnTo>
                          <a:pt x="110" y="204"/>
                        </a:lnTo>
                        <a:lnTo>
                          <a:pt x="120" y="206"/>
                        </a:lnTo>
                        <a:lnTo>
                          <a:pt x="132" y="208"/>
                        </a:lnTo>
                        <a:lnTo>
                          <a:pt x="152" y="208"/>
                        </a:lnTo>
                        <a:lnTo>
                          <a:pt x="152" y="208"/>
                        </a:lnTo>
                        <a:lnTo>
                          <a:pt x="176" y="206"/>
                        </a:lnTo>
                        <a:lnTo>
                          <a:pt x="194" y="202"/>
                        </a:lnTo>
                        <a:lnTo>
                          <a:pt x="210" y="202"/>
                        </a:lnTo>
                        <a:lnTo>
                          <a:pt x="220" y="202"/>
                        </a:lnTo>
                        <a:lnTo>
                          <a:pt x="232" y="204"/>
                        </a:lnTo>
                        <a:lnTo>
                          <a:pt x="232" y="204"/>
                        </a:lnTo>
                        <a:lnTo>
                          <a:pt x="250" y="208"/>
                        </a:lnTo>
                        <a:lnTo>
                          <a:pt x="262" y="210"/>
                        </a:lnTo>
                        <a:lnTo>
                          <a:pt x="268" y="210"/>
                        </a:lnTo>
                        <a:lnTo>
                          <a:pt x="276" y="214"/>
                        </a:lnTo>
                        <a:lnTo>
                          <a:pt x="276" y="214"/>
                        </a:lnTo>
                        <a:lnTo>
                          <a:pt x="290" y="220"/>
                        </a:lnTo>
                        <a:lnTo>
                          <a:pt x="302" y="226"/>
                        </a:lnTo>
                        <a:lnTo>
                          <a:pt x="306" y="228"/>
                        </a:lnTo>
                        <a:lnTo>
                          <a:pt x="306" y="230"/>
                        </a:lnTo>
                        <a:lnTo>
                          <a:pt x="294" y="230"/>
                        </a:lnTo>
                        <a:lnTo>
                          <a:pt x="294" y="230"/>
                        </a:lnTo>
                        <a:lnTo>
                          <a:pt x="280" y="230"/>
                        </a:lnTo>
                        <a:lnTo>
                          <a:pt x="276" y="232"/>
                        </a:lnTo>
                        <a:lnTo>
                          <a:pt x="268" y="232"/>
                        </a:lnTo>
                        <a:lnTo>
                          <a:pt x="246" y="230"/>
                        </a:lnTo>
                        <a:lnTo>
                          <a:pt x="246" y="230"/>
                        </a:lnTo>
                        <a:lnTo>
                          <a:pt x="210" y="228"/>
                        </a:lnTo>
                        <a:lnTo>
                          <a:pt x="168" y="230"/>
                        </a:lnTo>
                        <a:lnTo>
                          <a:pt x="126" y="234"/>
                        </a:lnTo>
                        <a:lnTo>
                          <a:pt x="90" y="240"/>
                        </a:lnTo>
                        <a:lnTo>
                          <a:pt x="90" y="240"/>
                        </a:lnTo>
                        <a:lnTo>
                          <a:pt x="76" y="244"/>
                        </a:lnTo>
                        <a:lnTo>
                          <a:pt x="70" y="250"/>
                        </a:lnTo>
                        <a:lnTo>
                          <a:pt x="70" y="252"/>
                        </a:lnTo>
                        <a:lnTo>
                          <a:pt x="70" y="254"/>
                        </a:lnTo>
                        <a:lnTo>
                          <a:pt x="72" y="262"/>
                        </a:lnTo>
                        <a:lnTo>
                          <a:pt x="78" y="268"/>
                        </a:lnTo>
                        <a:lnTo>
                          <a:pt x="86" y="274"/>
                        </a:lnTo>
                        <a:lnTo>
                          <a:pt x="100" y="290"/>
                        </a:lnTo>
                        <a:lnTo>
                          <a:pt x="100" y="290"/>
                        </a:lnTo>
                        <a:lnTo>
                          <a:pt x="110" y="296"/>
                        </a:lnTo>
                        <a:lnTo>
                          <a:pt x="122" y="300"/>
                        </a:lnTo>
                        <a:lnTo>
                          <a:pt x="138" y="302"/>
                        </a:lnTo>
                        <a:lnTo>
                          <a:pt x="156" y="304"/>
                        </a:lnTo>
                        <a:lnTo>
                          <a:pt x="190" y="304"/>
                        </a:lnTo>
                        <a:lnTo>
                          <a:pt x="214" y="304"/>
                        </a:lnTo>
                        <a:lnTo>
                          <a:pt x="214" y="304"/>
                        </a:lnTo>
                        <a:lnTo>
                          <a:pt x="220" y="306"/>
                        </a:lnTo>
                        <a:lnTo>
                          <a:pt x="222" y="308"/>
                        </a:lnTo>
                        <a:lnTo>
                          <a:pt x="224" y="314"/>
                        </a:lnTo>
                        <a:lnTo>
                          <a:pt x="224" y="320"/>
                        </a:lnTo>
                        <a:lnTo>
                          <a:pt x="222" y="332"/>
                        </a:lnTo>
                        <a:lnTo>
                          <a:pt x="222" y="338"/>
                        </a:lnTo>
                        <a:lnTo>
                          <a:pt x="224" y="342"/>
                        </a:lnTo>
                        <a:lnTo>
                          <a:pt x="224" y="342"/>
                        </a:lnTo>
                        <a:lnTo>
                          <a:pt x="232" y="350"/>
                        </a:lnTo>
                        <a:lnTo>
                          <a:pt x="238" y="356"/>
                        </a:lnTo>
                        <a:lnTo>
                          <a:pt x="246" y="358"/>
                        </a:lnTo>
                        <a:lnTo>
                          <a:pt x="260" y="358"/>
                        </a:lnTo>
                        <a:lnTo>
                          <a:pt x="260" y="358"/>
                        </a:lnTo>
                        <a:lnTo>
                          <a:pt x="282" y="358"/>
                        </a:lnTo>
                        <a:lnTo>
                          <a:pt x="300" y="358"/>
                        </a:lnTo>
                        <a:lnTo>
                          <a:pt x="314" y="358"/>
                        </a:lnTo>
                        <a:lnTo>
                          <a:pt x="324" y="356"/>
                        </a:lnTo>
                        <a:lnTo>
                          <a:pt x="324" y="356"/>
                        </a:lnTo>
                        <a:lnTo>
                          <a:pt x="342" y="352"/>
                        </a:lnTo>
                        <a:lnTo>
                          <a:pt x="370" y="348"/>
                        </a:lnTo>
                        <a:lnTo>
                          <a:pt x="398" y="342"/>
                        </a:lnTo>
                        <a:lnTo>
                          <a:pt x="412" y="338"/>
                        </a:lnTo>
                        <a:lnTo>
                          <a:pt x="420" y="332"/>
                        </a:lnTo>
                        <a:lnTo>
                          <a:pt x="420" y="332"/>
                        </a:lnTo>
                        <a:lnTo>
                          <a:pt x="428" y="328"/>
                        </a:lnTo>
                        <a:lnTo>
                          <a:pt x="436" y="326"/>
                        </a:lnTo>
                        <a:lnTo>
                          <a:pt x="450" y="326"/>
                        </a:lnTo>
                        <a:lnTo>
                          <a:pt x="462" y="324"/>
                        </a:lnTo>
                        <a:lnTo>
                          <a:pt x="470" y="322"/>
                        </a:lnTo>
                        <a:lnTo>
                          <a:pt x="478" y="318"/>
                        </a:lnTo>
                        <a:lnTo>
                          <a:pt x="478" y="318"/>
                        </a:lnTo>
                        <a:lnTo>
                          <a:pt x="486" y="312"/>
                        </a:lnTo>
                        <a:lnTo>
                          <a:pt x="488" y="308"/>
                        </a:lnTo>
                        <a:lnTo>
                          <a:pt x="490" y="304"/>
                        </a:lnTo>
                        <a:lnTo>
                          <a:pt x="490" y="302"/>
                        </a:lnTo>
                        <a:lnTo>
                          <a:pt x="490" y="300"/>
                        </a:lnTo>
                        <a:lnTo>
                          <a:pt x="490" y="296"/>
                        </a:lnTo>
                        <a:lnTo>
                          <a:pt x="494" y="294"/>
                        </a:lnTo>
                        <a:lnTo>
                          <a:pt x="500" y="290"/>
                        </a:lnTo>
                        <a:lnTo>
                          <a:pt x="500" y="290"/>
                        </a:lnTo>
                        <a:lnTo>
                          <a:pt x="506" y="288"/>
                        </a:lnTo>
                        <a:lnTo>
                          <a:pt x="512" y="290"/>
                        </a:lnTo>
                        <a:lnTo>
                          <a:pt x="514" y="292"/>
                        </a:lnTo>
                        <a:lnTo>
                          <a:pt x="516" y="294"/>
                        </a:lnTo>
                        <a:lnTo>
                          <a:pt x="514" y="304"/>
                        </a:lnTo>
                        <a:lnTo>
                          <a:pt x="514" y="304"/>
                        </a:lnTo>
                        <a:lnTo>
                          <a:pt x="514" y="312"/>
                        </a:lnTo>
                        <a:lnTo>
                          <a:pt x="514" y="312"/>
                        </a:lnTo>
                        <a:lnTo>
                          <a:pt x="518" y="312"/>
                        </a:lnTo>
                        <a:lnTo>
                          <a:pt x="530" y="310"/>
                        </a:lnTo>
                        <a:lnTo>
                          <a:pt x="540" y="312"/>
                        </a:lnTo>
                        <a:lnTo>
                          <a:pt x="554" y="314"/>
                        </a:lnTo>
                        <a:lnTo>
                          <a:pt x="554" y="314"/>
                        </a:lnTo>
                        <a:lnTo>
                          <a:pt x="564" y="318"/>
                        </a:lnTo>
                        <a:lnTo>
                          <a:pt x="568" y="320"/>
                        </a:lnTo>
                        <a:lnTo>
                          <a:pt x="568" y="322"/>
                        </a:lnTo>
                        <a:lnTo>
                          <a:pt x="566" y="322"/>
                        </a:lnTo>
                        <a:lnTo>
                          <a:pt x="560" y="324"/>
                        </a:lnTo>
                        <a:lnTo>
                          <a:pt x="562" y="326"/>
                        </a:lnTo>
                        <a:lnTo>
                          <a:pt x="568" y="330"/>
                        </a:lnTo>
                        <a:lnTo>
                          <a:pt x="568" y="330"/>
                        </a:lnTo>
                        <a:lnTo>
                          <a:pt x="576" y="332"/>
                        </a:lnTo>
                        <a:lnTo>
                          <a:pt x="582" y="332"/>
                        </a:lnTo>
                        <a:lnTo>
                          <a:pt x="588" y="330"/>
                        </a:lnTo>
                        <a:lnTo>
                          <a:pt x="592" y="328"/>
                        </a:lnTo>
                        <a:lnTo>
                          <a:pt x="596" y="328"/>
                        </a:lnTo>
                        <a:lnTo>
                          <a:pt x="602" y="328"/>
                        </a:lnTo>
                        <a:lnTo>
                          <a:pt x="612" y="332"/>
                        </a:lnTo>
                        <a:lnTo>
                          <a:pt x="612" y="332"/>
                        </a:lnTo>
                        <a:lnTo>
                          <a:pt x="628" y="336"/>
                        </a:lnTo>
                        <a:lnTo>
                          <a:pt x="636" y="336"/>
                        </a:lnTo>
                        <a:lnTo>
                          <a:pt x="640" y="334"/>
                        </a:lnTo>
                        <a:lnTo>
                          <a:pt x="648" y="336"/>
                        </a:lnTo>
                        <a:lnTo>
                          <a:pt x="648" y="336"/>
                        </a:lnTo>
                        <a:lnTo>
                          <a:pt x="654" y="336"/>
                        </a:lnTo>
                        <a:lnTo>
                          <a:pt x="658" y="336"/>
                        </a:lnTo>
                        <a:lnTo>
                          <a:pt x="668" y="332"/>
                        </a:lnTo>
                        <a:lnTo>
                          <a:pt x="676" y="326"/>
                        </a:lnTo>
                        <a:lnTo>
                          <a:pt x="680" y="324"/>
                        </a:lnTo>
                        <a:lnTo>
                          <a:pt x="686" y="324"/>
                        </a:lnTo>
                        <a:lnTo>
                          <a:pt x="686" y="324"/>
                        </a:lnTo>
                        <a:lnTo>
                          <a:pt x="694" y="322"/>
                        </a:lnTo>
                        <a:lnTo>
                          <a:pt x="700" y="316"/>
                        </a:lnTo>
                        <a:lnTo>
                          <a:pt x="702" y="314"/>
                        </a:lnTo>
                        <a:lnTo>
                          <a:pt x="702" y="310"/>
                        </a:lnTo>
                        <a:lnTo>
                          <a:pt x="700" y="306"/>
                        </a:lnTo>
                        <a:lnTo>
                          <a:pt x="696" y="304"/>
                        </a:lnTo>
                        <a:lnTo>
                          <a:pt x="696" y="304"/>
                        </a:lnTo>
                        <a:lnTo>
                          <a:pt x="692" y="300"/>
                        </a:lnTo>
                        <a:lnTo>
                          <a:pt x="690" y="298"/>
                        </a:lnTo>
                        <a:lnTo>
                          <a:pt x="692" y="294"/>
                        </a:lnTo>
                        <a:lnTo>
                          <a:pt x="694" y="290"/>
                        </a:lnTo>
                        <a:lnTo>
                          <a:pt x="692" y="288"/>
                        </a:lnTo>
                        <a:lnTo>
                          <a:pt x="688" y="286"/>
                        </a:lnTo>
                        <a:lnTo>
                          <a:pt x="688" y="286"/>
                        </a:lnTo>
                        <a:lnTo>
                          <a:pt x="682" y="286"/>
                        </a:lnTo>
                        <a:lnTo>
                          <a:pt x="674" y="288"/>
                        </a:lnTo>
                        <a:lnTo>
                          <a:pt x="660" y="296"/>
                        </a:lnTo>
                        <a:lnTo>
                          <a:pt x="648" y="300"/>
                        </a:lnTo>
                        <a:lnTo>
                          <a:pt x="648" y="300"/>
                        </a:lnTo>
                        <a:lnTo>
                          <a:pt x="650" y="296"/>
                        </a:lnTo>
                        <a:lnTo>
                          <a:pt x="650" y="296"/>
                        </a:lnTo>
                        <a:lnTo>
                          <a:pt x="652" y="290"/>
                        </a:lnTo>
                        <a:lnTo>
                          <a:pt x="650" y="286"/>
                        </a:lnTo>
                        <a:lnTo>
                          <a:pt x="646" y="284"/>
                        </a:lnTo>
                        <a:lnTo>
                          <a:pt x="642" y="280"/>
                        </a:lnTo>
                        <a:lnTo>
                          <a:pt x="632" y="278"/>
                        </a:lnTo>
                        <a:lnTo>
                          <a:pt x="630" y="276"/>
                        </a:lnTo>
                        <a:lnTo>
                          <a:pt x="632" y="274"/>
                        </a:lnTo>
                        <a:lnTo>
                          <a:pt x="632" y="274"/>
                        </a:lnTo>
                        <a:lnTo>
                          <a:pt x="634" y="272"/>
                        </a:lnTo>
                        <a:lnTo>
                          <a:pt x="638" y="272"/>
                        </a:lnTo>
                        <a:lnTo>
                          <a:pt x="650" y="278"/>
                        </a:lnTo>
                        <a:lnTo>
                          <a:pt x="660" y="282"/>
                        </a:lnTo>
                        <a:lnTo>
                          <a:pt x="666" y="282"/>
                        </a:lnTo>
                        <a:lnTo>
                          <a:pt x="670" y="280"/>
                        </a:lnTo>
                        <a:lnTo>
                          <a:pt x="670" y="280"/>
                        </a:lnTo>
                        <a:lnTo>
                          <a:pt x="672" y="278"/>
                        </a:lnTo>
                        <a:lnTo>
                          <a:pt x="672" y="276"/>
                        </a:lnTo>
                        <a:lnTo>
                          <a:pt x="670" y="272"/>
                        </a:lnTo>
                        <a:lnTo>
                          <a:pt x="668" y="272"/>
                        </a:lnTo>
                        <a:lnTo>
                          <a:pt x="668" y="270"/>
                        </a:lnTo>
                        <a:lnTo>
                          <a:pt x="670" y="266"/>
                        </a:lnTo>
                        <a:lnTo>
                          <a:pt x="674" y="264"/>
                        </a:lnTo>
                        <a:lnTo>
                          <a:pt x="674" y="26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7" name="Freeform 6115"/>
                  <p:cNvSpPr>
                    <a:spLocks/>
                  </p:cNvSpPr>
                  <p:nvPr/>
                </p:nvSpPr>
                <p:spPr bwMode="auto">
                  <a:xfrm>
                    <a:off x="1776730" y="1203643"/>
                    <a:ext cx="165100" cy="125730"/>
                  </a:xfrm>
                  <a:custGeom>
                    <a:avLst/>
                    <a:gdLst/>
                    <a:ahLst/>
                    <a:cxnLst>
                      <a:cxn ang="0">
                        <a:pos x="256" y="98"/>
                      </a:cxn>
                      <a:cxn ang="0">
                        <a:pos x="250" y="90"/>
                      </a:cxn>
                      <a:cxn ang="0">
                        <a:pos x="242" y="92"/>
                      </a:cxn>
                      <a:cxn ang="0">
                        <a:pos x="234" y="94"/>
                      </a:cxn>
                      <a:cxn ang="0">
                        <a:pos x="222" y="84"/>
                      </a:cxn>
                      <a:cxn ang="0">
                        <a:pos x="216" y="74"/>
                      </a:cxn>
                      <a:cxn ang="0">
                        <a:pos x="192" y="60"/>
                      </a:cxn>
                      <a:cxn ang="0">
                        <a:pos x="188" y="56"/>
                      </a:cxn>
                      <a:cxn ang="0">
                        <a:pos x="196" y="52"/>
                      </a:cxn>
                      <a:cxn ang="0">
                        <a:pos x="208" y="48"/>
                      </a:cxn>
                      <a:cxn ang="0">
                        <a:pos x="226" y="42"/>
                      </a:cxn>
                      <a:cxn ang="0">
                        <a:pos x="222" y="38"/>
                      </a:cxn>
                      <a:cxn ang="0">
                        <a:pos x="216" y="32"/>
                      </a:cxn>
                      <a:cxn ang="0">
                        <a:pos x="222" y="24"/>
                      </a:cxn>
                      <a:cxn ang="0">
                        <a:pos x="230" y="20"/>
                      </a:cxn>
                      <a:cxn ang="0">
                        <a:pos x="230" y="10"/>
                      </a:cxn>
                      <a:cxn ang="0">
                        <a:pos x="218" y="4"/>
                      </a:cxn>
                      <a:cxn ang="0">
                        <a:pos x="194" y="4"/>
                      </a:cxn>
                      <a:cxn ang="0">
                        <a:pos x="180" y="8"/>
                      </a:cxn>
                      <a:cxn ang="0">
                        <a:pos x="152" y="12"/>
                      </a:cxn>
                      <a:cxn ang="0">
                        <a:pos x="130" y="6"/>
                      </a:cxn>
                      <a:cxn ang="0">
                        <a:pos x="110" y="0"/>
                      </a:cxn>
                      <a:cxn ang="0">
                        <a:pos x="86" y="4"/>
                      </a:cxn>
                      <a:cxn ang="0">
                        <a:pos x="64" y="14"/>
                      </a:cxn>
                      <a:cxn ang="0">
                        <a:pos x="50" y="24"/>
                      </a:cxn>
                      <a:cxn ang="0">
                        <a:pos x="48" y="34"/>
                      </a:cxn>
                      <a:cxn ang="0">
                        <a:pos x="62" y="44"/>
                      </a:cxn>
                      <a:cxn ang="0">
                        <a:pos x="70" y="48"/>
                      </a:cxn>
                      <a:cxn ang="0">
                        <a:pos x="88" y="58"/>
                      </a:cxn>
                      <a:cxn ang="0">
                        <a:pos x="96" y="68"/>
                      </a:cxn>
                      <a:cxn ang="0">
                        <a:pos x="92" y="78"/>
                      </a:cxn>
                      <a:cxn ang="0">
                        <a:pos x="78" y="88"/>
                      </a:cxn>
                      <a:cxn ang="0">
                        <a:pos x="74" y="88"/>
                      </a:cxn>
                      <a:cxn ang="0">
                        <a:pos x="58" y="86"/>
                      </a:cxn>
                      <a:cxn ang="0">
                        <a:pos x="38" y="74"/>
                      </a:cxn>
                      <a:cxn ang="0">
                        <a:pos x="20" y="64"/>
                      </a:cxn>
                      <a:cxn ang="0">
                        <a:pos x="10" y="64"/>
                      </a:cxn>
                      <a:cxn ang="0">
                        <a:pos x="2" y="72"/>
                      </a:cxn>
                      <a:cxn ang="0">
                        <a:pos x="0" y="78"/>
                      </a:cxn>
                      <a:cxn ang="0">
                        <a:pos x="6" y="94"/>
                      </a:cxn>
                      <a:cxn ang="0">
                        <a:pos x="26" y="110"/>
                      </a:cxn>
                      <a:cxn ang="0">
                        <a:pos x="56" y="124"/>
                      </a:cxn>
                      <a:cxn ang="0">
                        <a:pos x="74" y="132"/>
                      </a:cxn>
                      <a:cxn ang="0">
                        <a:pos x="104" y="148"/>
                      </a:cxn>
                      <a:cxn ang="0">
                        <a:pos x="124" y="168"/>
                      </a:cxn>
                      <a:cxn ang="0">
                        <a:pos x="150" y="194"/>
                      </a:cxn>
                      <a:cxn ang="0">
                        <a:pos x="162" y="198"/>
                      </a:cxn>
                      <a:cxn ang="0">
                        <a:pos x="176" y="194"/>
                      </a:cxn>
                      <a:cxn ang="0">
                        <a:pos x="180" y="184"/>
                      </a:cxn>
                      <a:cxn ang="0">
                        <a:pos x="182" y="174"/>
                      </a:cxn>
                      <a:cxn ang="0">
                        <a:pos x="192" y="170"/>
                      </a:cxn>
                      <a:cxn ang="0">
                        <a:pos x="200" y="172"/>
                      </a:cxn>
                      <a:cxn ang="0">
                        <a:pos x="220" y="170"/>
                      </a:cxn>
                      <a:cxn ang="0">
                        <a:pos x="238" y="162"/>
                      </a:cxn>
                      <a:cxn ang="0">
                        <a:pos x="250" y="148"/>
                      </a:cxn>
                      <a:cxn ang="0">
                        <a:pos x="252" y="138"/>
                      </a:cxn>
                      <a:cxn ang="0">
                        <a:pos x="252" y="124"/>
                      </a:cxn>
                      <a:cxn ang="0">
                        <a:pos x="258" y="114"/>
                      </a:cxn>
                      <a:cxn ang="0">
                        <a:pos x="258" y="106"/>
                      </a:cxn>
                      <a:cxn ang="0">
                        <a:pos x="256" y="98"/>
                      </a:cxn>
                    </a:cxnLst>
                    <a:rect l="0" t="0" r="r" b="b"/>
                    <a:pathLst>
                      <a:path w="260" h="198">
                        <a:moveTo>
                          <a:pt x="256" y="98"/>
                        </a:moveTo>
                        <a:lnTo>
                          <a:pt x="256" y="98"/>
                        </a:lnTo>
                        <a:lnTo>
                          <a:pt x="254" y="92"/>
                        </a:lnTo>
                        <a:lnTo>
                          <a:pt x="250" y="90"/>
                        </a:lnTo>
                        <a:lnTo>
                          <a:pt x="246" y="90"/>
                        </a:lnTo>
                        <a:lnTo>
                          <a:pt x="242" y="92"/>
                        </a:lnTo>
                        <a:lnTo>
                          <a:pt x="238" y="94"/>
                        </a:lnTo>
                        <a:lnTo>
                          <a:pt x="234" y="94"/>
                        </a:lnTo>
                        <a:lnTo>
                          <a:pt x="228" y="90"/>
                        </a:lnTo>
                        <a:lnTo>
                          <a:pt x="222" y="84"/>
                        </a:lnTo>
                        <a:lnTo>
                          <a:pt x="222" y="84"/>
                        </a:lnTo>
                        <a:lnTo>
                          <a:pt x="216" y="74"/>
                        </a:lnTo>
                        <a:lnTo>
                          <a:pt x="208" y="68"/>
                        </a:lnTo>
                        <a:lnTo>
                          <a:pt x="192" y="60"/>
                        </a:lnTo>
                        <a:lnTo>
                          <a:pt x="190" y="58"/>
                        </a:lnTo>
                        <a:lnTo>
                          <a:pt x="188" y="56"/>
                        </a:lnTo>
                        <a:lnTo>
                          <a:pt x="190" y="54"/>
                        </a:lnTo>
                        <a:lnTo>
                          <a:pt x="196" y="52"/>
                        </a:lnTo>
                        <a:lnTo>
                          <a:pt x="208" y="48"/>
                        </a:lnTo>
                        <a:lnTo>
                          <a:pt x="208" y="48"/>
                        </a:lnTo>
                        <a:lnTo>
                          <a:pt x="220" y="46"/>
                        </a:lnTo>
                        <a:lnTo>
                          <a:pt x="226" y="42"/>
                        </a:lnTo>
                        <a:lnTo>
                          <a:pt x="226" y="40"/>
                        </a:lnTo>
                        <a:lnTo>
                          <a:pt x="222" y="38"/>
                        </a:lnTo>
                        <a:lnTo>
                          <a:pt x="218" y="34"/>
                        </a:lnTo>
                        <a:lnTo>
                          <a:pt x="216" y="32"/>
                        </a:lnTo>
                        <a:lnTo>
                          <a:pt x="216" y="28"/>
                        </a:lnTo>
                        <a:lnTo>
                          <a:pt x="222" y="24"/>
                        </a:lnTo>
                        <a:lnTo>
                          <a:pt x="222" y="24"/>
                        </a:lnTo>
                        <a:lnTo>
                          <a:pt x="230" y="20"/>
                        </a:lnTo>
                        <a:lnTo>
                          <a:pt x="232" y="16"/>
                        </a:lnTo>
                        <a:lnTo>
                          <a:pt x="230" y="10"/>
                        </a:lnTo>
                        <a:lnTo>
                          <a:pt x="226" y="6"/>
                        </a:lnTo>
                        <a:lnTo>
                          <a:pt x="218" y="4"/>
                        </a:lnTo>
                        <a:lnTo>
                          <a:pt x="208" y="4"/>
                        </a:lnTo>
                        <a:lnTo>
                          <a:pt x="194" y="4"/>
                        </a:lnTo>
                        <a:lnTo>
                          <a:pt x="180" y="8"/>
                        </a:lnTo>
                        <a:lnTo>
                          <a:pt x="180" y="8"/>
                        </a:lnTo>
                        <a:lnTo>
                          <a:pt x="164" y="12"/>
                        </a:lnTo>
                        <a:lnTo>
                          <a:pt x="152" y="12"/>
                        </a:lnTo>
                        <a:lnTo>
                          <a:pt x="140" y="10"/>
                        </a:lnTo>
                        <a:lnTo>
                          <a:pt x="130" y="6"/>
                        </a:lnTo>
                        <a:lnTo>
                          <a:pt x="120" y="4"/>
                        </a:lnTo>
                        <a:lnTo>
                          <a:pt x="110" y="0"/>
                        </a:lnTo>
                        <a:lnTo>
                          <a:pt x="98" y="0"/>
                        </a:lnTo>
                        <a:lnTo>
                          <a:pt x="86" y="4"/>
                        </a:lnTo>
                        <a:lnTo>
                          <a:pt x="86" y="4"/>
                        </a:lnTo>
                        <a:lnTo>
                          <a:pt x="64" y="14"/>
                        </a:lnTo>
                        <a:lnTo>
                          <a:pt x="56" y="20"/>
                        </a:lnTo>
                        <a:lnTo>
                          <a:pt x="50" y="24"/>
                        </a:lnTo>
                        <a:lnTo>
                          <a:pt x="46" y="28"/>
                        </a:lnTo>
                        <a:lnTo>
                          <a:pt x="48" y="34"/>
                        </a:lnTo>
                        <a:lnTo>
                          <a:pt x="52" y="38"/>
                        </a:lnTo>
                        <a:lnTo>
                          <a:pt x="62" y="44"/>
                        </a:lnTo>
                        <a:lnTo>
                          <a:pt x="70" y="48"/>
                        </a:lnTo>
                        <a:lnTo>
                          <a:pt x="70" y="48"/>
                        </a:lnTo>
                        <a:lnTo>
                          <a:pt x="82" y="52"/>
                        </a:lnTo>
                        <a:lnTo>
                          <a:pt x="88" y="58"/>
                        </a:lnTo>
                        <a:lnTo>
                          <a:pt x="94" y="62"/>
                        </a:lnTo>
                        <a:lnTo>
                          <a:pt x="96" y="68"/>
                        </a:lnTo>
                        <a:lnTo>
                          <a:pt x="94" y="74"/>
                        </a:lnTo>
                        <a:lnTo>
                          <a:pt x="92" y="78"/>
                        </a:lnTo>
                        <a:lnTo>
                          <a:pt x="86" y="84"/>
                        </a:lnTo>
                        <a:lnTo>
                          <a:pt x="78" y="88"/>
                        </a:lnTo>
                        <a:lnTo>
                          <a:pt x="78" y="88"/>
                        </a:lnTo>
                        <a:lnTo>
                          <a:pt x="74" y="88"/>
                        </a:lnTo>
                        <a:lnTo>
                          <a:pt x="68" y="90"/>
                        </a:lnTo>
                        <a:lnTo>
                          <a:pt x="58" y="86"/>
                        </a:lnTo>
                        <a:lnTo>
                          <a:pt x="48" y="80"/>
                        </a:lnTo>
                        <a:lnTo>
                          <a:pt x="38" y="74"/>
                        </a:lnTo>
                        <a:lnTo>
                          <a:pt x="28" y="68"/>
                        </a:lnTo>
                        <a:lnTo>
                          <a:pt x="20" y="64"/>
                        </a:lnTo>
                        <a:lnTo>
                          <a:pt x="16" y="64"/>
                        </a:lnTo>
                        <a:lnTo>
                          <a:pt x="10" y="64"/>
                        </a:lnTo>
                        <a:lnTo>
                          <a:pt x="6" y="66"/>
                        </a:lnTo>
                        <a:lnTo>
                          <a:pt x="2" y="72"/>
                        </a:lnTo>
                        <a:lnTo>
                          <a:pt x="2" y="72"/>
                        </a:lnTo>
                        <a:lnTo>
                          <a:pt x="0" y="78"/>
                        </a:lnTo>
                        <a:lnTo>
                          <a:pt x="0" y="86"/>
                        </a:lnTo>
                        <a:lnTo>
                          <a:pt x="6" y="94"/>
                        </a:lnTo>
                        <a:lnTo>
                          <a:pt x="14" y="102"/>
                        </a:lnTo>
                        <a:lnTo>
                          <a:pt x="26" y="110"/>
                        </a:lnTo>
                        <a:lnTo>
                          <a:pt x="40" y="118"/>
                        </a:lnTo>
                        <a:lnTo>
                          <a:pt x="56" y="124"/>
                        </a:lnTo>
                        <a:lnTo>
                          <a:pt x="74" y="132"/>
                        </a:lnTo>
                        <a:lnTo>
                          <a:pt x="74" y="132"/>
                        </a:lnTo>
                        <a:lnTo>
                          <a:pt x="90" y="138"/>
                        </a:lnTo>
                        <a:lnTo>
                          <a:pt x="104" y="148"/>
                        </a:lnTo>
                        <a:lnTo>
                          <a:pt x="116" y="158"/>
                        </a:lnTo>
                        <a:lnTo>
                          <a:pt x="124" y="168"/>
                        </a:lnTo>
                        <a:lnTo>
                          <a:pt x="142" y="188"/>
                        </a:lnTo>
                        <a:lnTo>
                          <a:pt x="150" y="194"/>
                        </a:lnTo>
                        <a:lnTo>
                          <a:pt x="162" y="198"/>
                        </a:lnTo>
                        <a:lnTo>
                          <a:pt x="162" y="198"/>
                        </a:lnTo>
                        <a:lnTo>
                          <a:pt x="170" y="198"/>
                        </a:lnTo>
                        <a:lnTo>
                          <a:pt x="176" y="194"/>
                        </a:lnTo>
                        <a:lnTo>
                          <a:pt x="178" y="190"/>
                        </a:lnTo>
                        <a:lnTo>
                          <a:pt x="180" y="184"/>
                        </a:lnTo>
                        <a:lnTo>
                          <a:pt x="182" y="178"/>
                        </a:lnTo>
                        <a:lnTo>
                          <a:pt x="182" y="174"/>
                        </a:lnTo>
                        <a:lnTo>
                          <a:pt x="186" y="170"/>
                        </a:lnTo>
                        <a:lnTo>
                          <a:pt x="192" y="170"/>
                        </a:lnTo>
                        <a:lnTo>
                          <a:pt x="192" y="170"/>
                        </a:lnTo>
                        <a:lnTo>
                          <a:pt x="200" y="172"/>
                        </a:lnTo>
                        <a:lnTo>
                          <a:pt x="210" y="172"/>
                        </a:lnTo>
                        <a:lnTo>
                          <a:pt x="220" y="170"/>
                        </a:lnTo>
                        <a:lnTo>
                          <a:pt x="230" y="166"/>
                        </a:lnTo>
                        <a:lnTo>
                          <a:pt x="238" y="162"/>
                        </a:lnTo>
                        <a:lnTo>
                          <a:pt x="246" y="156"/>
                        </a:lnTo>
                        <a:lnTo>
                          <a:pt x="250" y="148"/>
                        </a:lnTo>
                        <a:lnTo>
                          <a:pt x="252" y="138"/>
                        </a:lnTo>
                        <a:lnTo>
                          <a:pt x="252" y="138"/>
                        </a:lnTo>
                        <a:lnTo>
                          <a:pt x="252" y="130"/>
                        </a:lnTo>
                        <a:lnTo>
                          <a:pt x="252" y="124"/>
                        </a:lnTo>
                        <a:lnTo>
                          <a:pt x="256" y="118"/>
                        </a:lnTo>
                        <a:lnTo>
                          <a:pt x="258" y="114"/>
                        </a:lnTo>
                        <a:lnTo>
                          <a:pt x="260" y="112"/>
                        </a:lnTo>
                        <a:lnTo>
                          <a:pt x="258" y="106"/>
                        </a:lnTo>
                        <a:lnTo>
                          <a:pt x="256" y="98"/>
                        </a:lnTo>
                        <a:lnTo>
                          <a:pt x="256" y="9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8" name="Freeform 6116"/>
                  <p:cNvSpPr>
                    <a:spLocks/>
                  </p:cNvSpPr>
                  <p:nvPr/>
                </p:nvSpPr>
                <p:spPr bwMode="auto">
                  <a:xfrm>
                    <a:off x="1750060" y="1098233"/>
                    <a:ext cx="34290" cy="8890"/>
                  </a:xfrm>
                  <a:custGeom>
                    <a:avLst/>
                    <a:gdLst/>
                    <a:ahLst/>
                    <a:cxnLst>
                      <a:cxn ang="0">
                        <a:pos x="2" y="14"/>
                      </a:cxn>
                      <a:cxn ang="0">
                        <a:pos x="2" y="14"/>
                      </a:cxn>
                      <a:cxn ang="0">
                        <a:pos x="8" y="14"/>
                      </a:cxn>
                      <a:cxn ang="0">
                        <a:pos x="16" y="14"/>
                      </a:cxn>
                      <a:cxn ang="0">
                        <a:pos x="36" y="10"/>
                      </a:cxn>
                      <a:cxn ang="0">
                        <a:pos x="50" y="4"/>
                      </a:cxn>
                      <a:cxn ang="0">
                        <a:pos x="54" y="2"/>
                      </a:cxn>
                      <a:cxn ang="0">
                        <a:pos x="54" y="2"/>
                      </a:cxn>
                      <a:cxn ang="0">
                        <a:pos x="54" y="0"/>
                      </a:cxn>
                      <a:cxn ang="0">
                        <a:pos x="54" y="0"/>
                      </a:cxn>
                      <a:cxn ang="0">
                        <a:pos x="48" y="0"/>
                      </a:cxn>
                      <a:cxn ang="0">
                        <a:pos x="38" y="0"/>
                      </a:cxn>
                      <a:cxn ang="0">
                        <a:pos x="18" y="4"/>
                      </a:cxn>
                      <a:cxn ang="0">
                        <a:pos x="2" y="10"/>
                      </a:cxn>
                      <a:cxn ang="0">
                        <a:pos x="0" y="12"/>
                      </a:cxn>
                      <a:cxn ang="0">
                        <a:pos x="2" y="14"/>
                      </a:cxn>
                      <a:cxn ang="0">
                        <a:pos x="2" y="14"/>
                      </a:cxn>
                    </a:cxnLst>
                    <a:rect l="0" t="0" r="r" b="b"/>
                    <a:pathLst>
                      <a:path w="54" h="14">
                        <a:moveTo>
                          <a:pt x="2" y="14"/>
                        </a:moveTo>
                        <a:lnTo>
                          <a:pt x="2" y="14"/>
                        </a:lnTo>
                        <a:lnTo>
                          <a:pt x="8" y="14"/>
                        </a:lnTo>
                        <a:lnTo>
                          <a:pt x="16" y="14"/>
                        </a:lnTo>
                        <a:lnTo>
                          <a:pt x="36" y="10"/>
                        </a:lnTo>
                        <a:lnTo>
                          <a:pt x="50" y="4"/>
                        </a:lnTo>
                        <a:lnTo>
                          <a:pt x="54" y="2"/>
                        </a:lnTo>
                        <a:lnTo>
                          <a:pt x="54" y="2"/>
                        </a:lnTo>
                        <a:lnTo>
                          <a:pt x="54" y="0"/>
                        </a:lnTo>
                        <a:lnTo>
                          <a:pt x="54" y="0"/>
                        </a:lnTo>
                        <a:lnTo>
                          <a:pt x="48" y="0"/>
                        </a:lnTo>
                        <a:lnTo>
                          <a:pt x="38" y="0"/>
                        </a:lnTo>
                        <a:lnTo>
                          <a:pt x="18" y="4"/>
                        </a:lnTo>
                        <a:lnTo>
                          <a:pt x="2" y="10"/>
                        </a:lnTo>
                        <a:lnTo>
                          <a:pt x="0" y="12"/>
                        </a:lnTo>
                        <a:lnTo>
                          <a:pt x="2" y="14"/>
                        </a:lnTo>
                        <a:lnTo>
                          <a:pt x="2" y="1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9" name="Freeform 6117"/>
                  <p:cNvSpPr>
                    <a:spLocks/>
                  </p:cNvSpPr>
                  <p:nvPr/>
                </p:nvSpPr>
                <p:spPr bwMode="auto">
                  <a:xfrm>
                    <a:off x="1854200" y="1394143"/>
                    <a:ext cx="114300" cy="66040"/>
                  </a:xfrm>
                  <a:custGeom>
                    <a:avLst/>
                    <a:gdLst/>
                    <a:ahLst/>
                    <a:cxnLst>
                      <a:cxn ang="0">
                        <a:pos x="42" y="32"/>
                      </a:cxn>
                      <a:cxn ang="0">
                        <a:pos x="42" y="32"/>
                      </a:cxn>
                      <a:cxn ang="0">
                        <a:pos x="32" y="42"/>
                      </a:cxn>
                      <a:cxn ang="0">
                        <a:pos x="24" y="50"/>
                      </a:cxn>
                      <a:cxn ang="0">
                        <a:pos x="14" y="52"/>
                      </a:cxn>
                      <a:cxn ang="0">
                        <a:pos x="8" y="54"/>
                      </a:cxn>
                      <a:cxn ang="0">
                        <a:pos x="2" y="56"/>
                      </a:cxn>
                      <a:cxn ang="0">
                        <a:pos x="0" y="58"/>
                      </a:cxn>
                      <a:cxn ang="0">
                        <a:pos x="2" y="62"/>
                      </a:cxn>
                      <a:cxn ang="0">
                        <a:pos x="10" y="68"/>
                      </a:cxn>
                      <a:cxn ang="0">
                        <a:pos x="10" y="68"/>
                      </a:cxn>
                      <a:cxn ang="0">
                        <a:pos x="20" y="74"/>
                      </a:cxn>
                      <a:cxn ang="0">
                        <a:pos x="34" y="78"/>
                      </a:cxn>
                      <a:cxn ang="0">
                        <a:pos x="72" y="86"/>
                      </a:cxn>
                      <a:cxn ang="0">
                        <a:pos x="72" y="86"/>
                      </a:cxn>
                      <a:cxn ang="0">
                        <a:pos x="84" y="88"/>
                      </a:cxn>
                      <a:cxn ang="0">
                        <a:pos x="94" y="92"/>
                      </a:cxn>
                      <a:cxn ang="0">
                        <a:pos x="112" y="100"/>
                      </a:cxn>
                      <a:cxn ang="0">
                        <a:pos x="120" y="102"/>
                      </a:cxn>
                      <a:cxn ang="0">
                        <a:pos x="128" y="104"/>
                      </a:cxn>
                      <a:cxn ang="0">
                        <a:pos x="136" y="102"/>
                      </a:cxn>
                      <a:cxn ang="0">
                        <a:pos x="142" y="96"/>
                      </a:cxn>
                      <a:cxn ang="0">
                        <a:pos x="142" y="96"/>
                      </a:cxn>
                      <a:cxn ang="0">
                        <a:pos x="150" y="90"/>
                      </a:cxn>
                      <a:cxn ang="0">
                        <a:pos x="156" y="88"/>
                      </a:cxn>
                      <a:cxn ang="0">
                        <a:pos x="164" y="86"/>
                      </a:cxn>
                      <a:cxn ang="0">
                        <a:pos x="170" y="86"/>
                      </a:cxn>
                      <a:cxn ang="0">
                        <a:pos x="174" y="84"/>
                      </a:cxn>
                      <a:cxn ang="0">
                        <a:pos x="178" y="78"/>
                      </a:cxn>
                      <a:cxn ang="0">
                        <a:pos x="178" y="78"/>
                      </a:cxn>
                      <a:cxn ang="0">
                        <a:pos x="180" y="74"/>
                      </a:cxn>
                      <a:cxn ang="0">
                        <a:pos x="180" y="72"/>
                      </a:cxn>
                      <a:cxn ang="0">
                        <a:pos x="174" y="72"/>
                      </a:cxn>
                      <a:cxn ang="0">
                        <a:pos x="170" y="72"/>
                      </a:cxn>
                      <a:cxn ang="0">
                        <a:pos x="164" y="70"/>
                      </a:cxn>
                      <a:cxn ang="0">
                        <a:pos x="158" y="66"/>
                      </a:cxn>
                      <a:cxn ang="0">
                        <a:pos x="152" y="58"/>
                      </a:cxn>
                      <a:cxn ang="0">
                        <a:pos x="152" y="58"/>
                      </a:cxn>
                      <a:cxn ang="0">
                        <a:pos x="148" y="50"/>
                      </a:cxn>
                      <a:cxn ang="0">
                        <a:pos x="144" y="44"/>
                      </a:cxn>
                      <a:cxn ang="0">
                        <a:pos x="140" y="42"/>
                      </a:cxn>
                      <a:cxn ang="0">
                        <a:pos x="136" y="42"/>
                      </a:cxn>
                      <a:cxn ang="0">
                        <a:pos x="124" y="36"/>
                      </a:cxn>
                      <a:cxn ang="0">
                        <a:pos x="116" y="30"/>
                      </a:cxn>
                      <a:cxn ang="0">
                        <a:pos x="106" y="20"/>
                      </a:cxn>
                      <a:cxn ang="0">
                        <a:pos x="106" y="20"/>
                      </a:cxn>
                      <a:cxn ang="0">
                        <a:pos x="94" y="10"/>
                      </a:cxn>
                      <a:cxn ang="0">
                        <a:pos x="86" y="2"/>
                      </a:cxn>
                      <a:cxn ang="0">
                        <a:pos x="78" y="0"/>
                      </a:cxn>
                      <a:cxn ang="0">
                        <a:pos x="70" y="0"/>
                      </a:cxn>
                      <a:cxn ang="0">
                        <a:pos x="64" y="4"/>
                      </a:cxn>
                      <a:cxn ang="0">
                        <a:pos x="56" y="10"/>
                      </a:cxn>
                      <a:cxn ang="0">
                        <a:pos x="42" y="32"/>
                      </a:cxn>
                      <a:cxn ang="0">
                        <a:pos x="42" y="32"/>
                      </a:cxn>
                    </a:cxnLst>
                    <a:rect l="0" t="0" r="r" b="b"/>
                    <a:pathLst>
                      <a:path w="180" h="104">
                        <a:moveTo>
                          <a:pt x="42" y="32"/>
                        </a:moveTo>
                        <a:lnTo>
                          <a:pt x="42" y="32"/>
                        </a:lnTo>
                        <a:lnTo>
                          <a:pt x="32" y="42"/>
                        </a:lnTo>
                        <a:lnTo>
                          <a:pt x="24" y="50"/>
                        </a:lnTo>
                        <a:lnTo>
                          <a:pt x="14" y="52"/>
                        </a:lnTo>
                        <a:lnTo>
                          <a:pt x="8" y="54"/>
                        </a:lnTo>
                        <a:lnTo>
                          <a:pt x="2" y="56"/>
                        </a:lnTo>
                        <a:lnTo>
                          <a:pt x="0" y="58"/>
                        </a:lnTo>
                        <a:lnTo>
                          <a:pt x="2" y="62"/>
                        </a:lnTo>
                        <a:lnTo>
                          <a:pt x="10" y="68"/>
                        </a:lnTo>
                        <a:lnTo>
                          <a:pt x="10" y="68"/>
                        </a:lnTo>
                        <a:lnTo>
                          <a:pt x="20" y="74"/>
                        </a:lnTo>
                        <a:lnTo>
                          <a:pt x="34" y="78"/>
                        </a:lnTo>
                        <a:lnTo>
                          <a:pt x="72" y="86"/>
                        </a:lnTo>
                        <a:lnTo>
                          <a:pt x="72" y="86"/>
                        </a:lnTo>
                        <a:lnTo>
                          <a:pt x="84" y="88"/>
                        </a:lnTo>
                        <a:lnTo>
                          <a:pt x="94" y="92"/>
                        </a:lnTo>
                        <a:lnTo>
                          <a:pt x="112" y="100"/>
                        </a:lnTo>
                        <a:lnTo>
                          <a:pt x="120" y="102"/>
                        </a:lnTo>
                        <a:lnTo>
                          <a:pt x="128" y="104"/>
                        </a:lnTo>
                        <a:lnTo>
                          <a:pt x="136" y="102"/>
                        </a:lnTo>
                        <a:lnTo>
                          <a:pt x="142" y="96"/>
                        </a:lnTo>
                        <a:lnTo>
                          <a:pt x="142" y="96"/>
                        </a:lnTo>
                        <a:lnTo>
                          <a:pt x="150" y="90"/>
                        </a:lnTo>
                        <a:lnTo>
                          <a:pt x="156" y="88"/>
                        </a:lnTo>
                        <a:lnTo>
                          <a:pt x="164" y="86"/>
                        </a:lnTo>
                        <a:lnTo>
                          <a:pt x="170" y="86"/>
                        </a:lnTo>
                        <a:lnTo>
                          <a:pt x="174" y="84"/>
                        </a:lnTo>
                        <a:lnTo>
                          <a:pt x="178" y="78"/>
                        </a:lnTo>
                        <a:lnTo>
                          <a:pt x="178" y="78"/>
                        </a:lnTo>
                        <a:lnTo>
                          <a:pt x="180" y="74"/>
                        </a:lnTo>
                        <a:lnTo>
                          <a:pt x="180" y="72"/>
                        </a:lnTo>
                        <a:lnTo>
                          <a:pt x="174" y="72"/>
                        </a:lnTo>
                        <a:lnTo>
                          <a:pt x="170" y="72"/>
                        </a:lnTo>
                        <a:lnTo>
                          <a:pt x="164" y="70"/>
                        </a:lnTo>
                        <a:lnTo>
                          <a:pt x="158" y="66"/>
                        </a:lnTo>
                        <a:lnTo>
                          <a:pt x="152" y="58"/>
                        </a:lnTo>
                        <a:lnTo>
                          <a:pt x="152" y="58"/>
                        </a:lnTo>
                        <a:lnTo>
                          <a:pt x="148" y="50"/>
                        </a:lnTo>
                        <a:lnTo>
                          <a:pt x="144" y="44"/>
                        </a:lnTo>
                        <a:lnTo>
                          <a:pt x="140" y="42"/>
                        </a:lnTo>
                        <a:lnTo>
                          <a:pt x="136" y="42"/>
                        </a:lnTo>
                        <a:lnTo>
                          <a:pt x="124" y="36"/>
                        </a:lnTo>
                        <a:lnTo>
                          <a:pt x="116" y="30"/>
                        </a:lnTo>
                        <a:lnTo>
                          <a:pt x="106" y="20"/>
                        </a:lnTo>
                        <a:lnTo>
                          <a:pt x="106" y="20"/>
                        </a:lnTo>
                        <a:lnTo>
                          <a:pt x="94" y="10"/>
                        </a:lnTo>
                        <a:lnTo>
                          <a:pt x="86" y="2"/>
                        </a:lnTo>
                        <a:lnTo>
                          <a:pt x="78" y="0"/>
                        </a:lnTo>
                        <a:lnTo>
                          <a:pt x="70" y="0"/>
                        </a:lnTo>
                        <a:lnTo>
                          <a:pt x="64" y="4"/>
                        </a:lnTo>
                        <a:lnTo>
                          <a:pt x="56" y="10"/>
                        </a:lnTo>
                        <a:lnTo>
                          <a:pt x="42" y="32"/>
                        </a:lnTo>
                        <a:lnTo>
                          <a:pt x="42" y="3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50" name="Freeform 6118"/>
                  <p:cNvSpPr>
                    <a:spLocks/>
                  </p:cNvSpPr>
                  <p:nvPr/>
                </p:nvSpPr>
                <p:spPr bwMode="auto">
                  <a:xfrm>
                    <a:off x="2542540" y="699453"/>
                    <a:ext cx="1550670" cy="1127760"/>
                  </a:xfrm>
                  <a:custGeom>
                    <a:avLst/>
                    <a:gdLst/>
                    <a:ahLst/>
                    <a:cxnLst>
                      <a:cxn ang="0">
                        <a:pos x="220" y="296"/>
                      </a:cxn>
                      <a:cxn ang="0">
                        <a:pos x="150" y="400"/>
                      </a:cxn>
                      <a:cxn ang="0">
                        <a:pos x="96" y="502"/>
                      </a:cxn>
                      <a:cxn ang="0">
                        <a:pos x="62" y="558"/>
                      </a:cxn>
                      <a:cxn ang="0">
                        <a:pos x="228" y="618"/>
                      </a:cxn>
                      <a:cxn ang="0">
                        <a:pos x="350" y="620"/>
                      </a:cxn>
                      <a:cxn ang="0">
                        <a:pos x="584" y="666"/>
                      </a:cxn>
                      <a:cxn ang="0">
                        <a:pos x="674" y="786"/>
                      </a:cxn>
                      <a:cxn ang="0">
                        <a:pos x="706" y="902"/>
                      </a:cxn>
                      <a:cxn ang="0">
                        <a:pos x="744" y="990"/>
                      </a:cxn>
                      <a:cxn ang="0">
                        <a:pos x="836" y="1010"/>
                      </a:cxn>
                      <a:cxn ang="0">
                        <a:pos x="750" y="1050"/>
                      </a:cxn>
                      <a:cxn ang="0">
                        <a:pos x="890" y="1110"/>
                      </a:cxn>
                      <a:cxn ang="0">
                        <a:pos x="788" y="1212"/>
                      </a:cxn>
                      <a:cxn ang="0">
                        <a:pos x="782" y="1328"/>
                      </a:cxn>
                      <a:cxn ang="0">
                        <a:pos x="834" y="1452"/>
                      </a:cxn>
                      <a:cxn ang="0">
                        <a:pos x="922" y="1474"/>
                      </a:cxn>
                      <a:cxn ang="0">
                        <a:pos x="860" y="1502"/>
                      </a:cxn>
                      <a:cxn ang="0">
                        <a:pos x="908" y="1598"/>
                      </a:cxn>
                      <a:cxn ang="0">
                        <a:pos x="966" y="1678"/>
                      </a:cxn>
                      <a:cxn ang="0">
                        <a:pos x="1032" y="1712"/>
                      </a:cxn>
                      <a:cxn ang="0">
                        <a:pos x="1090" y="1738"/>
                      </a:cxn>
                      <a:cxn ang="0">
                        <a:pos x="1196" y="1768"/>
                      </a:cxn>
                      <a:cxn ang="0">
                        <a:pos x="1232" y="1622"/>
                      </a:cxn>
                      <a:cxn ang="0">
                        <a:pos x="1262" y="1566"/>
                      </a:cxn>
                      <a:cxn ang="0">
                        <a:pos x="1262" y="1486"/>
                      </a:cxn>
                      <a:cxn ang="0">
                        <a:pos x="1332" y="1420"/>
                      </a:cxn>
                      <a:cxn ang="0">
                        <a:pos x="1402" y="1376"/>
                      </a:cxn>
                      <a:cxn ang="0">
                        <a:pos x="1412" y="1372"/>
                      </a:cxn>
                      <a:cxn ang="0">
                        <a:pos x="1468" y="1372"/>
                      </a:cxn>
                      <a:cxn ang="0">
                        <a:pos x="1628" y="1238"/>
                      </a:cxn>
                      <a:cxn ang="0">
                        <a:pos x="1748" y="1208"/>
                      </a:cxn>
                      <a:cxn ang="0">
                        <a:pos x="2012" y="1102"/>
                      </a:cxn>
                      <a:cxn ang="0">
                        <a:pos x="1846" y="1076"/>
                      </a:cxn>
                      <a:cxn ang="0">
                        <a:pos x="1800" y="1058"/>
                      </a:cxn>
                      <a:cxn ang="0">
                        <a:pos x="1842" y="970"/>
                      </a:cxn>
                      <a:cxn ang="0">
                        <a:pos x="2060" y="1056"/>
                      </a:cxn>
                      <a:cxn ang="0">
                        <a:pos x="2054" y="956"/>
                      </a:cxn>
                      <a:cxn ang="0">
                        <a:pos x="1916" y="858"/>
                      </a:cxn>
                      <a:cxn ang="0">
                        <a:pos x="2100" y="830"/>
                      </a:cxn>
                      <a:cxn ang="0">
                        <a:pos x="2142" y="768"/>
                      </a:cxn>
                      <a:cxn ang="0">
                        <a:pos x="2154" y="698"/>
                      </a:cxn>
                      <a:cxn ang="0">
                        <a:pos x="2066" y="608"/>
                      </a:cxn>
                      <a:cxn ang="0">
                        <a:pos x="2144" y="562"/>
                      </a:cxn>
                      <a:cxn ang="0">
                        <a:pos x="2144" y="504"/>
                      </a:cxn>
                      <a:cxn ang="0">
                        <a:pos x="2096" y="408"/>
                      </a:cxn>
                      <a:cxn ang="0">
                        <a:pos x="2228" y="310"/>
                      </a:cxn>
                      <a:cxn ang="0">
                        <a:pos x="2278" y="276"/>
                      </a:cxn>
                      <a:cxn ang="0">
                        <a:pos x="2298" y="244"/>
                      </a:cxn>
                      <a:cxn ang="0">
                        <a:pos x="2322" y="150"/>
                      </a:cxn>
                      <a:cxn ang="0">
                        <a:pos x="2050" y="210"/>
                      </a:cxn>
                      <a:cxn ang="0">
                        <a:pos x="1962" y="152"/>
                      </a:cxn>
                      <a:cxn ang="0">
                        <a:pos x="1616" y="174"/>
                      </a:cxn>
                      <a:cxn ang="0">
                        <a:pos x="2034" y="78"/>
                      </a:cxn>
                      <a:cxn ang="0">
                        <a:pos x="1724" y="52"/>
                      </a:cxn>
                      <a:cxn ang="0">
                        <a:pos x="1618" y="2"/>
                      </a:cxn>
                      <a:cxn ang="0">
                        <a:pos x="1402" y="44"/>
                      </a:cxn>
                      <a:cxn ang="0">
                        <a:pos x="1048" y="56"/>
                      </a:cxn>
                      <a:cxn ang="0">
                        <a:pos x="1110" y="74"/>
                      </a:cxn>
                      <a:cxn ang="0">
                        <a:pos x="1108" y="158"/>
                      </a:cxn>
                      <a:cxn ang="0">
                        <a:pos x="900" y="148"/>
                      </a:cxn>
                      <a:cxn ang="0">
                        <a:pos x="756" y="114"/>
                      </a:cxn>
                    </a:cxnLst>
                    <a:rect l="0" t="0" r="r" b="b"/>
                    <a:pathLst>
                      <a:path w="2442" h="1776">
                        <a:moveTo>
                          <a:pt x="470" y="176"/>
                        </a:moveTo>
                        <a:lnTo>
                          <a:pt x="470" y="176"/>
                        </a:lnTo>
                        <a:lnTo>
                          <a:pt x="476" y="186"/>
                        </a:lnTo>
                        <a:lnTo>
                          <a:pt x="478" y="194"/>
                        </a:lnTo>
                        <a:lnTo>
                          <a:pt x="480" y="202"/>
                        </a:lnTo>
                        <a:lnTo>
                          <a:pt x="478" y="210"/>
                        </a:lnTo>
                        <a:lnTo>
                          <a:pt x="474" y="216"/>
                        </a:lnTo>
                        <a:lnTo>
                          <a:pt x="466" y="218"/>
                        </a:lnTo>
                        <a:lnTo>
                          <a:pt x="458" y="220"/>
                        </a:lnTo>
                        <a:lnTo>
                          <a:pt x="446" y="218"/>
                        </a:lnTo>
                        <a:lnTo>
                          <a:pt x="446" y="218"/>
                        </a:lnTo>
                        <a:lnTo>
                          <a:pt x="426" y="212"/>
                        </a:lnTo>
                        <a:lnTo>
                          <a:pt x="406" y="210"/>
                        </a:lnTo>
                        <a:lnTo>
                          <a:pt x="386" y="210"/>
                        </a:lnTo>
                        <a:lnTo>
                          <a:pt x="368" y="212"/>
                        </a:lnTo>
                        <a:lnTo>
                          <a:pt x="350" y="216"/>
                        </a:lnTo>
                        <a:lnTo>
                          <a:pt x="334" y="222"/>
                        </a:lnTo>
                        <a:lnTo>
                          <a:pt x="318" y="230"/>
                        </a:lnTo>
                        <a:lnTo>
                          <a:pt x="304" y="238"/>
                        </a:lnTo>
                        <a:lnTo>
                          <a:pt x="304" y="238"/>
                        </a:lnTo>
                        <a:lnTo>
                          <a:pt x="272" y="256"/>
                        </a:lnTo>
                        <a:lnTo>
                          <a:pt x="244" y="270"/>
                        </a:lnTo>
                        <a:lnTo>
                          <a:pt x="232" y="276"/>
                        </a:lnTo>
                        <a:lnTo>
                          <a:pt x="222" y="284"/>
                        </a:lnTo>
                        <a:lnTo>
                          <a:pt x="218" y="290"/>
                        </a:lnTo>
                        <a:lnTo>
                          <a:pt x="218" y="292"/>
                        </a:lnTo>
                        <a:lnTo>
                          <a:pt x="220" y="296"/>
                        </a:lnTo>
                        <a:lnTo>
                          <a:pt x="220" y="296"/>
                        </a:lnTo>
                        <a:lnTo>
                          <a:pt x="226" y="300"/>
                        </a:lnTo>
                        <a:lnTo>
                          <a:pt x="234" y="304"/>
                        </a:lnTo>
                        <a:lnTo>
                          <a:pt x="244" y="308"/>
                        </a:lnTo>
                        <a:lnTo>
                          <a:pt x="256" y="308"/>
                        </a:lnTo>
                        <a:lnTo>
                          <a:pt x="280" y="308"/>
                        </a:lnTo>
                        <a:lnTo>
                          <a:pt x="302" y="306"/>
                        </a:lnTo>
                        <a:lnTo>
                          <a:pt x="302" y="306"/>
                        </a:lnTo>
                        <a:lnTo>
                          <a:pt x="310" y="306"/>
                        </a:lnTo>
                        <a:lnTo>
                          <a:pt x="316" y="310"/>
                        </a:lnTo>
                        <a:lnTo>
                          <a:pt x="318" y="318"/>
                        </a:lnTo>
                        <a:lnTo>
                          <a:pt x="320" y="326"/>
                        </a:lnTo>
                        <a:lnTo>
                          <a:pt x="318" y="338"/>
                        </a:lnTo>
                        <a:lnTo>
                          <a:pt x="314" y="348"/>
                        </a:lnTo>
                        <a:lnTo>
                          <a:pt x="308" y="360"/>
                        </a:lnTo>
                        <a:lnTo>
                          <a:pt x="300" y="370"/>
                        </a:lnTo>
                        <a:lnTo>
                          <a:pt x="300" y="370"/>
                        </a:lnTo>
                        <a:lnTo>
                          <a:pt x="290" y="380"/>
                        </a:lnTo>
                        <a:lnTo>
                          <a:pt x="280" y="384"/>
                        </a:lnTo>
                        <a:lnTo>
                          <a:pt x="268" y="386"/>
                        </a:lnTo>
                        <a:lnTo>
                          <a:pt x="254" y="386"/>
                        </a:lnTo>
                        <a:lnTo>
                          <a:pt x="224" y="382"/>
                        </a:lnTo>
                        <a:lnTo>
                          <a:pt x="206" y="382"/>
                        </a:lnTo>
                        <a:lnTo>
                          <a:pt x="188" y="384"/>
                        </a:lnTo>
                        <a:lnTo>
                          <a:pt x="188" y="384"/>
                        </a:lnTo>
                        <a:lnTo>
                          <a:pt x="172" y="388"/>
                        </a:lnTo>
                        <a:lnTo>
                          <a:pt x="162" y="392"/>
                        </a:lnTo>
                        <a:lnTo>
                          <a:pt x="154" y="396"/>
                        </a:lnTo>
                        <a:lnTo>
                          <a:pt x="150" y="400"/>
                        </a:lnTo>
                        <a:lnTo>
                          <a:pt x="142" y="404"/>
                        </a:lnTo>
                        <a:lnTo>
                          <a:pt x="130" y="408"/>
                        </a:lnTo>
                        <a:lnTo>
                          <a:pt x="112" y="412"/>
                        </a:lnTo>
                        <a:lnTo>
                          <a:pt x="84" y="418"/>
                        </a:lnTo>
                        <a:lnTo>
                          <a:pt x="84" y="418"/>
                        </a:lnTo>
                        <a:lnTo>
                          <a:pt x="54" y="422"/>
                        </a:lnTo>
                        <a:lnTo>
                          <a:pt x="32" y="428"/>
                        </a:lnTo>
                        <a:lnTo>
                          <a:pt x="16" y="434"/>
                        </a:lnTo>
                        <a:lnTo>
                          <a:pt x="4" y="440"/>
                        </a:lnTo>
                        <a:lnTo>
                          <a:pt x="0" y="448"/>
                        </a:lnTo>
                        <a:lnTo>
                          <a:pt x="0" y="456"/>
                        </a:lnTo>
                        <a:lnTo>
                          <a:pt x="4" y="464"/>
                        </a:lnTo>
                        <a:lnTo>
                          <a:pt x="12" y="472"/>
                        </a:lnTo>
                        <a:lnTo>
                          <a:pt x="12" y="472"/>
                        </a:lnTo>
                        <a:lnTo>
                          <a:pt x="20" y="478"/>
                        </a:lnTo>
                        <a:lnTo>
                          <a:pt x="28" y="482"/>
                        </a:lnTo>
                        <a:lnTo>
                          <a:pt x="38" y="484"/>
                        </a:lnTo>
                        <a:lnTo>
                          <a:pt x="48" y="484"/>
                        </a:lnTo>
                        <a:lnTo>
                          <a:pt x="52" y="486"/>
                        </a:lnTo>
                        <a:lnTo>
                          <a:pt x="56" y="490"/>
                        </a:lnTo>
                        <a:lnTo>
                          <a:pt x="56" y="490"/>
                        </a:lnTo>
                        <a:lnTo>
                          <a:pt x="62" y="494"/>
                        </a:lnTo>
                        <a:lnTo>
                          <a:pt x="68" y="496"/>
                        </a:lnTo>
                        <a:lnTo>
                          <a:pt x="78" y="496"/>
                        </a:lnTo>
                        <a:lnTo>
                          <a:pt x="88" y="496"/>
                        </a:lnTo>
                        <a:lnTo>
                          <a:pt x="92" y="498"/>
                        </a:lnTo>
                        <a:lnTo>
                          <a:pt x="96" y="502"/>
                        </a:lnTo>
                        <a:lnTo>
                          <a:pt x="96" y="502"/>
                        </a:lnTo>
                        <a:lnTo>
                          <a:pt x="102" y="506"/>
                        </a:lnTo>
                        <a:lnTo>
                          <a:pt x="108" y="510"/>
                        </a:lnTo>
                        <a:lnTo>
                          <a:pt x="116" y="514"/>
                        </a:lnTo>
                        <a:lnTo>
                          <a:pt x="124" y="514"/>
                        </a:lnTo>
                        <a:lnTo>
                          <a:pt x="144" y="516"/>
                        </a:lnTo>
                        <a:lnTo>
                          <a:pt x="174" y="516"/>
                        </a:lnTo>
                        <a:lnTo>
                          <a:pt x="174" y="516"/>
                        </a:lnTo>
                        <a:lnTo>
                          <a:pt x="192" y="516"/>
                        </a:lnTo>
                        <a:lnTo>
                          <a:pt x="208" y="514"/>
                        </a:lnTo>
                        <a:lnTo>
                          <a:pt x="238" y="508"/>
                        </a:lnTo>
                        <a:lnTo>
                          <a:pt x="250" y="506"/>
                        </a:lnTo>
                        <a:lnTo>
                          <a:pt x="260" y="506"/>
                        </a:lnTo>
                        <a:lnTo>
                          <a:pt x="268" y="506"/>
                        </a:lnTo>
                        <a:lnTo>
                          <a:pt x="272" y="512"/>
                        </a:lnTo>
                        <a:lnTo>
                          <a:pt x="272" y="512"/>
                        </a:lnTo>
                        <a:lnTo>
                          <a:pt x="272" y="516"/>
                        </a:lnTo>
                        <a:lnTo>
                          <a:pt x="268" y="520"/>
                        </a:lnTo>
                        <a:lnTo>
                          <a:pt x="260" y="524"/>
                        </a:lnTo>
                        <a:lnTo>
                          <a:pt x="248" y="524"/>
                        </a:lnTo>
                        <a:lnTo>
                          <a:pt x="174" y="528"/>
                        </a:lnTo>
                        <a:lnTo>
                          <a:pt x="174" y="528"/>
                        </a:lnTo>
                        <a:lnTo>
                          <a:pt x="128" y="534"/>
                        </a:lnTo>
                        <a:lnTo>
                          <a:pt x="106" y="538"/>
                        </a:lnTo>
                        <a:lnTo>
                          <a:pt x="86" y="542"/>
                        </a:lnTo>
                        <a:lnTo>
                          <a:pt x="72" y="546"/>
                        </a:lnTo>
                        <a:lnTo>
                          <a:pt x="62" y="552"/>
                        </a:lnTo>
                        <a:lnTo>
                          <a:pt x="60" y="554"/>
                        </a:lnTo>
                        <a:lnTo>
                          <a:pt x="62" y="558"/>
                        </a:lnTo>
                        <a:lnTo>
                          <a:pt x="64" y="562"/>
                        </a:lnTo>
                        <a:lnTo>
                          <a:pt x="68" y="564"/>
                        </a:lnTo>
                        <a:lnTo>
                          <a:pt x="68" y="564"/>
                        </a:lnTo>
                        <a:lnTo>
                          <a:pt x="84" y="570"/>
                        </a:lnTo>
                        <a:lnTo>
                          <a:pt x="102" y="574"/>
                        </a:lnTo>
                        <a:lnTo>
                          <a:pt x="140" y="580"/>
                        </a:lnTo>
                        <a:lnTo>
                          <a:pt x="154" y="584"/>
                        </a:lnTo>
                        <a:lnTo>
                          <a:pt x="162" y="586"/>
                        </a:lnTo>
                        <a:lnTo>
                          <a:pt x="162" y="588"/>
                        </a:lnTo>
                        <a:lnTo>
                          <a:pt x="160" y="590"/>
                        </a:lnTo>
                        <a:lnTo>
                          <a:pt x="148" y="594"/>
                        </a:lnTo>
                        <a:lnTo>
                          <a:pt x="148" y="594"/>
                        </a:lnTo>
                        <a:lnTo>
                          <a:pt x="136" y="598"/>
                        </a:lnTo>
                        <a:lnTo>
                          <a:pt x="132" y="602"/>
                        </a:lnTo>
                        <a:lnTo>
                          <a:pt x="132" y="604"/>
                        </a:lnTo>
                        <a:lnTo>
                          <a:pt x="132" y="606"/>
                        </a:lnTo>
                        <a:lnTo>
                          <a:pt x="136" y="608"/>
                        </a:lnTo>
                        <a:lnTo>
                          <a:pt x="146" y="614"/>
                        </a:lnTo>
                        <a:lnTo>
                          <a:pt x="182" y="624"/>
                        </a:lnTo>
                        <a:lnTo>
                          <a:pt x="224" y="636"/>
                        </a:lnTo>
                        <a:lnTo>
                          <a:pt x="224" y="636"/>
                        </a:lnTo>
                        <a:lnTo>
                          <a:pt x="242" y="642"/>
                        </a:lnTo>
                        <a:lnTo>
                          <a:pt x="248" y="642"/>
                        </a:lnTo>
                        <a:lnTo>
                          <a:pt x="248" y="642"/>
                        </a:lnTo>
                        <a:lnTo>
                          <a:pt x="248" y="640"/>
                        </a:lnTo>
                        <a:lnTo>
                          <a:pt x="242" y="634"/>
                        </a:lnTo>
                        <a:lnTo>
                          <a:pt x="230" y="622"/>
                        </a:lnTo>
                        <a:lnTo>
                          <a:pt x="228" y="618"/>
                        </a:lnTo>
                        <a:lnTo>
                          <a:pt x="228" y="616"/>
                        </a:lnTo>
                        <a:lnTo>
                          <a:pt x="232" y="614"/>
                        </a:lnTo>
                        <a:lnTo>
                          <a:pt x="232" y="614"/>
                        </a:lnTo>
                        <a:lnTo>
                          <a:pt x="238" y="612"/>
                        </a:lnTo>
                        <a:lnTo>
                          <a:pt x="242" y="614"/>
                        </a:lnTo>
                        <a:lnTo>
                          <a:pt x="246" y="620"/>
                        </a:lnTo>
                        <a:lnTo>
                          <a:pt x="250" y="622"/>
                        </a:lnTo>
                        <a:lnTo>
                          <a:pt x="254" y="622"/>
                        </a:lnTo>
                        <a:lnTo>
                          <a:pt x="262" y="622"/>
                        </a:lnTo>
                        <a:lnTo>
                          <a:pt x="272" y="618"/>
                        </a:lnTo>
                        <a:lnTo>
                          <a:pt x="272" y="618"/>
                        </a:lnTo>
                        <a:lnTo>
                          <a:pt x="282" y="614"/>
                        </a:lnTo>
                        <a:lnTo>
                          <a:pt x="286" y="614"/>
                        </a:lnTo>
                        <a:lnTo>
                          <a:pt x="286" y="616"/>
                        </a:lnTo>
                        <a:lnTo>
                          <a:pt x="286" y="618"/>
                        </a:lnTo>
                        <a:lnTo>
                          <a:pt x="284" y="622"/>
                        </a:lnTo>
                        <a:lnTo>
                          <a:pt x="286" y="626"/>
                        </a:lnTo>
                        <a:lnTo>
                          <a:pt x="290" y="630"/>
                        </a:lnTo>
                        <a:lnTo>
                          <a:pt x="300" y="630"/>
                        </a:lnTo>
                        <a:lnTo>
                          <a:pt x="300" y="630"/>
                        </a:lnTo>
                        <a:lnTo>
                          <a:pt x="312" y="630"/>
                        </a:lnTo>
                        <a:lnTo>
                          <a:pt x="320" y="626"/>
                        </a:lnTo>
                        <a:lnTo>
                          <a:pt x="326" y="622"/>
                        </a:lnTo>
                        <a:lnTo>
                          <a:pt x="330" y="618"/>
                        </a:lnTo>
                        <a:lnTo>
                          <a:pt x="334" y="616"/>
                        </a:lnTo>
                        <a:lnTo>
                          <a:pt x="338" y="614"/>
                        </a:lnTo>
                        <a:lnTo>
                          <a:pt x="344" y="614"/>
                        </a:lnTo>
                        <a:lnTo>
                          <a:pt x="350" y="620"/>
                        </a:lnTo>
                        <a:lnTo>
                          <a:pt x="350" y="620"/>
                        </a:lnTo>
                        <a:lnTo>
                          <a:pt x="358" y="624"/>
                        </a:lnTo>
                        <a:lnTo>
                          <a:pt x="364" y="624"/>
                        </a:lnTo>
                        <a:lnTo>
                          <a:pt x="368" y="622"/>
                        </a:lnTo>
                        <a:lnTo>
                          <a:pt x="370" y="618"/>
                        </a:lnTo>
                        <a:lnTo>
                          <a:pt x="374" y="614"/>
                        </a:lnTo>
                        <a:lnTo>
                          <a:pt x="380" y="610"/>
                        </a:lnTo>
                        <a:lnTo>
                          <a:pt x="386" y="610"/>
                        </a:lnTo>
                        <a:lnTo>
                          <a:pt x="396" y="612"/>
                        </a:lnTo>
                        <a:lnTo>
                          <a:pt x="396" y="612"/>
                        </a:lnTo>
                        <a:lnTo>
                          <a:pt x="408" y="616"/>
                        </a:lnTo>
                        <a:lnTo>
                          <a:pt x="420" y="618"/>
                        </a:lnTo>
                        <a:lnTo>
                          <a:pt x="446" y="618"/>
                        </a:lnTo>
                        <a:lnTo>
                          <a:pt x="468" y="620"/>
                        </a:lnTo>
                        <a:lnTo>
                          <a:pt x="476" y="622"/>
                        </a:lnTo>
                        <a:lnTo>
                          <a:pt x="484" y="628"/>
                        </a:lnTo>
                        <a:lnTo>
                          <a:pt x="484" y="628"/>
                        </a:lnTo>
                        <a:lnTo>
                          <a:pt x="488" y="632"/>
                        </a:lnTo>
                        <a:lnTo>
                          <a:pt x="492" y="634"/>
                        </a:lnTo>
                        <a:lnTo>
                          <a:pt x="500" y="634"/>
                        </a:lnTo>
                        <a:lnTo>
                          <a:pt x="506" y="634"/>
                        </a:lnTo>
                        <a:lnTo>
                          <a:pt x="512" y="634"/>
                        </a:lnTo>
                        <a:lnTo>
                          <a:pt x="522" y="638"/>
                        </a:lnTo>
                        <a:lnTo>
                          <a:pt x="534" y="642"/>
                        </a:lnTo>
                        <a:lnTo>
                          <a:pt x="534" y="642"/>
                        </a:lnTo>
                        <a:lnTo>
                          <a:pt x="560" y="654"/>
                        </a:lnTo>
                        <a:lnTo>
                          <a:pt x="578" y="664"/>
                        </a:lnTo>
                        <a:lnTo>
                          <a:pt x="584" y="666"/>
                        </a:lnTo>
                        <a:lnTo>
                          <a:pt x="584" y="670"/>
                        </a:lnTo>
                        <a:lnTo>
                          <a:pt x="584" y="674"/>
                        </a:lnTo>
                        <a:lnTo>
                          <a:pt x="578" y="680"/>
                        </a:lnTo>
                        <a:lnTo>
                          <a:pt x="578" y="680"/>
                        </a:lnTo>
                        <a:lnTo>
                          <a:pt x="576" y="684"/>
                        </a:lnTo>
                        <a:lnTo>
                          <a:pt x="576" y="688"/>
                        </a:lnTo>
                        <a:lnTo>
                          <a:pt x="578" y="692"/>
                        </a:lnTo>
                        <a:lnTo>
                          <a:pt x="582" y="696"/>
                        </a:lnTo>
                        <a:lnTo>
                          <a:pt x="596" y="704"/>
                        </a:lnTo>
                        <a:lnTo>
                          <a:pt x="612" y="714"/>
                        </a:lnTo>
                        <a:lnTo>
                          <a:pt x="642" y="734"/>
                        </a:lnTo>
                        <a:lnTo>
                          <a:pt x="652" y="742"/>
                        </a:lnTo>
                        <a:lnTo>
                          <a:pt x="654" y="746"/>
                        </a:lnTo>
                        <a:lnTo>
                          <a:pt x="654" y="750"/>
                        </a:lnTo>
                        <a:lnTo>
                          <a:pt x="654" y="750"/>
                        </a:lnTo>
                        <a:lnTo>
                          <a:pt x="650" y="756"/>
                        </a:lnTo>
                        <a:lnTo>
                          <a:pt x="644" y="764"/>
                        </a:lnTo>
                        <a:lnTo>
                          <a:pt x="632" y="776"/>
                        </a:lnTo>
                        <a:lnTo>
                          <a:pt x="628" y="780"/>
                        </a:lnTo>
                        <a:lnTo>
                          <a:pt x="628" y="782"/>
                        </a:lnTo>
                        <a:lnTo>
                          <a:pt x="632" y="784"/>
                        </a:lnTo>
                        <a:lnTo>
                          <a:pt x="642" y="780"/>
                        </a:lnTo>
                        <a:lnTo>
                          <a:pt x="642" y="780"/>
                        </a:lnTo>
                        <a:lnTo>
                          <a:pt x="660" y="776"/>
                        </a:lnTo>
                        <a:lnTo>
                          <a:pt x="666" y="776"/>
                        </a:lnTo>
                        <a:lnTo>
                          <a:pt x="668" y="776"/>
                        </a:lnTo>
                        <a:lnTo>
                          <a:pt x="670" y="782"/>
                        </a:lnTo>
                        <a:lnTo>
                          <a:pt x="674" y="786"/>
                        </a:lnTo>
                        <a:lnTo>
                          <a:pt x="678" y="790"/>
                        </a:lnTo>
                        <a:lnTo>
                          <a:pt x="678" y="790"/>
                        </a:lnTo>
                        <a:lnTo>
                          <a:pt x="684" y="794"/>
                        </a:lnTo>
                        <a:lnTo>
                          <a:pt x="686" y="798"/>
                        </a:lnTo>
                        <a:lnTo>
                          <a:pt x="684" y="802"/>
                        </a:lnTo>
                        <a:lnTo>
                          <a:pt x="682" y="806"/>
                        </a:lnTo>
                        <a:lnTo>
                          <a:pt x="680" y="810"/>
                        </a:lnTo>
                        <a:lnTo>
                          <a:pt x="680" y="814"/>
                        </a:lnTo>
                        <a:lnTo>
                          <a:pt x="686" y="818"/>
                        </a:lnTo>
                        <a:lnTo>
                          <a:pt x="696" y="824"/>
                        </a:lnTo>
                        <a:lnTo>
                          <a:pt x="696" y="824"/>
                        </a:lnTo>
                        <a:lnTo>
                          <a:pt x="704" y="828"/>
                        </a:lnTo>
                        <a:lnTo>
                          <a:pt x="708" y="834"/>
                        </a:lnTo>
                        <a:lnTo>
                          <a:pt x="706" y="838"/>
                        </a:lnTo>
                        <a:lnTo>
                          <a:pt x="702" y="844"/>
                        </a:lnTo>
                        <a:lnTo>
                          <a:pt x="700" y="850"/>
                        </a:lnTo>
                        <a:lnTo>
                          <a:pt x="698" y="854"/>
                        </a:lnTo>
                        <a:lnTo>
                          <a:pt x="702" y="858"/>
                        </a:lnTo>
                        <a:lnTo>
                          <a:pt x="710" y="862"/>
                        </a:lnTo>
                        <a:lnTo>
                          <a:pt x="710" y="862"/>
                        </a:lnTo>
                        <a:lnTo>
                          <a:pt x="720" y="864"/>
                        </a:lnTo>
                        <a:lnTo>
                          <a:pt x="726" y="870"/>
                        </a:lnTo>
                        <a:lnTo>
                          <a:pt x="730" y="876"/>
                        </a:lnTo>
                        <a:lnTo>
                          <a:pt x="730" y="882"/>
                        </a:lnTo>
                        <a:lnTo>
                          <a:pt x="728" y="888"/>
                        </a:lnTo>
                        <a:lnTo>
                          <a:pt x="722" y="894"/>
                        </a:lnTo>
                        <a:lnTo>
                          <a:pt x="716" y="898"/>
                        </a:lnTo>
                        <a:lnTo>
                          <a:pt x="706" y="902"/>
                        </a:lnTo>
                        <a:lnTo>
                          <a:pt x="706" y="902"/>
                        </a:lnTo>
                        <a:lnTo>
                          <a:pt x="698" y="904"/>
                        </a:lnTo>
                        <a:lnTo>
                          <a:pt x="694" y="906"/>
                        </a:lnTo>
                        <a:lnTo>
                          <a:pt x="690" y="910"/>
                        </a:lnTo>
                        <a:lnTo>
                          <a:pt x="690" y="916"/>
                        </a:lnTo>
                        <a:lnTo>
                          <a:pt x="690" y="922"/>
                        </a:lnTo>
                        <a:lnTo>
                          <a:pt x="694" y="928"/>
                        </a:lnTo>
                        <a:lnTo>
                          <a:pt x="704" y="942"/>
                        </a:lnTo>
                        <a:lnTo>
                          <a:pt x="704" y="942"/>
                        </a:lnTo>
                        <a:lnTo>
                          <a:pt x="708" y="948"/>
                        </a:lnTo>
                        <a:lnTo>
                          <a:pt x="708" y="952"/>
                        </a:lnTo>
                        <a:lnTo>
                          <a:pt x="704" y="956"/>
                        </a:lnTo>
                        <a:lnTo>
                          <a:pt x="698" y="956"/>
                        </a:lnTo>
                        <a:lnTo>
                          <a:pt x="686" y="960"/>
                        </a:lnTo>
                        <a:lnTo>
                          <a:pt x="682" y="960"/>
                        </a:lnTo>
                        <a:lnTo>
                          <a:pt x="684" y="964"/>
                        </a:lnTo>
                        <a:lnTo>
                          <a:pt x="684" y="964"/>
                        </a:lnTo>
                        <a:lnTo>
                          <a:pt x="690" y="972"/>
                        </a:lnTo>
                        <a:lnTo>
                          <a:pt x="696" y="980"/>
                        </a:lnTo>
                        <a:lnTo>
                          <a:pt x="698" y="984"/>
                        </a:lnTo>
                        <a:lnTo>
                          <a:pt x="702" y="986"/>
                        </a:lnTo>
                        <a:lnTo>
                          <a:pt x="706" y="986"/>
                        </a:lnTo>
                        <a:lnTo>
                          <a:pt x="710" y="984"/>
                        </a:lnTo>
                        <a:lnTo>
                          <a:pt x="710" y="984"/>
                        </a:lnTo>
                        <a:lnTo>
                          <a:pt x="716" y="984"/>
                        </a:lnTo>
                        <a:lnTo>
                          <a:pt x="722" y="984"/>
                        </a:lnTo>
                        <a:lnTo>
                          <a:pt x="738" y="988"/>
                        </a:lnTo>
                        <a:lnTo>
                          <a:pt x="744" y="990"/>
                        </a:lnTo>
                        <a:lnTo>
                          <a:pt x="752" y="988"/>
                        </a:lnTo>
                        <a:lnTo>
                          <a:pt x="758" y="984"/>
                        </a:lnTo>
                        <a:lnTo>
                          <a:pt x="764" y="974"/>
                        </a:lnTo>
                        <a:lnTo>
                          <a:pt x="764" y="974"/>
                        </a:lnTo>
                        <a:lnTo>
                          <a:pt x="768" y="970"/>
                        </a:lnTo>
                        <a:lnTo>
                          <a:pt x="770" y="966"/>
                        </a:lnTo>
                        <a:lnTo>
                          <a:pt x="780" y="960"/>
                        </a:lnTo>
                        <a:lnTo>
                          <a:pt x="790" y="960"/>
                        </a:lnTo>
                        <a:lnTo>
                          <a:pt x="800" y="960"/>
                        </a:lnTo>
                        <a:lnTo>
                          <a:pt x="808" y="962"/>
                        </a:lnTo>
                        <a:lnTo>
                          <a:pt x="816" y="966"/>
                        </a:lnTo>
                        <a:lnTo>
                          <a:pt x="818" y="970"/>
                        </a:lnTo>
                        <a:lnTo>
                          <a:pt x="818" y="972"/>
                        </a:lnTo>
                        <a:lnTo>
                          <a:pt x="818" y="972"/>
                        </a:lnTo>
                        <a:lnTo>
                          <a:pt x="818" y="972"/>
                        </a:lnTo>
                        <a:lnTo>
                          <a:pt x="812" y="978"/>
                        </a:lnTo>
                        <a:lnTo>
                          <a:pt x="810" y="980"/>
                        </a:lnTo>
                        <a:lnTo>
                          <a:pt x="812" y="982"/>
                        </a:lnTo>
                        <a:lnTo>
                          <a:pt x="818" y="982"/>
                        </a:lnTo>
                        <a:lnTo>
                          <a:pt x="822" y="984"/>
                        </a:lnTo>
                        <a:lnTo>
                          <a:pt x="828" y="986"/>
                        </a:lnTo>
                        <a:lnTo>
                          <a:pt x="828" y="990"/>
                        </a:lnTo>
                        <a:lnTo>
                          <a:pt x="826" y="994"/>
                        </a:lnTo>
                        <a:lnTo>
                          <a:pt x="826" y="994"/>
                        </a:lnTo>
                        <a:lnTo>
                          <a:pt x="824" y="998"/>
                        </a:lnTo>
                        <a:lnTo>
                          <a:pt x="824" y="1000"/>
                        </a:lnTo>
                        <a:lnTo>
                          <a:pt x="828" y="1006"/>
                        </a:lnTo>
                        <a:lnTo>
                          <a:pt x="836" y="1010"/>
                        </a:lnTo>
                        <a:lnTo>
                          <a:pt x="846" y="1014"/>
                        </a:lnTo>
                        <a:lnTo>
                          <a:pt x="866" y="1020"/>
                        </a:lnTo>
                        <a:lnTo>
                          <a:pt x="872" y="1022"/>
                        </a:lnTo>
                        <a:lnTo>
                          <a:pt x="874" y="1024"/>
                        </a:lnTo>
                        <a:lnTo>
                          <a:pt x="874" y="1024"/>
                        </a:lnTo>
                        <a:lnTo>
                          <a:pt x="874" y="1024"/>
                        </a:lnTo>
                        <a:lnTo>
                          <a:pt x="868" y="1034"/>
                        </a:lnTo>
                        <a:lnTo>
                          <a:pt x="866" y="1040"/>
                        </a:lnTo>
                        <a:lnTo>
                          <a:pt x="868" y="1044"/>
                        </a:lnTo>
                        <a:lnTo>
                          <a:pt x="874" y="1050"/>
                        </a:lnTo>
                        <a:lnTo>
                          <a:pt x="874" y="1050"/>
                        </a:lnTo>
                        <a:lnTo>
                          <a:pt x="874" y="1052"/>
                        </a:lnTo>
                        <a:lnTo>
                          <a:pt x="872" y="1054"/>
                        </a:lnTo>
                        <a:lnTo>
                          <a:pt x="862" y="1052"/>
                        </a:lnTo>
                        <a:lnTo>
                          <a:pt x="848" y="1048"/>
                        </a:lnTo>
                        <a:lnTo>
                          <a:pt x="832" y="1040"/>
                        </a:lnTo>
                        <a:lnTo>
                          <a:pt x="832" y="1040"/>
                        </a:lnTo>
                        <a:lnTo>
                          <a:pt x="822" y="1036"/>
                        </a:lnTo>
                        <a:lnTo>
                          <a:pt x="810" y="1032"/>
                        </a:lnTo>
                        <a:lnTo>
                          <a:pt x="784" y="1028"/>
                        </a:lnTo>
                        <a:lnTo>
                          <a:pt x="758" y="1028"/>
                        </a:lnTo>
                        <a:lnTo>
                          <a:pt x="748" y="1030"/>
                        </a:lnTo>
                        <a:lnTo>
                          <a:pt x="742" y="1032"/>
                        </a:lnTo>
                        <a:lnTo>
                          <a:pt x="742" y="1032"/>
                        </a:lnTo>
                        <a:lnTo>
                          <a:pt x="738" y="1036"/>
                        </a:lnTo>
                        <a:lnTo>
                          <a:pt x="740" y="1042"/>
                        </a:lnTo>
                        <a:lnTo>
                          <a:pt x="744" y="1046"/>
                        </a:lnTo>
                        <a:lnTo>
                          <a:pt x="750" y="1050"/>
                        </a:lnTo>
                        <a:lnTo>
                          <a:pt x="764" y="1056"/>
                        </a:lnTo>
                        <a:lnTo>
                          <a:pt x="782" y="1060"/>
                        </a:lnTo>
                        <a:lnTo>
                          <a:pt x="782" y="1060"/>
                        </a:lnTo>
                        <a:lnTo>
                          <a:pt x="796" y="1060"/>
                        </a:lnTo>
                        <a:lnTo>
                          <a:pt x="804" y="1064"/>
                        </a:lnTo>
                        <a:lnTo>
                          <a:pt x="810" y="1068"/>
                        </a:lnTo>
                        <a:lnTo>
                          <a:pt x="816" y="1072"/>
                        </a:lnTo>
                        <a:lnTo>
                          <a:pt x="820" y="1078"/>
                        </a:lnTo>
                        <a:lnTo>
                          <a:pt x="824" y="1082"/>
                        </a:lnTo>
                        <a:lnTo>
                          <a:pt x="832" y="1086"/>
                        </a:lnTo>
                        <a:lnTo>
                          <a:pt x="844" y="1088"/>
                        </a:lnTo>
                        <a:lnTo>
                          <a:pt x="844" y="1088"/>
                        </a:lnTo>
                        <a:lnTo>
                          <a:pt x="856" y="1090"/>
                        </a:lnTo>
                        <a:lnTo>
                          <a:pt x="864" y="1092"/>
                        </a:lnTo>
                        <a:lnTo>
                          <a:pt x="868" y="1096"/>
                        </a:lnTo>
                        <a:lnTo>
                          <a:pt x="870" y="1098"/>
                        </a:lnTo>
                        <a:lnTo>
                          <a:pt x="866" y="1108"/>
                        </a:lnTo>
                        <a:lnTo>
                          <a:pt x="866" y="1112"/>
                        </a:lnTo>
                        <a:lnTo>
                          <a:pt x="868" y="1118"/>
                        </a:lnTo>
                        <a:lnTo>
                          <a:pt x="868" y="1118"/>
                        </a:lnTo>
                        <a:lnTo>
                          <a:pt x="872" y="1122"/>
                        </a:lnTo>
                        <a:lnTo>
                          <a:pt x="876" y="1120"/>
                        </a:lnTo>
                        <a:lnTo>
                          <a:pt x="880" y="1118"/>
                        </a:lnTo>
                        <a:lnTo>
                          <a:pt x="882" y="1114"/>
                        </a:lnTo>
                        <a:lnTo>
                          <a:pt x="888" y="1106"/>
                        </a:lnTo>
                        <a:lnTo>
                          <a:pt x="888" y="1106"/>
                        </a:lnTo>
                        <a:lnTo>
                          <a:pt x="890" y="1110"/>
                        </a:lnTo>
                        <a:lnTo>
                          <a:pt x="890" y="1110"/>
                        </a:lnTo>
                        <a:lnTo>
                          <a:pt x="888" y="1116"/>
                        </a:lnTo>
                        <a:lnTo>
                          <a:pt x="888" y="1122"/>
                        </a:lnTo>
                        <a:lnTo>
                          <a:pt x="882" y="1134"/>
                        </a:lnTo>
                        <a:lnTo>
                          <a:pt x="876" y="1148"/>
                        </a:lnTo>
                        <a:lnTo>
                          <a:pt x="872" y="1164"/>
                        </a:lnTo>
                        <a:lnTo>
                          <a:pt x="872" y="1164"/>
                        </a:lnTo>
                        <a:lnTo>
                          <a:pt x="870" y="1170"/>
                        </a:lnTo>
                        <a:lnTo>
                          <a:pt x="872" y="1176"/>
                        </a:lnTo>
                        <a:lnTo>
                          <a:pt x="876" y="1182"/>
                        </a:lnTo>
                        <a:lnTo>
                          <a:pt x="876" y="1184"/>
                        </a:lnTo>
                        <a:lnTo>
                          <a:pt x="876" y="1186"/>
                        </a:lnTo>
                        <a:lnTo>
                          <a:pt x="866" y="1192"/>
                        </a:lnTo>
                        <a:lnTo>
                          <a:pt x="866" y="1192"/>
                        </a:lnTo>
                        <a:lnTo>
                          <a:pt x="858" y="1194"/>
                        </a:lnTo>
                        <a:lnTo>
                          <a:pt x="850" y="1196"/>
                        </a:lnTo>
                        <a:lnTo>
                          <a:pt x="838" y="1192"/>
                        </a:lnTo>
                        <a:lnTo>
                          <a:pt x="828" y="1190"/>
                        </a:lnTo>
                        <a:lnTo>
                          <a:pt x="822" y="1190"/>
                        </a:lnTo>
                        <a:lnTo>
                          <a:pt x="818" y="1194"/>
                        </a:lnTo>
                        <a:lnTo>
                          <a:pt x="818" y="1194"/>
                        </a:lnTo>
                        <a:lnTo>
                          <a:pt x="812" y="1196"/>
                        </a:lnTo>
                        <a:lnTo>
                          <a:pt x="806" y="1198"/>
                        </a:lnTo>
                        <a:lnTo>
                          <a:pt x="796" y="1202"/>
                        </a:lnTo>
                        <a:lnTo>
                          <a:pt x="788" y="1204"/>
                        </a:lnTo>
                        <a:lnTo>
                          <a:pt x="786" y="1206"/>
                        </a:lnTo>
                        <a:lnTo>
                          <a:pt x="788" y="1210"/>
                        </a:lnTo>
                        <a:lnTo>
                          <a:pt x="788" y="1210"/>
                        </a:lnTo>
                        <a:lnTo>
                          <a:pt x="788" y="1212"/>
                        </a:lnTo>
                        <a:lnTo>
                          <a:pt x="788" y="1214"/>
                        </a:lnTo>
                        <a:lnTo>
                          <a:pt x="784" y="1214"/>
                        </a:lnTo>
                        <a:lnTo>
                          <a:pt x="784" y="1216"/>
                        </a:lnTo>
                        <a:lnTo>
                          <a:pt x="784" y="1216"/>
                        </a:lnTo>
                        <a:lnTo>
                          <a:pt x="790" y="1222"/>
                        </a:lnTo>
                        <a:lnTo>
                          <a:pt x="790" y="1222"/>
                        </a:lnTo>
                        <a:lnTo>
                          <a:pt x="794" y="1226"/>
                        </a:lnTo>
                        <a:lnTo>
                          <a:pt x="794" y="1228"/>
                        </a:lnTo>
                        <a:lnTo>
                          <a:pt x="792" y="1232"/>
                        </a:lnTo>
                        <a:lnTo>
                          <a:pt x="788" y="1234"/>
                        </a:lnTo>
                        <a:lnTo>
                          <a:pt x="778" y="1240"/>
                        </a:lnTo>
                        <a:lnTo>
                          <a:pt x="774" y="1242"/>
                        </a:lnTo>
                        <a:lnTo>
                          <a:pt x="774" y="1246"/>
                        </a:lnTo>
                        <a:lnTo>
                          <a:pt x="774" y="1246"/>
                        </a:lnTo>
                        <a:lnTo>
                          <a:pt x="774" y="1252"/>
                        </a:lnTo>
                        <a:lnTo>
                          <a:pt x="772" y="1260"/>
                        </a:lnTo>
                        <a:lnTo>
                          <a:pt x="762" y="1284"/>
                        </a:lnTo>
                        <a:lnTo>
                          <a:pt x="762" y="1284"/>
                        </a:lnTo>
                        <a:lnTo>
                          <a:pt x="762" y="1292"/>
                        </a:lnTo>
                        <a:lnTo>
                          <a:pt x="762" y="1296"/>
                        </a:lnTo>
                        <a:lnTo>
                          <a:pt x="766" y="1300"/>
                        </a:lnTo>
                        <a:lnTo>
                          <a:pt x="772" y="1302"/>
                        </a:lnTo>
                        <a:lnTo>
                          <a:pt x="788" y="1306"/>
                        </a:lnTo>
                        <a:lnTo>
                          <a:pt x="810" y="1306"/>
                        </a:lnTo>
                        <a:lnTo>
                          <a:pt x="810" y="1306"/>
                        </a:lnTo>
                        <a:lnTo>
                          <a:pt x="800" y="1312"/>
                        </a:lnTo>
                        <a:lnTo>
                          <a:pt x="790" y="1320"/>
                        </a:lnTo>
                        <a:lnTo>
                          <a:pt x="782" y="1328"/>
                        </a:lnTo>
                        <a:lnTo>
                          <a:pt x="776" y="1338"/>
                        </a:lnTo>
                        <a:lnTo>
                          <a:pt x="772" y="1346"/>
                        </a:lnTo>
                        <a:lnTo>
                          <a:pt x="772" y="1354"/>
                        </a:lnTo>
                        <a:lnTo>
                          <a:pt x="774" y="1362"/>
                        </a:lnTo>
                        <a:lnTo>
                          <a:pt x="780" y="1368"/>
                        </a:lnTo>
                        <a:lnTo>
                          <a:pt x="780" y="1368"/>
                        </a:lnTo>
                        <a:lnTo>
                          <a:pt x="786" y="1374"/>
                        </a:lnTo>
                        <a:lnTo>
                          <a:pt x="790" y="1378"/>
                        </a:lnTo>
                        <a:lnTo>
                          <a:pt x="792" y="1384"/>
                        </a:lnTo>
                        <a:lnTo>
                          <a:pt x="792" y="1390"/>
                        </a:lnTo>
                        <a:lnTo>
                          <a:pt x="792" y="1392"/>
                        </a:lnTo>
                        <a:lnTo>
                          <a:pt x="796" y="1392"/>
                        </a:lnTo>
                        <a:lnTo>
                          <a:pt x="796" y="1392"/>
                        </a:lnTo>
                        <a:lnTo>
                          <a:pt x="806" y="1394"/>
                        </a:lnTo>
                        <a:lnTo>
                          <a:pt x="812" y="1400"/>
                        </a:lnTo>
                        <a:lnTo>
                          <a:pt x="818" y="1406"/>
                        </a:lnTo>
                        <a:lnTo>
                          <a:pt x="818" y="1410"/>
                        </a:lnTo>
                        <a:lnTo>
                          <a:pt x="818" y="1414"/>
                        </a:lnTo>
                        <a:lnTo>
                          <a:pt x="818" y="1414"/>
                        </a:lnTo>
                        <a:lnTo>
                          <a:pt x="818" y="1420"/>
                        </a:lnTo>
                        <a:lnTo>
                          <a:pt x="818" y="1422"/>
                        </a:lnTo>
                        <a:lnTo>
                          <a:pt x="824" y="1426"/>
                        </a:lnTo>
                        <a:lnTo>
                          <a:pt x="828" y="1430"/>
                        </a:lnTo>
                        <a:lnTo>
                          <a:pt x="830" y="1434"/>
                        </a:lnTo>
                        <a:lnTo>
                          <a:pt x="830" y="1440"/>
                        </a:lnTo>
                        <a:lnTo>
                          <a:pt x="830" y="1440"/>
                        </a:lnTo>
                        <a:lnTo>
                          <a:pt x="830" y="1450"/>
                        </a:lnTo>
                        <a:lnTo>
                          <a:pt x="834" y="1452"/>
                        </a:lnTo>
                        <a:lnTo>
                          <a:pt x="836" y="1454"/>
                        </a:lnTo>
                        <a:lnTo>
                          <a:pt x="836" y="1462"/>
                        </a:lnTo>
                        <a:lnTo>
                          <a:pt x="836" y="1462"/>
                        </a:lnTo>
                        <a:lnTo>
                          <a:pt x="836" y="1476"/>
                        </a:lnTo>
                        <a:lnTo>
                          <a:pt x="836" y="1482"/>
                        </a:lnTo>
                        <a:lnTo>
                          <a:pt x="840" y="1488"/>
                        </a:lnTo>
                        <a:lnTo>
                          <a:pt x="842" y="1490"/>
                        </a:lnTo>
                        <a:lnTo>
                          <a:pt x="848" y="1488"/>
                        </a:lnTo>
                        <a:lnTo>
                          <a:pt x="852" y="1482"/>
                        </a:lnTo>
                        <a:lnTo>
                          <a:pt x="860" y="1470"/>
                        </a:lnTo>
                        <a:lnTo>
                          <a:pt x="860" y="1470"/>
                        </a:lnTo>
                        <a:lnTo>
                          <a:pt x="870" y="1454"/>
                        </a:lnTo>
                        <a:lnTo>
                          <a:pt x="872" y="1454"/>
                        </a:lnTo>
                        <a:lnTo>
                          <a:pt x="874" y="1456"/>
                        </a:lnTo>
                        <a:lnTo>
                          <a:pt x="876" y="1462"/>
                        </a:lnTo>
                        <a:lnTo>
                          <a:pt x="878" y="1462"/>
                        </a:lnTo>
                        <a:lnTo>
                          <a:pt x="882" y="1460"/>
                        </a:lnTo>
                        <a:lnTo>
                          <a:pt x="882" y="1460"/>
                        </a:lnTo>
                        <a:lnTo>
                          <a:pt x="888" y="1456"/>
                        </a:lnTo>
                        <a:lnTo>
                          <a:pt x="894" y="1454"/>
                        </a:lnTo>
                        <a:lnTo>
                          <a:pt x="900" y="1452"/>
                        </a:lnTo>
                        <a:lnTo>
                          <a:pt x="906" y="1454"/>
                        </a:lnTo>
                        <a:lnTo>
                          <a:pt x="912" y="1456"/>
                        </a:lnTo>
                        <a:lnTo>
                          <a:pt x="916" y="1458"/>
                        </a:lnTo>
                        <a:lnTo>
                          <a:pt x="918" y="1464"/>
                        </a:lnTo>
                        <a:lnTo>
                          <a:pt x="920" y="1470"/>
                        </a:lnTo>
                        <a:lnTo>
                          <a:pt x="920" y="1470"/>
                        </a:lnTo>
                        <a:lnTo>
                          <a:pt x="922" y="1474"/>
                        </a:lnTo>
                        <a:lnTo>
                          <a:pt x="920" y="1474"/>
                        </a:lnTo>
                        <a:lnTo>
                          <a:pt x="912" y="1470"/>
                        </a:lnTo>
                        <a:lnTo>
                          <a:pt x="902" y="1464"/>
                        </a:lnTo>
                        <a:lnTo>
                          <a:pt x="896" y="1462"/>
                        </a:lnTo>
                        <a:lnTo>
                          <a:pt x="890" y="1464"/>
                        </a:lnTo>
                        <a:lnTo>
                          <a:pt x="890" y="1464"/>
                        </a:lnTo>
                        <a:lnTo>
                          <a:pt x="888" y="1466"/>
                        </a:lnTo>
                        <a:lnTo>
                          <a:pt x="888" y="1468"/>
                        </a:lnTo>
                        <a:lnTo>
                          <a:pt x="894" y="1474"/>
                        </a:lnTo>
                        <a:lnTo>
                          <a:pt x="898" y="1474"/>
                        </a:lnTo>
                        <a:lnTo>
                          <a:pt x="898" y="1476"/>
                        </a:lnTo>
                        <a:lnTo>
                          <a:pt x="896" y="1478"/>
                        </a:lnTo>
                        <a:lnTo>
                          <a:pt x="890" y="1478"/>
                        </a:lnTo>
                        <a:lnTo>
                          <a:pt x="890" y="1478"/>
                        </a:lnTo>
                        <a:lnTo>
                          <a:pt x="884" y="1480"/>
                        </a:lnTo>
                        <a:lnTo>
                          <a:pt x="880" y="1480"/>
                        </a:lnTo>
                        <a:lnTo>
                          <a:pt x="880" y="1484"/>
                        </a:lnTo>
                        <a:lnTo>
                          <a:pt x="880" y="1486"/>
                        </a:lnTo>
                        <a:lnTo>
                          <a:pt x="880" y="1488"/>
                        </a:lnTo>
                        <a:lnTo>
                          <a:pt x="880" y="1490"/>
                        </a:lnTo>
                        <a:lnTo>
                          <a:pt x="876" y="1492"/>
                        </a:lnTo>
                        <a:lnTo>
                          <a:pt x="868" y="1492"/>
                        </a:lnTo>
                        <a:lnTo>
                          <a:pt x="868" y="1492"/>
                        </a:lnTo>
                        <a:lnTo>
                          <a:pt x="856" y="1494"/>
                        </a:lnTo>
                        <a:lnTo>
                          <a:pt x="856" y="1496"/>
                        </a:lnTo>
                        <a:lnTo>
                          <a:pt x="856" y="1496"/>
                        </a:lnTo>
                        <a:lnTo>
                          <a:pt x="860" y="1500"/>
                        </a:lnTo>
                        <a:lnTo>
                          <a:pt x="860" y="1502"/>
                        </a:lnTo>
                        <a:lnTo>
                          <a:pt x="858" y="1504"/>
                        </a:lnTo>
                        <a:lnTo>
                          <a:pt x="858" y="1504"/>
                        </a:lnTo>
                        <a:lnTo>
                          <a:pt x="854" y="1506"/>
                        </a:lnTo>
                        <a:lnTo>
                          <a:pt x="854" y="1506"/>
                        </a:lnTo>
                        <a:lnTo>
                          <a:pt x="856" y="1510"/>
                        </a:lnTo>
                        <a:lnTo>
                          <a:pt x="860" y="1514"/>
                        </a:lnTo>
                        <a:lnTo>
                          <a:pt x="862" y="1516"/>
                        </a:lnTo>
                        <a:lnTo>
                          <a:pt x="860" y="1518"/>
                        </a:lnTo>
                        <a:lnTo>
                          <a:pt x="860" y="1518"/>
                        </a:lnTo>
                        <a:lnTo>
                          <a:pt x="860" y="1522"/>
                        </a:lnTo>
                        <a:lnTo>
                          <a:pt x="860" y="1526"/>
                        </a:lnTo>
                        <a:lnTo>
                          <a:pt x="862" y="1534"/>
                        </a:lnTo>
                        <a:lnTo>
                          <a:pt x="874" y="1554"/>
                        </a:lnTo>
                        <a:lnTo>
                          <a:pt x="874" y="1554"/>
                        </a:lnTo>
                        <a:lnTo>
                          <a:pt x="878" y="1558"/>
                        </a:lnTo>
                        <a:lnTo>
                          <a:pt x="882" y="1560"/>
                        </a:lnTo>
                        <a:lnTo>
                          <a:pt x="890" y="1562"/>
                        </a:lnTo>
                        <a:lnTo>
                          <a:pt x="898" y="1562"/>
                        </a:lnTo>
                        <a:lnTo>
                          <a:pt x="898" y="1564"/>
                        </a:lnTo>
                        <a:lnTo>
                          <a:pt x="898" y="1568"/>
                        </a:lnTo>
                        <a:lnTo>
                          <a:pt x="898" y="1568"/>
                        </a:lnTo>
                        <a:lnTo>
                          <a:pt x="896" y="1572"/>
                        </a:lnTo>
                        <a:lnTo>
                          <a:pt x="898" y="1576"/>
                        </a:lnTo>
                        <a:lnTo>
                          <a:pt x="902" y="1582"/>
                        </a:lnTo>
                        <a:lnTo>
                          <a:pt x="906" y="1590"/>
                        </a:lnTo>
                        <a:lnTo>
                          <a:pt x="908" y="1594"/>
                        </a:lnTo>
                        <a:lnTo>
                          <a:pt x="908" y="1598"/>
                        </a:lnTo>
                        <a:lnTo>
                          <a:pt x="908" y="1598"/>
                        </a:lnTo>
                        <a:lnTo>
                          <a:pt x="908" y="1606"/>
                        </a:lnTo>
                        <a:lnTo>
                          <a:pt x="910" y="1610"/>
                        </a:lnTo>
                        <a:lnTo>
                          <a:pt x="914" y="1614"/>
                        </a:lnTo>
                        <a:lnTo>
                          <a:pt x="926" y="1618"/>
                        </a:lnTo>
                        <a:lnTo>
                          <a:pt x="926" y="1618"/>
                        </a:lnTo>
                        <a:lnTo>
                          <a:pt x="932" y="1622"/>
                        </a:lnTo>
                        <a:lnTo>
                          <a:pt x="934" y="1626"/>
                        </a:lnTo>
                        <a:lnTo>
                          <a:pt x="936" y="1630"/>
                        </a:lnTo>
                        <a:lnTo>
                          <a:pt x="934" y="1634"/>
                        </a:lnTo>
                        <a:lnTo>
                          <a:pt x="934" y="1640"/>
                        </a:lnTo>
                        <a:lnTo>
                          <a:pt x="934" y="1640"/>
                        </a:lnTo>
                        <a:lnTo>
                          <a:pt x="938" y="1640"/>
                        </a:lnTo>
                        <a:lnTo>
                          <a:pt x="938" y="1640"/>
                        </a:lnTo>
                        <a:lnTo>
                          <a:pt x="942" y="1640"/>
                        </a:lnTo>
                        <a:lnTo>
                          <a:pt x="944" y="1640"/>
                        </a:lnTo>
                        <a:lnTo>
                          <a:pt x="946" y="1648"/>
                        </a:lnTo>
                        <a:lnTo>
                          <a:pt x="946" y="1654"/>
                        </a:lnTo>
                        <a:lnTo>
                          <a:pt x="948" y="1656"/>
                        </a:lnTo>
                        <a:lnTo>
                          <a:pt x="950" y="1656"/>
                        </a:lnTo>
                        <a:lnTo>
                          <a:pt x="950" y="1656"/>
                        </a:lnTo>
                        <a:lnTo>
                          <a:pt x="956" y="1656"/>
                        </a:lnTo>
                        <a:lnTo>
                          <a:pt x="958" y="1656"/>
                        </a:lnTo>
                        <a:lnTo>
                          <a:pt x="958" y="1662"/>
                        </a:lnTo>
                        <a:lnTo>
                          <a:pt x="954" y="1672"/>
                        </a:lnTo>
                        <a:lnTo>
                          <a:pt x="954" y="1672"/>
                        </a:lnTo>
                        <a:lnTo>
                          <a:pt x="952" y="1676"/>
                        </a:lnTo>
                        <a:lnTo>
                          <a:pt x="956" y="1678"/>
                        </a:lnTo>
                        <a:lnTo>
                          <a:pt x="966" y="1678"/>
                        </a:lnTo>
                        <a:lnTo>
                          <a:pt x="978" y="1678"/>
                        </a:lnTo>
                        <a:lnTo>
                          <a:pt x="980" y="1680"/>
                        </a:lnTo>
                        <a:lnTo>
                          <a:pt x="980" y="1684"/>
                        </a:lnTo>
                        <a:lnTo>
                          <a:pt x="980" y="1684"/>
                        </a:lnTo>
                        <a:lnTo>
                          <a:pt x="978" y="1690"/>
                        </a:lnTo>
                        <a:lnTo>
                          <a:pt x="978" y="1692"/>
                        </a:lnTo>
                        <a:lnTo>
                          <a:pt x="980" y="1694"/>
                        </a:lnTo>
                        <a:lnTo>
                          <a:pt x="982" y="1694"/>
                        </a:lnTo>
                        <a:lnTo>
                          <a:pt x="990" y="1694"/>
                        </a:lnTo>
                        <a:lnTo>
                          <a:pt x="994" y="1696"/>
                        </a:lnTo>
                        <a:lnTo>
                          <a:pt x="996" y="1698"/>
                        </a:lnTo>
                        <a:lnTo>
                          <a:pt x="996" y="1698"/>
                        </a:lnTo>
                        <a:lnTo>
                          <a:pt x="998" y="1700"/>
                        </a:lnTo>
                        <a:lnTo>
                          <a:pt x="996" y="1702"/>
                        </a:lnTo>
                        <a:lnTo>
                          <a:pt x="994" y="1704"/>
                        </a:lnTo>
                        <a:lnTo>
                          <a:pt x="990" y="1706"/>
                        </a:lnTo>
                        <a:lnTo>
                          <a:pt x="990" y="1708"/>
                        </a:lnTo>
                        <a:lnTo>
                          <a:pt x="990" y="1712"/>
                        </a:lnTo>
                        <a:lnTo>
                          <a:pt x="990" y="1712"/>
                        </a:lnTo>
                        <a:lnTo>
                          <a:pt x="992" y="1722"/>
                        </a:lnTo>
                        <a:lnTo>
                          <a:pt x="996" y="1724"/>
                        </a:lnTo>
                        <a:lnTo>
                          <a:pt x="1000" y="1726"/>
                        </a:lnTo>
                        <a:lnTo>
                          <a:pt x="1004" y="1726"/>
                        </a:lnTo>
                        <a:lnTo>
                          <a:pt x="1010" y="1726"/>
                        </a:lnTo>
                        <a:lnTo>
                          <a:pt x="1016" y="1722"/>
                        </a:lnTo>
                        <a:lnTo>
                          <a:pt x="1024" y="1718"/>
                        </a:lnTo>
                        <a:lnTo>
                          <a:pt x="1024" y="1718"/>
                        </a:lnTo>
                        <a:lnTo>
                          <a:pt x="1032" y="1712"/>
                        </a:lnTo>
                        <a:lnTo>
                          <a:pt x="1038" y="1712"/>
                        </a:lnTo>
                        <a:lnTo>
                          <a:pt x="1040" y="1712"/>
                        </a:lnTo>
                        <a:lnTo>
                          <a:pt x="1044" y="1714"/>
                        </a:lnTo>
                        <a:lnTo>
                          <a:pt x="1048" y="1716"/>
                        </a:lnTo>
                        <a:lnTo>
                          <a:pt x="1050" y="1716"/>
                        </a:lnTo>
                        <a:lnTo>
                          <a:pt x="1054" y="1714"/>
                        </a:lnTo>
                        <a:lnTo>
                          <a:pt x="1054" y="1714"/>
                        </a:lnTo>
                        <a:lnTo>
                          <a:pt x="1064" y="1708"/>
                        </a:lnTo>
                        <a:lnTo>
                          <a:pt x="1072" y="1704"/>
                        </a:lnTo>
                        <a:lnTo>
                          <a:pt x="1080" y="1700"/>
                        </a:lnTo>
                        <a:lnTo>
                          <a:pt x="1080" y="1696"/>
                        </a:lnTo>
                        <a:lnTo>
                          <a:pt x="1080" y="1692"/>
                        </a:lnTo>
                        <a:lnTo>
                          <a:pt x="1080" y="1692"/>
                        </a:lnTo>
                        <a:lnTo>
                          <a:pt x="1080" y="1688"/>
                        </a:lnTo>
                        <a:lnTo>
                          <a:pt x="1082" y="1686"/>
                        </a:lnTo>
                        <a:lnTo>
                          <a:pt x="1084" y="1688"/>
                        </a:lnTo>
                        <a:lnTo>
                          <a:pt x="1086" y="1690"/>
                        </a:lnTo>
                        <a:lnTo>
                          <a:pt x="1088" y="1694"/>
                        </a:lnTo>
                        <a:lnTo>
                          <a:pt x="1090" y="1698"/>
                        </a:lnTo>
                        <a:lnTo>
                          <a:pt x="1090" y="1704"/>
                        </a:lnTo>
                        <a:lnTo>
                          <a:pt x="1086" y="1710"/>
                        </a:lnTo>
                        <a:lnTo>
                          <a:pt x="1086" y="1710"/>
                        </a:lnTo>
                        <a:lnTo>
                          <a:pt x="1078" y="1718"/>
                        </a:lnTo>
                        <a:lnTo>
                          <a:pt x="1076" y="1726"/>
                        </a:lnTo>
                        <a:lnTo>
                          <a:pt x="1076" y="1728"/>
                        </a:lnTo>
                        <a:lnTo>
                          <a:pt x="1078" y="1732"/>
                        </a:lnTo>
                        <a:lnTo>
                          <a:pt x="1090" y="1738"/>
                        </a:lnTo>
                        <a:lnTo>
                          <a:pt x="1090" y="1738"/>
                        </a:lnTo>
                        <a:lnTo>
                          <a:pt x="1098" y="1740"/>
                        </a:lnTo>
                        <a:lnTo>
                          <a:pt x="1106" y="1740"/>
                        </a:lnTo>
                        <a:lnTo>
                          <a:pt x="1120" y="1738"/>
                        </a:lnTo>
                        <a:lnTo>
                          <a:pt x="1124" y="1738"/>
                        </a:lnTo>
                        <a:lnTo>
                          <a:pt x="1126" y="1740"/>
                        </a:lnTo>
                        <a:lnTo>
                          <a:pt x="1126" y="1744"/>
                        </a:lnTo>
                        <a:lnTo>
                          <a:pt x="1120" y="1752"/>
                        </a:lnTo>
                        <a:lnTo>
                          <a:pt x="1120" y="1752"/>
                        </a:lnTo>
                        <a:lnTo>
                          <a:pt x="1116" y="1758"/>
                        </a:lnTo>
                        <a:lnTo>
                          <a:pt x="1116" y="1762"/>
                        </a:lnTo>
                        <a:lnTo>
                          <a:pt x="1118" y="1766"/>
                        </a:lnTo>
                        <a:lnTo>
                          <a:pt x="1122" y="1768"/>
                        </a:lnTo>
                        <a:lnTo>
                          <a:pt x="1126" y="1770"/>
                        </a:lnTo>
                        <a:lnTo>
                          <a:pt x="1132" y="1770"/>
                        </a:lnTo>
                        <a:lnTo>
                          <a:pt x="1136" y="1768"/>
                        </a:lnTo>
                        <a:lnTo>
                          <a:pt x="1140" y="1766"/>
                        </a:lnTo>
                        <a:lnTo>
                          <a:pt x="1140" y="1766"/>
                        </a:lnTo>
                        <a:lnTo>
                          <a:pt x="1150" y="1760"/>
                        </a:lnTo>
                        <a:lnTo>
                          <a:pt x="1154" y="1758"/>
                        </a:lnTo>
                        <a:lnTo>
                          <a:pt x="1156" y="1758"/>
                        </a:lnTo>
                        <a:lnTo>
                          <a:pt x="1162" y="1762"/>
                        </a:lnTo>
                        <a:lnTo>
                          <a:pt x="1170" y="1770"/>
                        </a:lnTo>
                        <a:lnTo>
                          <a:pt x="1170" y="1770"/>
                        </a:lnTo>
                        <a:lnTo>
                          <a:pt x="1182" y="1776"/>
                        </a:lnTo>
                        <a:lnTo>
                          <a:pt x="1186" y="1776"/>
                        </a:lnTo>
                        <a:lnTo>
                          <a:pt x="1190" y="1776"/>
                        </a:lnTo>
                        <a:lnTo>
                          <a:pt x="1194" y="1774"/>
                        </a:lnTo>
                        <a:lnTo>
                          <a:pt x="1196" y="1768"/>
                        </a:lnTo>
                        <a:lnTo>
                          <a:pt x="1198" y="1764"/>
                        </a:lnTo>
                        <a:lnTo>
                          <a:pt x="1200" y="1756"/>
                        </a:lnTo>
                        <a:lnTo>
                          <a:pt x="1200" y="1756"/>
                        </a:lnTo>
                        <a:lnTo>
                          <a:pt x="1200" y="1750"/>
                        </a:lnTo>
                        <a:lnTo>
                          <a:pt x="1198" y="1746"/>
                        </a:lnTo>
                        <a:lnTo>
                          <a:pt x="1194" y="1746"/>
                        </a:lnTo>
                        <a:lnTo>
                          <a:pt x="1192" y="1746"/>
                        </a:lnTo>
                        <a:lnTo>
                          <a:pt x="1186" y="1746"/>
                        </a:lnTo>
                        <a:lnTo>
                          <a:pt x="1186" y="1746"/>
                        </a:lnTo>
                        <a:lnTo>
                          <a:pt x="1186" y="1744"/>
                        </a:lnTo>
                        <a:lnTo>
                          <a:pt x="1186" y="1744"/>
                        </a:lnTo>
                        <a:lnTo>
                          <a:pt x="1190" y="1740"/>
                        </a:lnTo>
                        <a:lnTo>
                          <a:pt x="1194" y="1738"/>
                        </a:lnTo>
                        <a:lnTo>
                          <a:pt x="1204" y="1734"/>
                        </a:lnTo>
                        <a:lnTo>
                          <a:pt x="1208" y="1732"/>
                        </a:lnTo>
                        <a:lnTo>
                          <a:pt x="1210" y="1728"/>
                        </a:lnTo>
                        <a:lnTo>
                          <a:pt x="1212" y="1724"/>
                        </a:lnTo>
                        <a:lnTo>
                          <a:pt x="1212" y="1718"/>
                        </a:lnTo>
                        <a:lnTo>
                          <a:pt x="1212" y="1718"/>
                        </a:lnTo>
                        <a:lnTo>
                          <a:pt x="1210" y="1712"/>
                        </a:lnTo>
                        <a:lnTo>
                          <a:pt x="1214" y="1702"/>
                        </a:lnTo>
                        <a:lnTo>
                          <a:pt x="1224" y="1676"/>
                        </a:lnTo>
                        <a:lnTo>
                          <a:pt x="1234" y="1652"/>
                        </a:lnTo>
                        <a:lnTo>
                          <a:pt x="1236" y="1640"/>
                        </a:lnTo>
                        <a:lnTo>
                          <a:pt x="1236" y="1630"/>
                        </a:lnTo>
                        <a:lnTo>
                          <a:pt x="1236" y="1630"/>
                        </a:lnTo>
                        <a:lnTo>
                          <a:pt x="1234" y="1624"/>
                        </a:lnTo>
                        <a:lnTo>
                          <a:pt x="1232" y="1622"/>
                        </a:lnTo>
                        <a:lnTo>
                          <a:pt x="1230" y="1622"/>
                        </a:lnTo>
                        <a:lnTo>
                          <a:pt x="1228" y="1622"/>
                        </a:lnTo>
                        <a:lnTo>
                          <a:pt x="1226" y="1622"/>
                        </a:lnTo>
                        <a:lnTo>
                          <a:pt x="1222" y="1622"/>
                        </a:lnTo>
                        <a:lnTo>
                          <a:pt x="1220" y="1620"/>
                        </a:lnTo>
                        <a:lnTo>
                          <a:pt x="1214" y="1616"/>
                        </a:lnTo>
                        <a:lnTo>
                          <a:pt x="1214" y="1616"/>
                        </a:lnTo>
                        <a:lnTo>
                          <a:pt x="1212" y="1610"/>
                        </a:lnTo>
                        <a:lnTo>
                          <a:pt x="1212" y="1610"/>
                        </a:lnTo>
                        <a:lnTo>
                          <a:pt x="1222" y="1612"/>
                        </a:lnTo>
                        <a:lnTo>
                          <a:pt x="1232" y="1614"/>
                        </a:lnTo>
                        <a:lnTo>
                          <a:pt x="1236" y="1614"/>
                        </a:lnTo>
                        <a:lnTo>
                          <a:pt x="1236" y="1610"/>
                        </a:lnTo>
                        <a:lnTo>
                          <a:pt x="1236" y="1610"/>
                        </a:lnTo>
                        <a:lnTo>
                          <a:pt x="1234" y="1604"/>
                        </a:lnTo>
                        <a:lnTo>
                          <a:pt x="1232" y="1602"/>
                        </a:lnTo>
                        <a:lnTo>
                          <a:pt x="1226" y="1600"/>
                        </a:lnTo>
                        <a:lnTo>
                          <a:pt x="1220" y="1598"/>
                        </a:lnTo>
                        <a:lnTo>
                          <a:pt x="1220" y="1596"/>
                        </a:lnTo>
                        <a:lnTo>
                          <a:pt x="1222" y="1592"/>
                        </a:lnTo>
                        <a:lnTo>
                          <a:pt x="1222" y="1592"/>
                        </a:lnTo>
                        <a:lnTo>
                          <a:pt x="1226" y="1590"/>
                        </a:lnTo>
                        <a:lnTo>
                          <a:pt x="1230" y="1588"/>
                        </a:lnTo>
                        <a:lnTo>
                          <a:pt x="1244" y="1584"/>
                        </a:lnTo>
                        <a:lnTo>
                          <a:pt x="1250" y="1582"/>
                        </a:lnTo>
                        <a:lnTo>
                          <a:pt x="1256" y="1580"/>
                        </a:lnTo>
                        <a:lnTo>
                          <a:pt x="1260" y="1574"/>
                        </a:lnTo>
                        <a:lnTo>
                          <a:pt x="1262" y="1566"/>
                        </a:lnTo>
                        <a:lnTo>
                          <a:pt x="1262" y="1566"/>
                        </a:lnTo>
                        <a:lnTo>
                          <a:pt x="1264" y="1560"/>
                        </a:lnTo>
                        <a:lnTo>
                          <a:pt x="1266" y="1558"/>
                        </a:lnTo>
                        <a:lnTo>
                          <a:pt x="1268" y="1558"/>
                        </a:lnTo>
                        <a:lnTo>
                          <a:pt x="1272" y="1560"/>
                        </a:lnTo>
                        <a:lnTo>
                          <a:pt x="1278" y="1562"/>
                        </a:lnTo>
                        <a:lnTo>
                          <a:pt x="1280" y="1560"/>
                        </a:lnTo>
                        <a:lnTo>
                          <a:pt x="1280" y="1556"/>
                        </a:lnTo>
                        <a:lnTo>
                          <a:pt x="1280" y="1556"/>
                        </a:lnTo>
                        <a:lnTo>
                          <a:pt x="1282" y="1550"/>
                        </a:lnTo>
                        <a:lnTo>
                          <a:pt x="1284" y="1546"/>
                        </a:lnTo>
                        <a:lnTo>
                          <a:pt x="1294" y="1538"/>
                        </a:lnTo>
                        <a:lnTo>
                          <a:pt x="1300" y="1530"/>
                        </a:lnTo>
                        <a:lnTo>
                          <a:pt x="1302" y="1526"/>
                        </a:lnTo>
                        <a:lnTo>
                          <a:pt x="1302" y="1520"/>
                        </a:lnTo>
                        <a:lnTo>
                          <a:pt x="1302" y="1520"/>
                        </a:lnTo>
                        <a:lnTo>
                          <a:pt x="1300" y="1510"/>
                        </a:lnTo>
                        <a:lnTo>
                          <a:pt x="1300" y="1502"/>
                        </a:lnTo>
                        <a:lnTo>
                          <a:pt x="1300" y="1500"/>
                        </a:lnTo>
                        <a:lnTo>
                          <a:pt x="1298" y="1500"/>
                        </a:lnTo>
                        <a:lnTo>
                          <a:pt x="1286" y="1498"/>
                        </a:lnTo>
                        <a:lnTo>
                          <a:pt x="1286" y="1498"/>
                        </a:lnTo>
                        <a:lnTo>
                          <a:pt x="1278" y="1498"/>
                        </a:lnTo>
                        <a:lnTo>
                          <a:pt x="1270" y="1496"/>
                        </a:lnTo>
                        <a:lnTo>
                          <a:pt x="1266" y="1492"/>
                        </a:lnTo>
                        <a:lnTo>
                          <a:pt x="1262" y="1490"/>
                        </a:lnTo>
                        <a:lnTo>
                          <a:pt x="1260" y="1486"/>
                        </a:lnTo>
                        <a:lnTo>
                          <a:pt x="1262" y="1486"/>
                        </a:lnTo>
                        <a:lnTo>
                          <a:pt x="1264" y="1484"/>
                        </a:lnTo>
                        <a:lnTo>
                          <a:pt x="1270" y="1486"/>
                        </a:lnTo>
                        <a:lnTo>
                          <a:pt x="1270" y="1486"/>
                        </a:lnTo>
                        <a:lnTo>
                          <a:pt x="1276" y="1486"/>
                        </a:lnTo>
                        <a:lnTo>
                          <a:pt x="1280" y="1486"/>
                        </a:lnTo>
                        <a:lnTo>
                          <a:pt x="1288" y="1484"/>
                        </a:lnTo>
                        <a:lnTo>
                          <a:pt x="1294" y="1482"/>
                        </a:lnTo>
                        <a:lnTo>
                          <a:pt x="1300" y="1482"/>
                        </a:lnTo>
                        <a:lnTo>
                          <a:pt x="1300" y="1482"/>
                        </a:lnTo>
                        <a:lnTo>
                          <a:pt x="1308" y="1482"/>
                        </a:lnTo>
                        <a:lnTo>
                          <a:pt x="1308" y="1482"/>
                        </a:lnTo>
                        <a:lnTo>
                          <a:pt x="1308" y="1478"/>
                        </a:lnTo>
                        <a:lnTo>
                          <a:pt x="1302" y="1470"/>
                        </a:lnTo>
                        <a:lnTo>
                          <a:pt x="1290" y="1454"/>
                        </a:lnTo>
                        <a:lnTo>
                          <a:pt x="1290" y="1454"/>
                        </a:lnTo>
                        <a:lnTo>
                          <a:pt x="1282" y="1448"/>
                        </a:lnTo>
                        <a:lnTo>
                          <a:pt x="1280" y="1442"/>
                        </a:lnTo>
                        <a:lnTo>
                          <a:pt x="1280" y="1438"/>
                        </a:lnTo>
                        <a:lnTo>
                          <a:pt x="1284" y="1434"/>
                        </a:lnTo>
                        <a:lnTo>
                          <a:pt x="1288" y="1434"/>
                        </a:lnTo>
                        <a:lnTo>
                          <a:pt x="1296" y="1434"/>
                        </a:lnTo>
                        <a:lnTo>
                          <a:pt x="1310" y="1438"/>
                        </a:lnTo>
                        <a:lnTo>
                          <a:pt x="1310" y="1438"/>
                        </a:lnTo>
                        <a:lnTo>
                          <a:pt x="1316" y="1438"/>
                        </a:lnTo>
                        <a:lnTo>
                          <a:pt x="1320" y="1436"/>
                        </a:lnTo>
                        <a:lnTo>
                          <a:pt x="1324" y="1434"/>
                        </a:lnTo>
                        <a:lnTo>
                          <a:pt x="1326" y="1430"/>
                        </a:lnTo>
                        <a:lnTo>
                          <a:pt x="1332" y="1420"/>
                        </a:lnTo>
                        <a:lnTo>
                          <a:pt x="1334" y="1418"/>
                        </a:lnTo>
                        <a:lnTo>
                          <a:pt x="1338" y="1418"/>
                        </a:lnTo>
                        <a:lnTo>
                          <a:pt x="1338" y="1418"/>
                        </a:lnTo>
                        <a:lnTo>
                          <a:pt x="1344" y="1420"/>
                        </a:lnTo>
                        <a:lnTo>
                          <a:pt x="1346" y="1418"/>
                        </a:lnTo>
                        <a:lnTo>
                          <a:pt x="1344" y="1414"/>
                        </a:lnTo>
                        <a:lnTo>
                          <a:pt x="1334" y="1408"/>
                        </a:lnTo>
                        <a:lnTo>
                          <a:pt x="1334" y="1408"/>
                        </a:lnTo>
                        <a:lnTo>
                          <a:pt x="1326" y="1404"/>
                        </a:lnTo>
                        <a:lnTo>
                          <a:pt x="1324" y="1404"/>
                        </a:lnTo>
                        <a:lnTo>
                          <a:pt x="1326" y="1402"/>
                        </a:lnTo>
                        <a:lnTo>
                          <a:pt x="1330" y="1402"/>
                        </a:lnTo>
                        <a:lnTo>
                          <a:pt x="1338" y="1400"/>
                        </a:lnTo>
                        <a:lnTo>
                          <a:pt x="1338" y="1400"/>
                        </a:lnTo>
                        <a:lnTo>
                          <a:pt x="1344" y="1398"/>
                        </a:lnTo>
                        <a:lnTo>
                          <a:pt x="1352" y="1398"/>
                        </a:lnTo>
                        <a:lnTo>
                          <a:pt x="1360" y="1400"/>
                        </a:lnTo>
                        <a:lnTo>
                          <a:pt x="1370" y="1398"/>
                        </a:lnTo>
                        <a:lnTo>
                          <a:pt x="1370" y="1398"/>
                        </a:lnTo>
                        <a:lnTo>
                          <a:pt x="1380" y="1396"/>
                        </a:lnTo>
                        <a:lnTo>
                          <a:pt x="1388" y="1396"/>
                        </a:lnTo>
                        <a:lnTo>
                          <a:pt x="1394" y="1396"/>
                        </a:lnTo>
                        <a:lnTo>
                          <a:pt x="1398" y="1390"/>
                        </a:lnTo>
                        <a:lnTo>
                          <a:pt x="1398" y="1390"/>
                        </a:lnTo>
                        <a:lnTo>
                          <a:pt x="1400" y="1386"/>
                        </a:lnTo>
                        <a:lnTo>
                          <a:pt x="1398" y="1384"/>
                        </a:lnTo>
                        <a:lnTo>
                          <a:pt x="1396" y="1380"/>
                        </a:lnTo>
                        <a:lnTo>
                          <a:pt x="1402" y="1376"/>
                        </a:lnTo>
                        <a:lnTo>
                          <a:pt x="1402" y="1376"/>
                        </a:lnTo>
                        <a:lnTo>
                          <a:pt x="1404" y="1372"/>
                        </a:lnTo>
                        <a:lnTo>
                          <a:pt x="1404" y="1368"/>
                        </a:lnTo>
                        <a:lnTo>
                          <a:pt x="1404" y="1364"/>
                        </a:lnTo>
                        <a:lnTo>
                          <a:pt x="1410" y="1360"/>
                        </a:lnTo>
                        <a:lnTo>
                          <a:pt x="1410" y="1360"/>
                        </a:lnTo>
                        <a:lnTo>
                          <a:pt x="1414" y="1356"/>
                        </a:lnTo>
                        <a:lnTo>
                          <a:pt x="1416" y="1354"/>
                        </a:lnTo>
                        <a:lnTo>
                          <a:pt x="1414" y="1352"/>
                        </a:lnTo>
                        <a:lnTo>
                          <a:pt x="1412" y="1350"/>
                        </a:lnTo>
                        <a:lnTo>
                          <a:pt x="1406" y="1346"/>
                        </a:lnTo>
                        <a:lnTo>
                          <a:pt x="1406" y="1344"/>
                        </a:lnTo>
                        <a:lnTo>
                          <a:pt x="1406" y="1344"/>
                        </a:lnTo>
                        <a:lnTo>
                          <a:pt x="1406" y="1344"/>
                        </a:lnTo>
                        <a:lnTo>
                          <a:pt x="1410" y="1342"/>
                        </a:lnTo>
                        <a:lnTo>
                          <a:pt x="1414" y="1344"/>
                        </a:lnTo>
                        <a:lnTo>
                          <a:pt x="1420" y="1344"/>
                        </a:lnTo>
                        <a:lnTo>
                          <a:pt x="1430" y="1344"/>
                        </a:lnTo>
                        <a:lnTo>
                          <a:pt x="1430" y="1344"/>
                        </a:lnTo>
                        <a:lnTo>
                          <a:pt x="1436" y="1344"/>
                        </a:lnTo>
                        <a:lnTo>
                          <a:pt x="1434" y="1348"/>
                        </a:lnTo>
                        <a:lnTo>
                          <a:pt x="1428" y="1352"/>
                        </a:lnTo>
                        <a:lnTo>
                          <a:pt x="1424" y="1358"/>
                        </a:lnTo>
                        <a:lnTo>
                          <a:pt x="1424" y="1358"/>
                        </a:lnTo>
                        <a:lnTo>
                          <a:pt x="1422" y="1362"/>
                        </a:lnTo>
                        <a:lnTo>
                          <a:pt x="1418" y="1364"/>
                        </a:lnTo>
                        <a:lnTo>
                          <a:pt x="1414" y="1368"/>
                        </a:lnTo>
                        <a:lnTo>
                          <a:pt x="1412" y="1372"/>
                        </a:lnTo>
                        <a:lnTo>
                          <a:pt x="1412" y="1372"/>
                        </a:lnTo>
                        <a:lnTo>
                          <a:pt x="1410" y="1378"/>
                        </a:lnTo>
                        <a:lnTo>
                          <a:pt x="1408" y="1386"/>
                        </a:lnTo>
                        <a:lnTo>
                          <a:pt x="1406" y="1392"/>
                        </a:lnTo>
                        <a:lnTo>
                          <a:pt x="1406" y="1394"/>
                        </a:lnTo>
                        <a:lnTo>
                          <a:pt x="1408" y="1396"/>
                        </a:lnTo>
                        <a:lnTo>
                          <a:pt x="1408" y="1396"/>
                        </a:lnTo>
                        <a:lnTo>
                          <a:pt x="1414" y="1398"/>
                        </a:lnTo>
                        <a:lnTo>
                          <a:pt x="1420" y="1398"/>
                        </a:lnTo>
                        <a:lnTo>
                          <a:pt x="1426" y="1396"/>
                        </a:lnTo>
                        <a:lnTo>
                          <a:pt x="1432" y="1390"/>
                        </a:lnTo>
                        <a:lnTo>
                          <a:pt x="1432" y="1390"/>
                        </a:lnTo>
                        <a:lnTo>
                          <a:pt x="1440" y="1380"/>
                        </a:lnTo>
                        <a:lnTo>
                          <a:pt x="1444" y="1380"/>
                        </a:lnTo>
                        <a:lnTo>
                          <a:pt x="1448" y="1384"/>
                        </a:lnTo>
                        <a:lnTo>
                          <a:pt x="1448" y="1384"/>
                        </a:lnTo>
                        <a:lnTo>
                          <a:pt x="1452" y="1386"/>
                        </a:lnTo>
                        <a:lnTo>
                          <a:pt x="1454" y="1384"/>
                        </a:lnTo>
                        <a:lnTo>
                          <a:pt x="1454" y="1382"/>
                        </a:lnTo>
                        <a:lnTo>
                          <a:pt x="1452" y="1378"/>
                        </a:lnTo>
                        <a:lnTo>
                          <a:pt x="1452" y="1378"/>
                        </a:lnTo>
                        <a:lnTo>
                          <a:pt x="1452" y="1376"/>
                        </a:lnTo>
                        <a:lnTo>
                          <a:pt x="1452" y="1374"/>
                        </a:lnTo>
                        <a:lnTo>
                          <a:pt x="1456" y="1372"/>
                        </a:lnTo>
                        <a:lnTo>
                          <a:pt x="1462" y="1370"/>
                        </a:lnTo>
                        <a:lnTo>
                          <a:pt x="1466" y="1370"/>
                        </a:lnTo>
                        <a:lnTo>
                          <a:pt x="1468" y="1372"/>
                        </a:lnTo>
                        <a:lnTo>
                          <a:pt x="1468" y="1372"/>
                        </a:lnTo>
                        <a:lnTo>
                          <a:pt x="1472" y="1372"/>
                        </a:lnTo>
                        <a:lnTo>
                          <a:pt x="1476" y="1372"/>
                        </a:lnTo>
                        <a:lnTo>
                          <a:pt x="1484" y="1370"/>
                        </a:lnTo>
                        <a:lnTo>
                          <a:pt x="1498" y="1362"/>
                        </a:lnTo>
                        <a:lnTo>
                          <a:pt x="1498" y="1362"/>
                        </a:lnTo>
                        <a:lnTo>
                          <a:pt x="1502" y="1360"/>
                        </a:lnTo>
                        <a:lnTo>
                          <a:pt x="1502" y="1354"/>
                        </a:lnTo>
                        <a:lnTo>
                          <a:pt x="1502" y="1350"/>
                        </a:lnTo>
                        <a:lnTo>
                          <a:pt x="1502" y="1350"/>
                        </a:lnTo>
                        <a:lnTo>
                          <a:pt x="1504" y="1350"/>
                        </a:lnTo>
                        <a:lnTo>
                          <a:pt x="1504" y="1350"/>
                        </a:lnTo>
                        <a:lnTo>
                          <a:pt x="1508" y="1350"/>
                        </a:lnTo>
                        <a:lnTo>
                          <a:pt x="1510" y="1352"/>
                        </a:lnTo>
                        <a:lnTo>
                          <a:pt x="1510" y="1354"/>
                        </a:lnTo>
                        <a:lnTo>
                          <a:pt x="1512" y="1354"/>
                        </a:lnTo>
                        <a:lnTo>
                          <a:pt x="1512" y="1354"/>
                        </a:lnTo>
                        <a:lnTo>
                          <a:pt x="1520" y="1350"/>
                        </a:lnTo>
                        <a:lnTo>
                          <a:pt x="1532" y="1344"/>
                        </a:lnTo>
                        <a:lnTo>
                          <a:pt x="1558" y="1324"/>
                        </a:lnTo>
                        <a:lnTo>
                          <a:pt x="1570" y="1314"/>
                        </a:lnTo>
                        <a:lnTo>
                          <a:pt x="1580" y="1302"/>
                        </a:lnTo>
                        <a:lnTo>
                          <a:pt x="1588" y="1290"/>
                        </a:lnTo>
                        <a:lnTo>
                          <a:pt x="1592" y="1280"/>
                        </a:lnTo>
                        <a:lnTo>
                          <a:pt x="1592" y="1280"/>
                        </a:lnTo>
                        <a:lnTo>
                          <a:pt x="1600" y="1264"/>
                        </a:lnTo>
                        <a:lnTo>
                          <a:pt x="1610" y="1250"/>
                        </a:lnTo>
                        <a:lnTo>
                          <a:pt x="1622" y="1242"/>
                        </a:lnTo>
                        <a:lnTo>
                          <a:pt x="1628" y="1238"/>
                        </a:lnTo>
                        <a:lnTo>
                          <a:pt x="1634" y="1238"/>
                        </a:lnTo>
                        <a:lnTo>
                          <a:pt x="1634" y="1238"/>
                        </a:lnTo>
                        <a:lnTo>
                          <a:pt x="1642" y="1236"/>
                        </a:lnTo>
                        <a:lnTo>
                          <a:pt x="1646" y="1234"/>
                        </a:lnTo>
                        <a:lnTo>
                          <a:pt x="1648" y="1232"/>
                        </a:lnTo>
                        <a:lnTo>
                          <a:pt x="1648" y="1228"/>
                        </a:lnTo>
                        <a:lnTo>
                          <a:pt x="1646" y="1222"/>
                        </a:lnTo>
                        <a:lnTo>
                          <a:pt x="1640" y="1214"/>
                        </a:lnTo>
                        <a:lnTo>
                          <a:pt x="1632" y="1204"/>
                        </a:lnTo>
                        <a:lnTo>
                          <a:pt x="1632" y="1204"/>
                        </a:lnTo>
                        <a:lnTo>
                          <a:pt x="1626" y="1198"/>
                        </a:lnTo>
                        <a:lnTo>
                          <a:pt x="1624" y="1194"/>
                        </a:lnTo>
                        <a:lnTo>
                          <a:pt x="1636" y="1200"/>
                        </a:lnTo>
                        <a:lnTo>
                          <a:pt x="1670" y="1222"/>
                        </a:lnTo>
                        <a:lnTo>
                          <a:pt x="1670" y="1222"/>
                        </a:lnTo>
                        <a:lnTo>
                          <a:pt x="1684" y="1226"/>
                        </a:lnTo>
                        <a:lnTo>
                          <a:pt x="1694" y="1228"/>
                        </a:lnTo>
                        <a:lnTo>
                          <a:pt x="1702" y="1228"/>
                        </a:lnTo>
                        <a:lnTo>
                          <a:pt x="1710" y="1226"/>
                        </a:lnTo>
                        <a:lnTo>
                          <a:pt x="1718" y="1224"/>
                        </a:lnTo>
                        <a:lnTo>
                          <a:pt x="1724" y="1218"/>
                        </a:lnTo>
                        <a:lnTo>
                          <a:pt x="1730" y="1212"/>
                        </a:lnTo>
                        <a:lnTo>
                          <a:pt x="1730" y="1212"/>
                        </a:lnTo>
                        <a:lnTo>
                          <a:pt x="1732" y="1206"/>
                        </a:lnTo>
                        <a:lnTo>
                          <a:pt x="1734" y="1204"/>
                        </a:lnTo>
                        <a:lnTo>
                          <a:pt x="1738" y="1204"/>
                        </a:lnTo>
                        <a:lnTo>
                          <a:pt x="1742" y="1206"/>
                        </a:lnTo>
                        <a:lnTo>
                          <a:pt x="1748" y="1208"/>
                        </a:lnTo>
                        <a:lnTo>
                          <a:pt x="1756" y="1208"/>
                        </a:lnTo>
                        <a:lnTo>
                          <a:pt x="1766" y="1208"/>
                        </a:lnTo>
                        <a:lnTo>
                          <a:pt x="1782" y="1202"/>
                        </a:lnTo>
                        <a:lnTo>
                          <a:pt x="1782" y="1202"/>
                        </a:lnTo>
                        <a:lnTo>
                          <a:pt x="1800" y="1196"/>
                        </a:lnTo>
                        <a:lnTo>
                          <a:pt x="1818" y="1190"/>
                        </a:lnTo>
                        <a:lnTo>
                          <a:pt x="1856" y="1184"/>
                        </a:lnTo>
                        <a:lnTo>
                          <a:pt x="1886" y="1178"/>
                        </a:lnTo>
                        <a:lnTo>
                          <a:pt x="1898" y="1172"/>
                        </a:lnTo>
                        <a:lnTo>
                          <a:pt x="1906" y="1166"/>
                        </a:lnTo>
                        <a:lnTo>
                          <a:pt x="1906" y="1166"/>
                        </a:lnTo>
                        <a:lnTo>
                          <a:pt x="1920" y="1154"/>
                        </a:lnTo>
                        <a:lnTo>
                          <a:pt x="1934" y="1142"/>
                        </a:lnTo>
                        <a:lnTo>
                          <a:pt x="1950" y="1132"/>
                        </a:lnTo>
                        <a:lnTo>
                          <a:pt x="1960" y="1128"/>
                        </a:lnTo>
                        <a:lnTo>
                          <a:pt x="1970" y="1128"/>
                        </a:lnTo>
                        <a:lnTo>
                          <a:pt x="1970" y="1128"/>
                        </a:lnTo>
                        <a:lnTo>
                          <a:pt x="1978" y="1126"/>
                        </a:lnTo>
                        <a:lnTo>
                          <a:pt x="1982" y="1122"/>
                        </a:lnTo>
                        <a:lnTo>
                          <a:pt x="1982" y="1120"/>
                        </a:lnTo>
                        <a:lnTo>
                          <a:pt x="1982" y="1116"/>
                        </a:lnTo>
                        <a:lnTo>
                          <a:pt x="1982" y="1112"/>
                        </a:lnTo>
                        <a:lnTo>
                          <a:pt x="1982" y="1108"/>
                        </a:lnTo>
                        <a:lnTo>
                          <a:pt x="1986" y="1106"/>
                        </a:lnTo>
                        <a:lnTo>
                          <a:pt x="1994" y="1106"/>
                        </a:lnTo>
                        <a:lnTo>
                          <a:pt x="1994" y="1106"/>
                        </a:lnTo>
                        <a:lnTo>
                          <a:pt x="2008" y="1104"/>
                        </a:lnTo>
                        <a:lnTo>
                          <a:pt x="2012" y="1102"/>
                        </a:lnTo>
                        <a:lnTo>
                          <a:pt x="2012" y="1102"/>
                        </a:lnTo>
                        <a:lnTo>
                          <a:pt x="2016" y="1096"/>
                        </a:lnTo>
                        <a:lnTo>
                          <a:pt x="2022" y="1092"/>
                        </a:lnTo>
                        <a:lnTo>
                          <a:pt x="2030" y="1088"/>
                        </a:lnTo>
                        <a:lnTo>
                          <a:pt x="2030" y="1088"/>
                        </a:lnTo>
                        <a:lnTo>
                          <a:pt x="2046" y="1080"/>
                        </a:lnTo>
                        <a:lnTo>
                          <a:pt x="2046" y="1078"/>
                        </a:lnTo>
                        <a:lnTo>
                          <a:pt x="2044" y="1076"/>
                        </a:lnTo>
                        <a:lnTo>
                          <a:pt x="2028" y="1076"/>
                        </a:lnTo>
                        <a:lnTo>
                          <a:pt x="2000" y="1080"/>
                        </a:lnTo>
                        <a:lnTo>
                          <a:pt x="2000" y="1080"/>
                        </a:lnTo>
                        <a:lnTo>
                          <a:pt x="1984" y="1080"/>
                        </a:lnTo>
                        <a:lnTo>
                          <a:pt x="1970" y="1076"/>
                        </a:lnTo>
                        <a:lnTo>
                          <a:pt x="1956" y="1070"/>
                        </a:lnTo>
                        <a:lnTo>
                          <a:pt x="1944" y="1064"/>
                        </a:lnTo>
                        <a:lnTo>
                          <a:pt x="1932" y="1058"/>
                        </a:lnTo>
                        <a:lnTo>
                          <a:pt x="1920" y="1056"/>
                        </a:lnTo>
                        <a:lnTo>
                          <a:pt x="1914" y="1056"/>
                        </a:lnTo>
                        <a:lnTo>
                          <a:pt x="1906" y="1058"/>
                        </a:lnTo>
                        <a:lnTo>
                          <a:pt x="1900" y="1060"/>
                        </a:lnTo>
                        <a:lnTo>
                          <a:pt x="1892" y="1064"/>
                        </a:lnTo>
                        <a:lnTo>
                          <a:pt x="1892" y="1064"/>
                        </a:lnTo>
                        <a:lnTo>
                          <a:pt x="1884" y="1068"/>
                        </a:lnTo>
                        <a:lnTo>
                          <a:pt x="1878" y="1070"/>
                        </a:lnTo>
                        <a:lnTo>
                          <a:pt x="1866" y="1070"/>
                        </a:lnTo>
                        <a:lnTo>
                          <a:pt x="1860" y="1070"/>
                        </a:lnTo>
                        <a:lnTo>
                          <a:pt x="1854" y="1072"/>
                        </a:lnTo>
                        <a:lnTo>
                          <a:pt x="1846" y="1076"/>
                        </a:lnTo>
                        <a:lnTo>
                          <a:pt x="1838" y="1082"/>
                        </a:lnTo>
                        <a:lnTo>
                          <a:pt x="1838" y="1082"/>
                        </a:lnTo>
                        <a:lnTo>
                          <a:pt x="1834" y="1086"/>
                        </a:lnTo>
                        <a:lnTo>
                          <a:pt x="1828" y="1090"/>
                        </a:lnTo>
                        <a:lnTo>
                          <a:pt x="1824" y="1090"/>
                        </a:lnTo>
                        <a:lnTo>
                          <a:pt x="1820" y="1090"/>
                        </a:lnTo>
                        <a:lnTo>
                          <a:pt x="1818" y="1088"/>
                        </a:lnTo>
                        <a:lnTo>
                          <a:pt x="1820" y="1084"/>
                        </a:lnTo>
                        <a:lnTo>
                          <a:pt x="1824" y="1078"/>
                        </a:lnTo>
                        <a:lnTo>
                          <a:pt x="1832" y="1070"/>
                        </a:lnTo>
                        <a:lnTo>
                          <a:pt x="1832" y="1070"/>
                        </a:lnTo>
                        <a:lnTo>
                          <a:pt x="1840" y="1064"/>
                        </a:lnTo>
                        <a:lnTo>
                          <a:pt x="1848" y="1062"/>
                        </a:lnTo>
                        <a:lnTo>
                          <a:pt x="1852" y="1062"/>
                        </a:lnTo>
                        <a:lnTo>
                          <a:pt x="1856" y="1062"/>
                        </a:lnTo>
                        <a:lnTo>
                          <a:pt x="1864" y="1064"/>
                        </a:lnTo>
                        <a:lnTo>
                          <a:pt x="1866" y="1064"/>
                        </a:lnTo>
                        <a:lnTo>
                          <a:pt x="1870" y="1062"/>
                        </a:lnTo>
                        <a:lnTo>
                          <a:pt x="1870" y="1062"/>
                        </a:lnTo>
                        <a:lnTo>
                          <a:pt x="1876" y="1058"/>
                        </a:lnTo>
                        <a:lnTo>
                          <a:pt x="1878" y="1056"/>
                        </a:lnTo>
                        <a:lnTo>
                          <a:pt x="1878" y="1054"/>
                        </a:lnTo>
                        <a:lnTo>
                          <a:pt x="1874" y="1052"/>
                        </a:lnTo>
                        <a:lnTo>
                          <a:pt x="1868" y="1052"/>
                        </a:lnTo>
                        <a:lnTo>
                          <a:pt x="1844" y="1054"/>
                        </a:lnTo>
                        <a:lnTo>
                          <a:pt x="1844" y="1054"/>
                        </a:lnTo>
                        <a:lnTo>
                          <a:pt x="1816" y="1058"/>
                        </a:lnTo>
                        <a:lnTo>
                          <a:pt x="1800" y="1058"/>
                        </a:lnTo>
                        <a:lnTo>
                          <a:pt x="1798" y="1056"/>
                        </a:lnTo>
                        <a:lnTo>
                          <a:pt x="1796" y="1052"/>
                        </a:lnTo>
                        <a:lnTo>
                          <a:pt x="1798" y="1046"/>
                        </a:lnTo>
                        <a:lnTo>
                          <a:pt x="1804" y="1038"/>
                        </a:lnTo>
                        <a:lnTo>
                          <a:pt x="1804" y="1038"/>
                        </a:lnTo>
                        <a:lnTo>
                          <a:pt x="1814" y="1022"/>
                        </a:lnTo>
                        <a:lnTo>
                          <a:pt x="1818" y="1014"/>
                        </a:lnTo>
                        <a:lnTo>
                          <a:pt x="1820" y="1012"/>
                        </a:lnTo>
                        <a:lnTo>
                          <a:pt x="1822" y="1010"/>
                        </a:lnTo>
                        <a:lnTo>
                          <a:pt x="1828" y="1016"/>
                        </a:lnTo>
                        <a:lnTo>
                          <a:pt x="1828" y="1016"/>
                        </a:lnTo>
                        <a:lnTo>
                          <a:pt x="1836" y="1022"/>
                        </a:lnTo>
                        <a:lnTo>
                          <a:pt x="1840" y="1022"/>
                        </a:lnTo>
                        <a:lnTo>
                          <a:pt x="1844" y="1022"/>
                        </a:lnTo>
                        <a:lnTo>
                          <a:pt x="1882" y="1010"/>
                        </a:lnTo>
                        <a:lnTo>
                          <a:pt x="1882" y="1010"/>
                        </a:lnTo>
                        <a:lnTo>
                          <a:pt x="1896" y="1006"/>
                        </a:lnTo>
                        <a:lnTo>
                          <a:pt x="1904" y="1000"/>
                        </a:lnTo>
                        <a:lnTo>
                          <a:pt x="1908" y="996"/>
                        </a:lnTo>
                        <a:lnTo>
                          <a:pt x="1910" y="992"/>
                        </a:lnTo>
                        <a:lnTo>
                          <a:pt x="1906" y="986"/>
                        </a:lnTo>
                        <a:lnTo>
                          <a:pt x="1898" y="984"/>
                        </a:lnTo>
                        <a:lnTo>
                          <a:pt x="1888" y="980"/>
                        </a:lnTo>
                        <a:lnTo>
                          <a:pt x="1874" y="978"/>
                        </a:lnTo>
                        <a:lnTo>
                          <a:pt x="1874" y="978"/>
                        </a:lnTo>
                        <a:lnTo>
                          <a:pt x="1850" y="974"/>
                        </a:lnTo>
                        <a:lnTo>
                          <a:pt x="1844" y="972"/>
                        </a:lnTo>
                        <a:lnTo>
                          <a:pt x="1842" y="970"/>
                        </a:lnTo>
                        <a:lnTo>
                          <a:pt x="1844" y="968"/>
                        </a:lnTo>
                        <a:lnTo>
                          <a:pt x="1850" y="966"/>
                        </a:lnTo>
                        <a:lnTo>
                          <a:pt x="1870" y="966"/>
                        </a:lnTo>
                        <a:lnTo>
                          <a:pt x="1870" y="966"/>
                        </a:lnTo>
                        <a:lnTo>
                          <a:pt x="1892" y="970"/>
                        </a:lnTo>
                        <a:lnTo>
                          <a:pt x="1906" y="976"/>
                        </a:lnTo>
                        <a:lnTo>
                          <a:pt x="1918" y="980"/>
                        </a:lnTo>
                        <a:lnTo>
                          <a:pt x="1932" y="986"/>
                        </a:lnTo>
                        <a:lnTo>
                          <a:pt x="1932" y="986"/>
                        </a:lnTo>
                        <a:lnTo>
                          <a:pt x="1946" y="992"/>
                        </a:lnTo>
                        <a:lnTo>
                          <a:pt x="1954" y="998"/>
                        </a:lnTo>
                        <a:lnTo>
                          <a:pt x="1958" y="1008"/>
                        </a:lnTo>
                        <a:lnTo>
                          <a:pt x="1960" y="1022"/>
                        </a:lnTo>
                        <a:lnTo>
                          <a:pt x="1960" y="1022"/>
                        </a:lnTo>
                        <a:lnTo>
                          <a:pt x="1964" y="1030"/>
                        </a:lnTo>
                        <a:lnTo>
                          <a:pt x="1970" y="1038"/>
                        </a:lnTo>
                        <a:lnTo>
                          <a:pt x="1978" y="1044"/>
                        </a:lnTo>
                        <a:lnTo>
                          <a:pt x="1988" y="1050"/>
                        </a:lnTo>
                        <a:lnTo>
                          <a:pt x="1998" y="1052"/>
                        </a:lnTo>
                        <a:lnTo>
                          <a:pt x="2008" y="1054"/>
                        </a:lnTo>
                        <a:lnTo>
                          <a:pt x="2016" y="1054"/>
                        </a:lnTo>
                        <a:lnTo>
                          <a:pt x="2022" y="1052"/>
                        </a:lnTo>
                        <a:lnTo>
                          <a:pt x="2022" y="1052"/>
                        </a:lnTo>
                        <a:lnTo>
                          <a:pt x="2030" y="1048"/>
                        </a:lnTo>
                        <a:lnTo>
                          <a:pt x="2036" y="1050"/>
                        </a:lnTo>
                        <a:lnTo>
                          <a:pt x="2046" y="1052"/>
                        </a:lnTo>
                        <a:lnTo>
                          <a:pt x="2060" y="1056"/>
                        </a:lnTo>
                        <a:lnTo>
                          <a:pt x="2060" y="1056"/>
                        </a:lnTo>
                        <a:lnTo>
                          <a:pt x="2068" y="1054"/>
                        </a:lnTo>
                        <a:lnTo>
                          <a:pt x="2070" y="1050"/>
                        </a:lnTo>
                        <a:lnTo>
                          <a:pt x="2072" y="1042"/>
                        </a:lnTo>
                        <a:lnTo>
                          <a:pt x="2070" y="1032"/>
                        </a:lnTo>
                        <a:lnTo>
                          <a:pt x="2066" y="1008"/>
                        </a:lnTo>
                        <a:lnTo>
                          <a:pt x="2064" y="996"/>
                        </a:lnTo>
                        <a:lnTo>
                          <a:pt x="2064" y="984"/>
                        </a:lnTo>
                        <a:lnTo>
                          <a:pt x="2064" y="984"/>
                        </a:lnTo>
                        <a:lnTo>
                          <a:pt x="2062" y="976"/>
                        </a:lnTo>
                        <a:lnTo>
                          <a:pt x="2062" y="974"/>
                        </a:lnTo>
                        <a:lnTo>
                          <a:pt x="2060" y="974"/>
                        </a:lnTo>
                        <a:lnTo>
                          <a:pt x="2056" y="976"/>
                        </a:lnTo>
                        <a:lnTo>
                          <a:pt x="2050" y="980"/>
                        </a:lnTo>
                        <a:lnTo>
                          <a:pt x="2044" y="986"/>
                        </a:lnTo>
                        <a:lnTo>
                          <a:pt x="2038" y="990"/>
                        </a:lnTo>
                        <a:lnTo>
                          <a:pt x="2032" y="990"/>
                        </a:lnTo>
                        <a:lnTo>
                          <a:pt x="2030" y="988"/>
                        </a:lnTo>
                        <a:lnTo>
                          <a:pt x="2030" y="986"/>
                        </a:lnTo>
                        <a:lnTo>
                          <a:pt x="2030" y="986"/>
                        </a:lnTo>
                        <a:lnTo>
                          <a:pt x="2028" y="976"/>
                        </a:lnTo>
                        <a:lnTo>
                          <a:pt x="2028" y="974"/>
                        </a:lnTo>
                        <a:lnTo>
                          <a:pt x="2032" y="974"/>
                        </a:lnTo>
                        <a:lnTo>
                          <a:pt x="2038" y="972"/>
                        </a:lnTo>
                        <a:lnTo>
                          <a:pt x="2044" y="968"/>
                        </a:lnTo>
                        <a:lnTo>
                          <a:pt x="2050" y="962"/>
                        </a:lnTo>
                        <a:lnTo>
                          <a:pt x="2050" y="962"/>
                        </a:lnTo>
                        <a:lnTo>
                          <a:pt x="2054" y="956"/>
                        </a:lnTo>
                        <a:lnTo>
                          <a:pt x="2054" y="956"/>
                        </a:lnTo>
                        <a:lnTo>
                          <a:pt x="2054" y="954"/>
                        </a:lnTo>
                        <a:lnTo>
                          <a:pt x="2044" y="958"/>
                        </a:lnTo>
                        <a:lnTo>
                          <a:pt x="2032" y="962"/>
                        </a:lnTo>
                        <a:lnTo>
                          <a:pt x="2030" y="960"/>
                        </a:lnTo>
                        <a:lnTo>
                          <a:pt x="2030" y="956"/>
                        </a:lnTo>
                        <a:lnTo>
                          <a:pt x="2030" y="956"/>
                        </a:lnTo>
                        <a:lnTo>
                          <a:pt x="2032" y="950"/>
                        </a:lnTo>
                        <a:lnTo>
                          <a:pt x="2030" y="944"/>
                        </a:lnTo>
                        <a:lnTo>
                          <a:pt x="2026" y="940"/>
                        </a:lnTo>
                        <a:lnTo>
                          <a:pt x="2020" y="938"/>
                        </a:lnTo>
                        <a:lnTo>
                          <a:pt x="2002" y="932"/>
                        </a:lnTo>
                        <a:lnTo>
                          <a:pt x="1980" y="926"/>
                        </a:lnTo>
                        <a:lnTo>
                          <a:pt x="1980" y="926"/>
                        </a:lnTo>
                        <a:lnTo>
                          <a:pt x="1960" y="918"/>
                        </a:lnTo>
                        <a:lnTo>
                          <a:pt x="1948" y="912"/>
                        </a:lnTo>
                        <a:lnTo>
                          <a:pt x="1944" y="908"/>
                        </a:lnTo>
                        <a:lnTo>
                          <a:pt x="1944" y="904"/>
                        </a:lnTo>
                        <a:lnTo>
                          <a:pt x="1944" y="900"/>
                        </a:lnTo>
                        <a:lnTo>
                          <a:pt x="1944" y="896"/>
                        </a:lnTo>
                        <a:lnTo>
                          <a:pt x="1942" y="892"/>
                        </a:lnTo>
                        <a:lnTo>
                          <a:pt x="1934" y="886"/>
                        </a:lnTo>
                        <a:lnTo>
                          <a:pt x="1934" y="886"/>
                        </a:lnTo>
                        <a:lnTo>
                          <a:pt x="1924" y="880"/>
                        </a:lnTo>
                        <a:lnTo>
                          <a:pt x="1922" y="874"/>
                        </a:lnTo>
                        <a:lnTo>
                          <a:pt x="1922" y="870"/>
                        </a:lnTo>
                        <a:lnTo>
                          <a:pt x="1924" y="866"/>
                        </a:lnTo>
                        <a:lnTo>
                          <a:pt x="1922" y="862"/>
                        </a:lnTo>
                        <a:lnTo>
                          <a:pt x="1916" y="858"/>
                        </a:lnTo>
                        <a:lnTo>
                          <a:pt x="1902" y="852"/>
                        </a:lnTo>
                        <a:lnTo>
                          <a:pt x="1878" y="846"/>
                        </a:lnTo>
                        <a:lnTo>
                          <a:pt x="1878" y="846"/>
                        </a:lnTo>
                        <a:lnTo>
                          <a:pt x="1888" y="846"/>
                        </a:lnTo>
                        <a:lnTo>
                          <a:pt x="1896" y="844"/>
                        </a:lnTo>
                        <a:lnTo>
                          <a:pt x="1904" y="842"/>
                        </a:lnTo>
                        <a:lnTo>
                          <a:pt x="1910" y="838"/>
                        </a:lnTo>
                        <a:lnTo>
                          <a:pt x="1926" y="828"/>
                        </a:lnTo>
                        <a:lnTo>
                          <a:pt x="1948" y="818"/>
                        </a:lnTo>
                        <a:lnTo>
                          <a:pt x="1948" y="818"/>
                        </a:lnTo>
                        <a:lnTo>
                          <a:pt x="1954" y="816"/>
                        </a:lnTo>
                        <a:lnTo>
                          <a:pt x="1960" y="816"/>
                        </a:lnTo>
                        <a:lnTo>
                          <a:pt x="1974" y="818"/>
                        </a:lnTo>
                        <a:lnTo>
                          <a:pt x="1988" y="824"/>
                        </a:lnTo>
                        <a:lnTo>
                          <a:pt x="2002" y="832"/>
                        </a:lnTo>
                        <a:lnTo>
                          <a:pt x="2016" y="838"/>
                        </a:lnTo>
                        <a:lnTo>
                          <a:pt x="2030" y="842"/>
                        </a:lnTo>
                        <a:lnTo>
                          <a:pt x="2038" y="844"/>
                        </a:lnTo>
                        <a:lnTo>
                          <a:pt x="2044" y="842"/>
                        </a:lnTo>
                        <a:lnTo>
                          <a:pt x="2052" y="840"/>
                        </a:lnTo>
                        <a:lnTo>
                          <a:pt x="2058" y="836"/>
                        </a:lnTo>
                        <a:lnTo>
                          <a:pt x="2058" y="836"/>
                        </a:lnTo>
                        <a:lnTo>
                          <a:pt x="2070" y="830"/>
                        </a:lnTo>
                        <a:lnTo>
                          <a:pt x="2078" y="826"/>
                        </a:lnTo>
                        <a:lnTo>
                          <a:pt x="2086" y="826"/>
                        </a:lnTo>
                        <a:lnTo>
                          <a:pt x="2092" y="828"/>
                        </a:lnTo>
                        <a:lnTo>
                          <a:pt x="2096" y="830"/>
                        </a:lnTo>
                        <a:lnTo>
                          <a:pt x="2100" y="830"/>
                        </a:lnTo>
                        <a:lnTo>
                          <a:pt x="2106" y="826"/>
                        </a:lnTo>
                        <a:lnTo>
                          <a:pt x="2112" y="818"/>
                        </a:lnTo>
                        <a:lnTo>
                          <a:pt x="2112" y="818"/>
                        </a:lnTo>
                        <a:lnTo>
                          <a:pt x="2118" y="810"/>
                        </a:lnTo>
                        <a:lnTo>
                          <a:pt x="2118" y="806"/>
                        </a:lnTo>
                        <a:lnTo>
                          <a:pt x="2116" y="802"/>
                        </a:lnTo>
                        <a:lnTo>
                          <a:pt x="2112" y="796"/>
                        </a:lnTo>
                        <a:lnTo>
                          <a:pt x="2104" y="792"/>
                        </a:lnTo>
                        <a:lnTo>
                          <a:pt x="2092" y="790"/>
                        </a:lnTo>
                        <a:lnTo>
                          <a:pt x="2080" y="788"/>
                        </a:lnTo>
                        <a:lnTo>
                          <a:pt x="2054" y="786"/>
                        </a:lnTo>
                        <a:lnTo>
                          <a:pt x="2054" y="786"/>
                        </a:lnTo>
                        <a:lnTo>
                          <a:pt x="2044" y="786"/>
                        </a:lnTo>
                        <a:lnTo>
                          <a:pt x="2040" y="784"/>
                        </a:lnTo>
                        <a:lnTo>
                          <a:pt x="2040" y="780"/>
                        </a:lnTo>
                        <a:lnTo>
                          <a:pt x="2040" y="776"/>
                        </a:lnTo>
                        <a:lnTo>
                          <a:pt x="2046" y="768"/>
                        </a:lnTo>
                        <a:lnTo>
                          <a:pt x="2054" y="762"/>
                        </a:lnTo>
                        <a:lnTo>
                          <a:pt x="2066" y="758"/>
                        </a:lnTo>
                        <a:lnTo>
                          <a:pt x="2078" y="754"/>
                        </a:lnTo>
                        <a:lnTo>
                          <a:pt x="2092" y="752"/>
                        </a:lnTo>
                        <a:lnTo>
                          <a:pt x="2092" y="752"/>
                        </a:lnTo>
                        <a:lnTo>
                          <a:pt x="2104" y="754"/>
                        </a:lnTo>
                        <a:lnTo>
                          <a:pt x="2112" y="758"/>
                        </a:lnTo>
                        <a:lnTo>
                          <a:pt x="2122" y="766"/>
                        </a:lnTo>
                        <a:lnTo>
                          <a:pt x="2128" y="768"/>
                        </a:lnTo>
                        <a:lnTo>
                          <a:pt x="2132" y="770"/>
                        </a:lnTo>
                        <a:lnTo>
                          <a:pt x="2142" y="768"/>
                        </a:lnTo>
                        <a:lnTo>
                          <a:pt x="2152" y="766"/>
                        </a:lnTo>
                        <a:lnTo>
                          <a:pt x="2152" y="766"/>
                        </a:lnTo>
                        <a:lnTo>
                          <a:pt x="2162" y="762"/>
                        </a:lnTo>
                        <a:lnTo>
                          <a:pt x="2164" y="758"/>
                        </a:lnTo>
                        <a:lnTo>
                          <a:pt x="2166" y="754"/>
                        </a:lnTo>
                        <a:lnTo>
                          <a:pt x="2162" y="750"/>
                        </a:lnTo>
                        <a:lnTo>
                          <a:pt x="2154" y="746"/>
                        </a:lnTo>
                        <a:lnTo>
                          <a:pt x="2146" y="742"/>
                        </a:lnTo>
                        <a:lnTo>
                          <a:pt x="2134" y="740"/>
                        </a:lnTo>
                        <a:lnTo>
                          <a:pt x="2120" y="738"/>
                        </a:lnTo>
                        <a:lnTo>
                          <a:pt x="2120" y="738"/>
                        </a:lnTo>
                        <a:lnTo>
                          <a:pt x="2112" y="738"/>
                        </a:lnTo>
                        <a:lnTo>
                          <a:pt x="2108" y="736"/>
                        </a:lnTo>
                        <a:lnTo>
                          <a:pt x="2104" y="732"/>
                        </a:lnTo>
                        <a:lnTo>
                          <a:pt x="2102" y="728"/>
                        </a:lnTo>
                        <a:lnTo>
                          <a:pt x="2100" y="718"/>
                        </a:lnTo>
                        <a:lnTo>
                          <a:pt x="2102" y="708"/>
                        </a:lnTo>
                        <a:lnTo>
                          <a:pt x="2108" y="700"/>
                        </a:lnTo>
                        <a:lnTo>
                          <a:pt x="2114" y="694"/>
                        </a:lnTo>
                        <a:lnTo>
                          <a:pt x="2118" y="692"/>
                        </a:lnTo>
                        <a:lnTo>
                          <a:pt x="2122" y="692"/>
                        </a:lnTo>
                        <a:lnTo>
                          <a:pt x="2124" y="692"/>
                        </a:lnTo>
                        <a:lnTo>
                          <a:pt x="2126" y="696"/>
                        </a:lnTo>
                        <a:lnTo>
                          <a:pt x="2126" y="696"/>
                        </a:lnTo>
                        <a:lnTo>
                          <a:pt x="2132" y="700"/>
                        </a:lnTo>
                        <a:lnTo>
                          <a:pt x="2140" y="702"/>
                        </a:lnTo>
                        <a:lnTo>
                          <a:pt x="2148" y="702"/>
                        </a:lnTo>
                        <a:lnTo>
                          <a:pt x="2154" y="698"/>
                        </a:lnTo>
                        <a:lnTo>
                          <a:pt x="2158" y="692"/>
                        </a:lnTo>
                        <a:lnTo>
                          <a:pt x="2162" y="686"/>
                        </a:lnTo>
                        <a:lnTo>
                          <a:pt x="2160" y="678"/>
                        </a:lnTo>
                        <a:lnTo>
                          <a:pt x="2156" y="670"/>
                        </a:lnTo>
                        <a:lnTo>
                          <a:pt x="2156" y="670"/>
                        </a:lnTo>
                        <a:lnTo>
                          <a:pt x="2150" y="662"/>
                        </a:lnTo>
                        <a:lnTo>
                          <a:pt x="2150" y="658"/>
                        </a:lnTo>
                        <a:lnTo>
                          <a:pt x="2154" y="656"/>
                        </a:lnTo>
                        <a:lnTo>
                          <a:pt x="2156" y="656"/>
                        </a:lnTo>
                        <a:lnTo>
                          <a:pt x="2160" y="656"/>
                        </a:lnTo>
                        <a:lnTo>
                          <a:pt x="2160" y="654"/>
                        </a:lnTo>
                        <a:lnTo>
                          <a:pt x="2144" y="646"/>
                        </a:lnTo>
                        <a:lnTo>
                          <a:pt x="2144" y="646"/>
                        </a:lnTo>
                        <a:lnTo>
                          <a:pt x="2132" y="640"/>
                        </a:lnTo>
                        <a:lnTo>
                          <a:pt x="2128" y="636"/>
                        </a:lnTo>
                        <a:lnTo>
                          <a:pt x="2128" y="634"/>
                        </a:lnTo>
                        <a:lnTo>
                          <a:pt x="2130" y="632"/>
                        </a:lnTo>
                        <a:lnTo>
                          <a:pt x="2140" y="628"/>
                        </a:lnTo>
                        <a:lnTo>
                          <a:pt x="2142" y="624"/>
                        </a:lnTo>
                        <a:lnTo>
                          <a:pt x="2142" y="620"/>
                        </a:lnTo>
                        <a:lnTo>
                          <a:pt x="2142" y="620"/>
                        </a:lnTo>
                        <a:lnTo>
                          <a:pt x="2140" y="616"/>
                        </a:lnTo>
                        <a:lnTo>
                          <a:pt x="2136" y="614"/>
                        </a:lnTo>
                        <a:lnTo>
                          <a:pt x="2126" y="612"/>
                        </a:lnTo>
                        <a:lnTo>
                          <a:pt x="2098" y="612"/>
                        </a:lnTo>
                        <a:lnTo>
                          <a:pt x="2084" y="612"/>
                        </a:lnTo>
                        <a:lnTo>
                          <a:pt x="2074" y="612"/>
                        </a:lnTo>
                        <a:lnTo>
                          <a:pt x="2066" y="608"/>
                        </a:lnTo>
                        <a:lnTo>
                          <a:pt x="2064" y="606"/>
                        </a:lnTo>
                        <a:lnTo>
                          <a:pt x="2062" y="602"/>
                        </a:lnTo>
                        <a:lnTo>
                          <a:pt x="2062" y="602"/>
                        </a:lnTo>
                        <a:lnTo>
                          <a:pt x="2062" y="598"/>
                        </a:lnTo>
                        <a:lnTo>
                          <a:pt x="2060" y="594"/>
                        </a:lnTo>
                        <a:lnTo>
                          <a:pt x="2056" y="590"/>
                        </a:lnTo>
                        <a:lnTo>
                          <a:pt x="2048" y="586"/>
                        </a:lnTo>
                        <a:lnTo>
                          <a:pt x="2040" y="582"/>
                        </a:lnTo>
                        <a:lnTo>
                          <a:pt x="2032" y="580"/>
                        </a:lnTo>
                        <a:lnTo>
                          <a:pt x="2028" y="578"/>
                        </a:lnTo>
                        <a:lnTo>
                          <a:pt x="2026" y="576"/>
                        </a:lnTo>
                        <a:lnTo>
                          <a:pt x="2028" y="574"/>
                        </a:lnTo>
                        <a:lnTo>
                          <a:pt x="2032" y="568"/>
                        </a:lnTo>
                        <a:lnTo>
                          <a:pt x="2032" y="568"/>
                        </a:lnTo>
                        <a:lnTo>
                          <a:pt x="2040" y="566"/>
                        </a:lnTo>
                        <a:lnTo>
                          <a:pt x="2046" y="566"/>
                        </a:lnTo>
                        <a:lnTo>
                          <a:pt x="2050" y="570"/>
                        </a:lnTo>
                        <a:lnTo>
                          <a:pt x="2054" y="574"/>
                        </a:lnTo>
                        <a:lnTo>
                          <a:pt x="2058" y="578"/>
                        </a:lnTo>
                        <a:lnTo>
                          <a:pt x="2064" y="580"/>
                        </a:lnTo>
                        <a:lnTo>
                          <a:pt x="2072" y="580"/>
                        </a:lnTo>
                        <a:lnTo>
                          <a:pt x="2082" y="574"/>
                        </a:lnTo>
                        <a:lnTo>
                          <a:pt x="2082" y="574"/>
                        </a:lnTo>
                        <a:lnTo>
                          <a:pt x="2094" y="566"/>
                        </a:lnTo>
                        <a:lnTo>
                          <a:pt x="2106" y="562"/>
                        </a:lnTo>
                        <a:lnTo>
                          <a:pt x="2120" y="560"/>
                        </a:lnTo>
                        <a:lnTo>
                          <a:pt x="2132" y="560"/>
                        </a:lnTo>
                        <a:lnTo>
                          <a:pt x="2144" y="562"/>
                        </a:lnTo>
                        <a:lnTo>
                          <a:pt x="2156" y="564"/>
                        </a:lnTo>
                        <a:lnTo>
                          <a:pt x="2178" y="574"/>
                        </a:lnTo>
                        <a:lnTo>
                          <a:pt x="2178" y="574"/>
                        </a:lnTo>
                        <a:lnTo>
                          <a:pt x="2188" y="576"/>
                        </a:lnTo>
                        <a:lnTo>
                          <a:pt x="2196" y="574"/>
                        </a:lnTo>
                        <a:lnTo>
                          <a:pt x="2202" y="570"/>
                        </a:lnTo>
                        <a:lnTo>
                          <a:pt x="2206" y="564"/>
                        </a:lnTo>
                        <a:lnTo>
                          <a:pt x="2208" y="556"/>
                        </a:lnTo>
                        <a:lnTo>
                          <a:pt x="2206" y="546"/>
                        </a:lnTo>
                        <a:lnTo>
                          <a:pt x="2202" y="536"/>
                        </a:lnTo>
                        <a:lnTo>
                          <a:pt x="2194" y="528"/>
                        </a:lnTo>
                        <a:lnTo>
                          <a:pt x="2194" y="528"/>
                        </a:lnTo>
                        <a:lnTo>
                          <a:pt x="2186" y="522"/>
                        </a:lnTo>
                        <a:lnTo>
                          <a:pt x="2180" y="522"/>
                        </a:lnTo>
                        <a:lnTo>
                          <a:pt x="2176" y="524"/>
                        </a:lnTo>
                        <a:lnTo>
                          <a:pt x="2172" y="528"/>
                        </a:lnTo>
                        <a:lnTo>
                          <a:pt x="2166" y="532"/>
                        </a:lnTo>
                        <a:lnTo>
                          <a:pt x="2158" y="534"/>
                        </a:lnTo>
                        <a:lnTo>
                          <a:pt x="2148" y="532"/>
                        </a:lnTo>
                        <a:lnTo>
                          <a:pt x="2132" y="524"/>
                        </a:lnTo>
                        <a:lnTo>
                          <a:pt x="2132" y="524"/>
                        </a:lnTo>
                        <a:lnTo>
                          <a:pt x="2106" y="506"/>
                        </a:lnTo>
                        <a:lnTo>
                          <a:pt x="2102" y="502"/>
                        </a:lnTo>
                        <a:lnTo>
                          <a:pt x="2102" y="500"/>
                        </a:lnTo>
                        <a:lnTo>
                          <a:pt x="2102" y="498"/>
                        </a:lnTo>
                        <a:lnTo>
                          <a:pt x="2106" y="498"/>
                        </a:lnTo>
                        <a:lnTo>
                          <a:pt x="2116" y="498"/>
                        </a:lnTo>
                        <a:lnTo>
                          <a:pt x="2144" y="504"/>
                        </a:lnTo>
                        <a:lnTo>
                          <a:pt x="2144" y="504"/>
                        </a:lnTo>
                        <a:lnTo>
                          <a:pt x="2170" y="508"/>
                        </a:lnTo>
                        <a:lnTo>
                          <a:pt x="2174" y="508"/>
                        </a:lnTo>
                        <a:lnTo>
                          <a:pt x="2174" y="506"/>
                        </a:lnTo>
                        <a:lnTo>
                          <a:pt x="2168" y="502"/>
                        </a:lnTo>
                        <a:lnTo>
                          <a:pt x="2156" y="496"/>
                        </a:lnTo>
                        <a:lnTo>
                          <a:pt x="2120" y="480"/>
                        </a:lnTo>
                        <a:lnTo>
                          <a:pt x="2120" y="480"/>
                        </a:lnTo>
                        <a:lnTo>
                          <a:pt x="2100" y="474"/>
                        </a:lnTo>
                        <a:lnTo>
                          <a:pt x="2086" y="474"/>
                        </a:lnTo>
                        <a:lnTo>
                          <a:pt x="2078" y="476"/>
                        </a:lnTo>
                        <a:lnTo>
                          <a:pt x="2074" y="482"/>
                        </a:lnTo>
                        <a:lnTo>
                          <a:pt x="2070" y="494"/>
                        </a:lnTo>
                        <a:lnTo>
                          <a:pt x="2066" y="500"/>
                        </a:lnTo>
                        <a:lnTo>
                          <a:pt x="2060" y="504"/>
                        </a:lnTo>
                        <a:lnTo>
                          <a:pt x="2060" y="504"/>
                        </a:lnTo>
                        <a:lnTo>
                          <a:pt x="2056" y="504"/>
                        </a:lnTo>
                        <a:lnTo>
                          <a:pt x="2054" y="502"/>
                        </a:lnTo>
                        <a:lnTo>
                          <a:pt x="2052" y="500"/>
                        </a:lnTo>
                        <a:lnTo>
                          <a:pt x="2052" y="498"/>
                        </a:lnTo>
                        <a:lnTo>
                          <a:pt x="2054" y="490"/>
                        </a:lnTo>
                        <a:lnTo>
                          <a:pt x="2060" y="478"/>
                        </a:lnTo>
                        <a:lnTo>
                          <a:pt x="2072" y="454"/>
                        </a:lnTo>
                        <a:lnTo>
                          <a:pt x="2080" y="440"/>
                        </a:lnTo>
                        <a:lnTo>
                          <a:pt x="2086" y="426"/>
                        </a:lnTo>
                        <a:lnTo>
                          <a:pt x="2086" y="426"/>
                        </a:lnTo>
                        <a:lnTo>
                          <a:pt x="2090" y="414"/>
                        </a:lnTo>
                        <a:lnTo>
                          <a:pt x="2096" y="408"/>
                        </a:lnTo>
                        <a:lnTo>
                          <a:pt x="2104" y="404"/>
                        </a:lnTo>
                        <a:lnTo>
                          <a:pt x="2110" y="404"/>
                        </a:lnTo>
                        <a:lnTo>
                          <a:pt x="2124" y="404"/>
                        </a:lnTo>
                        <a:lnTo>
                          <a:pt x="2130" y="404"/>
                        </a:lnTo>
                        <a:lnTo>
                          <a:pt x="2134" y="402"/>
                        </a:lnTo>
                        <a:lnTo>
                          <a:pt x="2134" y="402"/>
                        </a:lnTo>
                        <a:lnTo>
                          <a:pt x="2146" y="392"/>
                        </a:lnTo>
                        <a:lnTo>
                          <a:pt x="2160" y="382"/>
                        </a:lnTo>
                        <a:lnTo>
                          <a:pt x="2166" y="376"/>
                        </a:lnTo>
                        <a:lnTo>
                          <a:pt x="2168" y="372"/>
                        </a:lnTo>
                        <a:lnTo>
                          <a:pt x="2168" y="370"/>
                        </a:lnTo>
                        <a:lnTo>
                          <a:pt x="2166" y="368"/>
                        </a:lnTo>
                        <a:lnTo>
                          <a:pt x="2160" y="366"/>
                        </a:lnTo>
                        <a:lnTo>
                          <a:pt x="2160" y="366"/>
                        </a:lnTo>
                        <a:lnTo>
                          <a:pt x="2152" y="362"/>
                        </a:lnTo>
                        <a:lnTo>
                          <a:pt x="2146" y="358"/>
                        </a:lnTo>
                        <a:lnTo>
                          <a:pt x="2144" y="354"/>
                        </a:lnTo>
                        <a:lnTo>
                          <a:pt x="2144" y="348"/>
                        </a:lnTo>
                        <a:lnTo>
                          <a:pt x="2146" y="344"/>
                        </a:lnTo>
                        <a:lnTo>
                          <a:pt x="2150" y="338"/>
                        </a:lnTo>
                        <a:lnTo>
                          <a:pt x="2158" y="336"/>
                        </a:lnTo>
                        <a:lnTo>
                          <a:pt x="2168" y="334"/>
                        </a:lnTo>
                        <a:lnTo>
                          <a:pt x="2168" y="334"/>
                        </a:lnTo>
                        <a:lnTo>
                          <a:pt x="2190" y="334"/>
                        </a:lnTo>
                        <a:lnTo>
                          <a:pt x="2204" y="330"/>
                        </a:lnTo>
                        <a:lnTo>
                          <a:pt x="2216" y="322"/>
                        </a:lnTo>
                        <a:lnTo>
                          <a:pt x="2228" y="310"/>
                        </a:lnTo>
                        <a:lnTo>
                          <a:pt x="2228" y="310"/>
                        </a:lnTo>
                        <a:lnTo>
                          <a:pt x="2230" y="306"/>
                        </a:lnTo>
                        <a:lnTo>
                          <a:pt x="2230" y="304"/>
                        </a:lnTo>
                        <a:lnTo>
                          <a:pt x="2228" y="302"/>
                        </a:lnTo>
                        <a:lnTo>
                          <a:pt x="2226" y="300"/>
                        </a:lnTo>
                        <a:lnTo>
                          <a:pt x="2214" y="300"/>
                        </a:lnTo>
                        <a:lnTo>
                          <a:pt x="2200" y="300"/>
                        </a:lnTo>
                        <a:lnTo>
                          <a:pt x="2162" y="308"/>
                        </a:lnTo>
                        <a:lnTo>
                          <a:pt x="2142" y="312"/>
                        </a:lnTo>
                        <a:lnTo>
                          <a:pt x="2124" y="318"/>
                        </a:lnTo>
                        <a:lnTo>
                          <a:pt x="2124" y="318"/>
                        </a:lnTo>
                        <a:lnTo>
                          <a:pt x="2112" y="322"/>
                        </a:lnTo>
                        <a:lnTo>
                          <a:pt x="2108" y="320"/>
                        </a:lnTo>
                        <a:lnTo>
                          <a:pt x="2106" y="320"/>
                        </a:lnTo>
                        <a:lnTo>
                          <a:pt x="2106" y="316"/>
                        </a:lnTo>
                        <a:lnTo>
                          <a:pt x="2108" y="314"/>
                        </a:lnTo>
                        <a:lnTo>
                          <a:pt x="2114" y="306"/>
                        </a:lnTo>
                        <a:lnTo>
                          <a:pt x="2124" y="298"/>
                        </a:lnTo>
                        <a:lnTo>
                          <a:pt x="2138" y="292"/>
                        </a:lnTo>
                        <a:lnTo>
                          <a:pt x="2152" y="288"/>
                        </a:lnTo>
                        <a:lnTo>
                          <a:pt x="2160" y="288"/>
                        </a:lnTo>
                        <a:lnTo>
                          <a:pt x="2168" y="288"/>
                        </a:lnTo>
                        <a:lnTo>
                          <a:pt x="2168" y="288"/>
                        </a:lnTo>
                        <a:lnTo>
                          <a:pt x="2182" y="292"/>
                        </a:lnTo>
                        <a:lnTo>
                          <a:pt x="2198" y="292"/>
                        </a:lnTo>
                        <a:lnTo>
                          <a:pt x="2214" y="292"/>
                        </a:lnTo>
                        <a:lnTo>
                          <a:pt x="2228" y="290"/>
                        </a:lnTo>
                        <a:lnTo>
                          <a:pt x="2256" y="284"/>
                        </a:lnTo>
                        <a:lnTo>
                          <a:pt x="2278" y="276"/>
                        </a:lnTo>
                        <a:lnTo>
                          <a:pt x="2278" y="276"/>
                        </a:lnTo>
                        <a:lnTo>
                          <a:pt x="2284" y="270"/>
                        </a:lnTo>
                        <a:lnTo>
                          <a:pt x="2286" y="268"/>
                        </a:lnTo>
                        <a:lnTo>
                          <a:pt x="2284" y="268"/>
                        </a:lnTo>
                        <a:lnTo>
                          <a:pt x="2280" y="264"/>
                        </a:lnTo>
                        <a:lnTo>
                          <a:pt x="2270" y="262"/>
                        </a:lnTo>
                        <a:lnTo>
                          <a:pt x="2244" y="260"/>
                        </a:lnTo>
                        <a:lnTo>
                          <a:pt x="2232" y="260"/>
                        </a:lnTo>
                        <a:lnTo>
                          <a:pt x="2220" y="262"/>
                        </a:lnTo>
                        <a:lnTo>
                          <a:pt x="2220" y="262"/>
                        </a:lnTo>
                        <a:lnTo>
                          <a:pt x="2206" y="264"/>
                        </a:lnTo>
                        <a:lnTo>
                          <a:pt x="2188" y="264"/>
                        </a:lnTo>
                        <a:lnTo>
                          <a:pt x="2154" y="262"/>
                        </a:lnTo>
                        <a:lnTo>
                          <a:pt x="2134" y="258"/>
                        </a:lnTo>
                        <a:lnTo>
                          <a:pt x="2150" y="258"/>
                        </a:lnTo>
                        <a:lnTo>
                          <a:pt x="2150" y="258"/>
                        </a:lnTo>
                        <a:lnTo>
                          <a:pt x="2168" y="260"/>
                        </a:lnTo>
                        <a:lnTo>
                          <a:pt x="2182" y="258"/>
                        </a:lnTo>
                        <a:lnTo>
                          <a:pt x="2192" y="256"/>
                        </a:lnTo>
                        <a:lnTo>
                          <a:pt x="2200" y="252"/>
                        </a:lnTo>
                        <a:lnTo>
                          <a:pt x="2214" y="248"/>
                        </a:lnTo>
                        <a:lnTo>
                          <a:pt x="2222" y="246"/>
                        </a:lnTo>
                        <a:lnTo>
                          <a:pt x="2232" y="248"/>
                        </a:lnTo>
                        <a:lnTo>
                          <a:pt x="2232" y="248"/>
                        </a:lnTo>
                        <a:lnTo>
                          <a:pt x="2244" y="250"/>
                        </a:lnTo>
                        <a:lnTo>
                          <a:pt x="2254" y="250"/>
                        </a:lnTo>
                        <a:lnTo>
                          <a:pt x="2274" y="248"/>
                        </a:lnTo>
                        <a:lnTo>
                          <a:pt x="2298" y="244"/>
                        </a:lnTo>
                        <a:lnTo>
                          <a:pt x="2330" y="242"/>
                        </a:lnTo>
                        <a:lnTo>
                          <a:pt x="2330" y="242"/>
                        </a:lnTo>
                        <a:lnTo>
                          <a:pt x="2342" y="240"/>
                        </a:lnTo>
                        <a:lnTo>
                          <a:pt x="2344" y="238"/>
                        </a:lnTo>
                        <a:lnTo>
                          <a:pt x="2344" y="238"/>
                        </a:lnTo>
                        <a:lnTo>
                          <a:pt x="2342" y="232"/>
                        </a:lnTo>
                        <a:lnTo>
                          <a:pt x="2336" y="228"/>
                        </a:lnTo>
                        <a:lnTo>
                          <a:pt x="2330" y="224"/>
                        </a:lnTo>
                        <a:lnTo>
                          <a:pt x="2328" y="220"/>
                        </a:lnTo>
                        <a:lnTo>
                          <a:pt x="2330" y="220"/>
                        </a:lnTo>
                        <a:lnTo>
                          <a:pt x="2334" y="218"/>
                        </a:lnTo>
                        <a:lnTo>
                          <a:pt x="2348" y="218"/>
                        </a:lnTo>
                        <a:lnTo>
                          <a:pt x="2348" y="218"/>
                        </a:lnTo>
                        <a:lnTo>
                          <a:pt x="2360" y="216"/>
                        </a:lnTo>
                        <a:lnTo>
                          <a:pt x="2372" y="214"/>
                        </a:lnTo>
                        <a:lnTo>
                          <a:pt x="2382" y="212"/>
                        </a:lnTo>
                        <a:lnTo>
                          <a:pt x="2392" y="206"/>
                        </a:lnTo>
                        <a:lnTo>
                          <a:pt x="2412" y="196"/>
                        </a:lnTo>
                        <a:lnTo>
                          <a:pt x="2436" y="182"/>
                        </a:lnTo>
                        <a:lnTo>
                          <a:pt x="2436" y="182"/>
                        </a:lnTo>
                        <a:lnTo>
                          <a:pt x="2440" y="180"/>
                        </a:lnTo>
                        <a:lnTo>
                          <a:pt x="2442" y="176"/>
                        </a:lnTo>
                        <a:lnTo>
                          <a:pt x="2438" y="174"/>
                        </a:lnTo>
                        <a:lnTo>
                          <a:pt x="2434" y="170"/>
                        </a:lnTo>
                        <a:lnTo>
                          <a:pt x="2414" y="164"/>
                        </a:lnTo>
                        <a:lnTo>
                          <a:pt x="2388" y="158"/>
                        </a:lnTo>
                        <a:lnTo>
                          <a:pt x="2356" y="154"/>
                        </a:lnTo>
                        <a:lnTo>
                          <a:pt x="2322" y="150"/>
                        </a:lnTo>
                        <a:lnTo>
                          <a:pt x="2292" y="148"/>
                        </a:lnTo>
                        <a:lnTo>
                          <a:pt x="2264" y="150"/>
                        </a:lnTo>
                        <a:lnTo>
                          <a:pt x="2264" y="150"/>
                        </a:lnTo>
                        <a:lnTo>
                          <a:pt x="2244" y="152"/>
                        </a:lnTo>
                        <a:lnTo>
                          <a:pt x="2230" y="158"/>
                        </a:lnTo>
                        <a:lnTo>
                          <a:pt x="2220" y="164"/>
                        </a:lnTo>
                        <a:lnTo>
                          <a:pt x="2214" y="172"/>
                        </a:lnTo>
                        <a:lnTo>
                          <a:pt x="2210" y="180"/>
                        </a:lnTo>
                        <a:lnTo>
                          <a:pt x="2204" y="184"/>
                        </a:lnTo>
                        <a:lnTo>
                          <a:pt x="2198" y="186"/>
                        </a:lnTo>
                        <a:lnTo>
                          <a:pt x="2188" y="186"/>
                        </a:lnTo>
                        <a:lnTo>
                          <a:pt x="2188" y="186"/>
                        </a:lnTo>
                        <a:lnTo>
                          <a:pt x="2176" y="184"/>
                        </a:lnTo>
                        <a:lnTo>
                          <a:pt x="2162" y="182"/>
                        </a:lnTo>
                        <a:lnTo>
                          <a:pt x="2140" y="184"/>
                        </a:lnTo>
                        <a:lnTo>
                          <a:pt x="2126" y="184"/>
                        </a:lnTo>
                        <a:lnTo>
                          <a:pt x="2126" y="182"/>
                        </a:lnTo>
                        <a:lnTo>
                          <a:pt x="2126" y="182"/>
                        </a:lnTo>
                        <a:lnTo>
                          <a:pt x="2130" y="178"/>
                        </a:lnTo>
                        <a:lnTo>
                          <a:pt x="2130" y="178"/>
                        </a:lnTo>
                        <a:lnTo>
                          <a:pt x="2134" y="172"/>
                        </a:lnTo>
                        <a:lnTo>
                          <a:pt x="2134" y="170"/>
                        </a:lnTo>
                        <a:lnTo>
                          <a:pt x="2128" y="170"/>
                        </a:lnTo>
                        <a:lnTo>
                          <a:pt x="2120" y="172"/>
                        </a:lnTo>
                        <a:lnTo>
                          <a:pt x="2108" y="176"/>
                        </a:lnTo>
                        <a:lnTo>
                          <a:pt x="2092" y="184"/>
                        </a:lnTo>
                        <a:lnTo>
                          <a:pt x="2074" y="196"/>
                        </a:lnTo>
                        <a:lnTo>
                          <a:pt x="2050" y="210"/>
                        </a:lnTo>
                        <a:lnTo>
                          <a:pt x="2050" y="210"/>
                        </a:lnTo>
                        <a:lnTo>
                          <a:pt x="2028" y="224"/>
                        </a:lnTo>
                        <a:lnTo>
                          <a:pt x="2010" y="234"/>
                        </a:lnTo>
                        <a:lnTo>
                          <a:pt x="1996" y="242"/>
                        </a:lnTo>
                        <a:lnTo>
                          <a:pt x="1986" y="244"/>
                        </a:lnTo>
                        <a:lnTo>
                          <a:pt x="1984" y="244"/>
                        </a:lnTo>
                        <a:lnTo>
                          <a:pt x="1982" y="244"/>
                        </a:lnTo>
                        <a:lnTo>
                          <a:pt x="1984" y="238"/>
                        </a:lnTo>
                        <a:lnTo>
                          <a:pt x="1992" y="228"/>
                        </a:lnTo>
                        <a:lnTo>
                          <a:pt x="2008" y="216"/>
                        </a:lnTo>
                        <a:lnTo>
                          <a:pt x="2008" y="216"/>
                        </a:lnTo>
                        <a:lnTo>
                          <a:pt x="2026" y="200"/>
                        </a:lnTo>
                        <a:lnTo>
                          <a:pt x="2040" y="186"/>
                        </a:lnTo>
                        <a:lnTo>
                          <a:pt x="2050" y="172"/>
                        </a:lnTo>
                        <a:lnTo>
                          <a:pt x="2052" y="166"/>
                        </a:lnTo>
                        <a:lnTo>
                          <a:pt x="2052" y="160"/>
                        </a:lnTo>
                        <a:lnTo>
                          <a:pt x="2052" y="156"/>
                        </a:lnTo>
                        <a:lnTo>
                          <a:pt x="2050" y="150"/>
                        </a:lnTo>
                        <a:lnTo>
                          <a:pt x="2048" y="146"/>
                        </a:lnTo>
                        <a:lnTo>
                          <a:pt x="2042" y="144"/>
                        </a:lnTo>
                        <a:lnTo>
                          <a:pt x="2036" y="140"/>
                        </a:lnTo>
                        <a:lnTo>
                          <a:pt x="2028" y="138"/>
                        </a:lnTo>
                        <a:lnTo>
                          <a:pt x="2004" y="138"/>
                        </a:lnTo>
                        <a:lnTo>
                          <a:pt x="2004" y="138"/>
                        </a:lnTo>
                        <a:lnTo>
                          <a:pt x="1984" y="138"/>
                        </a:lnTo>
                        <a:lnTo>
                          <a:pt x="1972" y="142"/>
                        </a:lnTo>
                        <a:lnTo>
                          <a:pt x="1964" y="146"/>
                        </a:lnTo>
                        <a:lnTo>
                          <a:pt x="1962" y="152"/>
                        </a:lnTo>
                        <a:lnTo>
                          <a:pt x="1960" y="156"/>
                        </a:lnTo>
                        <a:lnTo>
                          <a:pt x="1958" y="162"/>
                        </a:lnTo>
                        <a:lnTo>
                          <a:pt x="1952" y="168"/>
                        </a:lnTo>
                        <a:lnTo>
                          <a:pt x="1940" y="172"/>
                        </a:lnTo>
                        <a:lnTo>
                          <a:pt x="1940" y="172"/>
                        </a:lnTo>
                        <a:lnTo>
                          <a:pt x="1910" y="178"/>
                        </a:lnTo>
                        <a:lnTo>
                          <a:pt x="1886" y="182"/>
                        </a:lnTo>
                        <a:lnTo>
                          <a:pt x="1878" y="182"/>
                        </a:lnTo>
                        <a:lnTo>
                          <a:pt x="1876" y="180"/>
                        </a:lnTo>
                        <a:lnTo>
                          <a:pt x="1880" y="176"/>
                        </a:lnTo>
                        <a:lnTo>
                          <a:pt x="1890" y="172"/>
                        </a:lnTo>
                        <a:lnTo>
                          <a:pt x="1890" y="172"/>
                        </a:lnTo>
                        <a:lnTo>
                          <a:pt x="1916" y="160"/>
                        </a:lnTo>
                        <a:lnTo>
                          <a:pt x="1922" y="154"/>
                        </a:lnTo>
                        <a:lnTo>
                          <a:pt x="1924" y="152"/>
                        </a:lnTo>
                        <a:lnTo>
                          <a:pt x="1924" y="150"/>
                        </a:lnTo>
                        <a:lnTo>
                          <a:pt x="1924" y="148"/>
                        </a:lnTo>
                        <a:lnTo>
                          <a:pt x="1920" y="148"/>
                        </a:lnTo>
                        <a:lnTo>
                          <a:pt x="1906" y="144"/>
                        </a:lnTo>
                        <a:lnTo>
                          <a:pt x="1884" y="142"/>
                        </a:lnTo>
                        <a:lnTo>
                          <a:pt x="1852" y="140"/>
                        </a:lnTo>
                        <a:lnTo>
                          <a:pt x="1852" y="140"/>
                        </a:lnTo>
                        <a:lnTo>
                          <a:pt x="1812" y="142"/>
                        </a:lnTo>
                        <a:lnTo>
                          <a:pt x="1770" y="146"/>
                        </a:lnTo>
                        <a:lnTo>
                          <a:pt x="1730" y="152"/>
                        </a:lnTo>
                        <a:lnTo>
                          <a:pt x="1694" y="160"/>
                        </a:lnTo>
                        <a:lnTo>
                          <a:pt x="1636" y="172"/>
                        </a:lnTo>
                        <a:lnTo>
                          <a:pt x="1616" y="174"/>
                        </a:lnTo>
                        <a:lnTo>
                          <a:pt x="1610" y="174"/>
                        </a:lnTo>
                        <a:lnTo>
                          <a:pt x="1608" y="174"/>
                        </a:lnTo>
                        <a:lnTo>
                          <a:pt x="1608" y="174"/>
                        </a:lnTo>
                        <a:lnTo>
                          <a:pt x="1604" y="170"/>
                        </a:lnTo>
                        <a:lnTo>
                          <a:pt x="1602" y="168"/>
                        </a:lnTo>
                        <a:lnTo>
                          <a:pt x="1604" y="164"/>
                        </a:lnTo>
                        <a:lnTo>
                          <a:pt x="1606" y="162"/>
                        </a:lnTo>
                        <a:lnTo>
                          <a:pt x="1618" y="156"/>
                        </a:lnTo>
                        <a:lnTo>
                          <a:pt x="1636" y="152"/>
                        </a:lnTo>
                        <a:lnTo>
                          <a:pt x="1686" y="142"/>
                        </a:lnTo>
                        <a:lnTo>
                          <a:pt x="1744" y="134"/>
                        </a:lnTo>
                        <a:lnTo>
                          <a:pt x="1744" y="134"/>
                        </a:lnTo>
                        <a:lnTo>
                          <a:pt x="1772" y="130"/>
                        </a:lnTo>
                        <a:lnTo>
                          <a:pt x="1802" y="130"/>
                        </a:lnTo>
                        <a:lnTo>
                          <a:pt x="1864" y="130"/>
                        </a:lnTo>
                        <a:lnTo>
                          <a:pt x="1926" y="130"/>
                        </a:lnTo>
                        <a:lnTo>
                          <a:pt x="1956" y="128"/>
                        </a:lnTo>
                        <a:lnTo>
                          <a:pt x="1984" y="124"/>
                        </a:lnTo>
                        <a:lnTo>
                          <a:pt x="1984" y="124"/>
                        </a:lnTo>
                        <a:lnTo>
                          <a:pt x="2020" y="114"/>
                        </a:lnTo>
                        <a:lnTo>
                          <a:pt x="2054" y="104"/>
                        </a:lnTo>
                        <a:lnTo>
                          <a:pt x="2066" y="98"/>
                        </a:lnTo>
                        <a:lnTo>
                          <a:pt x="2072" y="92"/>
                        </a:lnTo>
                        <a:lnTo>
                          <a:pt x="2072" y="90"/>
                        </a:lnTo>
                        <a:lnTo>
                          <a:pt x="2070" y="88"/>
                        </a:lnTo>
                        <a:lnTo>
                          <a:pt x="2062" y="84"/>
                        </a:lnTo>
                        <a:lnTo>
                          <a:pt x="2062" y="84"/>
                        </a:lnTo>
                        <a:lnTo>
                          <a:pt x="2034" y="78"/>
                        </a:lnTo>
                        <a:lnTo>
                          <a:pt x="2004" y="72"/>
                        </a:lnTo>
                        <a:lnTo>
                          <a:pt x="1988" y="70"/>
                        </a:lnTo>
                        <a:lnTo>
                          <a:pt x="1970" y="68"/>
                        </a:lnTo>
                        <a:lnTo>
                          <a:pt x="1952" y="70"/>
                        </a:lnTo>
                        <a:lnTo>
                          <a:pt x="1932" y="72"/>
                        </a:lnTo>
                        <a:lnTo>
                          <a:pt x="1932" y="72"/>
                        </a:lnTo>
                        <a:lnTo>
                          <a:pt x="1914" y="76"/>
                        </a:lnTo>
                        <a:lnTo>
                          <a:pt x="1916" y="74"/>
                        </a:lnTo>
                        <a:lnTo>
                          <a:pt x="1922" y="70"/>
                        </a:lnTo>
                        <a:lnTo>
                          <a:pt x="1930" y="64"/>
                        </a:lnTo>
                        <a:lnTo>
                          <a:pt x="1936" y="58"/>
                        </a:lnTo>
                        <a:lnTo>
                          <a:pt x="1938" y="56"/>
                        </a:lnTo>
                        <a:lnTo>
                          <a:pt x="1938" y="52"/>
                        </a:lnTo>
                        <a:lnTo>
                          <a:pt x="1936" y="50"/>
                        </a:lnTo>
                        <a:lnTo>
                          <a:pt x="1932" y="46"/>
                        </a:lnTo>
                        <a:lnTo>
                          <a:pt x="1932" y="46"/>
                        </a:lnTo>
                        <a:lnTo>
                          <a:pt x="1922" y="42"/>
                        </a:lnTo>
                        <a:lnTo>
                          <a:pt x="1912" y="42"/>
                        </a:lnTo>
                        <a:lnTo>
                          <a:pt x="1898" y="42"/>
                        </a:lnTo>
                        <a:lnTo>
                          <a:pt x="1884" y="46"/>
                        </a:lnTo>
                        <a:lnTo>
                          <a:pt x="1866" y="48"/>
                        </a:lnTo>
                        <a:lnTo>
                          <a:pt x="1846" y="50"/>
                        </a:lnTo>
                        <a:lnTo>
                          <a:pt x="1822" y="52"/>
                        </a:lnTo>
                        <a:lnTo>
                          <a:pt x="1794" y="50"/>
                        </a:lnTo>
                        <a:lnTo>
                          <a:pt x="1794" y="50"/>
                        </a:lnTo>
                        <a:lnTo>
                          <a:pt x="1766" y="48"/>
                        </a:lnTo>
                        <a:lnTo>
                          <a:pt x="1744" y="48"/>
                        </a:lnTo>
                        <a:lnTo>
                          <a:pt x="1724" y="52"/>
                        </a:lnTo>
                        <a:lnTo>
                          <a:pt x="1708" y="54"/>
                        </a:lnTo>
                        <a:lnTo>
                          <a:pt x="1678" y="60"/>
                        </a:lnTo>
                        <a:lnTo>
                          <a:pt x="1660" y="60"/>
                        </a:lnTo>
                        <a:lnTo>
                          <a:pt x="1638" y="60"/>
                        </a:lnTo>
                        <a:lnTo>
                          <a:pt x="1638" y="60"/>
                        </a:lnTo>
                        <a:lnTo>
                          <a:pt x="1622" y="58"/>
                        </a:lnTo>
                        <a:lnTo>
                          <a:pt x="1616" y="56"/>
                        </a:lnTo>
                        <a:lnTo>
                          <a:pt x="1618" y="54"/>
                        </a:lnTo>
                        <a:lnTo>
                          <a:pt x="1628" y="52"/>
                        </a:lnTo>
                        <a:lnTo>
                          <a:pt x="1692" y="46"/>
                        </a:lnTo>
                        <a:lnTo>
                          <a:pt x="1692" y="46"/>
                        </a:lnTo>
                        <a:lnTo>
                          <a:pt x="1734" y="44"/>
                        </a:lnTo>
                        <a:lnTo>
                          <a:pt x="1794" y="42"/>
                        </a:lnTo>
                        <a:lnTo>
                          <a:pt x="1852" y="38"/>
                        </a:lnTo>
                        <a:lnTo>
                          <a:pt x="1894" y="34"/>
                        </a:lnTo>
                        <a:lnTo>
                          <a:pt x="1894" y="34"/>
                        </a:lnTo>
                        <a:lnTo>
                          <a:pt x="1900" y="32"/>
                        </a:lnTo>
                        <a:lnTo>
                          <a:pt x="1902" y="32"/>
                        </a:lnTo>
                        <a:lnTo>
                          <a:pt x="1902" y="30"/>
                        </a:lnTo>
                        <a:lnTo>
                          <a:pt x="1898" y="28"/>
                        </a:lnTo>
                        <a:lnTo>
                          <a:pt x="1882" y="24"/>
                        </a:lnTo>
                        <a:lnTo>
                          <a:pt x="1858" y="20"/>
                        </a:lnTo>
                        <a:lnTo>
                          <a:pt x="1798" y="12"/>
                        </a:lnTo>
                        <a:lnTo>
                          <a:pt x="1732" y="6"/>
                        </a:lnTo>
                        <a:lnTo>
                          <a:pt x="1732" y="6"/>
                        </a:lnTo>
                        <a:lnTo>
                          <a:pt x="1686" y="2"/>
                        </a:lnTo>
                        <a:lnTo>
                          <a:pt x="1648" y="0"/>
                        </a:lnTo>
                        <a:lnTo>
                          <a:pt x="1618" y="2"/>
                        </a:lnTo>
                        <a:lnTo>
                          <a:pt x="1594" y="2"/>
                        </a:lnTo>
                        <a:lnTo>
                          <a:pt x="1552" y="6"/>
                        </a:lnTo>
                        <a:lnTo>
                          <a:pt x="1528" y="8"/>
                        </a:lnTo>
                        <a:lnTo>
                          <a:pt x="1504" y="6"/>
                        </a:lnTo>
                        <a:lnTo>
                          <a:pt x="1504" y="6"/>
                        </a:lnTo>
                        <a:lnTo>
                          <a:pt x="1480" y="6"/>
                        </a:lnTo>
                        <a:lnTo>
                          <a:pt x="1466" y="8"/>
                        </a:lnTo>
                        <a:lnTo>
                          <a:pt x="1460" y="10"/>
                        </a:lnTo>
                        <a:lnTo>
                          <a:pt x="1458" y="14"/>
                        </a:lnTo>
                        <a:lnTo>
                          <a:pt x="1458" y="16"/>
                        </a:lnTo>
                        <a:lnTo>
                          <a:pt x="1458" y="18"/>
                        </a:lnTo>
                        <a:lnTo>
                          <a:pt x="1452" y="18"/>
                        </a:lnTo>
                        <a:lnTo>
                          <a:pt x="1442" y="16"/>
                        </a:lnTo>
                        <a:lnTo>
                          <a:pt x="1442" y="16"/>
                        </a:lnTo>
                        <a:lnTo>
                          <a:pt x="1420" y="12"/>
                        </a:lnTo>
                        <a:lnTo>
                          <a:pt x="1410" y="14"/>
                        </a:lnTo>
                        <a:lnTo>
                          <a:pt x="1400" y="16"/>
                        </a:lnTo>
                        <a:lnTo>
                          <a:pt x="1384" y="18"/>
                        </a:lnTo>
                        <a:lnTo>
                          <a:pt x="1384" y="18"/>
                        </a:lnTo>
                        <a:lnTo>
                          <a:pt x="1374" y="18"/>
                        </a:lnTo>
                        <a:lnTo>
                          <a:pt x="1368" y="20"/>
                        </a:lnTo>
                        <a:lnTo>
                          <a:pt x="1366" y="24"/>
                        </a:lnTo>
                        <a:lnTo>
                          <a:pt x="1366" y="28"/>
                        </a:lnTo>
                        <a:lnTo>
                          <a:pt x="1370" y="32"/>
                        </a:lnTo>
                        <a:lnTo>
                          <a:pt x="1378" y="36"/>
                        </a:lnTo>
                        <a:lnTo>
                          <a:pt x="1388" y="40"/>
                        </a:lnTo>
                        <a:lnTo>
                          <a:pt x="1402" y="44"/>
                        </a:lnTo>
                        <a:lnTo>
                          <a:pt x="1402" y="44"/>
                        </a:lnTo>
                        <a:lnTo>
                          <a:pt x="1412" y="46"/>
                        </a:lnTo>
                        <a:lnTo>
                          <a:pt x="1416" y="46"/>
                        </a:lnTo>
                        <a:lnTo>
                          <a:pt x="1412" y="48"/>
                        </a:lnTo>
                        <a:lnTo>
                          <a:pt x="1406" y="50"/>
                        </a:lnTo>
                        <a:lnTo>
                          <a:pt x="1386" y="52"/>
                        </a:lnTo>
                        <a:lnTo>
                          <a:pt x="1378" y="54"/>
                        </a:lnTo>
                        <a:lnTo>
                          <a:pt x="1372" y="56"/>
                        </a:lnTo>
                        <a:lnTo>
                          <a:pt x="1372" y="56"/>
                        </a:lnTo>
                        <a:lnTo>
                          <a:pt x="1356" y="62"/>
                        </a:lnTo>
                        <a:lnTo>
                          <a:pt x="1332" y="64"/>
                        </a:lnTo>
                        <a:lnTo>
                          <a:pt x="1318" y="66"/>
                        </a:lnTo>
                        <a:lnTo>
                          <a:pt x="1304" y="64"/>
                        </a:lnTo>
                        <a:lnTo>
                          <a:pt x="1290" y="62"/>
                        </a:lnTo>
                        <a:lnTo>
                          <a:pt x="1278" y="56"/>
                        </a:lnTo>
                        <a:lnTo>
                          <a:pt x="1278" y="56"/>
                        </a:lnTo>
                        <a:lnTo>
                          <a:pt x="1254" y="46"/>
                        </a:lnTo>
                        <a:lnTo>
                          <a:pt x="1242" y="42"/>
                        </a:lnTo>
                        <a:lnTo>
                          <a:pt x="1228" y="38"/>
                        </a:lnTo>
                        <a:lnTo>
                          <a:pt x="1212" y="36"/>
                        </a:lnTo>
                        <a:lnTo>
                          <a:pt x="1194" y="34"/>
                        </a:lnTo>
                        <a:lnTo>
                          <a:pt x="1176" y="36"/>
                        </a:lnTo>
                        <a:lnTo>
                          <a:pt x="1154" y="38"/>
                        </a:lnTo>
                        <a:lnTo>
                          <a:pt x="1154" y="38"/>
                        </a:lnTo>
                        <a:lnTo>
                          <a:pt x="1114" y="44"/>
                        </a:lnTo>
                        <a:lnTo>
                          <a:pt x="1078" y="48"/>
                        </a:lnTo>
                        <a:lnTo>
                          <a:pt x="1064" y="50"/>
                        </a:lnTo>
                        <a:lnTo>
                          <a:pt x="1054" y="54"/>
                        </a:lnTo>
                        <a:lnTo>
                          <a:pt x="1048" y="56"/>
                        </a:lnTo>
                        <a:lnTo>
                          <a:pt x="1048" y="58"/>
                        </a:lnTo>
                        <a:lnTo>
                          <a:pt x="1048" y="60"/>
                        </a:lnTo>
                        <a:lnTo>
                          <a:pt x="1048" y="60"/>
                        </a:lnTo>
                        <a:lnTo>
                          <a:pt x="1054" y="64"/>
                        </a:lnTo>
                        <a:lnTo>
                          <a:pt x="1062" y="66"/>
                        </a:lnTo>
                        <a:lnTo>
                          <a:pt x="1092" y="68"/>
                        </a:lnTo>
                        <a:lnTo>
                          <a:pt x="1128" y="66"/>
                        </a:lnTo>
                        <a:lnTo>
                          <a:pt x="1170" y="66"/>
                        </a:lnTo>
                        <a:lnTo>
                          <a:pt x="1170" y="66"/>
                        </a:lnTo>
                        <a:lnTo>
                          <a:pt x="1208" y="68"/>
                        </a:lnTo>
                        <a:lnTo>
                          <a:pt x="1246" y="72"/>
                        </a:lnTo>
                        <a:lnTo>
                          <a:pt x="1280" y="76"/>
                        </a:lnTo>
                        <a:lnTo>
                          <a:pt x="1314" y="82"/>
                        </a:lnTo>
                        <a:lnTo>
                          <a:pt x="1314" y="82"/>
                        </a:lnTo>
                        <a:lnTo>
                          <a:pt x="1326" y="86"/>
                        </a:lnTo>
                        <a:lnTo>
                          <a:pt x="1332" y="88"/>
                        </a:lnTo>
                        <a:lnTo>
                          <a:pt x="1332" y="90"/>
                        </a:lnTo>
                        <a:lnTo>
                          <a:pt x="1332" y="90"/>
                        </a:lnTo>
                        <a:lnTo>
                          <a:pt x="1326" y="92"/>
                        </a:lnTo>
                        <a:lnTo>
                          <a:pt x="1308" y="92"/>
                        </a:lnTo>
                        <a:lnTo>
                          <a:pt x="1294" y="90"/>
                        </a:lnTo>
                        <a:lnTo>
                          <a:pt x="1282" y="88"/>
                        </a:lnTo>
                        <a:lnTo>
                          <a:pt x="1282" y="88"/>
                        </a:lnTo>
                        <a:lnTo>
                          <a:pt x="1268" y="84"/>
                        </a:lnTo>
                        <a:lnTo>
                          <a:pt x="1252" y="82"/>
                        </a:lnTo>
                        <a:lnTo>
                          <a:pt x="1214" y="78"/>
                        </a:lnTo>
                        <a:lnTo>
                          <a:pt x="1110" y="74"/>
                        </a:lnTo>
                        <a:lnTo>
                          <a:pt x="1110" y="74"/>
                        </a:lnTo>
                        <a:lnTo>
                          <a:pt x="1092" y="76"/>
                        </a:lnTo>
                        <a:lnTo>
                          <a:pt x="1090" y="76"/>
                        </a:lnTo>
                        <a:lnTo>
                          <a:pt x="1092" y="78"/>
                        </a:lnTo>
                        <a:lnTo>
                          <a:pt x="1106" y="84"/>
                        </a:lnTo>
                        <a:lnTo>
                          <a:pt x="1126" y="92"/>
                        </a:lnTo>
                        <a:lnTo>
                          <a:pt x="1148" y="100"/>
                        </a:lnTo>
                        <a:lnTo>
                          <a:pt x="1164" y="108"/>
                        </a:lnTo>
                        <a:lnTo>
                          <a:pt x="1168" y="110"/>
                        </a:lnTo>
                        <a:lnTo>
                          <a:pt x="1168" y="114"/>
                        </a:lnTo>
                        <a:lnTo>
                          <a:pt x="1164" y="116"/>
                        </a:lnTo>
                        <a:lnTo>
                          <a:pt x="1154" y="116"/>
                        </a:lnTo>
                        <a:lnTo>
                          <a:pt x="1154" y="116"/>
                        </a:lnTo>
                        <a:lnTo>
                          <a:pt x="1146" y="118"/>
                        </a:lnTo>
                        <a:lnTo>
                          <a:pt x="1142" y="120"/>
                        </a:lnTo>
                        <a:lnTo>
                          <a:pt x="1138" y="122"/>
                        </a:lnTo>
                        <a:lnTo>
                          <a:pt x="1138" y="126"/>
                        </a:lnTo>
                        <a:lnTo>
                          <a:pt x="1136" y="132"/>
                        </a:lnTo>
                        <a:lnTo>
                          <a:pt x="1138" y="140"/>
                        </a:lnTo>
                        <a:lnTo>
                          <a:pt x="1142" y="148"/>
                        </a:lnTo>
                        <a:lnTo>
                          <a:pt x="1142" y="156"/>
                        </a:lnTo>
                        <a:lnTo>
                          <a:pt x="1142" y="158"/>
                        </a:lnTo>
                        <a:lnTo>
                          <a:pt x="1140" y="160"/>
                        </a:lnTo>
                        <a:lnTo>
                          <a:pt x="1136" y="162"/>
                        </a:lnTo>
                        <a:lnTo>
                          <a:pt x="1132" y="164"/>
                        </a:lnTo>
                        <a:lnTo>
                          <a:pt x="1132" y="164"/>
                        </a:lnTo>
                        <a:lnTo>
                          <a:pt x="1122" y="164"/>
                        </a:lnTo>
                        <a:lnTo>
                          <a:pt x="1114" y="162"/>
                        </a:lnTo>
                        <a:lnTo>
                          <a:pt x="1108" y="158"/>
                        </a:lnTo>
                        <a:lnTo>
                          <a:pt x="1102" y="152"/>
                        </a:lnTo>
                        <a:lnTo>
                          <a:pt x="1094" y="146"/>
                        </a:lnTo>
                        <a:lnTo>
                          <a:pt x="1084" y="142"/>
                        </a:lnTo>
                        <a:lnTo>
                          <a:pt x="1070" y="136"/>
                        </a:lnTo>
                        <a:lnTo>
                          <a:pt x="1052" y="132"/>
                        </a:lnTo>
                        <a:lnTo>
                          <a:pt x="1052" y="132"/>
                        </a:lnTo>
                        <a:lnTo>
                          <a:pt x="1034" y="128"/>
                        </a:lnTo>
                        <a:lnTo>
                          <a:pt x="1016" y="124"/>
                        </a:lnTo>
                        <a:lnTo>
                          <a:pt x="986" y="114"/>
                        </a:lnTo>
                        <a:lnTo>
                          <a:pt x="954" y="104"/>
                        </a:lnTo>
                        <a:lnTo>
                          <a:pt x="936" y="100"/>
                        </a:lnTo>
                        <a:lnTo>
                          <a:pt x="916" y="98"/>
                        </a:lnTo>
                        <a:lnTo>
                          <a:pt x="916" y="98"/>
                        </a:lnTo>
                        <a:lnTo>
                          <a:pt x="896" y="98"/>
                        </a:lnTo>
                        <a:lnTo>
                          <a:pt x="884" y="100"/>
                        </a:lnTo>
                        <a:lnTo>
                          <a:pt x="876" y="102"/>
                        </a:lnTo>
                        <a:lnTo>
                          <a:pt x="874" y="104"/>
                        </a:lnTo>
                        <a:lnTo>
                          <a:pt x="874" y="106"/>
                        </a:lnTo>
                        <a:lnTo>
                          <a:pt x="876" y="112"/>
                        </a:lnTo>
                        <a:lnTo>
                          <a:pt x="884" y="118"/>
                        </a:lnTo>
                        <a:lnTo>
                          <a:pt x="914" y="138"/>
                        </a:lnTo>
                        <a:lnTo>
                          <a:pt x="914" y="138"/>
                        </a:lnTo>
                        <a:lnTo>
                          <a:pt x="926" y="146"/>
                        </a:lnTo>
                        <a:lnTo>
                          <a:pt x="928" y="148"/>
                        </a:lnTo>
                        <a:lnTo>
                          <a:pt x="928" y="150"/>
                        </a:lnTo>
                        <a:lnTo>
                          <a:pt x="922" y="150"/>
                        </a:lnTo>
                        <a:lnTo>
                          <a:pt x="912" y="148"/>
                        </a:lnTo>
                        <a:lnTo>
                          <a:pt x="900" y="148"/>
                        </a:lnTo>
                        <a:lnTo>
                          <a:pt x="888" y="148"/>
                        </a:lnTo>
                        <a:lnTo>
                          <a:pt x="884" y="148"/>
                        </a:lnTo>
                        <a:lnTo>
                          <a:pt x="882" y="150"/>
                        </a:lnTo>
                        <a:lnTo>
                          <a:pt x="882" y="154"/>
                        </a:lnTo>
                        <a:lnTo>
                          <a:pt x="884" y="158"/>
                        </a:lnTo>
                        <a:lnTo>
                          <a:pt x="884" y="158"/>
                        </a:lnTo>
                        <a:lnTo>
                          <a:pt x="886" y="160"/>
                        </a:lnTo>
                        <a:lnTo>
                          <a:pt x="886" y="162"/>
                        </a:lnTo>
                        <a:lnTo>
                          <a:pt x="878" y="160"/>
                        </a:lnTo>
                        <a:lnTo>
                          <a:pt x="866" y="156"/>
                        </a:lnTo>
                        <a:lnTo>
                          <a:pt x="850" y="150"/>
                        </a:lnTo>
                        <a:lnTo>
                          <a:pt x="834" y="148"/>
                        </a:lnTo>
                        <a:lnTo>
                          <a:pt x="824" y="148"/>
                        </a:lnTo>
                        <a:lnTo>
                          <a:pt x="814" y="148"/>
                        </a:lnTo>
                        <a:lnTo>
                          <a:pt x="806" y="152"/>
                        </a:lnTo>
                        <a:lnTo>
                          <a:pt x="796" y="156"/>
                        </a:lnTo>
                        <a:lnTo>
                          <a:pt x="788" y="164"/>
                        </a:lnTo>
                        <a:lnTo>
                          <a:pt x="782" y="172"/>
                        </a:lnTo>
                        <a:lnTo>
                          <a:pt x="782" y="172"/>
                        </a:lnTo>
                        <a:lnTo>
                          <a:pt x="770" y="190"/>
                        </a:lnTo>
                        <a:lnTo>
                          <a:pt x="772" y="180"/>
                        </a:lnTo>
                        <a:lnTo>
                          <a:pt x="776" y="168"/>
                        </a:lnTo>
                        <a:lnTo>
                          <a:pt x="776" y="154"/>
                        </a:lnTo>
                        <a:lnTo>
                          <a:pt x="774" y="138"/>
                        </a:lnTo>
                        <a:lnTo>
                          <a:pt x="772" y="132"/>
                        </a:lnTo>
                        <a:lnTo>
                          <a:pt x="766" y="124"/>
                        </a:lnTo>
                        <a:lnTo>
                          <a:pt x="766" y="124"/>
                        </a:lnTo>
                        <a:lnTo>
                          <a:pt x="756" y="114"/>
                        </a:lnTo>
                        <a:lnTo>
                          <a:pt x="746" y="108"/>
                        </a:lnTo>
                        <a:lnTo>
                          <a:pt x="732" y="108"/>
                        </a:lnTo>
                        <a:lnTo>
                          <a:pt x="716" y="110"/>
                        </a:lnTo>
                        <a:lnTo>
                          <a:pt x="672" y="120"/>
                        </a:lnTo>
                        <a:lnTo>
                          <a:pt x="640" y="126"/>
                        </a:lnTo>
                        <a:lnTo>
                          <a:pt x="598" y="130"/>
                        </a:lnTo>
                        <a:lnTo>
                          <a:pt x="598" y="130"/>
                        </a:lnTo>
                        <a:lnTo>
                          <a:pt x="558" y="136"/>
                        </a:lnTo>
                        <a:lnTo>
                          <a:pt x="526" y="140"/>
                        </a:lnTo>
                        <a:lnTo>
                          <a:pt x="502" y="146"/>
                        </a:lnTo>
                        <a:lnTo>
                          <a:pt x="484" y="152"/>
                        </a:lnTo>
                        <a:lnTo>
                          <a:pt x="472" y="156"/>
                        </a:lnTo>
                        <a:lnTo>
                          <a:pt x="466" y="164"/>
                        </a:lnTo>
                        <a:lnTo>
                          <a:pt x="466" y="166"/>
                        </a:lnTo>
                        <a:lnTo>
                          <a:pt x="466" y="170"/>
                        </a:lnTo>
                        <a:lnTo>
                          <a:pt x="470" y="176"/>
                        </a:lnTo>
                        <a:lnTo>
                          <a:pt x="470" y="17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grpSp>
            <p:sp>
              <p:nvSpPr>
                <p:cNvPr id="185" name="Freeform 6119"/>
                <p:cNvSpPr>
                  <a:spLocks/>
                </p:cNvSpPr>
                <p:nvPr/>
              </p:nvSpPr>
              <p:spPr bwMode="auto">
                <a:xfrm>
                  <a:off x="2402840" y="3076893"/>
                  <a:ext cx="17780" cy="27940"/>
                </a:xfrm>
                <a:custGeom>
                  <a:avLst/>
                  <a:gdLst/>
                  <a:ahLst/>
                  <a:cxnLst>
                    <a:cxn ang="0">
                      <a:pos x="22" y="36"/>
                    </a:cxn>
                    <a:cxn ang="0">
                      <a:pos x="22" y="36"/>
                    </a:cxn>
                    <a:cxn ang="0">
                      <a:pos x="26" y="32"/>
                    </a:cxn>
                    <a:cxn ang="0">
                      <a:pos x="28" y="28"/>
                    </a:cxn>
                    <a:cxn ang="0">
                      <a:pos x="26" y="22"/>
                    </a:cxn>
                    <a:cxn ang="0">
                      <a:pos x="20" y="16"/>
                    </a:cxn>
                    <a:cxn ang="0">
                      <a:pos x="20" y="16"/>
                    </a:cxn>
                    <a:cxn ang="0">
                      <a:pos x="16" y="10"/>
                    </a:cxn>
                    <a:cxn ang="0">
                      <a:pos x="14" y="4"/>
                    </a:cxn>
                    <a:cxn ang="0">
                      <a:pos x="14" y="0"/>
                    </a:cxn>
                    <a:cxn ang="0">
                      <a:pos x="10" y="0"/>
                    </a:cxn>
                    <a:cxn ang="0">
                      <a:pos x="10" y="0"/>
                    </a:cxn>
                    <a:cxn ang="0">
                      <a:pos x="6" y="0"/>
                    </a:cxn>
                    <a:cxn ang="0">
                      <a:pos x="6" y="4"/>
                    </a:cxn>
                    <a:cxn ang="0">
                      <a:pos x="6" y="12"/>
                    </a:cxn>
                    <a:cxn ang="0">
                      <a:pos x="2" y="20"/>
                    </a:cxn>
                    <a:cxn ang="0">
                      <a:pos x="2" y="20"/>
                    </a:cxn>
                    <a:cxn ang="0">
                      <a:pos x="0" y="28"/>
                    </a:cxn>
                    <a:cxn ang="0">
                      <a:pos x="2" y="32"/>
                    </a:cxn>
                    <a:cxn ang="0">
                      <a:pos x="6" y="36"/>
                    </a:cxn>
                    <a:cxn ang="0">
                      <a:pos x="12" y="42"/>
                    </a:cxn>
                    <a:cxn ang="0">
                      <a:pos x="12" y="42"/>
                    </a:cxn>
                    <a:cxn ang="0">
                      <a:pos x="16" y="44"/>
                    </a:cxn>
                    <a:cxn ang="0">
                      <a:pos x="18" y="42"/>
                    </a:cxn>
                    <a:cxn ang="0">
                      <a:pos x="22" y="36"/>
                    </a:cxn>
                    <a:cxn ang="0">
                      <a:pos x="22" y="36"/>
                    </a:cxn>
                  </a:cxnLst>
                  <a:rect l="0" t="0" r="r" b="b"/>
                  <a:pathLst>
                    <a:path w="28" h="44">
                      <a:moveTo>
                        <a:pt x="22" y="36"/>
                      </a:moveTo>
                      <a:lnTo>
                        <a:pt x="22" y="36"/>
                      </a:lnTo>
                      <a:lnTo>
                        <a:pt x="26" y="32"/>
                      </a:lnTo>
                      <a:lnTo>
                        <a:pt x="28" y="28"/>
                      </a:lnTo>
                      <a:lnTo>
                        <a:pt x="26" y="22"/>
                      </a:lnTo>
                      <a:lnTo>
                        <a:pt x="20" y="16"/>
                      </a:lnTo>
                      <a:lnTo>
                        <a:pt x="20" y="16"/>
                      </a:lnTo>
                      <a:lnTo>
                        <a:pt x="16" y="10"/>
                      </a:lnTo>
                      <a:lnTo>
                        <a:pt x="14" y="4"/>
                      </a:lnTo>
                      <a:lnTo>
                        <a:pt x="14" y="0"/>
                      </a:lnTo>
                      <a:lnTo>
                        <a:pt x="10" y="0"/>
                      </a:lnTo>
                      <a:lnTo>
                        <a:pt x="10" y="0"/>
                      </a:lnTo>
                      <a:lnTo>
                        <a:pt x="6" y="0"/>
                      </a:lnTo>
                      <a:lnTo>
                        <a:pt x="6" y="4"/>
                      </a:lnTo>
                      <a:lnTo>
                        <a:pt x="6" y="12"/>
                      </a:lnTo>
                      <a:lnTo>
                        <a:pt x="2" y="20"/>
                      </a:lnTo>
                      <a:lnTo>
                        <a:pt x="2" y="20"/>
                      </a:lnTo>
                      <a:lnTo>
                        <a:pt x="0" y="28"/>
                      </a:lnTo>
                      <a:lnTo>
                        <a:pt x="2" y="32"/>
                      </a:lnTo>
                      <a:lnTo>
                        <a:pt x="6" y="36"/>
                      </a:lnTo>
                      <a:lnTo>
                        <a:pt x="12" y="42"/>
                      </a:lnTo>
                      <a:lnTo>
                        <a:pt x="12" y="42"/>
                      </a:lnTo>
                      <a:lnTo>
                        <a:pt x="16" y="44"/>
                      </a:lnTo>
                      <a:lnTo>
                        <a:pt x="18" y="42"/>
                      </a:lnTo>
                      <a:lnTo>
                        <a:pt x="22" y="36"/>
                      </a:lnTo>
                      <a:lnTo>
                        <a:pt x="22" y="3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6" name="Freeform 6120"/>
                <p:cNvSpPr>
                  <a:spLocks/>
                </p:cNvSpPr>
                <p:nvPr/>
              </p:nvSpPr>
              <p:spPr bwMode="auto">
                <a:xfrm>
                  <a:off x="2655570" y="3485833"/>
                  <a:ext cx="5080" cy="10160"/>
                </a:xfrm>
                <a:custGeom>
                  <a:avLst/>
                  <a:gdLst/>
                  <a:ahLst/>
                  <a:cxnLst>
                    <a:cxn ang="0">
                      <a:pos x="2" y="6"/>
                    </a:cxn>
                    <a:cxn ang="0">
                      <a:pos x="2" y="6"/>
                    </a:cxn>
                    <a:cxn ang="0">
                      <a:pos x="4" y="10"/>
                    </a:cxn>
                    <a:cxn ang="0">
                      <a:pos x="6" y="16"/>
                    </a:cxn>
                    <a:cxn ang="0">
                      <a:pos x="6" y="16"/>
                    </a:cxn>
                    <a:cxn ang="0">
                      <a:pos x="6" y="16"/>
                    </a:cxn>
                    <a:cxn ang="0">
                      <a:pos x="8" y="16"/>
                    </a:cxn>
                    <a:cxn ang="0">
                      <a:pos x="8" y="12"/>
                    </a:cxn>
                    <a:cxn ang="0">
                      <a:pos x="8" y="6"/>
                    </a:cxn>
                    <a:cxn ang="0">
                      <a:pos x="8" y="4"/>
                    </a:cxn>
                    <a:cxn ang="0">
                      <a:pos x="6" y="2"/>
                    </a:cxn>
                    <a:cxn ang="0">
                      <a:pos x="6" y="2"/>
                    </a:cxn>
                    <a:cxn ang="0">
                      <a:pos x="2" y="0"/>
                    </a:cxn>
                    <a:cxn ang="0">
                      <a:pos x="0" y="2"/>
                    </a:cxn>
                    <a:cxn ang="0">
                      <a:pos x="0" y="4"/>
                    </a:cxn>
                    <a:cxn ang="0">
                      <a:pos x="2" y="6"/>
                    </a:cxn>
                    <a:cxn ang="0">
                      <a:pos x="2" y="6"/>
                    </a:cxn>
                  </a:cxnLst>
                  <a:rect l="0" t="0" r="r" b="b"/>
                  <a:pathLst>
                    <a:path w="8" h="16">
                      <a:moveTo>
                        <a:pt x="2" y="6"/>
                      </a:moveTo>
                      <a:lnTo>
                        <a:pt x="2" y="6"/>
                      </a:lnTo>
                      <a:lnTo>
                        <a:pt x="4" y="10"/>
                      </a:lnTo>
                      <a:lnTo>
                        <a:pt x="6" y="16"/>
                      </a:lnTo>
                      <a:lnTo>
                        <a:pt x="6" y="16"/>
                      </a:lnTo>
                      <a:lnTo>
                        <a:pt x="6" y="16"/>
                      </a:lnTo>
                      <a:lnTo>
                        <a:pt x="8" y="16"/>
                      </a:lnTo>
                      <a:lnTo>
                        <a:pt x="8" y="12"/>
                      </a:lnTo>
                      <a:lnTo>
                        <a:pt x="8" y="6"/>
                      </a:lnTo>
                      <a:lnTo>
                        <a:pt x="8" y="4"/>
                      </a:lnTo>
                      <a:lnTo>
                        <a:pt x="6" y="2"/>
                      </a:lnTo>
                      <a:lnTo>
                        <a:pt x="6" y="2"/>
                      </a:lnTo>
                      <a:lnTo>
                        <a:pt x="2" y="0"/>
                      </a:lnTo>
                      <a:lnTo>
                        <a:pt x="0" y="2"/>
                      </a:lnTo>
                      <a:lnTo>
                        <a:pt x="0" y="4"/>
                      </a:lnTo>
                      <a:lnTo>
                        <a:pt x="2" y="6"/>
                      </a:lnTo>
                      <a:lnTo>
                        <a:pt x="2"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7" name="Freeform 6121"/>
                <p:cNvSpPr>
                  <a:spLocks/>
                </p:cNvSpPr>
                <p:nvPr/>
              </p:nvSpPr>
              <p:spPr bwMode="auto">
                <a:xfrm>
                  <a:off x="2503170" y="3153093"/>
                  <a:ext cx="13970" cy="20320"/>
                </a:xfrm>
                <a:custGeom>
                  <a:avLst/>
                  <a:gdLst/>
                  <a:ahLst/>
                  <a:cxnLst>
                    <a:cxn ang="0">
                      <a:pos x="6" y="0"/>
                    </a:cxn>
                    <a:cxn ang="0">
                      <a:pos x="6" y="0"/>
                    </a:cxn>
                    <a:cxn ang="0">
                      <a:pos x="2" y="0"/>
                    </a:cxn>
                    <a:cxn ang="0">
                      <a:pos x="0" y="0"/>
                    </a:cxn>
                    <a:cxn ang="0">
                      <a:pos x="2" y="4"/>
                    </a:cxn>
                    <a:cxn ang="0">
                      <a:pos x="6" y="8"/>
                    </a:cxn>
                    <a:cxn ang="0">
                      <a:pos x="8" y="10"/>
                    </a:cxn>
                    <a:cxn ang="0">
                      <a:pos x="10" y="10"/>
                    </a:cxn>
                    <a:cxn ang="0">
                      <a:pos x="10" y="10"/>
                    </a:cxn>
                    <a:cxn ang="0">
                      <a:pos x="14" y="10"/>
                    </a:cxn>
                    <a:cxn ang="0">
                      <a:pos x="16" y="12"/>
                    </a:cxn>
                    <a:cxn ang="0">
                      <a:pos x="16" y="16"/>
                    </a:cxn>
                    <a:cxn ang="0">
                      <a:pos x="12" y="22"/>
                    </a:cxn>
                    <a:cxn ang="0">
                      <a:pos x="12" y="22"/>
                    </a:cxn>
                    <a:cxn ang="0">
                      <a:pos x="8" y="28"/>
                    </a:cxn>
                    <a:cxn ang="0">
                      <a:pos x="6" y="32"/>
                    </a:cxn>
                    <a:cxn ang="0">
                      <a:pos x="6" y="32"/>
                    </a:cxn>
                    <a:cxn ang="0">
                      <a:pos x="6" y="32"/>
                    </a:cxn>
                    <a:cxn ang="0">
                      <a:pos x="12" y="28"/>
                    </a:cxn>
                    <a:cxn ang="0">
                      <a:pos x="12" y="28"/>
                    </a:cxn>
                    <a:cxn ang="0">
                      <a:pos x="18" y="22"/>
                    </a:cxn>
                    <a:cxn ang="0">
                      <a:pos x="20" y="18"/>
                    </a:cxn>
                    <a:cxn ang="0">
                      <a:pos x="22" y="12"/>
                    </a:cxn>
                    <a:cxn ang="0">
                      <a:pos x="20" y="6"/>
                    </a:cxn>
                    <a:cxn ang="0">
                      <a:pos x="20" y="6"/>
                    </a:cxn>
                    <a:cxn ang="0">
                      <a:pos x="20" y="2"/>
                    </a:cxn>
                    <a:cxn ang="0">
                      <a:pos x="18" y="2"/>
                    </a:cxn>
                    <a:cxn ang="0">
                      <a:pos x="12" y="2"/>
                    </a:cxn>
                    <a:cxn ang="0">
                      <a:pos x="6" y="0"/>
                    </a:cxn>
                    <a:cxn ang="0">
                      <a:pos x="6" y="0"/>
                    </a:cxn>
                  </a:cxnLst>
                  <a:rect l="0" t="0" r="r" b="b"/>
                  <a:pathLst>
                    <a:path w="22" h="32">
                      <a:moveTo>
                        <a:pt x="6" y="0"/>
                      </a:moveTo>
                      <a:lnTo>
                        <a:pt x="6" y="0"/>
                      </a:lnTo>
                      <a:lnTo>
                        <a:pt x="2" y="0"/>
                      </a:lnTo>
                      <a:lnTo>
                        <a:pt x="0" y="0"/>
                      </a:lnTo>
                      <a:lnTo>
                        <a:pt x="2" y="4"/>
                      </a:lnTo>
                      <a:lnTo>
                        <a:pt x="6" y="8"/>
                      </a:lnTo>
                      <a:lnTo>
                        <a:pt x="8" y="10"/>
                      </a:lnTo>
                      <a:lnTo>
                        <a:pt x="10" y="10"/>
                      </a:lnTo>
                      <a:lnTo>
                        <a:pt x="10" y="10"/>
                      </a:lnTo>
                      <a:lnTo>
                        <a:pt x="14" y="10"/>
                      </a:lnTo>
                      <a:lnTo>
                        <a:pt x="16" y="12"/>
                      </a:lnTo>
                      <a:lnTo>
                        <a:pt x="16" y="16"/>
                      </a:lnTo>
                      <a:lnTo>
                        <a:pt x="12" y="22"/>
                      </a:lnTo>
                      <a:lnTo>
                        <a:pt x="12" y="22"/>
                      </a:lnTo>
                      <a:lnTo>
                        <a:pt x="8" y="28"/>
                      </a:lnTo>
                      <a:lnTo>
                        <a:pt x="6" y="32"/>
                      </a:lnTo>
                      <a:lnTo>
                        <a:pt x="6" y="32"/>
                      </a:lnTo>
                      <a:lnTo>
                        <a:pt x="6" y="32"/>
                      </a:lnTo>
                      <a:lnTo>
                        <a:pt x="12" y="28"/>
                      </a:lnTo>
                      <a:lnTo>
                        <a:pt x="12" y="28"/>
                      </a:lnTo>
                      <a:lnTo>
                        <a:pt x="18" y="22"/>
                      </a:lnTo>
                      <a:lnTo>
                        <a:pt x="20" y="18"/>
                      </a:lnTo>
                      <a:lnTo>
                        <a:pt x="22" y="12"/>
                      </a:lnTo>
                      <a:lnTo>
                        <a:pt x="20" y="6"/>
                      </a:lnTo>
                      <a:lnTo>
                        <a:pt x="20" y="6"/>
                      </a:lnTo>
                      <a:lnTo>
                        <a:pt x="20" y="2"/>
                      </a:lnTo>
                      <a:lnTo>
                        <a:pt x="18" y="2"/>
                      </a:lnTo>
                      <a:lnTo>
                        <a:pt x="12" y="2"/>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8" name="Freeform 6122"/>
                <p:cNvSpPr>
                  <a:spLocks/>
                </p:cNvSpPr>
                <p:nvPr/>
              </p:nvSpPr>
              <p:spPr bwMode="auto">
                <a:xfrm>
                  <a:off x="2520950" y="3201353"/>
                  <a:ext cx="17780" cy="12700"/>
                </a:xfrm>
                <a:custGeom>
                  <a:avLst/>
                  <a:gdLst/>
                  <a:ahLst/>
                  <a:cxnLst>
                    <a:cxn ang="0">
                      <a:pos x="24" y="4"/>
                    </a:cxn>
                    <a:cxn ang="0">
                      <a:pos x="24" y="4"/>
                    </a:cxn>
                    <a:cxn ang="0">
                      <a:pos x="22" y="6"/>
                    </a:cxn>
                    <a:cxn ang="0">
                      <a:pos x="20" y="8"/>
                    </a:cxn>
                    <a:cxn ang="0">
                      <a:pos x="16" y="6"/>
                    </a:cxn>
                    <a:cxn ang="0">
                      <a:pos x="10" y="6"/>
                    </a:cxn>
                    <a:cxn ang="0">
                      <a:pos x="6" y="8"/>
                    </a:cxn>
                    <a:cxn ang="0">
                      <a:pos x="2" y="14"/>
                    </a:cxn>
                    <a:cxn ang="0">
                      <a:pos x="2" y="14"/>
                    </a:cxn>
                    <a:cxn ang="0">
                      <a:pos x="0" y="16"/>
                    </a:cxn>
                    <a:cxn ang="0">
                      <a:pos x="0" y="20"/>
                    </a:cxn>
                    <a:cxn ang="0">
                      <a:pos x="4" y="20"/>
                    </a:cxn>
                    <a:cxn ang="0">
                      <a:pos x="14" y="20"/>
                    </a:cxn>
                    <a:cxn ang="0">
                      <a:pos x="14" y="20"/>
                    </a:cxn>
                    <a:cxn ang="0">
                      <a:pos x="20" y="16"/>
                    </a:cxn>
                    <a:cxn ang="0">
                      <a:pos x="24" y="14"/>
                    </a:cxn>
                    <a:cxn ang="0">
                      <a:pos x="26" y="10"/>
                    </a:cxn>
                    <a:cxn ang="0">
                      <a:pos x="28" y="6"/>
                    </a:cxn>
                    <a:cxn ang="0">
                      <a:pos x="26" y="0"/>
                    </a:cxn>
                    <a:cxn ang="0">
                      <a:pos x="26" y="0"/>
                    </a:cxn>
                    <a:cxn ang="0">
                      <a:pos x="24" y="4"/>
                    </a:cxn>
                    <a:cxn ang="0">
                      <a:pos x="24" y="4"/>
                    </a:cxn>
                  </a:cxnLst>
                  <a:rect l="0" t="0" r="r" b="b"/>
                  <a:pathLst>
                    <a:path w="28" h="20">
                      <a:moveTo>
                        <a:pt x="24" y="4"/>
                      </a:moveTo>
                      <a:lnTo>
                        <a:pt x="24" y="4"/>
                      </a:lnTo>
                      <a:lnTo>
                        <a:pt x="22" y="6"/>
                      </a:lnTo>
                      <a:lnTo>
                        <a:pt x="20" y="8"/>
                      </a:lnTo>
                      <a:lnTo>
                        <a:pt x="16" y="6"/>
                      </a:lnTo>
                      <a:lnTo>
                        <a:pt x="10" y="6"/>
                      </a:lnTo>
                      <a:lnTo>
                        <a:pt x="6" y="8"/>
                      </a:lnTo>
                      <a:lnTo>
                        <a:pt x="2" y="14"/>
                      </a:lnTo>
                      <a:lnTo>
                        <a:pt x="2" y="14"/>
                      </a:lnTo>
                      <a:lnTo>
                        <a:pt x="0" y="16"/>
                      </a:lnTo>
                      <a:lnTo>
                        <a:pt x="0" y="20"/>
                      </a:lnTo>
                      <a:lnTo>
                        <a:pt x="4" y="20"/>
                      </a:lnTo>
                      <a:lnTo>
                        <a:pt x="14" y="20"/>
                      </a:lnTo>
                      <a:lnTo>
                        <a:pt x="14" y="20"/>
                      </a:lnTo>
                      <a:lnTo>
                        <a:pt x="20" y="16"/>
                      </a:lnTo>
                      <a:lnTo>
                        <a:pt x="24" y="14"/>
                      </a:lnTo>
                      <a:lnTo>
                        <a:pt x="26" y="10"/>
                      </a:lnTo>
                      <a:lnTo>
                        <a:pt x="28" y="6"/>
                      </a:lnTo>
                      <a:lnTo>
                        <a:pt x="26" y="0"/>
                      </a:lnTo>
                      <a:lnTo>
                        <a:pt x="26" y="0"/>
                      </a:lnTo>
                      <a:lnTo>
                        <a:pt x="24" y="4"/>
                      </a:lnTo>
                      <a:lnTo>
                        <a:pt x="24"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9" name="Freeform 6123"/>
                <p:cNvSpPr>
                  <a:spLocks/>
                </p:cNvSpPr>
                <p:nvPr/>
              </p:nvSpPr>
              <p:spPr bwMode="auto">
                <a:xfrm>
                  <a:off x="2531110" y="3276283"/>
                  <a:ext cx="12700" cy="7620"/>
                </a:xfrm>
                <a:custGeom>
                  <a:avLst/>
                  <a:gdLst/>
                  <a:ahLst/>
                  <a:cxnLst>
                    <a:cxn ang="0">
                      <a:pos x="20" y="10"/>
                    </a:cxn>
                    <a:cxn ang="0">
                      <a:pos x="20" y="10"/>
                    </a:cxn>
                    <a:cxn ang="0">
                      <a:pos x="18" y="8"/>
                    </a:cxn>
                    <a:cxn ang="0">
                      <a:pos x="16" y="4"/>
                    </a:cxn>
                    <a:cxn ang="0">
                      <a:pos x="10" y="0"/>
                    </a:cxn>
                    <a:cxn ang="0">
                      <a:pos x="2" y="0"/>
                    </a:cxn>
                    <a:cxn ang="0">
                      <a:pos x="0" y="0"/>
                    </a:cxn>
                    <a:cxn ang="0">
                      <a:pos x="0" y="2"/>
                    </a:cxn>
                    <a:cxn ang="0">
                      <a:pos x="0" y="2"/>
                    </a:cxn>
                    <a:cxn ang="0">
                      <a:pos x="2" y="6"/>
                    </a:cxn>
                    <a:cxn ang="0">
                      <a:pos x="8" y="10"/>
                    </a:cxn>
                    <a:cxn ang="0">
                      <a:pos x="16" y="12"/>
                    </a:cxn>
                    <a:cxn ang="0">
                      <a:pos x="18" y="12"/>
                    </a:cxn>
                    <a:cxn ang="0">
                      <a:pos x="20" y="10"/>
                    </a:cxn>
                    <a:cxn ang="0">
                      <a:pos x="20" y="10"/>
                    </a:cxn>
                  </a:cxnLst>
                  <a:rect l="0" t="0" r="r" b="b"/>
                  <a:pathLst>
                    <a:path w="20" h="12">
                      <a:moveTo>
                        <a:pt x="20" y="10"/>
                      </a:moveTo>
                      <a:lnTo>
                        <a:pt x="20" y="10"/>
                      </a:lnTo>
                      <a:lnTo>
                        <a:pt x="18" y="8"/>
                      </a:lnTo>
                      <a:lnTo>
                        <a:pt x="16" y="4"/>
                      </a:lnTo>
                      <a:lnTo>
                        <a:pt x="10" y="0"/>
                      </a:lnTo>
                      <a:lnTo>
                        <a:pt x="2" y="0"/>
                      </a:lnTo>
                      <a:lnTo>
                        <a:pt x="0" y="0"/>
                      </a:lnTo>
                      <a:lnTo>
                        <a:pt x="0" y="2"/>
                      </a:lnTo>
                      <a:lnTo>
                        <a:pt x="0" y="2"/>
                      </a:lnTo>
                      <a:lnTo>
                        <a:pt x="2" y="6"/>
                      </a:lnTo>
                      <a:lnTo>
                        <a:pt x="8" y="10"/>
                      </a:lnTo>
                      <a:lnTo>
                        <a:pt x="16" y="12"/>
                      </a:lnTo>
                      <a:lnTo>
                        <a:pt x="18" y="12"/>
                      </a:lnTo>
                      <a:lnTo>
                        <a:pt x="20" y="10"/>
                      </a:lnTo>
                      <a:lnTo>
                        <a:pt x="20" y="1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0" name="Freeform 6124"/>
                <p:cNvSpPr>
                  <a:spLocks/>
                </p:cNvSpPr>
                <p:nvPr/>
              </p:nvSpPr>
              <p:spPr bwMode="auto">
                <a:xfrm>
                  <a:off x="2413000" y="3019743"/>
                  <a:ext cx="22860" cy="34290"/>
                </a:xfrm>
                <a:custGeom>
                  <a:avLst/>
                  <a:gdLst/>
                  <a:ahLst/>
                  <a:cxnLst>
                    <a:cxn ang="0">
                      <a:pos x="34" y="36"/>
                    </a:cxn>
                    <a:cxn ang="0">
                      <a:pos x="34" y="36"/>
                    </a:cxn>
                    <a:cxn ang="0">
                      <a:pos x="36" y="32"/>
                    </a:cxn>
                    <a:cxn ang="0">
                      <a:pos x="36" y="26"/>
                    </a:cxn>
                    <a:cxn ang="0">
                      <a:pos x="34" y="22"/>
                    </a:cxn>
                    <a:cxn ang="0">
                      <a:pos x="30" y="18"/>
                    </a:cxn>
                    <a:cxn ang="0">
                      <a:pos x="30" y="18"/>
                    </a:cxn>
                    <a:cxn ang="0">
                      <a:pos x="26" y="14"/>
                    </a:cxn>
                    <a:cxn ang="0">
                      <a:pos x="22" y="8"/>
                    </a:cxn>
                    <a:cxn ang="0">
                      <a:pos x="16" y="2"/>
                    </a:cxn>
                    <a:cxn ang="0">
                      <a:pos x="8" y="0"/>
                    </a:cxn>
                    <a:cxn ang="0">
                      <a:pos x="8" y="0"/>
                    </a:cxn>
                    <a:cxn ang="0">
                      <a:pos x="2" y="0"/>
                    </a:cxn>
                    <a:cxn ang="0">
                      <a:pos x="0" y="0"/>
                    </a:cxn>
                    <a:cxn ang="0">
                      <a:pos x="2" y="2"/>
                    </a:cxn>
                    <a:cxn ang="0">
                      <a:pos x="12" y="4"/>
                    </a:cxn>
                    <a:cxn ang="0">
                      <a:pos x="12" y="4"/>
                    </a:cxn>
                    <a:cxn ang="0">
                      <a:pos x="16" y="6"/>
                    </a:cxn>
                    <a:cxn ang="0">
                      <a:pos x="18" y="10"/>
                    </a:cxn>
                    <a:cxn ang="0">
                      <a:pos x="20" y="14"/>
                    </a:cxn>
                    <a:cxn ang="0">
                      <a:pos x="26" y="18"/>
                    </a:cxn>
                    <a:cxn ang="0">
                      <a:pos x="26" y="18"/>
                    </a:cxn>
                    <a:cxn ang="0">
                      <a:pos x="30" y="22"/>
                    </a:cxn>
                    <a:cxn ang="0">
                      <a:pos x="30" y="24"/>
                    </a:cxn>
                    <a:cxn ang="0">
                      <a:pos x="28" y="30"/>
                    </a:cxn>
                    <a:cxn ang="0">
                      <a:pos x="26" y="36"/>
                    </a:cxn>
                    <a:cxn ang="0">
                      <a:pos x="26" y="36"/>
                    </a:cxn>
                    <a:cxn ang="0">
                      <a:pos x="26" y="40"/>
                    </a:cxn>
                    <a:cxn ang="0">
                      <a:pos x="24" y="44"/>
                    </a:cxn>
                    <a:cxn ang="0">
                      <a:pos x="20" y="46"/>
                    </a:cxn>
                    <a:cxn ang="0">
                      <a:pos x="20" y="46"/>
                    </a:cxn>
                    <a:cxn ang="0">
                      <a:pos x="20" y="48"/>
                    </a:cxn>
                    <a:cxn ang="0">
                      <a:pos x="26" y="54"/>
                    </a:cxn>
                    <a:cxn ang="0">
                      <a:pos x="26" y="54"/>
                    </a:cxn>
                    <a:cxn ang="0">
                      <a:pos x="28" y="54"/>
                    </a:cxn>
                    <a:cxn ang="0">
                      <a:pos x="28" y="54"/>
                    </a:cxn>
                    <a:cxn ang="0">
                      <a:pos x="30" y="48"/>
                    </a:cxn>
                    <a:cxn ang="0">
                      <a:pos x="30" y="40"/>
                    </a:cxn>
                    <a:cxn ang="0">
                      <a:pos x="34" y="36"/>
                    </a:cxn>
                    <a:cxn ang="0">
                      <a:pos x="34" y="36"/>
                    </a:cxn>
                  </a:cxnLst>
                  <a:rect l="0" t="0" r="r" b="b"/>
                  <a:pathLst>
                    <a:path w="36" h="54">
                      <a:moveTo>
                        <a:pt x="34" y="36"/>
                      </a:moveTo>
                      <a:lnTo>
                        <a:pt x="34" y="36"/>
                      </a:lnTo>
                      <a:lnTo>
                        <a:pt x="36" y="32"/>
                      </a:lnTo>
                      <a:lnTo>
                        <a:pt x="36" y="26"/>
                      </a:lnTo>
                      <a:lnTo>
                        <a:pt x="34" y="22"/>
                      </a:lnTo>
                      <a:lnTo>
                        <a:pt x="30" y="18"/>
                      </a:lnTo>
                      <a:lnTo>
                        <a:pt x="30" y="18"/>
                      </a:lnTo>
                      <a:lnTo>
                        <a:pt x="26" y="14"/>
                      </a:lnTo>
                      <a:lnTo>
                        <a:pt x="22" y="8"/>
                      </a:lnTo>
                      <a:lnTo>
                        <a:pt x="16" y="2"/>
                      </a:lnTo>
                      <a:lnTo>
                        <a:pt x="8" y="0"/>
                      </a:lnTo>
                      <a:lnTo>
                        <a:pt x="8" y="0"/>
                      </a:lnTo>
                      <a:lnTo>
                        <a:pt x="2" y="0"/>
                      </a:lnTo>
                      <a:lnTo>
                        <a:pt x="0" y="0"/>
                      </a:lnTo>
                      <a:lnTo>
                        <a:pt x="2" y="2"/>
                      </a:lnTo>
                      <a:lnTo>
                        <a:pt x="12" y="4"/>
                      </a:lnTo>
                      <a:lnTo>
                        <a:pt x="12" y="4"/>
                      </a:lnTo>
                      <a:lnTo>
                        <a:pt x="16" y="6"/>
                      </a:lnTo>
                      <a:lnTo>
                        <a:pt x="18" y="10"/>
                      </a:lnTo>
                      <a:lnTo>
                        <a:pt x="20" y="14"/>
                      </a:lnTo>
                      <a:lnTo>
                        <a:pt x="26" y="18"/>
                      </a:lnTo>
                      <a:lnTo>
                        <a:pt x="26" y="18"/>
                      </a:lnTo>
                      <a:lnTo>
                        <a:pt x="30" y="22"/>
                      </a:lnTo>
                      <a:lnTo>
                        <a:pt x="30" y="24"/>
                      </a:lnTo>
                      <a:lnTo>
                        <a:pt x="28" y="30"/>
                      </a:lnTo>
                      <a:lnTo>
                        <a:pt x="26" y="36"/>
                      </a:lnTo>
                      <a:lnTo>
                        <a:pt x="26" y="36"/>
                      </a:lnTo>
                      <a:lnTo>
                        <a:pt x="26" y="40"/>
                      </a:lnTo>
                      <a:lnTo>
                        <a:pt x="24" y="44"/>
                      </a:lnTo>
                      <a:lnTo>
                        <a:pt x="20" y="46"/>
                      </a:lnTo>
                      <a:lnTo>
                        <a:pt x="20" y="46"/>
                      </a:lnTo>
                      <a:lnTo>
                        <a:pt x="20" y="48"/>
                      </a:lnTo>
                      <a:lnTo>
                        <a:pt x="26" y="54"/>
                      </a:lnTo>
                      <a:lnTo>
                        <a:pt x="26" y="54"/>
                      </a:lnTo>
                      <a:lnTo>
                        <a:pt x="28" y="54"/>
                      </a:lnTo>
                      <a:lnTo>
                        <a:pt x="28" y="54"/>
                      </a:lnTo>
                      <a:lnTo>
                        <a:pt x="30" y="48"/>
                      </a:lnTo>
                      <a:lnTo>
                        <a:pt x="30" y="40"/>
                      </a:lnTo>
                      <a:lnTo>
                        <a:pt x="34" y="36"/>
                      </a:lnTo>
                      <a:lnTo>
                        <a:pt x="34" y="3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1" name="Freeform 6125"/>
                <p:cNvSpPr>
                  <a:spLocks/>
                </p:cNvSpPr>
                <p:nvPr/>
              </p:nvSpPr>
              <p:spPr bwMode="auto">
                <a:xfrm>
                  <a:off x="2393950" y="3161983"/>
                  <a:ext cx="7620" cy="2540"/>
                </a:xfrm>
                <a:custGeom>
                  <a:avLst/>
                  <a:gdLst/>
                  <a:ahLst/>
                  <a:cxnLst>
                    <a:cxn ang="0">
                      <a:pos x="4" y="4"/>
                    </a:cxn>
                    <a:cxn ang="0">
                      <a:pos x="4" y="4"/>
                    </a:cxn>
                    <a:cxn ang="0">
                      <a:pos x="8" y="4"/>
                    </a:cxn>
                    <a:cxn ang="0">
                      <a:pos x="12" y="4"/>
                    </a:cxn>
                    <a:cxn ang="0">
                      <a:pos x="12" y="2"/>
                    </a:cxn>
                    <a:cxn ang="0">
                      <a:pos x="12" y="0"/>
                    </a:cxn>
                    <a:cxn ang="0">
                      <a:pos x="12" y="0"/>
                    </a:cxn>
                    <a:cxn ang="0">
                      <a:pos x="2" y="0"/>
                    </a:cxn>
                    <a:cxn ang="0">
                      <a:pos x="0" y="0"/>
                    </a:cxn>
                    <a:cxn ang="0">
                      <a:pos x="4" y="4"/>
                    </a:cxn>
                    <a:cxn ang="0">
                      <a:pos x="4" y="4"/>
                    </a:cxn>
                  </a:cxnLst>
                  <a:rect l="0" t="0" r="r" b="b"/>
                  <a:pathLst>
                    <a:path w="12" h="4">
                      <a:moveTo>
                        <a:pt x="4" y="4"/>
                      </a:moveTo>
                      <a:lnTo>
                        <a:pt x="4" y="4"/>
                      </a:lnTo>
                      <a:lnTo>
                        <a:pt x="8" y="4"/>
                      </a:lnTo>
                      <a:lnTo>
                        <a:pt x="12" y="4"/>
                      </a:lnTo>
                      <a:lnTo>
                        <a:pt x="12" y="2"/>
                      </a:lnTo>
                      <a:lnTo>
                        <a:pt x="12" y="0"/>
                      </a:lnTo>
                      <a:lnTo>
                        <a:pt x="12" y="0"/>
                      </a:lnTo>
                      <a:lnTo>
                        <a:pt x="2" y="0"/>
                      </a:lnTo>
                      <a:lnTo>
                        <a:pt x="0" y="0"/>
                      </a:lnTo>
                      <a:lnTo>
                        <a:pt x="4" y="4"/>
                      </a:lnTo>
                      <a:lnTo>
                        <a:pt x="4"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2" name="Freeform 6126"/>
                <p:cNvSpPr>
                  <a:spLocks/>
                </p:cNvSpPr>
                <p:nvPr/>
              </p:nvSpPr>
              <p:spPr bwMode="auto">
                <a:xfrm>
                  <a:off x="2414270" y="3106103"/>
                  <a:ext cx="11430" cy="16510"/>
                </a:xfrm>
                <a:custGeom>
                  <a:avLst/>
                  <a:gdLst/>
                  <a:ahLst/>
                  <a:cxnLst>
                    <a:cxn ang="0">
                      <a:pos x="12" y="26"/>
                    </a:cxn>
                    <a:cxn ang="0">
                      <a:pos x="12" y="26"/>
                    </a:cxn>
                    <a:cxn ang="0">
                      <a:pos x="16" y="24"/>
                    </a:cxn>
                    <a:cxn ang="0">
                      <a:pos x="18" y="22"/>
                    </a:cxn>
                    <a:cxn ang="0">
                      <a:pos x="18" y="16"/>
                    </a:cxn>
                    <a:cxn ang="0">
                      <a:pos x="14" y="6"/>
                    </a:cxn>
                    <a:cxn ang="0">
                      <a:pos x="14" y="6"/>
                    </a:cxn>
                    <a:cxn ang="0">
                      <a:pos x="12" y="0"/>
                    </a:cxn>
                    <a:cxn ang="0">
                      <a:pos x="12" y="0"/>
                    </a:cxn>
                    <a:cxn ang="0">
                      <a:pos x="12" y="0"/>
                    </a:cxn>
                    <a:cxn ang="0">
                      <a:pos x="10" y="4"/>
                    </a:cxn>
                    <a:cxn ang="0">
                      <a:pos x="8" y="4"/>
                    </a:cxn>
                    <a:cxn ang="0">
                      <a:pos x="6" y="2"/>
                    </a:cxn>
                    <a:cxn ang="0">
                      <a:pos x="6" y="2"/>
                    </a:cxn>
                    <a:cxn ang="0">
                      <a:pos x="4" y="0"/>
                    </a:cxn>
                    <a:cxn ang="0">
                      <a:pos x="2" y="0"/>
                    </a:cxn>
                    <a:cxn ang="0">
                      <a:pos x="0" y="6"/>
                    </a:cxn>
                    <a:cxn ang="0">
                      <a:pos x="0" y="12"/>
                    </a:cxn>
                    <a:cxn ang="0">
                      <a:pos x="4" y="20"/>
                    </a:cxn>
                    <a:cxn ang="0">
                      <a:pos x="4" y="20"/>
                    </a:cxn>
                    <a:cxn ang="0">
                      <a:pos x="8" y="24"/>
                    </a:cxn>
                    <a:cxn ang="0">
                      <a:pos x="8" y="26"/>
                    </a:cxn>
                    <a:cxn ang="0">
                      <a:pos x="12" y="26"/>
                    </a:cxn>
                    <a:cxn ang="0">
                      <a:pos x="12" y="26"/>
                    </a:cxn>
                  </a:cxnLst>
                  <a:rect l="0" t="0" r="r" b="b"/>
                  <a:pathLst>
                    <a:path w="18" h="26">
                      <a:moveTo>
                        <a:pt x="12" y="26"/>
                      </a:moveTo>
                      <a:lnTo>
                        <a:pt x="12" y="26"/>
                      </a:lnTo>
                      <a:lnTo>
                        <a:pt x="16" y="24"/>
                      </a:lnTo>
                      <a:lnTo>
                        <a:pt x="18" y="22"/>
                      </a:lnTo>
                      <a:lnTo>
                        <a:pt x="18" y="16"/>
                      </a:lnTo>
                      <a:lnTo>
                        <a:pt x="14" y="6"/>
                      </a:lnTo>
                      <a:lnTo>
                        <a:pt x="14" y="6"/>
                      </a:lnTo>
                      <a:lnTo>
                        <a:pt x="12" y="0"/>
                      </a:lnTo>
                      <a:lnTo>
                        <a:pt x="12" y="0"/>
                      </a:lnTo>
                      <a:lnTo>
                        <a:pt x="12" y="0"/>
                      </a:lnTo>
                      <a:lnTo>
                        <a:pt x="10" y="4"/>
                      </a:lnTo>
                      <a:lnTo>
                        <a:pt x="8" y="4"/>
                      </a:lnTo>
                      <a:lnTo>
                        <a:pt x="6" y="2"/>
                      </a:lnTo>
                      <a:lnTo>
                        <a:pt x="6" y="2"/>
                      </a:lnTo>
                      <a:lnTo>
                        <a:pt x="4" y="0"/>
                      </a:lnTo>
                      <a:lnTo>
                        <a:pt x="2" y="0"/>
                      </a:lnTo>
                      <a:lnTo>
                        <a:pt x="0" y="6"/>
                      </a:lnTo>
                      <a:lnTo>
                        <a:pt x="0" y="12"/>
                      </a:lnTo>
                      <a:lnTo>
                        <a:pt x="4" y="20"/>
                      </a:lnTo>
                      <a:lnTo>
                        <a:pt x="4" y="20"/>
                      </a:lnTo>
                      <a:lnTo>
                        <a:pt x="8" y="24"/>
                      </a:lnTo>
                      <a:lnTo>
                        <a:pt x="8" y="26"/>
                      </a:lnTo>
                      <a:lnTo>
                        <a:pt x="12" y="26"/>
                      </a:lnTo>
                      <a:lnTo>
                        <a:pt x="12" y="2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3" name="Freeform 6127"/>
                <p:cNvSpPr>
                  <a:spLocks/>
                </p:cNvSpPr>
                <p:nvPr/>
              </p:nvSpPr>
              <p:spPr bwMode="auto">
                <a:xfrm>
                  <a:off x="2404110" y="3165793"/>
                  <a:ext cx="8890" cy="6350"/>
                </a:xfrm>
                <a:custGeom>
                  <a:avLst/>
                  <a:gdLst/>
                  <a:ahLst/>
                  <a:cxnLst>
                    <a:cxn ang="0">
                      <a:pos x="0" y="0"/>
                    </a:cxn>
                    <a:cxn ang="0">
                      <a:pos x="0" y="0"/>
                    </a:cxn>
                    <a:cxn ang="0">
                      <a:pos x="0" y="4"/>
                    </a:cxn>
                    <a:cxn ang="0">
                      <a:pos x="0" y="6"/>
                    </a:cxn>
                    <a:cxn ang="0">
                      <a:pos x="10" y="8"/>
                    </a:cxn>
                    <a:cxn ang="0">
                      <a:pos x="10" y="8"/>
                    </a:cxn>
                    <a:cxn ang="0">
                      <a:pos x="14" y="10"/>
                    </a:cxn>
                    <a:cxn ang="0">
                      <a:pos x="14" y="8"/>
                    </a:cxn>
                    <a:cxn ang="0">
                      <a:pos x="10" y="4"/>
                    </a:cxn>
                    <a:cxn ang="0">
                      <a:pos x="6" y="0"/>
                    </a:cxn>
                    <a:cxn ang="0">
                      <a:pos x="2" y="0"/>
                    </a:cxn>
                    <a:cxn ang="0">
                      <a:pos x="0" y="0"/>
                    </a:cxn>
                    <a:cxn ang="0">
                      <a:pos x="0" y="0"/>
                    </a:cxn>
                  </a:cxnLst>
                  <a:rect l="0" t="0" r="r" b="b"/>
                  <a:pathLst>
                    <a:path w="14" h="10">
                      <a:moveTo>
                        <a:pt x="0" y="0"/>
                      </a:moveTo>
                      <a:lnTo>
                        <a:pt x="0" y="0"/>
                      </a:lnTo>
                      <a:lnTo>
                        <a:pt x="0" y="4"/>
                      </a:lnTo>
                      <a:lnTo>
                        <a:pt x="0" y="6"/>
                      </a:lnTo>
                      <a:lnTo>
                        <a:pt x="10" y="8"/>
                      </a:lnTo>
                      <a:lnTo>
                        <a:pt x="10" y="8"/>
                      </a:lnTo>
                      <a:lnTo>
                        <a:pt x="14" y="10"/>
                      </a:lnTo>
                      <a:lnTo>
                        <a:pt x="14" y="8"/>
                      </a:lnTo>
                      <a:lnTo>
                        <a:pt x="10" y="4"/>
                      </a:lnTo>
                      <a:lnTo>
                        <a:pt x="6" y="0"/>
                      </a:lnTo>
                      <a:lnTo>
                        <a:pt x="2" y="0"/>
                      </a:lnTo>
                      <a:lnTo>
                        <a:pt x="0" y="0"/>
                      </a:lnTo>
                      <a:lnTo>
                        <a:pt x="0"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4" name="Freeform 6128"/>
                <p:cNvSpPr>
                  <a:spLocks/>
                </p:cNvSpPr>
                <p:nvPr/>
              </p:nvSpPr>
              <p:spPr bwMode="auto">
                <a:xfrm>
                  <a:off x="2461260" y="3125153"/>
                  <a:ext cx="7620" cy="7620"/>
                </a:xfrm>
                <a:custGeom>
                  <a:avLst/>
                  <a:gdLst/>
                  <a:ahLst/>
                  <a:cxnLst>
                    <a:cxn ang="0">
                      <a:pos x="0" y="2"/>
                    </a:cxn>
                    <a:cxn ang="0">
                      <a:pos x="0" y="2"/>
                    </a:cxn>
                    <a:cxn ang="0">
                      <a:pos x="0" y="4"/>
                    </a:cxn>
                    <a:cxn ang="0">
                      <a:pos x="0" y="6"/>
                    </a:cxn>
                    <a:cxn ang="0">
                      <a:pos x="6" y="10"/>
                    </a:cxn>
                    <a:cxn ang="0">
                      <a:pos x="6" y="10"/>
                    </a:cxn>
                    <a:cxn ang="0">
                      <a:pos x="10" y="12"/>
                    </a:cxn>
                    <a:cxn ang="0">
                      <a:pos x="12" y="12"/>
                    </a:cxn>
                    <a:cxn ang="0">
                      <a:pos x="12" y="12"/>
                    </a:cxn>
                    <a:cxn ang="0">
                      <a:pos x="10" y="8"/>
                    </a:cxn>
                    <a:cxn ang="0">
                      <a:pos x="10" y="8"/>
                    </a:cxn>
                    <a:cxn ang="0">
                      <a:pos x="4" y="0"/>
                    </a:cxn>
                    <a:cxn ang="0">
                      <a:pos x="0" y="0"/>
                    </a:cxn>
                    <a:cxn ang="0">
                      <a:pos x="0" y="2"/>
                    </a:cxn>
                    <a:cxn ang="0">
                      <a:pos x="0" y="2"/>
                    </a:cxn>
                  </a:cxnLst>
                  <a:rect l="0" t="0" r="r" b="b"/>
                  <a:pathLst>
                    <a:path w="12" h="12">
                      <a:moveTo>
                        <a:pt x="0" y="2"/>
                      </a:moveTo>
                      <a:lnTo>
                        <a:pt x="0" y="2"/>
                      </a:lnTo>
                      <a:lnTo>
                        <a:pt x="0" y="4"/>
                      </a:lnTo>
                      <a:lnTo>
                        <a:pt x="0" y="6"/>
                      </a:lnTo>
                      <a:lnTo>
                        <a:pt x="6" y="10"/>
                      </a:lnTo>
                      <a:lnTo>
                        <a:pt x="6" y="10"/>
                      </a:lnTo>
                      <a:lnTo>
                        <a:pt x="10" y="12"/>
                      </a:lnTo>
                      <a:lnTo>
                        <a:pt x="12" y="12"/>
                      </a:lnTo>
                      <a:lnTo>
                        <a:pt x="12" y="12"/>
                      </a:lnTo>
                      <a:lnTo>
                        <a:pt x="10" y="8"/>
                      </a:lnTo>
                      <a:lnTo>
                        <a:pt x="10" y="8"/>
                      </a:lnTo>
                      <a:lnTo>
                        <a:pt x="4" y="0"/>
                      </a:lnTo>
                      <a:lnTo>
                        <a:pt x="0" y="0"/>
                      </a:lnTo>
                      <a:lnTo>
                        <a:pt x="0" y="2"/>
                      </a:lnTo>
                      <a:lnTo>
                        <a:pt x="0"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5" name="Freeform 6129"/>
                <p:cNvSpPr>
                  <a:spLocks/>
                </p:cNvSpPr>
                <p:nvPr/>
              </p:nvSpPr>
              <p:spPr bwMode="auto">
                <a:xfrm>
                  <a:off x="2512060" y="2538413"/>
                  <a:ext cx="54610" cy="21590"/>
                </a:xfrm>
                <a:custGeom>
                  <a:avLst/>
                  <a:gdLst/>
                  <a:ahLst/>
                  <a:cxnLst>
                    <a:cxn ang="0">
                      <a:pos x="70" y="4"/>
                    </a:cxn>
                    <a:cxn ang="0">
                      <a:pos x="70" y="4"/>
                    </a:cxn>
                    <a:cxn ang="0">
                      <a:pos x="74" y="0"/>
                    </a:cxn>
                    <a:cxn ang="0">
                      <a:pos x="74" y="0"/>
                    </a:cxn>
                    <a:cxn ang="0">
                      <a:pos x="72" y="0"/>
                    </a:cxn>
                    <a:cxn ang="0">
                      <a:pos x="68" y="0"/>
                    </a:cxn>
                    <a:cxn ang="0">
                      <a:pos x="62" y="6"/>
                    </a:cxn>
                    <a:cxn ang="0">
                      <a:pos x="62" y="6"/>
                    </a:cxn>
                    <a:cxn ang="0">
                      <a:pos x="54" y="10"/>
                    </a:cxn>
                    <a:cxn ang="0">
                      <a:pos x="46" y="10"/>
                    </a:cxn>
                    <a:cxn ang="0">
                      <a:pos x="40" y="10"/>
                    </a:cxn>
                    <a:cxn ang="0">
                      <a:pos x="34" y="12"/>
                    </a:cxn>
                    <a:cxn ang="0">
                      <a:pos x="34" y="12"/>
                    </a:cxn>
                    <a:cxn ang="0">
                      <a:pos x="32" y="14"/>
                    </a:cxn>
                    <a:cxn ang="0">
                      <a:pos x="30" y="12"/>
                    </a:cxn>
                    <a:cxn ang="0">
                      <a:pos x="26" y="12"/>
                    </a:cxn>
                    <a:cxn ang="0">
                      <a:pos x="20" y="14"/>
                    </a:cxn>
                    <a:cxn ang="0">
                      <a:pos x="20" y="14"/>
                    </a:cxn>
                    <a:cxn ang="0">
                      <a:pos x="16" y="14"/>
                    </a:cxn>
                    <a:cxn ang="0">
                      <a:pos x="14" y="16"/>
                    </a:cxn>
                    <a:cxn ang="0">
                      <a:pos x="12" y="18"/>
                    </a:cxn>
                    <a:cxn ang="0">
                      <a:pos x="8" y="20"/>
                    </a:cxn>
                    <a:cxn ang="0">
                      <a:pos x="8" y="20"/>
                    </a:cxn>
                    <a:cxn ang="0">
                      <a:pos x="2" y="26"/>
                    </a:cxn>
                    <a:cxn ang="0">
                      <a:pos x="0" y="28"/>
                    </a:cxn>
                    <a:cxn ang="0">
                      <a:pos x="2" y="30"/>
                    </a:cxn>
                    <a:cxn ang="0">
                      <a:pos x="6" y="30"/>
                    </a:cxn>
                    <a:cxn ang="0">
                      <a:pos x="6" y="30"/>
                    </a:cxn>
                    <a:cxn ang="0">
                      <a:pos x="8" y="30"/>
                    </a:cxn>
                    <a:cxn ang="0">
                      <a:pos x="6" y="34"/>
                    </a:cxn>
                    <a:cxn ang="0">
                      <a:pos x="6" y="34"/>
                    </a:cxn>
                    <a:cxn ang="0">
                      <a:pos x="6" y="34"/>
                    </a:cxn>
                    <a:cxn ang="0">
                      <a:pos x="6" y="34"/>
                    </a:cxn>
                    <a:cxn ang="0">
                      <a:pos x="12" y="34"/>
                    </a:cxn>
                    <a:cxn ang="0">
                      <a:pos x="16" y="32"/>
                    </a:cxn>
                    <a:cxn ang="0">
                      <a:pos x="18" y="32"/>
                    </a:cxn>
                    <a:cxn ang="0">
                      <a:pos x="18" y="32"/>
                    </a:cxn>
                    <a:cxn ang="0">
                      <a:pos x="18" y="30"/>
                    </a:cxn>
                    <a:cxn ang="0">
                      <a:pos x="22" y="28"/>
                    </a:cxn>
                    <a:cxn ang="0">
                      <a:pos x="28" y="26"/>
                    </a:cxn>
                    <a:cxn ang="0">
                      <a:pos x="34" y="26"/>
                    </a:cxn>
                    <a:cxn ang="0">
                      <a:pos x="34" y="26"/>
                    </a:cxn>
                    <a:cxn ang="0">
                      <a:pos x="42" y="24"/>
                    </a:cxn>
                    <a:cxn ang="0">
                      <a:pos x="52" y="22"/>
                    </a:cxn>
                    <a:cxn ang="0">
                      <a:pos x="52" y="22"/>
                    </a:cxn>
                    <a:cxn ang="0">
                      <a:pos x="68" y="16"/>
                    </a:cxn>
                    <a:cxn ang="0">
                      <a:pos x="82" y="10"/>
                    </a:cxn>
                    <a:cxn ang="0">
                      <a:pos x="82" y="10"/>
                    </a:cxn>
                    <a:cxn ang="0">
                      <a:pos x="86" y="6"/>
                    </a:cxn>
                    <a:cxn ang="0">
                      <a:pos x="86" y="6"/>
                    </a:cxn>
                    <a:cxn ang="0">
                      <a:pos x="84" y="4"/>
                    </a:cxn>
                    <a:cxn ang="0">
                      <a:pos x="82" y="6"/>
                    </a:cxn>
                    <a:cxn ang="0">
                      <a:pos x="82" y="6"/>
                    </a:cxn>
                    <a:cxn ang="0">
                      <a:pos x="78" y="8"/>
                    </a:cxn>
                    <a:cxn ang="0">
                      <a:pos x="74" y="8"/>
                    </a:cxn>
                    <a:cxn ang="0">
                      <a:pos x="70" y="8"/>
                    </a:cxn>
                    <a:cxn ang="0">
                      <a:pos x="66" y="10"/>
                    </a:cxn>
                    <a:cxn ang="0">
                      <a:pos x="66" y="10"/>
                    </a:cxn>
                    <a:cxn ang="0">
                      <a:pos x="62" y="14"/>
                    </a:cxn>
                    <a:cxn ang="0">
                      <a:pos x="60" y="12"/>
                    </a:cxn>
                    <a:cxn ang="0">
                      <a:pos x="64" y="10"/>
                    </a:cxn>
                    <a:cxn ang="0">
                      <a:pos x="70" y="4"/>
                    </a:cxn>
                    <a:cxn ang="0">
                      <a:pos x="70" y="4"/>
                    </a:cxn>
                  </a:cxnLst>
                  <a:rect l="0" t="0" r="r" b="b"/>
                  <a:pathLst>
                    <a:path w="86" h="34">
                      <a:moveTo>
                        <a:pt x="70" y="4"/>
                      </a:moveTo>
                      <a:lnTo>
                        <a:pt x="70" y="4"/>
                      </a:lnTo>
                      <a:lnTo>
                        <a:pt x="74" y="0"/>
                      </a:lnTo>
                      <a:lnTo>
                        <a:pt x="74" y="0"/>
                      </a:lnTo>
                      <a:lnTo>
                        <a:pt x="72" y="0"/>
                      </a:lnTo>
                      <a:lnTo>
                        <a:pt x="68" y="0"/>
                      </a:lnTo>
                      <a:lnTo>
                        <a:pt x="62" y="6"/>
                      </a:lnTo>
                      <a:lnTo>
                        <a:pt x="62" y="6"/>
                      </a:lnTo>
                      <a:lnTo>
                        <a:pt x="54" y="10"/>
                      </a:lnTo>
                      <a:lnTo>
                        <a:pt x="46" y="10"/>
                      </a:lnTo>
                      <a:lnTo>
                        <a:pt x="40" y="10"/>
                      </a:lnTo>
                      <a:lnTo>
                        <a:pt x="34" y="12"/>
                      </a:lnTo>
                      <a:lnTo>
                        <a:pt x="34" y="12"/>
                      </a:lnTo>
                      <a:lnTo>
                        <a:pt x="32" y="14"/>
                      </a:lnTo>
                      <a:lnTo>
                        <a:pt x="30" y="12"/>
                      </a:lnTo>
                      <a:lnTo>
                        <a:pt x="26" y="12"/>
                      </a:lnTo>
                      <a:lnTo>
                        <a:pt x="20" y="14"/>
                      </a:lnTo>
                      <a:lnTo>
                        <a:pt x="20" y="14"/>
                      </a:lnTo>
                      <a:lnTo>
                        <a:pt x="16" y="14"/>
                      </a:lnTo>
                      <a:lnTo>
                        <a:pt x="14" y="16"/>
                      </a:lnTo>
                      <a:lnTo>
                        <a:pt x="12" y="18"/>
                      </a:lnTo>
                      <a:lnTo>
                        <a:pt x="8" y="20"/>
                      </a:lnTo>
                      <a:lnTo>
                        <a:pt x="8" y="20"/>
                      </a:lnTo>
                      <a:lnTo>
                        <a:pt x="2" y="26"/>
                      </a:lnTo>
                      <a:lnTo>
                        <a:pt x="0" y="28"/>
                      </a:lnTo>
                      <a:lnTo>
                        <a:pt x="2" y="30"/>
                      </a:lnTo>
                      <a:lnTo>
                        <a:pt x="6" y="30"/>
                      </a:lnTo>
                      <a:lnTo>
                        <a:pt x="6" y="30"/>
                      </a:lnTo>
                      <a:lnTo>
                        <a:pt x="8" y="30"/>
                      </a:lnTo>
                      <a:lnTo>
                        <a:pt x="6" y="34"/>
                      </a:lnTo>
                      <a:lnTo>
                        <a:pt x="6" y="34"/>
                      </a:lnTo>
                      <a:lnTo>
                        <a:pt x="6" y="34"/>
                      </a:lnTo>
                      <a:lnTo>
                        <a:pt x="6" y="34"/>
                      </a:lnTo>
                      <a:lnTo>
                        <a:pt x="12" y="34"/>
                      </a:lnTo>
                      <a:lnTo>
                        <a:pt x="16" y="32"/>
                      </a:lnTo>
                      <a:lnTo>
                        <a:pt x="18" y="32"/>
                      </a:lnTo>
                      <a:lnTo>
                        <a:pt x="18" y="32"/>
                      </a:lnTo>
                      <a:lnTo>
                        <a:pt x="18" y="30"/>
                      </a:lnTo>
                      <a:lnTo>
                        <a:pt x="22" y="28"/>
                      </a:lnTo>
                      <a:lnTo>
                        <a:pt x="28" y="26"/>
                      </a:lnTo>
                      <a:lnTo>
                        <a:pt x="34" y="26"/>
                      </a:lnTo>
                      <a:lnTo>
                        <a:pt x="34" y="26"/>
                      </a:lnTo>
                      <a:lnTo>
                        <a:pt x="42" y="24"/>
                      </a:lnTo>
                      <a:lnTo>
                        <a:pt x="52" y="22"/>
                      </a:lnTo>
                      <a:lnTo>
                        <a:pt x="52" y="22"/>
                      </a:lnTo>
                      <a:lnTo>
                        <a:pt x="68" y="16"/>
                      </a:lnTo>
                      <a:lnTo>
                        <a:pt x="82" y="10"/>
                      </a:lnTo>
                      <a:lnTo>
                        <a:pt x="82" y="10"/>
                      </a:lnTo>
                      <a:lnTo>
                        <a:pt x="86" y="6"/>
                      </a:lnTo>
                      <a:lnTo>
                        <a:pt x="86" y="6"/>
                      </a:lnTo>
                      <a:lnTo>
                        <a:pt x="84" y="4"/>
                      </a:lnTo>
                      <a:lnTo>
                        <a:pt x="82" y="6"/>
                      </a:lnTo>
                      <a:lnTo>
                        <a:pt x="82" y="6"/>
                      </a:lnTo>
                      <a:lnTo>
                        <a:pt x="78" y="8"/>
                      </a:lnTo>
                      <a:lnTo>
                        <a:pt x="74" y="8"/>
                      </a:lnTo>
                      <a:lnTo>
                        <a:pt x="70" y="8"/>
                      </a:lnTo>
                      <a:lnTo>
                        <a:pt x="66" y="10"/>
                      </a:lnTo>
                      <a:lnTo>
                        <a:pt x="66" y="10"/>
                      </a:lnTo>
                      <a:lnTo>
                        <a:pt x="62" y="14"/>
                      </a:lnTo>
                      <a:lnTo>
                        <a:pt x="60" y="12"/>
                      </a:lnTo>
                      <a:lnTo>
                        <a:pt x="64" y="10"/>
                      </a:lnTo>
                      <a:lnTo>
                        <a:pt x="70" y="4"/>
                      </a:lnTo>
                      <a:lnTo>
                        <a:pt x="7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6" name="Freeform 6130"/>
                <p:cNvSpPr>
                  <a:spLocks/>
                </p:cNvSpPr>
                <p:nvPr/>
              </p:nvSpPr>
              <p:spPr bwMode="auto">
                <a:xfrm>
                  <a:off x="2477770" y="3126423"/>
                  <a:ext cx="13970" cy="25400"/>
                </a:xfrm>
                <a:custGeom>
                  <a:avLst/>
                  <a:gdLst/>
                  <a:ahLst/>
                  <a:cxnLst>
                    <a:cxn ang="0">
                      <a:pos x="14" y="30"/>
                    </a:cxn>
                    <a:cxn ang="0">
                      <a:pos x="14" y="30"/>
                    </a:cxn>
                    <a:cxn ang="0">
                      <a:pos x="20" y="38"/>
                    </a:cxn>
                    <a:cxn ang="0">
                      <a:pos x="20" y="38"/>
                    </a:cxn>
                    <a:cxn ang="0">
                      <a:pos x="22" y="40"/>
                    </a:cxn>
                    <a:cxn ang="0">
                      <a:pos x="20" y="34"/>
                    </a:cxn>
                    <a:cxn ang="0">
                      <a:pos x="20" y="34"/>
                    </a:cxn>
                    <a:cxn ang="0">
                      <a:pos x="16" y="26"/>
                    </a:cxn>
                    <a:cxn ang="0">
                      <a:pos x="14" y="24"/>
                    </a:cxn>
                    <a:cxn ang="0">
                      <a:pos x="14" y="20"/>
                    </a:cxn>
                    <a:cxn ang="0">
                      <a:pos x="14" y="20"/>
                    </a:cxn>
                    <a:cxn ang="0">
                      <a:pos x="10" y="10"/>
                    </a:cxn>
                    <a:cxn ang="0">
                      <a:pos x="6" y="4"/>
                    </a:cxn>
                    <a:cxn ang="0">
                      <a:pos x="2" y="0"/>
                    </a:cxn>
                    <a:cxn ang="0">
                      <a:pos x="2" y="0"/>
                    </a:cxn>
                    <a:cxn ang="0">
                      <a:pos x="0" y="0"/>
                    </a:cxn>
                    <a:cxn ang="0">
                      <a:pos x="2" y="4"/>
                    </a:cxn>
                    <a:cxn ang="0">
                      <a:pos x="8" y="18"/>
                    </a:cxn>
                    <a:cxn ang="0">
                      <a:pos x="8" y="18"/>
                    </a:cxn>
                    <a:cxn ang="0">
                      <a:pos x="10" y="22"/>
                    </a:cxn>
                    <a:cxn ang="0">
                      <a:pos x="8" y="24"/>
                    </a:cxn>
                    <a:cxn ang="0">
                      <a:pos x="8" y="24"/>
                    </a:cxn>
                    <a:cxn ang="0">
                      <a:pos x="14" y="30"/>
                    </a:cxn>
                    <a:cxn ang="0">
                      <a:pos x="14" y="30"/>
                    </a:cxn>
                  </a:cxnLst>
                  <a:rect l="0" t="0" r="r" b="b"/>
                  <a:pathLst>
                    <a:path w="22" h="40">
                      <a:moveTo>
                        <a:pt x="14" y="30"/>
                      </a:moveTo>
                      <a:lnTo>
                        <a:pt x="14" y="30"/>
                      </a:lnTo>
                      <a:lnTo>
                        <a:pt x="20" y="38"/>
                      </a:lnTo>
                      <a:lnTo>
                        <a:pt x="20" y="38"/>
                      </a:lnTo>
                      <a:lnTo>
                        <a:pt x="22" y="40"/>
                      </a:lnTo>
                      <a:lnTo>
                        <a:pt x="20" y="34"/>
                      </a:lnTo>
                      <a:lnTo>
                        <a:pt x="20" y="34"/>
                      </a:lnTo>
                      <a:lnTo>
                        <a:pt x="16" y="26"/>
                      </a:lnTo>
                      <a:lnTo>
                        <a:pt x="14" y="24"/>
                      </a:lnTo>
                      <a:lnTo>
                        <a:pt x="14" y="20"/>
                      </a:lnTo>
                      <a:lnTo>
                        <a:pt x="14" y="20"/>
                      </a:lnTo>
                      <a:lnTo>
                        <a:pt x="10" y="10"/>
                      </a:lnTo>
                      <a:lnTo>
                        <a:pt x="6" y="4"/>
                      </a:lnTo>
                      <a:lnTo>
                        <a:pt x="2" y="0"/>
                      </a:lnTo>
                      <a:lnTo>
                        <a:pt x="2" y="0"/>
                      </a:lnTo>
                      <a:lnTo>
                        <a:pt x="0" y="0"/>
                      </a:lnTo>
                      <a:lnTo>
                        <a:pt x="2" y="4"/>
                      </a:lnTo>
                      <a:lnTo>
                        <a:pt x="8" y="18"/>
                      </a:lnTo>
                      <a:lnTo>
                        <a:pt x="8" y="18"/>
                      </a:lnTo>
                      <a:lnTo>
                        <a:pt x="10" y="22"/>
                      </a:lnTo>
                      <a:lnTo>
                        <a:pt x="8" y="24"/>
                      </a:lnTo>
                      <a:lnTo>
                        <a:pt x="8" y="24"/>
                      </a:lnTo>
                      <a:lnTo>
                        <a:pt x="14" y="30"/>
                      </a:lnTo>
                      <a:lnTo>
                        <a:pt x="14" y="3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7" name="Freeform 6131"/>
                <p:cNvSpPr>
                  <a:spLocks/>
                </p:cNvSpPr>
                <p:nvPr/>
              </p:nvSpPr>
              <p:spPr bwMode="auto">
                <a:xfrm>
                  <a:off x="2534920" y="3165793"/>
                  <a:ext cx="10160" cy="5080"/>
                </a:xfrm>
                <a:custGeom>
                  <a:avLst/>
                  <a:gdLst/>
                  <a:ahLst/>
                  <a:cxnLst>
                    <a:cxn ang="0">
                      <a:pos x="16" y="6"/>
                    </a:cxn>
                    <a:cxn ang="0">
                      <a:pos x="16" y="6"/>
                    </a:cxn>
                    <a:cxn ang="0">
                      <a:pos x="14" y="2"/>
                    </a:cxn>
                    <a:cxn ang="0">
                      <a:pos x="8" y="0"/>
                    </a:cxn>
                    <a:cxn ang="0">
                      <a:pos x="4" y="0"/>
                    </a:cxn>
                    <a:cxn ang="0">
                      <a:pos x="0" y="0"/>
                    </a:cxn>
                    <a:cxn ang="0">
                      <a:pos x="0" y="0"/>
                    </a:cxn>
                    <a:cxn ang="0">
                      <a:pos x="0" y="4"/>
                    </a:cxn>
                    <a:cxn ang="0">
                      <a:pos x="2" y="4"/>
                    </a:cxn>
                    <a:cxn ang="0">
                      <a:pos x="4" y="6"/>
                    </a:cxn>
                    <a:cxn ang="0">
                      <a:pos x="4" y="6"/>
                    </a:cxn>
                    <a:cxn ang="0">
                      <a:pos x="10" y="6"/>
                    </a:cxn>
                    <a:cxn ang="0">
                      <a:pos x="14" y="8"/>
                    </a:cxn>
                    <a:cxn ang="0">
                      <a:pos x="14" y="8"/>
                    </a:cxn>
                    <a:cxn ang="0">
                      <a:pos x="16" y="6"/>
                    </a:cxn>
                    <a:cxn ang="0">
                      <a:pos x="16" y="6"/>
                    </a:cxn>
                  </a:cxnLst>
                  <a:rect l="0" t="0" r="r" b="b"/>
                  <a:pathLst>
                    <a:path w="16" h="8">
                      <a:moveTo>
                        <a:pt x="16" y="6"/>
                      </a:moveTo>
                      <a:lnTo>
                        <a:pt x="16" y="6"/>
                      </a:lnTo>
                      <a:lnTo>
                        <a:pt x="14" y="2"/>
                      </a:lnTo>
                      <a:lnTo>
                        <a:pt x="8" y="0"/>
                      </a:lnTo>
                      <a:lnTo>
                        <a:pt x="4" y="0"/>
                      </a:lnTo>
                      <a:lnTo>
                        <a:pt x="0" y="0"/>
                      </a:lnTo>
                      <a:lnTo>
                        <a:pt x="0" y="0"/>
                      </a:lnTo>
                      <a:lnTo>
                        <a:pt x="0" y="4"/>
                      </a:lnTo>
                      <a:lnTo>
                        <a:pt x="2" y="4"/>
                      </a:lnTo>
                      <a:lnTo>
                        <a:pt x="4" y="6"/>
                      </a:lnTo>
                      <a:lnTo>
                        <a:pt x="4" y="6"/>
                      </a:lnTo>
                      <a:lnTo>
                        <a:pt x="10" y="6"/>
                      </a:lnTo>
                      <a:lnTo>
                        <a:pt x="14" y="8"/>
                      </a:lnTo>
                      <a:lnTo>
                        <a:pt x="14" y="8"/>
                      </a:lnTo>
                      <a:lnTo>
                        <a:pt x="16" y="6"/>
                      </a:lnTo>
                      <a:lnTo>
                        <a:pt x="16"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8" name="Freeform 6132"/>
                <p:cNvSpPr>
                  <a:spLocks/>
                </p:cNvSpPr>
                <p:nvPr/>
              </p:nvSpPr>
              <p:spPr bwMode="auto">
                <a:xfrm>
                  <a:off x="2468880" y="3092133"/>
                  <a:ext cx="10160" cy="20320"/>
                </a:xfrm>
                <a:custGeom>
                  <a:avLst/>
                  <a:gdLst/>
                  <a:ahLst/>
                  <a:cxnLst>
                    <a:cxn ang="0">
                      <a:pos x="4" y="4"/>
                    </a:cxn>
                    <a:cxn ang="0">
                      <a:pos x="4" y="4"/>
                    </a:cxn>
                    <a:cxn ang="0">
                      <a:pos x="0" y="0"/>
                    </a:cxn>
                    <a:cxn ang="0">
                      <a:pos x="0" y="0"/>
                    </a:cxn>
                    <a:cxn ang="0">
                      <a:pos x="0" y="2"/>
                    </a:cxn>
                    <a:cxn ang="0">
                      <a:pos x="0" y="6"/>
                    </a:cxn>
                    <a:cxn ang="0">
                      <a:pos x="0" y="6"/>
                    </a:cxn>
                    <a:cxn ang="0">
                      <a:pos x="4" y="12"/>
                    </a:cxn>
                    <a:cxn ang="0">
                      <a:pos x="10" y="20"/>
                    </a:cxn>
                    <a:cxn ang="0">
                      <a:pos x="10" y="20"/>
                    </a:cxn>
                    <a:cxn ang="0">
                      <a:pos x="10" y="26"/>
                    </a:cxn>
                    <a:cxn ang="0">
                      <a:pos x="10" y="30"/>
                    </a:cxn>
                    <a:cxn ang="0">
                      <a:pos x="10" y="32"/>
                    </a:cxn>
                    <a:cxn ang="0">
                      <a:pos x="14" y="30"/>
                    </a:cxn>
                    <a:cxn ang="0">
                      <a:pos x="14" y="30"/>
                    </a:cxn>
                    <a:cxn ang="0">
                      <a:pos x="16" y="28"/>
                    </a:cxn>
                    <a:cxn ang="0">
                      <a:pos x="16" y="26"/>
                    </a:cxn>
                    <a:cxn ang="0">
                      <a:pos x="12" y="20"/>
                    </a:cxn>
                    <a:cxn ang="0">
                      <a:pos x="12" y="20"/>
                    </a:cxn>
                    <a:cxn ang="0">
                      <a:pos x="8" y="12"/>
                    </a:cxn>
                    <a:cxn ang="0">
                      <a:pos x="4" y="4"/>
                    </a:cxn>
                    <a:cxn ang="0">
                      <a:pos x="4" y="4"/>
                    </a:cxn>
                  </a:cxnLst>
                  <a:rect l="0" t="0" r="r" b="b"/>
                  <a:pathLst>
                    <a:path w="16" h="32">
                      <a:moveTo>
                        <a:pt x="4" y="4"/>
                      </a:moveTo>
                      <a:lnTo>
                        <a:pt x="4" y="4"/>
                      </a:lnTo>
                      <a:lnTo>
                        <a:pt x="0" y="0"/>
                      </a:lnTo>
                      <a:lnTo>
                        <a:pt x="0" y="0"/>
                      </a:lnTo>
                      <a:lnTo>
                        <a:pt x="0" y="2"/>
                      </a:lnTo>
                      <a:lnTo>
                        <a:pt x="0" y="6"/>
                      </a:lnTo>
                      <a:lnTo>
                        <a:pt x="0" y="6"/>
                      </a:lnTo>
                      <a:lnTo>
                        <a:pt x="4" y="12"/>
                      </a:lnTo>
                      <a:lnTo>
                        <a:pt x="10" y="20"/>
                      </a:lnTo>
                      <a:lnTo>
                        <a:pt x="10" y="20"/>
                      </a:lnTo>
                      <a:lnTo>
                        <a:pt x="10" y="26"/>
                      </a:lnTo>
                      <a:lnTo>
                        <a:pt x="10" y="30"/>
                      </a:lnTo>
                      <a:lnTo>
                        <a:pt x="10" y="32"/>
                      </a:lnTo>
                      <a:lnTo>
                        <a:pt x="14" y="30"/>
                      </a:lnTo>
                      <a:lnTo>
                        <a:pt x="14" y="30"/>
                      </a:lnTo>
                      <a:lnTo>
                        <a:pt x="16" y="28"/>
                      </a:lnTo>
                      <a:lnTo>
                        <a:pt x="16" y="26"/>
                      </a:lnTo>
                      <a:lnTo>
                        <a:pt x="12" y="20"/>
                      </a:lnTo>
                      <a:lnTo>
                        <a:pt x="12" y="20"/>
                      </a:lnTo>
                      <a:lnTo>
                        <a:pt x="8" y="12"/>
                      </a:lnTo>
                      <a:lnTo>
                        <a:pt x="4" y="4"/>
                      </a:lnTo>
                      <a:lnTo>
                        <a:pt x="4"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9" name="Freeform 6133"/>
                <p:cNvSpPr>
                  <a:spLocks/>
                </p:cNvSpPr>
                <p:nvPr/>
              </p:nvSpPr>
              <p:spPr bwMode="auto">
                <a:xfrm>
                  <a:off x="2442210" y="3064193"/>
                  <a:ext cx="16510" cy="34290"/>
                </a:xfrm>
                <a:custGeom>
                  <a:avLst/>
                  <a:gdLst/>
                  <a:ahLst/>
                  <a:cxnLst>
                    <a:cxn ang="0">
                      <a:pos x="22" y="16"/>
                    </a:cxn>
                    <a:cxn ang="0">
                      <a:pos x="22" y="16"/>
                    </a:cxn>
                    <a:cxn ang="0">
                      <a:pos x="8" y="4"/>
                    </a:cxn>
                    <a:cxn ang="0">
                      <a:pos x="2" y="0"/>
                    </a:cxn>
                    <a:cxn ang="0">
                      <a:pos x="0" y="0"/>
                    </a:cxn>
                    <a:cxn ang="0">
                      <a:pos x="0" y="2"/>
                    </a:cxn>
                    <a:cxn ang="0">
                      <a:pos x="0" y="2"/>
                    </a:cxn>
                    <a:cxn ang="0">
                      <a:pos x="2" y="6"/>
                    </a:cxn>
                    <a:cxn ang="0">
                      <a:pos x="8" y="10"/>
                    </a:cxn>
                    <a:cxn ang="0">
                      <a:pos x="14" y="16"/>
                    </a:cxn>
                    <a:cxn ang="0">
                      <a:pos x="22" y="22"/>
                    </a:cxn>
                    <a:cxn ang="0">
                      <a:pos x="22" y="22"/>
                    </a:cxn>
                    <a:cxn ang="0">
                      <a:pos x="22" y="26"/>
                    </a:cxn>
                    <a:cxn ang="0">
                      <a:pos x="22" y="28"/>
                    </a:cxn>
                    <a:cxn ang="0">
                      <a:pos x="20" y="34"/>
                    </a:cxn>
                    <a:cxn ang="0">
                      <a:pos x="16" y="38"/>
                    </a:cxn>
                    <a:cxn ang="0">
                      <a:pos x="16" y="40"/>
                    </a:cxn>
                    <a:cxn ang="0">
                      <a:pos x="18" y="42"/>
                    </a:cxn>
                    <a:cxn ang="0">
                      <a:pos x="18" y="42"/>
                    </a:cxn>
                    <a:cxn ang="0">
                      <a:pos x="22" y="50"/>
                    </a:cxn>
                    <a:cxn ang="0">
                      <a:pos x="24" y="54"/>
                    </a:cxn>
                    <a:cxn ang="0">
                      <a:pos x="24" y="52"/>
                    </a:cxn>
                    <a:cxn ang="0">
                      <a:pos x="24" y="52"/>
                    </a:cxn>
                    <a:cxn ang="0">
                      <a:pos x="24" y="42"/>
                    </a:cxn>
                    <a:cxn ang="0">
                      <a:pos x="24" y="42"/>
                    </a:cxn>
                    <a:cxn ang="0">
                      <a:pos x="26" y="34"/>
                    </a:cxn>
                    <a:cxn ang="0">
                      <a:pos x="26" y="28"/>
                    </a:cxn>
                    <a:cxn ang="0">
                      <a:pos x="26" y="22"/>
                    </a:cxn>
                    <a:cxn ang="0">
                      <a:pos x="22" y="16"/>
                    </a:cxn>
                    <a:cxn ang="0">
                      <a:pos x="22" y="16"/>
                    </a:cxn>
                  </a:cxnLst>
                  <a:rect l="0" t="0" r="r" b="b"/>
                  <a:pathLst>
                    <a:path w="26" h="54">
                      <a:moveTo>
                        <a:pt x="22" y="16"/>
                      </a:moveTo>
                      <a:lnTo>
                        <a:pt x="22" y="16"/>
                      </a:lnTo>
                      <a:lnTo>
                        <a:pt x="8" y="4"/>
                      </a:lnTo>
                      <a:lnTo>
                        <a:pt x="2" y="0"/>
                      </a:lnTo>
                      <a:lnTo>
                        <a:pt x="0" y="0"/>
                      </a:lnTo>
                      <a:lnTo>
                        <a:pt x="0" y="2"/>
                      </a:lnTo>
                      <a:lnTo>
                        <a:pt x="0" y="2"/>
                      </a:lnTo>
                      <a:lnTo>
                        <a:pt x="2" y="6"/>
                      </a:lnTo>
                      <a:lnTo>
                        <a:pt x="8" y="10"/>
                      </a:lnTo>
                      <a:lnTo>
                        <a:pt x="14" y="16"/>
                      </a:lnTo>
                      <a:lnTo>
                        <a:pt x="22" y="22"/>
                      </a:lnTo>
                      <a:lnTo>
                        <a:pt x="22" y="22"/>
                      </a:lnTo>
                      <a:lnTo>
                        <a:pt x="22" y="26"/>
                      </a:lnTo>
                      <a:lnTo>
                        <a:pt x="22" y="28"/>
                      </a:lnTo>
                      <a:lnTo>
                        <a:pt x="20" y="34"/>
                      </a:lnTo>
                      <a:lnTo>
                        <a:pt x="16" y="38"/>
                      </a:lnTo>
                      <a:lnTo>
                        <a:pt x="16" y="40"/>
                      </a:lnTo>
                      <a:lnTo>
                        <a:pt x="18" y="42"/>
                      </a:lnTo>
                      <a:lnTo>
                        <a:pt x="18" y="42"/>
                      </a:lnTo>
                      <a:lnTo>
                        <a:pt x="22" y="50"/>
                      </a:lnTo>
                      <a:lnTo>
                        <a:pt x="24" y="54"/>
                      </a:lnTo>
                      <a:lnTo>
                        <a:pt x="24" y="52"/>
                      </a:lnTo>
                      <a:lnTo>
                        <a:pt x="24" y="52"/>
                      </a:lnTo>
                      <a:lnTo>
                        <a:pt x="24" y="42"/>
                      </a:lnTo>
                      <a:lnTo>
                        <a:pt x="24" y="42"/>
                      </a:lnTo>
                      <a:lnTo>
                        <a:pt x="26" y="34"/>
                      </a:lnTo>
                      <a:lnTo>
                        <a:pt x="26" y="28"/>
                      </a:lnTo>
                      <a:lnTo>
                        <a:pt x="26" y="22"/>
                      </a:lnTo>
                      <a:lnTo>
                        <a:pt x="22" y="16"/>
                      </a:lnTo>
                      <a:lnTo>
                        <a:pt x="22" y="1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0" name="Freeform 6134"/>
                <p:cNvSpPr>
                  <a:spLocks/>
                </p:cNvSpPr>
                <p:nvPr/>
              </p:nvSpPr>
              <p:spPr bwMode="auto">
                <a:xfrm>
                  <a:off x="3581400" y="3548063"/>
                  <a:ext cx="3810" cy="5080"/>
                </a:xfrm>
                <a:custGeom>
                  <a:avLst/>
                  <a:gdLst/>
                  <a:ahLst/>
                  <a:cxnLst>
                    <a:cxn ang="0">
                      <a:pos x="2" y="8"/>
                    </a:cxn>
                    <a:cxn ang="0">
                      <a:pos x="2" y="8"/>
                    </a:cxn>
                    <a:cxn ang="0">
                      <a:pos x="4" y="8"/>
                    </a:cxn>
                    <a:cxn ang="0">
                      <a:pos x="6" y="4"/>
                    </a:cxn>
                    <a:cxn ang="0">
                      <a:pos x="6" y="2"/>
                    </a:cxn>
                    <a:cxn ang="0">
                      <a:pos x="6" y="0"/>
                    </a:cxn>
                    <a:cxn ang="0">
                      <a:pos x="6" y="0"/>
                    </a:cxn>
                    <a:cxn ang="0">
                      <a:pos x="4" y="2"/>
                    </a:cxn>
                    <a:cxn ang="0">
                      <a:pos x="2" y="4"/>
                    </a:cxn>
                    <a:cxn ang="0">
                      <a:pos x="0" y="6"/>
                    </a:cxn>
                    <a:cxn ang="0">
                      <a:pos x="2" y="8"/>
                    </a:cxn>
                    <a:cxn ang="0">
                      <a:pos x="2" y="8"/>
                    </a:cxn>
                  </a:cxnLst>
                  <a:rect l="0" t="0" r="r" b="b"/>
                  <a:pathLst>
                    <a:path w="6" h="8">
                      <a:moveTo>
                        <a:pt x="2" y="8"/>
                      </a:moveTo>
                      <a:lnTo>
                        <a:pt x="2" y="8"/>
                      </a:lnTo>
                      <a:lnTo>
                        <a:pt x="4" y="8"/>
                      </a:lnTo>
                      <a:lnTo>
                        <a:pt x="6" y="4"/>
                      </a:lnTo>
                      <a:lnTo>
                        <a:pt x="6" y="2"/>
                      </a:lnTo>
                      <a:lnTo>
                        <a:pt x="6" y="0"/>
                      </a:lnTo>
                      <a:lnTo>
                        <a:pt x="6" y="0"/>
                      </a:lnTo>
                      <a:lnTo>
                        <a:pt x="4" y="2"/>
                      </a:lnTo>
                      <a:lnTo>
                        <a:pt x="2" y="4"/>
                      </a:lnTo>
                      <a:lnTo>
                        <a:pt x="0" y="6"/>
                      </a:lnTo>
                      <a:lnTo>
                        <a:pt x="2" y="8"/>
                      </a:lnTo>
                      <a:lnTo>
                        <a:pt x="2"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1" name="Freeform 6135"/>
                <p:cNvSpPr>
                  <a:spLocks/>
                </p:cNvSpPr>
                <p:nvPr/>
              </p:nvSpPr>
              <p:spPr bwMode="auto">
                <a:xfrm>
                  <a:off x="3586480" y="3539173"/>
                  <a:ext cx="2540" cy="2540"/>
                </a:xfrm>
                <a:custGeom>
                  <a:avLst/>
                  <a:gdLst/>
                  <a:ahLst/>
                  <a:cxnLst>
                    <a:cxn ang="0">
                      <a:pos x="0" y="4"/>
                    </a:cxn>
                    <a:cxn ang="0">
                      <a:pos x="0" y="4"/>
                    </a:cxn>
                    <a:cxn ang="0">
                      <a:pos x="2" y="4"/>
                    </a:cxn>
                    <a:cxn ang="0">
                      <a:pos x="4" y="2"/>
                    </a:cxn>
                    <a:cxn ang="0">
                      <a:pos x="4" y="0"/>
                    </a:cxn>
                    <a:cxn ang="0">
                      <a:pos x="4" y="0"/>
                    </a:cxn>
                    <a:cxn ang="0">
                      <a:pos x="2" y="0"/>
                    </a:cxn>
                    <a:cxn ang="0">
                      <a:pos x="0" y="0"/>
                    </a:cxn>
                    <a:cxn ang="0">
                      <a:pos x="0" y="2"/>
                    </a:cxn>
                    <a:cxn ang="0">
                      <a:pos x="0" y="4"/>
                    </a:cxn>
                    <a:cxn ang="0">
                      <a:pos x="0" y="4"/>
                    </a:cxn>
                  </a:cxnLst>
                  <a:rect l="0" t="0" r="r" b="b"/>
                  <a:pathLst>
                    <a:path w="4" h="4">
                      <a:moveTo>
                        <a:pt x="0" y="4"/>
                      </a:moveTo>
                      <a:lnTo>
                        <a:pt x="0" y="4"/>
                      </a:lnTo>
                      <a:lnTo>
                        <a:pt x="2" y="4"/>
                      </a:lnTo>
                      <a:lnTo>
                        <a:pt x="4" y="2"/>
                      </a:lnTo>
                      <a:lnTo>
                        <a:pt x="4" y="0"/>
                      </a:lnTo>
                      <a:lnTo>
                        <a:pt x="4" y="0"/>
                      </a:lnTo>
                      <a:lnTo>
                        <a:pt x="2" y="0"/>
                      </a:lnTo>
                      <a:lnTo>
                        <a:pt x="0" y="0"/>
                      </a:lnTo>
                      <a:lnTo>
                        <a:pt x="0" y="2"/>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2" name="Freeform 6136"/>
                <p:cNvSpPr>
                  <a:spLocks/>
                </p:cNvSpPr>
                <p:nvPr/>
              </p:nvSpPr>
              <p:spPr bwMode="auto">
                <a:xfrm>
                  <a:off x="3575050" y="3539173"/>
                  <a:ext cx="3810" cy="5080"/>
                </a:xfrm>
                <a:custGeom>
                  <a:avLst/>
                  <a:gdLst/>
                  <a:ahLst/>
                  <a:cxnLst>
                    <a:cxn ang="0">
                      <a:pos x="6" y="2"/>
                    </a:cxn>
                    <a:cxn ang="0">
                      <a:pos x="6" y="2"/>
                    </a:cxn>
                    <a:cxn ang="0">
                      <a:pos x="4" y="0"/>
                    </a:cxn>
                    <a:cxn ang="0">
                      <a:pos x="0" y="2"/>
                    </a:cxn>
                    <a:cxn ang="0">
                      <a:pos x="0" y="6"/>
                    </a:cxn>
                    <a:cxn ang="0">
                      <a:pos x="0" y="8"/>
                    </a:cxn>
                    <a:cxn ang="0">
                      <a:pos x="0" y="8"/>
                    </a:cxn>
                    <a:cxn ang="0">
                      <a:pos x="4" y="6"/>
                    </a:cxn>
                    <a:cxn ang="0">
                      <a:pos x="6" y="4"/>
                    </a:cxn>
                    <a:cxn ang="0">
                      <a:pos x="6" y="2"/>
                    </a:cxn>
                    <a:cxn ang="0">
                      <a:pos x="6" y="2"/>
                    </a:cxn>
                  </a:cxnLst>
                  <a:rect l="0" t="0" r="r" b="b"/>
                  <a:pathLst>
                    <a:path w="6" h="8">
                      <a:moveTo>
                        <a:pt x="6" y="2"/>
                      </a:moveTo>
                      <a:lnTo>
                        <a:pt x="6" y="2"/>
                      </a:lnTo>
                      <a:lnTo>
                        <a:pt x="4" y="0"/>
                      </a:lnTo>
                      <a:lnTo>
                        <a:pt x="0" y="2"/>
                      </a:lnTo>
                      <a:lnTo>
                        <a:pt x="0" y="6"/>
                      </a:lnTo>
                      <a:lnTo>
                        <a:pt x="0" y="8"/>
                      </a:lnTo>
                      <a:lnTo>
                        <a:pt x="0" y="8"/>
                      </a:lnTo>
                      <a:lnTo>
                        <a:pt x="4" y="6"/>
                      </a:lnTo>
                      <a:lnTo>
                        <a:pt x="6" y="4"/>
                      </a:lnTo>
                      <a:lnTo>
                        <a:pt x="6" y="2"/>
                      </a:lnTo>
                      <a:lnTo>
                        <a:pt x="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3" name="Freeform 6138"/>
                <p:cNvSpPr>
                  <a:spLocks/>
                </p:cNvSpPr>
                <p:nvPr/>
              </p:nvSpPr>
              <p:spPr bwMode="auto">
                <a:xfrm>
                  <a:off x="3576320" y="3551873"/>
                  <a:ext cx="2540" cy="3810"/>
                </a:xfrm>
                <a:custGeom>
                  <a:avLst/>
                  <a:gdLst/>
                  <a:ahLst/>
                  <a:cxnLst>
                    <a:cxn ang="0">
                      <a:pos x="2" y="0"/>
                    </a:cxn>
                    <a:cxn ang="0">
                      <a:pos x="2" y="0"/>
                    </a:cxn>
                    <a:cxn ang="0">
                      <a:pos x="0" y="0"/>
                    </a:cxn>
                    <a:cxn ang="0">
                      <a:pos x="0" y="2"/>
                    </a:cxn>
                    <a:cxn ang="0">
                      <a:pos x="0" y="4"/>
                    </a:cxn>
                    <a:cxn ang="0">
                      <a:pos x="2" y="6"/>
                    </a:cxn>
                    <a:cxn ang="0">
                      <a:pos x="2" y="6"/>
                    </a:cxn>
                    <a:cxn ang="0">
                      <a:pos x="4" y="6"/>
                    </a:cxn>
                    <a:cxn ang="0">
                      <a:pos x="4" y="4"/>
                    </a:cxn>
                    <a:cxn ang="0">
                      <a:pos x="4" y="2"/>
                    </a:cxn>
                    <a:cxn ang="0">
                      <a:pos x="2" y="0"/>
                    </a:cxn>
                    <a:cxn ang="0">
                      <a:pos x="2" y="0"/>
                    </a:cxn>
                  </a:cxnLst>
                  <a:rect l="0" t="0" r="r" b="b"/>
                  <a:pathLst>
                    <a:path w="4" h="6">
                      <a:moveTo>
                        <a:pt x="2" y="0"/>
                      </a:moveTo>
                      <a:lnTo>
                        <a:pt x="2" y="0"/>
                      </a:lnTo>
                      <a:lnTo>
                        <a:pt x="0" y="0"/>
                      </a:lnTo>
                      <a:lnTo>
                        <a:pt x="0" y="2"/>
                      </a:lnTo>
                      <a:lnTo>
                        <a:pt x="0" y="4"/>
                      </a:lnTo>
                      <a:lnTo>
                        <a:pt x="2" y="6"/>
                      </a:lnTo>
                      <a:lnTo>
                        <a:pt x="2" y="6"/>
                      </a:lnTo>
                      <a:lnTo>
                        <a:pt x="4" y="6"/>
                      </a:lnTo>
                      <a:lnTo>
                        <a:pt x="4" y="4"/>
                      </a:lnTo>
                      <a:lnTo>
                        <a:pt x="4" y="2"/>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4" name="Freeform 6144"/>
                <p:cNvSpPr>
                  <a:spLocks/>
                </p:cNvSpPr>
                <p:nvPr/>
              </p:nvSpPr>
              <p:spPr bwMode="auto">
                <a:xfrm>
                  <a:off x="3572510" y="3530283"/>
                  <a:ext cx="5080" cy="3810"/>
                </a:xfrm>
                <a:custGeom>
                  <a:avLst/>
                  <a:gdLst/>
                  <a:ahLst/>
                  <a:cxnLst>
                    <a:cxn ang="0">
                      <a:pos x="8" y="2"/>
                    </a:cxn>
                    <a:cxn ang="0">
                      <a:pos x="8" y="2"/>
                    </a:cxn>
                    <a:cxn ang="0">
                      <a:pos x="8" y="0"/>
                    </a:cxn>
                    <a:cxn ang="0">
                      <a:pos x="6" y="0"/>
                    </a:cxn>
                    <a:cxn ang="0">
                      <a:pos x="4" y="0"/>
                    </a:cxn>
                    <a:cxn ang="0">
                      <a:pos x="0" y="2"/>
                    </a:cxn>
                    <a:cxn ang="0">
                      <a:pos x="0" y="4"/>
                    </a:cxn>
                    <a:cxn ang="0">
                      <a:pos x="0" y="6"/>
                    </a:cxn>
                    <a:cxn ang="0">
                      <a:pos x="0" y="6"/>
                    </a:cxn>
                    <a:cxn ang="0">
                      <a:pos x="4" y="6"/>
                    </a:cxn>
                    <a:cxn ang="0">
                      <a:pos x="8" y="2"/>
                    </a:cxn>
                    <a:cxn ang="0">
                      <a:pos x="8" y="2"/>
                    </a:cxn>
                  </a:cxnLst>
                  <a:rect l="0" t="0" r="r" b="b"/>
                  <a:pathLst>
                    <a:path w="8" h="6">
                      <a:moveTo>
                        <a:pt x="8" y="2"/>
                      </a:moveTo>
                      <a:lnTo>
                        <a:pt x="8" y="2"/>
                      </a:lnTo>
                      <a:lnTo>
                        <a:pt x="8" y="0"/>
                      </a:lnTo>
                      <a:lnTo>
                        <a:pt x="6" y="0"/>
                      </a:lnTo>
                      <a:lnTo>
                        <a:pt x="4" y="0"/>
                      </a:lnTo>
                      <a:lnTo>
                        <a:pt x="0" y="2"/>
                      </a:lnTo>
                      <a:lnTo>
                        <a:pt x="0" y="4"/>
                      </a:lnTo>
                      <a:lnTo>
                        <a:pt x="0" y="6"/>
                      </a:lnTo>
                      <a:lnTo>
                        <a:pt x="0" y="6"/>
                      </a:lnTo>
                      <a:lnTo>
                        <a:pt x="4" y="6"/>
                      </a:lnTo>
                      <a:lnTo>
                        <a:pt x="8" y="2"/>
                      </a:lnTo>
                      <a:lnTo>
                        <a:pt x="8"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5" name="Freeform 6149"/>
                <p:cNvSpPr>
                  <a:spLocks/>
                </p:cNvSpPr>
                <p:nvPr/>
              </p:nvSpPr>
              <p:spPr bwMode="auto">
                <a:xfrm>
                  <a:off x="3566160" y="3539173"/>
                  <a:ext cx="3810" cy="2540"/>
                </a:xfrm>
                <a:custGeom>
                  <a:avLst/>
                  <a:gdLst/>
                  <a:ahLst/>
                  <a:cxnLst>
                    <a:cxn ang="0">
                      <a:pos x="0" y="4"/>
                    </a:cxn>
                    <a:cxn ang="0">
                      <a:pos x="0" y="4"/>
                    </a:cxn>
                    <a:cxn ang="0">
                      <a:pos x="2" y="4"/>
                    </a:cxn>
                    <a:cxn ang="0">
                      <a:pos x="6" y="2"/>
                    </a:cxn>
                    <a:cxn ang="0">
                      <a:pos x="6" y="2"/>
                    </a:cxn>
                    <a:cxn ang="0">
                      <a:pos x="6" y="0"/>
                    </a:cxn>
                    <a:cxn ang="0">
                      <a:pos x="2" y="2"/>
                    </a:cxn>
                    <a:cxn ang="0">
                      <a:pos x="0" y="2"/>
                    </a:cxn>
                    <a:cxn ang="0">
                      <a:pos x="0" y="4"/>
                    </a:cxn>
                    <a:cxn ang="0">
                      <a:pos x="0" y="4"/>
                    </a:cxn>
                  </a:cxnLst>
                  <a:rect l="0" t="0" r="r" b="b"/>
                  <a:pathLst>
                    <a:path w="6" h="4">
                      <a:moveTo>
                        <a:pt x="0" y="4"/>
                      </a:moveTo>
                      <a:lnTo>
                        <a:pt x="0" y="4"/>
                      </a:lnTo>
                      <a:lnTo>
                        <a:pt x="2" y="4"/>
                      </a:lnTo>
                      <a:lnTo>
                        <a:pt x="6" y="2"/>
                      </a:lnTo>
                      <a:lnTo>
                        <a:pt x="6" y="2"/>
                      </a:lnTo>
                      <a:lnTo>
                        <a:pt x="6" y="0"/>
                      </a:lnTo>
                      <a:lnTo>
                        <a:pt x="2" y="2"/>
                      </a:lnTo>
                      <a:lnTo>
                        <a:pt x="0" y="2"/>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6" name="Freeform 6150"/>
                <p:cNvSpPr>
                  <a:spLocks/>
                </p:cNvSpPr>
                <p:nvPr/>
              </p:nvSpPr>
              <p:spPr bwMode="auto">
                <a:xfrm>
                  <a:off x="3568700" y="3548063"/>
                  <a:ext cx="3810" cy="2540"/>
                </a:xfrm>
                <a:custGeom>
                  <a:avLst/>
                  <a:gdLst/>
                  <a:ahLst/>
                  <a:cxnLst>
                    <a:cxn ang="0">
                      <a:pos x="4" y="0"/>
                    </a:cxn>
                    <a:cxn ang="0">
                      <a:pos x="4" y="0"/>
                    </a:cxn>
                    <a:cxn ang="0">
                      <a:pos x="2" y="2"/>
                    </a:cxn>
                    <a:cxn ang="0">
                      <a:pos x="0" y="2"/>
                    </a:cxn>
                    <a:cxn ang="0">
                      <a:pos x="2" y="4"/>
                    </a:cxn>
                    <a:cxn ang="0">
                      <a:pos x="4" y="4"/>
                    </a:cxn>
                    <a:cxn ang="0">
                      <a:pos x="4" y="4"/>
                    </a:cxn>
                    <a:cxn ang="0">
                      <a:pos x="6" y="2"/>
                    </a:cxn>
                    <a:cxn ang="0">
                      <a:pos x="6" y="2"/>
                    </a:cxn>
                    <a:cxn ang="0">
                      <a:pos x="4" y="0"/>
                    </a:cxn>
                    <a:cxn ang="0">
                      <a:pos x="4" y="0"/>
                    </a:cxn>
                  </a:cxnLst>
                  <a:rect l="0" t="0" r="r" b="b"/>
                  <a:pathLst>
                    <a:path w="6" h="4">
                      <a:moveTo>
                        <a:pt x="4" y="0"/>
                      </a:moveTo>
                      <a:lnTo>
                        <a:pt x="4" y="0"/>
                      </a:lnTo>
                      <a:lnTo>
                        <a:pt x="2" y="2"/>
                      </a:lnTo>
                      <a:lnTo>
                        <a:pt x="0" y="2"/>
                      </a:lnTo>
                      <a:lnTo>
                        <a:pt x="2" y="4"/>
                      </a:lnTo>
                      <a:lnTo>
                        <a:pt x="4" y="4"/>
                      </a:lnTo>
                      <a:lnTo>
                        <a:pt x="4" y="4"/>
                      </a:lnTo>
                      <a:lnTo>
                        <a:pt x="6" y="2"/>
                      </a:lnTo>
                      <a:lnTo>
                        <a:pt x="6" y="2"/>
                      </a:lnTo>
                      <a:lnTo>
                        <a:pt x="4" y="0"/>
                      </a:lnTo>
                      <a:lnTo>
                        <a:pt x="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grpSp>
          <p:sp>
            <p:nvSpPr>
              <p:cNvPr id="56" name="Freeform 5962"/>
              <p:cNvSpPr>
                <a:spLocks noEditPoints="1"/>
              </p:cNvSpPr>
              <p:nvPr/>
            </p:nvSpPr>
            <p:spPr bwMode="auto">
              <a:xfrm>
                <a:off x="2518104" y="3674489"/>
                <a:ext cx="1071895" cy="2040511"/>
              </a:xfrm>
              <a:custGeom>
                <a:avLst/>
                <a:gdLst/>
                <a:ahLst/>
                <a:cxnLst>
                  <a:cxn ang="0">
                    <a:pos x="266" y="3286"/>
                  </a:cxn>
                  <a:cxn ang="0">
                    <a:pos x="232" y="3100"/>
                  </a:cxn>
                  <a:cxn ang="0">
                    <a:pos x="290" y="3112"/>
                  </a:cxn>
                  <a:cxn ang="0">
                    <a:pos x="254" y="3122"/>
                  </a:cxn>
                  <a:cxn ang="0">
                    <a:pos x="244" y="3216"/>
                  </a:cxn>
                  <a:cxn ang="0">
                    <a:pos x="246" y="3146"/>
                  </a:cxn>
                  <a:cxn ang="0">
                    <a:pos x="232" y="3160"/>
                  </a:cxn>
                  <a:cxn ang="0">
                    <a:pos x="290" y="3286"/>
                  </a:cxn>
                  <a:cxn ang="0">
                    <a:pos x="242" y="3148"/>
                  </a:cxn>
                  <a:cxn ang="0">
                    <a:pos x="292" y="2914"/>
                  </a:cxn>
                  <a:cxn ang="0">
                    <a:pos x="304" y="2900"/>
                  </a:cxn>
                  <a:cxn ang="0">
                    <a:pos x="262" y="2968"/>
                  </a:cxn>
                  <a:cxn ang="0">
                    <a:pos x="550" y="3520"/>
                  </a:cxn>
                  <a:cxn ang="0">
                    <a:pos x="480" y="3536"/>
                  </a:cxn>
                  <a:cxn ang="0">
                    <a:pos x="448" y="3508"/>
                  </a:cxn>
                  <a:cxn ang="0">
                    <a:pos x="510" y="3502"/>
                  </a:cxn>
                  <a:cxn ang="0">
                    <a:pos x="438" y="3512"/>
                  </a:cxn>
                  <a:cxn ang="0">
                    <a:pos x="268" y="3370"/>
                  </a:cxn>
                  <a:cxn ang="0">
                    <a:pos x="284" y="3406"/>
                  </a:cxn>
                  <a:cxn ang="0">
                    <a:pos x="248" y="3292"/>
                  </a:cxn>
                  <a:cxn ang="0">
                    <a:pos x="390" y="3462"/>
                  </a:cxn>
                  <a:cxn ang="0">
                    <a:pos x="338" y="3418"/>
                  </a:cxn>
                  <a:cxn ang="0">
                    <a:pos x="354" y="3448"/>
                  </a:cxn>
                  <a:cxn ang="0">
                    <a:pos x="474" y="3462"/>
                  </a:cxn>
                  <a:cxn ang="0">
                    <a:pos x="374" y="3476"/>
                  </a:cxn>
                  <a:cxn ang="0">
                    <a:pos x="504" y="3502"/>
                  </a:cxn>
                  <a:cxn ang="0">
                    <a:pos x="290" y="2738"/>
                  </a:cxn>
                  <a:cxn ang="0">
                    <a:pos x="262" y="2838"/>
                  </a:cxn>
                  <a:cxn ang="0">
                    <a:pos x="296" y="2846"/>
                  </a:cxn>
                  <a:cxn ang="0">
                    <a:pos x="278" y="2958"/>
                  </a:cxn>
                  <a:cxn ang="0">
                    <a:pos x="1480" y="698"/>
                  </a:cxn>
                  <a:cxn ang="0">
                    <a:pos x="1210" y="636"/>
                  </a:cxn>
                  <a:cxn ang="0">
                    <a:pos x="1200" y="392"/>
                  </a:cxn>
                  <a:cxn ang="0">
                    <a:pos x="964" y="300"/>
                  </a:cxn>
                  <a:cxn ang="0">
                    <a:pos x="748" y="94"/>
                  </a:cxn>
                  <a:cxn ang="0">
                    <a:pos x="444" y="34"/>
                  </a:cxn>
                  <a:cxn ang="0">
                    <a:pos x="248" y="72"/>
                  </a:cxn>
                  <a:cxn ang="0">
                    <a:pos x="144" y="472"/>
                  </a:cxn>
                  <a:cxn ang="0">
                    <a:pos x="56" y="726"/>
                  </a:cxn>
                  <a:cxn ang="0">
                    <a:pos x="172" y="1210"/>
                  </a:cxn>
                  <a:cxn ang="0">
                    <a:pos x="434" y="1746"/>
                  </a:cxn>
                  <a:cxn ang="0">
                    <a:pos x="398" y="2236"/>
                  </a:cxn>
                  <a:cxn ang="0">
                    <a:pos x="310" y="2626"/>
                  </a:cxn>
                  <a:cxn ang="0">
                    <a:pos x="330" y="2830"/>
                  </a:cxn>
                  <a:cxn ang="0">
                    <a:pos x="270" y="2964"/>
                  </a:cxn>
                  <a:cxn ang="0">
                    <a:pos x="268" y="3066"/>
                  </a:cxn>
                  <a:cxn ang="0">
                    <a:pos x="278" y="3168"/>
                  </a:cxn>
                  <a:cxn ang="0">
                    <a:pos x="292" y="3234"/>
                  </a:cxn>
                  <a:cxn ang="0">
                    <a:pos x="310" y="3308"/>
                  </a:cxn>
                  <a:cxn ang="0">
                    <a:pos x="306" y="3328"/>
                  </a:cxn>
                  <a:cxn ang="0">
                    <a:pos x="368" y="3356"/>
                  </a:cxn>
                  <a:cxn ang="0">
                    <a:pos x="402" y="3372"/>
                  </a:cxn>
                  <a:cxn ang="0">
                    <a:pos x="496" y="3342"/>
                  </a:cxn>
                  <a:cxn ang="0">
                    <a:pos x="550" y="2976"/>
                  </a:cxn>
                  <a:cxn ang="0">
                    <a:pos x="714" y="2778"/>
                  </a:cxn>
                  <a:cxn ang="0">
                    <a:pos x="774" y="2576"/>
                  </a:cxn>
                  <a:cxn ang="0">
                    <a:pos x="992" y="2348"/>
                  </a:cxn>
                  <a:cxn ang="0">
                    <a:pos x="1364" y="1824"/>
                  </a:cxn>
                  <a:cxn ang="0">
                    <a:pos x="1702" y="1418"/>
                  </a:cxn>
                  <a:cxn ang="0">
                    <a:pos x="672" y="3500"/>
                  </a:cxn>
                  <a:cxn ang="0">
                    <a:pos x="290" y="3036"/>
                  </a:cxn>
                  <a:cxn ang="0">
                    <a:pos x="252" y="3140"/>
                  </a:cxn>
                  <a:cxn ang="0">
                    <a:pos x="276" y="3192"/>
                  </a:cxn>
                </a:cxnLst>
                <a:rect l="0" t="0" r="r" b="b"/>
                <a:pathLst>
                  <a:path w="1874" h="3562">
                    <a:moveTo>
                      <a:pt x="282" y="3320"/>
                    </a:moveTo>
                    <a:lnTo>
                      <a:pt x="282" y="3320"/>
                    </a:lnTo>
                    <a:lnTo>
                      <a:pt x="286" y="3322"/>
                    </a:lnTo>
                    <a:lnTo>
                      <a:pt x="286" y="3320"/>
                    </a:lnTo>
                    <a:lnTo>
                      <a:pt x="284" y="3316"/>
                    </a:lnTo>
                    <a:lnTo>
                      <a:pt x="282" y="3312"/>
                    </a:lnTo>
                    <a:lnTo>
                      <a:pt x="282" y="3312"/>
                    </a:lnTo>
                    <a:lnTo>
                      <a:pt x="278" y="3308"/>
                    </a:lnTo>
                    <a:lnTo>
                      <a:pt x="274" y="3308"/>
                    </a:lnTo>
                    <a:lnTo>
                      <a:pt x="274" y="3308"/>
                    </a:lnTo>
                    <a:lnTo>
                      <a:pt x="274" y="3310"/>
                    </a:lnTo>
                    <a:lnTo>
                      <a:pt x="274" y="3310"/>
                    </a:lnTo>
                    <a:lnTo>
                      <a:pt x="276" y="3314"/>
                    </a:lnTo>
                    <a:lnTo>
                      <a:pt x="276" y="3316"/>
                    </a:lnTo>
                    <a:lnTo>
                      <a:pt x="276" y="3316"/>
                    </a:lnTo>
                    <a:lnTo>
                      <a:pt x="282" y="3320"/>
                    </a:lnTo>
                    <a:lnTo>
                      <a:pt x="282" y="3320"/>
                    </a:lnTo>
                    <a:close/>
                    <a:moveTo>
                      <a:pt x="286" y="3348"/>
                    </a:moveTo>
                    <a:lnTo>
                      <a:pt x="286" y="3348"/>
                    </a:lnTo>
                    <a:lnTo>
                      <a:pt x="288" y="3348"/>
                    </a:lnTo>
                    <a:lnTo>
                      <a:pt x="290" y="3348"/>
                    </a:lnTo>
                    <a:lnTo>
                      <a:pt x="296" y="3344"/>
                    </a:lnTo>
                    <a:lnTo>
                      <a:pt x="296" y="3344"/>
                    </a:lnTo>
                    <a:lnTo>
                      <a:pt x="296" y="3344"/>
                    </a:lnTo>
                    <a:lnTo>
                      <a:pt x="294" y="3340"/>
                    </a:lnTo>
                    <a:lnTo>
                      <a:pt x="286" y="3334"/>
                    </a:lnTo>
                    <a:lnTo>
                      <a:pt x="286" y="3334"/>
                    </a:lnTo>
                    <a:lnTo>
                      <a:pt x="282" y="3330"/>
                    </a:lnTo>
                    <a:lnTo>
                      <a:pt x="278" y="3330"/>
                    </a:lnTo>
                    <a:lnTo>
                      <a:pt x="276" y="3332"/>
                    </a:lnTo>
                    <a:lnTo>
                      <a:pt x="278" y="3334"/>
                    </a:lnTo>
                    <a:lnTo>
                      <a:pt x="278" y="3334"/>
                    </a:lnTo>
                    <a:lnTo>
                      <a:pt x="278" y="3336"/>
                    </a:lnTo>
                    <a:lnTo>
                      <a:pt x="280" y="3336"/>
                    </a:lnTo>
                    <a:lnTo>
                      <a:pt x="282" y="3336"/>
                    </a:lnTo>
                    <a:lnTo>
                      <a:pt x="284" y="3336"/>
                    </a:lnTo>
                    <a:lnTo>
                      <a:pt x="284" y="3336"/>
                    </a:lnTo>
                    <a:lnTo>
                      <a:pt x="284" y="3338"/>
                    </a:lnTo>
                    <a:lnTo>
                      <a:pt x="284" y="3340"/>
                    </a:lnTo>
                    <a:lnTo>
                      <a:pt x="284" y="3342"/>
                    </a:lnTo>
                    <a:lnTo>
                      <a:pt x="286" y="3348"/>
                    </a:lnTo>
                    <a:lnTo>
                      <a:pt x="286" y="3348"/>
                    </a:lnTo>
                    <a:close/>
                    <a:moveTo>
                      <a:pt x="270" y="3286"/>
                    </a:moveTo>
                    <a:lnTo>
                      <a:pt x="270" y="3286"/>
                    </a:lnTo>
                    <a:lnTo>
                      <a:pt x="270" y="3280"/>
                    </a:lnTo>
                    <a:lnTo>
                      <a:pt x="268" y="3278"/>
                    </a:lnTo>
                    <a:lnTo>
                      <a:pt x="266" y="3278"/>
                    </a:lnTo>
                    <a:lnTo>
                      <a:pt x="266" y="3278"/>
                    </a:lnTo>
                    <a:lnTo>
                      <a:pt x="262" y="3278"/>
                    </a:lnTo>
                    <a:lnTo>
                      <a:pt x="260" y="3280"/>
                    </a:lnTo>
                    <a:lnTo>
                      <a:pt x="256" y="3286"/>
                    </a:lnTo>
                    <a:lnTo>
                      <a:pt x="256" y="3286"/>
                    </a:lnTo>
                    <a:lnTo>
                      <a:pt x="252" y="3292"/>
                    </a:lnTo>
                    <a:lnTo>
                      <a:pt x="254" y="3292"/>
                    </a:lnTo>
                    <a:lnTo>
                      <a:pt x="258" y="3292"/>
                    </a:lnTo>
                    <a:lnTo>
                      <a:pt x="258" y="3292"/>
                    </a:lnTo>
                    <a:lnTo>
                      <a:pt x="262" y="3290"/>
                    </a:lnTo>
                    <a:lnTo>
                      <a:pt x="262" y="3288"/>
                    </a:lnTo>
                    <a:lnTo>
                      <a:pt x="264" y="3286"/>
                    </a:lnTo>
                    <a:lnTo>
                      <a:pt x="266" y="3286"/>
                    </a:lnTo>
                    <a:lnTo>
                      <a:pt x="266" y="3286"/>
                    </a:lnTo>
                    <a:lnTo>
                      <a:pt x="266" y="3288"/>
                    </a:lnTo>
                    <a:lnTo>
                      <a:pt x="268" y="3290"/>
                    </a:lnTo>
                    <a:lnTo>
                      <a:pt x="270" y="3288"/>
                    </a:lnTo>
                    <a:lnTo>
                      <a:pt x="270" y="3286"/>
                    </a:lnTo>
                    <a:lnTo>
                      <a:pt x="270" y="3286"/>
                    </a:lnTo>
                    <a:close/>
                    <a:moveTo>
                      <a:pt x="262" y="3260"/>
                    </a:moveTo>
                    <a:lnTo>
                      <a:pt x="262" y="3260"/>
                    </a:lnTo>
                    <a:lnTo>
                      <a:pt x="256" y="3260"/>
                    </a:lnTo>
                    <a:lnTo>
                      <a:pt x="254" y="3260"/>
                    </a:lnTo>
                    <a:lnTo>
                      <a:pt x="254" y="3262"/>
                    </a:lnTo>
                    <a:lnTo>
                      <a:pt x="256" y="3264"/>
                    </a:lnTo>
                    <a:lnTo>
                      <a:pt x="256" y="3264"/>
                    </a:lnTo>
                    <a:lnTo>
                      <a:pt x="258" y="3266"/>
                    </a:lnTo>
                    <a:lnTo>
                      <a:pt x="258" y="3266"/>
                    </a:lnTo>
                    <a:lnTo>
                      <a:pt x="260" y="3270"/>
                    </a:lnTo>
                    <a:lnTo>
                      <a:pt x="264" y="3272"/>
                    </a:lnTo>
                    <a:lnTo>
                      <a:pt x="264" y="3272"/>
                    </a:lnTo>
                    <a:lnTo>
                      <a:pt x="266" y="3270"/>
                    </a:lnTo>
                    <a:lnTo>
                      <a:pt x="268" y="3268"/>
                    </a:lnTo>
                    <a:lnTo>
                      <a:pt x="270" y="3266"/>
                    </a:lnTo>
                    <a:lnTo>
                      <a:pt x="274" y="3266"/>
                    </a:lnTo>
                    <a:lnTo>
                      <a:pt x="274" y="3266"/>
                    </a:lnTo>
                    <a:lnTo>
                      <a:pt x="276" y="3266"/>
                    </a:lnTo>
                    <a:lnTo>
                      <a:pt x="276" y="3266"/>
                    </a:lnTo>
                    <a:lnTo>
                      <a:pt x="276" y="3258"/>
                    </a:lnTo>
                    <a:lnTo>
                      <a:pt x="276" y="3258"/>
                    </a:lnTo>
                    <a:lnTo>
                      <a:pt x="274" y="3254"/>
                    </a:lnTo>
                    <a:lnTo>
                      <a:pt x="270" y="3250"/>
                    </a:lnTo>
                    <a:lnTo>
                      <a:pt x="268" y="3250"/>
                    </a:lnTo>
                    <a:lnTo>
                      <a:pt x="266" y="3252"/>
                    </a:lnTo>
                    <a:lnTo>
                      <a:pt x="266" y="3252"/>
                    </a:lnTo>
                    <a:lnTo>
                      <a:pt x="268" y="3258"/>
                    </a:lnTo>
                    <a:lnTo>
                      <a:pt x="266" y="3260"/>
                    </a:lnTo>
                    <a:lnTo>
                      <a:pt x="262" y="3260"/>
                    </a:lnTo>
                    <a:lnTo>
                      <a:pt x="262" y="3260"/>
                    </a:lnTo>
                    <a:close/>
                    <a:moveTo>
                      <a:pt x="236" y="3110"/>
                    </a:moveTo>
                    <a:lnTo>
                      <a:pt x="236" y="3110"/>
                    </a:lnTo>
                    <a:lnTo>
                      <a:pt x="238" y="3110"/>
                    </a:lnTo>
                    <a:lnTo>
                      <a:pt x="240" y="3112"/>
                    </a:lnTo>
                    <a:lnTo>
                      <a:pt x="240" y="3118"/>
                    </a:lnTo>
                    <a:lnTo>
                      <a:pt x="240" y="3118"/>
                    </a:lnTo>
                    <a:lnTo>
                      <a:pt x="240" y="3126"/>
                    </a:lnTo>
                    <a:lnTo>
                      <a:pt x="242" y="3128"/>
                    </a:lnTo>
                    <a:lnTo>
                      <a:pt x="244" y="3128"/>
                    </a:lnTo>
                    <a:lnTo>
                      <a:pt x="244" y="3128"/>
                    </a:lnTo>
                    <a:lnTo>
                      <a:pt x="248" y="3124"/>
                    </a:lnTo>
                    <a:lnTo>
                      <a:pt x="250" y="3120"/>
                    </a:lnTo>
                    <a:lnTo>
                      <a:pt x="250" y="3120"/>
                    </a:lnTo>
                    <a:lnTo>
                      <a:pt x="244" y="3108"/>
                    </a:lnTo>
                    <a:lnTo>
                      <a:pt x="240" y="3102"/>
                    </a:lnTo>
                    <a:lnTo>
                      <a:pt x="240" y="3096"/>
                    </a:lnTo>
                    <a:lnTo>
                      <a:pt x="240" y="3096"/>
                    </a:lnTo>
                    <a:lnTo>
                      <a:pt x="238" y="3090"/>
                    </a:lnTo>
                    <a:lnTo>
                      <a:pt x="236" y="3088"/>
                    </a:lnTo>
                    <a:lnTo>
                      <a:pt x="232" y="3090"/>
                    </a:lnTo>
                    <a:lnTo>
                      <a:pt x="232" y="3090"/>
                    </a:lnTo>
                    <a:lnTo>
                      <a:pt x="230" y="3094"/>
                    </a:lnTo>
                    <a:lnTo>
                      <a:pt x="230" y="3098"/>
                    </a:lnTo>
                    <a:lnTo>
                      <a:pt x="232" y="3100"/>
                    </a:lnTo>
                    <a:lnTo>
                      <a:pt x="232" y="3104"/>
                    </a:lnTo>
                    <a:lnTo>
                      <a:pt x="232" y="3104"/>
                    </a:lnTo>
                    <a:lnTo>
                      <a:pt x="230" y="3108"/>
                    </a:lnTo>
                    <a:lnTo>
                      <a:pt x="230" y="3110"/>
                    </a:lnTo>
                    <a:lnTo>
                      <a:pt x="232" y="3110"/>
                    </a:lnTo>
                    <a:lnTo>
                      <a:pt x="236" y="3110"/>
                    </a:lnTo>
                    <a:lnTo>
                      <a:pt x="236" y="3110"/>
                    </a:lnTo>
                    <a:close/>
                    <a:moveTo>
                      <a:pt x="284" y="3278"/>
                    </a:moveTo>
                    <a:lnTo>
                      <a:pt x="284" y="3278"/>
                    </a:lnTo>
                    <a:lnTo>
                      <a:pt x="284" y="3276"/>
                    </a:lnTo>
                    <a:lnTo>
                      <a:pt x="284" y="3270"/>
                    </a:lnTo>
                    <a:lnTo>
                      <a:pt x="282" y="3264"/>
                    </a:lnTo>
                    <a:lnTo>
                      <a:pt x="280" y="3260"/>
                    </a:lnTo>
                    <a:lnTo>
                      <a:pt x="280" y="3260"/>
                    </a:lnTo>
                    <a:lnTo>
                      <a:pt x="278" y="3264"/>
                    </a:lnTo>
                    <a:lnTo>
                      <a:pt x="278" y="3270"/>
                    </a:lnTo>
                    <a:lnTo>
                      <a:pt x="280" y="3276"/>
                    </a:lnTo>
                    <a:lnTo>
                      <a:pt x="282" y="3278"/>
                    </a:lnTo>
                    <a:lnTo>
                      <a:pt x="284" y="3278"/>
                    </a:lnTo>
                    <a:lnTo>
                      <a:pt x="284" y="3278"/>
                    </a:lnTo>
                    <a:close/>
                    <a:moveTo>
                      <a:pt x="304" y="3362"/>
                    </a:moveTo>
                    <a:lnTo>
                      <a:pt x="304" y="3362"/>
                    </a:lnTo>
                    <a:lnTo>
                      <a:pt x="304" y="3358"/>
                    </a:lnTo>
                    <a:lnTo>
                      <a:pt x="304" y="3356"/>
                    </a:lnTo>
                    <a:lnTo>
                      <a:pt x="306" y="3354"/>
                    </a:lnTo>
                    <a:lnTo>
                      <a:pt x="304" y="3352"/>
                    </a:lnTo>
                    <a:lnTo>
                      <a:pt x="304" y="3352"/>
                    </a:lnTo>
                    <a:lnTo>
                      <a:pt x="302" y="3350"/>
                    </a:lnTo>
                    <a:lnTo>
                      <a:pt x="300" y="3350"/>
                    </a:lnTo>
                    <a:lnTo>
                      <a:pt x="294" y="3356"/>
                    </a:lnTo>
                    <a:lnTo>
                      <a:pt x="294" y="3356"/>
                    </a:lnTo>
                    <a:lnTo>
                      <a:pt x="292" y="3360"/>
                    </a:lnTo>
                    <a:lnTo>
                      <a:pt x="292" y="3362"/>
                    </a:lnTo>
                    <a:lnTo>
                      <a:pt x="296" y="3368"/>
                    </a:lnTo>
                    <a:lnTo>
                      <a:pt x="296" y="3368"/>
                    </a:lnTo>
                    <a:lnTo>
                      <a:pt x="298" y="3368"/>
                    </a:lnTo>
                    <a:lnTo>
                      <a:pt x="300" y="3368"/>
                    </a:lnTo>
                    <a:lnTo>
                      <a:pt x="302" y="3366"/>
                    </a:lnTo>
                    <a:lnTo>
                      <a:pt x="304" y="3362"/>
                    </a:lnTo>
                    <a:lnTo>
                      <a:pt x="304" y="3362"/>
                    </a:lnTo>
                    <a:close/>
                    <a:moveTo>
                      <a:pt x="262" y="3320"/>
                    </a:moveTo>
                    <a:lnTo>
                      <a:pt x="262" y="3320"/>
                    </a:lnTo>
                    <a:lnTo>
                      <a:pt x="260" y="3330"/>
                    </a:lnTo>
                    <a:lnTo>
                      <a:pt x="258" y="3332"/>
                    </a:lnTo>
                    <a:lnTo>
                      <a:pt x="260" y="3330"/>
                    </a:lnTo>
                    <a:lnTo>
                      <a:pt x="260" y="3330"/>
                    </a:lnTo>
                    <a:lnTo>
                      <a:pt x="264" y="3328"/>
                    </a:lnTo>
                    <a:lnTo>
                      <a:pt x="268" y="3320"/>
                    </a:lnTo>
                    <a:lnTo>
                      <a:pt x="268" y="3320"/>
                    </a:lnTo>
                    <a:lnTo>
                      <a:pt x="268" y="3316"/>
                    </a:lnTo>
                    <a:lnTo>
                      <a:pt x="266" y="3314"/>
                    </a:lnTo>
                    <a:lnTo>
                      <a:pt x="264" y="3314"/>
                    </a:lnTo>
                    <a:lnTo>
                      <a:pt x="262" y="3320"/>
                    </a:lnTo>
                    <a:lnTo>
                      <a:pt x="262" y="3320"/>
                    </a:lnTo>
                    <a:close/>
                    <a:moveTo>
                      <a:pt x="276" y="3112"/>
                    </a:moveTo>
                    <a:lnTo>
                      <a:pt x="276" y="3112"/>
                    </a:lnTo>
                    <a:lnTo>
                      <a:pt x="286" y="3114"/>
                    </a:lnTo>
                    <a:lnTo>
                      <a:pt x="288" y="3114"/>
                    </a:lnTo>
                    <a:lnTo>
                      <a:pt x="290" y="3112"/>
                    </a:lnTo>
                    <a:lnTo>
                      <a:pt x="290" y="3112"/>
                    </a:lnTo>
                    <a:lnTo>
                      <a:pt x="284" y="3110"/>
                    </a:lnTo>
                    <a:lnTo>
                      <a:pt x="276" y="3102"/>
                    </a:lnTo>
                    <a:lnTo>
                      <a:pt x="276" y="3102"/>
                    </a:lnTo>
                    <a:lnTo>
                      <a:pt x="270" y="3096"/>
                    </a:lnTo>
                    <a:lnTo>
                      <a:pt x="270" y="3098"/>
                    </a:lnTo>
                    <a:lnTo>
                      <a:pt x="270" y="3102"/>
                    </a:lnTo>
                    <a:lnTo>
                      <a:pt x="270" y="3102"/>
                    </a:lnTo>
                    <a:lnTo>
                      <a:pt x="272" y="3108"/>
                    </a:lnTo>
                    <a:lnTo>
                      <a:pt x="276" y="3112"/>
                    </a:lnTo>
                    <a:lnTo>
                      <a:pt x="276" y="3112"/>
                    </a:lnTo>
                    <a:close/>
                    <a:moveTo>
                      <a:pt x="274" y="3270"/>
                    </a:moveTo>
                    <a:lnTo>
                      <a:pt x="274" y="3270"/>
                    </a:lnTo>
                    <a:lnTo>
                      <a:pt x="272" y="3270"/>
                    </a:lnTo>
                    <a:lnTo>
                      <a:pt x="270" y="3272"/>
                    </a:lnTo>
                    <a:lnTo>
                      <a:pt x="270" y="3274"/>
                    </a:lnTo>
                    <a:lnTo>
                      <a:pt x="272" y="3276"/>
                    </a:lnTo>
                    <a:lnTo>
                      <a:pt x="272" y="3276"/>
                    </a:lnTo>
                    <a:lnTo>
                      <a:pt x="274" y="3278"/>
                    </a:lnTo>
                    <a:lnTo>
                      <a:pt x="276" y="3276"/>
                    </a:lnTo>
                    <a:lnTo>
                      <a:pt x="276" y="3272"/>
                    </a:lnTo>
                    <a:lnTo>
                      <a:pt x="274" y="3270"/>
                    </a:lnTo>
                    <a:lnTo>
                      <a:pt x="274" y="3270"/>
                    </a:lnTo>
                    <a:close/>
                    <a:moveTo>
                      <a:pt x="246" y="3090"/>
                    </a:moveTo>
                    <a:lnTo>
                      <a:pt x="246" y="3090"/>
                    </a:lnTo>
                    <a:lnTo>
                      <a:pt x="250" y="3090"/>
                    </a:lnTo>
                    <a:lnTo>
                      <a:pt x="252" y="3090"/>
                    </a:lnTo>
                    <a:lnTo>
                      <a:pt x="254" y="3092"/>
                    </a:lnTo>
                    <a:lnTo>
                      <a:pt x="258" y="3092"/>
                    </a:lnTo>
                    <a:lnTo>
                      <a:pt x="258" y="3092"/>
                    </a:lnTo>
                    <a:lnTo>
                      <a:pt x="260" y="3090"/>
                    </a:lnTo>
                    <a:lnTo>
                      <a:pt x="260" y="3084"/>
                    </a:lnTo>
                    <a:lnTo>
                      <a:pt x="260" y="3080"/>
                    </a:lnTo>
                    <a:lnTo>
                      <a:pt x="260" y="3076"/>
                    </a:lnTo>
                    <a:lnTo>
                      <a:pt x="260" y="3076"/>
                    </a:lnTo>
                    <a:lnTo>
                      <a:pt x="258" y="3078"/>
                    </a:lnTo>
                    <a:lnTo>
                      <a:pt x="256" y="3080"/>
                    </a:lnTo>
                    <a:lnTo>
                      <a:pt x="252" y="3084"/>
                    </a:lnTo>
                    <a:lnTo>
                      <a:pt x="248" y="3086"/>
                    </a:lnTo>
                    <a:lnTo>
                      <a:pt x="248" y="3086"/>
                    </a:lnTo>
                    <a:lnTo>
                      <a:pt x="244" y="3086"/>
                    </a:lnTo>
                    <a:lnTo>
                      <a:pt x="242" y="3088"/>
                    </a:lnTo>
                    <a:lnTo>
                      <a:pt x="242" y="3090"/>
                    </a:lnTo>
                    <a:lnTo>
                      <a:pt x="246" y="3090"/>
                    </a:lnTo>
                    <a:lnTo>
                      <a:pt x="246" y="3090"/>
                    </a:lnTo>
                    <a:close/>
                    <a:moveTo>
                      <a:pt x="248" y="3074"/>
                    </a:moveTo>
                    <a:lnTo>
                      <a:pt x="248" y="3074"/>
                    </a:lnTo>
                    <a:lnTo>
                      <a:pt x="246" y="3072"/>
                    </a:lnTo>
                    <a:lnTo>
                      <a:pt x="244" y="3072"/>
                    </a:lnTo>
                    <a:lnTo>
                      <a:pt x="242" y="3074"/>
                    </a:lnTo>
                    <a:lnTo>
                      <a:pt x="244" y="3078"/>
                    </a:lnTo>
                    <a:lnTo>
                      <a:pt x="244" y="3078"/>
                    </a:lnTo>
                    <a:lnTo>
                      <a:pt x="246" y="3080"/>
                    </a:lnTo>
                    <a:lnTo>
                      <a:pt x="248" y="3078"/>
                    </a:lnTo>
                    <a:lnTo>
                      <a:pt x="250" y="3076"/>
                    </a:lnTo>
                    <a:lnTo>
                      <a:pt x="248" y="3074"/>
                    </a:lnTo>
                    <a:lnTo>
                      <a:pt x="248" y="3074"/>
                    </a:lnTo>
                    <a:close/>
                    <a:moveTo>
                      <a:pt x="252" y="3118"/>
                    </a:moveTo>
                    <a:lnTo>
                      <a:pt x="252" y="3118"/>
                    </a:lnTo>
                    <a:lnTo>
                      <a:pt x="252" y="3120"/>
                    </a:lnTo>
                    <a:lnTo>
                      <a:pt x="254" y="3122"/>
                    </a:lnTo>
                    <a:lnTo>
                      <a:pt x="266" y="3128"/>
                    </a:lnTo>
                    <a:lnTo>
                      <a:pt x="266" y="3128"/>
                    </a:lnTo>
                    <a:lnTo>
                      <a:pt x="272" y="3128"/>
                    </a:lnTo>
                    <a:lnTo>
                      <a:pt x="274" y="3124"/>
                    </a:lnTo>
                    <a:lnTo>
                      <a:pt x="274" y="3124"/>
                    </a:lnTo>
                    <a:lnTo>
                      <a:pt x="274" y="3124"/>
                    </a:lnTo>
                    <a:lnTo>
                      <a:pt x="274" y="3124"/>
                    </a:lnTo>
                    <a:lnTo>
                      <a:pt x="272" y="3124"/>
                    </a:lnTo>
                    <a:lnTo>
                      <a:pt x="270" y="3122"/>
                    </a:lnTo>
                    <a:lnTo>
                      <a:pt x="270" y="3122"/>
                    </a:lnTo>
                    <a:lnTo>
                      <a:pt x="268" y="3118"/>
                    </a:lnTo>
                    <a:lnTo>
                      <a:pt x="270" y="3116"/>
                    </a:lnTo>
                    <a:lnTo>
                      <a:pt x="270" y="3114"/>
                    </a:lnTo>
                    <a:lnTo>
                      <a:pt x="270" y="3108"/>
                    </a:lnTo>
                    <a:lnTo>
                      <a:pt x="270" y="3108"/>
                    </a:lnTo>
                    <a:lnTo>
                      <a:pt x="266" y="3100"/>
                    </a:lnTo>
                    <a:lnTo>
                      <a:pt x="264" y="3098"/>
                    </a:lnTo>
                    <a:lnTo>
                      <a:pt x="262" y="3102"/>
                    </a:lnTo>
                    <a:lnTo>
                      <a:pt x="262" y="3102"/>
                    </a:lnTo>
                    <a:lnTo>
                      <a:pt x="262" y="3106"/>
                    </a:lnTo>
                    <a:lnTo>
                      <a:pt x="262" y="3108"/>
                    </a:lnTo>
                    <a:lnTo>
                      <a:pt x="262" y="3114"/>
                    </a:lnTo>
                    <a:lnTo>
                      <a:pt x="262" y="3114"/>
                    </a:lnTo>
                    <a:lnTo>
                      <a:pt x="262" y="3116"/>
                    </a:lnTo>
                    <a:lnTo>
                      <a:pt x="260" y="3114"/>
                    </a:lnTo>
                    <a:lnTo>
                      <a:pt x="258" y="3114"/>
                    </a:lnTo>
                    <a:lnTo>
                      <a:pt x="252" y="3118"/>
                    </a:lnTo>
                    <a:lnTo>
                      <a:pt x="252" y="3118"/>
                    </a:lnTo>
                    <a:close/>
                    <a:moveTo>
                      <a:pt x="246" y="3228"/>
                    </a:moveTo>
                    <a:lnTo>
                      <a:pt x="246" y="3228"/>
                    </a:lnTo>
                    <a:lnTo>
                      <a:pt x="248" y="3228"/>
                    </a:lnTo>
                    <a:lnTo>
                      <a:pt x="250" y="3228"/>
                    </a:lnTo>
                    <a:lnTo>
                      <a:pt x="252" y="3228"/>
                    </a:lnTo>
                    <a:lnTo>
                      <a:pt x="254" y="3228"/>
                    </a:lnTo>
                    <a:lnTo>
                      <a:pt x="254" y="3228"/>
                    </a:lnTo>
                    <a:lnTo>
                      <a:pt x="256" y="3224"/>
                    </a:lnTo>
                    <a:lnTo>
                      <a:pt x="256" y="3222"/>
                    </a:lnTo>
                    <a:lnTo>
                      <a:pt x="256" y="3222"/>
                    </a:lnTo>
                    <a:lnTo>
                      <a:pt x="258" y="3218"/>
                    </a:lnTo>
                    <a:lnTo>
                      <a:pt x="258" y="3218"/>
                    </a:lnTo>
                    <a:lnTo>
                      <a:pt x="262" y="3216"/>
                    </a:lnTo>
                    <a:lnTo>
                      <a:pt x="262" y="3214"/>
                    </a:lnTo>
                    <a:lnTo>
                      <a:pt x="260" y="3214"/>
                    </a:lnTo>
                    <a:lnTo>
                      <a:pt x="256" y="3216"/>
                    </a:lnTo>
                    <a:lnTo>
                      <a:pt x="256" y="3216"/>
                    </a:lnTo>
                    <a:lnTo>
                      <a:pt x="254" y="3216"/>
                    </a:lnTo>
                    <a:lnTo>
                      <a:pt x="254" y="3214"/>
                    </a:lnTo>
                    <a:lnTo>
                      <a:pt x="254" y="3212"/>
                    </a:lnTo>
                    <a:lnTo>
                      <a:pt x="252" y="3212"/>
                    </a:lnTo>
                    <a:lnTo>
                      <a:pt x="252" y="3212"/>
                    </a:lnTo>
                    <a:lnTo>
                      <a:pt x="248" y="3210"/>
                    </a:lnTo>
                    <a:lnTo>
                      <a:pt x="246" y="3210"/>
                    </a:lnTo>
                    <a:lnTo>
                      <a:pt x="242" y="3208"/>
                    </a:lnTo>
                    <a:lnTo>
                      <a:pt x="238" y="3208"/>
                    </a:lnTo>
                    <a:lnTo>
                      <a:pt x="238" y="3208"/>
                    </a:lnTo>
                    <a:lnTo>
                      <a:pt x="236" y="3208"/>
                    </a:lnTo>
                    <a:lnTo>
                      <a:pt x="236" y="3210"/>
                    </a:lnTo>
                    <a:lnTo>
                      <a:pt x="240" y="3212"/>
                    </a:lnTo>
                    <a:lnTo>
                      <a:pt x="244" y="3216"/>
                    </a:lnTo>
                    <a:lnTo>
                      <a:pt x="244" y="3216"/>
                    </a:lnTo>
                    <a:lnTo>
                      <a:pt x="244" y="3218"/>
                    </a:lnTo>
                    <a:lnTo>
                      <a:pt x="244" y="3218"/>
                    </a:lnTo>
                    <a:lnTo>
                      <a:pt x="242" y="3218"/>
                    </a:lnTo>
                    <a:lnTo>
                      <a:pt x="240" y="3218"/>
                    </a:lnTo>
                    <a:lnTo>
                      <a:pt x="236" y="3218"/>
                    </a:lnTo>
                    <a:lnTo>
                      <a:pt x="232" y="3222"/>
                    </a:lnTo>
                    <a:lnTo>
                      <a:pt x="232" y="3222"/>
                    </a:lnTo>
                    <a:lnTo>
                      <a:pt x="232" y="3224"/>
                    </a:lnTo>
                    <a:lnTo>
                      <a:pt x="234" y="3226"/>
                    </a:lnTo>
                    <a:lnTo>
                      <a:pt x="238" y="3226"/>
                    </a:lnTo>
                    <a:lnTo>
                      <a:pt x="242" y="3226"/>
                    </a:lnTo>
                    <a:lnTo>
                      <a:pt x="242" y="3226"/>
                    </a:lnTo>
                    <a:lnTo>
                      <a:pt x="242" y="3226"/>
                    </a:lnTo>
                    <a:lnTo>
                      <a:pt x="242" y="3226"/>
                    </a:lnTo>
                    <a:lnTo>
                      <a:pt x="240" y="3230"/>
                    </a:lnTo>
                    <a:lnTo>
                      <a:pt x="240" y="3232"/>
                    </a:lnTo>
                    <a:lnTo>
                      <a:pt x="242" y="3232"/>
                    </a:lnTo>
                    <a:lnTo>
                      <a:pt x="246" y="3228"/>
                    </a:lnTo>
                    <a:lnTo>
                      <a:pt x="246" y="3228"/>
                    </a:lnTo>
                    <a:close/>
                    <a:moveTo>
                      <a:pt x="256" y="3248"/>
                    </a:moveTo>
                    <a:lnTo>
                      <a:pt x="256" y="3248"/>
                    </a:lnTo>
                    <a:lnTo>
                      <a:pt x="254" y="3250"/>
                    </a:lnTo>
                    <a:lnTo>
                      <a:pt x="254" y="3252"/>
                    </a:lnTo>
                    <a:lnTo>
                      <a:pt x="258" y="3256"/>
                    </a:lnTo>
                    <a:lnTo>
                      <a:pt x="262" y="3258"/>
                    </a:lnTo>
                    <a:lnTo>
                      <a:pt x="262" y="3258"/>
                    </a:lnTo>
                    <a:lnTo>
                      <a:pt x="264" y="3258"/>
                    </a:lnTo>
                    <a:lnTo>
                      <a:pt x="264" y="3256"/>
                    </a:lnTo>
                    <a:lnTo>
                      <a:pt x="262" y="3252"/>
                    </a:lnTo>
                    <a:lnTo>
                      <a:pt x="260" y="3248"/>
                    </a:lnTo>
                    <a:lnTo>
                      <a:pt x="258" y="3248"/>
                    </a:lnTo>
                    <a:lnTo>
                      <a:pt x="256" y="3248"/>
                    </a:lnTo>
                    <a:lnTo>
                      <a:pt x="256" y="3248"/>
                    </a:lnTo>
                    <a:close/>
                    <a:moveTo>
                      <a:pt x="254" y="3160"/>
                    </a:moveTo>
                    <a:lnTo>
                      <a:pt x="254" y="3160"/>
                    </a:lnTo>
                    <a:lnTo>
                      <a:pt x="254" y="3160"/>
                    </a:lnTo>
                    <a:lnTo>
                      <a:pt x="256" y="3160"/>
                    </a:lnTo>
                    <a:lnTo>
                      <a:pt x="256" y="3154"/>
                    </a:lnTo>
                    <a:lnTo>
                      <a:pt x="256" y="3154"/>
                    </a:lnTo>
                    <a:lnTo>
                      <a:pt x="254" y="3150"/>
                    </a:lnTo>
                    <a:lnTo>
                      <a:pt x="250" y="3150"/>
                    </a:lnTo>
                    <a:lnTo>
                      <a:pt x="246" y="3152"/>
                    </a:lnTo>
                    <a:lnTo>
                      <a:pt x="242" y="3154"/>
                    </a:lnTo>
                    <a:lnTo>
                      <a:pt x="242" y="3154"/>
                    </a:lnTo>
                    <a:lnTo>
                      <a:pt x="242" y="3156"/>
                    </a:lnTo>
                    <a:lnTo>
                      <a:pt x="246" y="3156"/>
                    </a:lnTo>
                    <a:lnTo>
                      <a:pt x="248" y="3158"/>
                    </a:lnTo>
                    <a:lnTo>
                      <a:pt x="254" y="3160"/>
                    </a:lnTo>
                    <a:lnTo>
                      <a:pt x="254" y="3160"/>
                    </a:lnTo>
                    <a:close/>
                    <a:moveTo>
                      <a:pt x="248" y="3146"/>
                    </a:moveTo>
                    <a:lnTo>
                      <a:pt x="248" y="3146"/>
                    </a:lnTo>
                    <a:lnTo>
                      <a:pt x="250" y="3144"/>
                    </a:lnTo>
                    <a:lnTo>
                      <a:pt x="250" y="3142"/>
                    </a:lnTo>
                    <a:lnTo>
                      <a:pt x="244" y="3136"/>
                    </a:lnTo>
                    <a:lnTo>
                      <a:pt x="244" y="3136"/>
                    </a:lnTo>
                    <a:lnTo>
                      <a:pt x="242" y="3136"/>
                    </a:lnTo>
                    <a:lnTo>
                      <a:pt x="242" y="3136"/>
                    </a:lnTo>
                    <a:lnTo>
                      <a:pt x="244" y="3142"/>
                    </a:lnTo>
                    <a:lnTo>
                      <a:pt x="244" y="3142"/>
                    </a:lnTo>
                    <a:lnTo>
                      <a:pt x="246" y="3146"/>
                    </a:lnTo>
                    <a:lnTo>
                      <a:pt x="246" y="3146"/>
                    </a:lnTo>
                    <a:lnTo>
                      <a:pt x="248" y="3146"/>
                    </a:lnTo>
                    <a:lnTo>
                      <a:pt x="248" y="3146"/>
                    </a:lnTo>
                    <a:close/>
                    <a:moveTo>
                      <a:pt x="282" y="3246"/>
                    </a:moveTo>
                    <a:lnTo>
                      <a:pt x="282" y="3246"/>
                    </a:lnTo>
                    <a:lnTo>
                      <a:pt x="280" y="3242"/>
                    </a:lnTo>
                    <a:lnTo>
                      <a:pt x="278" y="3238"/>
                    </a:lnTo>
                    <a:lnTo>
                      <a:pt x="278" y="3236"/>
                    </a:lnTo>
                    <a:lnTo>
                      <a:pt x="276" y="3234"/>
                    </a:lnTo>
                    <a:lnTo>
                      <a:pt x="276" y="3234"/>
                    </a:lnTo>
                    <a:lnTo>
                      <a:pt x="272" y="3232"/>
                    </a:lnTo>
                    <a:lnTo>
                      <a:pt x="270" y="3232"/>
                    </a:lnTo>
                    <a:lnTo>
                      <a:pt x="270" y="3234"/>
                    </a:lnTo>
                    <a:lnTo>
                      <a:pt x="272" y="3238"/>
                    </a:lnTo>
                    <a:lnTo>
                      <a:pt x="272" y="3238"/>
                    </a:lnTo>
                    <a:lnTo>
                      <a:pt x="274" y="3240"/>
                    </a:lnTo>
                    <a:lnTo>
                      <a:pt x="272" y="3242"/>
                    </a:lnTo>
                    <a:lnTo>
                      <a:pt x="272" y="3244"/>
                    </a:lnTo>
                    <a:lnTo>
                      <a:pt x="276" y="3252"/>
                    </a:lnTo>
                    <a:lnTo>
                      <a:pt x="276" y="3252"/>
                    </a:lnTo>
                    <a:lnTo>
                      <a:pt x="280" y="3256"/>
                    </a:lnTo>
                    <a:lnTo>
                      <a:pt x="284" y="3256"/>
                    </a:lnTo>
                    <a:lnTo>
                      <a:pt x="284" y="3256"/>
                    </a:lnTo>
                    <a:lnTo>
                      <a:pt x="286" y="3254"/>
                    </a:lnTo>
                    <a:lnTo>
                      <a:pt x="286" y="3252"/>
                    </a:lnTo>
                    <a:lnTo>
                      <a:pt x="282" y="3246"/>
                    </a:lnTo>
                    <a:lnTo>
                      <a:pt x="282" y="3246"/>
                    </a:lnTo>
                    <a:close/>
                    <a:moveTo>
                      <a:pt x="234" y="3130"/>
                    </a:moveTo>
                    <a:lnTo>
                      <a:pt x="234" y="3130"/>
                    </a:lnTo>
                    <a:lnTo>
                      <a:pt x="228" y="3130"/>
                    </a:lnTo>
                    <a:lnTo>
                      <a:pt x="226" y="3132"/>
                    </a:lnTo>
                    <a:lnTo>
                      <a:pt x="226" y="3134"/>
                    </a:lnTo>
                    <a:lnTo>
                      <a:pt x="226" y="3134"/>
                    </a:lnTo>
                    <a:lnTo>
                      <a:pt x="228" y="3134"/>
                    </a:lnTo>
                    <a:lnTo>
                      <a:pt x="236" y="3132"/>
                    </a:lnTo>
                    <a:lnTo>
                      <a:pt x="236" y="3132"/>
                    </a:lnTo>
                    <a:lnTo>
                      <a:pt x="240" y="3132"/>
                    </a:lnTo>
                    <a:lnTo>
                      <a:pt x="240" y="3130"/>
                    </a:lnTo>
                    <a:lnTo>
                      <a:pt x="238" y="3128"/>
                    </a:lnTo>
                    <a:lnTo>
                      <a:pt x="234" y="3130"/>
                    </a:lnTo>
                    <a:lnTo>
                      <a:pt x="234" y="3130"/>
                    </a:lnTo>
                    <a:close/>
                    <a:moveTo>
                      <a:pt x="224" y="3120"/>
                    </a:moveTo>
                    <a:lnTo>
                      <a:pt x="224" y="3120"/>
                    </a:lnTo>
                    <a:lnTo>
                      <a:pt x="226" y="3124"/>
                    </a:lnTo>
                    <a:lnTo>
                      <a:pt x="228" y="3126"/>
                    </a:lnTo>
                    <a:lnTo>
                      <a:pt x="230" y="3128"/>
                    </a:lnTo>
                    <a:lnTo>
                      <a:pt x="236" y="3126"/>
                    </a:lnTo>
                    <a:lnTo>
                      <a:pt x="236" y="3126"/>
                    </a:lnTo>
                    <a:lnTo>
                      <a:pt x="238" y="3124"/>
                    </a:lnTo>
                    <a:lnTo>
                      <a:pt x="236" y="3120"/>
                    </a:lnTo>
                    <a:lnTo>
                      <a:pt x="236" y="3116"/>
                    </a:lnTo>
                    <a:lnTo>
                      <a:pt x="234" y="3114"/>
                    </a:lnTo>
                    <a:lnTo>
                      <a:pt x="234" y="3114"/>
                    </a:lnTo>
                    <a:lnTo>
                      <a:pt x="230" y="3116"/>
                    </a:lnTo>
                    <a:lnTo>
                      <a:pt x="228" y="3116"/>
                    </a:lnTo>
                    <a:lnTo>
                      <a:pt x="226" y="3116"/>
                    </a:lnTo>
                    <a:lnTo>
                      <a:pt x="224" y="3120"/>
                    </a:lnTo>
                    <a:lnTo>
                      <a:pt x="224" y="3120"/>
                    </a:lnTo>
                    <a:close/>
                    <a:moveTo>
                      <a:pt x="232" y="3160"/>
                    </a:moveTo>
                    <a:lnTo>
                      <a:pt x="232" y="3160"/>
                    </a:lnTo>
                    <a:lnTo>
                      <a:pt x="234" y="3158"/>
                    </a:lnTo>
                    <a:lnTo>
                      <a:pt x="236" y="3156"/>
                    </a:lnTo>
                    <a:lnTo>
                      <a:pt x="238" y="3154"/>
                    </a:lnTo>
                    <a:lnTo>
                      <a:pt x="238" y="3152"/>
                    </a:lnTo>
                    <a:lnTo>
                      <a:pt x="238" y="3152"/>
                    </a:lnTo>
                    <a:lnTo>
                      <a:pt x="236" y="3148"/>
                    </a:lnTo>
                    <a:lnTo>
                      <a:pt x="236" y="3150"/>
                    </a:lnTo>
                    <a:lnTo>
                      <a:pt x="234" y="3152"/>
                    </a:lnTo>
                    <a:lnTo>
                      <a:pt x="230" y="3154"/>
                    </a:lnTo>
                    <a:lnTo>
                      <a:pt x="230" y="3154"/>
                    </a:lnTo>
                    <a:lnTo>
                      <a:pt x="228" y="3156"/>
                    </a:lnTo>
                    <a:lnTo>
                      <a:pt x="226" y="3158"/>
                    </a:lnTo>
                    <a:lnTo>
                      <a:pt x="226" y="3160"/>
                    </a:lnTo>
                    <a:lnTo>
                      <a:pt x="228" y="3162"/>
                    </a:lnTo>
                    <a:lnTo>
                      <a:pt x="228" y="3162"/>
                    </a:lnTo>
                    <a:lnTo>
                      <a:pt x="232" y="3164"/>
                    </a:lnTo>
                    <a:lnTo>
                      <a:pt x="232" y="3160"/>
                    </a:lnTo>
                    <a:lnTo>
                      <a:pt x="232" y="3160"/>
                    </a:lnTo>
                    <a:close/>
                    <a:moveTo>
                      <a:pt x="290" y="3322"/>
                    </a:moveTo>
                    <a:lnTo>
                      <a:pt x="290" y="3322"/>
                    </a:lnTo>
                    <a:lnTo>
                      <a:pt x="290" y="3324"/>
                    </a:lnTo>
                    <a:lnTo>
                      <a:pt x="292" y="3326"/>
                    </a:lnTo>
                    <a:lnTo>
                      <a:pt x="300" y="3334"/>
                    </a:lnTo>
                    <a:lnTo>
                      <a:pt x="300" y="3334"/>
                    </a:lnTo>
                    <a:lnTo>
                      <a:pt x="304" y="3338"/>
                    </a:lnTo>
                    <a:lnTo>
                      <a:pt x="304" y="3338"/>
                    </a:lnTo>
                    <a:lnTo>
                      <a:pt x="302" y="3332"/>
                    </a:lnTo>
                    <a:lnTo>
                      <a:pt x="302" y="3332"/>
                    </a:lnTo>
                    <a:lnTo>
                      <a:pt x="296" y="3324"/>
                    </a:lnTo>
                    <a:lnTo>
                      <a:pt x="292" y="3322"/>
                    </a:lnTo>
                    <a:lnTo>
                      <a:pt x="292" y="3322"/>
                    </a:lnTo>
                    <a:lnTo>
                      <a:pt x="290" y="3322"/>
                    </a:lnTo>
                    <a:lnTo>
                      <a:pt x="290" y="3322"/>
                    </a:lnTo>
                    <a:close/>
                    <a:moveTo>
                      <a:pt x="246" y="3094"/>
                    </a:moveTo>
                    <a:lnTo>
                      <a:pt x="246" y="3094"/>
                    </a:lnTo>
                    <a:lnTo>
                      <a:pt x="244" y="3094"/>
                    </a:lnTo>
                    <a:lnTo>
                      <a:pt x="242" y="3094"/>
                    </a:lnTo>
                    <a:lnTo>
                      <a:pt x="242" y="3098"/>
                    </a:lnTo>
                    <a:lnTo>
                      <a:pt x="250" y="3112"/>
                    </a:lnTo>
                    <a:lnTo>
                      <a:pt x="250" y="3112"/>
                    </a:lnTo>
                    <a:lnTo>
                      <a:pt x="252" y="3114"/>
                    </a:lnTo>
                    <a:lnTo>
                      <a:pt x="254" y="3112"/>
                    </a:lnTo>
                    <a:lnTo>
                      <a:pt x="256" y="3110"/>
                    </a:lnTo>
                    <a:lnTo>
                      <a:pt x="256" y="3110"/>
                    </a:lnTo>
                    <a:lnTo>
                      <a:pt x="258" y="3110"/>
                    </a:lnTo>
                    <a:lnTo>
                      <a:pt x="258" y="3108"/>
                    </a:lnTo>
                    <a:lnTo>
                      <a:pt x="258" y="3102"/>
                    </a:lnTo>
                    <a:lnTo>
                      <a:pt x="258" y="3102"/>
                    </a:lnTo>
                    <a:lnTo>
                      <a:pt x="258" y="3098"/>
                    </a:lnTo>
                    <a:lnTo>
                      <a:pt x="256" y="3096"/>
                    </a:lnTo>
                    <a:lnTo>
                      <a:pt x="246" y="3094"/>
                    </a:lnTo>
                    <a:lnTo>
                      <a:pt x="246" y="3094"/>
                    </a:lnTo>
                    <a:close/>
                    <a:moveTo>
                      <a:pt x="294" y="3282"/>
                    </a:moveTo>
                    <a:lnTo>
                      <a:pt x="294" y="3282"/>
                    </a:lnTo>
                    <a:lnTo>
                      <a:pt x="294" y="3280"/>
                    </a:lnTo>
                    <a:lnTo>
                      <a:pt x="290" y="3278"/>
                    </a:lnTo>
                    <a:lnTo>
                      <a:pt x="288" y="3280"/>
                    </a:lnTo>
                    <a:lnTo>
                      <a:pt x="288" y="3284"/>
                    </a:lnTo>
                    <a:lnTo>
                      <a:pt x="288" y="3284"/>
                    </a:lnTo>
                    <a:lnTo>
                      <a:pt x="290" y="3286"/>
                    </a:lnTo>
                    <a:lnTo>
                      <a:pt x="292" y="3286"/>
                    </a:lnTo>
                    <a:lnTo>
                      <a:pt x="294" y="3284"/>
                    </a:lnTo>
                    <a:lnTo>
                      <a:pt x="294" y="3282"/>
                    </a:lnTo>
                    <a:lnTo>
                      <a:pt x="294" y="3282"/>
                    </a:lnTo>
                    <a:close/>
                    <a:moveTo>
                      <a:pt x="284" y="3284"/>
                    </a:moveTo>
                    <a:lnTo>
                      <a:pt x="284" y="3284"/>
                    </a:lnTo>
                    <a:lnTo>
                      <a:pt x="282" y="3284"/>
                    </a:lnTo>
                    <a:lnTo>
                      <a:pt x="282" y="3286"/>
                    </a:lnTo>
                    <a:lnTo>
                      <a:pt x="282" y="3288"/>
                    </a:lnTo>
                    <a:lnTo>
                      <a:pt x="286" y="3292"/>
                    </a:lnTo>
                    <a:lnTo>
                      <a:pt x="286" y="3292"/>
                    </a:lnTo>
                    <a:lnTo>
                      <a:pt x="286" y="3292"/>
                    </a:lnTo>
                    <a:lnTo>
                      <a:pt x="286" y="3288"/>
                    </a:lnTo>
                    <a:lnTo>
                      <a:pt x="286" y="3286"/>
                    </a:lnTo>
                    <a:lnTo>
                      <a:pt x="284" y="3284"/>
                    </a:lnTo>
                    <a:lnTo>
                      <a:pt x="284" y="3284"/>
                    </a:lnTo>
                    <a:close/>
                    <a:moveTo>
                      <a:pt x="294" y="3312"/>
                    </a:moveTo>
                    <a:lnTo>
                      <a:pt x="294" y="3312"/>
                    </a:lnTo>
                    <a:lnTo>
                      <a:pt x="294" y="3310"/>
                    </a:lnTo>
                    <a:lnTo>
                      <a:pt x="294" y="3306"/>
                    </a:lnTo>
                    <a:lnTo>
                      <a:pt x="290" y="3298"/>
                    </a:lnTo>
                    <a:lnTo>
                      <a:pt x="290" y="3298"/>
                    </a:lnTo>
                    <a:lnTo>
                      <a:pt x="288" y="3296"/>
                    </a:lnTo>
                    <a:lnTo>
                      <a:pt x="288" y="3298"/>
                    </a:lnTo>
                    <a:lnTo>
                      <a:pt x="288" y="3302"/>
                    </a:lnTo>
                    <a:lnTo>
                      <a:pt x="286" y="3306"/>
                    </a:lnTo>
                    <a:lnTo>
                      <a:pt x="286" y="3306"/>
                    </a:lnTo>
                    <a:lnTo>
                      <a:pt x="284" y="3308"/>
                    </a:lnTo>
                    <a:lnTo>
                      <a:pt x="286" y="3312"/>
                    </a:lnTo>
                    <a:lnTo>
                      <a:pt x="290" y="3314"/>
                    </a:lnTo>
                    <a:lnTo>
                      <a:pt x="294" y="3312"/>
                    </a:lnTo>
                    <a:lnTo>
                      <a:pt x="294" y="3312"/>
                    </a:lnTo>
                    <a:close/>
                    <a:moveTo>
                      <a:pt x="240" y="3200"/>
                    </a:moveTo>
                    <a:lnTo>
                      <a:pt x="240" y="3200"/>
                    </a:lnTo>
                    <a:lnTo>
                      <a:pt x="242" y="3200"/>
                    </a:lnTo>
                    <a:lnTo>
                      <a:pt x="242" y="3200"/>
                    </a:lnTo>
                    <a:lnTo>
                      <a:pt x="242" y="3192"/>
                    </a:lnTo>
                    <a:lnTo>
                      <a:pt x="242" y="3192"/>
                    </a:lnTo>
                    <a:lnTo>
                      <a:pt x="238" y="3184"/>
                    </a:lnTo>
                    <a:lnTo>
                      <a:pt x="236" y="3184"/>
                    </a:lnTo>
                    <a:lnTo>
                      <a:pt x="234" y="3184"/>
                    </a:lnTo>
                    <a:lnTo>
                      <a:pt x="234" y="3184"/>
                    </a:lnTo>
                    <a:lnTo>
                      <a:pt x="230" y="3184"/>
                    </a:lnTo>
                    <a:lnTo>
                      <a:pt x="230" y="3186"/>
                    </a:lnTo>
                    <a:lnTo>
                      <a:pt x="230" y="3196"/>
                    </a:lnTo>
                    <a:lnTo>
                      <a:pt x="230" y="3196"/>
                    </a:lnTo>
                    <a:lnTo>
                      <a:pt x="230" y="3196"/>
                    </a:lnTo>
                    <a:lnTo>
                      <a:pt x="230" y="3196"/>
                    </a:lnTo>
                    <a:lnTo>
                      <a:pt x="236" y="3194"/>
                    </a:lnTo>
                    <a:lnTo>
                      <a:pt x="236" y="3194"/>
                    </a:lnTo>
                    <a:lnTo>
                      <a:pt x="238" y="3192"/>
                    </a:lnTo>
                    <a:lnTo>
                      <a:pt x="238" y="3194"/>
                    </a:lnTo>
                    <a:lnTo>
                      <a:pt x="238" y="3198"/>
                    </a:lnTo>
                    <a:lnTo>
                      <a:pt x="240" y="3200"/>
                    </a:lnTo>
                    <a:lnTo>
                      <a:pt x="240" y="3200"/>
                    </a:lnTo>
                    <a:close/>
                    <a:moveTo>
                      <a:pt x="236" y="3146"/>
                    </a:moveTo>
                    <a:lnTo>
                      <a:pt x="236" y="3146"/>
                    </a:lnTo>
                    <a:lnTo>
                      <a:pt x="238" y="3146"/>
                    </a:lnTo>
                    <a:lnTo>
                      <a:pt x="240" y="3148"/>
                    </a:lnTo>
                    <a:lnTo>
                      <a:pt x="242" y="3148"/>
                    </a:lnTo>
                    <a:lnTo>
                      <a:pt x="242" y="3146"/>
                    </a:lnTo>
                    <a:lnTo>
                      <a:pt x="242" y="3146"/>
                    </a:lnTo>
                    <a:lnTo>
                      <a:pt x="240" y="3142"/>
                    </a:lnTo>
                    <a:lnTo>
                      <a:pt x="236" y="3138"/>
                    </a:lnTo>
                    <a:lnTo>
                      <a:pt x="236" y="3138"/>
                    </a:lnTo>
                    <a:lnTo>
                      <a:pt x="232" y="3138"/>
                    </a:lnTo>
                    <a:lnTo>
                      <a:pt x="228" y="3138"/>
                    </a:lnTo>
                    <a:lnTo>
                      <a:pt x="224" y="3140"/>
                    </a:lnTo>
                    <a:lnTo>
                      <a:pt x="224" y="3144"/>
                    </a:lnTo>
                    <a:lnTo>
                      <a:pt x="224" y="3144"/>
                    </a:lnTo>
                    <a:lnTo>
                      <a:pt x="226" y="3146"/>
                    </a:lnTo>
                    <a:lnTo>
                      <a:pt x="230" y="3146"/>
                    </a:lnTo>
                    <a:lnTo>
                      <a:pt x="236" y="3146"/>
                    </a:lnTo>
                    <a:lnTo>
                      <a:pt x="236" y="3146"/>
                    </a:lnTo>
                    <a:close/>
                    <a:moveTo>
                      <a:pt x="292" y="2928"/>
                    </a:moveTo>
                    <a:lnTo>
                      <a:pt x="292" y="2928"/>
                    </a:lnTo>
                    <a:lnTo>
                      <a:pt x="294" y="2930"/>
                    </a:lnTo>
                    <a:lnTo>
                      <a:pt x="296" y="2930"/>
                    </a:lnTo>
                    <a:lnTo>
                      <a:pt x="298" y="2930"/>
                    </a:lnTo>
                    <a:lnTo>
                      <a:pt x="302" y="2930"/>
                    </a:lnTo>
                    <a:lnTo>
                      <a:pt x="302" y="2930"/>
                    </a:lnTo>
                    <a:lnTo>
                      <a:pt x="304" y="2930"/>
                    </a:lnTo>
                    <a:lnTo>
                      <a:pt x="306" y="2928"/>
                    </a:lnTo>
                    <a:lnTo>
                      <a:pt x="302" y="2918"/>
                    </a:lnTo>
                    <a:lnTo>
                      <a:pt x="302" y="2918"/>
                    </a:lnTo>
                    <a:lnTo>
                      <a:pt x="300" y="2916"/>
                    </a:lnTo>
                    <a:lnTo>
                      <a:pt x="298" y="2916"/>
                    </a:lnTo>
                    <a:lnTo>
                      <a:pt x="294" y="2918"/>
                    </a:lnTo>
                    <a:lnTo>
                      <a:pt x="290" y="2918"/>
                    </a:lnTo>
                    <a:lnTo>
                      <a:pt x="290" y="2918"/>
                    </a:lnTo>
                    <a:lnTo>
                      <a:pt x="286" y="2918"/>
                    </a:lnTo>
                    <a:lnTo>
                      <a:pt x="284" y="2920"/>
                    </a:lnTo>
                    <a:lnTo>
                      <a:pt x="284" y="2922"/>
                    </a:lnTo>
                    <a:lnTo>
                      <a:pt x="288" y="2924"/>
                    </a:lnTo>
                    <a:lnTo>
                      <a:pt x="288" y="2924"/>
                    </a:lnTo>
                    <a:lnTo>
                      <a:pt x="290" y="2924"/>
                    </a:lnTo>
                    <a:lnTo>
                      <a:pt x="292" y="2928"/>
                    </a:lnTo>
                    <a:lnTo>
                      <a:pt x="292" y="2928"/>
                    </a:lnTo>
                    <a:close/>
                    <a:moveTo>
                      <a:pt x="294" y="2944"/>
                    </a:moveTo>
                    <a:lnTo>
                      <a:pt x="294" y="2944"/>
                    </a:lnTo>
                    <a:lnTo>
                      <a:pt x="296" y="2944"/>
                    </a:lnTo>
                    <a:lnTo>
                      <a:pt x="298" y="2942"/>
                    </a:lnTo>
                    <a:lnTo>
                      <a:pt x="300" y="2940"/>
                    </a:lnTo>
                    <a:lnTo>
                      <a:pt x="298" y="2940"/>
                    </a:lnTo>
                    <a:lnTo>
                      <a:pt x="298" y="2940"/>
                    </a:lnTo>
                    <a:lnTo>
                      <a:pt x="292" y="2940"/>
                    </a:lnTo>
                    <a:lnTo>
                      <a:pt x="290" y="2940"/>
                    </a:lnTo>
                    <a:lnTo>
                      <a:pt x="290" y="2942"/>
                    </a:lnTo>
                    <a:lnTo>
                      <a:pt x="290" y="2942"/>
                    </a:lnTo>
                    <a:lnTo>
                      <a:pt x="288" y="2944"/>
                    </a:lnTo>
                    <a:lnTo>
                      <a:pt x="290" y="2944"/>
                    </a:lnTo>
                    <a:lnTo>
                      <a:pt x="294" y="2944"/>
                    </a:lnTo>
                    <a:lnTo>
                      <a:pt x="294" y="2944"/>
                    </a:lnTo>
                    <a:close/>
                    <a:moveTo>
                      <a:pt x="278" y="2914"/>
                    </a:moveTo>
                    <a:lnTo>
                      <a:pt x="278" y="2914"/>
                    </a:lnTo>
                    <a:lnTo>
                      <a:pt x="278" y="2916"/>
                    </a:lnTo>
                    <a:lnTo>
                      <a:pt x="282" y="2916"/>
                    </a:lnTo>
                    <a:lnTo>
                      <a:pt x="286" y="2914"/>
                    </a:lnTo>
                    <a:lnTo>
                      <a:pt x="292" y="2914"/>
                    </a:lnTo>
                    <a:lnTo>
                      <a:pt x="292" y="2914"/>
                    </a:lnTo>
                    <a:lnTo>
                      <a:pt x="294" y="2914"/>
                    </a:lnTo>
                    <a:lnTo>
                      <a:pt x="294" y="2912"/>
                    </a:lnTo>
                    <a:lnTo>
                      <a:pt x="288" y="2908"/>
                    </a:lnTo>
                    <a:lnTo>
                      <a:pt x="288" y="2908"/>
                    </a:lnTo>
                    <a:lnTo>
                      <a:pt x="286" y="2908"/>
                    </a:lnTo>
                    <a:lnTo>
                      <a:pt x="282" y="2908"/>
                    </a:lnTo>
                    <a:lnTo>
                      <a:pt x="278" y="2914"/>
                    </a:lnTo>
                    <a:lnTo>
                      <a:pt x="278" y="2914"/>
                    </a:lnTo>
                    <a:close/>
                    <a:moveTo>
                      <a:pt x="276" y="2888"/>
                    </a:moveTo>
                    <a:lnTo>
                      <a:pt x="276" y="2888"/>
                    </a:lnTo>
                    <a:lnTo>
                      <a:pt x="280" y="2886"/>
                    </a:lnTo>
                    <a:lnTo>
                      <a:pt x="282" y="2884"/>
                    </a:lnTo>
                    <a:lnTo>
                      <a:pt x="282" y="2882"/>
                    </a:lnTo>
                    <a:lnTo>
                      <a:pt x="282" y="2882"/>
                    </a:lnTo>
                    <a:lnTo>
                      <a:pt x="282" y="2880"/>
                    </a:lnTo>
                    <a:lnTo>
                      <a:pt x="278" y="2880"/>
                    </a:lnTo>
                    <a:lnTo>
                      <a:pt x="272" y="2884"/>
                    </a:lnTo>
                    <a:lnTo>
                      <a:pt x="272" y="2884"/>
                    </a:lnTo>
                    <a:lnTo>
                      <a:pt x="270" y="2884"/>
                    </a:lnTo>
                    <a:lnTo>
                      <a:pt x="270" y="2886"/>
                    </a:lnTo>
                    <a:lnTo>
                      <a:pt x="272" y="2888"/>
                    </a:lnTo>
                    <a:lnTo>
                      <a:pt x="276" y="2888"/>
                    </a:lnTo>
                    <a:lnTo>
                      <a:pt x="276" y="2888"/>
                    </a:lnTo>
                    <a:close/>
                    <a:moveTo>
                      <a:pt x="282" y="2902"/>
                    </a:moveTo>
                    <a:lnTo>
                      <a:pt x="282" y="2902"/>
                    </a:lnTo>
                    <a:lnTo>
                      <a:pt x="284" y="2902"/>
                    </a:lnTo>
                    <a:lnTo>
                      <a:pt x="290" y="2900"/>
                    </a:lnTo>
                    <a:lnTo>
                      <a:pt x="290" y="2900"/>
                    </a:lnTo>
                    <a:lnTo>
                      <a:pt x="296" y="2898"/>
                    </a:lnTo>
                    <a:lnTo>
                      <a:pt x="296" y="2898"/>
                    </a:lnTo>
                    <a:lnTo>
                      <a:pt x="296" y="2896"/>
                    </a:lnTo>
                    <a:lnTo>
                      <a:pt x="296" y="2896"/>
                    </a:lnTo>
                    <a:lnTo>
                      <a:pt x="294" y="2894"/>
                    </a:lnTo>
                    <a:lnTo>
                      <a:pt x="292" y="2894"/>
                    </a:lnTo>
                    <a:lnTo>
                      <a:pt x="282" y="2894"/>
                    </a:lnTo>
                    <a:lnTo>
                      <a:pt x="282" y="2894"/>
                    </a:lnTo>
                    <a:lnTo>
                      <a:pt x="276" y="2894"/>
                    </a:lnTo>
                    <a:lnTo>
                      <a:pt x="276" y="2896"/>
                    </a:lnTo>
                    <a:lnTo>
                      <a:pt x="278" y="2900"/>
                    </a:lnTo>
                    <a:lnTo>
                      <a:pt x="282" y="2902"/>
                    </a:lnTo>
                    <a:lnTo>
                      <a:pt x="282" y="2902"/>
                    </a:lnTo>
                    <a:close/>
                    <a:moveTo>
                      <a:pt x="296" y="2950"/>
                    </a:moveTo>
                    <a:lnTo>
                      <a:pt x="296" y="2950"/>
                    </a:lnTo>
                    <a:lnTo>
                      <a:pt x="294" y="2948"/>
                    </a:lnTo>
                    <a:lnTo>
                      <a:pt x="290" y="2950"/>
                    </a:lnTo>
                    <a:lnTo>
                      <a:pt x="290" y="2952"/>
                    </a:lnTo>
                    <a:lnTo>
                      <a:pt x="290" y="2954"/>
                    </a:lnTo>
                    <a:lnTo>
                      <a:pt x="290" y="2954"/>
                    </a:lnTo>
                    <a:lnTo>
                      <a:pt x="292" y="2956"/>
                    </a:lnTo>
                    <a:lnTo>
                      <a:pt x="294" y="2954"/>
                    </a:lnTo>
                    <a:lnTo>
                      <a:pt x="296" y="2952"/>
                    </a:lnTo>
                    <a:lnTo>
                      <a:pt x="296" y="2950"/>
                    </a:lnTo>
                    <a:lnTo>
                      <a:pt x="296" y="2950"/>
                    </a:lnTo>
                    <a:close/>
                    <a:moveTo>
                      <a:pt x="302" y="2888"/>
                    </a:moveTo>
                    <a:lnTo>
                      <a:pt x="302" y="2888"/>
                    </a:lnTo>
                    <a:lnTo>
                      <a:pt x="300" y="2890"/>
                    </a:lnTo>
                    <a:lnTo>
                      <a:pt x="300" y="2892"/>
                    </a:lnTo>
                    <a:lnTo>
                      <a:pt x="302" y="2898"/>
                    </a:lnTo>
                    <a:lnTo>
                      <a:pt x="302" y="2898"/>
                    </a:lnTo>
                    <a:lnTo>
                      <a:pt x="304" y="2900"/>
                    </a:lnTo>
                    <a:lnTo>
                      <a:pt x="308" y="2898"/>
                    </a:lnTo>
                    <a:lnTo>
                      <a:pt x="308" y="2898"/>
                    </a:lnTo>
                    <a:lnTo>
                      <a:pt x="310" y="2896"/>
                    </a:lnTo>
                    <a:lnTo>
                      <a:pt x="308" y="2894"/>
                    </a:lnTo>
                    <a:lnTo>
                      <a:pt x="306" y="2890"/>
                    </a:lnTo>
                    <a:lnTo>
                      <a:pt x="302" y="2888"/>
                    </a:lnTo>
                    <a:lnTo>
                      <a:pt x="302" y="2888"/>
                    </a:lnTo>
                    <a:close/>
                    <a:moveTo>
                      <a:pt x="304" y="2856"/>
                    </a:moveTo>
                    <a:lnTo>
                      <a:pt x="304" y="2856"/>
                    </a:lnTo>
                    <a:lnTo>
                      <a:pt x="304" y="2858"/>
                    </a:lnTo>
                    <a:lnTo>
                      <a:pt x="304" y="2862"/>
                    </a:lnTo>
                    <a:lnTo>
                      <a:pt x="306" y="2864"/>
                    </a:lnTo>
                    <a:lnTo>
                      <a:pt x="308" y="2864"/>
                    </a:lnTo>
                    <a:lnTo>
                      <a:pt x="308" y="2864"/>
                    </a:lnTo>
                    <a:lnTo>
                      <a:pt x="310" y="2862"/>
                    </a:lnTo>
                    <a:lnTo>
                      <a:pt x="308" y="2860"/>
                    </a:lnTo>
                    <a:lnTo>
                      <a:pt x="306" y="2856"/>
                    </a:lnTo>
                    <a:lnTo>
                      <a:pt x="304" y="2856"/>
                    </a:lnTo>
                    <a:lnTo>
                      <a:pt x="304" y="2856"/>
                    </a:lnTo>
                    <a:close/>
                    <a:moveTo>
                      <a:pt x="300" y="2968"/>
                    </a:moveTo>
                    <a:lnTo>
                      <a:pt x="300" y="2968"/>
                    </a:lnTo>
                    <a:lnTo>
                      <a:pt x="304" y="2964"/>
                    </a:lnTo>
                    <a:lnTo>
                      <a:pt x="304" y="2964"/>
                    </a:lnTo>
                    <a:lnTo>
                      <a:pt x="304" y="2962"/>
                    </a:lnTo>
                    <a:lnTo>
                      <a:pt x="304" y="2962"/>
                    </a:lnTo>
                    <a:lnTo>
                      <a:pt x="304" y="2960"/>
                    </a:lnTo>
                    <a:lnTo>
                      <a:pt x="300" y="2962"/>
                    </a:lnTo>
                    <a:lnTo>
                      <a:pt x="298" y="2964"/>
                    </a:lnTo>
                    <a:lnTo>
                      <a:pt x="296" y="2968"/>
                    </a:lnTo>
                    <a:lnTo>
                      <a:pt x="296" y="2968"/>
                    </a:lnTo>
                    <a:lnTo>
                      <a:pt x="296" y="2970"/>
                    </a:lnTo>
                    <a:lnTo>
                      <a:pt x="296" y="2970"/>
                    </a:lnTo>
                    <a:lnTo>
                      <a:pt x="300" y="2968"/>
                    </a:lnTo>
                    <a:lnTo>
                      <a:pt x="300" y="2968"/>
                    </a:lnTo>
                    <a:close/>
                    <a:moveTo>
                      <a:pt x="290" y="2888"/>
                    </a:moveTo>
                    <a:lnTo>
                      <a:pt x="290" y="2888"/>
                    </a:lnTo>
                    <a:lnTo>
                      <a:pt x="294" y="2888"/>
                    </a:lnTo>
                    <a:lnTo>
                      <a:pt x="294" y="2886"/>
                    </a:lnTo>
                    <a:lnTo>
                      <a:pt x="294" y="2886"/>
                    </a:lnTo>
                    <a:lnTo>
                      <a:pt x="292" y="2884"/>
                    </a:lnTo>
                    <a:lnTo>
                      <a:pt x="290" y="2884"/>
                    </a:lnTo>
                    <a:lnTo>
                      <a:pt x="282" y="2888"/>
                    </a:lnTo>
                    <a:lnTo>
                      <a:pt x="282" y="2888"/>
                    </a:lnTo>
                    <a:lnTo>
                      <a:pt x="280" y="2888"/>
                    </a:lnTo>
                    <a:lnTo>
                      <a:pt x="282" y="2890"/>
                    </a:lnTo>
                    <a:lnTo>
                      <a:pt x="290" y="2888"/>
                    </a:lnTo>
                    <a:lnTo>
                      <a:pt x="290" y="2888"/>
                    </a:lnTo>
                    <a:close/>
                    <a:moveTo>
                      <a:pt x="250" y="2970"/>
                    </a:moveTo>
                    <a:lnTo>
                      <a:pt x="250" y="2970"/>
                    </a:lnTo>
                    <a:lnTo>
                      <a:pt x="250" y="2972"/>
                    </a:lnTo>
                    <a:lnTo>
                      <a:pt x="248" y="2974"/>
                    </a:lnTo>
                    <a:lnTo>
                      <a:pt x="248" y="2974"/>
                    </a:lnTo>
                    <a:lnTo>
                      <a:pt x="248" y="2978"/>
                    </a:lnTo>
                    <a:lnTo>
                      <a:pt x="248" y="2978"/>
                    </a:lnTo>
                    <a:lnTo>
                      <a:pt x="252" y="2980"/>
                    </a:lnTo>
                    <a:lnTo>
                      <a:pt x="254" y="2980"/>
                    </a:lnTo>
                    <a:lnTo>
                      <a:pt x="260" y="2974"/>
                    </a:lnTo>
                    <a:lnTo>
                      <a:pt x="260" y="2974"/>
                    </a:lnTo>
                    <a:lnTo>
                      <a:pt x="262" y="2972"/>
                    </a:lnTo>
                    <a:lnTo>
                      <a:pt x="262" y="2968"/>
                    </a:lnTo>
                    <a:lnTo>
                      <a:pt x="262" y="2964"/>
                    </a:lnTo>
                    <a:lnTo>
                      <a:pt x="260" y="2962"/>
                    </a:lnTo>
                    <a:lnTo>
                      <a:pt x="260" y="2962"/>
                    </a:lnTo>
                    <a:lnTo>
                      <a:pt x="256" y="2962"/>
                    </a:lnTo>
                    <a:lnTo>
                      <a:pt x="250" y="2966"/>
                    </a:lnTo>
                    <a:lnTo>
                      <a:pt x="250" y="2966"/>
                    </a:lnTo>
                    <a:lnTo>
                      <a:pt x="248" y="2966"/>
                    </a:lnTo>
                    <a:lnTo>
                      <a:pt x="250" y="2970"/>
                    </a:lnTo>
                    <a:lnTo>
                      <a:pt x="250" y="2970"/>
                    </a:lnTo>
                    <a:close/>
                    <a:moveTo>
                      <a:pt x="540" y="3562"/>
                    </a:moveTo>
                    <a:lnTo>
                      <a:pt x="540" y="3562"/>
                    </a:lnTo>
                    <a:lnTo>
                      <a:pt x="544" y="3562"/>
                    </a:lnTo>
                    <a:lnTo>
                      <a:pt x="548" y="3562"/>
                    </a:lnTo>
                    <a:lnTo>
                      <a:pt x="554" y="3560"/>
                    </a:lnTo>
                    <a:lnTo>
                      <a:pt x="554" y="3558"/>
                    </a:lnTo>
                    <a:lnTo>
                      <a:pt x="554" y="3558"/>
                    </a:lnTo>
                    <a:lnTo>
                      <a:pt x="552" y="3558"/>
                    </a:lnTo>
                    <a:lnTo>
                      <a:pt x="546" y="3558"/>
                    </a:lnTo>
                    <a:lnTo>
                      <a:pt x="542" y="3560"/>
                    </a:lnTo>
                    <a:lnTo>
                      <a:pt x="540" y="3562"/>
                    </a:lnTo>
                    <a:lnTo>
                      <a:pt x="540" y="3562"/>
                    </a:lnTo>
                    <a:close/>
                    <a:moveTo>
                      <a:pt x="560" y="3548"/>
                    </a:moveTo>
                    <a:lnTo>
                      <a:pt x="560" y="3548"/>
                    </a:lnTo>
                    <a:lnTo>
                      <a:pt x="558" y="3550"/>
                    </a:lnTo>
                    <a:lnTo>
                      <a:pt x="556" y="3548"/>
                    </a:lnTo>
                    <a:lnTo>
                      <a:pt x="556" y="3548"/>
                    </a:lnTo>
                    <a:lnTo>
                      <a:pt x="554" y="3550"/>
                    </a:lnTo>
                    <a:lnTo>
                      <a:pt x="554" y="3550"/>
                    </a:lnTo>
                    <a:lnTo>
                      <a:pt x="552" y="3552"/>
                    </a:lnTo>
                    <a:lnTo>
                      <a:pt x="554" y="3554"/>
                    </a:lnTo>
                    <a:lnTo>
                      <a:pt x="560" y="3556"/>
                    </a:lnTo>
                    <a:lnTo>
                      <a:pt x="560" y="3556"/>
                    </a:lnTo>
                    <a:lnTo>
                      <a:pt x="562" y="3556"/>
                    </a:lnTo>
                    <a:lnTo>
                      <a:pt x="564" y="3556"/>
                    </a:lnTo>
                    <a:lnTo>
                      <a:pt x="562" y="3548"/>
                    </a:lnTo>
                    <a:lnTo>
                      <a:pt x="562" y="3548"/>
                    </a:lnTo>
                    <a:lnTo>
                      <a:pt x="560" y="3544"/>
                    </a:lnTo>
                    <a:lnTo>
                      <a:pt x="560" y="3546"/>
                    </a:lnTo>
                    <a:lnTo>
                      <a:pt x="560" y="3548"/>
                    </a:lnTo>
                    <a:lnTo>
                      <a:pt x="560" y="3548"/>
                    </a:lnTo>
                    <a:close/>
                    <a:moveTo>
                      <a:pt x="556" y="3506"/>
                    </a:moveTo>
                    <a:lnTo>
                      <a:pt x="556" y="3506"/>
                    </a:lnTo>
                    <a:lnTo>
                      <a:pt x="530" y="3504"/>
                    </a:lnTo>
                    <a:lnTo>
                      <a:pt x="530" y="3504"/>
                    </a:lnTo>
                    <a:lnTo>
                      <a:pt x="522" y="3504"/>
                    </a:lnTo>
                    <a:lnTo>
                      <a:pt x="522" y="3506"/>
                    </a:lnTo>
                    <a:lnTo>
                      <a:pt x="526" y="3508"/>
                    </a:lnTo>
                    <a:lnTo>
                      <a:pt x="526" y="3508"/>
                    </a:lnTo>
                    <a:lnTo>
                      <a:pt x="528" y="3510"/>
                    </a:lnTo>
                    <a:lnTo>
                      <a:pt x="528" y="3512"/>
                    </a:lnTo>
                    <a:lnTo>
                      <a:pt x="528" y="3516"/>
                    </a:lnTo>
                    <a:lnTo>
                      <a:pt x="530" y="3522"/>
                    </a:lnTo>
                    <a:lnTo>
                      <a:pt x="530" y="3522"/>
                    </a:lnTo>
                    <a:lnTo>
                      <a:pt x="532" y="3524"/>
                    </a:lnTo>
                    <a:lnTo>
                      <a:pt x="536" y="3524"/>
                    </a:lnTo>
                    <a:lnTo>
                      <a:pt x="546" y="3524"/>
                    </a:lnTo>
                    <a:lnTo>
                      <a:pt x="546" y="3524"/>
                    </a:lnTo>
                    <a:lnTo>
                      <a:pt x="550" y="3524"/>
                    </a:lnTo>
                    <a:lnTo>
                      <a:pt x="550" y="3522"/>
                    </a:lnTo>
                    <a:lnTo>
                      <a:pt x="550" y="3520"/>
                    </a:lnTo>
                    <a:lnTo>
                      <a:pt x="554" y="3518"/>
                    </a:lnTo>
                    <a:lnTo>
                      <a:pt x="554" y="3518"/>
                    </a:lnTo>
                    <a:lnTo>
                      <a:pt x="556" y="3520"/>
                    </a:lnTo>
                    <a:lnTo>
                      <a:pt x="558" y="3524"/>
                    </a:lnTo>
                    <a:lnTo>
                      <a:pt x="558" y="3526"/>
                    </a:lnTo>
                    <a:lnTo>
                      <a:pt x="562" y="3528"/>
                    </a:lnTo>
                    <a:lnTo>
                      <a:pt x="562" y="3528"/>
                    </a:lnTo>
                    <a:lnTo>
                      <a:pt x="566" y="3526"/>
                    </a:lnTo>
                    <a:lnTo>
                      <a:pt x="568" y="3524"/>
                    </a:lnTo>
                    <a:lnTo>
                      <a:pt x="572" y="3514"/>
                    </a:lnTo>
                    <a:lnTo>
                      <a:pt x="572" y="3514"/>
                    </a:lnTo>
                    <a:lnTo>
                      <a:pt x="572" y="3512"/>
                    </a:lnTo>
                    <a:lnTo>
                      <a:pt x="572" y="3508"/>
                    </a:lnTo>
                    <a:lnTo>
                      <a:pt x="568" y="3506"/>
                    </a:lnTo>
                    <a:lnTo>
                      <a:pt x="562" y="3506"/>
                    </a:lnTo>
                    <a:lnTo>
                      <a:pt x="556" y="3506"/>
                    </a:lnTo>
                    <a:lnTo>
                      <a:pt x="556" y="3506"/>
                    </a:lnTo>
                    <a:close/>
                    <a:moveTo>
                      <a:pt x="522" y="3532"/>
                    </a:moveTo>
                    <a:lnTo>
                      <a:pt x="522" y="3532"/>
                    </a:lnTo>
                    <a:lnTo>
                      <a:pt x="516" y="3528"/>
                    </a:lnTo>
                    <a:lnTo>
                      <a:pt x="520" y="3528"/>
                    </a:lnTo>
                    <a:lnTo>
                      <a:pt x="524" y="3526"/>
                    </a:lnTo>
                    <a:lnTo>
                      <a:pt x="524" y="3526"/>
                    </a:lnTo>
                    <a:lnTo>
                      <a:pt x="524" y="3524"/>
                    </a:lnTo>
                    <a:lnTo>
                      <a:pt x="524" y="3524"/>
                    </a:lnTo>
                    <a:lnTo>
                      <a:pt x="518" y="3520"/>
                    </a:lnTo>
                    <a:lnTo>
                      <a:pt x="510" y="3520"/>
                    </a:lnTo>
                    <a:lnTo>
                      <a:pt x="510" y="3520"/>
                    </a:lnTo>
                    <a:lnTo>
                      <a:pt x="506" y="3520"/>
                    </a:lnTo>
                    <a:lnTo>
                      <a:pt x="506" y="3518"/>
                    </a:lnTo>
                    <a:lnTo>
                      <a:pt x="514" y="3516"/>
                    </a:lnTo>
                    <a:lnTo>
                      <a:pt x="514" y="3516"/>
                    </a:lnTo>
                    <a:lnTo>
                      <a:pt x="520" y="3514"/>
                    </a:lnTo>
                    <a:lnTo>
                      <a:pt x="520" y="3512"/>
                    </a:lnTo>
                    <a:lnTo>
                      <a:pt x="520" y="3510"/>
                    </a:lnTo>
                    <a:lnTo>
                      <a:pt x="518" y="3508"/>
                    </a:lnTo>
                    <a:lnTo>
                      <a:pt x="518" y="3508"/>
                    </a:lnTo>
                    <a:lnTo>
                      <a:pt x="512" y="3506"/>
                    </a:lnTo>
                    <a:lnTo>
                      <a:pt x="504" y="3506"/>
                    </a:lnTo>
                    <a:lnTo>
                      <a:pt x="498" y="3508"/>
                    </a:lnTo>
                    <a:lnTo>
                      <a:pt x="490" y="3508"/>
                    </a:lnTo>
                    <a:lnTo>
                      <a:pt x="490" y="3508"/>
                    </a:lnTo>
                    <a:lnTo>
                      <a:pt x="486" y="3508"/>
                    </a:lnTo>
                    <a:lnTo>
                      <a:pt x="478" y="3510"/>
                    </a:lnTo>
                    <a:lnTo>
                      <a:pt x="462" y="3514"/>
                    </a:lnTo>
                    <a:lnTo>
                      <a:pt x="462" y="3514"/>
                    </a:lnTo>
                    <a:lnTo>
                      <a:pt x="454" y="3516"/>
                    </a:lnTo>
                    <a:lnTo>
                      <a:pt x="454" y="3516"/>
                    </a:lnTo>
                    <a:lnTo>
                      <a:pt x="454" y="3518"/>
                    </a:lnTo>
                    <a:lnTo>
                      <a:pt x="464" y="3524"/>
                    </a:lnTo>
                    <a:lnTo>
                      <a:pt x="464" y="3524"/>
                    </a:lnTo>
                    <a:lnTo>
                      <a:pt x="466" y="3526"/>
                    </a:lnTo>
                    <a:lnTo>
                      <a:pt x="466" y="3526"/>
                    </a:lnTo>
                    <a:lnTo>
                      <a:pt x="462" y="3528"/>
                    </a:lnTo>
                    <a:lnTo>
                      <a:pt x="462" y="3528"/>
                    </a:lnTo>
                    <a:lnTo>
                      <a:pt x="462" y="3528"/>
                    </a:lnTo>
                    <a:lnTo>
                      <a:pt x="470" y="3532"/>
                    </a:lnTo>
                    <a:lnTo>
                      <a:pt x="470" y="3532"/>
                    </a:lnTo>
                    <a:lnTo>
                      <a:pt x="476" y="3534"/>
                    </a:lnTo>
                    <a:lnTo>
                      <a:pt x="480" y="3536"/>
                    </a:lnTo>
                    <a:lnTo>
                      <a:pt x="486" y="3540"/>
                    </a:lnTo>
                    <a:lnTo>
                      <a:pt x="486" y="3540"/>
                    </a:lnTo>
                    <a:lnTo>
                      <a:pt x="490" y="3540"/>
                    </a:lnTo>
                    <a:lnTo>
                      <a:pt x="490" y="3538"/>
                    </a:lnTo>
                    <a:lnTo>
                      <a:pt x="482" y="3530"/>
                    </a:lnTo>
                    <a:lnTo>
                      <a:pt x="482" y="3530"/>
                    </a:lnTo>
                    <a:lnTo>
                      <a:pt x="480" y="3526"/>
                    </a:lnTo>
                    <a:lnTo>
                      <a:pt x="482" y="3524"/>
                    </a:lnTo>
                    <a:lnTo>
                      <a:pt x="486" y="3524"/>
                    </a:lnTo>
                    <a:lnTo>
                      <a:pt x="490" y="3524"/>
                    </a:lnTo>
                    <a:lnTo>
                      <a:pt x="490" y="3524"/>
                    </a:lnTo>
                    <a:lnTo>
                      <a:pt x="494" y="3524"/>
                    </a:lnTo>
                    <a:lnTo>
                      <a:pt x="498" y="3524"/>
                    </a:lnTo>
                    <a:lnTo>
                      <a:pt x="500" y="3524"/>
                    </a:lnTo>
                    <a:lnTo>
                      <a:pt x="500" y="3524"/>
                    </a:lnTo>
                    <a:lnTo>
                      <a:pt x="500" y="3524"/>
                    </a:lnTo>
                    <a:lnTo>
                      <a:pt x="496" y="3532"/>
                    </a:lnTo>
                    <a:lnTo>
                      <a:pt x="496" y="3536"/>
                    </a:lnTo>
                    <a:lnTo>
                      <a:pt x="500" y="3540"/>
                    </a:lnTo>
                    <a:lnTo>
                      <a:pt x="500" y="3540"/>
                    </a:lnTo>
                    <a:lnTo>
                      <a:pt x="500" y="3540"/>
                    </a:lnTo>
                    <a:lnTo>
                      <a:pt x="502" y="3540"/>
                    </a:lnTo>
                    <a:lnTo>
                      <a:pt x="506" y="3538"/>
                    </a:lnTo>
                    <a:lnTo>
                      <a:pt x="510" y="3536"/>
                    </a:lnTo>
                    <a:lnTo>
                      <a:pt x="510" y="3536"/>
                    </a:lnTo>
                    <a:lnTo>
                      <a:pt x="512" y="3538"/>
                    </a:lnTo>
                    <a:lnTo>
                      <a:pt x="512" y="3538"/>
                    </a:lnTo>
                    <a:lnTo>
                      <a:pt x="514" y="3540"/>
                    </a:lnTo>
                    <a:lnTo>
                      <a:pt x="518" y="3540"/>
                    </a:lnTo>
                    <a:lnTo>
                      <a:pt x="522" y="3542"/>
                    </a:lnTo>
                    <a:lnTo>
                      <a:pt x="522" y="3544"/>
                    </a:lnTo>
                    <a:lnTo>
                      <a:pt x="522" y="3544"/>
                    </a:lnTo>
                    <a:lnTo>
                      <a:pt x="524" y="3548"/>
                    </a:lnTo>
                    <a:lnTo>
                      <a:pt x="524" y="3548"/>
                    </a:lnTo>
                    <a:lnTo>
                      <a:pt x="526" y="3548"/>
                    </a:lnTo>
                    <a:lnTo>
                      <a:pt x="528" y="3550"/>
                    </a:lnTo>
                    <a:lnTo>
                      <a:pt x="528" y="3550"/>
                    </a:lnTo>
                    <a:lnTo>
                      <a:pt x="532" y="3554"/>
                    </a:lnTo>
                    <a:lnTo>
                      <a:pt x="534" y="3552"/>
                    </a:lnTo>
                    <a:lnTo>
                      <a:pt x="534" y="3548"/>
                    </a:lnTo>
                    <a:lnTo>
                      <a:pt x="534" y="3544"/>
                    </a:lnTo>
                    <a:lnTo>
                      <a:pt x="534" y="3544"/>
                    </a:lnTo>
                    <a:lnTo>
                      <a:pt x="532" y="3542"/>
                    </a:lnTo>
                    <a:lnTo>
                      <a:pt x="532" y="3538"/>
                    </a:lnTo>
                    <a:lnTo>
                      <a:pt x="530" y="3536"/>
                    </a:lnTo>
                    <a:lnTo>
                      <a:pt x="522" y="3532"/>
                    </a:lnTo>
                    <a:lnTo>
                      <a:pt x="522" y="3532"/>
                    </a:lnTo>
                    <a:close/>
                    <a:moveTo>
                      <a:pt x="476" y="3508"/>
                    </a:moveTo>
                    <a:lnTo>
                      <a:pt x="476" y="3508"/>
                    </a:lnTo>
                    <a:lnTo>
                      <a:pt x="484" y="3506"/>
                    </a:lnTo>
                    <a:lnTo>
                      <a:pt x="484" y="3504"/>
                    </a:lnTo>
                    <a:lnTo>
                      <a:pt x="484" y="3504"/>
                    </a:lnTo>
                    <a:lnTo>
                      <a:pt x="472" y="3502"/>
                    </a:lnTo>
                    <a:lnTo>
                      <a:pt x="472" y="3502"/>
                    </a:lnTo>
                    <a:lnTo>
                      <a:pt x="464" y="3502"/>
                    </a:lnTo>
                    <a:lnTo>
                      <a:pt x="458" y="3502"/>
                    </a:lnTo>
                    <a:lnTo>
                      <a:pt x="450" y="3506"/>
                    </a:lnTo>
                    <a:lnTo>
                      <a:pt x="450" y="3506"/>
                    </a:lnTo>
                    <a:lnTo>
                      <a:pt x="448" y="3508"/>
                    </a:lnTo>
                    <a:lnTo>
                      <a:pt x="448" y="3508"/>
                    </a:lnTo>
                    <a:lnTo>
                      <a:pt x="456" y="3510"/>
                    </a:lnTo>
                    <a:lnTo>
                      <a:pt x="456" y="3510"/>
                    </a:lnTo>
                    <a:lnTo>
                      <a:pt x="462" y="3510"/>
                    </a:lnTo>
                    <a:lnTo>
                      <a:pt x="476" y="3508"/>
                    </a:lnTo>
                    <a:lnTo>
                      <a:pt x="476" y="3508"/>
                    </a:lnTo>
                    <a:close/>
                    <a:moveTo>
                      <a:pt x="572" y="3528"/>
                    </a:moveTo>
                    <a:lnTo>
                      <a:pt x="572" y="3528"/>
                    </a:lnTo>
                    <a:lnTo>
                      <a:pt x="574" y="3530"/>
                    </a:lnTo>
                    <a:lnTo>
                      <a:pt x="578" y="3530"/>
                    </a:lnTo>
                    <a:lnTo>
                      <a:pt x="580" y="3528"/>
                    </a:lnTo>
                    <a:lnTo>
                      <a:pt x="582" y="3524"/>
                    </a:lnTo>
                    <a:lnTo>
                      <a:pt x="582" y="3524"/>
                    </a:lnTo>
                    <a:lnTo>
                      <a:pt x="580" y="3522"/>
                    </a:lnTo>
                    <a:lnTo>
                      <a:pt x="578" y="3522"/>
                    </a:lnTo>
                    <a:lnTo>
                      <a:pt x="574" y="3524"/>
                    </a:lnTo>
                    <a:lnTo>
                      <a:pt x="572" y="3528"/>
                    </a:lnTo>
                    <a:lnTo>
                      <a:pt x="572" y="3528"/>
                    </a:lnTo>
                    <a:close/>
                    <a:moveTo>
                      <a:pt x="636" y="3486"/>
                    </a:moveTo>
                    <a:lnTo>
                      <a:pt x="636" y="3486"/>
                    </a:lnTo>
                    <a:lnTo>
                      <a:pt x="628" y="3488"/>
                    </a:lnTo>
                    <a:lnTo>
                      <a:pt x="622" y="3486"/>
                    </a:lnTo>
                    <a:lnTo>
                      <a:pt x="616" y="3484"/>
                    </a:lnTo>
                    <a:lnTo>
                      <a:pt x="610" y="3482"/>
                    </a:lnTo>
                    <a:lnTo>
                      <a:pt x="610" y="3482"/>
                    </a:lnTo>
                    <a:lnTo>
                      <a:pt x="602" y="3478"/>
                    </a:lnTo>
                    <a:lnTo>
                      <a:pt x="594" y="3470"/>
                    </a:lnTo>
                    <a:lnTo>
                      <a:pt x="584" y="3462"/>
                    </a:lnTo>
                    <a:lnTo>
                      <a:pt x="574" y="3456"/>
                    </a:lnTo>
                    <a:lnTo>
                      <a:pt x="574" y="3456"/>
                    </a:lnTo>
                    <a:lnTo>
                      <a:pt x="562" y="3448"/>
                    </a:lnTo>
                    <a:lnTo>
                      <a:pt x="548" y="3436"/>
                    </a:lnTo>
                    <a:lnTo>
                      <a:pt x="538" y="3424"/>
                    </a:lnTo>
                    <a:lnTo>
                      <a:pt x="532" y="3414"/>
                    </a:lnTo>
                    <a:lnTo>
                      <a:pt x="532" y="3414"/>
                    </a:lnTo>
                    <a:lnTo>
                      <a:pt x="530" y="3404"/>
                    </a:lnTo>
                    <a:lnTo>
                      <a:pt x="528" y="3404"/>
                    </a:lnTo>
                    <a:lnTo>
                      <a:pt x="522" y="3402"/>
                    </a:lnTo>
                    <a:lnTo>
                      <a:pt x="522" y="3402"/>
                    </a:lnTo>
                    <a:lnTo>
                      <a:pt x="516" y="3402"/>
                    </a:lnTo>
                    <a:lnTo>
                      <a:pt x="514" y="3400"/>
                    </a:lnTo>
                    <a:lnTo>
                      <a:pt x="512" y="3396"/>
                    </a:lnTo>
                    <a:lnTo>
                      <a:pt x="516" y="3390"/>
                    </a:lnTo>
                    <a:lnTo>
                      <a:pt x="516" y="3390"/>
                    </a:lnTo>
                    <a:lnTo>
                      <a:pt x="520" y="3386"/>
                    </a:lnTo>
                    <a:lnTo>
                      <a:pt x="522" y="3386"/>
                    </a:lnTo>
                    <a:lnTo>
                      <a:pt x="524" y="3390"/>
                    </a:lnTo>
                    <a:lnTo>
                      <a:pt x="524" y="3390"/>
                    </a:lnTo>
                    <a:lnTo>
                      <a:pt x="524" y="3392"/>
                    </a:lnTo>
                    <a:lnTo>
                      <a:pt x="526" y="3394"/>
                    </a:lnTo>
                    <a:lnTo>
                      <a:pt x="528" y="3392"/>
                    </a:lnTo>
                    <a:lnTo>
                      <a:pt x="528" y="3388"/>
                    </a:lnTo>
                    <a:lnTo>
                      <a:pt x="528" y="3388"/>
                    </a:lnTo>
                    <a:lnTo>
                      <a:pt x="524" y="3380"/>
                    </a:lnTo>
                    <a:lnTo>
                      <a:pt x="510" y="3364"/>
                    </a:lnTo>
                    <a:lnTo>
                      <a:pt x="510" y="3502"/>
                    </a:lnTo>
                    <a:lnTo>
                      <a:pt x="510" y="3502"/>
                    </a:lnTo>
                    <a:lnTo>
                      <a:pt x="510" y="3502"/>
                    </a:lnTo>
                    <a:lnTo>
                      <a:pt x="510" y="3502"/>
                    </a:lnTo>
                    <a:lnTo>
                      <a:pt x="510" y="3502"/>
                    </a:lnTo>
                    <a:lnTo>
                      <a:pt x="510" y="3502"/>
                    </a:lnTo>
                    <a:lnTo>
                      <a:pt x="518" y="3498"/>
                    </a:lnTo>
                    <a:lnTo>
                      <a:pt x="520" y="3496"/>
                    </a:lnTo>
                    <a:lnTo>
                      <a:pt x="522" y="3496"/>
                    </a:lnTo>
                    <a:lnTo>
                      <a:pt x="530" y="3498"/>
                    </a:lnTo>
                    <a:lnTo>
                      <a:pt x="530" y="3498"/>
                    </a:lnTo>
                    <a:lnTo>
                      <a:pt x="544" y="3500"/>
                    </a:lnTo>
                    <a:lnTo>
                      <a:pt x="560" y="3502"/>
                    </a:lnTo>
                    <a:lnTo>
                      <a:pt x="576" y="3504"/>
                    </a:lnTo>
                    <a:lnTo>
                      <a:pt x="584" y="3506"/>
                    </a:lnTo>
                    <a:lnTo>
                      <a:pt x="588" y="3508"/>
                    </a:lnTo>
                    <a:lnTo>
                      <a:pt x="588" y="3508"/>
                    </a:lnTo>
                    <a:lnTo>
                      <a:pt x="596" y="3512"/>
                    </a:lnTo>
                    <a:lnTo>
                      <a:pt x="598" y="3510"/>
                    </a:lnTo>
                    <a:lnTo>
                      <a:pt x="602" y="3508"/>
                    </a:lnTo>
                    <a:lnTo>
                      <a:pt x="606" y="3506"/>
                    </a:lnTo>
                    <a:lnTo>
                      <a:pt x="606" y="3506"/>
                    </a:lnTo>
                    <a:lnTo>
                      <a:pt x="614" y="3506"/>
                    </a:lnTo>
                    <a:lnTo>
                      <a:pt x="620" y="3502"/>
                    </a:lnTo>
                    <a:lnTo>
                      <a:pt x="624" y="3500"/>
                    </a:lnTo>
                    <a:lnTo>
                      <a:pt x="626" y="3502"/>
                    </a:lnTo>
                    <a:lnTo>
                      <a:pt x="626" y="3502"/>
                    </a:lnTo>
                    <a:lnTo>
                      <a:pt x="630" y="3506"/>
                    </a:lnTo>
                    <a:lnTo>
                      <a:pt x="632" y="3504"/>
                    </a:lnTo>
                    <a:lnTo>
                      <a:pt x="634" y="3502"/>
                    </a:lnTo>
                    <a:lnTo>
                      <a:pt x="638" y="3502"/>
                    </a:lnTo>
                    <a:lnTo>
                      <a:pt x="638" y="3502"/>
                    </a:lnTo>
                    <a:lnTo>
                      <a:pt x="640" y="3502"/>
                    </a:lnTo>
                    <a:lnTo>
                      <a:pt x="642" y="3502"/>
                    </a:lnTo>
                    <a:lnTo>
                      <a:pt x="646" y="3494"/>
                    </a:lnTo>
                    <a:lnTo>
                      <a:pt x="646" y="3494"/>
                    </a:lnTo>
                    <a:lnTo>
                      <a:pt x="648" y="3488"/>
                    </a:lnTo>
                    <a:lnTo>
                      <a:pt x="648" y="3486"/>
                    </a:lnTo>
                    <a:lnTo>
                      <a:pt x="642" y="3486"/>
                    </a:lnTo>
                    <a:lnTo>
                      <a:pt x="636" y="3486"/>
                    </a:lnTo>
                    <a:lnTo>
                      <a:pt x="636" y="3486"/>
                    </a:lnTo>
                    <a:close/>
                    <a:moveTo>
                      <a:pt x="436" y="3502"/>
                    </a:moveTo>
                    <a:lnTo>
                      <a:pt x="436" y="3502"/>
                    </a:lnTo>
                    <a:lnTo>
                      <a:pt x="428" y="3504"/>
                    </a:lnTo>
                    <a:lnTo>
                      <a:pt x="426" y="3506"/>
                    </a:lnTo>
                    <a:lnTo>
                      <a:pt x="420" y="3506"/>
                    </a:lnTo>
                    <a:lnTo>
                      <a:pt x="420" y="3506"/>
                    </a:lnTo>
                    <a:lnTo>
                      <a:pt x="414" y="3506"/>
                    </a:lnTo>
                    <a:lnTo>
                      <a:pt x="414" y="3508"/>
                    </a:lnTo>
                    <a:lnTo>
                      <a:pt x="414" y="3510"/>
                    </a:lnTo>
                    <a:lnTo>
                      <a:pt x="414" y="3510"/>
                    </a:lnTo>
                    <a:lnTo>
                      <a:pt x="416" y="3514"/>
                    </a:lnTo>
                    <a:lnTo>
                      <a:pt x="418" y="3514"/>
                    </a:lnTo>
                    <a:lnTo>
                      <a:pt x="428" y="3516"/>
                    </a:lnTo>
                    <a:lnTo>
                      <a:pt x="428" y="3516"/>
                    </a:lnTo>
                    <a:lnTo>
                      <a:pt x="430" y="3516"/>
                    </a:lnTo>
                    <a:lnTo>
                      <a:pt x="432" y="3518"/>
                    </a:lnTo>
                    <a:lnTo>
                      <a:pt x="432" y="3520"/>
                    </a:lnTo>
                    <a:lnTo>
                      <a:pt x="432" y="3522"/>
                    </a:lnTo>
                    <a:lnTo>
                      <a:pt x="436" y="3522"/>
                    </a:lnTo>
                    <a:lnTo>
                      <a:pt x="436" y="3522"/>
                    </a:lnTo>
                    <a:lnTo>
                      <a:pt x="442" y="3518"/>
                    </a:lnTo>
                    <a:lnTo>
                      <a:pt x="442" y="3516"/>
                    </a:lnTo>
                    <a:lnTo>
                      <a:pt x="442" y="3512"/>
                    </a:lnTo>
                    <a:lnTo>
                      <a:pt x="438" y="3512"/>
                    </a:lnTo>
                    <a:lnTo>
                      <a:pt x="438" y="3512"/>
                    </a:lnTo>
                    <a:lnTo>
                      <a:pt x="432" y="3510"/>
                    </a:lnTo>
                    <a:lnTo>
                      <a:pt x="434" y="3508"/>
                    </a:lnTo>
                    <a:lnTo>
                      <a:pt x="438" y="3508"/>
                    </a:lnTo>
                    <a:lnTo>
                      <a:pt x="438" y="3508"/>
                    </a:lnTo>
                    <a:lnTo>
                      <a:pt x="442" y="3506"/>
                    </a:lnTo>
                    <a:lnTo>
                      <a:pt x="444" y="3504"/>
                    </a:lnTo>
                    <a:lnTo>
                      <a:pt x="440" y="3504"/>
                    </a:lnTo>
                    <a:lnTo>
                      <a:pt x="436" y="3502"/>
                    </a:lnTo>
                    <a:lnTo>
                      <a:pt x="436" y="3502"/>
                    </a:lnTo>
                    <a:close/>
                    <a:moveTo>
                      <a:pt x="290" y="2874"/>
                    </a:moveTo>
                    <a:lnTo>
                      <a:pt x="290" y="2874"/>
                    </a:lnTo>
                    <a:lnTo>
                      <a:pt x="292" y="2876"/>
                    </a:lnTo>
                    <a:lnTo>
                      <a:pt x="294" y="2874"/>
                    </a:lnTo>
                    <a:lnTo>
                      <a:pt x="294" y="2872"/>
                    </a:lnTo>
                    <a:lnTo>
                      <a:pt x="294" y="2870"/>
                    </a:lnTo>
                    <a:lnTo>
                      <a:pt x="294" y="2870"/>
                    </a:lnTo>
                    <a:lnTo>
                      <a:pt x="290" y="2868"/>
                    </a:lnTo>
                    <a:lnTo>
                      <a:pt x="290" y="2874"/>
                    </a:lnTo>
                    <a:lnTo>
                      <a:pt x="290" y="2874"/>
                    </a:lnTo>
                    <a:close/>
                    <a:moveTo>
                      <a:pt x="592" y="3524"/>
                    </a:moveTo>
                    <a:lnTo>
                      <a:pt x="592" y="3524"/>
                    </a:lnTo>
                    <a:lnTo>
                      <a:pt x="596" y="3524"/>
                    </a:lnTo>
                    <a:lnTo>
                      <a:pt x="598" y="3524"/>
                    </a:lnTo>
                    <a:lnTo>
                      <a:pt x="598" y="3522"/>
                    </a:lnTo>
                    <a:lnTo>
                      <a:pt x="596" y="3518"/>
                    </a:lnTo>
                    <a:lnTo>
                      <a:pt x="596" y="3518"/>
                    </a:lnTo>
                    <a:lnTo>
                      <a:pt x="594" y="3518"/>
                    </a:lnTo>
                    <a:lnTo>
                      <a:pt x="590" y="3520"/>
                    </a:lnTo>
                    <a:lnTo>
                      <a:pt x="590" y="3522"/>
                    </a:lnTo>
                    <a:lnTo>
                      <a:pt x="592" y="3524"/>
                    </a:lnTo>
                    <a:lnTo>
                      <a:pt x="592" y="3524"/>
                    </a:lnTo>
                    <a:close/>
                    <a:moveTo>
                      <a:pt x="310" y="3406"/>
                    </a:moveTo>
                    <a:lnTo>
                      <a:pt x="310" y="3406"/>
                    </a:lnTo>
                    <a:lnTo>
                      <a:pt x="314" y="3406"/>
                    </a:lnTo>
                    <a:lnTo>
                      <a:pt x="314" y="3406"/>
                    </a:lnTo>
                    <a:lnTo>
                      <a:pt x="318" y="3406"/>
                    </a:lnTo>
                    <a:lnTo>
                      <a:pt x="322" y="3406"/>
                    </a:lnTo>
                    <a:lnTo>
                      <a:pt x="322" y="3406"/>
                    </a:lnTo>
                    <a:lnTo>
                      <a:pt x="326" y="3408"/>
                    </a:lnTo>
                    <a:lnTo>
                      <a:pt x="328" y="3408"/>
                    </a:lnTo>
                    <a:lnTo>
                      <a:pt x="324" y="3402"/>
                    </a:lnTo>
                    <a:lnTo>
                      <a:pt x="324" y="3402"/>
                    </a:lnTo>
                    <a:lnTo>
                      <a:pt x="318" y="3396"/>
                    </a:lnTo>
                    <a:lnTo>
                      <a:pt x="316" y="3394"/>
                    </a:lnTo>
                    <a:lnTo>
                      <a:pt x="314" y="3394"/>
                    </a:lnTo>
                    <a:lnTo>
                      <a:pt x="314" y="3394"/>
                    </a:lnTo>
                    <a:lnTo>
                      <a:pt x="312" y="3394"/>
                    </a:lnTo>
                    <a:lnTo>
                      <a:pt x="310" y="3392"/>
                    </a:lnTo>
                    <a:lnTo>
                      <a:pt x="308" y="3390"/>
                    </a:lnTo>
                    <a:lnTo>
                      <a:pt x="308" y="3390"/>
                    </a:lnTo>
                    <a:lnTo>
                      <a:pt x="308" y="3390"/>
                    </a:lnTo>
                    <a:lnTo>
                      <a:pt x="306" y="3392"/>
                    </a:lnTo>
                    <a:lnTo>
                      <a:pt x="304" y="3390"/>
                    </a:lnTo>
                    <a:lnTo>
                      <a:pt x="294" y="3384"/>
                    </a:lnTo>
                    <a:lnTo>
                      <a:pt x="294" y="3384"/>
                    </a:lnTo>
                    <a:lnTo>
                      <a:pt x="284" y="3382"/>
                    </a:lnTo>
                    <a:lnTo>
                      <a:pt x="280" y="3378"/>
                    </a:lnTo>
                    <a:lnTo>
                      <a:pt x="274" y="3374"/>
                    </a:lnTo>
                    <a:lnTo>
                      <a:pt x="274" y="3374"/>
                    </a:lnTo>
                    <a:lnTo>
                      <a:pt x="268" y="3370"/>
                    </a:lnTo>
                    <a:lnTo>
                      <a:pt x="264" y="3368"/>
                    </a:lnTo>
                    <a:lnTo>
                      <a:pt x="262" y="3370"/>
                    </a:lnTo>
                    <a:lnTo>
                      <a:pt x="266" y="3374"/>
                    </a:lnTo>
                    <a:lnTo>
                      <a:pt x="266" y="3374"/>
                    </a:lnTo>
                    <a:lnTo>
                      <a:pt x="270" y="3376"/>
                    </a:lnTo>
                    <a:lnTo>
                      <a:pt x="270" y="3380"/>
                    </a:lnTo>
                    <a:lnTo>
                      <a:pt x="268" y="3380"/>
                    </a:lnTo>
                    <a:lnTo>
                      <a:pt x="272" y="3382"/>
                    </a:lnTo>
                    <a:lnTo>
                      <a:pt x="272" y="3382"/>
                    </a:lnTo>
                    <a:lnTo>
                      <a:pt x="276" y="3384"/>
                    </a:lnTo>
                    <a:lnTo>
                      <a:pt x="278" y="3388"/>
                    </a:lnTo>
                    <a:lnTo>
                      <a:pt x="282" y="3390"/>
                    </a:lnTo>
                    <a:lnTo>
                      <a:pt x="288" y="3392"/>
                    </a:lnTo>
                    <a:lnTo>
                      <a:pt x="288" y="3392"/>
                    </a:lnTo>
                    <a:lnTo>
                      <a:pt x="294" y="3392"/>
                    </a:lnTo>
                    <a:lnTo>
                      <a:pt x="296" y="3394"/>
                    </a:lnTo>
                    <a:lnTo>
                      <a:pt x="300" y="3396"/>
                    </a:lnTo>
                    <a:lnTo>
                      <a:pt x="300" y="3396"/>
                    </a:lnTo>
                    <a:lnTo>
                      <a:pt x="302" y="3398"/>
                    </a:lnTo>
                    <a:lnTo>
                      <a:pt x="302" y="3398"/>
                    </a:lnTo>
                    <a:lnTo>
                      <a:pt x="304" y="3398"/>
                    </a:lnTo>
                    <a:lnTo>
                      <a:pt x="308" y="3398"/>
                    </a:lnTo>
                    <a:lnTo>
                      <a:pt x="308" y="3398"/>
                    </a:lnTo>
                    <a:lnTo>
                      <a:pt x="310" y="3400"/>
                    </a:lnTo>
                    <a:lnTo>
                      <a:pt x="310" y="3402"/>
                    </a:lnTo>
                    <a:lnTo>
                      <a:pt x="310" y="3404"/>
                    </a:lnTo>
                    <a:lnTo>
                      <a:pt x="310" y="3406"/>
                    </a:lnTo>
                    <a:lnTo>
                      <a:pt x="310" y="3406"/>
                    </a:lnTo>
                    <a:close/>
                    <a:moveTo>
                      <a:pt x="262" y="3306"/>
                    </a:moveTo>
                    <a:lnTo>
                      <a:pt x="262" y="3306"/>
                    </a:lnTo>
                    <a:lnTo>
                      <a:pt x="260" y="3302"/>
                    </a:lnTo>
                    <a:lnTo>
                      <a:pt x="258" y="3302"/>
                    </a:lnTo>
                    <a:lnTo>
                      <a:pt x="258" y="3304"/>
                    </a:lnTo>
                    <a:lnTo>
                      <a:pt x="258" y="3310"/>
                    </a:lnTo>
                    <a:lnTo>
                      <a:pt x="258" y="3310"/>
                    </a:lnTo>
                    <a:lnTo>
                      <a:pt x="258" y="3314"/>
                    </a:lnTo>
                    <a:lnTo>
                      <a:pt x="258" y="3314"/>
                    </a:lnTo>
                    <a:lnTo>
                      <a:pt x="254" y="3308"/>
                    </a:lnTo>
                    <a:lnTo>
                      <a:pt x="254" y="3308"/>
                    </a:lnTo>
                    <a:lnTo>
                      <a:pt x="254" y="3308"/>
                    </a:lnTo>
                    <a:lnTo>
                      <a:pt x="252" y="3308"/>
                    </a:lnTo>
                    <a:lnTo>
                      <a:pt x="250" y="3310"/>
                    </a:lnTo>
                    <a:lnTo>
                      <a:pt x="248" y="3314"/>
                    </a:lnTo>
                    <a:lnTo>
                      <a:pt x="250" y="3318"/>
                    </a:lnTo>
                    <a:lnTo>
                      <a:pt x="250" y="3318"/>
                    </a:lnTo>
                    <a:lnTo>
                      <a:pt x="252" y="3320"/>
                    </a:lnTo>
                    <a:lnTo>
                      <a:pt x="252" y="3322"/>
                    </a:lnTo>
                    <a:lnTo>
                      <a:pt x="250" y="3324"/>
                    </a:lnTo>
                    <a:lnTo>
                      <a:pt x="252" y="3328"/>
                    </a:lnTo>
                    <a:lnTo>
                      <a:pt x="252" y="3328"/>
                    </a:lnTo>
                    <a:lnTo>
                      <a:pt x="252" y="3332"/>
                    </a:lnTo>
                    <a:lnTo>
                      <a:pt x="254" y="3332"/>
                    </a:lnTo>
                    <a:lnTo>
                      <a:pt x="258" y="3324"/>
                    </a:lnTo>
                    <a:lnTo>
                      <a:pt x="258" y="3324"/>
                    </a:lnTo>
                    <a:lnTo>
                      <a:pt x="260" y="3314"/>
                    </a:lnTo>
                    <a:lnTo>
                      <a:pt x="262" y="3310"/>
                    </a:lnTo>
                    <a:lnTo>
                      <a:pt x="262" y="3306"/>
                    </a:lnTo>
                    <a:lnTo>
                      <a:pt x="262" y="3306"/>
                    </a:lnTo>
                    <a:close/>
                    <a:moveTo>
                      <a:pt x="284" y="3406"/>
                    </a:moveTo>
                    <a:lnTo>
                      <a:pt x="284" y="3406"/>
                    </a:lnTo>
                    <a:lnTo>
                      <a:pt x="286" y="3406"/>
                    </a:lnTo>
                    <a:lnTo>
                      <a:pt x="288" y="3404"/>
                    </a:lnTo>
                    <a:lnTo>
                      <a:pt x="290" y="3402"/>
                    </a:lnTo>
                    <a:lnTo>
                      <a:pt x="290" y="3400"/>
                    </a:lnTo>
                    <a:lnTo>
                      <a:pt x="290" y="3400"/>
                    </a:lnTo>
                    <a:lnTo>
                      <a:pt x="286" y="3398"/>
                    </a:lnTo>
                    <a:lnTo>
                      <a:pt x="284" y="3400"/>
                    </a:lnTo>
                    <a:lnTo>
                      <a:pt x="284" y="3404"/>
                    </a:lnTo>
                    <a:lnTo>
                      <a:pt x="284" y="3406"/>
                    </a:lnTo>
                    <a:lnTo>
                      <a:pt x="284" y="3406"/>
                    </a:lnTo>
                    <a:close/>
                    <a:moveTo>
                      <a:pt x="268" y="3336"/>
                    </a:moveTo>
                    <a:lnTo>
                      <a:pt x="268" y="3336"/>
                    </a:lnTo>
                    <a:lnTo>
                      <a:pt x="260" y="3336"/>
                    </a:lnTo>
                    <a:lnTo>
                      <a:pt x="258" y="3336"/>
                    </a:lnTo>
                    <a:lnTo>
                      <a:pt x="256" y="3338"/>
                    </a:lnTo>
                    <a:lnTo>
                      <a:pt x="256" y="3338"/>
                    </a:lnTo>
                    <a:lnTo>
                      <a:pt x="258" y="3340"/>
                    </a:lnTo>
                    <a:lnTo>
                      <a:pt x="262" y="3342"/>
                    </a:lnTo>
                    <a:lnTo>
                      <a:pt x="262" y="3342"/>
                    </a:lnTo>
                    <a:lnTo>
                      <a:pt x="264" y="3342"/>
                    </a:lnTo>
                    <a:lnTo>
                      <a:pt x="268" y="3340"/>
                    </a:lnTo>
                    <a:lnTo>
                      <a:pt x="268" y="3338"/>
                    </a:lnTo>
                    <a:lnTo>
                      <a:pt x="268" y="3336"/>
                    </a:lnTo>
                    <a:lnTo>
                      <a:pt x="268" y="3336"/>
                    </a:lnTo>
                    <a:close/>
                    <a:moveTo>
                      <a:pt x="412" y="3500"/>
                    </a:moveTo>
                    <a:lnTo>
                      <a:pt x="412" y="3500"/>
                    </a:lnTo>
                    <a:lnTo>
                      <a:pt x="406" y="3498"/>
                    </a:lnTo>
                    <a:lnTo>
                      <a:pt x="402" y="3496"/>
                    </a:lnTo>
                    <a:lnTo>
                      <a:pt x="398" y="3498"/>
                    </a:lnTo>
                    <a:lnTo>
                      <a:pt x="398" y="3498"/>
                    </a:lnTo>
                    <a:lnTo>
                      <a:pt x="396" y="3500"/>
                    </a:lnTo>
                    <a:lnTo>
                      <a:pt x="396" y="3502"/>
                    </a:lnTo>
                    <a:lnTo>
                      <a:pt x="398" y="3504"/>
                    </a:lnTo>
                    <a:lnTo>
                      <a:pt x="402" y="3502"/>
                    </a:lnTo>
                    <a:lnTo>
                      <a:pt x="402" y="3502"/>
                    </a:lnTo>
                    <a:lnTo>
                      <a:pt x="406" y="3500"/>
                    </a:lnTo>
                    <a:lnTo>
                      <a:pt x="408" y="3502"/>
                    </a:lnTo>
                    <a:lnTo>
                      <a:pt x="410" y="3502"/>
                    </a:lnTo>
                    <a:lnTo>
                      <a:pt x="414" y="3504"/>
                    </a:lnTo>
                    <a:lnTo>
                      <a:pt x="414" y="3504"/>
                    </a:lnTo>
                    <a:lnTo>
                      <a:pt x="414" y="3502"/>
                    </a:lnTo>
                    <a:lnTo>
                      <a:pt x="416" y="3500"/>
                    </a:lnTo>
                    <a:lnTo>
                      <a:pt x="414" y="3500"/>
                    </a:lnTo>
                    <a:lnTo>
                      <a:pt x="412" y="3500"/>
                    </a:lnTo>
                    <a:lnTo>
                      <a:pt x="412" y="3500"/>
                    </a:lnTo>
                    <a:close/>
                    <a:moveTo>
                      <a:pt x="248" y="3284"/>
                    </a:moveTo>
                    <a:lnTo>
                      <a:pt x="248" y="3284"/>
                    </a:lnTo>
                    <a:lnTo>
                      <a:pt x="244" y="3282"/>
                    </a:lnTo>
                    <a:lnTo>
                      <a:pt x="244" y="3284"/>
                    </a:lnTo>
                    <a:lnTo>
                      <a:pt x="244" y="3292"/>
                    </a:lnTo>
                    <a:lnTo>
                      <a:pt x="244" y="3292"/>
                    </a:lnTo>
                    <a:lnTo>
                      <a:pt x="240" y="3300"/>
                    </a:lnTo>
                    <a:lnTo>
                      <a:pt x="240" y="3302"/>
                    </a:lnTo>
                    <a:lnTo>
                      <a:pt x="244" y="3302"/>
                    </a:lnTo>
                    <a:lnTo>
                      <a:pt x="244" y="3302"/>
                    </a:lnTo>
                    <a:lnTo>
                      <a:pt x="246" y="3300"/>
                    </a:lnTo>
                    <a:lnTo>
                      <a:pt x="246" y="3298"/>
                    </a:lnTo>
                    <a:lnTo>
                      <a:pt x="248" y="3294"/>
                    </a:lnTo>
                    <a:lnTo>
                      <a:pt x="248" y="3292"/>
                    </a:lnTo>
                    <a:lnTo>
                      <a:pt x="248" y="3292"/>
                    </a:lnTo>
                    <a:lnTo>
                      <a:pt x="252" y="3288"/>
                    </a:lnTo>
                    <a:lnTo>
                      <a:pt x="248" y="3284"/>
                    </a:lnTo>
                    <a:lnTo>
                      <a:pt x="248" y="3284"/>
                    </a:lnTo>
                    <a:close/>
                    <a:moveTo>
                      <a:pt x="376" y="3462"/>
                    </a:moveTo>
                    <a:lnTo>
                      <a:pt x="376" y="3462"/>
                    </a:lnTo>
                    <a:lnTo>
                      <a:pt x="376" y="3466"/>
                    </a:lnTo>
                    <a:lnTo>
                      <a:pt x="378" y="3468"/>
                    </a:lnTo>
                    <a:lnTo>
                      <a:pt x="380" y="3468"/>
                    </a:lnTo>
                    <a:lnTo>
                      <a:pt x="380" y="3464"/>
                    </a:lnTo>
                    <a:lnTo>
                      <a:pt x="380" y="3464"/>
                    </a:lnTo>
                    <a:lnTo>
                      <a:pt x="380" y="3462"/>
                    </a:lnTo>
                    <a:lnTo>
                      <a:pt x="382" y="3462"/>
                    </a:lnTo>
                    <a:lnTo>
                      <a:pt x="382" y="3462"/>
                    </a:lnTo>
                    <a:lnTo>
                      <a:pt x="384" y="3460"/>
                    </a:lnTo>
                    <a:lnTo>
                      <a:pt x="384" y="3460"/>
                    </a:lnTo>
                    <a:lnTo>
                      <a:pt x="384" y="3456"/>
                    </a:lnTo>
                    <a:lnTo>
                      <a:pt x="386" y="3454"/>
                    </a:lnTo>
                    <a:lnTo>
                      <a:pt x="386" y="3454"/>
                    </a:lnTo>
                    <a:lnTo>
                      <a:pt x="386" y="3452"/>
                    </a:lnTo>
                    <a:lnTo>
                      <a:pt x="386" y="3452"/>
                    </a:lnTo>
                    <a:lnTo>
                      <a:pt x="386" y="3448"/>
                    </a:lnTo>
                    <a:lnTo>
                      <a:pt x="386" y="3444"/>
                    </a:lnTo>
                    <a:lnTo>
                      <a:pt x="386" y="3442"/>
                    </a:lnTo>
                    <a:lnTo>
                      <a:pt x="384" y="3440"/>
                    </a:lnTo>
                    <a:lnTo>
                      <a:pt x="384" y="3440"/>
                    </a:lnTo>
                    <a:lnTo>
                      <a:pt x="378" y="3438"/>
                    </a:lnTo>
                    <a:lnTo>
                      <a:pt x="376" y="3438"/>
                    </a:lnTo>
                    <a:lnTo>
                      <a:pt x="374" y="3442"/>
                    </a:lnTo>
                    <a:lnTo>
                      <a:pt x="374" y="3442"/>
                    </a:lnTo>
                    <a:lnTo>
                      <a:pt x="372" y="3444"/>
                    </a:lnTo>
                    <a:lnTo>
                      <a:pt x="370" y="3442"/>
                    </a:lnTo>
                    <a:lnTo>
                      <a:pt x="368" y="3442"/>
                    </a:lnTo>
                    <a:lnTo>
                      <a:pt x="364" y="3442"/>
                    </a:lnTo>
                    <a:lnTo>
                      <a:pt x="364" y="3442"/>
                    </a:lnTo>
                    <a:lnTo>
                      <a:pt x="362" y="3444"/>
                    </a:lnTo>
                    <a:lnTo>
                      <a:pt x="362" y="3446"/>
                    </a:lnTo>
                    <a:lnTo>
                      <a:pt x="368" y="3452"/>
                    </a:lnTo>
                    <a:lnTo>
                      <a:pt x="368" y="3452"/>
                    </a:lnTo>
                    <a:lnTo>
                      <a:pt x="374" y="3458"/>
                    </a:lnTo>
                    <a:lnTo>
                      <a:pt x="376" y="3460"/>
                    </a:lnTo>
                    <a:lnTo>
                      <a:pt x="376" y="3462"/>
                    </a:lnTo>
                    <a:lnTo>
                      <a:pt x="376" y="3462"/>
                    </a:lnTo>
                    <a:close/>
                    <a:moveTo>
                      <a:pt x="360" y="3454"/>
                    </a:moveTo>
                    <a:lnTo>
                      <a:pt x="360" y="3454"/>
                    </a:lnTo>
                    <a:lnTo>
                      <a:pt x="358" y="3458"/>
                    </a:lnTo>
                    <a:lnTo>
                      <a:pt x="354" y="3458"/>
                    </a:lnTo>
                    <a:lnTo>
                      <a:pt x="352" y="3460"/>
                    </a:lnTo>
                    <a:lnTo>
                      <a:pt x="354" y="3462"/>
                    </a:lnTo>
                    <a:lnTo>
                      <a:pt x="354" y="3462"/>
                    </a:lnTo>
                    <a:lnTo>
                      <a:pt x="356" y="3464"/>
                    </a:lnTo>
                    <a:lnTo>
                      <a:pt x="358" y="3464"/>
                    </a:lnTo>
                    <a:lnTo>
                      <a:pt x="364" y="3458"/>
                    </a:lnTo>
                    <a:lnTo>
                      <a:pt x="364" y="3458"/>
                    </a:lnTo>
                    <a:lnTo>
                      <a:pt x="364" y="3456"/>
                    </a:lnTo>
                    <a:lnTo>
                      <a:pt x="364" y="3454"/>
                    </a:lnTo>
                    <a:lnTo>
                      <a:pt x="362" y="3452"/>
                    </a:lnTo>
                    <a:lnTo>
                      <a:pt x="360" y="3454"/>
                    </a:lnTo>
                    <a:lnTo>
                      <a:pt x="360" y="3454"/>
                    </a:lnTo>
                    <a:close/>
                    <a:moveTo>
                      <a:pt x="390" y="3462"/>
                    </a:moveTo>
                    <a:lnTo>
                      <a:pt x="390" y="3462"/>
                    </a:lnTo>
                    <a:lnTo>
                      <a:pt x="394" y="3462"/>
                    </a:lnTo>
                    <a:lnTo>
                      <a:pt x="394" y="3460"/>
                    </a:lnTo>
                    <a:lnTo>
                      <a:pt x="396" y="3458"/>
                    </a:lnTo>
                    <a:lnTo>
                      <a:pt x="398" y="3460"/>
                    </a:lnTo>
                    <a:lnTo>
                      <a:pt x="398" y="3460"/>
                    </a:lnTo>
                    <a:lnTo>
                      <a:pt x="402" y="3462"/>
                    </a:lnTo>
                    <a:lnTo>
                      <a:pt x="402" y="3464"/>
                    </a:lnTo>
                    <a:lnTo>
                      <a:pt x="402" y="3466"/>
                    </a:lnTo>
                    <a:lnTo>
                      <a:pt x="406" y="3468"/>
                    </a:lnTo>
                    <a:lnTo>
                      <a:pt x="406" y="3468"/>
                    </a:lnTo>
                    <a:lnTo>
                      <a:pt x="410" y="3468"/>
                    </a:lnTo>
                    <a:lnTo>
                      <a:pt x="412" y="3466"/>
                    </a:lnTo>
                    <a:lnTo>
                      <a:pt x="412" y="3454"/>
                    </a:lnTo>
                    <a:lnTo>
                      <a:pt x="412" y="3454"/>
                    </a:lnTo>
                    <a:lnTo>
                      <a:pt x="410" y="3450"/>
                    </a:lnTo>
                    <a:lnTo>
                      <a:pt x="408" y="3450"/>
                    </a:lnTo>
                    <a:lnTo>
                      <a:pt x="406" y="3450"/>
                    </a:lnTo>
                    <a:lnTo>
                      <a:pt x="402" y="3448"/>
                    </a:lnTo>
                    <a:lnTo>
                      <a:pt x="402" y="3448"/>
                    </a:lnTo>
                    <a:lnTo>
                      <a:pt x="400" y="3444"/>
                    </a:lnTo>
                    <a:lnTo>
                      <a:pt x="394" y="3442"/>
                    </a:lnTo>
                    <a:lnTo>
                      <a:pt x="390" y="3444"/>
                    </a:lnTo>
                    <a:lnTo>
                      <a:pt x="388" y="3446"/>
                    </a:lnTo>
                    <a:lnTo>
                      <a:pt x="388" y="3448"/>
                    </a:lnTo>
                    <a:lnTo>
                      <a:pt x="388" y="3448"/>
                    </a:lnTo>
                    <a:lnTo>
                      <a:pt x="390" y="3454"/>
                    </a:lnTo>
                    <a:lnTo>
                      <a:pt x="388" y="3456"/>
                    </a:lnTo>
                    <a:lnTo>
                      <a:pt x="388" y="3460"/>
                    </a:lnTo>
                    <a:lnTo>
                      <a:pt x="390" y="3462"/>
                    </a:lnTo>
                    <a:lnTo>
                      <a:pt x="390" y="3462"/>
                    </a:lnTo>
                    <a:close/>
                    <a:moveTo>
                      <a:pt x="356" y="3450"/>
                    </a:moveTo>
                    <a:lnTo>
                      <a:pt x="356" y="3450"/>
                    </a:lnTo>
                    <a:lnTo>
                      <a:pt x="358" y="3450"/>
                    </a:lnTo>
                    <a:lnTo>
                      <a:pt x="360" y="3450"/>
                    </a:lnTo>
                    <a:lnTo>
                      <a:pt x="358" y="3444"/>
                    </a:lnTo>
                    <a:lnTo>
                      <a:pt x="358" y="3444"/>
                    </a:lnTo>
                    <a:lnTo>
                      <a:pt x="358" y="3442"/>
                    </a:lnTo>
                    <a:lnTo>
                      <a:pt x="358" y="3440"/>
                    </a:lnTo>
                    <a:lnTo>
                      <a:pt x="362" y="3438"/>
                    </a:lnTo>
                    <a:lnTo>
                      <a:pt x="366" y="3436"/>
                    </a:lnTo>
                    <a:lnTo>
                      <a:pt x="366" y="3434"/>
                    </a:lnTo>
                    <a:lnTo>
                      <a:pt x="366" y="3432"/>
                    </a:lnTo>
                    <a:lnTo>
                      <a:pt x="366" y="3432"/>
                    </a:lnTo>
                    <a:lnTo>
                      <a:pt x="362" y="3430"/>
                    </a:lnTo>
                    <a:lnTo>
                      <a:pt x="360" y="3430"/>
                    </a:lnTo>
                    <a:lnTo>
                      <a:pt x="358" y="3428"/>
                    </a:lnTo>
                    <a:lnTo>
                      <a:pt x="356" y="3426"/>
                    </a:lnTo>
                    <a:lnTo>
                      <a:pt x="356" y="3426"/>
                    </a:lnTo>
                    <a:lnTo>
                      <a:pt x="354" y="3422"/>
                    </a:lnTo>
                    <a:lnTo>
                      <a:pt x="352" y="3420"/>
                    </a:lnTo>
                    <a:lnTo>
                      <a:pt x="348" y="3418"/>
                    </a:lnTo>
                    <a:lnTo>
                      <a:pt x="346" y="3420"/>
                    </a:lnTo>
                    <a:lnTo>
                      <a:pt x="346" y="3420"/>
                    </a:lnTo>
                    <a:lnTo>
                      <a:pt x="344" y="3420"/>
                    </a:lnTo>
                    <a:lnTo>
                      <a:pt x="344" y="3418"/>
                    </a:lnTo>
                    <a:lnTo>
                      <a:pt x="342" y="3418"/>
                    </a:lnTo>
                    <a:lnTo>
                      <a:pt x="340" y="3420"/>
                    </a:lnTo>
                    <a:lnTo>
                      <a:pt x="340" y="3420"/>
                    </a:lnTo>
                    <a:lnTo>
                      <a:pt x="338" y="3422"/>
                    </a:lnTo>
                    <a:lnTo>
                      <a:pt x="338" y="3418"/>
                    </a:lnTo>
                    <a:lnTo>
                      <a:pt x="336" y="3414"/>
                    </a:lnTo>
                    <a:lnTo>
                      <a:pt x="332" y="3410"/>
                    </a:lnTo>
                    <a:lnTo>
                      <a:pt x="332" y="3410"/>
                    </a:lnTo>
                    <a:lnTo>
                      <a:pt x="328" y="3410"/>
                    </a:lnTo>
                    <a:lnTo>
                      <a:pt x="328" y="3412"/>
                    </a:lnTo>
                    <a:lnTo>
                      <a:pt x="328" y="3414"/>
                    </a:lnTo>
                    <a:lnTo>
                      <a:pt x="322" y="3414"/>
                    </a:lnTo>
                    <a:lnTo>
                      <a:pt x="322" y="3414"/>
                    </a:lnTo>
                    <a:lnTo>
                      <a:pt x="320" y="3414"/>
                    </a:lnTo>
                    <a:lnTo>
                      <a:pt x="318" y="3414"/>
                    </a:lnTo>
                    <a:lnTo>
                      <a:pt x="320" y="3418"/>
                    </a:lnTo>
                    <a:lnTo>
                      <a:pt x="322" y="3422"/>
                    </a:lnTo>
                    <a:lnTo>
                      <a:pt x="322" y="3422"/>
                    </a:lnTo>
                    <a:lnTo>
                      <a:pt x="320" y="3422"/>
                    </a:lnTo>
                    <a:lnTo>
                      <a:pt x="320" y="3422"/>
                    </a:lnTo>
                    <a:lnTo>
                      <a:pt x="314" y="3420"/>
                    </a:lnTo>
                    <a:lnTo>
                      <a:pt x="310" y="3422"/>
                    </a:lnTo>
                    <a:lnTo>
                      <a:pt x="308" y="3424"/>
                    </a:lnTo>
                    <a:lnTo>
                      <a:pt x="308" y="3424"/>
                    </a:lnTo>
                    <a:lnTo>
                      <a:pt x="308" y="3426"/>
                    </a:lnTo>
                    <a:lnTo>
                      <a:pt x="310" y="3428"/>
                    </a:lnTo>
                    <a:lnTo>
                      <a:pt x="310" y="3428"/>
                    </a:lnTo>
                    <a:lnTo>
                      <a:pt x="312" y="3430"/>
                    </a:lnTo>
                    <a:lnTo>
                      <a:pt x="312" y="3430"/>
                    </a:lnTo>
                    <a:lnTo>
                      <a:pt x="312" y="3432"/>
                    </a:lnTo>
                    <a:lnTo>
                      <a:pt x="312" y="3432"/>
                    </a:lnTo>
                    <a:lnTo>
                      <a:pt x="316" y="3432"/>
                    </a:lnTo>
                    <a:lnTo>
                      <a:pt x="320" y="3430"/>
                    </a:lnTo>
                    <a:lnTo>
                      <a:pt x="322" y="3432"/>
                    </a:lnTo>
                    <a:lnTo>
                      <a:pt x="322" y="3434"/>
                    </a:lnTo>
                    <a:lnTo>
                      <a:pt x="322" y="3434"/>
                    </a:lnTo>
                    <a:lnTo>
                      <a:pt x="322" y="3442"/>
                    </a:lnTo>
                    <a:lnTo>
                      <a:pt x="324" y="3444"/>
                    </a:lnTo>
                    <a:lnTo>
                      <a:pt x="328" y="3448"/>
                    </a:lnTo>
                    <a:lnTo>
                      <a:pt x="328" y="3448"/>
                    </a:lnTo>
                    <a:lnTo>
                      <a:pt x="330" y="3448"/>
                    </a:lnTo>
                    <a:lnTo>
                      <a:pt x="332" y="3448"/>
                    </a:lnTo>
                    <a:lnTo>
                      <a:pt x="332" y="3442"/>
                    </a:lnTo>
                    <a:lnTo>
                      <a:pt x="332" y="3438"/>
                    </a:lnTo>
                    <a:lnTo>
                      <a:pt x="332" y="3438"/>
                    </a:lnTo>
                    <a:lnTo>
                      <a:pt x="334" y="3438"/>
                    </a:lnTo>
                    <a:lnTo>
                      <a:pt x="334" y="3438"/>
                    </a:lnTo>
                    <a:lnTo>
                      <a:pt x="336" y="3440"/>
                    </a:lnTo>
                    <a:lnTo>
                      <a:pt x="340" y="3438"/>
                    </a:lnTo>
                    <a:lnTo>
                      <a:pt x="342" y="3438"/>
                    </a:lnTo>
                    <a:lnTo>
                      <a:pt x="342" y="3442"/>
                    </a:lnTo>
                    <a:lnTo>
                      <a:pt x="342" y="3442"/>
                    </a:lnTo>
                    <a:lnTo>
                      <a:pt x="340" y="3448"/>
                    </a:lnTo>
                    <a:lnTo>
                      <a:pt x="336" y="3450"/>
                    </a:lnTo>
                    <a:lnTo>
                      <a:pt x="334" y="3452"/>
                    </a:lnTo>
                    <a:lnTo>
                      <a:pt x="338" y="3454"/>
                    </a:lnTo>
                    <a:lnTo>
                      <a:pt x="338" y="3454"/>
                    </a:lnTo>
                    <a:lnTo>
                      <a:pt x="342" y="3454"/>
                    </a:lnTo>
                    <a:lnTo>
                      <a:pt x="346" y="3454"/>
                    </a:lnTo>
                    <a:lnTo>
                      <a:pt x="348" y="3452"/>
                    </a:lnTo>
                    <a:lnTo>
                      <a:pt x="350" y="3452"/>
                    </a:lnTo>
                    <a:lnTo>
                      <a:pt x="350" y="3452"/>
                    </a:lnTo>
                    <a:lnTo>
                      <a:pt x="352" y="3452"/>
                    </a:lnTo>
                    <a:lnTo>
                      <a:pt x="352" y="3450"/>
                    </a:lnTo>
                    <a:lnTo>
                      <a:pt x="354" y="3448"/>
                    </a:lnTo>
                    <a:lnTo>
                      <a:pt x="356" y="3450"/>
                    </a:lnTo>
                    <a:lnTo>
                      <a:pt x="356" y="3450"/>
                    </a:lnTo>
                    <a:close/>
                    <a:moveTo>
                      <a:pt x="490" y="3366"/>
                    </a:moveTo>
                    <a:lnTo>
                      <a:pt x="490" y="3366"/>
                    </a:lnTo>
                    <a:lnTo>
                      <a:pt x="488" y="3366"/>
                    </a:lnTo>
                    <a:lnTo>
                      <a:pt x="486" y="3364"/>
                    </a:lnTo>
                    <a:lnTo>
                      <a:pt x="482" y="3360"/>
                    </a:lnTo>
                    <a:lnTo>
                      <a:pt x="480" y="3354"/>
                    </a:lnTo>
                    <a:lnTo>
                      <a:pt x="478" y="3352"/>
                    </a:lnTo>
                    <a:lnTo>
                      <a:pt x="476" y="3352"/>
                    </a:lnTo>
                    <a:lnTo>
                      <a:pt x="476" y="3352"/>
                    </a:lnTo>
                    <a:lnTo>
                      <a:pt x="472" y="3356"/>
                    </a:lnTo>
                    <a:lnTo>
                      <a:pt x="468" y="3364"/>
                    </a:lnTo>
                    <a:lnTo>
                      <a:pt x="464" y="3370"/>
                    </a:lnTo>
                    <a:lnTo>
                      <a:pt x="460" y="3374"/>
                    </a:lnTo>
                    <a:lnTo>
                      <a:pt x="460" y="3374"/>
                    </a:lnTo>
                    <a:lnTo>
                      <a:pt x="454" y="3374"/>
                    </a:lnTo>
                    <a:lnTo>
                      <a:pt x="450" y="3372"/>
                    </a:lnTo>
                    <a:lnTo>
                      <a:pt x="446" y="3368"/>
                    </a:lnTo>
                    <a:lnTo>
                      <a:pt x="440" y="3370"/>
                    </a:lnTo>
                    <a:lnTo>
                      <a:pt x="440" y="3370"/>
                    </a:lnTo>
                    <a:lnTo>
                      <a:pt x="438" y="3370"/>
                    </a:lnTo>
                    <a:lnTo>
                      <a:pt x="440" y="3372"/>
                    </a:lnTo>
                    <a:lnTo>
                      <a:pt x="442" y="3374"/>
                    </a:lnTo>
                    <a:lnTo>
                      <a:pt x="444" y="3376"/>
                    </a:lnTo>
                    <a:lnTo>
                      <a:pt x="444" y="3376"/>
                    </a:lnTo>
                    <a:lnTo>
                      <a:pt x="444" y="3378"/>
                    </a:lnTo>
                    <a:lnTo>
                      <a:pt x="448" y="3380"/>
                    </a:lnTo>
                    <a:lnTo>
                      <a:pt x="450" y="3382"/>
                    </a:lnTo>
                    <a:lnTo>
                      <a:pt x="448" y="3384"/>
                    </a:lnTo>
                    <a:lnTo>
                      <a:pt x="448" y="3384"/>
                    </a:lnTo>
                    <a:lnTo>
                      <a:pt x="446" y="3388"/>
                    </a:lnTo>
                    <a:lnTo>
                      <a:pt x="444" y="3388"/>
                    </a:lnTo>
                    <a:lnTo>
                      <a:pt x="440" y="3384"/>
                    </a:lnTo>
                    <a:lnTo>
                      <a:pt x="440" y="3384"/>
                    </a:lnTo>
                    <a:lnTo>
                      <a:pt x="438" y="3382"/>
                    </a:lnTo>
                    <a:lnTo>
                      <a:pt x="438" y="3384"/>
                    </a:lnTo>
                    <a:lnTo>
                      <a:pt x="436" y="3388"/>
                    </a:lnTo>
                    <a:lnTo>
                      <a:pt x="436" y="3398"/>
                    </a:lnTo>
                    <a:lnTo>
                      <a:pt x="440" y="3410"/>
                    </a:lnTo>
                    <a:lnTo>
                      <a:pt x="440" y="3410"/>
                    </a:lnTo>
                    <a:lnTo>
                      <a:pt x="442" y="3412"/>
                    </a:lnTo>
                    <a:lnTo>
                      <a:pt x="448" y="3414"/>
                    </a:lnTo>
                    <a:lnTo>
                      <a:pt x="460" y="3410"/>
                    </a:lnTo>
                    <a:lnTo>
                      <a:pt x="474" y="3406"/>
                    </a:lnTo>
                    <a:lnTo>
                      <a:pt x="478" y="3406"/>
                    </a:lnTo>
                    <a:lnTo>
                      <a:pt x="480" y="3408"/>
                    </a:lnTo>
                    <a:lnTo>
                      <a:pt x="480" y="3408"/>
                    </a:lnTo>
                    <a:lnTo>
                      <a:pt x="482" y="3414"/>
                    </a:lnTo>
                    <a:lnTo>
                      <a:pt x="478" y="3418"/>
                    </a:lnTo>
                    <a:lnTo>
                      <a:pt x="472" y="3422"/>
                    </a:lnTo>
                    <a:lnTo>
                      <a:pt x="466" y="3424"/>
                    </a:lnTo>
                    <a:lnTo>
                      <a:pt x="452" y="3430"/>
                    </a:lnTo>
                    <a:lnTo>
                      <a:pt x="448" y="3434"/>
                    </a:lnTo>
                    <a:lnTo>
                      <a:pt x="448" y="3438"/>
                    </a:lnTo>
                    <a:lnTo>
                      <a:pt x="448" y="3438"/>
                    </a:lnTo>
                    <a:lnTo>
                      <a:pt x="452" y="3446"/>
                    </a:lnTo>
                    <a:lnTo>
                      <a:pt x="458" y="3452"/>
                    </a:lnTo>
                    <a:lnTo>
                      <a:pt x="464" y="3458"/>
                    </a:lnTo>
                    <a:lnTo>
                      <a:pt x="474" y="3462"/>
                    </a:lnTo>
                    <a:lnTo>
                      <a:pt x="488" y="3470"/>
                    </a:lnTo>
                    <a:lnTo>
                      <a:pt x="494" y="3472"/>
                    </a:lnTo>
                    <a:lnTo>
                      <a:pt x="496" y="3474"/>
                    </a:lnTo>
                    <a:lnTo>
                      <a:pt x="496" y="3474"/>
                    </a:lnTo>
                    <a:lnTo>
                      <a:pt x="482" y="3472"/>
                    </a:lnTo>
                    <a:lnTo>
                      <a:pt x="476" y="3468"/>
                    </a:lnTo>
                    <a:lnTo>
                      <a:pt x="474" y="3468"/>
                    </a:lnTo>
                    <a:lnTo>
                      <a:pt x="472" y="3468"/>
                    </a:lnTo>
                    <a:lnTo>
                      <a:pt x="472" y="3468"/>
                    </a:lnTo>
                    <a:lnTo>
                      <a:pt x="470" y="3470"/>
                    </a:lnTo>
                    <a:lnTo>
                      <a:pt x="468" y="3470"/>
                    </a:lnTo>
                    <a:lnTo>
                      <a:pt x="462" y="3466"/>
                    </a:lnTo>
                    <a:lnTo>
                      <a:pt x="456" y="3464"/>
                    </a:lnTo>
                    <a:lnTo>
                      <a:pt x="452" y="3464"/>
                    </a:lnTo>
                    <a:lnTo>
                      <a:pt x="450" y="3464"/>
                    </a:lnTo>
                    <a:lnTo>
                      <a:pt x="450" y="3464"/>
                    </a:lnTo>
                    <a:lnTo>
                      <a:pt x="448" y="3466"/>
                    </a:lnTo>
                    <a:lnTo>
                      <a:pt x="448" y="3468"/>
                    </a:lnTo>
                    <a:lnTo>
                      <a:pt x="448" y="3472"/>
                    </a:lnTo>
                    <a:lnTo>
                      <a:pt x="450" y="3472"/>
                    </a:lnTo>
                    <a:lnTo>
                      <a:pt x="448" y="3472"/>
                    </a:lnTo>
                    <a:lnTo>
                      <a:pt x="442" y="3468"/>
                    </a:lnTo>
                    <a:lnTo>
                      <a:pt x="442" y="3468"/>
                    </a:lnTo>
                    <a:lnTo>
                      <a:pt x="422" y="3454"/>
                    </a:lnTo>
                    <a:lnTo>
                      <a:pt x="416" y="3452"/>
                    </a:lnTo>
                    <a:lnTo>
                      <a:pt x="416" y="3454"/>
                    </a:lnTo>
                    <a:lnTo>
                      <a:pt x="418" y="3456"/>
                    </a:lnTo>
                    <a:lnTo>
                      <a:pt x="418" y="3456"/>
                    </a:lnTo>
                    <a:lnTo>
                      <a:pt x="422" y="3462"/>
                    </a:lnTo>
                    <a:lnTo>
                      <a:pt x="428" y="3464"/>
                    </a:lnTo>
                    <a:lnTo>
                      <a:pt x="430" y="3466"/>
                    </a:lnTo>
                    <a:lnTo>
                      <a:pt x="426" y="3466"/>
                    </a:lnTo>
                    <a:lnTo>
                      <a:pt x="426" y="3466"/>
                    </a:lnTo>
                    <a:lnTo>
                      <a:pt x="420" y="3466"/>
                    </a:lnTo>
                    <a:lnTo>
                      <a:pt x="418" y="3468"/>
                    </a:lnTo>
                    <a:lnTo>
                      <a:pt x="416" y="3472"/>
                    </a:lnTo>
                    <a:lnTo>
                      <a:pt x="414" y="3476"/>
                    </a:lnTo>
                    <a:lnTo>
                      <a:pt x="408" y="3474"/>
                    </a:lnTo>
                    <a:lnTo>
                      <a:pt x="408" y="3474"/>
                    </a:lnTo>
                    <a:lnTo>
                      <a:pt x="398" y="3470"/>
                    </a:lnTo>
                    <a:lnTo>
                      <a:pt x="398" y="3470"/>
                    </a:lnTo>
                    <a:lnTo>
                      <a:pt x="398" y="3472"/>
                    </a:lnTo>
                    <a:lnTo>
                      <a:pt x="398" y="3472"/>
                    </a:lnTo>
                    <a:lnTo>
                      <a:pt x="398" y="3472"/>
                    </a:lnTo>
                    <a:lnTo>
                      <a:pt x="396" y="3474"/>
                    </a:lnTo>
                    <a:lnTo>
                      <a:pt x="392" y="3472"/>
                    </a:lnTo>
                    <a:lnTo>
                      <a:pt x="380" y="3470"/>
                    </a:lnTo>
                    <a:lnTo>
                      <a:pt x="380" y="3470"/>
                    </a:lnTo>
                    <a:lnTo>
                      <a:pt x="380" y="3472"/>
                    </a:lnTo>
                    <a:lnTo>
                      <a:pt x="380" y="3472"/>
                    </a:lnTo>
                    <a:lnTo>
                      <a:pt x="382" y="3476"/>
                    </a:lnTo>
                    <a:lnTo>
                      <a:pt x="386" y="3478"/>
                    </a:lnTo>
                    <a:lnTo>
                      <a:pt x="386" y="3480"/>
                    </a:lnTo>
                    <a:lnTo>
                      <a:pt x="386" y="3480"/>
                    </a:lnTo>
                    <a:lnTo>
                      <a:pt x="386" y="3480"/>
                    </a:lnTo>
                    <a:lnTo>
                      <a:pt x="382" y="3480"/>
                    </a:lnTo>
                    <a:lnTo>
                      <a:pt x="376" y="3476"/>
                    </a:lnTo>
                    <a:lnTo>
                      <a:pt x="374" y="3474"/>
                    </a:lnTo>
                    <a:lnTo>
                      <a:pt x="372" y="3474"/>
                    </a:lnTo>
                    <a:lnTo>
                      <a:pt x="374" y="3476"/>
                    </a:lnTo>
                    <a:lnTo>
                      <a:pt x="374" y="3476"/>
                    </a:lnTo>
                    <a:lnTo>
                      <a:pt x="374" y="3482"/>
                    </a:lnTo>
                    <a:lnTo>
                      <a:pt x="374" y="3484"/>
                    </a:lnTo>
                    <a:lnTo>
                      <a:pt x="374" y="3486"/>
                    </a:lnTo>
                    <a:lnTo>
                      <a:pt x="376" y="3486"/>
                    </a:lnTo>
                    <a:lnTo>
                      <a:pt x="376" y="3486"/>
                    </a:lnTo>
                    <a:lnTo>
                      <a:pt x="380" y="3488"/>
                    </a:lnTo>
                    <a:lnTo>
                      <a:pt x="384" y="3486"/>
                    </a:lnTo>
                    <a:lnTo>
                      <a:pt x="390" y="3486"/>
                    </a:lnTo>
                    <a:lnTo>
                      <a:pt x="394" y="3488"/>
                    </a:lnTo>
                    <a:lnTo>
                      <a:pt x="394" y="3488"/>
                    </a:lnTo>
                    <a:lnTo>
                      <a:pt x="394" y="3488"/>
                    </a:lnTo>
                    <a:lnTo>
                      <a:pt x="396" y="3488"/>
                    </a:lnTo>
                    <a:lnTo>
                      <a:pt x="398" y="3484"/>
                    </a:lnTo>
                    <a:lnTo>
                      <a:pt x="400" y="3480"/>
                    </a:lnTo>
                    <a:lnTo>
                      <a:pt x="402" y="3480"/>
                    </a:lnTo>
                    <a:lnTo>
                      <a:pt x="402" y="3480"/>
                    </a:lnTo>
                    <a:lnTo>
                      <a:pt x="404" y="3480"/>
                    </a:lnTo>
                    <a:lnTo>
                      <a:pt x="402" y="3484"/>
                    </a:lnTo>
                    <a:lnTo>
                      <a:pt x="402" y="3486"/>
                    </a:lnTo>
                    <a:lnTo>
                      <a:pt x="404" y="3488"/>
                    </a:lnTo>
                    <a:lnTo>
                      <a:pt x="404" y="3488"/>
                    </a:lnTo>
                    <a:lnTo>
                      <a:pt x="408" y="3488"/>
                    </a:lnTo>
                    <a:lnTo>
                      <a:pt x="412" y="3486"/>
                    </a:lnTo>
                    <a:lnTo>
                      <a:pt x="416" y="3486"/>
                    </a:lnTo>
                    <a:lnTo>
                      <a:pt x="414" y="3488"/>
                    </a:lnTo>
                    <a:lnTo>
                      <a:pt x="414" y="3488"/>
                    </a:lnTo>
                    <a:lnTo>
                      <a:pt x="412" y="3492"/>
                    </a:lnTo>
                    <a:lnTo>
                      <a:pt x="414" y="3494"/>
                    </a:lnTo>
                    <a:lnTo>
                      <a:pt x="416" y="3492"/>
                    </a:lnTo>
                    <a:lnTo>
                      <a:pt x="418" y="3494"/>
                    </a:lnTo>
                    <a:lnTo>
                      <a:pt x="418" y="3494"/>
                    </a:lnTo>
                    <a:lnTo>
                      <a:pt x="422" y="3498"/>
                    </a:lnTo>
                    <a:lnTo>
                      <a:pt x="424" y="3498"/>
                    </a:lnTo>
                    <a:lnTo>
                      <a:pt x="428" y="3496"/>
                    </a:lnTo>
                    <a:lnTo>
                      <a:pt x="428" y="3496"/>
                    </a:lnTo>
                    <a:lnTo>
                      <a:pt x="432" y="3496"/>
                    </a:lnTo>
                    <a:lnTo>
                      <a:pt x="438" y="3498"/>
                    </a:lnTo>
                    <a:lnTo>
                      <a:pt x="442" y="3498"/>
                    </a:lnTo>
                    <a:lnTo>
                      <a:pt x="446" y="3496"/>
                    </a:lnTo>
                    <a:lnTo>
                      <a:pt x="446" y="3496"/>
                    </a:lnTo>
                    <a:lnTo>
                      <a:pt x="450" y="3496"/>
                    </a:lnTo>
                    <a:lnTo>
                      <a:pt x="452" y="3498"/>
                    </a:lnTo>
                    <a:lnTo>
                      <a:pt x="452" y="3500"/>
                    </a:lnTo>
                    <a:lnTo>
                      <a:pt x="456" y="3498"/>
                    </a:lnTo>
                    <a:lnTo>
                      <a:pt x="456" y="3498"/>
                    </a:lnTo>
                    <a:lnTo>
                      <a:pt x="458" y="3496"/>
                    </a:lnTo>
                    <a:lnTo>
                      <a:pt x="462" y="3496"/>
                    </a:lnTo>
                    <a:lnTo>
                      <a:pt x="464" y="3496"/>
                    </a:lnTo>
                    <a:lnTo>
                      <a:pt x="466" y="3492"/>
                    </a:lnTo>
                    <a:lnTo>
                      <a:pt x="466" y="3492"/>
                    </a:lnTo>
                    <a:lnTo>
                      <a:pt x="466" y="3492"/>
                    </a:lnTo>
                    <a:lnTo>
                      <a:pt x="468" y="3494"/>
                    </a:lnTo>
                    <a:lnTo>
                      <a:pt x="470" y="3498"/>
                    </a:lnTo>
                    <a:lnTo>
                      <a:pt x="478" y="3500"/>
                    </a:lnTo>
                    <a:lnTo>
                      <a:pt x="478" y="3500"/>
                    </a:lnTo>
                    <a:lnTo>
                      <a:pt x="496" y="3504"/>
                    </a:lnTo>
                    <a:lnTo>
                      <a:pt x="502" y="3504"/>
                    </a:lnTo>
                    <a:lnTo>
                      <a:pt x="504" y="3504"/>
                    </a:lnTo>
                    <a:lnTo>
                      <a:pt x="504" y="3502"/>
                    </a:lnTo>
                    <a:lnTo>
                      <a:pt x="504" y="3502"/>
                    </a:lnTo>
                    <a:lnTo>
                      <a:pt x="504" y="3500"/>
                    </a:lnTo>
                    <a:lnTo>
                      <a:pt x="506" y="3500"/>
                    </a:lnTo>
                    <a:lnTo>
                      <a:pt x="510" y="3502"/>
                    </a:lnTo>
                    <a:lnTo>
                      <a:pt x="510" y="3364"/>
                    </a:lnTo>
                    <a:lnTo>
                      <a:pt x="510" y="3364"/>
                    </a:lnTo>
                    <a:lnTo>
                      <a:pt x="508" y="3362"/>
                    </a:lnTo>
                    <a:lnTo>
                      <a:pt x="504" y="3360"/>
                    </a:lnTo>
                    <a:lnTo>
                      <a:pt x="500" y="3360"/>
                    </a:lnTo>
                    <a:lnTo>
                      <a:pt x="496" y="3364"/>
                    </a:lnTo>
                    <a:lnTo>
                      <a:pt x="490" y="3366"/>
                    </a:lnTo>
                    <a:lnTo>
                      <a:pt x="490" y="3366"/>
                    </a:lnTo>
                    <a:close/>
                    <a:moveTo>
                      <a:pt x="298" y="2826"/>
                    </a:moveTo>
                    <a:lnTo>
                      <a:pt x="298" y="2826"/>
                    </a:lnTo>
                    <a:lnTo>
                      <a:pt x="304" y="2826"/>
                    </a:lnTo>
                    <a:lnTo>
                      <a:pt x="306" y="2824"/>
                    </a:lnTo>
                    <a:lnTo>
                      <a:pt x="306" y="2822"/>
                    </a:lnTo>
                    <a:lnTo>
                      <a:pt x="304" y="2820"/>
                    </a:lnTo>
                    <a:lnTo>
                      <a:pt x="302" y="2814"/>
                    </a:lnTo>
                    <a:lnTo>
                      <a:pt x="304" y="2812"/>
                    </a:lnTo>
                    <a:lnTo>
                      <a:pt x="308" y="2812"/>
                    </a:lnTo>
                    <a:lnTo>
                      <a:pt x="308" y="2812"/>
                    </a:lnTo>
                    <a:lnTo>
                      <a:pt x="310" y="2812"/>
                    </a:lnTo>
                    <a:lnTo>
                      <a:pt x="312" y="2810"/>
                    </a:lnTo>
                    <a:lnTo>
                      <a:pt x="310" y="2806"/>
                    </a:lnTo>
                    <a:lnTo>
                      <a:pt x="308" y="2800"/>
                    </a:lnTo>
                    <a:lnTo>
                      <a:pt x="308" y="2798"/>
                    </a:lnTo>
                    <a:lnTo>
                      <a:pt x="310" y="2798"/>
                    </a:lnTo>
                    <a:lnTo>
                      <a:pt x="310" y="2798"/>
                    </a:lnTo>
                    <a:lnTo>
                      <a:pt x="314" y="2798"/>
                    </a:lnTo>
                    <a:lnTo>
                      <a:pt x="314" y="2794"/>
                    </a:lnTo>
                    <a:lnTo>
                      <a:pt x="304" y="2784"/>
                    </a:lnTo>
                    <a:lnTo>
                      <a:pt x="304" y="2784"/>
                    </a:lnTo>
                    <a:lnTo>
                      <a:pt x="302" y="2780"/>
                    </a:lnTo>
                    <a:lnTo>
                      <a:pt x="302" y="2778"/>
                    </a:lnTo>
                    <a:lnTo>
                      <a:pt x="306" y="2776"/>
                    </a:lnTo>
                    <a:lnTo>
                      <a:pt x="306" y="2774"/>
                    </a:lnTo>
                    <a:lnTo>
                      <a:pt x="306" y="2774"/>
                    </a:lnTo>
                    <a:lnTo>
                      <a:pt x="306" y="2774"/>
                    </a:lnTo>
                    <a:lnTo>
                      <a:pt x="306" y="2770"/>
                    </a:lnTo>
                    <a:lnTo>
                      <a:pt x="306" y="2768"/>
                    </a:lnTo>
                    <a:lnTo>
                      <a:pt x="316" y="2764"/>
                    </a:lnTo>
                    <a:lnTo>
                      <a:pt x="316" y="2764"/>
                    </a:lnTo>
                    <a:lnTo>
                      <a:pt x="318" y="2764"/>
                    </a:lnTo>
                    <a:lnTo>
                      <a:pt x="320" y="2762"/>
                    </a:lnTo>
                    <a:lnTo>
                      <a:pt x="318" y="2758"/>
                    </a:lnTo>
                    <a:lnTo>
                      <a:pt x="312" y="2748"/>
                    </a:lnTo>
                    <a:lnTo>
                      <a:pt x="312" y="2748"/>
                    </a:lnTo>
                    <a:lnTo>
                      <a:pt x="310" y="2740"/>
                    </a:lnTo>
                    <a:lnTo>
                      <a:pt x="308" y="2738"/>
                    </a:lnTo>
                    <a:lnTo>
                      <a:pt x="302" y="2738"/>
                    </a:lnTo>
                    <a:lnTo>
                      <a:pt x="302" y="2738"/>
                    </a:lnTo>
                    <a:lnTo>
                      <a:pt x="298" y="2740"/>
                    </a:lnTo>
                    <a:lnTo>
                      <a:pt x="298" y="2738"/>
                    </a:lnTo>
                    <a:lnTo>
                      <a:pt x="298" y="2736"/>
                    </a:lnTo>
                    <a:lnTo>
                      <a:pt x="296" y="2736"/>
                    </a:lnTo>
                    <a:lnTo>
                      <a:pt x="296" y="2736"/>
                    </a:lnTo>
                    <a:lnTo>
                      <a:pt x="292" y="2736"/>
                    </a:lnTo>
                    <a:lnTo>
                      <a:pt x="290" y="2736"/>
                    </a:lnTo>
                    <a:lnTo>
                      <a:pt x="290" y="2738"/>
                    </a:lnTo>
                    <a:lnTo>
                      <a:pt x="290" y="2744"/>
                    </a:lnTo>
                    <a:lnTo>
                      <a:pt x="290" y="2744"/>
                    </a:lnTo>
                    <a:lnTo>
                      <a:pt x="290" y="2752"/>
                    </a:lnTo>
                    <a:lnTo>
                      <a:pt x="288" y="2756"/>
                    </a:lnTo>
                    <a:lnTo>
                      <a:pt x="286" y="2762"/>
                    </a:lnTo>
                    <a:lnTo>
                      <a:pt x="284" y="2770"/>
                    </a:lnTo>
                    <a:lnTo>
                      <a:pt x="284" y="2770"/>
                    </a:lnTo>
                    <a:lnTo>
                      <a:pt x="284" y="2778"/>
                    </a:lnTo>
                    <a:lnTo>
                      <a:pt x="286" y="2782"/>
                    </a:lnTo>
                    <a:lnTo>
                      <a:pt x="286" y="2790"/>
                    </a:lnTo>
                    <a:lnTo>
                      <a:pt x="282" y="2802"/>
                    </a:lnTo>
                    <a:lnTo>
                      <a:pt x="282" y="2802"/>
                    </a:lnTo>
                    <a:lnTo>
                      <a:pt x="278" y="2814"/>
                    </a:lnTo>
                    <a:lnTo>
                      <a:pt x="278" y="2818"/>
                    </a:lnTo>
                    <a:lnTo>
                      <a:pt x="280" y="2822"/>
                    </a:lnTo>
                    <a:lnTo>
                      <a:pt x="286" y="2824"/>
                    </a:lnTo>
                    <a:lnTo>
                      <a:pt x="298" y="2826"/>
                    </a:lnTo>
                    <a:lnTo>
                      <a:pt x="298" y="2826"/>
                    </a:lnTo>
                    <a:close/>
                    <a:moveTo>
                      <a:pt x="316" y="2894"/>
                    </a:moveTo>
                    <a:lnTo>
                      <a:pt x="316" y="2894"/>
                    </a:lnTo>
                    <a:lnTo>
                      <a:pt x="316" y="2898"/>
                    </a:lnTo>
                    <a:lnTo>
                      <a:pt x="318" y="2902"/>
                    </a:lnTo>
                    <a:lnTo>
                      <a:pt x="318" y="2902"/>
                    </a:lnTo>
                    <a:lnTo>
                      <a:pt x="318" y="2904"/>
                    </a:lnTo>
                    <a:lnTo>
                      <a:pt x="318" y="2906"/>
                    </a:lnTo>
                    <a:lnTo>
                      <a:pt x="318" y="2906"/>
                    </a:lnTo>
                    <a:lnTo>
                      <a:pt x="320" y="2908"/>
                    </a:lnTo>
                    <a:lnTo>
                      <a:pt x="320" y="2908"/>
                    </a:lnTo>
                    <a:lnTo>
                      <a:pt x="324" y="2910"/>
                    </a:lnTo>
                    <a:lnTo>
                      <a:pt x="330" y="2910"/>
                    </a:lnTo>
                    <a:lnTo>
                      <a:pt x="336" y="2902"/>
                    </a:lnTo>
                    <a:lnTo>
                      <a:pt x="336" y="2902"/>
                    </a:lnTo>
                    <a:lnTo>
                      <a:pt x="338" y="2900"/>
                    </a:lnTo>
                    <a:lnTo>
                      <a:pt x="338" y="2898"/>
                    </a:lnTo>
                    <a:lnTo>
                      <a:pt x="338" y="2896"/>
                    </a:lnTo>
                    <a:lnTo>
                      <a:pt x="338" y="2896"/>
                    </a:lnTo>
                    <a:lnTo>
                      <a:pt x="338" y="2896"/>
                    </a:lnTo>
                    <a:lnTo>
                      <a:pt x="342" y="2894"/>
                    </a:lnTo>
                    <a:lnTo>
                      <a:pt x="344" y="2890"/>
                    </a:lnTo>
                    <a:lnTo>
                      <a:pt x="342" y="2886"/>
                    </a:lnTo>
                    <a:lnTo>
                      <a:pt x="338" y="2882"/>
                    </a:lnTo>
                    <a:lnTo>
                      <a:pt x="338" y="2882"/>
                    </a:lnTo>
                    <a:lnTo>
                      <a:pt x="332" y="2880"/>
                    </a:lnTo>
                    <a:lnTo>
                      <a:pt x="330" y="2880"/>
                    </a:lnTo>
                    <a:lnTo>
                      <a:pt x="330" y="2882"/>
                    </a:lnTo>
                    <a:lnTo>
                      <a:pt x="328" y="2882"/>
                    </a:lnTo>
                    <a:lnTo>
                      <a:pt x="328" y="2882"/>
                    </a:lnTo>
                    <a:lnTo>
                      <a:pt x="326" y="2882"/>
                    </a:lnTo>
                    <a:lnTo>
                      <a:pt x="324" y="2882"/>
                    </a:lnTo>
                    <a:lnTo>
                      <a:pt x="324" y="2884"/>
                    </a:lnTo>
                    <a:lnTo>
                      <a:pt x="322" y="2888"/>
                    </a:lnTo>
                    <a:lnTo>
                      <a:pt x="322" y="2888"/>
                    </a:lnTo>
                    <a:lnTo>
                      <a:pt x="322" y="2892"/>
                    </a:lnTo>
                    <a:lnTo>
                      <a:pt x="320" y="2894"/>
                    </a:lnTo>
                    <a:lnTo>
                      <a:pt x="318" y="2894"/>
                    </a:lnTo>
                    <a:lnTo>
                      <a:pt x="316" y="2894"/>
                    </a:lnTo>
                    <a:lnTo>
                      <a:pt x="316" y="2894"/>
                    </a:lnTo>
                    <a:close/>
                    <a:moveTo>
                      <a:pt x="258" y="2836"/>
                    </a:moveTo>
                    <a:lnTo>
                      <a:pt x="258" y="2836"/>
                    </a:lnTo>
                    <a:lnTo>
                      <a:pt x="262" y="2838"/>
                    </a:lnTo>
                    <a:lnTo>
                      <a:pt x="264" y="2838"/>
                    </a:lnTo>
                    <a:lnTo>
                      <a:pt x="266" y="2836"/>
                    </a:lnTo>
                    <a:lnTo>
                      <a:pt x="266" y="2834"/>
                    </a:lnTo>
                    <a:lnTo>
                      <a:pt x="266" y="2834"/>
                    </a:lnTo>
                    <a:lnTo>
                      <a:pt x="262" y="2832"/>
                    </a:lnTo>
                    <a:lnTo>
                      <a:pt x="260" y="2832"/>
                    </a:lnTo>
                    <a:lnTo>
                      <a:pt x="258" y="2834"/>
                    </a:lnTo>
                    <a:lnTo>
                      <a:pt x="258" y="2836"/>
                    </a:lnTo>
                    <a:lnTo>
                      <a:pt x="258" y="2836"/>
                    </a:lnTo>
                    <a:close/>
                    <a:moveTo>
                      <a:pt x="324" y="2852"/>
                    </a:moveTo>
                    <a:lnTo>
                      <a:pt x="324" y="2852"/>
                    </a:lnTo>
                    <a:lnTo>
                      <a:pt x="320" y="2856"/>
                    </a:lnTo>
                    <a:lnTo>
                      <a:pt x="322" y="2858"/>
                    </a:lnTo>
                    <a:lnTo>
                      <a:pt x="324" y="2860"/>
                    </a:lnTo>
                    <a:lnTo>
                      <a:pt x="324" y="2860"/>
                    </a:lnTo>
                    <a:lnTo>
                      <a:pt x="324" y="2860"/>
                    </a:lnTo>
                    <a:lnTo>
                      <a:pt x="326" y="2858"/>
                    </a:lnTo>
                    <a:lnTo>
                      <a:pt x="326" y="2854"/>
                    </a:lnTo>
                    <a:lnTo>
                      <a:pt x="326" y="2852"/>
                    </a:lnTo>
                    <a:lnTo>
                      <a:pt x="324" y="2850"/>
                    </a:lnTo>
                    <a:lnTo>
                      <a:pt x="324" y="2852"/>
                    </a:lnTo>
                    <a:lnTo>
                      <a:pt x="324" y="2852"/>
                    </a:lnTo>
                    <a:close/>
                    <a:moveTo>
                      <a:pt x="266" y="2958"/>
                    </a:moveTo>
                    <a:lnTo>
                      <a:pt x="266" y="2958"/>
                    </a:lnTo>
                    <a:lnTo>
                      <a:pt x="270" y="2958"/>
                    </a:lnTo>
                    <a:lnTo>
                      <a:pt x="270" y="2954"/>
                    </a:lnTo>
                    <a:lnTo>
                      <a:pt x="270" y="2950"/>
                    </a:lnTo>
                    <a:lnTo>
                      <a:pt x="268" y="2950"/>
                    </a:lnTo>
                    <a:lnTo>
                      <a:pt x="268" y="2950"/>
                    </a:lnTo>
                    <a:lnTo>
                      <a:pt x="266" y="2952"/>
                    </a:lnTo>
                    <a:lnTo>
                      <a:pt x="264" y="2954"/>
                    </a:lnTo>
                    <a:lnTo>
                      <a:pt x="264" y="2956"/>
                    </a:lnTo>
                    <a:lnTo>
                      <a:pt x="266" y="2958"/>
                    </a:lnTo>
                    <a:lnTo>
                      <a:pt x="266" y="2958"/>
                    </a:lnTo>
                    <a:close/>
                    <a:moveTo>
                      <a:pt x="244" y="3242"/>
                    </a:moveTo>
                    <a:lnTo>
                      <a:pt x="244" y="3242"/>
                    </a:lnTo>
                    <a:lnTo>
                      <a:pt x="248" y="3238"/>
                    </a:lnTo>
                    <a:lnTo>
                      <a:pt x="248" y="3236"/>
                    </a:lnTo>
                    <a:lnTo>
                      <a:pt x="246" y="3236"/>
                    </a:lnTo>
                    <a:lnTo>
                      <a:pt x="240" y="3234"/>
                    </a:lnTo>
                    <a:lnTo>
                      <a:pt x="240" y="3234"/>
                    </a:lnTo>
                    <a:lnTo>
                      <a:pt x="234" y="3234"/>
                    </a:lnTo>
                    <a:lnTo>
                      <a:pt x="234" y="3236"/>
                    </a:lnTo>
                    <a:lnTo>
                      <a:pt x="236" y="3240"/>
                    </a:lnTo>
                    <a:lnTo>
                      <a:pt x="236" y="3242"/>
                    </a:lnTo>
                    <a:lnTo>
                      <a:pt x="236" y="3242"/>
                    </a:lnTo>
                    <a:lnTo>
                      <a:pt x="232" y="3248"/>
                    </a:lnTo>
                    <a:lnTo>
                      <a:pt x="234" y="3250"/>
                    </a:lnTo>
                    <a:lnTo>
                      <a:pt x="238" y="3252"/>
                    </a:lnTo>
                    <a:lnTo>
                      <a:pt x="238" y="3252"/>
                    </a:lnTo>
                    <a:lnTo>
                      <a:pt x="242" y="3254"/>
                    </a:lnTo>
                    <a:lnTo>
                      <a:pt x="242" y="3250"/>
                    </a:lnTo>
                    <a:lnTo>
                      <a:pt x="242" y="3246"/>
                    </a:lnTo>
                    <a:lnTo>
                      <a:pt x="244" y="3242"/>
                    </a:lnTo>
                    <a:lnTo>
                      <a:pt x="244" y="3242"/>
                    </a:lnTo>
                    <a:close/>
                    <a:moveTo>
                      <a:pt x="302" y="2848"/>
                    </a:moveTo>
                    <a:lnTo>
                      <a:pt x="302" y="2848"/>
                    </a:lnTo>
                    <a:lnTo>
                      <a:pt x="300" y="2846"/>
                    </a:lnTo>
                    <a:lnTo>
                      <a:pt x="298" y="2846"/>
                    </a:lnTo>
                    <a:lnTo>
                      <a:pt x="296" y="2846"/>
                    </a:lnTo>
                    <a:lnTo>
                      <a:pt x="292" y="2846"/>
                    </a:lnTo>
                    <a:lnTo>
                      <a:pt x="292" y="2846"/>
                    </a:lnTo>
                    <a:lnTo>
                      <a:pt x="288" y="2846"/>
                    </a:lnTo>
                    <a:lnTo>
                      <a:pt x="286" y="2848"/>
                    </a:lnTo>
                    <a:lnTo>
                      <a:pt x="288" y="2850"/>
                    </a:lnTo>
                    <a:lnTo>
                      <a:pt x="292" y="2854"/>
                    </a:lnTo>
                    <a:lnTo>
                      <a:pt x="292" y="2854"/>
                    </a:lnTo>
                    <a:lnTo>
                      <a:pt x="294" y="2854"/>
                    </a:lnTo>
                    <a:lnTo>
                      <a:pt x="296" y="2854"/>
                    </a:lnTo>
                    <a:lnTo>
                      <a:pt x="296" y="2854"/>
                    </a:lnTo>
                    <a:lnTo>
                      <a:pt x="300" y="2852"/>
                    </a:lnTo>
                    <a:lnTo>
                      <a:pt x="302" y="2850"/>
                    </a:lnTo>
                    <a:lnTo>
                      <a:pt x="302" y="2848"/>
                    </a:lnTo>
                    <a:lnTo>
                      <a:pt x="302" y="2848"/>
                    </a:lnTo>
                    <a:close/>
                    <a:moveTo>
                      <a:pt x="302" y="2912"/>
                    </a:moveTo>
                    <a:lnTo>
                      <a:pt x="302" y="2912"/>
                    </a:lnTo>
                    <a:lnTo>
                      <a:pt x="304" y="2910"/>
                    </a:lnTo>
                    <a:lnTo>
                      <a:pt x="302" y="2906"/>
                    </a:lnTo>
                    <a:lnTo>
                      <a:pt x="300" y="2904"/>
                    </a:lnTo>
                    <a:lnTo>
                      <a:pt x="298" y="2904"/>
                    </a:lnTo>
                    <a:lnTo>
                      <a:pt x="298" y="2904"/>
                    </a:lnTo>
                    <a:lnTo>
                      <a:pt x="296" y="2906"/>
                    </a:lnTo>
                    <a:lnTo>
                      <a:pt x="298" y="2910"/>
                    </a:lnTo>
                    <a:lnTo>
                      <a:pt x="300" y="2912"/>
                    </a:lnTo>
                    <a:lnTo>
                      <a:pt x="302" y="2912"/>
                    </a:lnTo>
                    <a:lnTo>
                      <a:pt x="302" y="2912"/>
                    </a:lnTo>
                    <a:close/>
                    <a:moveTo>
                      <a:pt x="306" y="2942"/>
                    </a:moveTo>
                    <a:lnTo>
                      <a:pt x="306" y="2942"/>
                    </a:lnTo>
                    <a:lnTo>
                      <a:pt x="304" y="2942"/>
                    </a:lnTo>
                    <a:lnTo>
                      <a:pt x="302" y="2948"/>
                    </a:lnTo>
                    <a:lnTo>
                      <a:pt x="302" y="2952"/>
                    </a:lnTo>
                    <a:lnTo>
                      <a:pt x="304" y="2958"/>
                    </a:lnTo>
                    <a:lnTo>
                      <a:pt x="304" y="2958"/>
                    </a:lnTo>
                    <a:lnTo>
                      <a:pt x="306" y="2958"/>
                    </a:lnTo>
                    <a:lnTo>
                      <a:pt x="308" y="2958"/>
                    </a:lnTo>
                    <a:lnTo>
                      <a:pt x="308" y="2952"/>
                    </a:lnTo>
                    <a:lnTo>
                      <a:pt x="308" y="2952"/>
                    </a:lnTo>
                    <a:lnTo>
                      <a:pt x="310" y="2944"/>
                    </a:lnTo>
                    <a:lnTo>
                      <a:pt x="308" y="2942"/>
                    </a:lnTo>
                    <a:lnTo>
                      <a:pt x="306" y="2942"/>
                    </a:lnTo>
                    <a:lnTo>
                      <a:pt x="306" y="2942"/>
                    </a:lnTo>
                    <a:close/>
                    <a:moveTo>
                      <a:pt x="278" y="2958"/>
                    </a:moveTo>
                    <a:lnTo>
                      <a:pt x="278" y="2958"/>
                    </a:lnTo>
                    <a:lnTo>
                      <a:pt x="280" y="2956"/>
                    </a:lnTo>
                    <a:lnTo>
                      <a:pt x="284" y="2952"/>
                    </a:lnTo>
                    <a:lnTo>
                      <a:pt x="284" y="2952"/>
                    </a:lnTo>
                    <a:lnTo>
                      <a:pt x="286" y="2950"/>
                    </a:lnTo>
                    <a:lnTo>
                      <a:pt x="284" y="2946"/>
                    </a:lnTo>
                    <a:lnTo>
                      <a:pt x="280" y="2942"/>
                    </a:lnTo>
                    <a:lnTo>
                      <a:pt x="280" y="2942"/>
                    </a:lnTo>
                    <a:lnTo>
                      <a:pt x="276" y="2942"/>
                    </a:lnTo>
                    <a:lnTo>
                      <a:pt x="274" y="2944"/>
                    </a:lnTo>
                    <a:lnTo>
                      <a:pt x="272" y="2946"/>
                    </a:lnTo>
                    <a:lnTo>
                      <a:pt x="274" y="2950"/>
                    </a:lnTo>
                    <a:lnTo>
                      <a:pt x="274" y="2950"/>
                    </a:lnTo>
                    <a:lnTo>
                      <a:pt x="274" y="2952"/>
                    </a:lnTo>
                    <a:lnTo>
                      <a:pt x="274" y="2956"/>
                    </a:lnTo>
                    <a:lnTo>
                      <a:pt x="274" y="2958"/>
                    </a:lnTo>
                    <a:lnTo>
                      <a:pt x="278" y="2958"/>
                    </a:lnTo>
                    <a:lnTo>
                      <a:pt x="278" y="2958"/>
                    </a:lnTo>
                    <a:close/>
                    <a:moveTo>
                      <a:pt x="1872" y="956"/>
                    </a:moveTo>
                    <a:lnTo>
                      <a:pt x="1872" y="956"/>
                    </a:lnTo>
                    <a:lnTo>
                      <a:pt x="1868" y="926"/>
                    </a:lnTo>
                    <a:lnTo>
                      <a:pt x="1864" y="900"/>
                    </a:lnTo>
                    <a:lnTo>
                      <a:pt x="1862" y="888"/>
                    </a:lnTo>
                    <a:lnTo>
                      <a:pt x="1858" y="876"/>
                    </a:lnTo>
                    <a:lnTo>
                      <a:pt x="1852" y="868"/>
                    </a:lnTo>
                    <a:lnTo>
                      <a:pt x="1844" y="858"/>
                    </a:lnTo>
                    <a:lnTo>
                      <a:pt x="1844" y="858"/>
                    </a:lnTo>
                    <a:lnTo>
                      <a:pt x="1836" y="852"/>
                    </a:lnTo>
                    <a:lnTo>
                      <a:pt x="1830" y="850"/>
                    </a:lnTo>
                    <a:lnTo>
                      <a:pt x="1824" y="850"/>
                    </a:lnTo>
                    <a:lnTo>
                      <a:pt x="1816" y="850"/>
                    </a:lnTo>
                    <a:lnTo>
                      <a:pt x="1810" y="852"/>
                    </a:lnTo>
                    <a:lnTo>
                      <a:pt x="1800" y="850"/>
                    </a:lnTo>
                    <a:lnTo>
                      <a:pt x="1788" y="846"/>
                    </a:lnTo>
                    <a:lnTo>
                      <a:pt x="1774" y="838"/>
                    </a:lnTo>
                    <a:lnTo>
                      <a:pt x="1774" y="838"/>
                    </a:lnTo>
                    <a:lnTo>
                      <a:pt x="1760" y="828"/>
                    </a:lnTo>
                    <a:lnTo>
                      <a:pt x="1750" y="820"/>
                    </a:lnTo>
                    <a:lnTo>
                      <a:pt x="1744" y="814"/>
                    </a:lnTo>
                    <a:lnTo>
                      <a:pt x="1740" y="808"/>
                    </a:lnTo>
                    <a:lnTo>
                      <a:pt x="1734" y="796"/>
                    </a:lnTo>
                    <a:lnTo>
                      <a:pt x="1728" y="788"/>
                    </a:lnTo>
                    <a:lnTo>
                      <a:pt x="1718" y="780"/>
                    </a:lnTo>
                    <a:lnTo>
                      <a:pt x="1718" y="780"/>
                    </a:lnTo>
                    <a:lnTo>
                      <a:pt x="1698" y="762"/>
                    </a:lnTo>
                    <a:lnTo>
                      <a:pt x="1688" y="754"/>
                    </a:lnTo>
                    <a:lnTo>
                      <a:pt x="1680" y="748"/>
                    </a:lnTo>
                    <a:lnTo>
                      <a:pt x="1670" y="742"/>
                    </a:lnTo>
                    <a:lnTo>
                      <a:pt x="1660" y="740"/>
                    </a:lnTo>
                    <a:lnTo>
                      <a:pt x="1646" y="740"/>
                    </a:lnTo>
                    <a:lnTo>
                      <a:pt x="1632" y="740"/>
                    </a:lnTo>
                    <a:lnTo>
                      <a:pt x="1632" y="740"/>
                    </a:lnTo>
                    <a:lnTo>
                      <a:pt x="1618" y="742"/>
                    </a:lnTo>
                    <a:lnTo>
                      <a:pt x="1602" y="742"/>
                    </a:lnTo>
                    <a:lnTo>
                      <a:pt x="1590" y="742"/>
                    </a:lnTo>
                    <a:lnTo>
                      <a:pt x="1578" y="738"/>
                    </a:lnTo>
                    <a:lnTo>
                      <a:pt x="1556" y="732"/>
                    </a:lnTo>
                    <a:lnTo>
                      <a:pt x="1536" y="722"/>
                    </a:lnTo>
                    <a:lnTo>
                      <a:pt x="1536" y="722"/>
                    </a:lnTo>
                    <a:lnTo>
                      <a:pt x="1530" y="722"/>
                    </a:lnTo>
                    <a:lnTo>
                      <a:pt x="1526" y="722"/>
                    </a:lnTo>
                    <a:lnTo>
                      <a:pt x="1516" y="724"/>
                    </a:lnTo>
                    <a:lnTo>
                      <a:pt x="1508" y="730"/>
                    </a:lnTo>
                    <a:lnTo>
                      <a:pt x="1500" y="738"/>
                    </a:lnTo>
                    <a:lnTo>
                      <a:pt x="1488" y="750"/>
                    </a:lnTo>
                    <a:lnTo>
                      <a:pt x="1482" y="754"/>
                    </a:lnTo>
                    <a:lnTo>
                      <a:pt x="1482" y="754"/>
                    </a:lnTo>
                    <a:lnTo>
                      <a:pt x="1480" y="752"/>
                    </a:lnTo>
                    <a:lnTo>
                      <a:pt x="1480" y="752"/>
                    </a:lnTo>
                    <a:lnTo>
                      <a:pt x="1478" y="748"/>
                    </a:lnTo>
                    <a:lnTo>
                      <a:pt x="1478" y="742"/>
                    </a:lnTo>
                    <a:lnTo>
                      <a:pt x="1482" y="728"/>
                    </a:lnTo>
                    <a:lnTo>
                      <a:pt x="1486" y="716"/>
                    </a:lnTo>
                    <a:lnTo>
                      <a:pt x="1488" y="712"/>
                    </a:lnTo>
                    <a:lnTo>
                      <a:pt x="1486" y="708"/>
                    </a:lnTo>
                    <a:lnTo>
                      <a:pt x="1486" y="708"/>
                    </a:lnTo>
                    <a:lnTo>
                      <a:pt x="1482" y="702"/>
                    </a:lnTo>
                    <a:lnTo>
                      <a:pt x="1480" y="698"/>
                    </a:lnTo>
                    <a:lnTo>
                      <a:pt x="1478" y="688"/>
                    </a:lnTo>
                    <a:lnTo>
                      <a:pt x="1476" y="684"/>
                    </a:lnTo>
                    <a:lnTo>
                      <a:pt x="1470" y="680"/>
                    </a:lnTo>
                    <a:lnTo>
                      <a:pt x="1464" y="678"/>
                    </a:lnTo>
                    <a:lnTo>
                      <a:pt x="1454" y="674"/>
                    </a:lnTo>
                    <a:lnTo>
                      <a:pt x="1454" y="674"/>
                    </a:lnTo>
                    <a:lnTo>
                      <a:pt x="1444" y="670"/>
                    </a:lnTo>
                    <a:lnTo>
                      <a:pt x="1438" y="668"/>
                    </a:lnTo>
                    <a:lnTo>
                      <a:pt x="1428" y="658"/>
                    </a:lnTo>
                    <a:lnTo>
                      <a:pt x="1420" y="652"/>
                    </a:lnTo>
                    <a:lnTo>
                      <a:pt x="1416" y="650"/>
                    </a:lnTo>
                    <a:lnTo>
                      <a:pt x="1410" y="650"/>
                    </a:lnTo>
                    <a:lnTo>
                      <a:pt x="1410" y="650"/>
                    </a:lnTo>
                    <a:lnTo>
                      <a:pt x="1400" y="648"/>
                    </a:lnTo>
                    <a:lnTo>
                      <a:pt x="1392" y="644"/>
                    </a:lnTo>
                    <a:lnTo>
                      <a:pt x="1382" y="640"/>
                    </a:lnTo>
                    <a:lnTo>
                      <a:pt x="1362" y="638"/>
                    </a:lnTo>
                    <a:lnTo>
                      <a:pt x="1362" y="638"/>
                    </a:lnTo>
                    <a:lnTo>
                      <a:pt x="1354" y="638"/>
                    </a:lnTo>
                    <a:lnTo>
                      <a:pt x="1348" y="640"/>
                    </a:lnTo>
                    <a:lnTo>
                      <a:pt x="1340" y="644"/>
                    </a:lnTo>
                    <a:lnTo>
                      <a:pt x="1332" y="654"/>
                    </a:lnTo>
                    <a:lnTo>
                      <a:pt x="1326" y="662"/>
                    </a:lnTo>
                    <a:lnTo>
                      <a:pt x="1318" y="676"/>
                    </a:lnTo>
                    <a:lnTo>
                      <a:pt x="1314" y="678"/>
                    </a:lnTo>
                    <a:lnTo>
                      <a:pt x="1312" y="674"/>
                    </a:lnTo>
                    <a:lnTo>
                      <a:pt x="1312" y="674"/>
                    </a:lnTo>
                    <a:lnTo>
                      <a:pt x="1310" y="666"/>
                    </a:lnTo>
                    <a:lnTo>
                      <a:pt x="1314" y="658"/>
                    </a:lnTo>
                    <a:lnTo>
                      <a:pt x="1322" y="642"/>
                    </a:lnTo>
                    <a:lnTo>
                      <a:pt x="1326" y="634"/>
                    </a:lnTo>
                    <a:lnTo>
                      <a:pt x="1326" y="628"/>
                    </a:lnTo>
                    <a:lnTo>
                      <a:pt x="1326" y="626"/>
                    </a:lnTo>
                    <a:lnTo>
                      <a:pt x="1322" y="622"/>
                    </a:lnTo>
                    <a:lnTo>
                      <a:pt x="1314" y="618"/>
                    </a:lnTo>
                    <a:lnTo>
                      <a:pt x="1314" y="618"/>
                    </a:lnTo>
                    <a:lnTo>
                      <a:pt x="1296" y="614"/>
                    </a:lnTo>
                    <a:lnTo>
                      <a:pt x="1288" y="614"/>
                    </a:lnTo>
                    <a:lnTo>
                      <a:pt x="1278" y="616"/>
                    </a:lnTo>
                    <a:lnTo>
                      <a:pt x="1256" y="612"/>
                    </a:lnTo>
                    <a:lnTo>
                      <a:pt x="1256" y="612"/>
                    </a:lnTo>
                    <a:lnTo>
                      <a:pt x="1246" y="612"/>
                    </a:lnTo>
                    <a:lnTo>
                      <a:pt x="1240" y="614"/>
                    </a:lnTo>
                    <a:lnTo>
                      <a:pt x="1234" y="620"/>
                    </a:lnTo>
                    <a:lnTo>
                      <a:pt x="1230" y="626"/>
                    </a:lnTo>
                    <a:lnTo>
                      <a:pt x="1230" y="634"/>
                    </a:lnTo>
                    <a:lnTo>
                      <a:pt x="1228" y="642"/>
                    </a:lnTo>
                    <a:lnTo>
                      <a:pt x="1228" y="656"/>
                    </a:lnTo>
                    <a:lnTo>
                      <a:pt x="1228" y="656"/>
                    </a:lnTo>
                    <a:lnTo>
                      <a:pt x="1226" y="652"/>
                    </a:lnTo>
                    <a:lnTo>
                      <a:pt x="1222" y="652"/>
                    </a:lnTo>
                    <a:lnTo>
                      <a:pt x="1216" y="658"/>
                    </a:lnTo>
                    <a:lnTo>
                      <a:pt x="1214" y="660"/>
                    </a:lnTo>
                    <a:lnTo>
                      <a:pt x="1212" y="660"/>
                    </a:lnTo>
                    <a:lnTo>
                      <a:pt x="1212" y="658"/>
                    </a:lnTo>
                    <a:lnTo>
                      <a:pt x="1214" y="650"/>
                    </a:lnTo>
                    <a:lnTo>
                      <a:pt x="1214" y="650"/>
                    </a:lnTo>
                    <a:lnTo>
                      <a:pt x="1216" y="642"/>
                    </a:lnTo>
                    <a:lnTo>
                      <a:pt x="1214" y="638"/>
                    </a:lnTo>
                    <a:lnTo>
                      <a:pt x="1210" y="636"/>
                    </a:lnTo>
                    <a:lnTo>
                      <a:pt x="1206" y="638"/>
                    </a:lnTo>
                    <a:lnTo>
                      <a:pt x="1198" y="640"/>
                    </a:lnTo>
                    <a:lnTo>
                      <a:pt x="1198" y="640"/>
                    </a:lnTo>
                    <a:lnTo>
                      <a:pt x="1198" y="636"/>
                    </a:lnTo>
                    <a:lnTo>
                      <a:pt x="1198" y="636"/>
                    </a:lnTo>
                    <a:lnTo>
                      <a:pt x="1202" y="632"/>
                    </a:lnTo>
                    <a:lnTo>
                      <a:pt x="1202" y="628"/>
                    </a:lnTo>
                    <a:lnTo>
                      <a:pt x="1204" y="620"/>
                    </a:lnTo>
                    <a:lnTo>
                      <a:pt x="1204" y="616"/>
                    </a:lnTo>
                    <a:lnTo>
                      <a:pt x="1206" y="614"/>
                    </a:lnTo>
                    <a:lnTo>
                      <a:pt x="1210" y="610"/>
                    </a:lnTo>
                    <a:lnTo>
                      <a:pt x="1216" y="608"/>
                    </a:lnTo>
                    <a:lnTo>
                      <a:pt x="1216" y="608"/>
                    </a:lnTo>
                    <a:lnTo>
                      <a:pt x="1224" y="604"/>
                    </a:lnTo>
                    <a:lnTo>
                      <a:pt x="1230" y="596"/>
                    </a:lnTo>
                    <a:lnTo>
                      <a:pt x="1240" y="582"/>
                    </a:lnTo>
                    <a:lnTo>
                      <a:pt x="1248" y="566"/>
                    </a:lnTo>
                    <a:lnTo>
                      <a:pt x="1254" y="560"/>
                    </a:lnTo>
                    <a:lnTo>
                      <a:pt x="1260" y="556"/>
                    </a:lnTo>
                    <a:lnTo>
                      <a:pt x="1260" y="556"/>
                    </a:lnTo>
                    <a:lnTo>
                      <a:pt x="1264" y="554"/>
                    </a:lnTo>
                    <a:lnTo>
                      <a:pt x="1266" y="548"/>
                    </a:lnTo>
                    <a:lnTo>
                      <a:pt x="1266" y="542"/>
                    </a:lnTo>
                    <a:lnTo>
                      <a:pt x="1266" y="536"/>
                    </a:lnTo>
                    <a:lnTo>
                      <a:pt x="1264" y="528"/>
                    </a:lnTo>
                    <a:lnTo>
                      <a:pt x="1260" y="524"/>
                    </a:lnTo>
                    <a:lnTo>
                      <a:pt x="1256" y="520"/>
                    </a:lnTo>
                    <a:lnTo>
                      <a:pt x="1252" y="518"/>
                    </a:lnTo>
                    <a:lnTo>
                      <a:pt x="1252" y="518"/>
                    </a:lnTo>
                    <a:lnTo>
                      <a:pt x="1244" y="518"/>
                    </a:lnTo>
                    <a:lnTo>
                      <a:pt x="1240" y="516"/>
                    </a:lnTo>
                    <a:lnTo>
                      <a:pt x="1238" y="514"/>
                    </a:lnTo>
                    <a:lnTo>
                      <a:pt x="1238" y="508"/>
                    </a:lnTo>
                    <a:lnTo>
                      <a:pt x="1238" y="508"/>
                    </a:lnTo>
                    <a:lnTo>
                      <a:pt x="1236" y="504"/>
                    </a:lnTo>
                    <a:lnTo>
                      <a:pt x="1234" y="502"/>
                    </a:lnTo>
                    <a:lnTo>
                      <a:pt x="1234" y="500"/>
                    </a:lnTo>
                    <a:lnTo>
                      <a:pt x="1232" y="494"/>
                    </a:lnTo>
                    <a:lnTo>
                      <a:pt x="1232" y="494"/>
                    </a:lnTo>
                    <a:lnTo>
                      <a:pt x="1232" y="490"/>
                    </a:lnTo>
                    <a:lnTo>
                      <a:pt x="1230" y="488"/>
                    </a:lnTo>
                    <a:lnTo>
                      <a:pt x="1228" y="484"/>
                    </a:lnTo>
                    <a:lnTo>
                      <a:pt x="1226" y="480"/>
                    </a:lnTo>
                    <a:lnTo>
                      <a:pt x="1226" y="480"/>
                    </a:lnTo>
                    <a:lnTo>
                      <a:pt x="1226" y="476"/>
                    </a:lnTo>
                    <a:lnTo>
                      <a:pt x="1226" y="472"/>
                    </a:lnTo>
                    <a:lnTo>
                      <a:pt x="1222" y="466"/>
                    </a:lnTo>
                    <a:lnTo>
                      <a:pt x="1222" y="466"/>
                    </a:lnTo>
                    <a:lnTo>
                      <a:pt x="1220" y="444"/>
                    </a:lnTo>
                    <a:lnTo>
                      <a:pt x="1218" y="422"/>
                    </a:lnTo>
                    <a:lnTo>
                      <a:pt x="1218" y="422"/>
                    </a:lnTo>
                    <a:lnTo>
                      <a:pt x="1218" y="418"/>
                    </a:lnTo>
                    <a:lnTo>
                      <a:pt x="1216" y="416"/>
                    </a:lnTo>
                    <a:lnTo>
                      <a:pt x="1214" y="414"/>
                    </a:lnTo>
                    <a:lnTo>
                      <a:pt x="1212" y="410"/>
                    </a:lnTo>
                    <a:lnTo>
                      <a:pt x="1212" y="410"/>
                    </a:lnTo>
                    <a:lnTo>
                      <a:pt x="1206" y="398"/>
                    </a:lnTo>
                    <a:lnTo>
                      <a:pt x="1202" y="392"/>
                    </a:lnTo>
                    <a:lnTo>
                      <a:pt x="1200" y="392"/>
                    </a:lnTo>
                    <a:lnTo>
                      <a:pt x="1200" y="392"/>
                    </a:lnTo>
                    <a:lnTo>
                      <a:pt x="1198" y="394"/>
                    </a:lnTo>
                    <a:lnTo>
                      <a:pt x="1198" y="396"/>
                    </a:lnTo>
                    <a:lnTo>
                      <a:pt x="1196" y="402"/>
                    </a:lnTo>
                    <a:lnTo>
                      <a:pt x="1192" y="410"/>
                    </a:lnTo>
                    <a:lnTo>
                      <a:pt x="1192" y="410"/>
                    </a:lnTo>
                    <a:lnTo>
                      <a:pt x="1192" y="406"/>
                    </a:lnTo>
                    <a:lnTo>
                      <a:pt x="1192" y="404"/>
                    </a:lnTo>
                    <a:lnTo>
                      <a:pt x="1192" y="400"/>
                    </a:lnTo>
                    <a:lnTo>
                      <a:pt x="1192" y="394"/>
                    </a:lnTo>
                    <a:lnTo>
                      <a:pt x="1192" y="394"/>
                    </a:lnTo>
                    <a:lnTo>
                      <a:pt x="1188" y="380"/>
                    </a:lnTo>
                    <a:lnTo>
                      <a:pt x="1188" y="380"/>
                    </a:lnTo>
                    <a:lnTo>
                      <a:pt x="1186" y="380"/>
                    </a:lnTo>
                    <a:lnTo>
                      <a:pt x="1184" y="382"/>
                    </a:lnTo>
                    <a:lnTo>
                      <a:pt x="1182" y="382"/>
                    </a:lnTo>
                    <a:lnTo>
                      <a:pt x="1180" y="380"/>
                    </a:lnTo>
                    <a:lnTo>
                      <a:pt x="1178" y="374"/>
                    </a:lnTo>
                    <a:lnTo>
                      <a:pt x="1178" y="374"/>
                    </a:lnTo>
                    <a:lnTo>
                      <a:pt x="1174" y="372"/>
                    </a:lnTo>
                    <a:lnTo>
                      <a:pt x="1172" y="368"/>
                    </a:lnTo>
                    <a:lnTo>
                      <a:pt x="1166" y="364"/>
                    </a:lnTo>
                    <a:lnTo>
                      <a:pt x="1158" y="360"/>
                    </a:lnTo>
                    <a:lnTo>
                      <a:pt x="1154" y="356"/>
                    </a:lnTo>
                    <a:lnTo>
                      <a:pt x="1150" y="350"/>
                    </a:lnTo>
                    <a:lnTo>
                      <a:pt x="1150" y="350"/>
                    </a:lnTo>
                    <a:lnTo>
                      <a:pt x="1148" y="346"/>
                    </a:lnTo>
                    <a:lnTo>
                      <a:pt x="1144" y="342"/>
                    </a:lnTo>
                    <a:lnTo>
                      <a:pt x="1136" y="338"/>
                    </a:lnTo>
                    <a:lnTo>
                      <a:pt x="1126" y="334"/>
                    </a:lnTo>
                    <a:lnTo>
                      <a:pt x="1114" y="330"/>
                    </a:lnTo>
                    <a:lnTo>
                      <a:pt x="1114" y="330"/>
                    </a:lnTo>
                    <a:lnTo>
                      <a:pt x="1102" y="324"/>
                    </a:lnTo>
                    <a:lnTo>
                      <a:pt x="1102" y="324"/>
                    </a:lnTo>
                    <a:lnTo>
                      <a:pt x="1102" y="324"/>
                    </a:lnTo>
                    <a:lnTo>
                      <a:pt x="1102" y="324"/>
                    </a:lnTo>
                    <a:lnTo>
                      <a:pt x="1072" y="316"/>
                    </a:lnTo>
                    <a:lnTo>
                      <a:pt x="1060" y="314"/>
                    </a:lnTo>
                    <a:lnTo>
                      <a:pt x="1056" y="314"/>
                    </a:lnTo>
                    <a:lnTo>
                      <a:pt x="1056" y="314"/>
                    </a:lnTo>
                    <a:lnTo>
                      <a:pt x="1054" y="316"/>
                    </a:lnTo>
                    <a:lnTo>
                      <a:pt x="1048" y="316"/>
                    </a:lnTo>
                    <a:lnTo>
                      <a:pt x="1038" y="314"/>
                    </a:lnTo>
                    <a:lnTo>
                      <a:pt x="1038" y="314"/>
                    </a:lnTo>
                    <a:lnTo>
                      <a:pt x="1026" y="314"/>
                    </a:lnTo>
                    <a:lnTo>
                      <a:pt x="1024" y="316"/>
                    </a:lnTo>
                    <a:lnTo>
                      <a:pt x="1022" y="318"/>
                    </a:lnTo>
                    <a:lnTo>
                      <a:pt x="1022" y="318"/>
                    </a:lnTo>
                    <a:lnTo>
                      <a:pt x="1022" y="322"/>
                    </a:lnTo>
                    <a:lnTo>
                      <a:pt x="1018" y="322"/>
                    </a:lnTo>
                    <a:lnTo>
                      <a:pt x="1006" y="318"/>
                    </a:lnTo>
                    <a:lnTo>
                      <a:pt x="998" y="316"/>
                    </a:lnTo>
                    <a:lnTo>
                      <a:pt x="990" y="314"/>
                    </a:lnTo>
                    <a:lnTo>
                      <a:pt x="982" y="316"/>
                    </a:lnTo>
                    <a:lnTo>
                      <a:pt x="974" y="318"/>
                    </a:lnTo>
                    <a:lnTo>
                      <a:pt x="974" y="318"/>
                    </a:lnTo>
                    <a:lnTo>
                      <a:pt x="972" y="316"/>
                    </a:lnTo>
                    <a:lnTo>
                      <a:pt x="972" y="314"/>
                    </a:lnTo>
                    <a:lnTo>
                      <a:pt x="968" y="308"/>
                    </a:lnTo>
                    <a:lnTo>
                      <a:pt x="966" y="302"/>
                    </a:lnTo>
                    <a:lnTo>
                      <a:pt x="964" y="300"/>
                    </a:lnTo>
                    <a:lnTo>
                      <a:pt x="962" y="298"/>
                    </a:lnTo>
                    <a:lnTo>
                      <a:pt x="962" y="298"/>
                    </a:lnTo>
                    <a:lnTo>
                      <a:pt x="958" y="296"/>
                    </a:lnTo>
                    <a:lnTo>
                      <a:pt x="956" y="294"/>
                    </a:lnTo>
                    <a:lnTo>
                      <a:pt x="954" y="288"/>
                    </a:lnTo>
                    <a:lnTo>
                      <a:pt x="952" y="284"/>
                    </a:lnTo>
                    <a:lnTo>
                      <a:pt x="948" y="280"/>
                    </a:lnTo>
                    <a:lnTo>
                      <a:pt x="942" y="276"/>
                    </a:lnTo>
                    <a:lnTo>
                      <a:pt x="934" y="274"/>
                    </a:lnTo>
                    <a:lnTo>
                      <a:pt x="934" y="274"/>
                    </a:lnTo>
                    <a:lnTo>
                      <a:pt x="920" y="270"/>
                    </a:lnTo>
                    <a:lnTo>
                      <a:pt x="916" y="268"/>
                    </a:lnTo>
                    <a:lnTo>
                      <a:pt x="916" y="264"/>
                    </a:lnTo>
                    <a:lnTo>
                      <a:pt x="918" y="254"/>
                    </a:lnTo>
                    <a:lnTo>
                      <a:pt x="918" y="254"/>
                    </a:lnTo>
                    <a:lnTo>
                      <a:pt x="918" y="248"/>
                    </a:lnTo>
                    <a:lnTo>
                      <a:pt x="918" y="242"/>
                    </a:lnTo>
                    <a:lnTo>
                      <a:pt x="914" y="234"/>
                    </a:lnTo>
                    <a:lnTo>
                      <a:pt x="908" y="228"/>
                    </a:lnTo>
                    <a:lnTo>
                      <a:pt x="892" y="214"/>
                    </a:lnTo>
                    <a:lnTo>
                      <a:pt x="868" y="198"/>
                    </a:lnTo>
                    <a:lnTo>
                      <a:pt x="868" y="198"/>
                    </a:lnTo>
                    <a:lnTo>
                      <a:pt x="862" y="192"/>
                    </a:lnTo>
                    <a:lnTo>
                      <a:pt x="862" y="192"/>
                    </a:lnTo>
                    <a:lnTo>
                      <a:pt x="852" y="188"/>
                    </a:lnTo>
                    <a:lnTo>
                      <a:pt x="840" y="188"/>
                    </a:lnTo>
                    <a:lnTo>
                      <a:pt x="830" y="188"/>
                    </a:lnTo>
                    <a:lnTo>
                      <a:pt x="818" y="190"/>
                    </a:lnTo>
                    <a:lnTo>
                      <a:pt x="804" y="194"/>
                    </a:lnTo>
                    <a:lnTo>
                      <a:pt x="802" y="192"/>
                    </a:lnTo>
                    <a:lnTo>
                      <a:pt x="804" y="190"/>
                    </a:lnTo>
                    <a:lnTo>
                      <a:pt x="804" y="190"/>
                    </a:lnTo>
                    <a:lnTo>
                      <a:pt x="808" y="184"/>
                    </a:lnTo>
                    <a:lnTo>
                      <a:pt x="810" y="180"/>
                    </a:lnTo>
                    <a:lnTo>
                      <a:pt x="812" y="172"/>
                    </a:lnTo>
                    <a:lnTo>
                      <a:pt x="814" y="164"/>
                    </a:lnTo>
                    <a:lnTo>
                      <a:pt x="816" y="160"/>
                    </a:lnTo>
                    <a:lnTo>
                      <a:pt x="822" y="156"/>
                    </a:lnTo>
                    <a:lnTo>
                      <a:pt x="822" y="156"/>
                    </a:lnTo>
                    <a:lnTo>
                      <a:pt x="826" y="152"/>
                    </a:lnTo>
                    <a:lnTo>
                      <a:pt x="826" y="150"/>
                    </a:lnTo>
                    <a:lnTo>
                      <a:pt x="826" y="148"/>
                    </a:lnTo>
                    <a:lnTo>
                      <a:pt x="822" y="146"/>
                    </a:lnTo>
                    <a:lnTo>
                      <a:pt x="814" y="142"/>
                    </a:lnTo>
                    <a:lnTo>
                      <a:pt x="810" y="138"/>
                    </a:lnTo>
                    <a:lnTo>
                      <a:pt x="808" y="134"/>
                    </a:lnTo>
                    <a:lnTo>
                      <a:pt x="808" y="134"/>
                    </a:lnTo>
                    <a:lnTo>
                      <a:pt x="804" y="130"/>
                    </a:lnTo>
                    <a:lnTo>
                      <a:pt x="800" y="128"/>
                    </a:lnTo>
                    <a:lnTo>
                      <a:pt x="792" y="128"/>
                    </a:lnTo>
                    <a:lnTo>
                      <a:pt x="784" y="126"/>
                    </a:lnTo>
                    <a:lnTo>
                      <a:pt x="780" y="124"/>
                    </a:lnTo>
                    <a:lnTo>
                      <a:pt x="778" y="122"/>
                    </a:lnTo>
                    <a:lnTo>
                      <a:pt x="778" y="122"/>
                    </a:lnTo>
                    <a:lnTo>
                      <a:pt x="772" y="116"/>
                    </a:lnTo>
                    <a:lnTo>
                      <a:pt x="766" y="112"/>
                    </a:lnTo>
                    <a:lnTo>
                      <a:pt x="752" y="104"/>
                    </a:lnTo>
                    <a:lnTo>
                      <a:pt x="746" y="100"/>
                    </a:lnTo>
                    <a:lnTo>
                      <a:pt x="744" y="98"/>
                    </a:lnTo>
                    <a:lnTo>
                      <a:pt x="748" y="94"/>
                    </a:lnTo>
                    <a:lnTo>
                      <a:pt x="756" y="92"/>
                    </a:lnTo>
                    <a:lnTo>
                      <a:pt x="756" y="92"/>
                    </a:lnTo>
                    <a:lnTo>
                      <a:pt x="772" y="88"/>
                    </a:lnTo>
                    <a:lnTo>
                      <a:pt x="782" y="84"/>
                    </a:lnTo>
                    <a:lnTo>
                      <a:pt x="782" y="82"/>
                    </a:lnTo>
                    <a:lnTo>
                      <a:pt x="778" y="80"/>
                    </a:lnTo>
                    <a:lnTo>
                      <a:pt x="762" y="78"/>
                    </a:lnTo>
                    <a:lnTo>
                      <a:pt x="762" y="78"/>
                    </a:lnTo>
                    <a:lnTo>
                      <a:pt x="744" y="78"/>
                    </a:lnTo>
                    <a:lnTo>
                      <a:pt x="736" y="80"/>
                    </a:lnTo>
                    <a:lnTo>
                      <a:pt x="726" y="82"/>
                    </a:lnTo>
                    <a:lnTo>
                      <a:pt x="706" y="84"/>
                    </a:lnTo>
                    <a:lnTo>
                      <a:pt x="706" y="84"/>
                    </a:lnTo>
                    <a:lnTo>
                      <a:pt x="696" y="84"/>
                    </a:lnTo>
                    <a:lnTo>
                      <a:pt x="688" y="86"/>
                    </a:lnTo>
                    <a:lnTo>
                      <a:pt x="684" y="88"/>
                    </a:lnTo>
                    <a:lnTo>
                      <a:pt x="682" y="92"/>
                    </a:lnTo>
                    <a:lnTo>
                      <a:pt x="680" y="98"/>
                    </a:lnTo>
                    <a:lnTo>
                      <a:pt x="678" y="100"/>
                    </a:lnTo>
                    <a:lnTo>
                      <a:pt x="674" y="104"/>
                    </a:lnTo>
                    <a:lnTo>
                      <a:pt x="674" y="104"/>
                    </a:lnTo>
                    <a:lnTo>
                      <a:pt x="662" y="110"/>
                    </a:lnTo>
                    <a:lnTo>
                      <a:pt x="654" y="112"/>
                    </a:lnTo>
                    <a:lnTo>
                      <a:pt x="646" y="112"/>
                    </a:lnTo>
                    <a:lnTo>
                      <a:pt x="638" y="112"/>
                    </a:lnTo>
                    <a:lnTo>
                      <a:pt x="630" y="108"/>
                    </a:lnTo>
                    <a:lnTo>
                      <a:pt x="622" y="102"/>
                    </a:lnTo>
                    <a:lnTo>
                      <a:pt x="616" y="94"/>
                    </a:lnTo>
                    <a:lnTo>
                      <a:pt x="616" y="94"/>
                    </a:lnTo>
                    <a:lnTo>
                      <a:pt x="612" y="88"/>
                    </a:lnTo>
                    <a:lnTo>
                      <a:pt x="608" y="86"/>
                    </a:lnTo>
                    <a:lnTo>
                      <a:pt x="602" y="84"/>
                    </a:lnTo>
                    <a:lnTo>
                      <a:pt x="594" y="84"/>
                    </a:lnTo>
                    <a:lnTo>
                      <a:pt x="580" y="86"/>
                    </a:lnTo>
                    <a:lnTo>
                      <a:pt x="564" y="90"/>
                    </a:lnTo>
                    <a:lnTo>
                      <a:pt x="548" y="94"/>
                    </a:lnTo>
                    <a:lnTo>
                      <a:pt x="536" y="94"/>
                    </a:lnTo>
                    <a:lnTo>
                      <a:pt x="530" y="92"/>
                    </a:lnTo>
                    <a:lnTo>
                      <a:pt x="526" y="90"/>
                    </a:lnTo>
                    <a:lnTo>
                      <a:pt x="524" y="84"/>
                    </a:lnTo>
                    <a:lnTo>
                      <a:pt x="522" y="78"/>
                    </a:lnTo>
                    <a:lnTo>
                      <a:pt x="522" y="78"/>
                    </a:lnTo>
                    <a:lnTo>
                      <a:pt x="520" y="64"/>
                    </a:lnTo>
                    <a:lnTo>
                      <a:pt x="516" y="56"/>
                    </a:lnTo>
                    <a:lnTo>
                      <a:pt x="508" y="50"/>
                    </a:lnTo>
                    <a:lnTo>
                      <a:pt x="500" y="46"/>
                    </a:lnTo>
                    <a:lnTo>
                      <a:pt x="490" y="44"/>
                    </a:lnTo>
                    <a:lnTo>
                      <a:pt x="482" y="40"/>
                    </a:lnTo>
                    <a:lnTo>
                      <a:pt x="474" y="32"/>
                    </a:lnTo>
                    <a:lnTo>
                      <a:pt x="468" y="22"/>
                    </a:lnTo>
                    <a:lnTo>
                      <a:pt x="468" y="22"/>
                    </a:lnTo>
                    <a:lnTo>
                      <a:pt x="464" y="12"/>
                    </a:lnTo>
                    <a:lnTo>
                      <a:pt x="458" y="8"/>
                    </a:lnTo>
                    <a:lnTo>
                      <a:pt x="454" y="8"/>
                    </a:lnTo>
                    <a:lnTo>
                      <a:pt x="450" y="10"/>
                    </a:lnTo>
                    <a:lnTo>
                      <a:pt x="446" y="16"/>
                    </a:lnTo>
                    <a:lnTo>
                      <a:pt x="444" y="22"/>
                    </a:lnTo>
                    <a:lnTo>
                      <a:pt x="444" y="28"/>
                    </a:lnTo>
                    <a:lnTo>
                      <a:pt x="444" y="34"/>
                    </a:lnTo>
                    <a:lnTo>
                      <a:pt x="444" y="34"/>
                    </a:lnTo>
                    <a:lnTo>
                      <a:pt x="448" y="40"/>
                    </a:lnTo>
                    <a:lnTo>
                      <a:pt x="452" y="48"/>
                    </a:lnTo>
                    <a:lnTo>
                      <a:pt x="452" y="50"/>
                    </a:lnTo>
                    <a:lnTo>
                      <a:pt x="448" y="52"/>
                    </a:lnTo>
                    <a:lnTo>
                      <a:pt x="430" y="56"/>
                    </a:lnTo>
                    <a:lnTo>
                      <a:pt x="430" y="56"/>
                    </a:lnTo>
                    <a:lnTo>
                      <a:pt x="420" y="60"/>
                    </a:lnTo>
                    <a:lnTo>
                      <a:pt x="410" y="64"/>
                    </a:lnTo>
                    <a:lnTo>
                      <a:pt x="402" y="70"/>
                    </a:lnTo>
                    <a:lnTo>
                      <a:pt x="398" y="74"/>
                    </a:lnTo>
                    <a:lnTo>
                      <a:pt x="392" y="80"/>
                    </a:lnTo>
                    <a:lnTo>
                      <a:pt x="390" y="78"/>
                    </a:lnTo>
                    <a:lnTo>
                      <a:pt x="388" y="72"/>
                    </a:lnTo>
                    <a:lnTo>
                      <a:pt x="388" y="72"/>
                    </a:lnTo>
                    <a:lnTo>
                      <a:pt x="386" y="64"/>
                    </a:lnTo>
                    <a:lnTo>
                      <a:pt x="380" y="56"/>
                    </a:lnTo>
                    <a:lnTo>
                      <a:pt x="380" y="56"/>
                    </a:lnTo>
                    <a:lnTo>
                      <a:pt x="376" y="52"/>
                    </a:lnTo>
                    <a:lnTo>
                      <a:pt x="376" y="48"/>
                    </a:lnTo>
                    <a:lnTo>
                      <a:pt x="378" y="44"/>
                    </a:lnTo>
                    <a:lnTo>
                      <a:pt x="382" y="40"/>
                    </a:lnTo>
                    <a:lnTo>
                      <a:pt x="392" y="32"/>
                    </a:lnTo>
                    <a:lnTo>
                      <a:pt x="402" y="26"/>
                    </a:lnTo>
                    <a:lnTo>
                      <a:pt x="402" y="26"/>
                    </a:lnTo>
                    <a:lnTo>
                      <a:pt x="402" y="26"/>
                    </a:lnTo>
                    <a:lnTo>
                      <a:pt x="402" y="26"/>
                    </a:lnTo>
                    <a:lnTo>
                      <a:pt x="406" y="24"/>
                    </a:lnTo>
                    <a:lnTo>
                      <a:pt x="410" y="20"/>
                    </a:lnTo>
                    <a:lnTo>
                      <a:pt x="410" y="14"/>
                    </a:lnTo>
                    <a:lnTo>
                      <a:pt x="410" y="10"/>
                    </a:lnTo>
                    <a:lnTo>
                      <a:pt x="408" y="6"/>
                    </a:lnTo>
                    <a:lnTo>
                      <a:pt x="404" y="2"/>
                    </a:lnTo>
                    <a:lnTo>
                      <a:pt x="398" y="0"/>
                    </a:lnTo>
                    <a:lnTo>
                      <a:pt x="390" y="0"/>
                    </a:lnTo>
                    <a:lnTo>
                      <a:pt x="390" y="0"/>
                    </a:lnTo>
                    <a:lnTo>
                      <a:pt x="378" y="4"/>
                    </a:lnTo>
                    <a:lnTo>
                      <a:pt x="374" y="6"/>
                    </a:lnTo>
                    <a:lnTo>
                      <a:pt x="370" y="10"/>
                    </a:lnTo>
                    <a:lnTo>
                      <a:pt x="362" y="20"/>
                    </a:lnTo>
                    <a:lnTo>
                      <a:pt x="354" y="26"/>
                    </a:lnTo>
                    <a:lnTo>
                      <a:pt x="344" y="36"/>
                    </a:lnTo>
                    <a:lnTo>
                      <a:pt x="344" y="36"/>
                    </a:lnTo>
                    <a:lnTo>
                      <a:pt x="328" y="46"/>
                    </a:lnTo>
                    <a:lnTo>
                      <a:pt x="316" y="50"/>
                    </a:lnTo>
                    <a:lnTo>
                      <a:pt x="306" y="52"/>
                    </a:lnTo>
                    <a:lnTo>
                      <a:pt x="298" y="52"/>
                    </a:lnTo>
                    <a:lnTo>
                      <a:pt x="294" y="50"/>
                    </a:lnTo>
                    <a:lnTo>
                      <a:pt x="290" y="50"/>
                    </a:lnTo>
                    <a:lnTo>
                      <a:pt x="286" y="52"/>
                    </a:lnTo>
                    <a:lnTo>
                      <a:pt x="284" y="58"/>
                    </a:lnTo>
                    <a:lnTo>
                      <a:pt x="284" y="58"/>
                    </a:lnTo>
                    <a:lnTo>
                      <a:pt x="280" y="66"/>
                    </a:lnTo>
                    <a:lnTo>
                      <a:pt x="276" y="68"/>
                    </a:lnTo>
                    <a:lnTo>
                      <a:pt x="270" y="68"/>
                    </a:lnTo>
                    <a:lnTo>
                      <a:pt x="266" y="66"/>
                    </a:lnTo>
                    <a:lnTo>
                      <a:pt x="256" y="62"/>
                    </a:lnTo>
                    <a:lnTo>
                      <a:pt x="252" y="64"/>
                    </a:lnTo>
                    <a:lnTo>
                      <a:pt x="250" y="68"/>
                    </a:lnTo>
                    <a:lnTo>
                      <a:pt x="250" y="68"/>
                    </a:lnTo>
                    <a:lnTo>
                      <a:pt x="248" y="72"/>
                    </a:lnTo>
                    <a:lnTo>
                      <a:pt x="244" y="78"/>
                    </a:lnTo>
                    <a:lnTo>
                      <a:pt x="238" y="86"/>
                    </a:lnTo>
                    <a:lnTo>
                      <a:pt x="234" y="92"/>
                    </a:lnTo>
                    <a:lnTo>
                      <a:pt x="232" y="100"/>
                    </a:lnTo>
                    <a:lnTo>
                      <a:pt x="230" y="110"/>
                    </a:lnTo>
                    <a:lnTo>
                      <a:pt x="230" y="122"/>
                    </a:lnTo>
                    <a:lnTo>
                      <a:pt x="230" y="122"/>
                    </a:lnTo>
                    <a:lnTo>
                      <a:pt x="230" y="134"/>
                    </a:lnTo>
                    <a:lnTo>
                      <a:pt x="226" y="142"/>
                    </a:lnTo>
                    <a:lnTo>
                      <a:pt x="224" y="144"/>
                    </a:lnTo>
                    <a:lnTo>
                      <a:pt x="220" y="146"/>
                    </a:lnTo>
                    <a:lnTo>
                      <a:pt x="214" y="146"/>
                    </a:lnTo>
                    <a:lnTo>
                      <a:pt x="210" y="148"/>
                    </a:lnTo>
                    <a:lnTo>
                      <a:pt x="208" y="150"/>
                    </a:lnTo>
                    <a:lnTo>
                      <a:pt x="206" y="158"/>
                    </a:lnTo>
                    <a:lnTo>
                      <a:pt x="206" y="158"/>
                    </a:lnTo>
                    <a:lnTo>
                      <a:pt x="202" y="166"/>
                    </a:lnTo>
                    <a:lnTo>
                      <a:pt x="198" y="170"/>
                    </a:lnTo>
                    <a:lnTo>
                      <a:pt x="180" y="202"/>
                    </a:lnTo>
                    <a:lnTo>
                      <a:pt x="180" y="202"/>
                    </a:lnTo>
                    <a:lnTo>
                      <a:pt x="182" y="212"/>
                    </a:lnTo>
                    <a:lnTo>
                      <a:pt x="182" y="214"/>
                    </a:lnTo>
                    <a:lnTo>
                      <a:pt x="180" y="214"/>
                    </a:lnTo>
                    <a:lnTo>
                      <a:pt x="176" y="210"/>
                    </a:lnTo>
                    <a:lnTo>
                      <a:pt x="144" y="264"/>
                    </a:lnTo>
                    <a:lnTo>
                      <a:pt x="144" y="264"/>
                    </a:lnTo>
                    <a:lnTo>
                      <a:pt x="146" y="274"/>
                    </a:lnTo>
                    <a:lnTo>
                      <a:pt x="148" y="278"/>
                    </a:lnTo>
                    <a:lnTo>
                      <a:pt x="152" y="280"/>
                    </a:lnTo>
                    <a:lnTo>
                      <a:pt x="152" y="280"/>
                    </a:lnTo>
                    <a:lnTo>
                      <a:pt x="156" y="284"/>
                    </a:lnTo>
                    <a:lnTo>
                      <a:pt x="158" y="286"/>
                    </a:lnTo>
                    <a:lnTo>
                      <a:pt x="158" y="290"/>
                    </a:lnTo>
                    <a:lnTo>
                      <a:pt x="156" y="296"/>
                    </a:lnTo>
                    <a:lnTo>
                      <a:pt x="154" y="304"/>
                    </a:lnTo>
                    <a:lnTo>
                      <a:pt x="154" y="310"/>
                    </a:lnTo>
                    <a:lnTo>
                      <a:pt x="156" y="314"/>
                    </a:lnTo>
                    <a:lnTo>
                      <a:pt x="156" y="314"/>
                    </a:lnTo>
                    <a:lnTo>
                      <a:pt x="162" y="320"/>
                    </a:lnTo>
                    <a:lnTo>
                      <a:pt x="162" y="324"/>
                    </a:lnTo>
                    <a:lnTo>
                      <a:pt x="160" y="328"/>
                    </a:lnTo>
                    <a:lnTo>
                      <a:pt x="158" y="330"/>
                    </a:lnTo>
                    <a:lnTo>
                      <a:pt x="154" y="334"/>
                    </a:lnTo>
                    <a:lnTo>
                      <a:pt x="152" y="338"/>
                    </a:lnTo>
                    <a:lnTo>
                      <a:pt x="150" y="348"/>
                    </a:lnTo>
                    <a:lnTo>
                      <a:pt x="152" y="360"/>
                    </a:lnTo>
                    <a:lnTo>
                      <a:pt x="152" y="360"/>
                    </a:lnTo>
                    <a:lnTo>
                      <a:pt x="154" y="374"/>
                    </a:lnTo>
                    <a:lnTo>
                      <a:pt x="154" y="386"/>
                    </a:lnTo>
                    <a:lnTo>
                      <a:pt x="152" y="406"/>
                    </a:lnTo>
                    <a:lnTo>
                      <a:pt x="152" y="418"/>
                    </a:lnTo>
                    <a:lnTo>
                      <a:pt x="152" y="422"/>
                    </a:lnTo>
                    <a:lnTo>
                      <a:pt x="156" y="424"/>
                    </a:lnTo>
                    <a:lnTo>
                      <a:pt x="156" y="424"/>
                    </a:lnTo>
                    <a:lnTo>
                      <a:pt x="158" y="428"/>
                    </a:lnTo>
                    <a:lnTo>
                      <a:pt x="158" y="434"/>
                    </a:lnTo>
                    <a:lnTo>
                      <a:pt x="158" y="444"/>
                    </a:lnTo>
                    <a:lnTo>
                      <a:pt x="154" y="454"/>
                    </a:lnTo>
                    <a:lnTo>
                      <a:pt x="150" y="464"/>
                    </a:lnTo>
                    <a:lnTo>
                      <a:pt x="144" y="472"/>
                    </a:lnTo>
                    <a:lnTo>
                      <a:pt x="138" y="478"/>
                    </a:lnTo>
                    <a:lnTo>
                      <a:pt x="132" y="480"/>
                    </a:lnTo>
                    <a:lnTo>
                      <a:pt x="132" y="480"/>
                    </a:lnTo>
                    <a:lnTo>
                      <a:pt x="118" y="482"/>
                    </a:lnTo>
                    <a:lnTo>
                      <a:pt x="110" y="486"/>
                    </a:lnTo>
                    <a:lnTo>
                      <a:pt x="106" y="490"/>
                    </a:lnTo>
                    <a:lnTo>
                      <a:pt x="104" y="494"/>
                    </a:lnTo>
                    <a:lnTo>
                      <a:pt x="104" y="498"/>
                    </a:lnTo>
                    <a:lnTo>
                      <a:pt x="104" y="504"/>
                    </a:lnTo>
                    <a:lnTo>
                      <a:pt x="104" y="504"/>
                    </a:lnTo>
                    <a:lnTo>
                      <a:pt x="104" y="510"/>
                    </a:lnTo>
                    <a:lnTo>
                      <a:pt x="102" y="512"/>
                    </a:lnTo>
                    <a:lnTo>
                      <a:pt x="96" y="516"/>
                    </a:lnTo>
                    <a:lnTo>
                      <a:pt x="92" y="518"/>
                    </a:lnTo>
                    <a:lnTo>
                      <a:pt x="92" y="520"/>
                    </a:lnTo>
                    <a:lnTo>
                      <a:pt x="94" y="526"/>
                    </a:lnTo>
                    <a:lnTo>
                      <a:pt x="98" y="536"/>
                    </a:lnTo>
                    <a:lnTo>
                      <a:pt x="98" y="536"/>
                    </a:lnTo>
                    <a:lnTo>
                      <a:pt x="98" y="540"/>
                    </a:lnTo>
                    <a:lnTo>
                      <a:pt x="98" y="542"/>
                    </a:lnTo>
                    <a:lnTo>
                      <a:pt x="92" y="548"/>
                    </a:lnTo>
                    <a:lnTo>
                      <a:pt x="84" y="552"/>
                    </a:lnTo>
                    <a:lnTo>
                      <a:pt x="74" y="554"/>
                    </a:lnTo>
                    <a:lnTo>
                      <a:pt x="64" y="558"/>
                    </a:lnTo>
                    <a:lnTo>
                      <a:pt x="56" y="562"/>
                    </a:lnTo>
                    <a:lnTo>
                      <a:pt x="50" y="570"/>
                    </a:lnTo>
                    <a:lnTo>
                      <a:pt x="50" y="574"/>
                    </a:lnTo>
                    <a:lnTo>
                      <a:pt x="50" y="578"/>
                    </a:lnTo>
                    <a:lnTo>
                      <a:pt x="50" y="578"/>
                    </a:lnTo>
                    <a:lnTo>
                      <a:pt x="50" y="592"/>
                    </a:lnTo>
                    <a:lnTo>
                      <a:pt x="48" y="600"/>
                    </a:lnTo>
                    <a:lnTo>
                      <a:pt x="46" y="606"/>
                    </a:lnTo>
                    <a:lnTo>
                      <a:pt x="42" y="610"/>
                    </a:lnTo>
                    <a:lnTo>
                      <a:pt x="36" y="618"/>
                    </a:lnTo>
                    <a:lnTo>
                      <a:pt x="34" y="624"/>
                    </a:lnTo>
                    <a:lnTo>
                      <a:pt x="34" y="632"/>
                    </a:lnTo>
                    <a:lnTo>
                      <a:pt x="34" y="632"/>
                    </a:lnTo>
                    <a:lnTo>
                      <a:pt x="34" y="642"/>
                    </a:lnTo>
                    <a:lnTo>
                      <a:pt x="30" y="646"/>
                    </a:lnTo>
                    <a:lnTo>
                      <a:pt x="28" y="648"/>
                    </a:lnTo>
                    <a:lnTo>
                      <a:pt x="22" y="650"/>
                    </a:lnTo>
                    <a:lnTo>
                      <a:pt x="18" y="652"/>
                    </a:lnTo>
                    <a:lnTo>
                      <a:pt x="16" y="654"/>
                    </a:lnTo>
                    <a:lnTo>
                      <a:pt x="14" y="660"/>
                    </a:lnTo>
                    <a:lnTo>
                      <a:pt x="16" y="670"/>
                    </a:lnTo>
                    <a:lnTo>
                      <a:pt x="16" y="670"/>
                    </a:lnTo>
                    <a:lnTo>
                      <a:pt x="18" y="688"/>
                    </a:lnTo>
                    <a:lnTo>
                      <a:pt x="20" y="698"/>
                    </a:lnTo>
                    <a:lnTo>
                      <a:pt x="18" y="706"/>
                    </a:lnTo>
                    <a:lnTo>
                      <a:pt x="18" y="710"/>
                    </a:lnTo>
                    <a:lnTo>
                      <a:pt x="16" y="714"/>
                    </a:lnTo>
                    <a:lnTo>
                      <a:pt x="18" y="716"/>
                    </a:lnTo>
                    <a:lnTo>
                      <a:pt x="28" y="728"/>
                    </a:lnTo>
                    <a:lnTo>
                      <a:pt x="28" y="728"/>
                    </a:lnTo>
                    <a:lnTo>
                      <a:pt x="34" y="734"/>
                    </a:lnTo>
                    <a:lnTo>
                      <a:pt x="42" y="736"/>
                    </a:lnTo>
                    <a:lnTo>
                      <a:pt x="46" y="736"/>
                    </a:lnTo>
                    <a:lnTo>
                      <a:pt x="50" y="732"/>
                    </a:lnTo>
                    <a:lnTo>
                      <a:pt x="54" y="726"/>
                    </a:lnTo>
                    <a:lnTo>
                      <a:pt x="56" y="726"/>
                    </a:lnTo>
                    <a:lnTo>
                      <a:pt x="56" y="730"/>
                    </a:lnTo>
                    <a:lnTo>
                      <a:pt x="56" y="730"/>
                    </a:lnTo>
                    <a:lnTo>
                      <a:pt x="56" y="744"/>
                    </a:lnTo>
                    <a:lnTo>
                      <a:pt x="54" y="756"/>
                    </a:lnTo>
                    <a:lnTo>
                      <a:pt x="52" y="760"/>
                    </a:lnTo>
                    <a:lnTo>
                      <a:pt x="48" y="766"/>
                    </a:lnTo>
                    <a:lnTo>
                      <a:pt x="44" y="768"/>
                    </a:lnTo>
                    <a:lnTo>
                      <a:pt x="38" y="770"/>
                    </a:lnTo>
                    <a:lnTo>
                      <a:pt x="38" y="770"/>
                    </a:lnTo>
                    <a:lnTo>
                      <a:pt x="22" y="786"/>
                    </a:lnTo>
                    <a:lnTo>
                      <a:pt x="12" y="800"/>
                    </a:lnTo>
                    <a:lnTo>
                      <a:pt x="6" y="812"/>
                    </a:lnTo>
                    <a:lnTo>
                      <a:pt x="2" y="824"/>
                    </a:lnTo>
                    <a:lnTo>
                      <a:pt x="0" y="836"/>
                    </a:lnTo>
                    <a:lnTo>
                      <a:pt x="0" y="844"/>
                    </a:lnTo>
                    <a:lnTo>
                      <a:pt x="2" y="860"/>
                    </a:lnTo>
                    <a:lnTo>
                      <a:pt x="2" y="860"/>
                    </a:lnTo>
                    <a:lnTo>
                      <a:pt x="4" y="866"/>
                    </a:lnTo>
                    <a:lnTo>
                      <a:pt x="8" y="870"/>
                    </a:lnTo>
                    <a:lnTo>
                      <a:pt x="16" y="876"/>
                    </a:lnTo>
                    <a:lnTo>
                      <a:pt x="18" y="878"/>
                    </a:lnTo>
                    <a:lnTo>
                      <a:pt x="18" y="882"/>
                    </a:lnTo>
                    <a:lnTo>
                      <a:pt x="18" y="884"/>
                    </a:lnTo>
                    <a:lnTo>
                      <a:pt x="12" y="888"/>
                    </a:lnTo>
                    <a:lnTo>
                      <a:pt x="12" y="888"/>
                    </a:lnTo>
                    <a:lnTo>
                      <a:pt x="8" y="892"/>
                    </a:lnTo>
                    <a:lnTo>
                      <a:pt x="6" y="896"/>
                    </a:lnTo>
                    <a:lnTo>
                      <a:pt x="6" y="900"/>
                    </a:lnTo>
                    <a:lnTo>
                      <a:pt x="6" y="902"/>
                    </a:lnTo>
                    <a:lnTo>
                      <a:pt x="12" y="908"/>
                    </a:lnTo>
                    <a:lnTo>
                      <a:pt x="22" y="914"/>
                    </a:lnTo>
                    <a:lnTo>
                      <a:pt x="44" y="926"/>
                    </a:lnTo>
                    <a:lnTo>
                      <a:pt x="54" y="934"/>
                    </a:lnTo>
                    <a:lnTo>
                      <a:pt x="56" y="938"/>
                    </a:lnTo>
                    <a:lnTo>
                      <a:pt x="58" y="944"/>
                    </a:lnTo>
                    <a:lnTo>
                      <a:pt x="58" y="944"/>
                    </a:lnTo>
                    <a:lnTo>
                      <a:pt x="62" y="960"/>
                    </a:lnTo>
                    <a:lnTo>
                      <a:pt x="68" y="972"/>
                    </a:lnTo>
                    <a:lnTo>
                      <a:pt x="74" y="980"/>
                    </a:lnTo>
                    <a:lnTo>
                      <a:pt x="80" y="988"/>
                    </a:lnTo>
                    <a:lnTo>
                      <a:pt x="92" y="1004"/>
                    </a:lnTo>
                    <a:lnTo>
                      <a:pt x="96" y="1014"/>
                    </a:lnTo>
                    <a:lnTo>
                      <a:pt x="100" y="1026"/>
                    </a:lnTo>
                    <a:lnTo>
                      <a:pt x="100" y="1026"/>
                    </a:lnTo>
                    <a:lnTo>
                      <a:pt x="104" y="1040"/>
                    </a:lnTo>
                    <a:lnTo>
                      <a:pt x="108" y="1056"/>
                    </a:lnTo>
                    <a:lnTo>
                      <a:pt x="122" y="1086"/>
                    </a:lnTo>
                    <a:lnTo>
                      <a:pt x="136" y="1114"/>
                    </a:lnTo>
                    <a:lnTo>
                      <a:pt x="142" y="1128"/>
                    </a:lnTo>
                    <a:lnTo>
                      <a:pt x="146" y="1142"/>
                    </a:lnTo>
                    <a:lnTo>
                      <a:pt x="146" y="1142"/>
                    </a:lnTo>
                    <a:lnTo>
                      <a:pt x="148" y="1152"/>
                    </a:lnTo>
                    <a:lnTo>
                      <a:pt x="152" y="1160"/>
                    </a:lnTo>
                    <a:lnTo>
                      <a:pt x="158" y="1172"/>
                    </a:lnTo>
                    <a:lnTo>
                      <a:pt x="162" y="1180"/>
                    </a:lnTo>
                    <a:lnTo>
                      <a:pt x="164" y="1186"/>
                    </a:lnTo>
                    <a:lnTo>
                      <a:pt x="164" y="1194"/>
                    </a:lnTo>
                    <a:lnTo>
                      <a:pt x="164" y="1194"/>
                    </a:lnTo>
                    <a:lnTo>
                      <a:pt x="166" y="1202"/>
                    </a:lnTo>
                    <a:lnTo>
                      <a:pt x="172" y="1210"/>
                    </a:lnTo>
                    <a:lnTo>
                      <a:pt x="184" y="1228"/>
                    </a:lnTo>
                    <a:lnTo>
                      <a:pt x="192" y="1238"/>
                    </a:lnTo>
                    <a:lnTo>
                      <a:pt x="198" y="1248"/>
                    </a:lnTo>
                    <a:lnTo>
                      <a:pt x="200" y="1260"/>
                    </a:lnTo>
                    <a:lnTo>
                      <a:pt x="200" y="1274"/>
                    </a:lnTo>
                    <a:lnTo>
                      <a:pt x="200" y="1274"/>
                    </a:lnTo>
                    <a:lnTo>
                      <a:pt x="200" y="1286"/>
                    </a:lnTo>
                    <a:lnTo>
                      <a:pt x="204" y="1298"/>
                    </a:lnTo>
                    <a:lnTo>
                      <a:pt x="208" y="1308"/>
                    </a:lnTo>
                    <a:lnTo>
                      <a:pt x="214" y="1316"/>
                    </a:lnTo>
                    <a:lnTo>
                      <a:pt x="228" y="1330"/>
                    </a:lnTo>
                    <a:lnTo>
                      <a:pt x="234" y="1338"/>
                    </a:lnTo>
                    <a:lnTo>
                      <a:pt x="238" y="1344"/>
                    </a:lnTo>
                    <a:lnTo>
                      <a:pt x="238" y="1344"/>
                    </a:lnTo>
                    <a:lnTo>
                      <a:pt x="246" y="1356"/>
                    </a:lnTo>
                    <a:lnTo>
                      <a:pt x="256" y="1368"/>
                    </a:lnTo>
                    <a:lnTo>
                      <a:pt x="278" y="1384"/>
                    </a:lnTo>
                    <a:lnTo>
                      <a:pt x="318" y="1406"/>
                    </a:lnTo>
                    <a:lnTo>
                      <a:pt x="318" y="1406"/>
                    </a:lnTo>
                    <a:lnTo>
                      <a:pt x="358" y="1428"/>
                    </a:lnTo>
                    <a:lnTo>
                      <a:pt x="380" y="1442"/>
                    </a:lnTo>
                    <a:lnTo>
                      <a:pt x="388" y="1448"/>
                    </a:lnTo>
                    <a:lnTo>
                      <a:pt x="392" y="1454"/>
                    </a:lnTo>
                    <a:lnTo>
                      <a:pt x="396" y="1460"/>
                    </a:lnTo>
                    <a:lnTo>
                      <a:pt x="398" y="1468"/>
                    </a:lnTo>
                    <a:lnTo>
                      <a:pt x="398" y="1468"/>
                    </a:lnTo>
                    <a:lnTo>
                      <a:pt x="400" y="1474"/>
                    </a:lnTo>
                    <a:lnTo>
                      <a:pt x="404" y="1480"/>
                    </a:lnTo>
                    <a:lnTo>
                      <a:pt x="408" y="1486"/>
                    </a:lnTo>
                    <a:lnTo>
                      <a:pt x="414" y="1490"/>
                    </a:lnTo>
                    <a:lnTo>
                      <a:pt x="426" y="1496"/>
                    </a:lnTo>
                    <a:lnTo>
                      <a:pt x="434" y="1500"/>
                    </a:lnTo>
                    <a:lnTo>
                      <a:pt x="440" y="1506"/>
                    </a:lnTo>
                    <a:lnTo>
                      <a:pt x="440" y="1506"/>
                    </a:lnTo>
                    <a:lnTo>
                      <a:pt x="438" y="1532"/>
                    </a:lnTo>
                    <a:lnTo>
                      <a:pt x="440" y="1542"/>
                    </a:lnTo>
                    <a:lnTo>
                      <a:pt x="442" y="1546"/>
                    </a:lnTo>
                    <a:lnTo>
                      <a:pt x="442" y="1552"/>
                    </a:lnTo>
                    <a:lnTo>
                      <a:pt x="442" y="1552"/>
                    </a:lnTo>
                    <a:lnTo>
                      <a:pt x="444" y="1564"/>
                    </a:lnTo>
                    <a:lnTo>
                      <a:pt x="446" y="1574"/>
                    </a:lnTo>
                    <a:lnTo>
                      <a:pt x="448" y="1586"/>
                    </a:lnTo>
                    <a:lnTo>
                      <a:pt x="448" y="1594"/>
                    </a:lnTo>
                    <a:lnTo>
                      <a:pt x="448" y="1604"/>
                    </a:lnTo>
                    <a:lnTo>
                      <a:pt x="448" y="1604"/>
                    </a:lnTo>
                    <a:lnTo>
                      <a:pt x="446" y="1614"/>
                    </a:lnTo>
                    <a:lnTo>
                      <a:pt x="446" y="1624"/>
                    </a:lnTo>
                    <a:lnTo>
                      <a:pt x="450" y="1640"/>
                    </a:lnTo>
                    <a:lnTo>
                      <a:pt x="452" y="1658"/>
                    </a:lnTo>
                    <a:lnTo>
                      <a:pt x="452" y="1670"/>
                    </a:lnTo>
                    <a:lnTo>
                      <a:pt x="448" y="1686"/>
                    </a:lnTo>
                    <a:lnTo>
                      <a:pt x="448" y="1686"/>
                    </a:lnTo>
                    <a:lnTo>
                      <a:pt x="444" y="1716"/>
                    </a:lnTo>
                    <a:lnTo>
                      <a:pt x="442" y="1732"/>
                    </a:lnTo>
                    <a:lnTo>
                      <a:pt x="440" y="1742"/>
                    </a:lnTo>
                    <a:lnTo>
                      <a:pt x="440" y="1744"/>
                    </a:lnTo>
                    <a:lnTo>
                      <a:pt x="438" y="1744"/>
                    </a:lnTo>
                    <a:lnTo>
                      <a:pt x="438" y="1744"/>
                    </a:lnTo>
                    <a:lnTo>
                      <a:pt x="436" y="1744"/>
                    </a:lnTo>
                    <a:lnTo>
                      <a:pt x="434" y="1746"/>
                    </a:lnTo>
                    <a:lnTo>
                      <a:pt x="430" y="1752"/>
                    </a:lnTo>
                    <a:lnTo>
                      <a:pt x="430" y="1760"/>
                    </a:lnTo>
                    <a:lnTo>
                      <a:pt x="430" y="1762"/>
                    </a:lnTo>
                    <a:lnTo>
                      <a:pt x="434" y="1764"/>
                    </a:lnTo>
                    <a:lnTo>
                      <a:pt x="434" y="1764"/>
                    </a:lnTo>
                    <a:lnTo>
                      <a:pt x="436" y="1768"/>
                    </a:lnTo>
                    <a:lnTo>
                      <a:pt x="436" y="1772"/>
                    </a:lnTo>
                    <a:lnTo>
                      <a:pt x="434" y="1788"/>
                    </a:lnTo>
                    <a:lnTo>
                      <a:pt x="430" y="1808"/>
                    </a:lnTo>
                    <a:lnTo>
                      <a:pt x="432" y="1820"/>
                    </a:lnTo>
                    <a:lnTo>
                      <a:pt x="434" y="1834"/>
                    </a:lnTo>
                    <a:lnTo>
                      <a:pt x="434" y="1834"/>
                    </a:lnTo>
                    <a:lnTo>
                      <a:pt x="436" y="1846"/>
                    </a:lnTo>
                    <a:lnTo>
                      <a:pt x="436" y="1856"/>
                    </a:lnTo>
                    <a:lnTo>
                      <a:pt x="434" y="1864"/>
                    </a:lnTo>
                    <a:lnTo>
                      <a:pt x="432" y="1870"/>
                    </a:lnTo>
                    <a:lnTo>
                      <a:pt x="428" y="1882"/>
                    </a:lnTo>
                    <a:lnTo>
                      <a:pt x="428" y="1888"/>
                    </a:lnTo>
                    <a:lnTo>
                      <a:pt x="430" y="1894"/>
                    </a:lnTo>
                    <a:lnTo>
                      <a:pt x="430" y="1894"/>
                    </a:lnTo>
                    <a:lnTo>
                      <a:pt x="432" y="1900"/>
                    </a:lnTo>
                    <a:lnTo>
                      <a:pt x="430" y="1908"/>
                    </a:lnTo>
                    <a:lnTo>
                      <a:pt x="424" y="1928"/>
                    </a:lnTo>
                    <a:lnTo>
                      <a:pt x="418" y="1946"/>
                    </a:lnTo>
                    <a:lnTo>
                      <a:pt x="416" y="1956"/>
                    </a:lnTo>
                    <a:lnTo>
                      <a:pt x="416" y="1964"/>
                    </a:lnTo>
                    <a:lnTo>
                      <a:pt x="416" y="1964"/>
                    </a:lnTo>
                    <a:lnTo>
                      <a:pt x="416" y="1974"/>
                    </a:lnTo>
                    <a:lnTo>
                      <a:pt x="414" y="1978"/>
                    </a:lnTo>
                    <a:lnTo>
                      <a:pt x="410" y="1986"/>
                    </a:lnTo>
                    <a:lnTo>
                      <a:pt x="408" y="2004"/>
                    </a:lnTo>
                    <a:lnTo>
                      <a:pt x="408" y="2004"/>
                    </a:lnTo>
                    <a:lnTo>
                      <a:pt x="408" y="2016"/>
                    </a:lnTo>
                    <a:lnTo>
                      <a:pt x="404" y="2024"/>
                    </a:lnTo>
                    <a:lnTo>
                      <a:pt x="400" y="2030"/>
                    </a:lnTo>
                    <a:lnTo>
                      <a:pt x="398" y="2036"/>
                    </a:lnTo>
                    <a:lnTo>
                      <a:pt x="394" y="2040"/>
                    </a:lnTo>
                    <a:lnTo>
                      <a:pt x="392" y="2044"/>
                    </a:lnTo>
                    <a:lnTo>
                      <a:pt x="392" y="2048"/>
                    </a:lnTo>
                    <a:lnTo>
                      <a:pt x="394" y="2056"/>
                    </a:lnTo>
                    <a:lnTo>
                      <a:pt x="394" y="2056"/>
                    </a:lnTo>
                    <a:lnTo>
                      <a:pt x="400" y="2072"/>
                    </a:lnTo>
                    <a:lnTo>
                      <a:pt x="402" y="2086"/>
                    </a:lnTo>
                    <a:lnTo>
                      <a:pt x="402" y="2098"/>
                    </a:lnTo>
                    <a:lnTo>
                      <a:pt x="400" y="2104"/>
                    </a:lnTo>
                    <a:lnTo>
                      <a:pt x="398" y="2108"/>
                    </a:lnTo>
                    <a:lnTo>
                      <a:pt x="398" y="2108"/>
                    </a:lnTo>
                    <a:lnTo>
                      <a:pt x="390" y="2116"/>
                    </a:lnTo>
                    <a:lnTo>
                      <a:pt x="386" y="2124"/>
                    </a:lnTo>
                    <a:lnTo>
                      <a:pt x="384" y="2130"/>
                    </a:lnTo>
                    <a:lnTo>
                      <a:pt x="384" y="2138"/>
                    </a:lnTo>
                    <a:lnTo>
                      <a:pt x="388" y="2162"/>
                    </a:lnTo>
                    <a:lnTo>
                      <a:pt x="388" y="2162"/>
                    </a:lnTo>
                    <a:lnTo>
                      <a:pt x="392" y="2186"/>
                    </a:lnTo>
                    <a:lnTo>
                      <a:pt x="392" y="2200"/>
                    </a:lnTo>
                    <a:lnTo>
                      <a:pt x="392" y="2212"/>
                    </a:lnTo>
                    <a:lnTo>
                      <a:pt x="396" y="2224"/>
                    </a:lnTo>
                    <a:lnTo>
                      <a:pt x="396" y="2224"/>
                    </a:lnTo>
                    <a:lnTo>
                      <a:pt x="398" y="2230"/>
                    </a:lnTo>
                    <a:lnTo>
                      <a:pt x="398" y="2236"/>
                    </a:lnTo>
                    <a:lnTo>
                      <a:pt x="392" y="2248"/>
                    </a:lnTo>
                    <a:lnTo>
                      <a:pt x="386" y="2262"/>
                    </a:lnTo>
                    <a:lnTo>
                      <a:pt x="386" y="2270"/>
                    </a:lnTo>
                    <a:lnTo>
                      <a:pt x="386" y="2280"/>
                    </a:lnTo>
                    <a:lnTo>
                      <a:pt x="386" y="2280"/>
                    </a:lnTo>
                    <a:lnTo>
                      <a:pt x="388" y="2288"/>
                    </a:lnTo>
                    <a:lnTo>
                      <a:pt x="388" y="2292"/>
                    </a:lnTo>
                    <a:lnTo>
                      <a:pt x="386" y="2294"/>
                    </a:lnTo>
                    <a:lnTo>
                      <a:pt x="384" y="2298"/>
                    </a:lnTo>
                    <a:lnTo>
                      <a:pt x="380" y="2300"/>
                    </a:lnTo>
                    <a:lnTo>
                      <a:pt x="378" y="2306"/>
                    </a:lnTo>
                    <a:lnTo>
                      <a:pt x="376" y="2314"/>
                    </a:lnTo>
                    <a:lnTo>
                      <a:pt x="374" y="2328"/>
                    </a:lnTo>
                    <a:lnTo>
                      <a:pt x="374" y="2328"/>
                    </a:lnTo>
                    <a:lnTo>
                      <a:pt x="372" y="2342"/>
                    </a:lnTo>
                    <a:lnTo>
                      <a:pt x="370" y="2354"/>
                    </a:lnTo>
                    <a:lnTo>
                      <a:pt x="362" y="2376"/>
                    </a:lnTo>
                    <a:lnTo>
                      <a:pt x="354" y="2390"/>
                    </a:lnTo>
                    <a:lnTo>
                      <a:pt x="350" y="2402"/>
                    </a:lnTo>
                    <a:lnTo>
                      <a:pt x="350" y="2402"/>
                    </a:lnTo>
                    <a:lnTo>
                      <a:pt x="348" y="2412"/>
                    </a:lnTo>
                    <a:lnTo>
                      <a:pt x="344" y="2414"/>
                    </a:lnTo>
                    <a:lnTo>
                      <a:pt x="342" y="2420"/>
                    </a:lnTo>
                    <a:lnTo>
                      <a:pt x="338" y="2434"/>
                    </a:lnTo>
                    <a:lnTo>
                      <a:pt x="338" y="2434"/>
                    </a:lnTo>
                    <a:lnTo>
                      <a:pt x="336" y="2446"/>
                    </a:lnTo>
                    <a:lnTo>
                      <a:pt x="334" y="2452"/>
                    </a:lnTo>
                    <a:lnTo>
                      <a:pt x="334" y="2454"/>
                    </a:lnTo>
                    <a:lnTo>
                      <a:pt x="332" y="2454"/>
                    </a:lnTo>
                    <a:lnTo>
                      <a:pt x="330" y="2452"/>
                    </a:lnTo>
                    <a:lnTo>
                      <a:pt x="330" y="2452"/>
                    </a:lnTo>
                    <a:lnTo>
                      <a:pt x="328" y="2462"/>
                    </a:lnTo>
                    <a:lnTo>
                      <a:pt x="328" y="2462"/>
                    </a:lnTo>
                    <a:lnTo>
                      <a:pt x="326" y="2474"/>
                    </a:lnTo>
                    <a:lnTo>
                      <a:pt x="324" y="2480"/>
                    </a:lnTo>
                    <a:lnTo>
                      <a:pt x="320" y="2482"/>
                    </a:lnTo>
                    <a:lnTo>
                      <a:pt x="318" y="2482"/>
                    </a:lnTo>
                    <a:lnTo>
                      <a:pt x="310" y="2480"/>
                    </a:lnTo>
                    <a:lnTo>
                      <a:pt x="308" y="2482"/>
                    </a:lnTo>
                    <a:lnTo>
                      <a:pt x="306" y="2486"/>
                    </a:lnTo>
                    <a:lnTo>
                      <a:pt x="306" y="2486"/>
                    </a:lnTo>
                    <a:lnTo>
                      <a:pt x="306" y="2498"/>
                    </a:lnTo>
                    <a:lnTo>
                      <a:pt x="306" y="2506"/>
                    </a:lnTo>
                    <a:lnTo>
                      <a:pt x="310" y="2514"/>
                    </a:lnTo>
                    <a:lnTo>
                      <a:pt x="314" y="2522"/>
                    </a:lnTo>
                    <a:lnTo>
                      <a:pt x="314" y="2530"/>
                    </a:lnTo>
                    <a:lnTo>
                      <a:pt x="314" y="2540"/>
                    </a:lnTo>
                    <a:lnTo>
                      <a:pt x="314" y="2540"/>
                    </a:lnTo>
                    <a:lnTo>
                      <a:pt x="312" y="2552"/>
                    </a:lnTo>
                    <a:lnTo>
                      <a:pt x="314" y="2560"/>
                    </a:lnTo>
                    <a:lnTo>
                      <a:pt x="318" y="2572"/>
                    </a:lnTo>
                    <a:lnTo>
                      <a:pt x="320" y="2576"/>
                    </a:lnTo>
                    <a:lnTo>
                      <a:pt x="322" y="2584"/>
                    </a:lnTo>
                    <a:lnTo>
                      <a:pt x="324" y="2594"/>
                    </a:lnTo>
                    <a:lnTo>
                      <a:pt x="322" y="2606"/>
                    </a:lnTo>
                    <a:lnTo>
                      <a:pt x="322" y="2606"/>
                    </a:lnTo>
                    <a:lnTo>
                      <a:pt x="320" y="2618"/>
                    </a:lnTo>
                    <a:lnTo>
                      <a:pt x="316" y="2624"/>
                    </a:lnTo>
                    <a:lnTo>
                      <a:pt x="314" y="2626"/>
                    </a:lnTo>
                    <a:lnTo>
                      <a:pt x="310" y="2626"/>
                    </a:lnTo>
                    <a:lnTo>
                      <a:pt x="308" y="2626"/>
                    </a:lnTo>
                    <a:lnTo>
                      <a:pt x="306" y="2628"/>
                    </a:lnTo>
                    <a:lnTo>
                      <a:pt x="304" y="2632"/>
                    </a:lnTo>
                    <a:lnTo>
                      <a:pt x="304" y="2642"/>
                    </a:lnTo>
                    <a:lnTo>
                      <a:pt x="304" y="2642"/>
                    </a:lnTo>
                    <a:lnTo>
                      <a:pt x="302" y="2658"/>
                    </a:lnTo>
                    <a:lnTo>
                      <a:pt x="298" y="2670"/>
                    </a:lnTo>
                    <a:lnTo>
                      <a:pt x="294" y="2686"/>
                    </a:lnTo>
                    <a:lnTo>
                      <a:pt x="292" y="2692"/>
                    </a:lnTo>
                    <a:lnTo>
                      <a:pt x="292" y="2696"/>
                    </a:lnTo>
                    <a:lnTo>
                      <a:pt x="294" y="2704"/>
                    </a:lnTo>
                    <a:lnTo>
                      <a:pt x="298" y="2712"/>
                    </a:lnTo>
                    <a:lnTo>
                      <a:pt x="298" y="2712"/>
                    </a:lnTo>
                    <a:lnTo>
                      <a:pt x="302" y="2722"/>
                    </a:lnTo>
                    <a:lnTo>
                      <a:pt x="308" y="2728"/>
                    </a:lnTo>
                    <a:lnTo>
                      <a:pt x="312" y="2732"/>
                    </a:lnTo>
                    <a:lnTo>
                      <a:pt x="316" y="2734"/>
                    </a:lnTo>
                    <a:lnTo>
                      <a:pt x="320" y="2734"/>
                    </a:lnTo>
                    <a:lnTo>
                      <a:pt x="324" y="2732"/>
                    </a:lnTo>
                    <a:lnTo>
                      <a:pt x="328" y="2728"/>
                    </a:lnTo>
                    <a:lnTo>
                      <a:pt x="330" y="2724"/>
                    </a:lnTo>
                    <a:lnTo>
                      <a:pt x="330" y="2724"/>
                    </a:lnTo>
                    <a:lnTo>
                      <a:pt x="334" y="2716"/>
                    </a:lnTo>
                    <a:lnTo>
                      <a:pt x="336" y="2716"/>
                    </a:lnTo>
                    <a:lnTo>
                      <a:pt x="338" y="2718"/>
                    </a:lnTo>
                    <a:lnTo>
                      <a:pt x="342" y="2722"/>
                    </a:lnTo>
                    <a:lnTo>
                      <a:pt x="346" y="2726"/>
                    </a:lnTo>
                    <a:lnTo>
                      <a:pt x="348" y="2728"/>
                    </a:lnTo>
                    <a:lnTo>
                      <a:pt x="348" y="2728"/>
                    </a:lnTo>
                    <a:lnTo>
                      <a:pt x="350" y="2730"/>
                    </a:lnTo>
                    <a:lnTo>
                      <a:pt x="350" y="2732"/>
                    </a:lnTo>
                    <a:lnTo>
                      <a:pt x="344" y="2738"/>
                    </a:lnTo>
                    <a:lnTo>
                      <a:pt x="340" y="2744"/>
                    </a:lnTo>
                    <a:lnTo>
                      <a:pt x="340" y="2746"/>
                    </a:lnTo>
                    <a:lnTo>
                      <a:pt x="344" y="2746"/>
                    </a:lnTo>
                    <a:lnTo>
                      <a:pt x="344" y="2746"/>
                    </a:lnTo>
                    <a:lnTo>
                      <a:pt x="350" y="2748"/>
                    </a:lnTo>
                    <a:lnTo>
                      <a:pt x="354" y="2752"/>
                    </a:lnTo>
                    <a:lnTo>
                      <a:pt x="356" y="2754"/>
                    </a:lnTo>
                    <a:lnTo>
                      <a:pt x="356" y="2760"/>
                    </a:lnTo>
                    <a:lnTo>
                      <a:pt x="356" y="2766"/>
                    </a:lnTo>
                    <a:lnTo>
                      <a:pt x="354" y="2766"/>
                    </a:lnTo>
                    <a:lnTo>
                      <a:pt x="352" y="2764"/>
                    </a:lnTo>
                    <a:lnTo>
                      <a:pt x="352" y="2764"/>
                    </a:lnTo>
                    <a:lnTo>
                      <a:pt x="348" y="2758"/>
                    </a:lnTo>
                    <a:lnTo>
                      <a:pt x="344" y="2758"/>
                    </a:lnTo>
                    <a:lnTo>
                      <a:pt x="342" y="2760"/>
                    </a:lnTo>
                    <a:lnTo>
                      <a:pt x="342" y="2766"/>
                    </a:lnTo>
                    <a:lnTo>
                      <a:pt x="342" y="2766"/>
                    </a:lnTo>
                    <a:lnTo>
                      <a:pt x="342" y="2774"/>
                    </a:lnTo>
                    <a:lnTo>
                      <a:pt x="342" y="2778"/>
                    </a:lnTo>
                    <a:lnTo>
                      <a:pt x="340" y="2782"/>
                    </a:lnTo>
                    <a:lnTo>
                      <a:pt x="342" y="2792"/>
                    </a:lnTo>
                    <a:lnTo>
                      <a:pt x="342" y="2792"/>
                    </a:lnTo>
                    <a:lnTo>
                      <a:pt x="342" y="2798"/>
                    </a:lnTo>
                    <a:lnTo>
                      <a:pt x="342" y="2804"/>
                    </a:lnTo>
                    <a:lnTo>
                      <a:pt x="336" y="2812"/>
                    </a:lnTo>
                    <a:lnTo>
                      <a:pt x="330" y="2820"/>
                    </a:lnTo>
                    <a:lnTo>
                      <a:pt x="330" y="2824"/>
                    </a:lnTo>
                    <a:lnTo>
                      <a:pt x="330" y="2830"/>
                    </a:lnTo>
                    <a:lnTo>
                      <a:pt x="330" y="2830"/>
                    </a:lnTo>
                    <a:lnTo>
                      <a:pt x="334" y="2840"/>
                    </a:lnTo>
                    <a:lnTo>
                      <a:pt x="332" y="2852"/>
                    </a:lnTo>
                    <a:lnTo>
                      <a:pt x="330" y="2860"/>
                    </a:lnTo>
                    <a:lnTo>
                      <a:pt x="326" y="2864"/>
                    </a:lnTo>
                    <a:lnTo>
                      <a:pt x="326" y="2864"/>
                    </a:lnTo>
                    <a:lnTo>
                      <a:pt x="324" y="2866"/>
                    </a:lnTo>
                    <a:lnTo>
                      <a:pt x="324" y="2870"/>
                    </a:lnTo>
                    <a:lnTo>
                      <a:pt x="330" y="2872"/>
                    </a:lnTo>
                    <a:lnTo>
                      <a:pt x="336" y="2874"/>
                    </a:lnTo>
                    <a:lnTo>
                      <a:pt x="336" y="2874"/>
                    </a:lnTo>
                    <a:lnTo>
                      <a:pt x="344" y="2878"/>
                    </a:lnTo>
                    <a:lnTo>
                      <a:pt x="346" y="2882"/>
                    </a:lnTo>
                    <a:lnTo>
                      <a:pt x="348" y="2890"/>
                    </a:lnTo>
                    <a:lnTo>
                      <a:pt x="346" y="2896"/>
                    </a:lnTo>
                    <a:lnTo>
                      <a:pt x="346" y="2896"/>
                    </a:lnTo>
                    <a:lnTo>
                      <a:pt x="342" y="2904"/>
                    </a:lnTo>
                    <a:lnTo>
                      <a:pt x="338" y="2908"/>
                    </a:lnTo>
                    <a:lnTo>
                      <a:pt x="332" y="2912"/>
                    </a:lnTo>
                    <a:lnTo>
                      <a:pt x="326" y="2916"/>
                    </a:lnTo>
                    <a:lnTo>
                      <a:pt x="326" y="2916"/>
                    </a:lnTo>
                    <a:lnTo>
                      <a:pt x="320" y="2918"/>
                    </a:lnTo>
                    <a:lnTo>
                      <a:pt x="318" y="2922"/>
                    </a:lnTo>
                    <a:lnTo>
                      <a:pt x="320" y="2926"/>
                    </a:lnTo>
                    <a:lnTo>
                      <a:pt x="322" y="2930"/>
                    </a:lnTo>
                    <a:lnTo>
                      <a:pt x="322" y="2930"/>
                    </a:lnTo>
                    <a:lnTo>
                      <a:pt x="322" y="2932"/>
                    </a:lnTo>
                    <a:lnTo>
                      <a:pt x="322" y="2932"/>
                    </a:lnTo>
                    <a:lnTo>
                      <a:pt x="320" y="2936"/>
                    </a:lnTo>
                    <a:lnTo>
                      <a:pt x="316" y="2940"/>
                    </a:lnTo>
                    <a:lnTo>
                      <a:pt x="312" y="2946"/>
                    </a:lnTo>
                    <a:lnTo>
                      <a:pt x="312" y="2946"/>
                    </a:lnTo>
                    <a:lnTo>
                      <a:pt x="312" y="2954"/>
                    </a:lnTo>
                    <a:lnTo>
                      <a:pt x="312" y="2956"/>
                    </a:lnTo>
                    <a:lnTo>
                      <a:pt x="312" y="2962"/>
                    </a:lnTo>
                    <a:lnTo>
                      <a:pt x="310" y="2974"/>
                    </a:lnTo>
                    <a:lnTo>
                      <a:pt x="310" y="2974"/>
                    </a:lnTo>
                    <a:lnTo>
                      <a:pt x="308" y="2986"/>
                    </a:lnTo>
                    <a:lnTo>
                      <a:pt x="308" y="2994"/>
                    </a:lnTo>
                    <a:lnTo>
                      <a:pt x="306" y="3000"/>
                    </a:lnTo>
                    <a:lnTo>
                      <a:pt x="300" y="3006"/>
                    </a:lnTo>
                    <a:lnTo>
                      <a:pt x="300" y="3006"/>
                    </a:lnTo>
                    <a:lnTo>
                      <a:pt x="298" y="3006"/>
                    </a:lnTo>
                    <a:lnTo>
                      <a:pt x="296" y="3006"/>
                    </a:lnTo>
                    <a:lnTo>
                      <a:pt x="298" y="2998"/>
                    </a:lnTo>
                    <a:lnTo>
                      <a:pt x="300" y="2988"/>
                    </a:lnTo>
                    <a:lnTo>
                      <a:pt x="300" y="2984"/>
                    </a:lnTo>
                    <a:lnTo>
                      <a:pt x="296" y="2980"/>
                    </a:lnTo>
                    <a:lnTo>
                      <a:pt x="296" y="2980"/>
                    </a:lnTo>
                    <a:lnTo>
                      <a:pt x="292" y="2978"/>
                    </a:lnTo>
                    <a:lnTo>
                      <a:pt x="290" y="2974"/>
                    </a:lnTo>
                    <a:lnTo>
                      <a:pt x="290" y="2968"/>
                    </a:lnTo>
                    <a:lnTo>
                      <a:pt x="290" y="2964"/>
                    </a:lnTo>
                    <a:lnTo>
                      <a:pt x="288" y="2962"/>
                    </a:lnTo>
                    <a:lnTo>
                      <a:pt x="282" y="2962"/>
                    </a:lnTo>
                    <a:lnTo>
                      <a:pt x="282" y="2962"/>
                    </a:lnTo>
                    <a:lnTo>
                      <a:pt x="276" y="2962"/>
                    </a:lnTo>
                    <a:lnTo>
                      <a:pt x="274" y="2964"/>
                    </a:lnTo>
                    <a:lnTo>
                      <a:pt x="274" y="2966"/>
                    </a:lnTo>
                    <a:lnTo>
                      <a:pt x="270" y="2964"/>
                    </a:lnTo>
                    <a:lnTo>
                      <a:pt x="270" y="2964"/>
                    </a:lnTo>
                    <a:lnTo>
                      <a:pt x="268" y="2964"/>
                    </a:lnTo>
                    <a:lnTo>
                      <a:pt x="266" y="2964"/>
                    </a:lnTo>
                    <a:lnTo>
                      <a:pt x="266" y="2968"/>
                    </a:lnTo>
                    <a:lnTo>
                      <a:pt x="266" y="2972"/>
                    </a:lnTo>
                    <a:lnTo>
                      <a:pt x="264" y="2976"/>
                    </a:lnTo>
                    <a:lnTo>
                      <a:pt x="260" y="2980"/>
                    </a:lnTo>
                    <a:lnTo>
                      <a:pt x="254" y="2986"/>
                    </a:lnTo>
                    <a:lnTo>
                      <a:pt x="254" y="2986"/>
                    </a:lnTo>
                    <a:lnTo>
                      <a:pt x="238" y="2994"/>
                    </a:lnTo>
                    <a:lnTo>
                      <a:pt x="228" y="3004"/>
                    </a:lnTo>
                    <a:lnTo>
                      <a:pt x="226" y="3008"/>
                    </a:lnTo>
                    <a:lnTo>
                      <a:pt x="224" y="3012"/>
                    </a:lnTo>
                    <a:lnTo>
                      <a:pt x="224" y="3016"/>
                    </a:lnTo>
                    <a:lnTo>
                      <a:pt x="226" y="3020"/>
                    </a:lnTo>
                    <a:lnTo>
                      <a:pt x="226" y="3020"/>
                    </a:lnTo>
                    <a:lnTo>
                      <a:pt x="232" y="3026"/>
                    </a:lnTo>
                    <a:lnTo>
                      <a:pt x="236" y="3026"/>
                    </a:lnTo>
                    <a:lnTo>
                      <a:pt x="236" y="3024"/>
                    </a:lnTo>
                    <a:lnTo>
                      <a:pt x="238" y="3016"/>
                    </a:lnTo>
                    <a:lnTo>
                      <a:pt x="238" y="3016"/>
                    </a:lnTo>
                    <a:lnTo>
                      <a:pt x="238" y="3010"/>
                    </a:lnTo>
                    <a:lnTo>
                      <a:pt x="242" y="3006"/>
                    </a:lnTo>
                    <a:lnTo>
                      <a:pt x="244" y="3006"/>
                    </a:lnTo>
                    <a:lnTo>
                      <a:pt x="248" y="3006"/>
                    </a:lnTo>
                    <a:lnTo>
                      <a:pt x="252" y="3012"/>
                    </a:lnTo>
                    <a:lnTo>
                      <a:pt x="252" y="3012"/>
                    </a:lnTo>
                    <a:lnTo>
                      <a:pt x="256" y="3018"/>
                    </a:lnTo>
                    <a:lnTo>
                      <a:pt x="264" y="3022"/>
                    </a:lnTo>
                    <a:lnTo>
                      <a:pt x="272" y="3024"/>
                    </a:lnTo>
                    <a:lnTo>
                      <a:pt x="274" y="3022"/>
                    </a:lnTo>
                    <a:lnTo>
                      <a:pt x="274" y="3020"/>
                    </a:lnTo>
                    <a:lnTo>
                      <a:pt x="274" y="3020"/>
                    </a:lnTo>
                    <a:lnTo>
                      <a:pt x="276" y="3016"/>
                    </a:lnTo>
                    <a:lnTo>
                      <a:pt x="278" y="3016"/>
                    </a:lnTo>
                    <a:lnTo>
                      <a:pt x="282" y="3018"/>
                    </a:lnTo>
                    <a:lnTo>
                      <a:pt x="286" y="3024"/>
                    </a:lnTo>
                    <a:lnTo>
                      <a:pt x="286" y="3024"/>
                    </a:lnTo>
                    <a:lnTo>
                      <a:pt x="290" y="3026"/>
                    </a:lnTo>
                    <a:lnTo>
                      <a:pt x="292" y="3028"/>
                    </a:lnTo>
                    <a:lnTo>
                      <a:pt x="296" y="3030"/>
                    </a:lnTo>
                    <a:lnTo>
                      <a:pt x="296" y="3036"/>
                    </a:lnTo>
                    <a:lnTo>
                      <a:pt x="296" y="3036"/>
                    </a:lnTo>
                    <a:lnTo>
                      <a:pt x="294" y="3040"/>
                    </a:lnTo>
                    <a:lnTo>
                      <a:pt x="292" y="3040"/>
                    </a:lnTo>
                    <a:lnTo>
                      <a:pt x="286" y="3042"/>
                    </a:lnTo>
                    <a:lnTo>
                      <a:pt x="280" y="3042"/>
                    </a:lnTo>
                    <a:lnTo>
                      <a:pt x="278" y="3044"/>
                    </a:lnTo>
                    <a:lnTo>
                      <a:pt x="276" y="3048"/>
                    </a:lnTo>
                    <a:lnTo>
                      <a:pt x="276" y="3048"/>
                    </a:lnTo>
                    <a:lnTo>
                      <a:pt x="274" y="3054"/>
                    </a:lnTo>
                    <a:lnTo>
                      <a:pt x="274" y="3056"/>
                    </a:lnTo>
                    <a:lnTo>
                      <a:pt x="280" y="3062"/>
                    </a:lnTo>
                    <a:lnTo>
                      <a:pt x="284" y="3064"/>
                    </a:lnTo>
                    <a:lnTo>
                      <a:pt x="282" y="3064"/>
                    </a:lnTo>
                    <a:lnTo>
                      <a:pt x="282" y="3064"/>
                    </a:lnTo>
                    <a:lnTo>
                      <a:pt x="272" y="3062"/>
                    </a:lnTo>
                    <a:lnTo>
                      <a:pt x="270" y="3062"/>
                    </a:lnTo>
                    <a:lnTo>
                      <a:pt x="268" y="3066"/>
                    </a:lnTo>
                    <a:lnTo>
                      <a:pt x="268" y="3066"/>
                    </a:lnTo>
                    <a:lnTo>
                      <a:pt x="266" y="3072"/>
                    </a:lnTo>
                    <a:lnTo>
                      <a:pt x="268" y="3074"/>
                    </a:lnTo>
                    <a:lnTo>
                      <a:pt x="272" y="3074"/>
                    </a:lnTo>
                    <a:lnTo>
                      <a:pt x="282" y="3074"/>
                    </a:lnTo>
                    <a:lnTo>
                      <a:pt x="282" y="3074"/>
                    </a:lnTo>
                    <a:lnTo>
                      <a:pt x="290" y="3074"/>
                    </a:lnTo>
                    <a:lnTo>
                      <a:pt x="296" y="3076"/>
                    </a:lnTo>
                    <a:lnTo>
                      <a:pt x="300" y="3078"/>
                    </a:lnTo>
                    <a:lnTo>
                      <a:pt x="302" y="3078"/>
                    </a:lnTo>
                    <a:lnTo>
                      <a:pt x="302" y="3074"/>
                    </a:lnTo>
                    <a:lnTo>
                      <a:pt x="302" y="3074"/>
                    </a:lnTo>
                    <a:lnTo>
                      <a:pt x="304" y="3072"/>
                    </a:lnTo>
                    <a:lnTo>
                      <a:pt x="306" y="3072"/>
                    </a:lnTo>
                    <a:lnTo>
                      <a:pt x="310" y="3076"/>
                    </a:lnTo>
                    <a:lnTo>
                      <a:pt x="312" y="3080"/>
                    </a:lnTo>
                    <a:lnTo>
                      <a:pt x="312" y="3082"/>
                    </a:lnTo>
                    <a:lnTo>
                      <a:pt x="310" y="3084"/>
                    </a:lnTo>
                    <a:lnTo>
                      <a:pt x="310" y="3084"/>
                    </a:lnTo>
                    <a:lnTo>
                      <a:pt x="308" y="3086"/>
                    </a:lnTo>
                    <a:lnTo>
                      <a:pt x="310" y="3088"/>
                    </a:lnTo>
                    <a:lnTo>
                      <a:pt x="314" y="3096"/>
                    </a:lnTo>
                    <a:lnTo>
                      <a:pt x="318" y="3100"/>
                    </a:lnTo>
                    <a:lnTo>
                      <a:pt x="318" y="3102"/>
                    </a:lnTo>
                    <a:lnTo>
                      <a:pt x="314" y="3100"/>
                    </a:lnTo>
                    <a:lnTo>
                      <a:pt x="314" y="3100"/>
                    </a:lnTo>
                    <a:lnTo>
                      <a:pt x="300" y="3090"/>
                    </a:lnTo>
                    <a:lnTo>
                      <a:pt x="294" y="3088"/>
                    </a:lnTo>
                    <a:lnTo>
                      <a:pt x="286" y="3088"/>
                    </a:lnTo>
                    <a:lnTo>
                      <a:pt x="286" y="3088"/>
                    </a:lnTo>
                    <a:lnTo>
                      <a:pt x="272" y="3086"/>
                    </a:lnTo>
                    <a:lnTo>
                      <a:pt x="268" y="3088"/>
                    </a:lnTo>
                    <a:lnTo>
                      <a:pt x="266" y="3088"/>
                    </a:lnTo>
                    <a:lnTo>
                      <a:pt x="268" y="3090"/>
                    </a:lnTo>
                    <a:lnTo>
                      <a:pt x="268" y="3090"/>
                    </a:lnTo>
                    <a:lnTo>
                      <a:pt x="270" y="3092"/>
                    </a:lnTo>
                    <a:lnTo>
                      <a:pt x="272" y="3092"/>
                    </a:lnTo>
                    <a:lnTo>
                      <a:pt x="274" y="3092"/>
                    </a:lnTo>
                    <a:lnTo>
                      <a:pt x="276" y="3096"/>
                    </a:lnTo>
                    <a:lnTo>
                      <a:pt x="276" y="3096"/>
                    </a:lnTo>
                    <a:lnTo>
                      <a:pt x="278" y="3100"/>
                    </a:lnTo>
                    <a:lnTo>
                      <a:pt x="282" y="3104"/>
                    </a:lnTo>
                    <a:lnTo>
                      <a:pt x="292" y="3110"/>
                    </a:lnTo>
                    <a:lnTo>
                      <a:pt x="292" y="3110"/>
                    </a:lnTo>
                    <a:lnTo>
                      <a:pt x="294" y="3112"/>
                    </a:lnTo>
                    <a:lnTo>
                      <a:pt x="294" y="3114"/>
                    </a:lnTo>
                    <a:lnTo>
                      <a:pt x="294" y="3116"/>
                    </a:lnTo>
                    <a:lnTo>
                      <a:pt x="294" y="3120"/>
                    </a:lnTo>
                    <a:lnTo>
                      <a:pt x="294" y="3120"/>
                    </a:lnTo>
                    <a:lnTo>
                      <a:pt x="294" y="3120"/>
                    </a:lnTo>
                    <a:lnTo>
                      <a:pt x="292" y="3120"/>
                    </a:lnTo>
                    <a:lnTo>
                      <a:pt x="288" y="3118"/>
                    </a:lnTo>
                    <a:lnTo>
                      <a:pt x="284" y="3116"/>
                    </a:lnTo>
                    <a:lnTo>
                      <a:pt x="280" y="3116"/>
                    </a:lnTo>
                    <a:lnTo>
                      <a:pt x="280" y="3120"/>
                    </a:lnTo>
                    <a:lnTo>
                      <a:pt x="280" y="3120"/>
                    </a:lnTo>
                    <a:lnTo>
                      <a:pt x="276" y="3132"/>
                    </a:lnTo>
                    <a:lnTo>
                      <a:pt x="276" y="3138"/>
                    </a:lnTo>
                    <a:lnTo>
                      <a:pt x="276" y="3148"/>
                    </a:lnTo>
                    <a:lnTo>
                      <a:pt x="276" y="3148"/>
                    </a:lnTo>
                    <a:lnTo>
                      <a:pt x="278" y="3168"/>
                    </a:lnTo>
                    <a:lnTo>
                      <a:pt x="280" y="3174"/>
                    </a:lnTo>
                    <a:lnTo>
                      <a:pt x="282" y="3178"/>
                    </a:lnTo>
                    <a:lnTo>
                      <a:pt x="282" y="3178"/>
                    </a:lnTo>
                    <a:lnTo>
                      <a:pt x="284" y="3178"/>
                    </a:lnTo>
                    <a:lnTo>
                      <a:pt x="284" y="3176"/>
                    </a:lnTo>
                    <a:lnTo>
                      <a:pt x="286" y="3168"/>
                    </a:lnTo>
                    <a:lnTo>
                      <a:pt x="288" y="3160"/>
                    </a:lnTo>
                    <a:lnTo>
                      <a:pt x="290" y="3156"/>
                    </a:lnTo>
                    <a:lnTo>
                      <a:pt x="290" y="3156"/>
                    </a:lnTo>
                    <a:lnTo>
                      <a:pt x="292" y="3154"/>
                    </a:lnTo>
                    <a:lnTo>
                      <a:pt x="292" y="3158"/>
                    </a:lnTo>
                    <a:lnTo>
                      <a:pt x="292" y="3164"/>
                    </a:lnTo>
                    <a:lnTo>
                      <a:pt x="292" y="3170"/>
                    </a:lnTo>
                    <a:lnTo>
                      <a:pt x="292" y="3170"/>
                    </a:lnTo>
                    <a:lnTo>
                      <a:pt x="294" y="3176"/>
                    </a:lnTo>
                    <a:lnTo>
                      <a:pt x="298" y="3182"/>
                    </a:lnTo>
                    <a:lnTo>
                      <a:pt x="300" y="3184"/>
                    </a:lnTo>
                    <a:lnTo>
                      <a:pt x="296" y="3182"/>
                    </a:lnTo>
                    <a:lnTo>
                      <a:pt x="296" y="3182"/>
                    </a:lnTo>
                    <a:lnTo>
                      <a:pt x="290" y="3180"/>
                    </a:lnTo>
                    <a:lnTo>
                      <a:pt x="284" y="3182"/>
                    </a:lnTo>
                    <a:lnTo>
                      <a:pt x="280" y="3184"/>
                    </a:lnTo>
                    <a:lnTo>
                      <a:pt x="280" y="3186"/>
                    </a:lnTo>
                    <a:lnTo>
                      <a:pt x="282" y="3188"/>
                    </a:lnTo>
                    <a:lnTo>
                      <a:pt x="282" y="3188"/>
                    </a:lnTo>
                    <a:lnTo>
                      <a:pt x="282" y="3190"/>
                    </a:lnTo>
                    <a:lnTo>
                      <a:pt x="280" y="3192"/>
                    </a:lnTo>
                    <a:lnTo>
                      <a:pt x="280" y="3194"/>
                    </a:lnTo>
                    <a:lnTo>
                      <a:pt x="284" y="3198"/>
                    </a:lnTo>
                    <a:lnTo>
                      <a:pt x="284" y="3198"/>
                    </a:lnTo>
                    <a:lnTo>
                      <a:pt x="296" y="3206"/>
                    </a:lnTo>
                    <a:lnTo>
                      <a:pt x="296" y="3206"/>
                    </a:lnTo>
                    <a:lnTo>
                      <a:pt x="294" y="3206"/>
                    </a:lnTo>
                    <a:lnTo>
                      <a:pt x="288" y="3206"/>
                    </a:lnTo>
                    <a:lnTo>
                      <a:pt x="288" y="3206"/>
                    </a:lnTo>
                    <a:lnTo>
                      <a:pt x="280" y="3204"/>
                    </a:lnTo>
                    <a:lnTo>
                      <a:pt x="278" y="3204"/>
                    </a:lnTo>
                    <a:lnTo>
                      <a:pt x="280" y="3206"/>
                    </a:lnTo>
                    <a:lnTo>
                      <a:pt x="288" y="3216"/>
                    </a:lnTo>
                    <a:lnTo>
                      <a:pt x="288" y="3216"/>
                    </a:lnTo>
                    <a:lnTo>
                      <a:pt x="290" y="3220"/>
                    </a:lnTo>
                    <a:lnTo>
                      <a:pt x="290" y="3220"/>
                    </a:lnTo>
                    <a:lnTo>
                      <a:pt x="280" y="3214"/>
                    </a:lnTo>
                    <a:lnTo>
                      <a:pt x="280" y="3214"/>
                    </a:lnTo>
                    <a:lnTo>
                      <a:pt x="274" y="3212"/>
                    </a:lnTo>
                    <a:lnTo>
                      <a:pt x="268" y="3212"/>
                    </a:lnTo>
                    <a:lnTo>
                      <a:pt x="264" y="3214"/>
                    </a:lnTo>
                    <a:lnTo>
                      <a:pt x="264" y="3216"/>
                    </a:lnTo>
                    <a:lnTo>
                      <a:pt x="268" y="3218"/>
                    </a:lnTo>
                    <a:lnTo>
                      <a:pt x="268" y="3218"/>
                    </a:lnTo>
                    <a:lnTo>
                      <a:pt x="272" y="3220"/>
                    </a:lnTo>
                    <a:lnTo>
                      <a:pt x="274" y="3224"/>
                    </a:lnTo>
                    <a:lnTo>
                      <a:pt x="274" y="3226"/>
                    </a:lnTo>
                    <a:lnTo>
                      <a:pt x="278" y="3228"/>
                    </a:lnTo>
                    <a:lnTo>
                      <a:pt x="278" y="3228"/>
                    </a:lnTo>
                    <a:lnTo>
                      <a:pt x="282" y="3230"/>
                    </a:lnTo>
                    <a:lnTo>
                      <a:pt x="284" y="3230"/>
                    </a:lnTo>
                    <a:lnTo>
                      <a:pt x="288" y="3230"/>
                    </a:lnTo>
                    <a:lnTo>
                      <a:pt x="292" y="3234"/>
                    </a:lnTo>
                    <a:lnTo>
                      <a:pt x="292" y="3234"/>
                    </a:lnTo>
                    <a:lnTo>
                      <a:pt x="296" y="3236"/>
                    </a:lnTo>
                    <a:lnTo>
                      <a:pt x="296" y="3238"/>
                    </a:lnTo>
                    <a:lnTo>
                      <a:pt x="288" y="3236"/>
                    </a:lnTo>
                    <a:lnTo>
                      <a:pt x="288" y="3236"/>
                    </a:lnTo>
                    <a:lnTo>
                      <a:pt x="284" y="3236"/>
                    </a:lnTo>
                    <a:lnTo>
                      <a:pt x="284" y="3238"/>
                    </a:lnTo>
                    <a:lnTo>
                      <a:pt x="288" y="3248"/>
                    </a:lnTo>
                    <a:lnTo>
                      <a:pt x="288" y="3248"/>
                    </a:lnTo>
                    <a:lnTo>
                      <a:pt x="290" y="3252"/>
                    </a:lnTo>
                    <a:lnTo>
                      <a:pt x="294" y="3252"/>
                    </a:lnTo>
                    <a:lnTo>
                      <a:pt x="298" y="3250"/>
                    </a:lnTo>
                    <a:lnTo>
                      <a:pt x="302" y="3240"/>
                    </a:lnTo>
                    <a:lnTo>
                      <a:pt x="302" y="3240"/>
                    </a:lnTo>
                    <a:lnTo>
                      <a:pt x="306" y="3234"/>
                    </a:lnTo>
                    <a:lnTo>
                      <a:pt x="308" y="3232"/>
                    </a:lnTo>
                    <a:lnTo>
                      <a:pt x="308" y="3234"/>
                    </a:lnTo>
                    <a:lnTo>
                      <a:pt x="306" y="3242"/>
                    </a:lnTo>
                    <a:lnTo>
                      <a:pt x="306" y="3242"/>
                    </a:lnTo>
                    <a:lnTo>
                      <a:pt x="300" y="3256"/>
                    </a:lnTo>
                    <a:lnTo>
                      <a:pt x="296" y="3258"/>
                    </a:lnTo>
                    <a:lnTo>
                      <a:pt x="292" y="3258"/>
                    </a:lnTo>
                    <a:lnTo>
                      <a:pt x="292" y="3258"/>
                    </a:lnTo>
                    <a:lnTo>
                      <a:pt x="288" y="3258"/>
                    </a:lnTo>
                    <a:lnTo>
                      <a:pt x="286" y="3258"/>
                    </a:lnTo>
                    <a:lnTo>
                      <a:pt x="284" y="3260"/>
                    </a:lnTo>
                    <a:lnTo>
                      <a:pt x="284" y="3264"/>
                    </a:lnTo>
                    <a:lnTo>
                      <a:pt x="284" y="3264"/>
                    </a:lnTo>
                    <a:lnTo>
                      <a:pt x="286" y="3266"/>
                    </a:lnTo>
                    <a:lnTo>
                      <a:pt x="286" y="3266"/>
                    </a:lnTo>
                    <a:lnTo>
                      <a:pt x="288" y="3268"/>
                    </a:lnTo>
                    <a:lnTo>
                      <a:pt x="288" y="3272"/>
                    </a:lnTo>
                    <a:lnTo>
                      <a:pt x="288" y="3272"/>
                    </a:lnTo>
                    <a:lnTo>
                      <a:pt x="288" y="3276"/>
                    </a:lnTo>
                    <a:lnTo>
                      <a:pt x="290" y="3276"/>
                    </a:lnTo>
                    <a:lnTo>
                      <a:pt x="292" y="3276"/>
                    </a:lnTo>
                    <a:lnTo>
                      <a:pt x="296" y="3276"/>
                    </a:lnTo>
                    <a:lnTo>
                      <a:pt x="296" y="3276"/>
                    </a:lnTo>
                    <a:lnTo>
                      <a:pt x="302" y="3278"/>
                    </a:lnTo>
                    <a:lnTo>
                      <a:pt x="306" y="3286"/>
                    </a:lnTo>
                    <a:lnTo>
                      <a:pt x="306" y="3286"/>
                    </a:lnTo>
                    <a:lnTo>
                      <a:pt x="308" y="3294"/>
                    </a:lnTo>
                    <a:lnTo>
                      <a:pt x="308" y="3298"/>
                    </a:lnTo>
                    <a:lnTo>
                      <a:pt x="306" y="3298"/>
                    </a:lnTo>
                    <a:lnTo>
                      <a:pt x="302" y="3294"/>
                    </a:lnTo>
                    <a:lnTo>
                      <a:pt x="302" y="3294"/>
                    </a:lnTo>
                    <a:lnTo>
                      <a:pt x="298" y="3288"/>
                    </a:lnTo>
                    <a:lnTo>
                      <a:pt x="296" y="3288"/>
                    </a:lnTo>
                    <a:lnTo>
                      <a:pt x="296" y="3290"/>
                    </a:lnTo>
                    <a:lnTo>
                      <a:pt x="296" y="3294"/>
                    </a:lnTo>
                    <a:lnTo>
                      <a:pt x="296" y="3294"/>
                    </a:lnTo>
                    <a:lnTo>
                      <a:pt x="298" y="3298"/>
                    </a:lnTo>
                    <a:lnTo>
                      <a:pt x="298" y="3302"/>
                    </a:lnTo>
                    <a:lnTo>
                      <a:pt x="298" y="3304"/>
                    </a:lnTo>
                    <a:lnTo>
                      <a:pt x="300" y="3308"/>
                    </a:lnTo>
                    <a:lnTo>
                      <a:pt x="300" y="3308"/>
                    </a:lnTo>
                    <a:lnTo>
                      <a:pt x="302" y="3310"/>
                    </a:lnTo>
                    <a:lnTo>
                      <a:pt x="302" y="3310"/>
                    </a:lnTo>
                    <a:lnTo>
                      <a:pt x="306" y="3308"/>
                    </a:lnTo>
                    <a:lnTo>
                      <a:pt x="308" y="3306"/>
                    </a:lnTo>
                    <a:lnTo>
                      <a:pt x="310" y="3308"/>
                    </a:lnTo>
                    <a:lnTo>
                      <a:pt x="312" y="3310"/>
                    </a:lnTo>
                    <a:lnTo>
                      <a:pt x="312" y="3310"/>
                    </a:lnTo>
                    <a:lnTo>
                      <a:pt x="314" y="3318"/>
                    </a:lnTo>
                    <a:lnTo>
                      <a:pt x="310" y="3316"/>
                    </a:lnTo>
                    <a:lnTo>
                      <a:pt x="310" y="3316"/>
                    </a:lnTo>
                    <a:lnTo>
                      <a:pt x="308" y="3316"/>
                    </a:lnTo>
                    <a:lnTo>
                      <a:pt x="308" y="3318"/>
                    </a:lnTo>
                    <a:lnTo>
                      <a:pt x="312" y="3326"/>
                    </a:lnTo>
                    <a:lnTo>
                      <a:pt x="318" y="3332"/>
                    </a:lnTo>
                    <a:lnTo>
                      <a:pt x="322" y="3332"/>
                    </a:lnTo>
                    <a:lnTo>
                      <a:pt x="324" y="3332"/>
                    </a:lnTo>
                    <a:lnTo>
                      <a:pt x="324" y="3332"/>
                    </a:lnTo>
                    <a:lnTo>
                      <a:pt x="326" y="3322"/>
                    </a:lnTo>
                    <a:lnTo>
                      <a:pt x="330" y="3318"/>
                    </a:lnTo>
                    <a:lnTo>
                      <a:pt x="332" y="3316"/>
                    </a:lnTo>
                    <a:lnTo>
                      <a:pt x="332" y="3316"/>
                    </a:lnTo>
                    <a:lnTo>
                      <a:pt x="334" y="3314"/>
                    </a:lnTo>
                    <a:lnTo>
                      <a:pt x="334" y="3312"/>
                    </a:lnTo>
                    <a:lnTo>
                      <a:pt x="334" y="3310"/>
                    </a:lnTo>
                    <a:lnTo>
                      <a:pt x="342" y="3312"/>
                    </a:lnTo>
                    <a:lnTo>
                      <a:pt x="342" y="3312"/>
                    </a:lnTo>
                    <a:lnTo>
                      <a:pt x="348" y="3312"/>
                    </a:lnTo>
                    <a:lnTo>
                      <a:pt x="350" y="3312"/>
                    </a:lnTo>
                    <a:lnTo>
                      <a:pt x="350" y="3310"/>
                    </a:lnTo>
                    <a:lnTo>
                      <a:pt x="344" y="3304"/>
                    </a:lnTo>
                    <a:lnTo>
                      <a:pt x="334" y="3300"/>
                    </a:lnTo>
                    <a:lnTo>
                      <a:pt x="334" y="3300"/>
                    </a:lnTo>
                    <a:lnTo>
                      <a:pt x="326" y="3294"/>
                    </a:lnTo>
                    <a:lnTo>
                      <a:pt x="324" y="3292"/>
                    </a:lnTo>
                    <a:lnTo>
                      <a:pt x="328" y="3290"/>
                    </a:lnTo>
                    <a:lnTo>
                      <a:pt x="336" y="3294"/>
                    </a:lnTo>
                    <a:lnTo>
                      <a:pt x="336" y="3294"/>
                    </a:lnTo>
                    <a:lnTo>
                      <a:pt x="350" y="3302"/>
                    </a:lnTo>
                    <a:lnTo>
                      <a:pt x="354" y="3308"/>
                    </a:lnTo>
                    <a:lnTo>
                      <a:pt x="354" y="3314"/>
                    </a:lnTo>
                    <a:lnTo>
                      <a:pt x="354" y="3314"/>
                    </a:lnTo>
                    <a:lnTo>
                      <a:pt x="352" y="3320"/>
                    </a:lnTo>
                    <a:lnTo>
                      <a:pt x="350" y="3322"/>
                    </a:lnTo>
                    <a:lnTo>
                      <a:pt x="348" y="3324"/>
                    </a:lnTo>
                    <a:lnTo>
                      <a:pt x="350" y="3330"/>
                    </a:lnTo>
                    <a:lnTo>
                      <a:pt x="350" y="3330"/>
                    </a:lnTo>
                    <a:lnTo>
                      <a:pt x="352" y="3332"/>
                    </a:lnTo>
                    <a:lnTo>
                      <a:pt x="348" y="3328"/>
                    </a:lnTo>
                    <a:lnTo>
                      <a:pt x="342" y="3322"/>
                    </a:lnTo>
                    <a:lnTo>
                      <a:pt x="340" y="3322"/>
                    </a:lnTo>
                    <a:lnTo>
                      <a:pt x="338" y="3326"/>
                    </a:lnTo>
                    <a:lnTo>
                      <a:pt x="338" y="3326"/>
                    </a:lnTo>
                    <a:lnTo>
                      <a:pt x="334" y="3336"/>
                    </a:lnTo>
                    <a:lnTo>
                      <a:pt x="334" y="3336"/>
                    </a:lnTo>
                    <a:lnTo>
                      <a:pt x="332" y="3334"/>
                    </a:lnTo>
                    <a:lnTo>
                      <a:pt x="332" y="3334"/>
                    </a:lnTo>
                    <a:lnTo>
                      <a:pt x="332" y="3330"/>
                    </a:lnTo>
                    <a:lnTo>
                      <a:pt x="330" y="3332"/>
                    </a:lnTo>
                    <a:lnTo>
                      <a:pt x="324" y="3338"/>
                    </a:lnTo>
                    <a:lnTo>
                      <a:pt x="324" y="3338"/>
                    </a:lnTo>
                    <a:lnTo>
                      <a:pt x="322" y="3340"/>
                    </a:lnTo>
                    <a:lnTo>
                      <a:pt x="320" y="3340"/>
                    </a:lnTo>
                    <a:lnTo>
                      <a:pt x="316" y="3336"/>
                    </a:lnTo>
                    <a:lnTo>
                      <a:pt x="310" y="3330"/>
                    </a:lnTo>
                    <a:lnTo>
                      <a:pt x="306" y="3328"/>
                    </a:lnTo>
                    <a:lnTo>
                      <a:pt x="306" y="3328"/>
                    </a:lnTo>
                    <a:lnTo>
                      <a:pt x="304" y="3328"/>
                    </a:lnTo>
                    <a:lnTo>
                      <a:pt x="304" y="3328"/>
                    </a:lnTo>
                    <a:lnTo>
                      <a:pt x="306" y="3332"/>
                    </a:lnTo>
                    <a:lnTo>
                      <a:pt x="310" y="3336"/>
                    </a:lnTo>
                    <a:lnTo>
                      <a:pt x="310" y="3340"/>
                    </a:lnTo>
                    <a:lnTo>
                      <a:pt x="308" y="3344"/>
                    </a:lnTo>
                    <a:lnTo>
                      <a:pt x="308" y="3344"/>
                    </a:lnTo>
                    <a:lnTo>
                      <a:pt x="306" y="3350"/>
                    </a:lnTo>
                    <a:lnTo>
                      <a:pt x="308" y="3350"/>
                    </a:lnTo>
                    <a:lnTo>
                      <a:pt x="312" y="3352"/>
                    </a:lnTo>
                    <a:lnTo>
                      <a:pt x="310" y="3356"/>
                    </a:lnTo>
                    <a:lnTo>
                      <a:pt x="310" y="3356"/>
                    </a:lnTo>
                    <a:lnTo>
                      <a:pt x="306" y="3364"/>
                    </a:lnTo>
                    <a:lnTo>
                      <a:pt x="306" y="3368"/>
                    </a:lnTo>
                    <a:lnTo>
                      <a:pt x="306" y="3370"/>
                    </a:lnTo>
                    <a:lnTo>
                      <a:pt x="308" y="3370"/>
                    </a:lnTo>
                    <a:lnTo>
                      <a:pt x="314" y="3366"/>
                    </a:lnTo>
                    <a:lnTo>
                      <a:pt x="314" y="3366"/>
                    </a:lnTo>
                    <a:lnTo>
                      <a:pt x="316" y="3364"/>
                    </a:lnTo>
                    <a:lnTo>
                      <a:pt x="320" y="3364"/>
                    </a:lnTo>
                    <a:lnTo>
                      <a:pt x="322" y="3366"/>
                    </a:lnTo>
                    <a:lnTo>
                      <a:pt x="324" y="3372"/>
                    </a:lnTo>
                    <a:lnTo>
                      <a:pt x="322" y="3374"/>
                    </a:lnTo>
                    <a:lnTo>
                      <a:pt x="320" y="3374"/>
                    </a:lnTo>
                    <a:lnTo>
                      <a:pt x="320" y="3374"/>
                    </a:lnTo>
                    <a:lnTo>
                      <a:pt x="316" y="3374"/>
                    </a:lnTo>
                    <a:lnTo>
                      <a:pt x="316" y="3374"/>
                    </a:lnTo>
                    <a:lnTo>
                      <a:pt x="322" y="3380"/>
                    </a:lnTo>
                    <a:lnTo>
                      <a:pt x="322" y="3380"/>
                    </a:lnTo>
                    <a:lnTo>
                      <a:pt x="322" y="3380"/>
                    </a:lnTo>
                    <a:lnTo>
                      <a:pt x="322" y="3382"/>
                    </a:lnTo>
                    <a:lnTo>
                      <a:pt x="318" y="3384"/>
                    </a:lnTo>
                    <a:lnTo>
                      <a:pt x="316" y="3386"/>
                    </a:lnTo>
                    <a:lnTo>
                      <a:pt x="320" y="3388"/>
                    </a:lnTo>
                    <a:lnTo>
                      <a:pt x="320" y="3388"/>
                    </a:lnTo>
                    <a:lnTo>
                      <a:pt x="328" y="3390"/>
                    </a:lnTo>
                    <a:lnTo>
                      <a:pt x="332" y="3388"/>
                    </a:lnTo>
                    <a:lnTo>
                      <a:pt x="334" y="3384"/>
                    </a:lnTo>
                    <a:lnTo>
                      <a:pt x="334" y="3378"/>
                    </a:lnTo>
                    <a:lnTo>
                      <a:pt x="334" y="3378"/>
                    </a:lnTo>
                    <a:lnTo>
                      <a:pt x="334" y="3376"/>
                    </a:lnTo>
                    <a:lnTo>
                      <a:pt x="336" y="3374"/>
                    </a:lnTo>
                    <a:lnTo>
                      <a:pt x="340" y="3370"/>
                    </a:lnTo>
                    <a:lnTo>
                      <a:pt x="344" y="3368"/>
                    </a:lnTo>
                    <a:lnTo>
                      <a:pt x="346" y="3366"/>
                    </a:lnTo>
                    <a:lnTo>
                      <a:pt x="346" y="3364"/>
                    </a:lnTo>
                    <a:lnTo>
                      <a:pt x="346" y="3364"/>
                    </a:lnTo>
                    <a:lnTo>
                      <a:pt x="344" y="3362"/>
                    </a:lnTo>
                    <a:lnTo>
                      <a:pt x="340" y="3360"/>
                    </a:lnTo>
                    <a:lnTo>
                      <a:pt x="340" y="3358"/>
                    </a:lnTo>
                    <a:lnTo>
                      <a:pt x="344" y="3358"/>
                    </a:lnTo>
                    <a:lnTo>
                      <a:pt x="344" y="3358"/>
                    </a:lnTo>
                    <a:lnTo>
                      <a:pt x="352" y="3358"/>
                    </a:lnTo>
                    <a:lnTo>
                      <a:pt x="354" y="3362"/>
                    </a:lnTo>
                    <a:lnTo>
                      <a:pt x="356" y="3362"/>
                    </a:lnTo>
                    <a:lnTo>
                      <a:pt x="360" y="3360"/>
                    </a:lnTo>
                    <a:lnTo>
                      <a:pt x="360" y="3360"/>
                    </a:lnTo>
                    <a:lnTo>
                      <a:pt x="364" y="3358"/>
                    </a:lnTo>
                    <a:lnTo>
                      <a:pt x="368" y="3356"/>
                    </a:lnTo>
                    <a:lnTo>
                      <a:pt x="382" y="3356"/>
                    </a:lnTo>
                    <a:lnTo>
                      <a:pt x="392" y="3358"/>
                    </a:lnTo>
                    <a:lnTo>
                      <a:pt x="394" y="3360"/>
                    </a:lnTo>
                    <a:lnTo>
                      <a:pt x="396" y="3362"/>
                    </a:lnTo>
                    <a:lnTo>
                      <a:pt x="396" y="3362"/>
                    </a:lnTo>
                    <a:lnTo>
                      <a:pt x="392" y="3366"/>
                    </a:lnTo>
                    <a:lnTo>
                      <a:pt x="386" y="3368"/>
                    </a:lnTo>
                    <a:lnTo>
                      <a:pt x="380" y="3366"/>
                    </a:lnTo>
                    <a:lnTo>
                      <a:pt x="372" y="3364"/>
                    </a:lnTo>
                    <a:lnTo>
                      <a:pt x="372" y="3364"/>
                    </a:lnTo>
                    <a:lnTo>
                      <a:pt x="368" y="3364"/>
                    </a:lnTo>
                    <a:lnTo>
                      <a:pt x="366" y="3366"/>
                    </a:lnTo>
                    <a:lnTo>
                      <a:pt x="362" y="3370"/>
                    </a:lnTo>
                    <a:lnTo>
                      <a:pt x="358" y="3376"/>
                    </a:lnTo>
                    <a:lnTo>
                      <a:pt x="356" y="3376"/>
                    </a:lnTo>
                    <a:lnTo>
                      <a:pt x="354" y="3376"/>
                    </a:lnTo>
                    <a:lnTo>
                      <a:pt x="354" y="3376"/>
                    </a:lnTo>
                    <a:lnTo>
                      <a:pt x="348" y="3372"/>
                    </a:lnTo>
                    <a:lnTo>
                      <a:pt x="342" y="3374"/>
                    </a:lnTo>
                    <a:lnTo>
                      <a:pt x="338" y="3378"/>
                    </a:lnTo>
                    <a:lnTo>
                      <a:pt x="338" y="3384"/>
                    </a:lnTo>
                    <a:lnTo>
                      <a:pt x="338" y="3384"/>
                    </a:lnTo>
                    <a:lnTo>
                      <a:pt x="340" y="3388"/>
                    </a:lnTo>
                    <a:lnTo>
                      <a:pt x="338" y="3390"/>
                    </a:lnTo>
                    <a:lnTo>
                      <a:pt x="338" y="3392"/>
                    </a:lnTo>
                    <a:lnTo>
                      <a:pt x="340" y="3396"/>
                    </a:lnTo>
                    <a:lnTo>
                      <a:pt x="340" y="3396"/>
                    </a:lnTo>
                    <a:lnTo>
                      <a:pt x="342" y="3398"/>
                    </a:lnTo>
                    <a:lnTo>
                      <a:pt x="340" y="3398"/>
                    </a:lnTo>
                    <a:lnTo>
                      <a:pt x="334" y="3396"/>
                    </a:lnTo>
                    <a:lnTo>
                      <a:pt x="326" y="3396"/>
                    </a:lnTo>
                    <a:lnTo>
                      <a:pt x="326" y="3396"/>
                    </a:lnTo>
                    <a:lnTo>
                      <a:pt x="324" y="3396"/>
                    </a:lnTo>
                    <a:lnTo>
                      <a:pt x="324" y="3398"/>
                    </a:lnTo>
                    <a:lnTo>
                      <a:pt x="326" y="3402"/>
                    </a:lnTo>
                    <a:lnTo>
                      <a:pt x="342" y="3412"/>
                    </a:lnTo>
                    <a:lnTo>
                      <a:pt x="342" y="3412"/>
                    </a:lnTo>
                    <a:lnTo>
                      <a:pt x="354" y="3418"/>
                    </a:lnTo>
                    <a:lnTo>
                      <a:pt x="356" y="3418"/>
                    </a:lnTo>
                    <a:lnTo>
                      <a:pt x="354" y="3412"/>
                    </a:lnTo>
                    <a:lnTo>
                      <a:pt x="354" y="3412"/>
                    </a:lnTo>
                    <a:lnTo>
                      <a:pt x="352" y="3406"/>
                    </a:lnTo>
                    <a:lnTo>
                      <a:pt x="352" y="3402"/>
                    </a:lnTo>
                    <a:lnTo>
                      <a:pt x="358" y="3400"/>
                    </a:lnTo>
                    <a:lnTo>
                      <a:pt x="362" y="3398"/>
                    </a:lnTo>
                    <a:lnTo>
                      <a:pt x="362" y="3398"/>
                    </a:lnTo>
                    <a:lnTo>
                      <a:pt x="364" y="3396"/>
                    </a:lnTo>
                    <a:lnTo>
                      <a:pt x="364" y="3394"/>
                    </a:lnTo>
                    <a:lnTo>
                      <a:pt x="360" y="3390"/>
                    </a:lnTo>
                    <a:lnTo>
                      <a:pt x="356" y="3388"/>
                    </a:lnTo>
                    <a:lnTo>
                      <a:pt x="362" y="3390"/>
                    </a:lnTo>
                    <a:lnTo>
                      <a:pt x="362" y="3390"/>
                    </a:lnTo>
                    <a:lnTo>
                      <a:pt x="370" y="3392"/>
                    </a:lnTo>
                    <a:lnTo>
                      <a:pt x="374" y="3390"/>
                    </a:lnTo>
                    <a:lnTo>
                      <a:pt x="378" y="3386"/>
                    </a:lnTo>
                    <a:lnTo>
                      <a:pt x="384" y="3382"/>
                    </a:lnTo>
                    <a:lnTo>
                      <a:pt x="384" y="3382"/>
                    </a:lnTo>
                    <a:lnTo>
                      <a:pt x="392" y="3378"/>
                    </a:lnTo>
                    <a:lnTo>
                      <a:pt x="396" y="3374"/>
                    </a:lnTo>
                    <a:lnTo>
                      <a:pt x="402" y="3372"/>
                    </a:lnTo>
                    <a:lnTo>
                      <a:pt x="406" y="3374"/>
                    </a:lnTo>
                    <a:lnTo>
                      <a:pt x="406" y="3374"/>
                    </a:lnTo>
                    <a:lnTo>
                      <a:pt x="408" y="3376"/>
                    </a:lnTo>
                    <a:lnTo>
                      <a:pt x="408" y="3378"/>
                    </a:lnTo>
                    <a:lnTo>
                      <a:pt x="406" y="3384"/>
                    </a:lnTo>
                    <a:lnTo>
                      <a:pt x="398" y="3392"/>
                    </a:lnTo>
                    <a:lnTo>
                      <a:pt x="390" y="3396"/>
                    </a:lnTo>
                    <a:lnTo>
                      <a:pt x="390" y="3396"/>
                    </a:lnTo>
                    <a:lnTo>
                      <a:pt x="384" y="3400"/>
                    </a:lnTo>
                    <a:lnTo>
                      <a:pt x="384" y="3402"/>
                    </a:lnTo>
                    <a:lnTo>
                      <a:pt x="382" y="3404"/>
                    </a:lnTo>
                    <a:lnTo>
                      <a:pt x="380" y="3402"/>
                    </a:lnTo>
                    <a:lnTo>
                      <a:pt x="380" y="3402"/>
                    </a:lnTo>
                    <a:lnTo>
                      <a:pt x="376" y="3400"/>
                    </a:lnTo>
                    <a:lnTo>
                      <a:pt x="374" y="3402"/>
                    </a:lnTo>
                    <a:lnTo>
                      <a:pt x="374" y="3404"/>
                    </a:lnTo>
                    <a:lnTo>
                      <a:pt x="370" y="3402"/>
                    </a:lnTo>
                    <a:lnTo>
                      <a:pt x="370" y="3402"/>
                    </a:lnTo>
                    <a:lnTo>
                      <a:pt x="362" y="3404"/>
                    </a:lnTo>
                    <a:lnTo>
                      <a:pt x="358" y="3406"/>
                    </a:lnTo>
                    <a:lnTo>
                      <a:pt x="356" y="3408"/>
                    </a:lnTo>
                    <a:lnTo>
                      <a:pt x="356" y="3408"/>
                    </a:lnTo>
                    <a:lnTo>
                      <a:pt x="360" y="3414"/>
                    </a:lnTo>
                    <a:lnTo>
                      <a:pt x="366" y="3420"/>
                    </a:lnTo>
                    <a:lnTo>
                      <a:pt x="372" y="3426"/>
                    </a:lnTo>
                    <a:lnTo>
                      <a:pt x="378" y="3430"/>
                    </a:lnTo>
                    <a:lnTo>
                      <a:pt x="378" y="3430"/>
                    </a:lnTo>
                    <a:lnTo>
                      <a:pt x="382" y="3432"/>
                    </a:lnTo>
                    <a:lnTo>
                      <a:pt x="386" y="3434"/>
                    </a:lnTo>
                    <a:lnTo>
                      <a:pt x="392" y="3438"/>
                    </a:lnTo>
                    <a:lnTo>
                      <a:pt x="402" y="3438"/>
                    </a:lnTo>
                    <a:lnTo>
                      <a:pt x="402" y="3438"/>
                    </a:lnTo>
                    <a:lnTo>
                      <a:pt x="410" y="3436"/>
                    </a:lnTo>
                    <a:lnTo>
                      <a:pt x="414" y="3434"/>
                    </a:lnTo>
                    <a:lnTo>
                      <a:pt x="416" y="3426"/>
                    </a:lnTo>
                    <a:lnTo>
                      <a:pt x="416" y="3412"/>
                    </a:lnTo>
                    <a:lnTo>
                      <a:pt x="416" y="3412"/>
                    </a:lnTo>
                    <a:lnTo>
                      <a:pt x="418" y="3400"/>
                    </a:lnTo>
                    <a:lnTo>
                      <a:pt x="420" y="3394"/>
                    </a:lnTo>
                    <a:lnTo>
                      <a:pt x="422" y="3388"/>
                    </a:lnTo>
                    <a:lnTo>
                      <a:pt x="424" y="3378"/>
                    </a:lnTo>
                    <a:lnTo>
                      <a:pt x="424" y="3378"/>
                    </a:lnTo>
                    <a:lnTo>
                      <a:pt x="424" y="3372"/>
                    </a:lnTo>
                    <a:lnTo>
                      <a:pt x="426" y="3368"/>
                    </a:lnTo>
                    <a:lnTo>
                      <a:pt x="428" y="3366"/>
                    </a:lnTo>
                    <a:lnTo>
                      <a:pt x="432" y="3366"/>
                    </a:lnTo>
                    <a:lnTo>
                      <a:pt x="440" y="3364"/>
                    </a:lnTo>
                    <a:lnTo>
                      <a:pt x="444" y="3362"/>
                    </a:lnTo>
                    <a:lnTo>
                      <a:pt x="450" y="3358"/>
                    </a:lnTo>
                    <a:lnTo>
                      <a:pt x="450" y="3358"/>
                    </a:lnTo>
                    <a:lnTo>
                      <a:pt x="454" y="3354"/>
                    </a:lnTo>
                    <a:lnTo>
                      <a:pt x="458" y="3354"/>
                    </a:lnTo>
                    <a:lnTo>
                      <a:pt x="462" y="3354"/>
                    </a:lnTo>
                    <a:lnTo>
                      <a:pt x="466" y="3356"/>
                    </a:lnTo>
                    <a:lnTo>
                      <a:pt x="470" y="3350"/>
                    </a:lnTo>
                    <a:lnTo>
                      <a:pt x="470" y="3350"/>
                    </a:lnTo>
                    <a:lnTo>
                      <a:pt x="476" y="3342"/>
                    </a:lnTo>
                    <a:lnTo>
                      <a:pt x="480" y="3340"/>
                    </a:lnTo>
                    <a:lnTo>
                      <a:pt x="486" y="3340"/>
                    </a:lnTo>
                    <a:lnTo>
                      <a:pt x="496" y="3342"/>
                    </a:lnTo>
                    <a:lnTo>
                      <a:pt x="496" y="3342"/>
                    </a:lnTo>
                    <a:lnTo>
                      <a:pt x="510" y="3344"/>
                    </a:lnTo>
                    <a:lnTo>
                      <a:pt x="518" y="3348"/>
                    </a:lnTo>
                    <a:lnTo>
                      <a:pt x="518" y="3348"/>
                    </a:lnTo>
                    <a:lnTo>
                      <a:pt x="520" y="3346"/>
                    </a:lnTo>
                    <a:lnTo>
                      <a:pt x="518" y="3342"/>
                    </a:lnTo>
                    <a:lnTo>
                      <a:pt x="510" y="3328"/>
                    </a:lnTo>
                    <a:lnTo>
                      <a:pt x="500" y="3308"/>
                    </a:lnTo>
                    <a:lnTo>
                      <a:pt x="496" y="3296"/>
                    </a:lnTo>
                    <a:lnTo>
                      <a:pt x="492" y="3282"/>
                    </a:lnTo>
                    <a:lnTo>
                      <a:pt x="492" y="3282"/>
                    </a:lnTo>
                    <a:lnTo>
                      <a:pt x="490" y="3266"/>
                    </a:lnTo>
                    <a:lnTo>
                      <a:pt x="490" y="3256"/>
                    </a:lnTo>
                    <a:lnTo>
                      <a:pt x="490" y="3246"/>
                    </a:lnTo>
                    <a:lnTo>
                      <a:pt x="494" y="3238"/>
                    </a:lnTo>
                    <a:lnTo>
                      <a:pt x="498" y="3228"/>
                    </a:lnTo>
                    <a:lnTo>
                      <a:pt x="506" y="3222"/>
                    </a:lnTo>
                    <a:lnTo>
                      <a:pt x="518" y="3216"/>
                    </a:lnTo>
                    <a:lnTo>
                      <a:pt x="518" y="3216"/>
                    </a:lnTo>
                    <a:lnTo>
                      <a:pt x="528" y="3212"/>
                    </a:lnTo>
                    <a:lnTo>
                      <a:pt x="536" y="3208"/>
                    </a:lnTo>
                    <a:lnTo>
                      <a:pt x="542" y="3202"/>
                    </a:lnTo>
                    <a:lnTo>
                      <a:pt x="546" y="3196"/>
                    </a:lnTo>
                    <a:lnTo>
                      <a:pt x="550" y="3180"/>
                    </a:lnTo>
                    <a:lnTo>
                      <a:pt x="552" y="3156"/>
                    </a:lnTo>
                    <a:lnTo>
                      <a:pt x="552" y="3156"/>
                    </a:lnTo>
                    <a:lnTo>
                      <a:pt x="556" y="3144"/>
                    </a:lnTo>
                    <a:lnTo>
                      <a:pt x="564" y="3134"/>
                    </a:lnTo>
                    <a:lnTo>
                      <a:pt x="572" y="3126"/>
                    </a:lnTo>
                    <a:lnTo>
                      <a:pt x="580" y="3122"/>
                    </a:lnTo>
                    <a:lnTo>
                      <a:pt x="596" y="3112"/>
                    </a:lnTo>
                    <a:lnTo>
                      <a:pt x="602" y="3108"/>
                    </a:lnTo>
                    <a:lnTo>
                      <a:pt x="604" y="3104"/>
                    </a:lnTo>
                    <a:lnTo>
                      <a:pt x="604" y="3104"/>
                    </a:lnTo>
                    <a:lnTo>
                      <a:pt x="606" y="3100"/>
                    </a:lnTo>
                    <a:lnTo>
                      <a:pt x="610" y="3096"/>
                    </a:lnTo>
                    <a:lnTo>
                      <a:pt x="616" y="3092"/>
                    </a:lnTo>
                    <a:lnTo>
                      <a:pt x="622" y="3086"/>
                    </a:lnTo>
                    <a:lnTo>
                      <a:pt x="624" y="3082"/>
                    </a:lnTo>
                    <a:lnTo>
                      <a:pt x="622" y="3078"/>
                    </a:lnTo>
                    <a:lnTo>
                      <a:pt x="622" y="3078"/>
                    </a:lnTo>
                    <a:lnTo>
                      <a:pt x="620" y="3074"/>
                    </a:lnTo>
                    <a:lnTo>
                      <a:pt x="620" y="3072"/>
                    </a:lnTo>
                    <a:lnTo>
                      <a:pt x="624" y="3066"/>
                    </a:lnTo>
                    <a:lnTo>
                      <a:pt x="626" y="3060"/>
                    </a:lnTo>
                    <a:lnTo>
                      <a:pt x="626" y="3054"/>
                    </a:lnTo>
                    <a:lnTo>
                      <a:pt x="626" y="3044"/>
                    </a:lnTo>
                    <a:lnTo>
                      <a:pt x="626" y="3044"/>
                    </a:lnTo>
                    <a:lnTo>
                      <a:pt x="624" y="3038"/>
                    </a:lnTo>
                    <a:lnTo>
                      <a:pt x="620" y="3036"/>
                    </a:lnTo>
                    <a:lnTo>
                      <a:pt x="608" y="3036"/>
                    </a:lnTo>
                    <a:lnTo>
                      <a:pt x="600" y="3034"/>
                    </a:lnTo>
                    <a:lnTo>
                      <a:pt x="590" y="3032"/>
                    </a:lnTo>
                    <a:lnTo>
                      <a:pt x="580" y="3026"/>
                    </a:lnTo>
                    <a:lnTo>
                      <a:pt x="570" y="3016"/>
                    </a:lnTo>
                    <a:lnTo>
                      <a:pt x="570" y="3016"/>
                    </a:lnTo>
                    <a:lnTo>
                      <a:pt x="554" y="2996"/>
                    </a:lnTo>
                    <a:lnTo>
                      <a:pt x="550" y="2988"/>
                    </a:lnTo>
                    <a:lnTo>
                      <a:pt x="550" y="2982"/>
                    </a:lnTo>
                    <a:lnTo>
                      <a:pt x="550" y="2976"/>
                    </a:lnTo>
                    <a:lnTo>
                      <a:pt x="554" y="2968"/>
                    </a:lnTo>
                    <a:lnTo>
                      <a:pt x="564" y="2948"/>
                    </a:lnTo>
                    <a:lnTo>
                      <a:pt x="564" y="2948"/>
                    </a:lnTo>
                    <a:lnTo>
                      <a:pt x="570" y="2938"/>
                    </a:lnTo>
                    <a:lnTo>
                      <a:pt x="576" y="2930"/>
                    </a:lnTo>
                    <a:lnTo>
                      <a:pt x="580" y="2928"/>
                    </a:lnTo>
                    <a:lnTo>
                      <a:pt x="584" y="2926"/>
                    </a:lnTo>
                    <a:lnTo>
                      <a:pt x="592" y="2926"/>
                    </a:lnTo>
                    <a:lnTo>
                      <a:pt x="594" y="2924"/>
                    </a:lnTo>
                    <a:lnTo>
                      <a:pt x="598" y="2922"/>
                    </a:lnTo>
                    <a:lnTo>
                      <a:pt x="598" y="2922"/>
                    </a:lnTo>
                    <a:lnTo>
                      <a:pt x="602" y="2918"/>
                    </a:lnTo>
                    <a:lnTo>
                      <a:pt x="608" y="2916"/>
                    </a:lnTo>
                    <a:lnTo>
                      <a:pt x="622" y="2916"/>
                    </a:lnTo>
                    <a:lnTo>
                      <a:pt x="628" y="2916"/>
                    </a:lnTo>
                    <a:lnTo>
                      <a:pt x="632" y="2914"/>
                    </a:lnTo>
                    <a:lnTo>
                      <a:pt x="634" y="2912"/>
                    </a:lnTo>
                    <a:lnTo>
                      <a:pt x="630" y="2908"/>
                    </a:lnTo>
                    <a:lnTo>
                      <a:pt x="630" y="2908"/>
                    </a:lnTo>
                    <a:lnTo>
                      <a:pt x="628" y="2902"/>
                    </a:lnTo>
                    <a:lnTo>
                      <a:pt x="630" y="2898"/>
                    </a:lnTo>
                    <a:lnTo>
                      <a:pt x="638" y="2890"/>
                    </a:lnTo>
                    <a:lnTo>
                      <a:pt x="642" y="2886"/>
                    </a:lnTo>
                    <a:lnTo>
                      <a:pt x="646" y="2878"/>
                    </a:lnTo>
                    <a:lnTo>
                      <a:pt x="648" y="2868"/>
                    </a:lnTo>
                    <a:lnTo>
                      <a:pt x="644" y="2856"/>
                    </a:lnTo>
                    <a:lnTo>
                      <a:pt x="644" y="2856"/>
                    </a:lnTo>
                    <a:lnTo>
                      <a:pt x="644" y="2850"/>
                    </a:lnTo>
                    <a:lnTo>
                      <a:pt x="644" y="2844"/>
                    </a:lnTo>
                    <a:lnTo>
                      <a:pt x="646" y="2836"/>
                    </a:lnTo>
                    <a:lnTo>
                      <a:pt x="648" y="2830"/>
                    </a:lnTo>
                    <a:lnTo>
                      <a:pt x="652" y="2822"/>
                    </a:lnTo>
                    <a:lnTo>
                      <a:pt x="660" y="2816"/>
                    </a:lnTo>
                    <a:lnTo>
                      <a:pt x="668" y="2810"/>
                    </a:lnTo>
                    <a:lnTo>
                      <a:pt x="678" y="2806"/>
                    </a:lnTo>
                    <a:lnTo>
                      <a:pt x="678" y="2806"/>
                    </a:lnTo>
                    <a:lnTo>
                      <a:pt x="684" y="2802"/>
                    </a:lnTo>
                    <a:lnTo>
                      <a:pt x="684" y="2802"/>
                    </a:lnTo>
                    <a:lnTo>
                      <a:pt x="682" y="2800"/>
                    </a:lnTo>
                    <a:lnTo>
                      <a:pt x="674" y="2798"/>
                    </a:lnTo>
                    <a:lnTo>
                      <a:pt x="662" y="2794"/>
                    </a:lnTo>
                    <a:lnTo>
                      <a:pt x="662" y="2794"/>
                    </a:lnTo>
                    <a:lnTo>
                      <a:pt x="658" y="2790"/>
                    </a:lnTo>
                    <a:lnTo>
                      <a:pt x="658" y="2786"/>
                    </a:lnTo>
                    <a:lnTo>
                      <a:pt x="660" y="2782"/>
                    </a:lnTo>
                    <a:lnTo>
                      <a:pt x="664" y="2780"/>
                    </a:lnTo>
                    <a:lnTo>
                      <a:pt x="670" y="2780"/>
                    </a:lnTo>
                    <a:lnTo>
                      <a:pt x="676" y="2780"/>
                    </a:lnTo>
                    <a:lnTo>
                      <a:pt x="682" y="2782"/>
                    </a:lnTo>
                    <a:lnTo>
                      <a:pt x="686" y="2788"/>
                    </a:lnTo>
                    <a:lnTo>
                      <a:pt x="686" y="2788"/>
                    </a:lnTo>
                    <a:lnTo>
                      <a:pt x="690" y="2792"/>
                    </a:lnTo>
                    <a:lnTo>
                      <a:pt x="692" y="2796"/>
                    </a:lnTo>
                    <a:lnTo>
                      <a:pt x="696" y="2798"/>
                    </a:lnTo>
                    <a:lnTo>
                      <a:pt x="700" y="2798"/>
                    </a:lnTo>
                    <a:lnTo>
                      <a:pt x="704" y="2796"/>
                    </a:lnTo>
                    <a:lnTo>
                      <a:pt x="708" y="2792"/>
                    </a:lnTo>
                    <a:lnTo>
                      <a:pt x="712" y="2786"/>
                    </a:lnTo>
                    <a:lnTo>
                      <a:pt x="714" y="2778"/>
                    </a:lnTo>
                    <a:lnTo>
                      <a:pt x="714" y="2778"/>
                    </a:lnTo>
                    <a:lnTo>
                      <a:pt x="716" y="2770"/>
                    </a:lnTo>
                    <a:lnTo>
                      <a:pt x="714" y="2762"/>
                    </a:lnTo>
                    <a:lnTo>
                      <a:pt x="708" y="2754"/>
                    </a:lnTo>
                    <a:lnTo>
                      <a:pt x="706" y="2752"/>
                    </a:lnTo>
                    <a:lnTo>
                      <a:pt x="702" y="2752"/>
                    </a:lnTo>
                    <a:lnTo>
                      <a:pt x="702" y="2752"/>
                    </a:lnTo>
                    <a:lnTo>
                      <a:pt x="678" y="2758"/>
                    </a:lnTo>
                    <a:lnTo>
                      <a:pt x="670" y="2760"/>
                    </a:lnTo>
                    <a:lnTo>
                      <a:pt x="662" y="2758"/>
                    </a:lnTo>
                    <a:lnTo>
                      <a:pt x="658" y="2756"/>
                    </a:lnTo>
                    <a:lnTo>
                      <a:pt x="656" y="2750"/>
                    </a:lnTo>
                    <a:lnTo>
                      <a:pt x="654" y="2744"/>
                    </a:lnTo>
                    <a:lnTo>
                      <a:pt x="656" y="2734"/>
                    </a:lnTo>
                    <a:lnTo>
                      <a:pt x="656" y="2734"/>
                    </a:lnTo>
                    <a:lnTo>
                      <a:pt x="656" y="2726"/>
                    </a:lnTo>
                    <a:lnTo>
                      <a:pt x="654" y="2716"/>
                    </a:lnTo>
                    <a:lnTo>
                      <a:pt x="650" y="2700"/>
                    </a:lnTo>
                    <a:lnTo>
                      <a:pt x="648" y="2694"/>
                    </a:lnTo>
                    <a:lnTo>
                      <a:pt x="646" y="2690"/>
                    </a:lnTo>
                    <a:lnTo>
                      <a:pt x="648" y="2684"/>
                    </a:lnTo>
                    <a:lnTo>
                      <a:pt x="654" y="2682"/>
                    </a:lnTo>
                    <a:lnTo>
                      <a:pt x="654" y="2682"/>
                    </a:lnTo>
                    <a:lnTo>
                      <a:pt x="662" y="2680"/>
                    </a:lnTo>
                    <a:lnTo>
                      <a:pt x="668" y="2682"/>
                    </a:lnTo>
                    <a:lnTo>
                      <a:pt x="684" y="2688"/>
                    </a:lnTo>
                    <a:lnTo>
                      <a:pt x="700" y="2696"/>
                    </a:lnTo>
                    <a:lnTo>
                      <a:pt x="708" y="2698"/>
                    </a:lnTo>
                    <a:lnTo>
                      <a:pt x="714" y="2700"/>
                    </a:lnTo>
                    <a:lnTo>
                      <a:pt x="714" y="2700"/>
                    </a:lnTo>
                    <a:lnTo>
                      <a:pt x="724" y="2700"/>
                    </a:lnTo>
                    <a:lnTo>
                      <a:pt x="728" y="2700"/>
                    </a:lnTo>
                    <a:lnTo>
                      <a:pt x="734" y="2700"/>
                    </a:lnTo>
                    <a:lnTo>
                      <a:pt x="748" y="2694"/>
                    </a:lnTo>
                    <a:lnTo>
                      <a:pt x="748" y="2694"/>
                    </a:lnTo>
                    <a:lnTo>
                      <a:pt x="762" y="2684"/>
                    </a:lnTo>
                    <a:lnTo>
                      <a:pt x="768" y="2680"/>
                    </a:lnTo>
                    <a:lnTo>
                      <a:pt x="770" y="2676"/>
                    </a:lnTo>
                    <a:lnTo>
                      <a:pt x="770" y="2672"/>
                    </a:lnTo>
                    <a:lnTo>
                      <a:pt x="770" y="2670"/>
                    </a:lnTo>
                    <a:lnTo>
                      <a:pt x="764" y="2664"/>
                    </a:lnTo>
                    <a:lnTo>
                      <a:pt x="764" y="2664"/>
                    </a:lnTo>
                    <a:lnTo>
                      <a:pt x="762" y="2660"/>
                    </a:lnTo>
                    <a:lnTo>
                      <a:pt x="760" y="2658"/>
                    </a:lnTo>
                    <a:lnTo>
                      <a:pt x="758" y="2650"/>
                    </a:lnTo>
                    <a:lnTo>
                      <a:pt x="762" y="2642"/>
                    </a:lnTo>
                    <a:lnTo>
                      <a:pt x="770" y="2632"/>
                    </a:lnTo>
                    <a:lnTo>
                      <a:pt x="770" y="2632"/>
                    </a:lnTo>
                    <a:lnTo>
                      <a:pt x="776" y="2622"/>
                    </a:lnTo>
                    <a:lnTo>
                      <a:pt x="778" y="2612"/>
                    </a:lnTo>
                    <a:lnTo>
                      <a:pt x="776" y="2602"/>
                    </a:lnTo>
                    <a:lnTo>
                      <a:pt x="772" y="2598"/>
                    </a:lnTo>
                    <a:lnTo>
                      <a:pt x="770" y="2596"/>
                    </a:lnTo>
                    <a:lnTo>
                      <a:pt x="770" y="2596"/>
                    </a:lnTo>
                    <a:lnTo>
                      <a:pt x="766" y="2592"/>
                    </a:lnTo>
                    <a:lnTo>
                      <a:pt x="762" y="2588"/>
                    </a:lnTo>
                    <a:lnTo>
                      <a:pt x="760" y="2578"/>
                    </a:lnTo>
                    <a:lnTo>
                      <a:pt x="760" y="2574"/>
                    </a:lnTo>
                    <a:lnTo>
                      <a:pt x="762" y="2572"/>
                    </a:lnTo>
                    <a:lnTo>
                      <a:pt x="768" y="2572"/>
                    </a:lnTo>
                    <a:lnTo>
                      <a:pt x="774" y="2576"/>
                    </a:lnTo>
                    <a:lnTo>
                      <a:pt x="774" y="2576"/>
                    </a:lnTo>
                    <a:lnTo>
                      <a:pt x="784" y="2582"/>
                    </a:lnTo>
                    <a:lnTo>
                      <a:pt x="792" y="2582"/>
                    </a:lnTo>
                    <a:lnTo>
                      <a:pt x="824" y="2578"/>
                    </a:lnTo>
                    <a:lnTo>
                      <a:pt x="824" y="2578"/>
                    </a:lnTo>
                    <a:lnTo>
                      <a:pt x="856" y="2574"/>
                    </a:lnTo>
                    <a:lnTo>
                      <a:pt x="890" y="2566"/>
                    </a:lnTo>
                    <a:lnTo>
                      <a:pt x="920" y="2556"/>
                    </a:lnTo>
                    <a:lnTo>
                      <a:pt x="934" y="2550"/>
                    </a:lnTo>
                    <a:lnTo>
                      <a:pt x="944" y="2544"/>
                    </a:lnTo>
                    <a:lnTo>
                      <a:pt x="944" y="2544"/>
                    </a:lnTo>
                    <a:lnTo>
                      <a:pt x="952" y="2538"/>
                    </a:lnTo>
                    <a:lnTo>
                      <a:pt x="956" y="2534"/>
                    </a:lnTo>
                    <a:lnTo>
                      <a:pt x="958" y="2528"/>
                    </a:lnTo>
                    <a:lnTo>
                      <a:pt x="960" y="2524"/>
                    </a:lnTo>
                    <a:lnTo>
                      <a:pt x="962" y="2516"/>
                    </a:lnTo>
                    <a:lnTo>
                      <a:pt x="966" y="2510"/>
                    </a:lnTo>
                    <a:lnTo>
                      <a:pt x="970" y="2504"/>
                    </a:lnTo>
                    <a:lnTo>
                      <a:pt x="970" y="2504"/>
                    </a:lnTo>
                    <a:lnTo>
                      <a:pt x="980" y="2492"/>
                    </a:lnTo>
                    <a:lnTo>
                      <a:pt x="986" y="2478"/>
                    </a:lnTo>
                    <a:lnTo>
                      <a:pt x="990" y="2464"/>
                    </a:lnTo>
                    <a:lnTo>
                      <a:pt x="990" y="2444"/>
                    </a:lnTo>
                    <a:lnTo>
                      <a:pt x="990" y="2444"/>
                    </a:lnTo>
                    <a:lnTo>
                      <a:pt x="990" y="2436"/>
                    </a:lnTo>
                    <a:lnTo>
                      <a:pt x="990" y="2432"/>
                    </a:lnTo>
                    <a:lnTo>
                      <a:pt x="986" y="2432"/>
                    </a:lnTo>
                    <a:lnTo>
                      <a:pt x="984" y="2432"/>
                    </a:lnTo>
                    <a:lnTo>
                      <a:pt x="980" y="2432"/>
                    </a:lnTo>
                    <a:lnTo>
                      <a:pt x="976" y="2432"/>
                    </a:lnTo>
                    <a:lnTo>
                      <a:pt x="970" y="2428"/>
                    </a:lnTo>
                    <a:lnTo>
                      <a:pt x="964" y="2420"/>
                    </a:lnTo>
                    <a:lnTo>
                      <a:pt x="964" y="2420"/>
                    </a:lnTo>
                    <a:lnTo>
                      <a:pt x="962" y="2410"/>
                    </a:lnTo>
                    <a:lnTo>
                      <a:pt x="962" y="2404"/>
                    </a:lnTo>
                    <a:lnTo>
                      <a:pt x="964" y="2400"/>
                    </a:lnTo>
                    <a:lnTo>
                      <a:pt x="968" y="2396"/>
                    </a:lnTo>
                    <a:lnTo>
                      <a:pt x="970" y="2392"/>
                    </a:lnTo>
                    <a:lnTo>
                      <a:pt x="970" y="2388"/>
                    </a:lnTo>
                    <a:lnTo>
                      <a:pt x="968" y="2380"/>
                    </a:lnTo>
                    <a:lnTo>
                      <a:pt x="962" y="2368"/>
                    </a:lnTo>
                    <a:lnTo>
                      <a:pt x="962" y="2368"/>
                    </a:lnTo>
                    <a:lnTo>
                      <a:pt x="954" y="2360"/>
                    </a:lnTo>
                    <a:lnTo>
                      <a:pt x="946" y="2354"/>
                    </a:lnTo>
                    <a:lnTo>
                      <a:pt x="928" y="2344"/>
                    </a:lnTo>
                    <a:lnTo>
                      <a:pt x="922" y="2338"/>
                    </a:lnTo>
                    <a:lnTo>
                      <a:pt x="918" y="2332"/>
                    </a:lnTo>
                    <a:lnTo>
                      <a:pt x="918" y="2330"/>
                    </a:lnTo>
                    <a:lnTo>
                      <a:pt x="920" y="2326"/>
                    </a:lnTo>
                    <a:lnTo>
                      <a:pt x="926" y="2316"/>
                    </a:lnTo>
                    <a:lnTo>
                      <a:pt x="926" y="2316"/>
                    </a:lnTo>
                    <a:lnTo>
                      <a:pt x="928" y="2320"/>
                    </a:lnTo>
                    <a:lnTo>
                      <a:pt x="934" y="2326"/>
                    </a:lnTo>
                    <a:lnTo>
                      <a:pt x="946" y="2332"/>
                    </a:lnTo>
                    <a:lnTo>
                      <a:pt x="952" y="2334"/>
                    </a:lnTo>
                    <a:lnTo>
                      <a:pt x="958" y="2334"/>
                    </a:lnTo>
                    <a:lnTo>
                      <a:pt x="958" y="2334"/>
                    </a:lnTo>
                    <a:lnTo>
                      <a:pt x="966" y="2336"/>
                    </a:lnTo>
                    <a:lnTo>
                      <a:pt x="976" y="2338"/>
                    </a:lnTo>
                    <a:lnTo>
                      <a:pt x="992" y="2348"/>
                    </a:lnTo>
                    <a:lnTo>
                      <a:pt x="1002" y="2352"/>
                    </a:lnTo>
                    <a:lnTo>
                      <a:pt x="1010" y="2356"/>
                    </a:lnTo>
                    <a:lnTo>
                      <a:pt x="1018" y="2358"/>
                    </a:lnTo>
                    <a:lnTo>
                      <a:pt x="1026" y="2356"/>
                    </a:lnTo>
                    <a:lnTo>
                      <a:pt x="1026" y="2356"/>
                    </a:lnTo>
                    <a:lnTo>
                      <a:pt x="1032" y="2354"/>
                    </a:lnTo>
                    <a:lnTo>
                      <a:pt x="1038" y="2352"/>
                    </a:lnTo>
                    <a:lnTo>
                      <a:pt x="1050" y="2356"/>
                    </a:lnTo>
                    <a:lnTo>
                      <a:pt x="1056" y="2358"/>
                    </a:lnTo>
                    <a:lnTo>
                      <a:pt x="1062" y="2358"/>
                    </a:lnTo>
                    <a:lnTo>
                      <a:pt x="1068" y="2358"/>
                    </a:lnTo>
                    <a:lnTo>
                      <a:pt x="1076" y="2354"/>
                    </a:lnTo>
                    <a:lnTo>
                      <a:pt x="1076" y="2354"/>
                    </a:lnTo>
                    <a:lnTo>
                      <a:pt x="1090" y="2344"/>
                    </a:lnTo>
                    <a:lnTo>
                      <a:pt x="1100" y="2334"/>
                    </a:lnTo>
                    <a:lnTo>
                      <a:pt x="1110" y="2320"/>
                    </a:lnTo>
                    <a:lnTo>
                      <a:pt x="1122" y="2300"/>
                    </a:lnTo>
                    <a:lnTo>
                      <a:pt x="1122" y="2300"/>
                    </a:lnTo>
                    <a:lnTo>
                      <a:pt x="1120" y="2294"/>
                    </a:lnTo>
                    <a:lnTo>
                      <a:pt x="1120" y="2294"/>
                    </a:lnTo>
                    <a:lnTo>
                      <a:pt x="1124" y="2288"/>
                    </a:lnTo>
                    <a:lnTo>
                      <a:pt x="1130" y="2282"/>
                    </a:lnTo>
                    <a:lnTo>
                      <a:pt x="1140" y="2276"/>
                    </a:lnTo>
                    <a:lnTo>
                      <a:pt x="1150" y="2270"/>
                    </a:lnTo>
                    <a:lnTo>
                      <a:pt x="1154" y="2264"/>
                    </a:lnTo>
                    <a:lnTo>
                      <a:pt x="1158" y="2256"/>
                    </a:lnTo>
                    <a:lnTo>
                      <a:pt x="1158" y="2256"/>
                    </a:lnTo>
                    <a:lnTo>
                      <a:pt x="1166" y="2232"/>
                    </a:lnTo>
                    <a:lnTo>
                      <a:pt x="1170" y="2224"/>
                    </a:lnTo>
                    <a:lnTo>
                      <a:pt x="1174" y="2218"/>
                    </a:lnTo>
                    <a:lnTo>
                      <a:pt x="1188" y="2204"/>
                    </a:lnTo>
                    <a:lnTo>
                      <a:pt x="1210" y="2184"/>
                    </a:lnTo>
                    <a:lnTo>
                      <a:pt x="1210" y="2184"/>
                    </a:lnTo>
                    <a:lnTo>
                      <a:pt x="1220" y="2174"/>
                    </a:lnTo>
                    <a:lnTo>
                      <a:pt x="1228" y="2164"/>
                    </a:lnTo>
                    <a:lnTo>
                      <a:pt x="1240" y="2140"/>
                    </a:lnTo>
                    <a:lnTo>
                      <a:pt x="1254" y="2110"/>
                    </a:lnTo>
                    <a:lnTo>
                      <a:pt x="1270" y="2074"/>
                    </a:lnTo>
                    <a:lnTo>
                      <a:pt x="1270" y="2074"/>
                    </a:lnTo>
                    <a:lnTo>
                      <a:pt x="1278" y="2058"/>
                    </a:lnTo>
                    <a:lnTo>
                      <a:pt x="1284" y="2048"/>
                    </a:lnTo>
                    <a:lnTo>
                      <a:pt x="1290" y="2042"/>
                    </a:lnTo>
                    <a:lnTo>
                      <a:pt x="1294" y="2038"/>
                    </a:lnTo>
                    <a:lnTo>
                      <a:pt x="1304" y="2030"/>
                    </a:lnTo>
                    <a:lnTo>
                      <a:pt x="1308" y="2022"/>
                    </a:lnTo>
                    <a:lnTo>
                      <a:pt x="1314" y="2012"/>
                    </a:lnTo>
                    <a:lnTo>
                      <a:pt x="1314" y="2012"/>
                    </a:lnTo>
                    <a:lnTo>
                      <a:pt x="1320" y="1998"/>
                    </a:lnTo>
                    <a:lnTo>
                      <a:pt x="1322" y="1984"/>
                    </a:lnTo>
                    <a:lnTo>
                      <a:pt x="1322" y="1970"/>
                    </a:lnTo>
                    <a:lnTo>
                      <a:pt x="1322" y="1956"/>
                    </a:lnTo>
                    <a:lnTo>
                      <a:pt x="1322" y="1926"/>
                    </a:lnTo>
                    <a:lnTo>
                      <a:pt x="1320" y="1910"/>
                    </a:lnTo>
                    <a:lnTo>
                      <a:pt x="1322" y="1894"/>
                    </a:lnTo>
                    <a:lnTo>
                      <a:pt x="1322" y="1894"/>
                    </a:lnTo>
                    <a:lnTo>
                      <a:pt x="1324" y="1878"/>
                    </a:lnTo>
                    <a:lnTo>
                      <a:pt x="1332" y="1862"/>
                    </a:lnTo>
                    <a:lnTo>
                      <a:pt x="1340" y="1848"/>
                    </a:lnTo>
                    <a:lnTo>
                      <a:pt x="1352" y="1836"/>
                    </a:lnTo>
                    <a:lnTo>
                      <a:pt x="1364" y="1824"/>
                    </a:lnTo>
                    <a:lnTo>
                      <a:pt x="1376" y="1816"/>
                    </a:lnTo>
                    <a:lnTo>
                      <a:pt x="1388" y="1808"/>
                    </a:lnTo>
                    <a:lnTo>
                      <a:pt x="1398" y="1802"/>
                    </a:lnTo>
                    <a:lnTo>
                      <a:pt x="1398" y="1802"/>
                    </a:lnTo>
                    <a:lnTo>
                      <a:pt x="1422" y="1792"/>
                    </a:lnTo>
                    <a:lnTo>
                      <a:pt x="1438" y="1782"/>
                    </a:lnTo>
                    <a:lnTo>
                      <a:pt x="1452" y="1772"/>
                    </a:lnTo>
                    <a:lnTo>
                      <a:pt x="1462" y="1764"/>
                    </a:lnTo>
                    <a:lnTo>
                      <a:pt x="1476" y="1750"/>
                    </a:lnTo>
                    <a:lnTo>
                      <a:pt x="1482" y="1744"/>
                    </a:lnTo>
                    <a:lnTo>
                      <a:pt x="1490" y="1740"/>
                    </a:lnTo>
                    <a:lnTo>
                      <a:pt x="1490" y="1740"/>
                    </a:lnTo>
                    <a:lnTo>
                      <a:pt x="1498" y="1738"/>
                    </a:lnTo>
                    <a:lnTo>
                      <a:pt x="1502" y="1738"/>
                    </a:lnTo>
                    <a:lnTo>
                      <a:pt x="1506" y="1740"/>
                    </a:lnTo>
                    <a:lnTo>
                      <a:pt x="1508" y="1742"/>
                    </a:lnTo>
                    <a:lnTo>
                      <a:pt x="1514" y="1742"/>
                    </a:lnTo>
                    <a:lnTo>
                      <a:pt x="1520" y="1742"/>
                    </a:lnTo>
                    <a:lnTo>
                      <a:pt x="1530" y="1740"/>
                    </a:lnTo>
                    <a:lnTo>
                      <a:pt x="1530" y="1740"/>
                    </a:lnTo>
                    <a:lnTo>
                      <a:pt x="1544" y="1738"/>
                    </a:lnTo>
                    <a:lnTo>
                      <a:pt x="1556" y="1738"/>
                    </a:lnTo>
                    <a:lnTo>
                      <a:pt x="1576" y="1738"/>
                    </a:lnTo>
                    <a:lnTo>
                      <a:pt x="1584" y="1738"/>
                    </a:lnTo>
                    <a:lnTo>
                      <a:pt x="1588" y="1736"/>
                    </a:lnTo>
                    <a:lnTo>
                      <a:pt x="1592" y="1734"/>
                    </a:lnTo>
                    <a:lnTo>
                      <a:pt x="1590" y="1728"/>
                    </a:lnTo>
                    <a:lnTo>
                      <a:pt x="1590" y="1728"/>
                    </a:lnTo>
                    <a:lnTo>
                      <a:pt x="1590" y="1724"/>
                    </a:lnTo>
                    <a:lnTo>
                      <a:pt x="1590" y="1722"/>
                    </a:lnTo>
                    <a:lnTo>
                      <a:pt x="1594" y="1716"/>
                    </a:lnTo>
                    <a:lnTo>
                      <a:pt x="1608" y="1702"/>
                    </a:lnTo>
                    <a:lnTo>
                      <a:pt x="1616" y="1696"/>
                    </a:lnTo>
                    <a:lnTo>
                      <a:pt x="1622" y="1690"/>
                    </a:lnTo>
                    <a:lnTo>
                      <a:pt x="1626" y="1682"/>
                    </a:lnTo>
                    <a:lnTo>
                      <a:pt x="1626" y="1676"/>
                    </a:lnTo>
                    <a:lnTo>
                      <a:pt x="1624" y="1672"/>
                    </a:lnTo>
                    <a:lnTo>
                      <a:pt x="1624" y="1672"/>
                    </a:lnTo>
                    <a:lnTo>
                      <a:pt x="1622" y="1662"/>
                    </a:lnTo>
                    <a:lnTo>
                      <a:pt x="1624" y="1654"/>
                    </a:lnTo>
                    <a:lnTo>
                      <a:pt x="1628" y="1644"/>
                    </a:lnTo>
                    <a:lnTo>
                      <a:pt x="1634" y="1634"/>
                    </a:lnTo>
                    <a:lnTo>
                      <a:pt x="1650" y="1610"/>
                    </a:lnTo>
                    <a:lnTo>
                      <a:pt x="1668" y="1580"/>
                    </a:lnTo>
                    <a:lnTo>
                      <a:pt x="1668" y="1580"/>
                    </a:lnTo>
                    <a:lnTo>
                      <a:pt x="1674" y="1564"/>
                    </a:lnTo>
                    <a:lnTo>
                      <a:pt x="1678" y="1550"/>
                    </a:lnTo>
                    <a:lnTo>
                      <a:pt x="1678" y="1536"/>
                    </a:lnTo>
                    <a:lnTo>
                      <a:pt x="1678" y="1524"/>
                    </a:lnTo>
                    <a:lnTo>
                      <a:pt x="1678" y="1514"/>
                    </a:lnTo>
                    <a:lnTo>
                      <a:pt x="1680" y="1506"/>
                    </a:lnTo>
                    <a:lnTo>
                      <a:pt x="1682" y="1498"/>
                    </a:lnTo>
                    <a:lnTo>
                      <a:pt x="1688" y="1494"/>
                    </a:lnTo>
                    <a:lnTo>
                      <a:pt x="1688" y="1494"/>
                    </a:lnTo>
                    <a:lnTo>
                      <a:pt x="1694" y="1488"/>
                    </a:lnTo>
                    <a:lnTo>
                      <a:pt x="1698" y="1480"/>
                    </a:lnTo>
                    <a:lnTo>
                      <a:pt x="1698" y="1470"/>
                    </a:lnTo>
                    <a:lnTo>
                      <a:pt x="1700" y="1460"/>
                    </a:lnTo>
                    <a:lnTo>
                      <a:pt x="1700" y="1434"/>
                    </a:lnTo>
                    <a:lnTo>
                      <a:pt x="1702" y="1418"/>
                    </a:lnTo>
                    <a:lnTo>
                      <a:pt x="1704" y="1404"/>
                    </a:lnTo>
                    <a:lnTo>
                      <a:pt x="1704" y="1404"/>
                    </a:lnTo>
                    <a:lnTo>
                      <a:pt x="1708" y="1390"/>
                    </a:lnTo>
                    <a:lnTo>
                      <a:pt x="1708" y="1378"/>
                    </a:lnTo>
                    <a:lnTo>
                      <a:pt x="1708" y="1368"/>
                    </a:lnTo>
                    <a:lnTo>
                      <a:pt x="1706" y="1360"/>
                    </a:lnTo>
                    <a:lnTo>
                      <a:pt x="1702" y="1342"/>
                    </a:lnTo>
                    <a:lnTo>
                      <a:pt x="1702" y="1334"/>
                    </a:lnTo>
                    <a:lnTo>
                      <a:pt x="1702" y="1324"/>
                    </a:lnTo>
                    <a:lnTo>
                      <a:pt x="1702" y="1324"/>
                    </a:lnTo>
                    <a:lnTo>
                      <a:pt x="1706" y="1252"/>
                    </a:lnTo>
                    <a:lnTo>
                      <a:pt x="1708" y="1234"/>
                    </a:lnTo>
                    <a:lnTo>
                      <a:pt x="1710" y="1224"/>
                    </a:lnTo>
                    <a:lnTo>
                      <a:pt x="1712" y="1220"/>
                    </a:lnTo>
                    <a:lnTo>
                      <a:pt x="1714" y="1220"/>
                    </a:lnTo>
                    <a:lnTo>
                      <a:pt x="1718" y="1222"/>
                    </a:lnTo>
                    <a:lnTo>
                      <a:pt x="1720" y="1226"/>
                    </a:lnTo>
                    <a:lnTo>
                      <a:pt x="1720" y="1226"/>
                    </a:lnTo>
                    <a:lnTo>
                      <a:pt x="1726" y="1234"/>
                    </a:lnTo>
                    <a:lnTo>
                      <a:pt x="1730" y="1238"/>
                    </a:lnTo>
                    <a:lnTo>
                      <a:pt x="1736" y="1238"/>
                    </a:lnTo>
                    <a:lnTo>
                      <a:pt x="1740" y="1234"/>
                    </a:lnTo>
                    <a:lnTo>
                      <a:pt x="1746" y="1224"/>
                    </a:lnTo>
                    <a:lnTo>
                      <a:pt x="1752" y="1212"/>
                    </a:lnTo>
                    <a:lnTo>
                      <a:pt x="1766" y="1176"/>
                    </a:lnTo>
                    <a:lnTo>
                      <a:pt x="1766" y="1176"/>
                    </a:lnTo>
                    <a:lnTo>
                      <a:pt x="1774" y="1158"/>
                    </a:lnTo>
                    <a:lnTo>
                      <a:pt x="1780" y="1146"/>
                    </a:lnTo>
                    <a:lnTo>
                      <a:pt x="1788" y="1136"/>
                    </a:lnTo>
                    <a:lnTo>
                      <a:pt x="1794" y="1128"/>
                    </a:lnTo>
                    <a:lnTo>
                      <a:pt x="1810" y="1112"/>
                    </a:lnTo>
                    <a:lnTo>
                      <a:pt x="1820" y="1100"/>
                    </a:lnTo>
                    <a:lnTo>
                      <a:pt x="1830" y="1082"/>
                    </a:lnTo>
                    <a:lnTo>
                      <a:pt x="1830" y="1082"/>
                    </a:lnTo>
                    <a:lnTo>
                      <a:pt x="1852" y="1044"/>
                    </a:lnTo>
                    <a:lnTo>
                      <a:pt x="1860" y="1030"/>
                    </a:lnTo>
                    <a:lnTo>
                      <a:pt x="1866" y="1016"/>
                    </a:lnTo>
                    <a:lnTo>
                      <a:pt x="1872" y="1002"/>
                    </a:lnTo>
                    <a:lnTo>
                      <a:pt x="1874" y="988"/>
                    </a:lnTo>
                    <a:lnTo>
                      <a:pt x="1874" y="972"/>
                    </a:lnTo>
                    <a:lnTo>
                      <a:pt x="1872" y="956"/>
                    </a:lnTo>
                    <a:lnTo>
                      <a:pt x="1872" y="956"/>
                    </a:lnTo>
                    <a:close/>
                    <a:moveTo>
                      <a:pt x="1128" y="2234"/>
                    </a:moveTo>
                    <a:lnTo>
                      <a:pt x="1128" y="2234"/>
                    </a:lnTo>
                    <a:lnTo>
                      <a:pt x="1132" y="2242"/>
                    </a:lnTo>
                    <a:lnTo>
                      <a:pt x="1132" y="2242"/>
                    </a:lnTo>
                    <a:lnTo>
                      <a:pt x="1128" y="2234"/>
                    </a:lnTo>
                    <a:lnTo>
                      <a:pt x="1128" y="2234"/>
                    </a:lnTo>
                    <a:close/>
                    <a:moveTo>
                      <a:pt x="698" y="3490"/>
                    </a:moveTo>
                    <a:lnTo>
                      <a:pt x="698" y="3490"/>
                    </a:lnTo>
                    <a:lnTo>
                      <a:pt x="692" y="3492"/>
                    </a:lnTo>
                    <a:lnTo>
                      <a:pt x="688" y="3490"/>
                    </a:lnTo>
                    <a:lnTo>
                      <a:pt x="684" y="3490"/>
                    </a:lnTo>
                    <a:lnTo>
                      <a:pt x="678" y="3492"/>
                    </a:lnTo>
                    <a:lnTo>
                      <a:pt x="678" y="3492"/>
                    </a:lnTo>
                    <a:lnTo>
                      <a:pt x="670" y="3496"/>
                    </a:lnTo>
                    <a:lnTo>
                      <a:pt x="666" y="3498"/>
                    </a:lnTo>
                    <a:lnTo>
                      <a:pt x="670" y="3500"/>
                    </a:lnTo>
                    <a:lnTo>
                      <a:pt x="670" y="3500"/>
                    </a:lnTo>
                    <a:lnTo>
                      <a:pt x="672" y="3500"/>
                    </a:lnTo>
                    <a:lnTo>
                      <a:pt x="678" y="3498"/>
                    </a:lnTo>
                    <a:lnTo>
                      <a:pt x="678" y="3498"/>
                    </a:lnTo>
                    <a:lnTo>
                      <a:pt x="682" y="3494"/>
                    </a:lnTo>
                    <a:lnTo>
                      <a:pt x="684" y="3496"/>
                    </a:lnTo>
                    <a:lnTo>
                      <a:pt x="686" y="3498"/>
                    </a:lnTo>
                    <a:lnTo>
                      <a:pt x="690" y="3496"/>
                    </a:lnTo>
                    <a:lnTo>
                      <a:pt x="690" y="3496"/>
                    </a:lnTo>
                    <a:lnTo>
                      <a:pt x="694" y="3496"/>
                    </a:lnTo>
                    <a:lnTo>
                      <a:pt x="696" y="3496"/>
                    </a:lnTo>
                    <a:lnTo>
                      <a:pt x="696" y="3496"/>
                    </a:lnTo>
                    <a:lnTo>
                      <a:pt x="700" y="3496"/>
                    </a:lnTo>
                    <a:lnTo>
                      <a:pt x="700" y="3496"/>
                    </a:lnTo>
                    <a:lnTo>
                      <a:pt x="702" y="3494"/>
                    </a:lnTo>
                    <a:lnTo>
                      <a:pt x="704" y="3492"/>
                    </a:lnTo>
                    <a:lnTo>
                      <a:pt x="702" y="3490"/>
                    </a:lnTo>
                    <a:lnTo>
                      <a:pt x="698" y="3490"/>
                    </a:lnTo>
                    <a:lnTo>
                      <a:pt x="698" y="3490"/>
                    </a:lnTo>
                    <a:close/>
                    <a:moveTo>
                      <a:pt x="294" y="3084"/>
                    </a:moveTo>
                    <a:lnTo>
                      <a:pt x="294" y="3084"/>
                    </a:lnTo>
                    <a:lnTo>
                      <a:pt x="298" y="3086"/>
                    </a:lnTo>
                    <a:lnTo>
                      <a:pt x="300" y="3084"/>
                    </a:lnTo>
                    <a:lnTo>
                      <a:pt x="300" y="3084"/>
                    </a:lnTo>
                    <a:lnTo>
                      <a:pt x="300" y="3082"/>
                    </a:lnTo>
                    <a:lnTo>
                      <a:pt x="298" y="3080"/>
                    </a:lnTo>
                    <a:lnTo>
                      <a:pt x="292" y="3078"/>
                    </a:lnTo>
                    <a:lnTo>
                      <a:pt x="292" y="3078"/>
                    </a:lnTo>
                    <a:lnTo>
                      <a:pt x="286" y="3078"/>
                    </a:lnTo>
                    <a:lnTo>
                      <a:pt x="282" y="3078"/>
                    </a:lnTo>
                    <a:lnTo>
                      <a:pt x="276" y="3080"/>
                    </a:lnTo>
                    <a:lnTo>
                      <a:pt x="274" y="3082"/>
                    </a:lnTo>
                    <a:lnTo>
                      <a:pt x="274" y="3082"/>
                    </a:lnTo>
                    <a:lnTo>
                      <a:pt x="274" y="3084"/>
                    </a:lnTo>
                    <a:lnTo>
                      <a:pt x="274" y="3084"/>
                    </a:lnTo>
                    <a:lnTo>
                      <a:pt x="280" y="3084"/>
                    </a:lnTo>
                    <a:lnTo>
                      <a:pt x="288" y="3084"/>
                    </a:lnTo>
                    <a:lnTo>
                      <a:pt x="294" y="3084"/>
                    </a:lnTo>
                    <a:lnTo>
                      <a:pt x="294" y="3084"/>
                    </a:lnTo>
                    <a:close/>
                    <a:moveTo>
                      <a:pt x="338" y="3318"/>
                    </a:moveTo>
                    <a:lnTo>
                      <a:pt x="338" y="3318"/>
                    </a:lnTo>
                    <a:lnTo>
                      <a:pt x="330" y="3322"/>
                    </a:lnTo>
                    <a:lnTo>
                      <a:pt x="328" y="3324"/>
                    </a:lnTo>
                    <a:lnTo>
                      <a:pt x="330" y="3326"/>
                    </a:lnTo>
                    <a:lnTo>
                      <a:pt x="330" y="3326"/>
                    </a:lnTo>
                    <a:lnTo>
                      <a:pt x="330" y="3326"/>
                    </a:lnTo>
                    <a:lnTo>
                      <a:pt x="334" y="3326"/>
                    </a:lnTo>
                    <a:lnTo>
                      <a:pt x="338" y="3322"/>
                    </a:lnTo>
                    <a:lnTo>
                      <a:pt x="338" y="3318"/>
                    </a:lnTo>
                    <a:lnTo>
                      <a:pt x="338" y="3318"/>
                    </a:lnTo>
                    <a:lnTo>
                      <a:pt x="338" y="3318"/>
                    </a:lnTo>
                    <a:lnTo>
                      <a:pt x="338" y="3318"/>
                    </a:lnTo>
                    <a:close/>
                    <a:moveTo>
                      <a:pt x="292" y="3034"/>
                    </a:moveTo>
                    <a:lnTo>
                      <a:pt x="292" y="3034"/>
                    </a:lnTo>
                    <a:lnTo>
                      <a:pt x="290" y="3032"/>
                    </a:lnTo>
                    <a:lnTo>
                      <a:pt x="288" y="3030"/>
                    </a:lnTo>
                    <a:lnTo>
                      <a:pt x="284" y="3030"/>
                    </a:lnTo>
                    <a:lnTo>
                      <a:pt x="282" y="3034"/>
                    </a:lnTo>
                    <a:lnTo>
                      <a:pt x="282" y="3034"/>
                    </a:lnTo>
                    <a:lnTo>
                      <a:pt x="284" y="3036"/>
                    </a:lnTo>
                    <a:lnTo>
                      <a:pt x="286" y="3038"/>
                    </a:lnTo>
                    <a:lnTo>
                      <a:pt x="290" y="3036"/>
                    </a:lnTo>
                    <a:lnTo>
                      <a:pt x="292" y="3034"/>
                    </a:lnTo>
                    <a:lnTo>
                      <a:pt x="292" y="3034"/>
                    </a:lnTo>
                    <a:close/>
                    <a:moveTo>
                      <a:pt x="420" y="3442"/>
                    </a:moveTo>
                    <a:lnTo>
                      <a:pt x="420" y="3442"/>
                    </a:lnTo>
                    <a:lnTo>
                      <a:pt x="420" y="3446"/>
                    </a:lnTo>
                    <a:lnTo>
                      <a:pt x="424" y="3452"/>
                    </a:lnTo>
                    <a:lnTo>
                      <a:pt x="440" y="3462"/>
                    </a:lnTo>
                    <a:lnTo>
                      <a:pt x="440" y="3462"/>
                    </a:lnTo>
                    <a:lnTo>
                      <a:pt x="444" y="3464"/>
                    </a:lnTo>
                    <a:lnTo>
                      <a:pt x="444" y="3462"/>
                    </a:lnTo>
                    <a:lnTo>
                      <a:pt x="442" y="3458"/>
                    </a:lnTo>
                    <a:lnTo>
                      <a:pt x="438" y="3454"/>
                    </a:lnTo>
                    <a:lnTo>
                      <a:pt x="438" y="3454"/>
                    </a:lnTo>
                    <a:lnTo>
                      <a:pt x="430" y="3446"/>
                    </a:lnTo>
                    <a:lnTo>
                      <a:pt x="430" y="3446"/>
                    </a:lnTo>
                    <a:lnTo>
                      <a:pt x="434" y="3448"/>
                    </a:lnTo>
                    <a:lnTo>
                      <a:pt x="434" y="3448"/>
                    </a:lnTo>
                    <a:lnTo>
                      <a:pt x="438" y="3450"/>
                    </a:lnTo>
                    <a:lnTo>
                      <a:pt x="442" y="3450"/>
                    </a:lnTo>
                    <a:lnTo>
                      <a:pt x="442" y="3448"/>
                    </a:lnTo>
                    <a:lnTo>
                      <a:pt x="440" y="3444"/>
                    </a:lnTo>
                    <a:lnTo>
                      <a:pt x="440" y="3444"/>
                    </a:lnTo>
                    <a:lnTo>
                      <a:pt x="436" y="3438"/>
                    </a:lnTo>
                    <a:lnTo>
                      <a:pt x="434" y="3432"/>
                    </a:lnTo>
                    <a:lnTo>
                      <a:pt x="434" y="3420"/>
                    </a:lnTo>
                    <a:lnTo>
                      <a:pt x="434" y="3420"/>
                    </a:lnTo>
                    <a:lnTo>
                      <a:pt x="434" y="3418"/>
                    </a:lnTo>
                    <a:lnTo>
                      <a:pt x="434" y="3420"/>
                    </a:lnTo>
                    <a:lnTo>
                      <a:pt x="430" y="3422"/>
                    </a:lnTo>
                    <a:lnTo>
                      <a:pt x="426" y="3428"/>
                    </a:lnTo>
                    <a:lnTo>
                      <a:pt x="426" y="3432"/>
                    </a:lnTo>
                    <a:lnTo>
                      <a:pt x="426" y="3432"/>
                    </a:lnTo>
                    <a:lnTo>
                      <a:pt x="426" y="3436"/>
                    </a:lnTo>
                    <a:lnTo>
                      <a:pt x="424" y="3436"/>
                    </a:lnTo>
                    <a:lnTo>
                      <a:pt x="422" y="3436"/>
                    </a:lnTo>
                    <a:lnTo>
                      <a:pt x="420" y="3442"/>
                    </a:lnTo>
                    <a:lnTo>
                      <a:pt x="420" y="3442"/>
                    </a:lnTo>
                    <a:close/>
                    <a:moveTo>
                      <a:pt x="272" y="3186"/>
                    </a:moveTo>
                    <a:lnTo>
                      <a:pt x="272" y="3186"/>
                    </a:lnTo>
                    <a:lnTo>
                      <a:pt x="270" y="3186"/>
                    </a:lnTo>
                    <a:lnTo>
                      <a:pt x="270" y="3186"/>
                    </a:lnTo>
                    <a:lnTo>
                      <a:pt x="272" y="3180"/>
                    </a:lnTo>
                    <a:lnTo>
                      <a:pt x="272" y="3180"/>
                    </a:lnTo>
                    <a:lnTo>
                      <a:pt x="274" y="3174"/>
                    </a:lnTo>
                    <a:lnTo>
                      <a:pt x="274" y="3168"/>
                    </a:lnTo>
                    <a:lnTo>
                      <a:pt x="274" y="3150"/>
                    </a:lnTo>
                    <a:lnTo>
                      <a:pt x="274" y="3150"/>
                    </a:lnTo>
                    <a:lnTo>
                      <a:pt x="272" y="3136"/>
                    </a:lnTo>
                    <a:lnTo>
                      <a:pt x="272" y="3132"/>
                    </a:lnTo>
                    <a:lnTo>
                      <a:pt x="270" y="3132"/>
                    </a:lnTo>
                    <a:lnTo>
                      <a:pt x="270" y="3132"/>
                    </a:lnTo>
                    <a:lnTo>
                      <a:pt x="266" y="3132"/>
                    </a:lnTo>
                    <a:lnTo>
                      <a:pt x="264" y="3130"/>
                    </a:lnTo>
                    <a:lnTo>
                      <a:pt x="262" y="3130"/>
                    </a:lnTo>
                    <a:lnTo>
                      <a:pt x="258" y="3132"/>
                    </a:lnTo>
                    <a:lnTo>
                      <a:pt x="258" y="3132"/>
                    </a:lnTo>
                    <a:lnTo>
                      <a:pt x="252" y="3136"/>
                    </a:lnTo>
                    <a:lnTo>
                      <a:pt x="250" y="3138"/>
                    </a:lnTo>
                    <a:lnTo>
                      <a:pt x="252" y="3140"/>
                    </a:lnTo>
                    <a:lnTo>
                      <a:pt x="252" y="3140"/>
                    </a:lnTo>
                    <a:lnTo>
                      <a:pt x="254" y="3142"/>
                    </a:lnTo>
                    <a:lnTo>
                      <a:pt x="254" y="3144"/>
                    </a:lnTo>
                    <a:lnTo>
                      <a:pt x="254" y="3146"/>
                    </a:lnTo>
                    <a:lnTo>
                      <a:pt x="256" y="3148"/>
                    </a:lnTo>
                    <a:lnTo>
                      <a:pt x="256" y="3148"/>
                    </a:lnTo>
                    <a:lnTo>
                      <a:pt x="258" y="3150"/>
                    </a:lnTo>
                    <a:lnTo>
                      <a:pt x="260" y="3154"/>
                    </a:lnTo>
                    <a:lnTo>
                      <a:pt x="258" y="3164"/>
                    </a:lnTo>
                    <a:lnTo>
                      <a:pt x="258" y="3164"/>
                    </a:lnTo>
                    <a:lnTo>
                      <a:pt x="256" y="3166"/>
                    </a:lnTo>
                    <a:lnTo>
                      <a:pt x="252" y="3164"/>
                    </a:lnTo>
                    <a:lnTo>
                      <a:pt x="250" y="3162"/>
                    </a:lnTo>
                    <a:lnTo>
                      <a:pt x="246" y="3162"/>
                    </a:lnTo>
                    <a:lnTo>
                      <a:pt x="246" y="3162"/>
                    </a:lnTo>
                    <a:lnTo>
                      <a:pt x="244" y="3164"/>
                    </a:lnTo>
                    <a:lnTo>
                      <a:pt x="242" y="3162"/>
                    </a:lnTo>
                    <a:lnTo>
                      <a:pt x="242" y="3162"/>
                    </a:lnTo>
                    <a:lnTo>
                      <a:pt x="238" y="3162"/>
                    </a:lnTo>
                    <a:lnTo>
                      <a:pt x="238" y="3162"/>
                    </a:lnTo>
                    <a:lnTo>
                      <a:pt x="236" y="3164"/>
                    </a:lnTo>
                    <a:lnTo>
                      <a:pt x="234" y="3168"/>
                    </a:lnTo>
                    <a:lnTo>
                      <a:pt x="236" y="3172"/>
                    </a:lnTo>
                    <a:lnTo>
                      <a:pt x="238" y="3178"/>
                    </a:lnTo>
                    <a:lnTo>
                      <a:pt x="238" y="3178"/>
                    </a:lnTo>
                    <a:lnTo>
                      <a:pt x="242" y="3184"/>
                    </a:lnTo>
                    <a:lnTo>
                      <a:pt x="244" y="3190"/>
                    </a:lnTo>
                    <a:lnTo>
                      <a:pt x="246" y="3194"/>
                    </a:lnTo>
                    <a:lnTo>
                      <a:pt x="248" y="3200"/>
                    </a:lnTo>
                    <a:lnTo>
                      <a:pt x="248" y="3200"/>
                    </a:lnTo>
                    <a:lnTo>
                      <a:pt x="250" y="3200"/>
                    </a:lnTo>
                    <a:lnTo>
                      <a:pt x="252" y="3200"/>
                    </a:lnTo>
                    <a:lnTo>
                      <a:pt x="254" y="3196"/>
                    </a:lnTo>
                    <a:lnTo>
                      <a:pt x="254" y="3190"/>
                    </a:lnTo>
                    <a:lnTo>
                      <a:pt x="252" y="3184"/>
                    </a:lnTo>
                    <a:lnTo>
                      <a:pt x="252" y="3184"/>
                    </a:lnTo>
                    <a:lnTo>
                      <a:pt x="250" y="3180"/>
                    </a:lnTo>
                    <a:lnTo>
                      <a:pt x="252" y="3178"/>
                    </a:lnTo>
                    <a:lnTo>
                      <a:pt x="254" y="3178"/>
                    </a:lnTo>
                    <a:lnTo>
                      <a:pt x="258" y="3182"/>
                    </a:lnTo>
                    <a:lnTo>
                      <a:pt x="258" y="3182"/>
                    </a:lnTo>
                    <a:lnTo>
                      <a:pt x="262" y="3184"/>
                    </a:lnTo>
                    <a:lnTo>
                      <a:pt x="262" y="3186"/>
                    </a:lnTo>
                    <a:lnTo>
                      <a:pt x="260" y="3186"/>
                    </a:lnTo>
                    <a:lnTo>
                      <a:pt x="258" y="3190"/>
                    </a:lnTo>
                    <a:lnTo>
                      <a:pt x="258" y="3190"/>
                    </a:lnTo>
                    <a:lnTo>
                      <a:pt x="258" y="3192"/>
                    </a:lnTo>
                    <a:lnTo>
                      <a:pt x="258" y="3194"/>
                    </a:lnTo>
                    <a:lnTo>
                      <a:pt x="258" y="3194"/>
                    </a:lnTo>
                    <a:lnTo>
                      <a:pt x="258" y="3198"/>
                    </a:lnTo>
                    <a:lnTo>
                      <a:pt x="258" y="3198"/>
                    </a:lnTo>
                    <a:lnTo>
                      <a:pt x="258" y="3202"/>
                    </a:lnTo>
                    <a:lnTo>
                      <a:pt x="258" y="3206"/>
                    </a:lnTo>
                    <a:lnTo>
                      <a:pt x="260" y="3208"/>
                    </a:lnTo>
                    <a:lnTo>
                      <a:pt x="266" y="3208"/>
                    </a:lnTo>
                    <a:lnTo>
                      <a:pt x="266" y="3208"/>
                    </a:lnTo>
                    <a:lnTo>
                      <a:pt x="270" y="3208"/>
                    </a:lnTo>
                    <a:lnTo>
                      <a:pt x="272" y="3206"/>
                    </a:lnTo>
                    <a:lnTo>
                      <a:pt x="274" y="3200"/>
                    </a:lnTo>
                    <a:lnTo>
                      <a:pt x="274" y="3194"/>
                    </a:lnTo>
                    <a:lnTo>
                      <a:pt x="276" y="3192"/>
                    </a:lnTo>
                    <a:lnTo>
                      <a:pt x="276" y="3192"/>
                    </a:lnTo>
                    <a:lnTo>
                      <a:pt x="276" y="3190"/>
                    </a:lnTo>
                    <a:lnTo>
                      <a:pt x="276" y="3188"/>
                    </a:lnTo>
                    <a:lnTo>
                      <a:pt x="276" y="3186"/>
                    </a:lnTo>
                    <a:lnTo>
                      <a:pt x="272" y="3186"/>
                    </a:lnTo>
                    <a:lnTo>
                      <a:pt x="272" y="318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sp>
            <p:nvSpPr>
              <p:cNvPr id="57" name="Freeform 5963"/>
              <p:cNvSpPr>
                <a:spLocks/>
              </p:cNvSpPr>
              <p:nvPr/>
            </p:nvSpPr>
            <p:spPr bwMode="auto">
              <a:xfrm>
                <a:off x="4301831" y="1967427"/>
                <a:ext cx="6637" cy="3318"/>
              </a:xfrm>
              <a:custGeom>
                <a:avLst/>
                <a:gdLst>
                  <a:gd name="T0" fmla="*/ 2147483647 w 8"/>
                  <a:gd name="T1" fmla="*/ 2147483647 h 6"/>
                  <a:gd name="T2" fmla="*/ 2147483647 w 8"/>
                  <a:gd name="T3" fmla="*/ 2147483647 h 6"/>
                  <a:gd name="T4" fmla="*/ 2147483647 w 8"/>
                  <a:gd name="T5" fmla="*/ 2147483647 h 6"/>
                  <a:gd name="T6" fmla="*/ 2147483647 w 8"/>
                  <a:gd name="T7" fmla="*/ 2147483647 h 6"/>
                  <a:gd name="T8" fmla="*/ 2147483647 w 8"/>
                  <a:gd name="T9" fmla="*/ 2147483647 h 6"/>
                  <a:gd name="T10" fmla="*/ 2147483647 w 8"/>
                  <a:gd name="T11" fmla="*/ 0 h 6"/>
                  <a:gd name="T12" fmla="*/ 2147483647 w 8"/>
                  <a:gd name="T13" fmla="*/ 0 h 6"/>
                  <a:gd name="T14" fmla="*/ 2147483647 w 8"/>
                  <a:gd name="T15" fmla="*/ 0 h 6"/>
                  <a:gd name="T16" fmla="*/ 2147483647 w 8"/>
                  <a:gd name="T17" fmla="*/ 2147483647 h 6"/>
                  <a:gd name="T18" fmla="*/ 0 w 8"/>
                  <a:gd name="T19" fmla="*/ 2147483647 h 6"/>
                  <a:gd name="T20" fmla="*/ 2147483647 w 8"/>
                  <a:gd name="T21" fmla="*/ 2147483647 h 6"/>
                  <a:gd name="T22" fmla="*/ 2147483647 w 8"/>
                  <a:gd name="T23" fmla="*/ 2147483647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6"/>
                  <a:gd name="T38" fmla="*/ 8 w 8"/>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6">
                    <a:moveTo>
                      <a:pt x="2" y="6"/>
                    </a:moveTo>
                    <a:lnTo>
                      <a:pt x="2" y="6"/>
                    </a:lnTo>
                    <a:lnTo>
                      <a:pt x="4" y="6"/>
                    </a:lnTo>
                    <a:lnTo>
                      <a:pt x="6" y="4"/>
                    </a:lnTo>
                    <a:lnTo>
                      <a:pt x="8" y="2"/>
                    </a:lnTo>
                    <a:lnTo>
                      <a:pt x="8" y="0"/>
                    </a:lnTo>
                    <a:lnTo>
                      <a:pt x="4" y="0"/>
                    </a:lnTo>
                    <a:lnTo>
                      <a:pt x="2" y="2"/>
                    </a:lnTo>
                    <a:lnTo>
                      <a:pt x="0" y="4"/>
                    </a:lnTo>
                    <a:lnTo>
                      <a:pt x="2"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58" name="Freeform 5964"/>
              <p:cNvSpPr>
                <a:spLocks/>
              </p:cNvSpPr>
              <p:nvPr/>
            </p:nvSpPr>
            <p:spPr bwMode="auto">
              <a:xfrm>
                <a:off x="4281919" y="1990652"/>
                <a:ext cx="6637" cy="3318"/>
              </a:xfrm>
              <a:custGeom>
                <a:avLst/>
                <a:gdLst>
                  <a:gd name="T0" fmla="*/ 2147483647 w 10"/>
                  <a:gd name="T1" fmla="*/ 2147483647 h 8"/>
                  <a:gd name="T2" fmla="*/ 2147483647 w 10"/>
                  <a:gd name="T3" fmla="*/ 2147483647 h 8"/>
                  <a:gd name="T4" fmla="*/ 2147483647 w 10"/>
                  <a:gd name="T5" fmla="*/ 0 h 8"/>
                  <a:gd name="T6" fmla="*/ 2147483647 w 10"/>
                  <a:gd name="T7" fmla="*/ 0 h 8"/>
                  <a:gd name="T8" fmla="*/ 0 w 10"/>
                  <a:gd name="T9" fmla="*/ 2147483647 h 8"/>
                  <a:gd name="T10" fmla="*/ 0 w 10"/>
                  <a:gd name="T11" fmla="*/ 2147483647 h 8"/>
                  <a:gd name="T12" fmla="*/ 0 w 10"/>
                  <a:gd name="T13" fmla="*/ 2147483647 h 8"/>
                  <a:gd name="T14" fmla="*/ 2147483647 w 10"/>
                  <a:gd name="T15" fmla="*/ 2147483647 h 8"/>
                  <a:gd name="T16" fmla="*/ 2147483647 w 10"/>
                  <a:gd name="T17" fmla="*/ 2147483647 h 8"/>
                  <a:gd name="T18" fmla="*/ 2147483647 w 10"/>
                  <a:gd name="T19" fmla="*/ 2147483647 h 8"/>
                  <a:gd name="T20" fmla="*/ 2147483647 w 10"/>
                  <a:gd name="T21" fmla="*/ 2147483647 h 8"/>
                  <a:gd name="T22" fmla="*/ 2147483647 w 10"/>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8"/>
                  <a:gd name="T38" fmla="*/ 10 w 10"/>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8">
                    <a:moveTo>
                      <a:pt x="10" y="2"/>
                    </a:moveTo>
                    <a:lnTo>
                      <a:pt x="10" y="2"/>
                    </a:lnTo>
                    <a:lnTo>
                      <a:pt x="8" y="0"/>
                    </a:lnTo>
                    <a:lnTo>
                      <a:pt x="4" y="0"/>
                    </a:lnTo>
                    <a:lnTo>
                      <a:pt x="0" y="4"/>
                    </a:lnTo>
                    <a:lnTo>
                      <a:pt x="0" y="6"/>
                    </a:lnTo>
                    <a:lnTo>
                      <a:pt x="2" y="8"/>
                    </a:lnTo>
                    <a:lnTo>
                      <a:pt x="6" y="6"/>
                    </a:lnTo>
                    <a:lnTo>
                      <a:pt x="10" y="4"/>
                    </a:lnTo>
                    <a:lnTo>
                      <a:pt x="1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59" name="Freeform 5965"/>
              <p:cNvSpPr>
                <a:spLocks/>
              </p:cNvSpPr>
              <p:nvPr/>
            </p:nvSpPr>
            <p:spPr bwMode="auto">
              <a:xfrm>
                <a:off x="4296852" y="1977380"/>
                <a:ext cx="8297" cy="4977"/>
              </a:xfrm>
              <a:custGeom>
                <a:avLst/>
                <a:gdLst>
                  <a:gd name="T0" fmla="*/ 0 w 14"/>
                  <a:gd name="T1" fmla="*/ 2147483647 h 8"/>
                  <a:gd name="T2" fmla="*/ 0 w 14"/>
                  <a:gd name="T3" fmla="*/ 2147483647 h 8"/>
                  <a:gd name="T4" fmla="*/ 0 w 14"/>
                  <a:gd name="T5" fmla="*/ 2147483647 h 8"/>
                  <a:gd name="T6" fmla="*/ 0 w 14"/>
                  <a:gd name="T7" fmla="*/ 2147483647 h 8"/>
                  <a:gd name="T8" fmla="*/ 2147483647 w 14"/>
                  <a:gd name="T9" fmla="*/ 2147483647 h 8"/>
                  <a:gd name="T10" fmla="*/ 2147483647 w 14"/>
                  <a:gd name="T11" fmla="*/ 2147483647 h 8"/>
                  <a:gd name="T12" fmla="*/ 2147483647 w 14"/>
                  <a:gd name="T13" fmla="*/ 2147483647 h 8"/>
                  <a:gd name="T14" fmla="*/ 2147483647 w 14"/>
                  <a:gd name="T15" fmla="*/ 0 h 8"/>
                  <a:gd name="T16" fmla="*/ 2147483647 w 14"/>
                  <a:gd name="T17" fmla="*/ 0 h 8"/>
                  <a:gd name="T18" fmla="*/ 2147483647 w 14"/>
                  <a:gd name="T19" fmla="*/ 0 h 8"/>
                  <a:gd name="T20" fmla="*/ 2147483647 w 14"/>
                  <a:gd name="T21" fmla="*/ 2147483647 h 8"/>
                  <a:gd name="T22" fmla="*/ 0 w 14"/>
                  <a:gd name="T23" fmla="*/ 2147483647 h 8"/>
                  <a:gd name="T24" fmla="*/ 0 w 14"/>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8"/>
                  <a:gd name="T41" fmla="*/ 14 w 1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8">
                    <a:moveTo>
                      <a:pt x="0" y="6"/>
                    </a:moveTo>
                    <a:lnTo>
                      <a:pt x="0" y="6"/>
                    </a:lnTo>
                    <a:lnTo>
                      <a:pt x="0" y="8"/>
                    </a:lnTo>
                    <a:lnTo>
                      <a:pt x="8" y="6"/>
                    </a:lnTo>
                    <a:lnTo>
                      <a:pt x="14" y="2"/>
                    </a:lnTo>
                    <a:lnTo>
                      <a:pt x="12" y="0"/>
                    </a:lnTo>
                    <a:lnTo>
                      <a:pt x="4" y="0"/>
                    </a:lnTo>
                    <a:lnTo>
                      <a:pt x="2" y="2"/>
                    </a:lnTo>
                    <a:lnTo>
                      <a:pt x="0"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0" name="Freeform 5966"/>
              <p:cNvSpPr>
                <a:spLocks/>
              </p:cNvSpPr>
              <p:nvPr/>
            </p:nvSpPr>
            <p:spPr bwMode="auto">
              <a:xfrm>
                <a:off x="4286897" y="2010559"/>
                <a:ext cx="6637" cy="3318"/>
              </a:xfrm>
              <a:custGeom>
                <a:avLst/>
                <a:gdLst>
                  <a:gd name="T0" fmla="*/ 2147483647 w 14"/>
                  <a:gd name="T1" fmla="*/ 2147483647 h 8"/>
                  <a:gd name="T2" fmla="*/ 2147483647 w 14"/>
                  <a:gd name="T3" fmla="*/ 2147483647 h 8"/>
                  <a:gd name="T4" fmla="*/ 2147483647 w 14"/>
                  <a:gd name="T5" fmla="*/ 2147483647 h 8"/>
                  <a:gd name="T6" fmla="*/ 2147483647 w 14"/>
                  <a:gd name="T7" fmla="*/ 2147483647 h 8"/>
                  <a:gd name="T8" fmla="*/ 2147483647 w 14"/>
                  <a:gd name="T9" fmla="*/ 0 h 8"/>
                  <a:gd name="T10" fmla="*/ 2147483647 w 14"/>
                  <a:gd name="T11" fmla="*/ 2147483647 h 8"/>
                  <a:gd name="T12" fmla="*/ 2147483647 w 14"/>
                  <a:gd name="T13" fmla="*/ 2147483647 h 8"/>
                  <a:gd name="T14" fmla="*/ 2147483647 w 14"/>
                  <a:gd name="T15" fmla="*/ 2147483647 h 8"/>
                  <a:gd name="T16" fmla="*/ 2147483647 w 14"/>
                  <a:gd name="T17" fmla="*/ 2147483647 h 8"/>
                  <a:gd name="T18" fmla="*/ 2147483647 w 14"/>
                  <a:gd name="T19" fmla="*/ 2147483647 h 8"/>
                  <a:gd name="T20" fmla="*/ 0 w 14"/>
                  <a:gd name="T21" fmla="*/ 2147483647 h 8"/>
                  <a:gd name="T22" fmla="*/ 2147483647 w 14"/>
                  <a:gd name="T23" fmla="*/ 2147483647 h 8"/>
                  <a:gd name="T24" fmla="*/ 2147483647 w 14"/>
                  <a:gd name="T25" fmla="*/ 2147483647 h 8"/>
                  <a:gd name="T26" fmla="*/ 2147483647 w 14"/>
                  <a:gd name="T27" fmla="*/ 2147483647 h 8"/>
                  <a:gd name="T28" fmla="*/ 2147483647 w 14"/>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8"/>
                  <a:gd name="T47" fmla="*/ 14 w 14"/>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8">
                    <a:moveTo>
                      <a:pt x="12" y="6"/>
                    </a:moveTo>
                    <a:lnTo>
                      <a:pt x="12" y="6"/>
                    </a:lnTo>
                    <a:lnTo>
                      <a:pt x="14" y="4"/>
                    </a:lnTo>
                    <a:lnTo>
                      <a:pt x="14" y="2"/>
                    </a:lnTo>
                    <a:lnTo>
                      <a:pt x="10" y="0"/>
                    </a:lnTo>
                    <a:lnTo>
                      <a:pt x="6" y="2"/>
                    </a:lnTo>
                    <a:lnTo>
                      <a:pt x="6" y="4"/>
                    </a:lnTo>
                    <a:lnTo>
                      <a:pt x="2" y="6"/>
                    </a:lnTo>
                    <a:lnTo>
                      <a:pt x="0" y="8"/>
                    </a:lnTo>
                    <a:lnTo>
                      <a:pt x="4" y="8"/>
                    </a:lnTo>
                    <a:lnTo>
                      <a:pt x="8" y="8"/>
                    </a:lnTo>
                    <a:lnTo>
                      <a:pt x="12"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1" name="Freeform 5967"/>
              <p:cNvSpPr>
                <a:spLocks/>
              </p:cNvSpPr>
              <p:nvPr/>
            </p:nvSpPr>
            <p:spPr bwMode="auto">
              <a:xfrm>
                <a:off x="4288557" y="1997288"/>
                <a:ext cx="8296" cy="11613"/>
              </a:xfrm>
              <a:custGeom>
                <a:avLst/>
                <a:gdLst>
                  <a:gd name="T0" fmla="*/ 2147483647 w 16"/>
                  <a:gd name="T1" fmla="*/ 2147483647 h 22"/>
                  <a:gd name="T2" fmla="*/ 2147483647 w 16"/>
                  <a:gd name="T3" fmla="*/ 2147483647 h 22"/>
                  <a:gd name="T4" fmla="*/ 2147483647 w 16"/>
                  <a:gd name="T5" fmla="*/ 0 h 22"/>
                  <a:gd name="T6" fmla="*/ 2147483647 w 16"/>
                  <a:gd name="T7" fmla="*/ 0 h 22"/>
                  <a:gd name="T8" fmla="*/ 2147483647 w 16"/>
                  <a:gd name="T9" fmla="*/ 2147483647 h 22"/>
                  <a:gd name="T10" fmla="*/ 2147483647 w 16"/>
                  <a:gd name="T11" fmla="*/ 2147483647 h 22"/>
                  <a:gd name="T12" fmla="*/ 2147483647 w 16"/>
                  <a:gd name="T13" fmla="*/ 2147483647 h 22"/>
                  <a:gd name="T14" fmla="*/ 2147483647 w 16"/>
                  <a:gd name="T15" fmla="*/ 2147483647 h 22"/>
                  <a:gd name="T16" fmla="*/ 2147483647 w 16"/>
                  <a:gd name="T17" fmla="*/ 2147483647 h 22"/>
                  <a:gd name="T18" fmla="*/ 2147483647 w 16"/>
                  <a:gd name="T19" fmla="*/ 2147483647 h 22"/>
                  <a:gd name="T20" fmla="*/ 2147483647 w 16"/>
                  <a:gd name="T21" fmla="*/ 2147483647 h 22"/>
                  <a:gd name="T22" fmla="*/ 2147483647 w 16"/>
                  <a:gd name="T23" fmla="*/ 2147483647 h 22"/>
                  <a:gd name="T24" fmla="*/ 0 w 16"/>
                  <a:gd name="T25" fmla="*/ 2147483647 h 22"/>
                  <a:gd name="T26" fmla="*/ 0 w 16"/>
                  <a:gd name="T27" fmla="*/ 2147483647 h 22"/>
                  <a:gd name="T28" fmla="*/ 2147483647 w 16"/>
                  <a:gd name="T29" fmla="*/ 2147483647 h 22"/>
                  <a:gd name="T30" fmla="*/ 2147483647 w 16"/>
                  <a:gd name="T31" fmla="*/ 2147483647 h 22"/>
                  <a:gd name="T32" fmla="*/ 2147483647 w 16"/>
                  <a:gd name="T33" fmla="*/ 2147483647 h 22"/>
                  <a:gd name="T34" fmla="*/ 2147483647 w 16"/>
                  <a:gd name="T35" fmla="*/ 2147483647 h 22"/>
                  <a:gd name="T36" fmla="*/ 2147483647 w 16"/>
                  <a:gd name="T37" fmla="*/ 2147483647 h 22"/>
                  <a:gd name="T38" fmla="*/ 2147483647 w 16"/>
                  <a:gd name="T39" fmla="*/ 2147483647 h 22"/>
                  <a:gd name="T40" fmla="*/ 2147483647 w 16"/>
                  <a:gd name="T41" fmla="*/ 2147483647 h 22"/>
                  <a:gd name="T42" fmla="*/ 2147483647 w 16"/>
                  <a:gd name="T43" fmla="*/ 2147483647 h 22"/>
                  <a:gd name="T44" fmla="*/ 2147483647 w 16"/>
                  <a:gd name="T45" fmla="*/ 2147483647 h 22"/>
                  <a:gd name="T46" fmla="*/ 2147483647 w 16"/>
                  <a:gd name="T47" fmla="*/ 2147483647 h 22"/>
                  <a:gd name="T48" fmla="*/ 2147483647 w 16"/>
                  <a:gd name="T49" fmla="*/ 2147483647 h 2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
                  <a:gd name="T76" fmla="*/ 0 h 22"/>
                  <a:gd name="T77" fmla="*/ 16 w 16"/>
                  <a:gd name="T78" fmla="*/ 22 h 2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 h="22">
                    <a:moveTo>
                      <a:pt x="14" y="6"/>
                    </a:moveTo>
                    <a:lnTo>
                      <a:pt x="14" y="6"/>
                    </a:lnTo>
                    <a:lnTo>
                      <a:pt x="10" y="0"/>
                    </a:lnTo>
                    <a:lnTo>
                      <a:pt x="8" y="0"/>
                    </a:lnTo>
                    <a:lnTo>
                      <a:pt x="8" y="4"/>
                    </a:lnTo>
                    <a:lnTo>
                      <a:pt x="6" y="8"/>
                    </a:lnTo>
                    <a:lnTo>
                      <a:pt x="4" y="10"/>
                    </a:lnTo>
                    <a:lnTo>
                      <a:pt x="2" y="14"/>
                    </a:lnTo>
                    <a:lnTo>
                      <a:pt x="2" y="18"/>
                    </a:lnTo>
                    <a:lnTo>
                      <a:pt x="0" y="20"/>
                    </a:lnTo>
                    <a:lnTo>
                      <a:pt x="0" y="22"/>
                    </a:lnTo>
                    <a:lnTo>
                      <a:pt x="2" y="22"/>
                    </a:lnTo>
                    <a:lnTo>
                      <a:pt x="6" y="22"/>
                    </a:lnTo>
                    <a:lnTo>
                      <a:pt x="6" y="18"/>
                    </a:lnTo>
                    <a:lnTo>
                      <a:pt x="8" y="16"/>
                    </a:lnTo>
                    <a:lnTo>
                      <a:pt x="10" y="14"/>
                    </a:lnTo>
                    <a:lnTo>
                      <a:pt x="14" y="12"/>
                    </a:lnTo>
                    <a:lnTo>
                      <a:pt x="16" y="10"/>
                    </a:lnTo>
                    <a:lnTo>
                      <a:pt x="14"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2" name="Freeform 5968"/>
              <p:cNvSpPr>
                <a:spLocks/>
              </p:cNvSpPr>
              <p:nvPr/>
            </p:nvSpPr>
            <p:spPr bwMode="auto">
              <a:xfrm>
                <a:off x="4276941" y="2012219"/>
                <a:ext cx="8297" cy="3318"/>
              </a:xfrm>
              <a:custGeom>
                <a:avLst/>
                <a:gdLst>
                  <a:gd name="T0" fmla="*/ 0 w 12"/>
                  <a:gd name="T1" fmla="*/ 2147483647 h 6"/>
                  <a:gd name="T2" fmla="*/ 0 w 12"/>
                  <a:gd name="T3" fmla="*/ 2147483647 h 6"/>
                  <a:gd name="T4" fmla="*/ 0 w 12"/>
                  <a:gd name="T5" fmla="*/ 2147483647 h 6"/>
                  <a:gd name="T6" fmla="*/ 2147483647 w 12"/>
                  <a:gd name="T7" fmla="*/ 2147483647 h 6"/>
                  <a:gd name="T8" fmla="*/ 2147483647 w 12"/>
                  <a:gd name="T9" fmla="*/ 2147483647 h 6"/>
                  <a:gd name="T10" fmla="*/ 2147483647 w 12"/>
                  <a:gd name="T11" fmla="*/ 2147483647 h 6"/>
                  <a:gd name="T12" fmla="*/ 2147483647 w 12"/>
                  <a:gd name="T13" fmla="*/ 2147483647 h 6"/>
                  <a:gd name="T14" fmla="*/ 2147483647 w 12"/>
                  <a:gd name="T15" fmla="*/ 0 h 6"/>
                  <a:gd name="T16" fmla="*/ 2147483647 w 12"/>
                  <a:gd name="T17" fmla="*/ 2147483647 h 6"/>
                  <a:gd name="T18" fmla="*/ 0 w 12"/>
                  <a:gd name="T19" fmla="*/ 2147483647 h 6"/>
                  <a:gd name="T20" fmla="*/ 0 w 12"/>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6"/>
                  <a:gd name="T35" fmla="*/ 12 w 12"/>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6">
                    <a:moveTo>
                      <a:pt x="0" y="4"/>
                    </a:moveTo>
                    <a:lnTo>
                      <a:pt x="0" y="4"/>
                    </a:lnTo>
                    <a:lnTo>
                      <a:pt x="0" y="6"/>
                    </a:lnTo>
                    <a:lnTo>
                      <a:pt x="2" y="6"/>
                    </a:lnTo>
                    <a:lnTo>
                      <a:pt x="10" y="4"/>
                    </a:lnTo>
                    <a:lnTo>
                      <a:pt x="12" y="2"/>
                    </a:lnTo>
                    <a:lnTo>
                      <a:pt x="8" y="0"/>
                    </a:lnTo>
                    <a:lnTo>
                      <a:pt x="4" y="2"/>
                    </a:lnTo>
                    <a:lnTo>
                      <a:pt x="0"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3" name="Freeform 5969"/>
              <p:cNvSpPr>
                <a:spLocks/>
              </p:cNvSpPr>
              <p:nvPr/>
            </p:nvSpPr>
            <p:spPr bwMode="auto">
              <a:xfrm>
                <a:off x="4295194" y="1970745"/>
                <a:ext cx="6637" cy="6636"/>
              </a:xfrm>
              <a:custGeom>
                <a:avLst/>
                <a:gdLst>
                  <a:gd name="T0" fmla="*/ 2147483647 w 12"/>
                  <a:gd name="T1" fmla="*/ 2147483647 h 12"/>
                  <a:gd name="T2" fmla="*/ 2147483647 w 12"/>
                  <a:gd name="T3" fmla="*/ 2147483647 h 12"/>
                  <a:gd name="T4" fmla="*/ 2147483647 w 12"/>
                  <a:gd name="T5" fmla="*/ 2147483647 h 12"/>
                  <a:gd name="T6" fmla="*/ 2147483647 w 12"/>
                  <a:gd name="T7" fmla="*/ 2147483647 h 12"/>
                  <a:gd name="T8" fmla="*/ 0 w 12"/>
                  <a:gd name="T9" fmla="*/ 2147483647 h 12"/>
                  <a:gd name="T10" fmla="*/ 2147483647 w 12"/>
                  <a:gd name="T11" fmla="*/ 2147483647 h 12"/>
                  <a:gd name="T12" fmla="*/ 2147483647 w 12"/>
                  <a:gd name="T13" fmla="*/ 2147483647 h 12"/>
                  <a:gd name="T14" fmla="*/ 2147483647 w 12"/>
                  <a:gd name="T15" fmla="*/ 2147483647 h 12"/>
                  <a:gd name="T16" fmla="*/ 2147483647 w 12"/>
                  <a:gd name="T17" fmla="*/ 2147483647 h 12"/>
                  <a:gd name="T18" fmla="*/ 2147483647 w 12"/>
                  <a:gd name="T19" fmla="*/ 2147483647 h 12"/>
                  <a:gd name="T20" fmla="*/ 2147483647 w 12"/>
                  <a:gd name="T21" fmla="*/ 2147483647 h 12"/>
                  <a:gd name="T22" fmla="*/ 2147483647 w 12"/>
                  <a:gd name="T23" fmla="*/ 2147483647 h 12"/>
                  <a:gd name="T24" fmla="*/ 2147483647 w 12"/>
                  <a:gd name="T25" fmla="*/ 0 h 12"/>
                  <a:gd name="T26" fmla="*/ 2147483647 w 12"/>
                  <a:gd name="T27" fmla="*/ 2147483647 h 12"/>
                  <a:gd name="T28" fmla="*/ 2147483647 w 12"/>
                  <a:gd name="T29" fmla="*/ 2147483647 h 12"/>
                  <a:gd name="T30" fmla="*/ 2147483647 w 12"/>
                  <a:gd name="T31" fmla="*/ 2147483647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12"/>
                  <a:gd name="T50" fmla="*/ 12 w 12"/>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12">
                    <a:moveTo>
                      <a:pt x="4" y="2"/>
                    </a:moveTo>
                    <a:lnTo>
                      <a:pt x="4" y="2"/>
                    </a:lnTo>
                    <a:lnTo>
                      <a:pt x="4" y="6"/>
                    </a:lnTo>
                    <a:lnTo>
                      <a:pt x="2" y="10"/>
                    </a:lnTo>
                    <a:lnTo>
                      <a:pt x="0" y="12"/>
                    </a:lnTo>
                    <a:lnTo>
                      <a:pt x="2" y="12"/>
                    </a:lnTo>
                    <a:lnTo>
                      <a:pt x="8" y="10"/>
                    </a:lnTo>
                    <a:lnTo>
                      <a:pt x="10" y="8"/>
                    </a:lnTo>
                    <a:lnTo>
                      <a:pt x="12" y="4"/>
                    </a:lnTo>
                    <a:lnTo>
                      <a:pt x="12" y="2"/>
                    </a:lnTo>
                    <a:lnTo>
                      <a:pt x="8" y="0"/>
                    </a:lnTo>
                    <a:lnTo>
                      <a:pt x="6" y="2"/>
                    </a:lnTo>
                    <a:lnTo>
                      <a:pt x="4"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4" name="Freeform 5970"/>
              <p:cNvSpPr>
                <a:spLocks/>
              </p:cNvSpPr>
              <p:nvPr/>
            </p:nvSpPr>
            <p:spPr bwMode="auto">
              <a:xfrm>
                <a:off x="3226617" y="3963147"/>
                <a:ext cx="4977" cy="6636"/>
              </a:xfrm>
              <a:custGeom>
                <a:avLst/>
                <a:gdLst>
                  <a:gd name="T0" fmla="*/ 2147483647 w 10"/>
                  <a:gd name="T1" fmla="*/ 2147483647 h 14"/>
                  <a:gd name="T2" fmla="*/ 2147483647 w 10"/>
                  <a:gd name="T3" fmla="*/ 2147483647 h 14"/>
                  <a:gd name="T4" fmla="*/ 0 w 10"/>
                  <a:gd name="T5" fmla="*/ 2147483647 h 14"/>
                  <a:gd name="T6" fmla="*/ 2147483647 w 10"/>
                  <a:gd name="T7" fmla="*/ 2147483647 h 14"/>
                  <a:gd name="T8" fmla="*/ 2147483647 w 10"/>
                  <a:gd name="T9" fmla="*/ 2147483647 h 14"/>
                  <a:gd name="T10" fmla="*/ 2147483647 w 10"/>
                  <a:gd name="T11" fmla="*/ 2147483647 h 14"/>
                  <a:gd name="T12" fmla="*/ 2147483647 w 10"/>
                  <a:gd name="T13" fmla="*/ 2147483647 h 14"/>
                  <a:gd name="T14" fmla="*/ 2147483647 w 10"/>
                  <a:gd name="T15" fmla="*/ 2147483647 h 14"/>
                  <a:gd name="T16" fmla="*/ 2147483647 w 10"/>
                  <a:gd name="T17" fmla="*/ 2147483647 h 14"/>
                  <a:gd name="T18" fmla="*/ 2147483647 w 10"/>
                  <a:gd name="T19" fmla="*/ 2147483647 h 14"/>
                  <a:gd name="T20" fmla="*/ 2147483647 w 10"/>
                  <a:gd name="T21" fmla="*/ 2147483647 h 14"/>
                  <a:gd name="T22" fmla="*/ 2147483647 w 10"/>
                  <a:gd name="T23" fmla="*/ 0 h 14"/>
                  <a:gd name="T24" fmla="*/ 2147483647 w 10"/>
                  <a:gd name="T25" fmla="*/ 2147483647 h 14"/>
                  <a:gd name="T26" fmla="*/ 2147483647 w 10"/>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4"/>
                  <a:gd name="T44" fmla="*/ 10 w 1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4">
                    <a:moveTo>
                      <a:pt x="2" y="2"/>
                    </a:moveTo>
                    <a:lnTo>
                      <a:pt x="2" y="2"/>
                    </a:lnTo>
                    <a:lnTo>
                      <a:pt x="0" y="4"/>
                    </a:lnTo>
                    <a:lnTo>
                      <a:pt x="2" y="8"/>
                    </a:lnTo>
                    <a:lnTo>
                      <a:pt x="6" y="12"/>
                    </a:lnTo>
                    <a:lnTo>
                      <a:pt x="8" y="14"/>
                    </a:lnTo>
                    <a:lnTo>
                      <a:pt x="10" y="12"/>
                    </a:lnTo>
                    <a:lnTo>
                      <a:pt x="10" y="10"/>
                    </a:lnTo>
                    <a:lnTo>
                      <a:pt x="8" y="6"/>
                    </a:lnTo>
                    <a:lnTo>
                      <a:pt x="6" y="2"/>
                    </a:lnTo>
                    <a:lnTo>
                      <a:pt x="4" y="0"/>
                    </a:lnTo>
                    <a:lnTo>
                      <a:pt x="2"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5" name="Freeform 5971"/>
              <p:cNvSpPr>
                <a:spLocks/>
              </p:cNvSpPr>
              <p:nvPr/>
            </p:nvSpPr>
            <p:spPr bwMode="auto">
              <a:xfrm>
                <a:off x="4339994" y="2723909"/>
                <a:ext cx="4978" cy="18249"/>
              </a:xfrm>
              <a:custGeom>
                <a:avLst/>
                <a:gdLst>
                  <a:gd name="T0" fmla="*/ 0 w 10"/>
                  <a:gd name="T1" fmla="*/ 2147483647 h 32"/>
                  <a:gd name="T2" fmla="*/ 0 w 10"/>
                  <a:gd name="T3" fmla="*/ 2147483647 h 32"/>
                  <a:gd name="T4" fmla="*/ 0 w 10"/>
                  <a:gd name="T5" fmla="*/ 2147483647 h 32"/>
                  <a:gd name="T6" fmla="*/ 2147483647 w 10"/>
                  <a:gd name="T7" fmla="*/ 2147483647 h 32"/>
                  <a:gd name="T8" fmla="*/ 2147483647 w 10"/>
                  <a:gd name="T9" fmla="*/ 2147483647 h 32"/>
                  <a:gd name="T10" fmla="*/ 2147483647 w 10"/>
                  <a:gd name="T11" fmla="*/ 2147483647 h 32"/>
                  <a:gd name="T12" fmla="*/ 2147483647 w 10"/>
                  <a:gd name="T13" fmla="*/ 2147483647 h 32"/>
                  <a:gd name="T14" fmla="*/ 2147483647 w 10"/>
                  <a:gd name="T15" fmla="*/ 2147483647 h 32"/>
                  <a:gd name="T16" fmla="*/ 2147483647 w 10"/>
                  <a:gd name="T17" fmla="*/ 2147483647 h 32"/>
                  <a:gd name="T18" fmla="*/ 2147483647 w 10"/>
                  <a:gd name="T19" fmla="*/ 2147483647 h 32"/>
                  <a:gd name="T20" fmla="*/ 2147483647 w 10"/>
                  <a:gd name="T21" fmla="*/ 2147483647 h 32"/>
                  <a:gd name="T22" fmla="*/ 2147483647 w 10"/>
                  <a:gd name="T23" fmla="*/ 0 h 32"/>
                  <a:gd name="T24" fmla="*/ 0 w 10"/>
                  <a:gd name="T25" fmla="*/ 0 h 32"/>
                  <a:gd name="T26" fmla="*/ 0 w 10"/>
                  <a:gd name="T27" fmla="*/ 2147483647 h 32"/>
                  <a:gd name="T28" fmla="*/ 2147483647 w 10"/>
                  <a:gd name="T29" fmla="*/ 2147483647 h 32"/>
                  <a:gd name="T30" fmla="*/ 2147483647 w 10"/>
                  <a:gd name="T31" fmla="*/ 2147483647 h 32"/>
                  <a:gd name="T32" fmla="*/ 2147483647 w 10"/>
                  <a:gd name="T33" fmla="*/ 2147483647 h 32"/>
                  <a:gd name="T34" fmla="*/ 2147483647 w 10"/>
                  <a:gd name="T35" fmla="*/ 2147483647 h 32"/>
                  <a:gd name="T36" fmla="*/ 0 w 10"/>
                  <a:gd name="T37" fmla="*/ 2147483647 h 32"/>
                  <a:gd name="T38" fmla="*/ 0 w 10"/>
                  <a:gd name="T39" fmla="*/ 2147483647 h 3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
                  <a:gd name="T61" fmla="*/ 0 h 32"/>
                  <a:gd name="T62" fmla="*/ 10 w 10"/>
                  <a:gd name="T63" fmla="*/ 32 h 3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 h="32">
                    <a:moveTo>
                      <a:pt x="0" y="14"/>
                    </a:moveTo>
                    <a:lnTo>
                      <a:pt x="0" y="14"/>
                    </a:lnTo>
                    <a:lnTo>
                      <a:pt x="0" y="18"/>
                    </a:lnTo>
                    <a:lnTo>
                      <a:pt x="2" y="22"/>
                    </a:lnTo>
                    <a:lnTo>
                      <a:pt x="8" y="32"/>
                    </a:lnTo>
                    <a:lnTo>
                      <a:pt x="10" y="30"/>
                    </a:lnTo>
                    <a:lnTo>
                      <a:pt x="10" y="28"/>
                    </a:lnTo>
                    <a:lnTo>
                      <a:pt x="8" y="20"/>
                    </a:lnTo>
                    <a:lnTo>
                      <a:pt x="4" y="2"/>
                    </a:lnTo>
                    <a:lnTo>
                      <a:pt x="2" y="0"/>
                    </a:lnTo>
                    <a:lnTo>
                      <a:pt x="0" y="0"/>
                    </a:lnTo>
                    <a:lnTo>
                      <a:pt x="0" y="4"/>
                    </a:lnTo>
                    <a:lnTo>
                      <a:pt x="2" y="10"/>
                    </a:lnTo>
                    <a:lnTo>
                      <a:pt x="2" y="14"/>
                    </a:lnTo>
                    <a:lnTo>
                      <a:pt x="0" y="1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6" name="Freeform 5972"/>
              <p:cNvSpPr>
                <a:spLocks/>
              </p:cNvSpPr>
              <p:nvPr/>
            </p:nvSpPr>
            <p:spPr bwMode="auto">
              <a:xfrm>
                <a:off x="4344972" y="2722250"/>
                <a:ext cx="6637" cy="8294"/>
              </a:xfrm>
              <a:custGeom>
                <a:avLst/>
                <a:gdLst>
                  <a:gd name="T0" fmla="*/ 2147483647 w 12"/>
                  <a:gd name="T1" fmla="*/ 2147483647 h 14"/>
                  <a:gd name="T2" fmla="*/ 2147483647 w 12"/>
                  <a:gd name="T3" fmla="*/ 2147483647 h 14"/>
                  <a:gd name="T4" fmla="*/ 2147483647 w 12"/>
                  <a:gd name="T5" fmla="*/ 2147483647 h 14"/>
                  <a:gd name="T6" fmla="*/ 2147483647 w 12"/>
                  <a:gd name="T7" fmla="*/ 2147483647 h 14"/>
                  <a:gd name="T8" fmla="*/ 2147483647 w 12"/>
                  <a:gd name="T9" fmla="*/ 0 h 14"/>
                  <a:gd name="T10" fmla="*/ 2147483647 w 12"/>
                  <a:gd name="T11" fmla="*/ 0 h 14"/>
                  <a:gd name="T12" fmla="*/ 0 w 12"/>
                  <a:gd name="T13" fmla="*/ 0 h 14"/>
                  <a:gd name="T14" fmla="*/ 0 w 12"/>
                  <a:gd name="T15" fmla="*/ 2147483647 h 14"/>
                  <a:gd name="T16" fmla="*/ 0 w 12"/>
                  <a:gd name="T17" fmla="*/ 2147483647 h 14"/>
                  <a:gd name="T18" fmla="*/ 0 w 12"/>
                  <a:gd name="T19" fmla="*/ 2147483647 h 14"/>
                  <a:gd name="T20" fmla="*/ 0 w 12"/>
                  <a:gd name="T21" fmla="*/ 2147483647 h 14"/>
                  <a:gd name="T22" fmla="*/ 0 w 12"/>
                  <a:gd name="T23" fmla="*/ 2147483647 h 14"/>
                  <a:gd name="T24" fmla="*/ 2147483647 w 12"/>
                  <a:gd name="T25" fmla="*/ 2147483647 h 14"/>
                  <a:gd name="T26" fmla="*/ 2147483647 w 12"/>
                  <a:gd name="T27" fmla="*/ 2147483647 h 14"/>
                  <a:gd name="T28" fmla="*/ 2147483647 w 12"/>
                  <a:gd name="T29" fmla="*/ 2147483647 h 14"/>
                  <a:gd name="T30" fmla="*/ 2147483647 w 12"/>
                  <a:gd name="T31" fmla="*/ 2147483647 h 14"/>
                  <a:gd name="T32" fmla="*/ 2147483647 w 12"/>
                  <a:gd name="T33" fmla="*/ 2147483647 h 14"/>
                  <a:gd name="T34" fmla="*/ 2147483647 w 12"/>
                  <a:gd name="T35" fmla="*/ 2147483647 h 14"/>
                  <a:gd name="T36" fmla="*/ 2147483647 w 12"/>
                  <a:gd name="T37" fmla="*/ 2147483647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
                  <a:gd name="T58" fmla="*/ 0 h 14"/>
                  <a:gd name="T59" fmla="*/ 12 w 12"/>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 h="14">
                    <a:moveTo>
                      <a:pt x="8" y="8"/>
                    </a:moveTo>
                    <a:lnTo>
                      <a:pt x="8" y="8"/>
                    </a:lnTo>
                    <a:lnTo>
                      <a:pt x="4" y="4"/>
                    </a:lnTo>
                    <a:lnTo>
                      <a:pt x="4" y="2"/>
                    </a:lnTo>
                    <a:lnTo>
                      <a:pt x="2" y="0"/>
                    </a:lnTo>
                    <a:lnTo>
                      <a:pt x="0" y="0"/>
                    </a:lnTo>
                    <a:lnTo>
                      <a:pt x="0" y="2"/>
                    </a:lnTo>
                    <a:lnTo>
                      <a:pt x="0" y="4"/>
                    </a:lnTo>
                    <a:lnTo>
                      <a:pt x="0" y="6"/>
                    </a:lnTo>
                    <a:lnTo>
                      <a:pt x="0" y="8"/>
                    </a:lnTo>
                    <a:lnTo>
                      <a:pt x="2" y="12"/>
                    </a:lnTo>
                    <a:lnTo>
                      <a:pt x="6" y="14"/>
                    </a:lnTo>
                    <a:lnTo>
                      <a:pt x="12" y="14"/>
                    </a:lnTo>
                    <a:lnTo>
                      <a:pt x="12" y="12"/>
                    </a:lnTo>
                    <a:lnTo>
                      <a:pt x="8"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7" name="Freeform 5973"/>
              <p:cNvSpPr>
                <a:spLocks/>
              </p:cNvSpPr>
              <p:nvPr/>
            </p:nvSpPr>
            <p:spPr bwMode="auto">
              <a:xfrm>
                <a:off x="4348291" y="2740498"/>
                <a:ext cx="13274" cy="9954"/>
              </a:xfrm>
              <a:custGeom>
                <a:avLst/>
                <a:gdLst>
                  <a:gd name="T0" fmla="*/ 2147483647 w 18"/>
                  <a:gd name="T1" fmla="*/ 2147483647 h 20"/>
                  <a:gd name="T2" fmla="*/ 2147483647 w 18"/>
                  <a:gd name="T3" fmla="*/ 2147483647 h 20"/>
                  <a:gd name="T4" fmla="*/ 2147483647 w 18"/>
                  <a:gd name="T5" fmla="*/ 2147483647 h 20"/>
                  <a:gd name="T6" fmla="*/ 2147483647 w 18"/>
                  <a:gd name="T7" fmla="*/ 2147483647 h 20"/>
                  <a:gd name="T8" fmla="*/ 2147483647 w 18"/>
                  <a:gd name="T9" fmla="*/ 2147483647 h 20"/>
                  <a:gd name="T10" fmla="*/ 2147483647 w 18"/>
                  <a:gd name="T11" fmla="*/ 2147483647 h 20"/>
                  <a:gd name="T12" fmla="*/ 0 w 18"/>
                  <a:gd name="T13" fmla="*/ 0 h 20"/>
                  <a:gd name="T14" fmla="*/ 0 w 18"/>
                  <a:gd name="T15" fmla="*/ 0 h 20"/>
                  <a:gd name="T16" fmla="*/ 0 w 18"/>
                  <a:gd name="T17" fmla="*/ 2147483647 h 20"/>
                  <a:gd name="T18" fmla="*/ 0 w 18"/>
                  <a:gd name="T19" fmla="*/ 2147483647 h 20"/>
                  <a:gd name="T20" fmla="*/ 2147483647 w 18"/>
                  <a:gd name="T21" fmla="*/ 2147483647 h 20"/>
                  <a:gd name="T22" fmla="*/ 2147483647 w 18"/>
                  <a:gd name="T23" fmla="*/ 2147483647 h 20"/>
                  <a:gd name="T24" fmla="*/ 2147483647 w 18"/>
                  <a:gd name="T25" fmla="*/ 2147483647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20"/>
                  <a:gd name="T41" fmla="*/ 18 w 18"/>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20">
                    <a:moveTo>
                      <a:pt x="16" y="20"/>
                    </a:moveTo>
                    <a:lnTo>
                      <a:pt x="16" y="20"/>
                    </a:lnTo>
                    <a:lnTo>
                      <a:pt x="18" y="20"/>
                    </a:lnTo>
                    <a:lnTo>
                      <a:pt x="16" y="16"/>
                    </a:lnTo>
                    <a:lnTo>
                      <a:pt x="8" y="6"/>
                    </a:lnTo>
                    <a:lnTo>
                      <a:pt x="0" y="0"/>
                    </a:lnTo>
                    <a:lnTo>
                      <a:pt x="0" y="2"/>
                    </a:lnTo>
                    <a:lnTo>
                      <a:pt x="6" y="10"/>
                    </a:lnTo>
                    <a:lnTo>
                      <a:pt x="16" y="2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8" name="Freeform 5974"/>
              <p:cNvSpPr>
                <a:spLocks/>
              </p:cNvSpPr>
              <p:nvPr/>
            </p:nvSpPr>
            <p:spPr bwMode="auto">
              <a:xfrm>
                <a:off x="4434573" y="2189726"/>
                <a:ext cx="4977" cy="4977"/>
              </a:xfrm>
              <a:custGeom>
                <a:avLst/>
                <a:gdLst>
                  <a:gd name="T0" fmla="*/ 2147483647 w 8"/>
                  <a:gd name="T1" fmla="*/ 2147483647 h 12"/>
                  <a:gd name="T2" fmla="*/ 2147483647 w 8"/>
                  <a:gd name="T3" fmla="*/ 2147483647 h 12"/>
                  <a:gd name="T4" fmla="*/ 2147483647 w 8"/>
                  <a:gd name="T5" fmla="*/ 2147483647 h 12"/>
                  <a:gd name="T6" fmla="*/ 2147483647 w 8"/>
                  <a:gd name="T7" fmla="*/ 2147483647 h 12"/>
                  <a:gd name="T8" fmla="*/ 2147483647 w 8"/>
                  <a:gd name="T9" fmla="*/ 2147483647 h 12"/>
                  <a:gd name="T10" fmla="*/ 0 w 8"/>
                  <a:gd name="T11" fmla="*/ 0 h 12"/>
                  <a:gd name="T12" fmla="*/ 0 w 8"/>
                  <a:gd name="T13" fmla="*/ 0 h 12"/>
                  <a:gd name="T14" fmla="*/ 0 w 8"/>
                  <a:gd name="T15" fmla="*/ 2147483647 h 12"/>
                  <a:gd name="T16" fmla="*/ 0 w 8"/>
                  <a:gd name="T17" fmla="*/ 2147483647 h 12"/>
                  <a:gd name="T18" fmla="*/ 2147483647 w 8"/>
                  <a:gd name="T19" fmla="*/ 2147483647 h 12"/>
                  <a:gd name="T20" fmla="*/ 2147483647 w 8"/>
                  <a:gd name="T21" fmla="*/ 2147483647 h 12"/>
                  <a:gd name="T22" fmla="*/ 2147483647 w 8"/>
                  <a:gd name="T23" fmla="*/ 2147483647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2"/>
                  <a:gd name="T38" fmla="*/ 8 w 8"/>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2">
                    <a:moveTo>
                      <a:pt x="8" y="12"/>
                    </a:moveTo>
                    <a:lnTo>
                      <a:pt x="8" y="12"/>
                    </a:lnTo>
                    <a:lnTo>
                      <a:pt x="8" y="10"/>
                    </a:lnTo>
                    <a:lnTo>
                      <a:pt x="6" y="6"/>
                    </a:lnTo>
                    <a:lnTo>
                      <a:pt x="2" y="2"/>
                    </a:lnTo>
                    <a:lnTo>
                      <a:pt x="0" y="0"/>
                    </a:lnTo>
                    <a:lnTo>
                      <a:pt x="0" y="2"/>
                    </a:lnTo>
                    <a:lnTo>
                      <a:pt x="0" y="6"/>
                    </a:lnTo>
                    <a:lnTo>
                      <a:pt x="4" y="10"/>
                    </a:lnTo>
                    <a:lnTo>
                      <a:pt x="8" y="1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9" name="Freeform 5975"/>
              <p:cNvSpPr>
                <a:spLocks/>
              </p:cNvSpPr>
              <p:nvPr/>
            </p:nvSpPr>
            <p:spPr bwMode="auto">
              <a:xfrm>
                <a:off x="4268645" y="2033785"/>
                <a:ext cx="4977" cy="3318"/>
              </a:xfrm>
              <a:custGeom>
                <a:avLst/>
                <a:gdLst>
                  <a:gd name="T0" fmla="*/ 2147483647 w 12"/>
                  <a:gd name="T1" fmla="*/ 2147483647 h 8"/>
                  <a:gd name="T2" fmla="*/ 2147483647 w 12"/>
                  <a:gd name="T3" fmla="*/ 2147483647 h 8"/>
                  <a:gd name="T4" fmla="*/ 2147483647 w 12"/>
                  <a:gd name="T5" fmla="*/ 2147483647 h 8"/>
                  <a:gd name="T6" fmla="*/ 2147483647 w 12"/>
                  <a:gd name="T7" fmla="*/ 2147483647 h 8"/>
                  <a:gd name="T8" fmla="*/ 2147483647 w 12"/>
                  <a:gd name="T9" fmla="*/ 2147483647 h 8"/>
                  <a:gd name="T10" fmla="*/ 2147483647 w 12"/>
                  <a:gd name="T11" fmla="*/ 2147483647 h 8"/>
                  <a:gd name="T12" fmla="*/ 2147483647 w 12"/>
                  <a:gd name="T13" fmla="*/ 2147483647 h 8"/>
                  <a:gd name="T14" fmla="*/ 2147483647 w 12"/>
                  <a:gd name="T15" fmla="*/ 2147483647 h 8"/>
                  <a:gd name="T16" fmla="*/ 2147483647 w 12"/>
                  <a:gd name="T17" fmla="*/ 2147483647 h 8"/>
                  <a:gd name="T18" fmla="*/ 2147483647 w 12"/>
                  <a:gd name="T19" fmla="*/ 0 h 8"/>
                  <a:gd name="T20" fmla="*/ 0 w 12"/>
                  <a:gd name="T21" fmla="*/ 2147483647 h 8"/>
                  <a:gd name="T22" fmla="*/ 0 w 12"/>
                  <a:gd name="T23" fmla="*/ 2147483647 h 8"/>
                  <a:gd name="T24" fmla="*/ 0 w 12"/>
                  <a:gd name="T25" fmla="*/ 2147483647 h 8"/>
                  <a:gd name="T26" fmla="*/ 0 w 12"/>
                  <a:gd name="T27" fmla="*/ 2147483647 h 8"/>
                  <a:gd name="T28" fmla="*/ 2147483647 w 12"/>
                  <a:gd name="T29" fmla="*/ 2147483647 h 8"/>
                  <a:gd name="T30" fmla="*/ 2147483647 w 12"/>
                  <a:gd name="T31" fmla="*/ 2147483647 h 8"/>
                  <a:gd name="T32" fmla="*/ 2147483647 w 12"/>
                  <a:gd name="T33" fmla="*/ 2147483647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8"/>
                  <a:gd name="T53" fmla="*/ 12 w 12"/>
                  <a:gd name="T54" fmla="*/ 8 h 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8">
                    <a:moveTo>
                      <a:pt x="6" y="8"/>
                    </a:moveTo>
                    <a:lnTo>
                      <a:pt x="6" y="8"/>
                    </a:lnTo>
                    <a:lnTo>
                      <a:pt x="10" y="8"/>
                    </a:lnTo>
                    <a:lnTo>
                      <a:pt x="12" y="6"/>
                    </a:lnTo>
                    <a:lnTo>
                      <a:pt x="10" y="6"/>
                    </a:lnTo>
                    <a:lnTo>
                      <a:pt x="8" y="4"/>
                    </a:lnTo>
                    <a:lnTo>
                      <a:pt x="4" y="4"/>
                    </a:lnTo>
                    <a:lnTo>
                      <a:pt x="4" y="2"/>
                    </a:lnTo>
                    <a:lnTo>
                      <a:pt x="2" y="0"/>
                    </a:lnTo>
                    <a:lnTo>
                      <a:pt x="0" y="2"/>
                    </a:lnTo>
                    <a:lnTo>
                      <a:pt x="0" y="4"/>
                    </a:lnTo>
                    <a:lnTo>
                      <a:pt x="0" y="6"/>
                    </a:lnTo>
                    <a:lnTo>
                      <a:pt x="2" y="8"/>
                    </a:lnTo>
                    <a:lnTo>
                      <a:pt x="6"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0" name="Freeform 5976"/>
              <p:cNvSpPr>
                <a:spLocks/>
              </p:cNvSpPr>
              <p:nvPr/>
            </p:nvSpPr>
            <p:spPr bwMode="auto">
              <a:xfrm>
                <a:off x="4510900" y="2201339"/>
                <a:ext cx="3319" cy="1658"/>
              </a:xfrm>
              <a:custGeom>
                <a:avLst/>
                <a:gdLst>
                  <a:gd name="T0" fmla="*/ 0 w 6"/>
                  <a:gd name="T1" fmla="*/ 2147483647 h 4"/>
                  <a:gd name="T2" fmla="*/ 0 w 6"/>
                  <a:gd name="T3" fmla="*/ 2147483647 h 4"/>
                  <a:gd name="T4" fmla="*/ 0 w 6"/>
                  <a:gd name="T5" fmla="*/ 2147483647 h 4"/>
                  <a:gd name="T6" fmla="*/ 2147483647 w 6"/>
                  <a:gd name="T7" fmla="*/ 2147483647 h 4"/>
                  <a:gd name="T8" fmla="*/ 2147483647 w 6"/>
                  <a:gd name="T9" fmla="*/ 2147483647 h 4"/>
                  <a:gd name="T10" fmla="*/ 2147483647 w 6"/>
                  <a:gd name="T11" fmla="*/ 0 h 4"/>
                  <a:gd name="T12" fmla="*/ 2147483647 w 6"/>
                  <a:gd name="T13" fmla="*/ 0 h 4"/>
                  <a:gd name="T14" fmla="*/ 2147483647 w 6"/>
                  <a:gd name="T15" fmla="*/ 0 h 4"/>
                  <a:gd name="T16" fmla="*/ 2147483647 w 6"/>
                  <a:gd name="T17" fmla="*/ 0 h 4"/>
                  <a:gd name="T18" fmla="*/ 0 w 6"/>
                  <a:gd name="T19" fmla="*/ 2147483647 h 4"/>
                  <a:gd name="T20" fmla="*/ 0 w 6"/>
                  <a:gd name="T21" fmla="*/ 2147483647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0" y="2"/>
                    </a:moveTo>
                    <a:lnTo>
                      <a:pt x="0" y="2"/>
                    </a:lnTo>
                    <a:lnTo>
                      <a:pt x="0" y="4"/>
                    </a:lnTo>
                    <a:lnTo>
                      <a:pt x="2" y="4"/>
                    </a:lnTo>
                    <a:lnTo>
                      <a:pt x="4" y="2"/>
                    </a:lnTo>
                    <a:lnTo>
                      <a:pt x="6" y="0"/>
                    </a:lnTo>
                    <a:lnTo>
                      <a:pt x="4" y="0"/>
                    </a:lnTo>
                    <a:lnTo>
                      <a:pt x="2" y="0"/>
                    </a:lnTo>
                    <a:lnTo>
                      <a:pt x="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1" name="Freeform 5977"/>
              <p:cNvSpPr>
                <a:spLocks/>
              </p:cNvSpPr>
              <p:nvPr/>
            </p:nvSpPr>
            <p:spPr bwMode="auto">
              <a:xfrm>
                <a:off x="4512559" y="2193044"/>
                <a:ext cx="4978" cy="3318"/>
              </a:xfrm>
              <a:custGeom>
                <a:avLst/>
                <a:gdLst>
                  <a:gd name="T0" fmla="*/ 2147483647 w 8"/>
                  <a:gd name="T1" fmla="*/ 0 h 8"/>
                  <a:gd name="T2" fmla="*/ 2147483647 w 8"/>
                  <a:gd name="T3" fmla="*/ 0 h 8"/>
                  <a:gd name="T4" fmla="*/ 0 w 8"/>
                  <a:gd name="T5" fmla="*/ 0 h 8"/>
                  <a:gd name="T6" fmla="*/ 0 w 8"/>
                  <a:gd name="T7" fmla="*/ 2147483647 h 8"/>
                  <a:gd name="T8" fmla="*/ 2147483647 w 8"/>
                  <a:gd name="T9" fmla="*/ 2147483647 h 8"/>
                  <a:gd name="T10" fmla="*/ 2147483647 w 8"/>
                  <a:gd name="T11" fmla="*/ 2147483647 h 8"/>
                  <a:gd name="T12" fmla="*/ 2147483647 w 8"/>
                  <a:gd name="T13" fmla="*/ 2147483647 h 8"/>
                  <a:gd name="T14" fmla="*/ 2147483647 w 8"/>
                  <a:gd name="T15" fmla="*/ 2147483647 h 8"/>
                  <a:gd name="T16" fmla="*/ 2147483647 w 8"/>
                  <a:gd name="T17" fmla="*/ 2147483647 h 8"/>
                  <a:gd name="T18" fmla="*/ 2147483647 w 8"/>
                  <a:gd name="T19" fmla="*/ 2147483647 h 8"/>
                  <a:gd name="T20" fmla="*/ 2147483647 w 8"/>
                  <a:gd name="T21" fmla="*/ 0 h 8"/>
                  <a:gd name="T22" fmla="*/ 2147483647 w 8"/>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8"/>
                  <a:gd name="T38" fmla="*/ 8 w 8"/>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8">
                    <a:moveTo>
                      <a:pt x="2" y="0"/>
                    </a:moveTo>
                    <a:lnTo>
                      <a:pt x="2" y="0"/>
                    </a:lnTo>
                    <a:lnTo>
                      <a:pt x="0" y="0"/>
                    </a:lnTo>
                    <a:lnTo>
                      <a:pt x="0" y="4"/>
                    </a:lnTo>
                    <a:lnTo>
                      <a:pt x="2" y="8"/>
                    </a:lnTo>
                    <a:lnTo>
                      <a:pt x="6" y="8"/>
                    </a:lnTo>
                    <a:lnTo>
                      <a:pt x="8" y="8"/>
                    </a:lnTo>
                    <a:lnTo>
                      <a:pt x="6" y="4"/>
                    </a:lnTo>
                    <a:lnTo>
                      <a:pt x="6" y="2"/>
                    </a:lnTo>
                    <a:lnTo>
                      <a:pt x="2"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2" name="Freeform 5978"/>
              <p:cNvSpPr>
                <a:spLocks/>
              </p:cNvSpPr>
              <p:nvPr/>
            </p:nvSpPr>
            <p:spPr bwMode="auto">
              <a:xfrm>
                <a:off x="4499285" y="2085213"/>
                <a:ext cx="6637" cy="3318"/>
              </a:xfrm>
              <a:custGeom>
                <a:avLst/>
                <a:gdLst>
                  <a:gd name="T0" fmla="*/ 2147483647 w 12"/>
                  <a:gd name="T1" fmla="*/ 2147483647 h 8"/>
                  <a:gd name="T2" fmla="*/ 2147483647 w 12"/>
                  <a:gd name="T3" fmla="*/ 2147483647 h 8"/>
                  <a:gd name="T4" fmla="*/ 2147483647 w 12"/>
                  <a:gd name="T5" fmla="*/ 0 h 8"/>
                  <a:gd name="T6" fmla="*/ 2147483647 w 12"/>
                  <a:gd name="T7" fmla="*/ 0 h 8"/>
                  <a:gd name="T8" fmla="*/ 2147483647 w 12"/>
                  <a:gd name="T9" fmla="*/ 2147483647 h 8"/>
                  <a:gd name="T10" fmla="*/ 2147483647 w 12"/>
                  <a:gd name="T11" fmla="*/ 2147483647 h 8"/>
                  <a:gd name="T12" fmla="*/ 2147483647 w 12"/>
                  <a:gd name="T13" fmla="*/ 2147483647 h 8"/>
                  <a:gd name="T14" fmla="*/ 0 w 12"/>
                  <a:gd name="T15" fmla="*/ 2147483647 h 8"/>
                  <a:gd name="T16" fmla="*/ 0 w 12"/>
                  <a:gd name="T17" fmla="*/ 2147483647 h 8"/>
                  <a:gd name="T18" fmla="*/ 2147483647 w 12"/>
                  <a:gd name="T19" fmla="*/ 2147483647 h 8"/>
                  <a:gd name="T20" fmla="*/ 2147483647 w 12"/>
                  <a:gd name="T21" fmla="*/ 2147483647 h 8"/>
                  <a:gd name="T22" fmla="*/ 2147483647 w 12"/>
                  <a:gd name="T23" fmla="*/ 2147483647 h 8"/>
                  <a:gd name="T24" fmla="*/ 2147483647 w 12"/>
                  <a:gd name="T25" fmla="*/ 2147483647 h 8"/>
                  <a:gd name="T26" fmla="*/ 2147483647 w 12"/>
                  <a:gd name="T27" fmla="*/ 2147483647 h 8"/>
                  <a:gd name="T28" fmla="*/ 2147483647 w 12"/>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8"/>
                  <a:gd name="T47" fmla="*/ 12 w 12"/>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8">
                    <a:moveTo>
                      <a:pt x="12" y="4"/>
                    </a:moveTo>
                    <a:lnTo>
                      <a:pt x="12" y="4"/>
                    </a:lnTo>
                    <a:lnTo>
                      <a:pt x="12" y="0"/>
                    </a:lnTo>
                    <a:lnTo>
                      <a:pt x="10" y="0"/>
                    </a:lnTo>
                    <a:lnTo>
                      <a:pt x="4" y="2"/>
                    </a:lnTo>
                    <a:lnTo>
                      <a:pt x="2" y="2"/>
                    </a:lnTo>
                    <a:lnTo>
                      <a:pt x="0" y="2"/>
                    </a:lnTo>
                    <a:lnTo>
                      <a:pt x="0" y="4"/>
                    </a:lnTo>
                    <a:lnTo>
                      <a:pt x="4" y="8"/>
                    </a:lnTo>
                    <a:lnTo>
                      <a:pt x="6" y="8"/>
                    </a:lnTo>
                    <a:lnTo>
                      <a:pt x="8" y="8"/>
                    </a:lnTo>
                    <a:lnTo>
                      <a:pt x="12"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3" name="Freeform 5979"/>
              <p:cNvSpPr>
                <a:spLocks/>
              </p:cNvSpPr>
              <p:nvPr/>
            </p:nvSpPr>
            <p:spPr bwMode="auto">
              <a:xfrm>
                <a:off x="4268645" y="2030467"/>
                <a:ext cx="4977" cy="3318"/>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0 h 6"/>
                  <a:gd name="T10" fmla="*/ 2147483647 w 6"/>
                  <a:gd name="T11" fmla="*/ 0 h 6"/>
                  <a:gd name="T12" fmla="*/ 0 w 6"/>
                  <a:gd name="T13" fmla="*/ 2147483647 h 6"/>
                  <a:gd name="T14" fmla="*/ 0 w 6"/>
                  <a:gd name="T15" fmla="*/ 2147483647 h 6"/>
                  <a:gd name="T16" fmla="*/ 2147483647 w 6"/>
                  <a:gd name="T17" fmla="*/ 2147483647 h 6"/>
                  <a:gd name="T18" fmla="*/ 2147483647 w 6"/>
                  <a:gd name="T19" fmla="*/ 2147483647 h 6"/>
                  <a:gd name="T20" fmla="*/ 2147483647 w 6"/>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6"/>
                  <a:gd name="T35" fmla="*/ 6 w 6"/>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6">
                    <a:moveTo>
                      <a:pt x="6" y="6"/>
                    </a:moveTo>
                    <a:lnTo>
                      <a:pt x="6" y="6"/>
                    </a:lnTo>
                    <a:lnTo>
                      <a:pt x="6" y="4"/>
                    </a:lnTo>
                    <a:lnTo>
                      <a:pt x="6" y="2"/>
                    </a:lnTo>
                    <a:lnTo>
                      <a:pt x="2" y="0"/>
                    </a:lnTo>
                    <a:lnTo>
                      <a:pt x="0" y="2"/>
                    </a:lnTo>
                    <a:lnTo>
                      <a:pt x="0" y="4"/>
                    </a:lnTo>
                    <a:lnTo>
                      <a:pt x="2" y="6"/>
                    </a:lnTo>
                    <a:lnTo>
                      <a:pt x="6"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4" name="Freeform 5980"/>
              <p:cNvSpPr>
                <a:spLocks/>
              </p:cNvSpPr>
              <p:nvPr/>
            </p:nvSpPr>
            <p:spPr bwMode="auto">
              <a:xfrm>
                <a:off x="4263667" y="2032126"/>
                <a:ext cx="4978" cy="1658"/>
              </a:xfrm>
              <a:custGeom>
                <a:avLst/>
                <a:gdLst>
                  <a:gd name="T0" fmla="*/ 0 w 6"/>
                  <a:gd name="T1" fmla="*/ 0 h 4"/>
                  <a:gd name="T2" fmla="*/ 0 w 6"/>
                  <a:gd name="T3" fmla="*/ 0 h 4"/>
                  <a:gd name="T4" fmla="*/ 0 w 6"/>
                  <a:gd name="T5" fmla="*/ 2147483647 h 4"/>
                  <a:gd name="T6" fmla="*/ 0 w 6"/>
                  <a:gd name="T7" fmla="*/ 2147483647 h 4"/>
                  <a:gd name="T8" fmla="*/ 2147483647 w 6"/>
                  <a:gd name="T9" fmla="*/ 2147483647 h 4"/>
                  <a:gd name="T10" fmla="*/ 2147483647 w 6"/>
                  <a:gd name="T11" fmla="*/ 2147483647 h 4"/>
                  <a:gd name="T12" fmla="*/ 2147483647 w 6"/>
                  <a:gd name="T13" fmla="*/ 2147483647 h 4"/>
                  <a:gd name="T14" fmla="*/ 2147483647 w 6"/>
                  <a:gd name="T15" fmla="*/ 0 h 4"/>
                  <a:gd name="T16" fmla="*/ 2147483647 w 6"/>
                  <a:gd name="T17" fmla="*/ 0 h 4"/>
                  <a:gd name="T18" fmla="*/ 0 w 6"/>
                  <a:gd name="T19" fmla="*/ 0 h 4"/>
                  <a:gd name="T20" fmla="*/ 0 w 6"/>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0" y="0"/>
                    </a:moveTo>
                    <a:lnTo>
                      <a:pt x="0" y="0"/>
                    </a:lnTo>
                    <a:lnTo>
                      <a:pt x="0" y="2"/>
                    </a:lnTo>
                    <a:lnTo>
                      <a:pt x="0" y="4"/>
                    </a:lnTo>
                    <a:lnTo>
                      <a:pt x="4" y="2"/>
                    </a:lnTo>
                    <a:lnTo>
                      <a:pt x="6" y="2"/>
                    </a:lnTo>
                    <a:lnTo>
                      <a:pt x="4" y="0"/>
                    </a:lnTo>
                    <a:lnTo>
                      <a:pt x="2" y="0"/>
                    </a:lnTo>
                    <a:lnTo>
                      <a:pt x="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5" name="Freeform 5981"/>
              <p:cNvSpPr>
                <a:spLocks/>
              </p:cNvSpPr>
              <p:nvPr/>
            </p:nvSpPr>
            <p:spPr bwMode="auto">
              <a:xfrm>
                <a:off x="4578930" y="2013877"/>
                <a:ext cx="11615" cy="6636"/>
              </a:xfrm>
              <a:custGeom>
                <a:avLst/>
                <a:gdLst>
                  <a:gd name="T0" fmla="*/ 2147483647 w 20"/>
                  <a:gd name="T1" fmla="*/ 2147483647 h 10"/>
                  <a:gd name="T2" fmla="*/ 2147483647 w 20"/>
                  <a:gd name="T3" fmla="*/ 2147483647 h 10"/>
                  <a:gd name="T4" fmla="*/ 2147483647 w 20"/>
                  <a:gd name="T5" fmla="*/ 2147483647 h 10"/>
                  <a:gd name="T6" fmla="*/ 2147483647 w 20"/>
                  <a:gd name="T7" fmla="*/ 2147483647 h 10"/>
                  <a:gd name="T8" fmla="*/ 2147483647 w 20"/>
                  <a:gd name="T9" fmla="*/ 0 h 10"/>
                  <a:gd name="T10" fmla="*/ 2147483647 w 20"/>
                  <a:gd name="T11" fmla="*/ 0 h 10"/>
                  <a:gd name="T12" fmla="*/ 2147483647 w 20"/>
                  <a:gd name="T13" fmla="*/ 0 h 10"/>
                  <a:gd name="T14" fmla="*/ 2147483647 w 20"/>
                  <a:gd name="T15" fmla="*/ 0 h 10"/>
                  <a:gd name="T16" fmla="*/ 0 w 20"/>
                  <a:gd name="T17" fmla="*/ 2147483647 h 10"/>
                  <a:gd name="T18" fmla="*/ 0 w 20"/>
                  <a:gd name="T19" fmla="*/ 2147483647 h 10"/>
                  <a:gd name="T20" fmla="*/ 2147483647 w 20"/>
                  <a:gd name="T21" fmla="*/ 2147483647 h 10"/>
                  <a:gd name="T22" fmla="*/ 2147483647 w 20"/>
                  <a:gd name="T23" fmla="*/ 2147483647 h 10"/>
                  <a:gd name="T24" fmla="*/ 2147483647 w 20"/>
                  <a:gd name="T25" fmla="*/ 2147483647 h 10"/>
                  <a:gd name="T26" fmla="*/ 2147483647 w 20"/>
                  <a:gd name="T27" fmla="*/ 2147483647 h 10"/>
                  <a:gd name="T28" fmla="*/ 2147483647 w 20"/>
                  <a:gd name="T29" fmla="*/ 2147483647 h 10"/>
                  <a:gd name="T30" fmla="*/ 2147483647 w 20"/>
                  <a:gd name="T31" fmla="*/ 2147483647 h 10"/>
                  <a:gd name="T32" fmla="*/ 2147483647 w 20"/>
                  <a:gd name="T33" fmla="*/ 2147483647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
                  <a:gd name="T52" fmla="*/ 0 h 10"/>
                  <a:gd name="T53" fmla="*/ 20 w 20"/>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 h="10">
                    <a:moveTo>
                      <a:pt x="18" y="4"/>
                    </a:moveTo>
                    <a:lnTo>
                      <a:pt x="18" y="4"/>
                    </a:lnTo>
                    <a:lnTo>
                      <a:pt x="20" y="4"/>
                    </a:lnTo>
                    <a:lnTo>
                      <a:pt x="18" y="4"/>
                    </a:lnTo>
                    <a:lnTo>
                      <a:pt x="8" y="0"/>
                    </a:lnTo>
                    <a:lnTo>
                      <a:pt x="4" y="0"/>
                    </a:lnTo>
                    <a:lnTo>
                      <a:pt x="2" y="0"/>
                    </a:lnTo>
                    <a:lnTo>
                      <a:pt x="0" y="4"/>
                    </a:lnTo>
                    <a:lnTo>
                      <a:pt x="0" y="8"/>
                    </a:lnTo>
                    <a:lnTo>
                      <a:pt x="4" y="10"/>
                    </a:lnTo>
                    <a:lnTo>
                      <a:pt x="8" y="10"/>
                    </a:lnTo>
                    <a:lnTo>
                      <a:pt x="10" y="8"/>
                    </a:lnTo>
                    <a:lnTo>
                      <a:pt x="12" y="6"/>
                    </a:lnTo>
                    <a:lnTo>
                      <a:pt x="18"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6" name="Freeform 5982"/>
              <p:cNvSpPr>
                <a:spLocks/>
              </p:cNvSpPr>
              <p:nvPr/>
            </p:nvSpPr>
            <p:spPr bwMode="auto">
              <a:xfrm>
                <a:off x="4507582" y="2202998"/>
                <a:ext cx="3319" cy="1659"/>
              </a:xfrm>
              <a:custGeom>
                <a:avLst/>
                <a:gdLst>
                  <a:gd name="T0" fmla="*/ 2147483647 w 6"/>
                  <a:gd name="T1" fmla="*/ 0 h 4"/>
                  <a:gd name="T2" fmla="*/ 2147483647 w 6"/>
                  <a:gd name="T3" fmla="*/ 0 h 4"/>
                  <a:gd name="T4" fmla="*/ 2147483647 w 6"/>
                  <a:gd name="T5" fmla="*/ 0 h 4"/>
                  <a:gd name="T6" fmla="*/ 2147483647 w 6"/>
                  <a:gd name="T7" fmla="*/ 0 h 4"/>
                  <a:gd name="T8" fmla="*/ 0 w 6"/>
                  <a:gd name="T9" fmla="*/ 2147483647 h 4"/>
                  <a:gd name="T10" fmla="*/ 0 w 6"/>
                  <a:gd name="T11" fmla="*/ 2147483647 h 4"/>
                  <a:gd name="T12" fmla="*/ 0 w 6"/>
                  <a:gd name="T13" fmla="*/ 2147483647 h 4"/>
                  <a:gd name="T14" fmla="*/ 2147483647 w 6"/>
                  <a:gd name="T15" fmla="*/ 2147483647 h 4"/>
                  <a:gd name="T16" fmla="*/ 2147483647 w 6"/>
                  <a:gd name="T17" fmla="*/ 2147483647 h 4"/>
                  <a:gd name="T18" fmla="*/ 2147483647 w 6"/>
                  <a:gd name="T19" fmla="*/ 0 h 4"/>
                  <a:gd name="T20" fmla="*/ 2147483647 w 6"/>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6" y="0"/>
                    </a:moveTo>
                    <a:lnTo>
                      <a:pt x="6" y="0"/>
                    </a:lnTo>
                    <a:lnTo>
                      <a:pt x="4" y="0"/>
                    </a:lnTo>
                    <a:lnTo>
                      <a:pt x="2" y="0"/>
                    </a:lnTo>
                    <a:lnTo>
                      <a:pt x="0" y="2"/>
                    </a:lnTo>
                    <a:lnTo>
                      <a:pt x="0" y="4"/>
                    </a:lnTo>
                    <a:lnTo>
                      <a:pt x="2" y="4"/>
                    </a:lnTo>
                    <a:lnTo>
                      <a:pt x="4" y="2"/>
                    </a:lnTo>
                    <a:lnTo>
                      <a:pt x="6"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7" name="Freeform 5983"/>
              <p:cNvSpPr>
                <a:spLocks/>
              </p:cNvSpPr>
              <p:nvPr/>
            </p:nvSpPr>
            <p:spPr bwMode="auto">
              <a:xfrm>
                <a:off x="4474396" y="2206316"/>
                <a:ext cx="1659" cy="3318"/>
              </a:xfrm>
              <a:custGeom>
                <a:avLst/>
                <a:gdLst>
                  <a:gd name="T0" fmla="*/ 0 w 8"/>
                  <a:gd name="T1" fmla="*/ 0 h 6"/>
                  <a:gd name="T2" fmla="*/ 0 w 8"/>
                  <a:gd name="T3" fmla="*/ 0 h 6"/>
                  <a:gd name="T4" fmla="*/ 0 w 8"/>
                  <a:gd name="T5" fmla="*/ 2147483647 h 6"/>
                  <a:gd name="T6" fmla="*/ 2147483647 w 8"/>
                  <a:gd name="T7" fmla="*/ 2147483647 h 6"/>
                  <a:gd name="T8" fmla="*/ 2147483647 w 8"/>
                  <a:gd name="T9" fmla="*/ 2147483647 h 6"/>
                  <a:gd name="T10" fmla="*/ 2147483647 w 8"/>
                  <a:gd name="T11" fmla="*/ 2147483647 h 6"/>
                  <a:gd name="T12" fmla="*/ 2147483647 w 8"/>
                  <a:gd name="T13" fmla="*/ 2147483647 h 6"/>
                  <a:gd name="T14" fmla="*/ 2147483647 w 8"/>
                  <a:gd name="T15" fmla="*/ 2147483647 h 6"/>
                  <a:gd name="T16" fmla="*/ 2147483647 w 8"/>
                  <a:gd name="T17" fmla="*/ 0 h 6"/>
                  <a:gd name="T18" fmla="*/ 2147483647 w 8"/>
                  <a:gd name="T19" fmla="*/ 0 h 6"/>
                  <a:gd name="T20" fmla="*/ 0 w 8"/>
                  <a:gd name="T21" fmla="*/ 0 h 6"/>
                  <a:gd name="T22" fmla="*/ 0 w 8"/>
                  <a:gd name="T23" fmla="*/ 0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6"/>
                  <a:gd name="T38" fmla="*/ 8 w 8"/>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6">
                    <a:moveTo>
                      <a:pt x="0" y="0"/>
                    </a:moveTo>
                    <a:lnTo>
                      <a:pt x="0" y="0"/>
                    </a:lnTo>
                    <a:lnTo>
                      <a:pt x="0" y="2"/>
                    </a:lnTo>
                    <a:lnTo>
                      <a:pt x="2" y="4"/>
                    </a:lnTo>
                    <a:lnTo>
                      <a:pt x="6" y="6"/>
                    </a:lnTo>
                    <a:lnTo>
                      <a:pt x="8" y="4"/>
                    </a:lnTo>
                    <a:lnTo>
                      <a:pt x="8" y="2"/>
                    </a:lnTo>
                    <a:lnTo>
                      <a:pt x="6" y="0"/>
                    </a:lnTo>
                    <a:lnTo>
                      <a:pt x="2" y="0"/>
                    </a:lnTo>
                    <a:lnTo>
                      <a:pt x="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8" name="Freeform 5984"/>
              <p:cNvSpPr>
                <a:spLocks/>
              </p:cNvSpPr>
              <p:nvPr/>
            </p:nvSpPr>
            <p:spPr bwMode="auto">
              <a:xfrm>
                <a:off x="4461122" y="2194704"/>
                <a:ext cx="18252" cy="11612"/>
              </a:xfrm>
              <a:custGeom>
                <a:avLst/>
                <a:gdLst>
                  <a:gd name="T0" fmla="*/ 2147483647 w 32"/>
                  <a:gd name="T1" fmla="*/ 2147483647 h 22"/>
                  <a:gd name="T2" fmla="*/ 2147483647 w 32"/>
                  <a:gd name="T3" fmla="*/ 2147483647 h 22"/>
                  <a:gd name="T4" fmla="*/ 2147483647 w 32"/>
                  <a:gd name="T5" fmla="*/ 2147483647 h 22"/>
                  <a:gd name="T6" fmla="*/ 0 w 32"/>
                  <a:gd name="T7" fmla="*/ 2147483647 h 22"/>
                  <a:gd name="T8" fmla="*/ 0 w 32"/>
                  <a:gd name="T9" fmla="*/ 2147483647 h 22"/>
                  <a:gd name="T10" fmla="*/ 0 w 32"/>
                  <a:gd name="T11" fmla="*/ 2147483647 h 22"/>
                  <a:gd name="T12" fmla="*/ 0 w 32"/>
                  <a:gd name="T13" fmla="*/ 2147483647 h 22"/>
                  <a:gd name="T14" fmla="*/ 0 w 32"/>
                  <a:gd name="T15" fmla="*/ 2147483647 h 22"/>
                  <a:gd name="T16" fmla="*/ 2147483647 w 32"/>
                  <a:gd name="T17" fmla="*/ 2147483647 h 22"/>
                  <a:gd name="T18" fmla="*/ 2147483647 w 32"/>
                  <a:gd name="T19" fmla="*/ 2147483647 h 22"/>
                  <a:gd name="T20" fmla="*/ 2147483647 w 32"/>
                  <a:gd name="T21" fmla="*/ 2147483647 h 22"/>
                  <a:gd name="T22" fmla="*/ 2147483647 w 32"/>
                  <a:gd name="T23" fmla="*/ 2147483647 h 22"/>
                  <a:gd name="T24" fmla="*/ 2147483647 w 32"/>
                  <a:gd name="T25" fmla="*/ 2147483647 h 22"/>
                  <a:gd name="T26" fmla="*/ 2147483647 w 32"/>
                  <a:gd name="T27" fmla="*/ 2147483647 h 22"/>
                  <a:gd name="T28" fmla="*/ 2147483647 w 32"/>
                  <a:gd name="T29" fmla="*/ 2147483647 h 22"/>
                  <a:gd name="T30" fmla="*/ 2147483647 w 32"/>
                  <a:gd name="T31" fmla="*/ 2147483647 h 22"/>
                  <a:gd name="T32" fmla="*/ 2147483647 w 32"/>
                  <a:gd name="T33" fmla="*/ 2147483647 h 22"/>
                  <a:gd name="T34" fmla="*/ 2147483647 w 32"/>
                  <a:gd name="T35" fmla="*/ 2147483647 h 22"/>
                  <a:gd name="T36" fmla="*/ 2147483647 w 32"/>
                  <a:gd name="T37" fmla="*/ 2147483647 h 22"/>
                  <a:gd name="T38" fmla="*/ 2147483647 w 32"/>
                  <a:gd name="T39" fmla="*/ 2147483647 h 22"/>
                  <a:gd name="T40" fmla="*/ 2147483647 w 32"/>
                  <a:gd name="T41" fmla="*/ 2147483647 h 22"/>
                  <a:gd name="T42" fmla="*/ 2147483647 w 32"/>
                  <a:gd name="T43" fmla="*/ 2147483647 h 22"/>
                  <a:gd name="T44" fmla="*/ 2147483647 w 32"/>
                  <a:gd name="T45" fmla="*/ 2147483647 h 22"/>
                  <a:gd name="T46" fmla="*/ 2147483647 w 32"/>
                  <a:gd name="T47" fmla="*/ 2147483647 h 22"/>
                  <a:gd name="T48" fmla="*/ 2147483647 w 32"/>
                  <a:gd name="T49" fmla="*/ 2147483647 h 22"/>
                  <a:gd name="T50" fmla="*/ 2147483647 w 32"/>
                  <a:gd name="T51" fmla="*/ 2147483647 h 22"/>
                  <a:gd name="T52" fmla="*/ 2147483647 w 32"/>
                  <a:gd name="T53" fmla="*/ 2147483647 h 22"/>
                  <a:gd name="T54" fmla="*/ 2147483647 w 32"/>
                  <a:gd name="T55" fmla="*/ 2147483647 h 22"/>
                  <a:gd name="T56" fmla="*/ 2147483647 w 32"/>
                  <a:gd name="T57" fmla="*/ 2147483647 h 22"/>
                  <a:gd name="T58" fmla="*/ 2147483647 w 32"/>
                  <a:gd name="T59" fmla="*/ 2147483647 h 22"/>
                  <a:gd name="T60" fmla="*/ 2147483647 w 32"/>
                  <a:gd name="T61" fmla="*/ 2147483647 h 22"/>
                  <a:gd name="T62" fmla="*/ 2147483647 w 32"/>
                  <a:gd name="T63" fmla="*/ 0 h 22"/>
                  <a:gd name="T64" fmla="*/ 2147483647 w 32"/>
                  <a:gd name="T65" fmla="*/ 2147483647 h 22"/>
                  <a:gd name="T66" fmla="*/ 2147483647 w 32"/>
                  <a:gd name="T67" fmla="*/ 2147483647 h 22"/>
                  <a:gd name="T68" fmla="*/ 2147483647 w 32"/>
                  <a:gd name="T69" fmla="*/ 2147483647 h 22"/>
                  <a:gd name="T70" fmla="*/ 2147483647 w 32"/>
                  <a:gd name="T71" fmla="*/ 2147483647 h 22"/>
                  <a:gd name="T72" fmla="*/ 2147483647 w 32"/>
                  <a:gd name="T73" fmla="*/ 2147483647 h 22"/>
                  <a:gd name="T74" fmla="*/ 2147483647 w 32"/>
                  <a:gd name="T75" fmla="*/ 2147483647 h 22"/>
                  <a:gd name="T76" fmla="*/ 2147483647 w 32"/>
                  <a:gd name="T77" fmla="*/ 2147483647 h 22"/>
                  <a:gd name="T78" fmla="*/ 2147483647 w 32"/>
                  <a:gd name="T79" fmla="*/ 2147483647 h 22"/>
                  <a:gd name="T80" fmla="*/ 2147483647 w 32"/>
                  <a:gd name="T81" fmla="*/ 2147483647 h 22"/>
                  <a:gd name="T82" fmla="*/ 2147483647 w 32"/>
                  <a:gd name="T83" fmla="*/ 2147483647 h 2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2"/>
                  <a:gd name="T127" fmla="*/ 0 h 22"/>
                  <a:gd name="T128" fmla="*/ 32 w 32"/>
                  <a:gd name="T129" fmla="*/ 22 h 2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2" h="22">
                    <a:moveTo>
                      <a:pt x="8" y="8"/>
                    </a:moveTo>
                    <a:lnTo>
                      <a:pt x="8" y="8"/>
                    </a:lnTo>
                    <a:lnTo>
                      <a:pt x="4" y="10"/>
                    </a:lnTo>
                    <a:lnTo>
                      <a:pt x="0" y="12"/>
                    </a:lnTo>
                    <a:lnTo>
                      <a:pt x="0" y="16"/>
                    </a:lnTo>
                    <a:lnTo>
                      <a:pt x="0" y="18"/>
                    </a:lnTo>
                    <a:lnTo>
                      <a:pt x="4" y="16"/>
                    </a:lnTo>
                    <a:lnTo>
                      <a:pt x="8" y="18"/>
                    </a:lnTo>
                    <a:lnTo>
                      <a:pt x="8" y="20"/>
                    </a:lnTo>
                    <a:lnTo>
                      <a:pt x="12" y="22"/>
                    </a:lnTo>
                    <a:lnTo>
                      <a:pt x="16" y="22"/>
                    </a:lnTo>
                    <a:lnTo>
                      <a:pt x="18" y="22"/>
                    </a:lnTo>
                    <a:lnTo>
                      <a:pt x="20" y="20"/>
                    </a:lnTo>
                    <a:lnTo>
                      <a:pt x="20" y="18"/>
                    </a:lnTo>
                    <a:lnTo>
                      <a:pt x="20" y="16"/>
                    </a:lnTo>
                    <a:lnTo>
                      <a:pt x="20" y="14"/>
                    </a:lnTo>
                    <a:lnTo>
                      <a:pt x="22" y="14"/>
                    </a:lnTo>
                    <a:lnTo>
                      <a:pt x="24" y="14"/>
                    </a:lnTo>
                    <a:lnTo>
                      <a:pt x="26" y="14"/>
                    </a:lnTo>
                    <a:lnTo>
                      <a:pt x="30" y="12"/>
                    </a:lnTo>
                    <a:lnTo>
                      <a:pt x="32" y="8"/>
                    </a:lnTo>
                    <a:lnTo>
                      <a:pt x="30" y="6"/>
                    </a:lnTo>
                    <a:lnTo>
                      <a:pt x="16" y="2"/>
                    </a:lnTo>
                    <a:lnTo>
                      <a:pt x="10" y="0"/>
                    </a:lnTo>
                    <a:lnTo>
                      <a:pt x="10" y="2"/>
                    </a:lnTo>
                    <a:lnTo>
                      <a:pt x="14" y="6"/>
                    </a:lnTo>
                    <a:lnTo>
                      <a:pt x="14" y="8"/>
                    </a:lnTo>
                    <a:lnTo>
                      <a:pt x="14" y="10"/>
                    </a:lnTo>
                    <a:lnTo>
                      <a:pt x="12" y="12"/>
                    </a:lnTo>
                    <a:lnTo>
                      <a:pt x="10" y="10"/>
                    </a:lnTo>
                    <a:lnTo>
                      <a:pt x="10" y="8"/>
                    </a:lnTo>
                    <a:lnTo>
                      <a:pt x="8"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9" name="Freeform 5985"/>
              <p:cNvSpPr>
                <a:spLocks/>
              </p:cNvSpPr>
              <p:nvPr/>
            </p:nvSpPr>
            <p:spPr bwMode="auto">
              <a:xfrm>
                <a:off x="4519196" y="2196362"/>
                <a:ext cx="6637" cy="1659"/>
              </a:xfrm>
              <a:custGeom>
                <a:avLst/>
                <a:gdLst>
                  <a:gd name="T0" fmla="*/ 2147483647 w 10"/>
                  <a:gd name="T1" fmla="*/ 2147483647 h 4"/>
                  <a:gd name="T2" fmla="*/ 2147483647 w 10"/>
                  <a:gd name="T3" fmla="*/ 2147483647 h 4"/>
                  <a:gd name="T4" fmla="*/ 2147483647 w 10"/>
                  <a:gd name="T5" fmla="*/ 0 h 4"/>
                  <a:gd name="T6" fmla="*/ 2147483647 w 10"/>
                  <a:gd name="T7" fmla="*/ 0 h 4"/>
                  <a:gd name="T8" fmla="*/ 2147483647 w 10"/>
                  <a:gd name="T9" fmla="*/ 0 h 4"/>
                  <a:gd name="T10" fmla="*/ 0 w 10"/>
                  <a:gd name="T11" fmla="*/ 2147483647 h 4"/>
                  <a:gd name="T12" fmla="*/ 0 w 10"/>
                  <a:gd name="T13" fmla="*/ 2147483647 h 4"/>
                  <a:gd name="T14" fmla="*/ 2147483647 w 10"/>
                  <a:gd name="T15" fmla="*/ 2147483647 h 4"/>
                  <a:gd name="T16" fmla="*/ 2147483647 w 10"/>
                  <a:gd name="T17" fmla="*/ 2147483647 h 4"/>
                  <a:gd name="T18" fmla="*/ 2147483647 w 10"/>
                  <a:gd name="T19" fmla="*/ 2147483647 h 4"/>
                  <a:gd name="T20" fmla="*/ 2147483647 w 10"/>
                  <a:gd name="T21" fmla="*/ 2147483647 h 4"/>
                  <a:gd name="T22" fmla="*/ 2147483647 w 10"/>
                  <a:gd name="T23" fmla="*/ 2147483647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4"/>
                  <a:gd name="T38" fmla="*/ 10 w 10"/>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4">
                    <a:moveTo>
                      <a:pt x="10" y="2"/>
                    </a:moveTo>
                    <a:lnTo>
                      <a:pt x="10" y="2"/>
                    </a:lnTo>
                    <a:lnTo>
                      <a:pt x="10" y="0"/>
                    </a:lnTo>
                    <a:lnTo>
                      <a:pt x="6" y="0"/>
                    </a:lnTo>
                    <a:lnTo>
                      <a:pt x="2" y="0"/>
                    </a:lnTo>
                    <a:lnTo>
                      <a:pt x="0" y="2"/>
                    </a:lnTo>
                    <a:lnTo>
                      <a:pt x="2" y="4"/>
                    </a:lnTo>
                    <a:lnTo>
                      <a:pt x="6" y="4"/>
                    </a:lnTo>
                    <a:lnTo>
                      <a:pt x="8" y="4"/>
                    </a:lnTo>
                    <a:lnTo>
                      <a:pt x="1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0" name="Freeform 5986"/>
              <p:cNvSpPr>
                <a:spLocks/>
              </p:cNvSpPr>
              <p:nvPr/>
            </p:nvSpPr>
            <p:spPr bwMode="auto">
              <a:xfrm>
                <a:off x="4517537" y="2201339"/>
                <a:ext cx="1659" cy="1658"/>
              </a:xfrm>
              <a:custGeom>
                <a:avLst/>
                <a:gdLst>
                  <a:gd name="T0" fmla="*/ 0 w 4"/>
                  <a:gd name="T1" fmla="*/ 2147483647 h 4"/>
                  <a:gd name="T2" fmla="*/ 0 w 4"/>
                  <a:gd name="T3" fmla="*/ 2147483647 h 4"/>
                  <a:gd name="T4" fmla="*/ 0 w 4"/>
                  <a:gd name="T5" fmla="*/ 2147483647 h 4"/>
                  <a:gd name="T6" fmla="*/ 2147483647 w 4"/>
                  <a:gd name="T7" fmla="*/ 2147483647 h 4"/>
                  <a:gd name="T8" fmla="*/ 2147483647 w 4"/>
                  <a:gd name="T9" fmla="*/ 2147483647 h 4"/>
                  <a:gd name="T10" fmla="*/ 2147483647 w 4"/>
                  <a:gd name="T11" fmla="*/ 0 h 4"/>
                  <a:gd name="T12" fmla="*/ 2147483647 w 4"/>
                  <a:gd name="T13" fmla="*/ 0 h 4"/>
                  <a:gd name="T14" fmla="*/ 2147483647 w 4"/>
                  <a:gd name="T15" fmla="*/ 0 h 4"/>
                  <a:gd name="T16" fmla="*/ 0 w 4"/>
                  <a:gd name="T17" fmla="*/ 0 h 4"/>
                  <a:gd name="T18" fmla="*/ 0 w 4"/>
                  <a:gd name="T19" fmla="*/ 2147483647 h 4"/>
                  <a:gd name="T20" fmla="*/ 0 w 4"/>
                  <a:gd name="T21" fmla="*/ 2147483647 h 4"/>
                  <a:gd name="T22" fmla="*/ 0 w 4"/>
                  <a:gd name="T23" fmla="*/ 2147483647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4"/>
                  <a:gd name="T38" fmla="*/ 4 w 4"/>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4">
                    <a:moveTo>
                      <a:pt x="0" y="4"/>
                    </a:moveTo>
                    <a:lnTo>
                      <a:pt x="0" y="4"/>
                    </a:lnTo>
                    <a:lnTo>
                      <a:pt x="2" y="4"/>
                    </a:lnTo>
                    <a:lnTo>
                      <a:pt x="4" y="2"/>
                    </a:lnTo>
                    <a:lnTo>
                      <a:pt x="4" y="0"/>
                    </a:lnTo>
                    <a:lnTo>
                      <a:pt x="2" y="0"/>
                    </a:lnTo>
                    <a:lnTo>
                      <a:pt x="0" y="0"/>
                    </a:lnTo>
                    <a:lnTo>
                      <a:pt x="0" y="2"/>
                    </a:lnTo>
                    <a:lnTo>
                      <a:pt x="0"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1" name="Freeform 5987"/>
              <p:cNvSpPr>
                <a:spLocks/>
              </p:cNvSpPr>
              <p:nvPr/>
            </p:nvSpPr>
            <p:spPr bwMode="auto">
              <a:xfrm>
                <a:off x="4341654" y="3014226"/>
                <a:ext cx="3319" cy="6636"/>
              </a:xfrm>
              <a:custGeom>
                <a:avLst/>
                <a:gdLst>
                  <a:gd name="T0" fmla="*/ 0 w 8"/>
                  <a:gd name="T1" fmla="*/ 0 h 10"/>
                  <a:gd name="T2" fmla="*/ 0 w 8"/>
                  <a:gd name="T3" fmla="*/ 0 h 10"/>
                  <a:gd name="T4" fmla="*/ 0 w 8"/>
                  <a:gd name="T5" fmla="*/ 2147483647 h 10"/>
                  <a:gd name="T6" fmla="*/ 0 w 8"/>
                  <a:gd name="T7" fmla="*/ 2147483647 h 10"/>
                  <a:gd name="T8" fmla="*/ 2147483647 w 8"/>
                  <a:gd name="T9" fmla="*/ 2147483647 h 10"/>
                  <a:gd name="T10" fmla="*/ 2147483647 w 8"/>
                  <a:gd name="T11" fmla="*/ 2147483647 h 10"/>
                  <a:gd name="T12" fmla="*/ 2147483647 w 8"/>
                  <a:gd name="T13" fmla="*/ 2147483647 h 10"/>
                  <a:gd name="T14" fmla="*/ 2147483647 w 8"/>
                  <a:gd name="T15" fmla="*/ 2147483647 h 10"/>
                  <a:gd name="T16" fmla="*/ 2147483647 w 8"/>
                  <a:gd name="T17" fmla="*/ 2147483647 h 10"/>
                  <a:gd name="T18" fmla="*/ 2147483647 w 8"/>
                  <a:gd name="T19" fmla="*/ 0 h 10"/>
                  <a:gd name="T20" fmla="*/ 0 w 8"/>
                  <a:gd name="T21" fmla="*/ 0 h 10"/>
                  <a:gd name="T22" fmla="*/ 0 w 8"/>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0"/>
                  <a:gd name="T38" fmla="*/ 8 w 8"/>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0">
                    <a:moveTo>
                      <a:pt x="0" y="0"/>
                    </a:moveTo>
                    <a:lnTo>
                      <a:pt x="0" y="0"/>
                    </a:lnTo>
                    <a:lnTo>
                      <a:pt x="0" y="4"/>
                    </a:lnTo>
                    <a:lnTo>
                      <a:pt x="0" y="8"/>
                    </a:lnTo>
                    <a:lnTo>
                      <a:pt x="4" y="10"/>
                    </a:lnTo>
                    <a:lnTo>
                      <a:pt x="8" y="10"/>
                    </a:lnTo>
                    <a:lnTo>
                      <a:pt x="8" y="8"/>
                    </a:lnTo>
                    <a:lnTo>
                      <a:pt x="6" y="4"/>
                    </a:lnTo>
                    <a:lnTo>
                      <a:pt x="4" y="0"/>
                    </a:lnTo>
                    <a:lnTo>
                      <a:pt x="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2" name="Freeform 5988"/>
              <p:cNvSpPr>
                <a:spLocks/>
              </p:cNvSpPr>
              <p:nvPr/>
            </p:nvSpPr>
            <p:spPr bwMode="auto">
              <a:xfrm>
                <a:off x="4914105" y="4210330"/>
                <a:ext cx="9956" cy="19907"/>
              </a:xfrm>
              <a:custGeom>
                <a:avLst/>
                <a:gdLst>
                  <a:gd name="T0" fmla="*/ 2147483647 w 16"/>
                  <a:gd name="T1" fmla="*/ 2147483647 h 36"/>
                  <a:gd name="T2" fmla="*/ 2147483647 w 16"/>
                  <a:gd name="T3" fmla="*/ 2147483647 h 36"/>
                  <a:gd name="T4" fmla="*/ 0 w 16"/>
                  <a:gd name="T5" fmla="*/ 2147483647 h 36"/>
                  <a:gd name="T6" fmla="*/ 0 w 16"/>
                  <a:gd name="T7" fmla="*/ 2147483647 h 36"/>
                  <a:gd name="T8" fmla="*/ 2147483647 w 16"/>
                  <a:gd name="T9" fmla="*/ 2147483647 h 36"/>
                  <a:gd name="T10" fmla="*/ 2147483647 w 16"/>
                  <a:gd name="T11" fmla="*/ 2147483647 h 36"/>
                  <a:gd name="T12" fmla="*/ 2147483647 w 16"/>
                  <a:gd name="T13" fmla="*/ 2147483647 h 36"/>
                  <a:gd name="T14" fmla="*/ 2147483647 w 16"/>
                  <a:gd name="T15" fmla="*/ 2147483647 h 36"/>
                  <a:gd name="T16" fmla="*/ 2147483647 w 16"/>
                  <a:gd name="T17" fmla="*/ 2147483647 h 36"/>
                  <a:gd name="T18" fmla="*/ 2147483647 w 16"/>
                  <a:gd name="T19" fmla="*/ 2147483647 h 36"/>
                  <a:gd name="T20" fmla="*/ 2147483647 w 16"/>
                  <a:gd name="T21" fmla="*/ 2147483647 h 36"/>
                  <a:gd name="T22" fmla="*/ 2147483647 w 16"/>
                  <a:gd name="T23" fmla="*/ 2147483647 h 36"/>
                  <a:gd name="T24" fmla="*/ 2147483647 w 16"/>
                  <a:gd name="T25" fmla="*/ 2147483647 h 36"/>
                  <a:gd name="T26" fmla="*/ 2147483647 w 16"/>
                  <a:gd name="T27" fmla="*/ 2147483647 h 36"/>
                  <a:gd name="T28" fmla="*/ 2147483647 w 16"/>
                  <a:gd name="T29" fmla="*/ 2147483647 h 36"/>
                  <a:gd name="T30" fmla="*/ 2147483647 w 16"/>
                  <a:gd name="T31" fmla="*/ 2147483647 h 36"/>
                  <a:gd name="T32" fmla="*/ 2147483647 w 16"/>
                  <a:gd name="T33" fmla="*/ 2147483647 h 36"/>
                  <a:gd name="T34" fmla="*/ 2147483647 w 16"/>
                  <a:gd name="T35" fmla="*/ 0 h 36"/>
                  <a:gd name="T36" fmla="*/ 2147483647 w 16"/>
                  <a:gd name="T37" fmla="*/ 0 h 36"/>
                  <a:gd name="T38" fmla="*/ 2147483647 w 16"/>
                  <a:gd name="T39" fmla="*/ 2147483647 h 36"/>
                  <a:gd name="T40" fmla="*/ 2147483647 w 16"/>
                  <a:gd name="T41" fmla="*/ 2147483647 h 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36"/>
                  <a:gd name="T65" fmla="*/ 16 w 16"/>
                  <a:gd name="T66" fmla="*/ 36 h 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36">
                    <a:moveTo>
                      <a:pt x="2" y="6"/>
                    </a:moveTo>
                    <a:lnTo>
                      <a:pt x="2" y="6"/>
                    </a:lnTo>
                    <a:lnTo>
                      <a:pt x="0" y="12"/>
                    </a:lnTo>
                    <a:lnTo>
                      <a:pt x="0" y="18"/>
                    </a:lnTo>
                    <a:lnTo>
                      <a:pt x="4" y="24"/>
                    </a:lnTo>
                    <a:lnTo>
                      <a:pt x="8" y="30"/>
                    </a:lnTo>
                    <a:lnTo>
                      <a:pt x="12" y="36"/>
                    </a:lnTo>
                    <a:lnTo>
                      <a:pt x="16" y="36"/>
                    </a:lnTo>
                    <a:lnTo>
                      <a:pt x="16" y="32"/>
                    </a:lnTo>
                    <a:lnTo>
                      <a:pt x="14" y="26"/>
                    </a:lnTo>
                    <a:lnTo>
                      <a:pt x="14" y="20"/>
                    </a:lnTo>
                    <a:lnTo>
                      <a:pt x="12" y="18"/>
                    </a:lnTo>
                    <a:lnTo>
                      <a:pt x="10" y="14"/>
                    </a:lnTo>
                    <a:lnTo>
                      <a:pt x="8" y="8"/>
                    </a:lnTo>
                    <a:lnTo>
                      <a:pt x="6" y="0"/>
                    </a:lnTo>
                    <a:lnTo>
                      <a:pt x="4" y="0"/>
                    </a:lnTo>
                    <a:lnTo>
                      <a:pt x="2"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3" name="Freeform 5989"/>
              <p:cNvSpPr>
                <a:spLocks/>
              </p:cNvSpPr>
              <p:nvPr/>
            </p:nvSpPr>
            <p:spPr bwMode="auto">
              <a:xfrm>
                <a:off x="4925720" y="4185446"/>
                <a:ext cx="6637" cy="16590"/>
              </a:xfrm>
              <a:custGeom>
                <a:avLst/>
                <a:gdLst>
                  <a:gd name="T0" fmla="*/ 2147483647 w 10"/>
                  <a:gd name="T1" fmla="*/ 2147483647 h 28"/>
                  <a:gd name="T2" fmla="*/ 2147483647 w 10"/>
                  <a:gd name="T3" fmla="*/ 2147483647 h 28"/>
                  <a:gd name="T4" fmla="*/ 2147483647 w 10"/>
                  <a:gd name="T5" fmla="*/ 2147483647 h 28"/>
                  <a:gd name="T6" fmla="*/ 2147483647 w 10"/>
                  <a:gd name="T7" fmla="*/ 2147483647 h 28"/>
                  <a:gd name="T8" fmla="*/ 2147483647 w 10"/>
                  <a:gd name="T9" fmla="*/ 2147483647 h 28"/>
                  <a:gd name="T10" fmla="*/ 2147483647 w 10"/>
                  <a:gd name="T11" fmla="*/ 2147483647 h 28"/>
                  <a:gd name="T12" fmla="*/ 2147483647 w 10"/>
                  <a:gd name="T13" fmla="*/ 2147483647 h 28"/>
                  <a:gd name="T14" fmla="*/ 2147483647 w 10"/>
                  <a:gd name="T15" fmla="*/ 2147483647 h 28"/>
                  <a:gd name="T16" fmla="*/ 2147483647 w 10"/>
                  <a:gd name="T17" fmla="*/ 2147483647 h 28"/>
                  <a:gd name="T18" fmla="*/ 2147483647 w 10"/>
                  <a:gd name="T19" fmla="*/ 2147483647 h 28"/>
                  <a:gd name="T20" fmla="*/ 2147483647 w 10"/>
                  <a:gd name="T21" fmla="*/ 0 h 28"/>
                  <a:gd name="T22" fmla="*/ 2147483647 w 10"/>
                  <a:gd name="T23" fmla="*/ 2147483647 h 28"/>
                  <a:gd name="T24" fmla="*/ 2147483647 w 10"/>
                  <a:gd name="T25" fmla="*/ 2147483647 h 28"/>
                  <a:gd name="T26" fmla="*/ 2147483647 w 10"/>
                  <a:gd name="T27" fmla="*/ 2147483647 h 28"/>
                  <a:gd name="T28" fmla="*/ 2147483647 w 10"/>
                  <a:gd name="T29" fmla="*/ 2147483647 h 28"/>
                  <a:gd name="T30" fmla="*/ 2147483647 w 10"/>
                  <a:gd name="T31" fmla="*/ 2147483647 h 28"/>
                  <a:gd name="T32" fmla="*/ 0 w 10"/>
                  <a:gd name="T33" fmla="*/ 2147483647 h 28"/>
                  <a:gd name="T34" fmla="*/ 2147483647 w 10"/>
                  <a:gd name="T35" fmla="*/ 2147483647 h 28"/>
                  <a:gd name="T36" fmla="*/ 2147483647 w 10"/>
                  <a:gd name="T37" fmla="*/ 2147483647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
                  <a:gd name="T58" fmla="*/ 0 h 28"/>
                  <a:gd name="T59" fmla="*/ 10 w 10"/>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 h="28">
                    <a:moveTo>
                      <a:pt x="2" y="28"/>
                    </a:moveTo>
                    <a:lnTo>
                      <a:pt x="2" y="28"/>
                    </a:lnTo>
                    <a:lnTo>
                      <a:pt x="4" y="28"/>
                    </a:lnTo>
                    <a:lnTo>
                      <a:pt x="6" y="26"/>
                    </a:lnTo>
                    <a:lnTo>
                      <a:pt x="8" y="16"/>
                    </a:lnTo>
                    <a:lnTo>
                      <a:pt x="10" y="6"/>
                    </a:lnTo>
                    <a:lnTo>
                      <a:pt x="8" y="4"/>
                    </a:lnTo>
                    <a:lnTo>
                      <a:pt x="6" y="2"/>
                    </a:lnTo>
                    <a:lnTo>
                      <a:pt x="2" y="0"/>
                    </a:lnTo>
                    <a:lnTo>
                      <a:pt x="2" y="2"/>
                    </a:lnTo>
                    <a:lnTo>
                      <a:pt x="2" y="12"/>
                    </a:lnTo>
                    <a:lnTo>
                      <a:pt x="2" y="18"/>
                    </a:lnTo>
                    <a:lnTo>
                      <a:pt x="2" y="22"/>
                    </a:lnTo>
                    <a:lnTo>
                      <a:pt x="0" y="24"/>
                    </a:lnTo>
                    <a:lnTo>
                      <a:pt x="2" y="2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4" name="Freeform 5990"/>
              <p:cNvSpPr>
                <a:spLocks/>
              </p:cNvSpPr>
              <p:nvPr/>
            </p:nvSpPr>
            <p:spPr bwMode="auto">
              <a:xfrm>
                <a:off x="4925720" y="4263416"/>
                <a:ext cx="6637" cy="9954"/>
              </a:xfrm>
              <a:custGeom>
                <a:avLst/>
                <a:gdLst>
                  <a:gd name="T0" fmla="*/ 2147483647 w 12"/>
                  <a:gd name="T1" fmla="*/ 2147483647 h 18"/>
                  <a:gd name="T2" fmla="*/ 2147483647 w 12"/>
                  <a:gd name="T3" fmla="*/ 2147483647 h 18"/>
                  <a:gd name="T4" fmla="*/ 2147483647 w 12"/>
                  <a:gd name="T5" fmla="*/ 2147483647 h 18"/>
                  <a:gd name="T6" fmla="*/ 2147483647 w 12"/>
                  <a:gd name="T7" fmla="*/ 2147483647 h 18"/>
                  <a:gd name="T8" fmla="*/ 2147483647 w 12"/>
                  <a:gd name="T9" fmla="*/ 2147483647 h 18"/>
                  <a:gd name="T10" fmla="*/ 2147483647 w 12"/>
                  <a:gd name="T11" fmla="*/ 2147483647 h 18"/>
                  <a:gd name="T12" fmla="*/ 2147483647 w 12"/>
                  <a:gd name="T13" fmla="*/ 0 h 18"/>
                  <a:gd name="T14" fmla="*/ 2147483647 w 12"/>
                  <a:gd name="T15" fmla="*/ 2147483647 h 18"/>
                  <a:gd name="T16" fmla="*/ 2147483647 w 12"/>
                  <a:gd name="T17" fmla="*/ 2147483647 h 18"/>
                  <a:gd name="T18" fmla="*/ 0 w 12"/>
                  <a:gd name="T19" fmla="*/ 2147483647 h 18"/>
                  <a:gd name="T20" fmla="*/ 0 w 12"/>
                  <a:gd name="T21" fmla="*/ 2147483647 h 18"/>
                  <a:gd name="T22" fmla="*/ 2147483647 w 12"/>
                  <a:gd name="T23" fmla="*/ 2147483647 h 18"/>
                  <a:gd name="T24" fmla="*/ 2147483647 w 12"/>
                  <a:gd name="T25" fmla="*/ 2147483647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18"/>
                  <a:gd name="T41" fmla="*/ 12 w 12"/>
                  <a:gd name="T42" fmla="*/ 18 h 1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18">
                    <a:moveTo>
                      <a:pt x="4" y="18"/>
                    </a:moveTo>
                    <a:lnTo>
                      <a:pt x="4" y="18"/>
                    </a:lnTo>
                    <a:lnTo>
                      <a:pt x="6" y="16"/>
                    </a:lnTo>
                    <a:lnTo>
                      <a:pt x="10" y="12"/>
                    </a:lnTo>
                    <a:lnTo>
                      <a:pt x="12" y="2"/>
                    </a:lnTo>
                    <a:lnTo>
                      <a:pt x="12" y="0"/>
                    </a:lnTo>
                    <a:lnTo>
                      <a:pt x="10" y="2"/>
                    </a:lnTo>
                    <a:lnTo>
                      <a:pt x="4" y="8"/>
                    </a:lnTo>
                    <a:lnTo>
                      <a:pt x="0" y="14"/>
                    </a:lnTo>
                    <a:lnTo>
                      <a:pt x="0" y="18"/>
                    </a:lnTo>
                    <a:lnTo>
                      <a:pt x="4" y="1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5" name="Freeform 5991"/>
              <p:cNvSpPr>
                <a:spLocks/>
              </p:cNvSpPr>
              <p:nvPr/>
            </p:nvSpPr>
            <p:spPr bwMode="auto">
              <a:xfrm>
                <a:off x="4572293" y="2969434"/>
                <a:ext cx="3319" cy="4977"/>
              </a:xfrm>
              <a:custGeom>
                <a:avLst/>
                <a:gdLst>
                  <a:gd name="T0" fmla="*/ 2147483647 w 4"/>
                  <a:gd name="T1" fmla="*/ 2147483647 h 8"/>
                  <a:gd name="T2" fmla="*/ 2147483647 w 4"/>
                  <a:gd name="T3" fmla="*/ 2147483647 h 8"/>
                  <a:gd name="T4" fmla="*/ 2147483647 w 4"/>
                  <a:gd name="T5" fmla="*/ 2147483647 h 8"/>
                  <a:gd name="T6" fmla="*/ 2147483647 w 4"/>
                  <a:gd name="T7" fmla="*/ 0 h 8"/>
                  <a:gd name="T8" fmla="*/ 2147483647 w 4"/>
                  <a:gd name="T9" fmla="*/ 0 h 8"/>
                  <a:gd name="T10" fmla="*/ 2147483647 w 4"/>
                  <a:gd name="T11" fmla="*/ 0 h 8"/>
                  <a:gd name="T12" fmla="*/ 2147483647 w 4"/>
                  <a:gd name="T13" fmla="*/ 0 h 8"/>
                  <a:gd name="T14" fmla="*/ 0 w 4"/>
                  <a:gd name="T15" fmla="*/ 2147483647 h 8"/>
                  <a:gd name="T16" fmla="*/ 0 w 4"/>
                  <a:gd name="T17" fmla="*/ 2147483647 h 8"/>
                  <a:gd name="T18" fmla="*/ 0 w 4"/>
                  <a:gd name="T19" fmla="*/ 2147483647 h 8"/>
                  <a:gd name="T20" fmla="*/ 2147483647 w 4"/>
                  <a:gd name="T21" fmla="*/ 2147483647 h 8"/>
                  <a:gd name="T22" fmla="*/ 2147483647 w 4"/>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8"/>
                  <a:gd name="T38" fmla="*/ 4 w 4"/>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8">
                    <a:moveTo>
                      <a:pt x="2" y="8"/>
                    </a:moveTo>
                    <a:lnTo>
                      <a:pt x="2" y="8"/>
                    </a:lnTo>
                    <a:lnTo>
                      <a:pt x="4" y="6"/>
                    </a:lnTo>
                    <a:lnTo>
                      <a:pt x="4" y="0"/>
                    </a:lnTo>
                    <a:lnTo>
                      <a:pt x="2" y="0"/>
                    </a:lnTo>
                    <a:lnTo>
                      <a:pt x="0" y="2"/>
                    </a:lnTo>
                    <a:lnTo>
                      <a:pt x="0" y="6"/>
                    </a:lnTo>
                    <a:lnTo>
                      <a:pt x="0" y="8"/>
                    </a:lnTo>
                    <a:lnTo>
                      <a:pt x="2"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6" name="Freeform 5992"/>
              <p:cNvSpPr>
                <a:spLocks/>
              </p:cNvSpPr>
              <p:nvPr/>
            </p:nvSpPr>
            <p:spPr bwMode="auto">
              <a:xfrm>
                <a:off x="4577271" y="2921325"/>
                <a:ext cx="3319" cy="8294"/>
              </a:xfrm>
              <a:custGeom>
                <a:avLst/>
                <a:gdLst>
                  <a:gd name="T0" fmla="*/ 0 w 8"/>
                  <a:gd name="T1" fmla="*/ 0 h 12"/>
                  <a:gd name="T2" fmla="*/ 0 w 8"/>
                  <a:gd name="T3" fmla="*/ 0 h 12"/>
                  <a:gd name="T4" fmla="*/ 0 w 8"/>
                  <a:gd name="T5" fmla="*/ 2147483647 h 12"/>
                  <a:gd name="T6" fmla="*/ 2147483647 w 8"/>
                  <a:gd name="T7" fmla="*/ 2147483647 h 12"/>
                  <a:gd name="T8" fmla="*/ 2147483647 w 8"/>
                  <a:gd name="T9" fmla="*/ 2147483647 h 12"/>
                  <a:gd name="T10" fmla="*/ 2147483647 w 8"/>
                  <a:gd name="T11" fmla="*/ 2147483647 h 12"/>
                  <a:gd name="T12" fmla="*/ 2147483647 w 8"/>
                  <a:gd name="T13" fmla="*/ 2147483647 h 12"/>
                  <a:gd name="T14" fmla="*/ 2147483647 w 8"/>
                  <a:gd name="T15" fmla="*/ 2147483647 h 12"/>
                  <a:gd name="T16" fmla="*/ 2147483647 w 8"/>
                  <a:gd name="T17" fmla="*/ 2147483647 h 12"/>
                  <a:gd name="T18" fmla="*/ 0 w 8"/>
                  <a:gd name="T19" fmla="*/ 0 h 12"/>
                  <a:gd name="T20" fmla="*/ 0 w 8"/>
                  <a:gd name="T21" fmla="*/ 0 h 12"/>
                  <a:gd name="T22" fmla="*/ 0 w 8"/>
                  <a:gd name="T23" fmla="*/ 0 h 12"/>
                  <a:gd name="T24" fmla="*/ 0 w 8"/>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12"/>
                  <a:gd name="T41" fmla="*/ 8 w 8"/>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12">
                    <a:moveTo>
                      <a:pt x="0" y="0"/>
                    </a:moveTo>
                    <a:lnTo>
                      <a:pt x="0" y="0"/>
                    </a:lnTo>
                    <a:lnTo>
                      <a:pt x="0" y="8"/>
                    </a:lnTo>
                    <a:lnTo>
                      <a:pt x="2" y="10"/>
                    </a:lnTo>
                    <a:lnTo>
                      <a:pt x="6" y="12"/>
                    </a:lnTo>
                    <a:lnTo>
                      <a:pt x="8" y="12"/>
                    </a:lnTo>
                    <a:lnTo>
                      <a:pt x="6" y="10"/>
                    </a:lnTo>
                    <a:lnTo>
                      <a:pt x="4" y="4"/>
                    </a:lnTo>
                    <a:lnTo>
                      <a:pt x="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7" name="Freeform 5993"/>
              <p:cNvSpPr>
                <a:spLocks/>
              </p:cNvSpPr>
              <p:nvPr/>
            </p:nvSpPr>
            <p:spPr bwMode="auto">
              <a:xfrm>
                <a:off x="4537449" y="2921325"/>
                <a:ext cx="39823" cy="31520"/>
              </a:xfrm>
              <a:custGeom>
                <a:avLst/>
                <a:gdLst>
                  <a:gd name="T0" fmla="*/ 2147483647 w 70"/>
                  <a:gd name="T1" fmla="*/ 2147483647 h 56"/>
                  <a:gd name="T2" fmla="*/ 2147483647 w 70"/>
                  <a:gd name="T3" fmla="*/ 2147483647 h 56"/>
                  <a:gd name="T4" fmla="*/ 2147483647 w 70"/>
                  <a:gd name="T5" fmla="*/ 2147483647 h 56"/>
                  <a:gd name="T6" fmla="*/ 2147483647 w 70"/>
                  <a:gd name="T7" fmla="*/ 2147483647 h 56"/>
                  <a:gd name="T8" fmla="*/ 2147483647 w 70"/>
                  <a:gd name="T9" fmla="*/ 2147483647 h 56"/>
                  <a:gd name="T10" fmla="*/ 2147483647 w 70"/>
                  <a:gd name="T11" fmla="*/ 2147483647 h 56"/>
                  <a:gd name="T12" fmla="*/ 2147483647 w 70"/>
                  <a:gd name="T13" fmla="*/ 2147483647 h 56"/>
                  <a:gd name="T14" fmla="*/ 2147483647 w 70"/>
                  <a:gd name="T15" fmla="*/ 2147483647 h 56"/>
                  <a:gd name="T16" fmla="*/ 2147483647 w 70"/>
                  <a:gd name="T17" fmla="*/ 2147483647 h 56"/>
                  <a:gd name="T18" fmla="*/ 2147483647 w 70"/>
                  <a:gd name="T19" fmla="*/ 2147483647 h 56"/>
                  <a:gd name="T20" fmla="*/ 2147483647 w 70"/>
                  <a:gd name="T21" fmla="*/ 2147483647 h 56"/>
                  <a:gd name="T22" fmla="*/ 2147483647 w 70"/>
                  <a:gd name="T23" fmla="*/ 2147483647 h 56"/>
                  <a:gd name="T24" fmla="*/ 2147483647 w 70"/>
                  <a:gd name="T25" fmla="*/ 2147483647 h 56"/>
                  <a:gd name="T26" fmla="*/ 2147483647 w 70"/>
                  <a:gd name="T27" fmla="*/ 0 h 56"/>
                  <a:gd name="T28" fmla="*/ 2147483647 w 70"/>
                  <a:gd name="T29" fmla="*/ 0 h 56"/>
                  <a:gd name="T30" fmla="*/ 2147483647 w 70"/>
                  <a:gd name="T31" fmla="*/ 2147483647 h 56"/>
                  <a:gd name="T32" fmla="*/ 2147483647 w 70"/>
                  <a:gd name="T33" fmla="*/ 2147483647 h 56"/>
                  <a:gd name="T34" fmla="*/ 0 w 70"/>
                  <a:gd name="T35" fmla="*/ 2147483647 h 56"/>
                  <a:gd name="T36" fmla="*/ 0 w 70"/>
                  <a:gd name="T37" fmla="*/ 2147483647 h 56"/>
                  <a:gd name="T38" fmla="*/ 0 w 70"/>
                  <a:gd name="T39" fmla="*/ 2147483647 h 56"/>
                  <a:gd name="T40" fmla="*/ 2147483647 w 70"/>
                  <a:gd name="T41" fmla="*/ 2147483647 h 56"/>
                  <a:gd name="T42" fmla="*/ 2147483647 w 70"/>
                  <a:gd name="T43" fmla="*/ 2147483647 h 56"/>
                  <a:gd name="T44" fmla="*/ 2147483647 w 70"/>
                  <a:gd name="T45" fmla="*/ 2147483647 h 56"/>
                  <a:gd name="T46" fmla="*/ 2147483647 w 70"/>
                  <a:gd name="T47" fmla="*/ 2147483647 h 56"/>
                  <a:gd name="T48" fmla="*/ 2147483647 w 70"/>
                  <a:gd name="T49" fmla="*/ 2147483647 h 56"/>
                  <a:gd name="T50" fmla="*/ 2147483647 w 70"/>
                  <a:gd name="T51" fmla="*/ 2147483647 h 56"/>
                  <a:gd name="T52" fmla="*/ 2147483647 w 70"/>
                  <a:gd name="T53" fmla="*/ 2147483647 h 56"/>
                  <a:gd name="T54" fmla="*/ 2147483647 w 70"/>
                  <a:gd name="T55" fmla="*/ 2147483647 h 56"/>
                  <a:gd name="T56" fmla="*/ 2147483647 w 70"/>
                  <a:gd name="T57" fmla="*/ 2147483647 h 56"/>
                  <a:gd name="T58" fmla="*/ 2147483647 w 70"/>
                  <a:gd name="T59" fmla="*/ 2147483647 h 56"/>
                  <a:gd name="T60" fmla="*/ 2147483647 w 70"/>
                  <a:gd name="T61" fmla="*/ 2147483647 h 56"/>
                  <a:gd name="T62" fmla="*/ 2147483647 w 70"/>
                  <a:gd name="T63" fmla="*/ 2147483647 h 56"/>
                  <a:gd name="T64" fmla="*/ 2147483647 w 70"/>
                  <a:gd name="T65" fmla="*/ 2147483647 h 56"/>
                  <a:gd name="T66" fmla="*/ 2147483647 w 70"/>
                  <a:gd name="T67" fmla="*/ 2147483647 h 56"/>
                  <a:gd name="T68" fmla="*/ 2147483647 w 70"/>
                  <a:gd name="T69" fmla="*/ 2147483647 h 56"/>
                  <a:gd name="T70" fmla="*/ 2147483647 w 70"/>
                  <a:gd name="T71" fmla="*/ 2147483647 h 56"/>
                  <a:gd name="T72" fmla="*/ 2147483647 w 70"/>
                  <a:gd name="T73" fmla="*/ 2147483647 h 56"/>
                  <a:gd name="T74" fmla="*/ 2147483647 w 70"/>
                  <a:gd name="T75" fmla="*/ 2147483647 h 56"/>
                  <a:gd name="T76" fmla="*/ 2147483647 w 70"/>
                  <a:gd name="T77" fmla="*/ 2147483647 h 5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70"/>
                  <a:gd name="T118" fmla="*/ 0 h 56"/>
                  <a:gd name="T119" fmla="*/ 70 w 70"/>
                  <a:gd name="T120" fmla="*/ 56 h 5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70" h="56">
                    <a:moveTo>
                      <a:pt x="62" y="46"/>
                    </a:moveTo>
                    <a:lnTo>
                      <a:pt x="62" y="46"/>
                    </a:lnTo>
                    <a:lnTo>
                      <a:pt x="58" y="42"/>
                    </a:lnTo>
                    <a:lnTo>
                      <a:pt x="56" y="36"/>
                    </a:lnTo>
                    <a:lnTo>
                      <a:pt x="52" y="22"/>
                    </a:lnTo>
                    <a:lnTo>
                      <a:pt x="52" y="18"/>
                    </a:lnTo>
                    <a:lnTo>
                      <a:pt x="50" y="16"/>
                    </a:lnTo>
                    <a:lnTo>
                      <a:pt x="44" y="16"/>
                    </a:lnTo>
                    <a:lnTo>
                      <a:pt x="36" y="14"/>
                    </a:lnTo>
                    <a:lnTo>
                      <a:pt x="30" y="10"/>
                    </a:lnTo>
                    <a:lnTo>
                      <a:pt x="22" y="2"/>
                    </a:lnTo>
                    <a:lnTo>
                      <a:pt x="20" y="0"/>
                    </a:lnTo>
                    <a:lnTo>
                      <a:pt x="16" y="0"/>
                    </a:lnTo>
                    <a:lnTo>
                      <a:pt x="8" y="2"/>
                    </a:lnTo>
                    <a:lnTo>
                      <a:pt x="2" y="4"/>
                    </a:lnTo>
                    <a:lnTo>
                      <a:pt x="0" y="6"/>
                    </a:lnTo>
                    <a:lnTo>
                      <a:pt x="0" y="8"/>
                    </a:lnTo>
                    <a:lnTo>
                      <a:pt x="8" y="8"/>
                    </a:lnTo>
                    <a:lnTo>
                      <a:pt x="24" y="16"/>
                    </a:lnTo>
                    <a:lnTo>
                      <a:pt x="30" y="22"/>
                    </a:lnTo>
                    <a:lnTo>
                      <a:pt x="32" y="28"/>
                    </a:lnTo>
                    <a:lnTo>
                      <a:pt x="34" y="30"/>
                    </a:lnTo>
                    <a:lnTo>
                      <a:pt x="38" y="32"/>
                    </a:lnTo>
                    <a:lnTo>
                      <a:pt x="44" y="32"/>
                    </a:lnTo>
                    <a:lnTo>
                      <a:pt x="46" y="36"/>
                    </a:lnTo>
                    <a:lnTo>
                      <a:pt x="52" y="42"/>
                    </a:lnTo>
                    <a:lnTo>
                      <a:pt x="58" y="50"/>
                    </a:lnTo>
                    <a:lnTo>
                      <a:pt x="64" y="56"/>
                    </a:lnTo>
                    <a:lnTo>
                      <a:pt x="68" y="56"/>
                    </a:lnTo>
                    <a:lnTo>
                      <a:pt x="70" y="54"/>
                    </a:lnTo>
                    <a:lnTo>
                      <a:pt x="68" y="50"/>
                    </a:lnTo>
                    <a:lnTo>
                      <a:pt x="62" y="4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8" name="Freeform 5994"/>
              <p:cNvSpPr>
                <a:spLocks/>
              </p:cNvSpPr>
              <p:nvPr/>
            </p:nvSpPr>
            <p:spPr bwMode="auto">
              <a:xfrm>
                <a:off x="4602160" y="2881510"/>
                <a:ext cx="9956" cy="4976"/>
              </a:xfrm>
              <a:custGeom>
                <a:avLst/>
                <a:gdLst>
                  <a:gd name="T0" fmla="*/ 0 w 16"/>
                  <a:gd name="T1" fmla="*/ 2147483647 h 8"/>
                  <a:gd name="T2" fmla="*/ 0 w 16"/>
                  <a:gd name="T3" fmla="*/ 2147483647 h 8"/>
                  <a:gd name="T4" fmla="*/ 2147483647 w 16"/>
                  <a:gd name="T5" fmla="*/ 2147483647 h 8"/>
                  <a:gd name="T6" fmla="*/ 2147483647 w 16"/>
                  <a:gd name="T7" fmla="*/ 2147483647 h 8"/>
                  <a:gd name="T8" fmla="*/ 2147483647 w 16"/>
                  <a:gd name="T9" fmla="*/ 2147483647 h 8"/>
                  <a:gd name="T10" fmla="*/ 2147483647 w 16"/>
                  <a:gd name="T11" fmla="*/ 2147483647 h 8"/>
                  <a:gd name="T12" fmla="*/ 2147483647 w 16"/>
                  <a:gd name="T13" fmla="*/ 2147483647 h 8"/>
                  <a:gd name="T14" fmla="*/ 2147483647 w 16"/>
                  <a:gd name="T15" fmla="*/ 2147483647 h 8"/>
                  <a:gd name="T16" fmla="*/ 2147483647 w 16"/>
                  <a:gd name="T17" fmla="*/ 2147483647 h 8"/>
                  <a:gd name="T18" fmla="*/ 2147483647 w 16"/>
                  <a:gd name="T19" fmla="*/ 0 h 8"/>
                  <a:gd name="T20" fmla="*/ 2147483647 w 16"/>
                  <a:gd name="T21" fmla="*/ 2147483647 h 8"/>
                  <a:gd name="T22" fmla="*/ 0 w 16"/>
                  <a:gd name="T23" fmla="*/ 2147483647 h 8"/>
                  <a:gd name="T24" fmla="*/ 0 w 16"/>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8"/>
                  <a:gd name="T41" fmla="*/ 16 w 16"/>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8">
                    <a:moveTo>
                      <a:pt x="0" y="6"/>
                    </a:moveTo>
                    <a:lnTo>
                      <a:pt x="0" y="6"/>
                    </a:lnTo>
                    <a:lnTo>
                      <a:pt x="2" y="8"/>
                    </a:lnTo>
                    <a:lnTo>
                      <a:pt x="4" y="8"/>
                    </a:lnTo>
                    <a:lnTo>
                      <a:pt x="14" y="6"/>
                    </a:lnTo>
                    <a:lnTo>
                      <a:pt x="16" y="6"/>
                    </a:lnTo>
                    <a:lnTo>
                      <a:pt x="16" y="4"/>
                    </a:lnTo>
                    <a:lnTo>
                      <a:pt x="12" y="2"/>
                    </a:lnTo>
                    <a:lnTo>
                      <a:pt x="6" y="0"/>
                    </a:lnTo>
                    <a:lnTo>
                      <a:pt x="2" y="2"/>
                    </a:lnTo>
                    <a:lnTo>
                      <a:pt x="0"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9" name="Freeform 5995"/>
              <p:cNvSpPr>
                <a:spLocks/>
              </p:cNvSpPr>
              <p:nvPr/>
            </p:nvSpPr>
            <p:spPr bwMode="auto">
              <a:xfrm>
                <a:off x="4610457" y="2962798"/>
                <a:ext cx="8296" cy="4977"/>
              </a:xfrm>
              <a:custGeom>
                <a:avLst/>
                <a:gdLst>
                  <a:gd name="T0" fmla="*/ 2147483647 w 14"/>
                  <a:gd name="T1" fmla="*/ 2147483647 h 10"/>
                  <a:gd name="T2" fmla="*/ 2147483647 w 14"/>
                  <a:gd name="T3" fmla="*/ 2147483647 h 10"/>
                  <a:gd name="T4" fmla="*/ 2147483647 w 14"/>
                  <a:gd name="T5" fmla="*/ 0 h 10"/>
                  <a:gd name="T6" fmla="*/ 2147483647 w 14"/>
                  <a:gd name="T7" fmla="*/ 0 h 10"/>
                  <a:gd name="T8" fmla="*/ 2147483647 w 14"/>
                  <a:gd name="T9" fmla="*/ 2147483647 h 10"/>
                  <a:gd name="T10" fmla="*/ 2147483647 w 14"/>
                  <a:gd name="T11" fmla="*/ 2147483647 h 10"/>
                  <a:gd name="T12" fmla="*/ 0 w 14"/>
                  <a:gd name="T13" fmla="*/ 2147483647 h 10"/>
                  <a:gd name="T14" fmla="*/ 0 w 14"/>
                  <a:gd name="T15" fmla="*/ 2147483647 h 10"/>
                  <a:gd name="T16" fmla="*/ 0 w 14"/>
                  <a:gd name="T17" fmla="*/ 2147483647 h 10"/>
                  <a:gd name="T18" fmla="*/ 2147483647 w 14"/>
                  <a:gd name="T19" fmla="*/ 2147483647 h 10"/>
                  <a:gd name="T20" fmla="*/ 2147483647 w 14"/>
                  <a:gd name="T21" fmla="*/ 2147483647 h 10"/>
                  <a:gd name="T22" fmla="*/ 2147483647 w 14"/>
                  <a:gd name="T23" fmla="*/ 2147483647 h 10"/>
                  <a:gd name="T24" fmla="*/ 2147483647 w 14"/>
                  <a:gd name="T25" fmla="*/ 2147483647 h 10"/>
                  <a:gd name="T26" fmla="*/ 2147483647 w 14"/>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10"/>
                  <a:gd name="T44" fmla="*/ 14 w 14"/>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10">
                    <a:moveTo>
                      <a:pt x="14" y="2"/>
                    </a:moveTo>
                    <a:lnTo>
                      <a:pt x="14" y="2"/>
                    </a:lnTo>
                    <a:lnTo>
                      <a:pt x="14" y="0"/>
                    </a:lnTo>
                    <a:lnTo>
                      <a:pt x="12" y="0"/>
                    </a:lnTo>
                    <a:lnTo>
                      <a:pt x="8" y="2"/>
                    </a:lnTo>
                    <a:lnTo>
                      <a:pt x="2" y="4"/>
                    </a:lnTo>
                    <a:lnTo>
                      <a:pt x="0" y="8"/>
                    </a:lnTo>
                    <a:lnTo>
                      <a:pt x="0" y="10"/>
                    </a:lnTo>
                    <a:lnTo>
                      <a:pt x="2" y="10"/>
                    </a:lnTo>
                    <a:lnTo>
                      <a:pt x="8" y="8"/>
                    </a:lnTo>
                    <a:lnTo>
                      <a:pt x="12" y="4"/>
                    </a:lnTo>
                    <a:lnTo>
                      <a:pt x="14"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0" name="Freeform 5996"/>
              <p:cNvSpPr>
                <a:spLocks/>
              </p:cNvSpPr>
              <p:nvPr/>
            </p:nvSpPr>
            <p:spPr bwMode="auto">
              <a:xfrm>
                <a:off x="4607138" y="2934596"/>
                <a:ext cx="6637" cy="13272"/>
              </a:xfrm>
              <a:custGeom>
                <a:avLst/>
                <a:gdLst>
                  <a:gd name="T0" fmla="*/ 2147483647 w 12"/>
                  <a:gd name="T1" fmla="*/ 2147483647 h 24"/>
                  <a:gd name="T2" fmla="*/ 2147483647 w 12"/>
                  <a:gd name="T3" fmla="*/ 2147483647 h 24"/>
                  <a:gd name="T4" fmla="*/ 2147483647 w 12"/>
                  <a:gd name="T5" fmla="*/ 2147483647 h 24"/>
                  <a:gd name="T6" fmla="*/ 2147483647 w 12"/>
                  <a:gd name="T7" fmla="*/ 2147483647 h 24"/>
                  <a:gd name="T8" fmla="*/ 2147483647 w 12"/>
                  <a:gd name="T9" fmla="*/ 2147483647 h 24"/>
                  <a:gd name="T10" fmla="*/ 2147483647 w 12"/>
                  <a:gd name="T11" fmla="*/ 2147483647 h 24"/>
                  <a:gd name="T12" fmla="*/ 2147483647 w 12"/>
                  <a:gd name="T13" fmla="*/ 2147483647 h 24"/>
                  <a:gd name="T14" fmla="*/ 2147483647 w 12"/>
                  <a:gd name="T15" fmla="*/ 0 h 24"/>
                  <a:gd name="T16" fmla="*/ 2147483647 w 12"/>
                  <a:gd name="T17" fmla="*/ 0 h 24"/>
                  <a:gd name="T18" fmla="*/ 2147483647 w 12"/>
                  <a:gd name="T19" fmla="*/ 0 h 24"/>
                  <a:gd name="T20" fmla="*/ 2147483647 w 12"/>
                  <a:gd name="T21" fmla="*/ 0 h 24"/>
                  <a:gd name="T22" fmla="*/ 0 w 12"/>
                  <a:gd name="T23" fmla="*/ 2147483647 h 24"/>
                  <a:gd name="T24" fmla="*/ 0 w 12"/>
                  <a:gd name="T25" fmla="*/ 2147483647 h 24"/>
                  <a:gd name="T26" fmla="*/ 2147483647 w 12"/>
                  <a:gd name="T27" fmla="*/ 2147483647 h 24"/>
                  <a:gd name="T28" fmla="*/ 2147483647 w 12"/>
                  <a:gd name="T29" fmla="*/ 2147483647 h 24"/>
                  <a:gd name="T30" fmla="*/ 2147483647 w 12"/>
                  <a:gd name="T31" fmla="*/ 2147483647 h 24"/>
                  <a:gd name="T32" fmla="*/ 2147483647 w 12"/>
                  <a:gd name="T33" fmla="*/ 2147483647 h 24"/>
                  <a:gd name="T34" fmla="*/ 2147483647 w 12"/>
                  <a:gd name="T35" fmla="*/ 2147483647 h 24"/>
                  <a:gd name="T36" fmla="*/ 2147483647 w 12"/>
                  <a:gd name="T37" fmla="*/ 2147483647 h 24"/>
                  <a:gd name="T38" fmla="*/ 2147483647 w 12"/>
                  <a:gd name="T39" fmla="*/ 2147483647 h 24"/>
                  <a:gd name="T40" fmla="*/ 2147483647 w 12"/>
                  <a:gd name="T41" fmla="*/ 2147483647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
                  <a:gd name="T64" fmla="*/ 0 h 24"/>
                  <a:gd name="T65" fmla="*/ 12 w 12"/>
                  <a:gd name="T66" fmla="*/ 24 h 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 h="24">
                    <a:moveTo>
                      <a:pt x="6" y="24"/>
                    </a:moveTo>
                    <a:lnTo>
                      <a:pt x="6" y="24"/>
                    </a:lnTo>
                    <a:lnTo>
                      <a:pt x="10" y="20"/>
                    </a:lnTo>
                    <a:lnTo>
                      <a:pt x="12" y="16"/>
                    </a:lnTo>
                    <a:lnTo>
                      <a:pt x="12" y="12"/>
                    </a:lnTo>
                    <a:lnTo>
                      <a:pt x="12" y="8"/>
                    </a:lnTo>
                    <a:lnTo>
                      <a:pt x="12" y="4"/>
                    </a:lnTo>
                    <a:lnTo>
                      <a:pt x="8" y="0"/>
                    </a:lnTo>
                    <a:lnTo>
                      <a:pt x="6" y="0"/>
                    </a:lnTo>
                    <a:lnTo>
                      <a:pt x="2" y="0"/>
                    </a:lnTo>
                    <a:lnTo>
                      <a:pt x="0" y="2"/>
                    </a:lnTo>
                    <a:lnTo>
                      <a:pt x="0" y="4"/>
                    </a:lnTo>
                    <a:lnTo>
                      <a:pt x="4" y="8"/>
                    </a:lnTo>
                    <a:lnTo>
                      <a:pt x="4" y="12"/>
                    </a:lnTo>
                    <a:lnTo>
                      <a:pt x="2" y="18"/>
                    </a:lnTo>
                    <a:lnTo>
                      <a:pt x="2" y="24"/>
                    </a:lnTo>
                    <a:lnTo>
                      <a:pt x="6" y="2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1" name="Freeform 5997"/>
              <p:cNvSpPr>
                <a:spLocks/>
              </p:cNvSpPr>
              <p:nvPr/>
            </p:nvSpPr>
            <p:spPr bwMode="auto">
              <a:xfrm>
                <a:off x="4607138" y="2908053"/>
                <a:ext cx="14933" cy="13272"/>
              </a:xfrm>
              <a:custGeom>
                <a:avLst/>
                <a:gdLst>
                  <a:gd name="T0" fmla="*/ 2147483647 w 30"/>
                  <a:gd name="T1" fmla="*/ 0 h 22"/>
                  <a:gd name="T2" fmla="*/ 2147483647 w 30"/>
                  <a:gd name="T3" fmla="*/ 0 h 22"/>
                  <a:gd name="T4" fmla="*/ 2147483647 w 30"/>
                  <a:gd name="T5" fmla="*/ 0 h 22"/>
                  <a:gd name="T6" fmla="*/ 2147483647 w 30"/>
                  <a:gd name="T7" fmla="*/ 0 h 22"/>
                  <a:gd name="T8" fmla="*/ 2147483647 w 30"/>
                  <a:gd name="T9" fmla="*/ 2147483647 h 22"/>
                  <a:gd name="T10" fmla="*/ 2147483647 w 30"/>
                  <a:gd name="T11" fmla="*/ 2147483647 h 22"/>
                  <a:gd name="T12" fmla="*/ 0 w 30"/>
                  <a:gd name="T13" fmla="*/ 2147483647 h 22"/>
                  <a:gd name="T14" fmla="*/ 0 w 30"/>
                  <a:gd name="T15" fmla="*/ 2147483647 h 22"/>
                  <a:gd name="T16" fmla="*/ 2147483647 w 30"/>
                  <a:gd name="T17" fmla="*/ 2147483647 h 22"/>
                  <a:gd name="T18" fmla="*/ 2147483647 w 30"/>
                  <a:gd name="T19" fmla="*/ 2147483647 h 22"/>
                  <a:gd name="T20" fmla="*/ 2147483647 w 30"/>
                  <a:gd name="T21" fmla="*/ 2147483647 h 22"/>
                  <a:gd name="T22" fmla="*/ 2147483647 w 30"/>
                  <a:gd name="T23" fmla="*/ 2147483647 h 22"/>
                  <a:gd name="T24" fmla="*/ 2147483647 w 30"/>
                  <a:gd name="T25" fmla="*/ 2147483647 h 22"/>
                  <a:gd name="T26" fmla="*/ 2147483647 w 30"/>
                  <a:gd name="T27" fmla="*/ 2147483647 h 22"/>
                  <a:gd name="T28" fmla="*/ 2147483647 w 30"/>
                  <a:gd name="T29" fmla="*/ 2147483647 h 22"/>
                  <a:gd name="T30" fmla="*/ 2147483647 w 30"/>
                  <a:gd name="T31" fmla="*/ 2147483647 h 22"/>
                  <a:gd name="T32" fmla="*/ 2147483647 w 30"/>
                  <a:gd name="T33" fmla="*/ 2147483647 h 22"/>
                  <a:gd name="T34" fmla="*/ 2147483647 w 30"/>
                  <a:gd name="T35" fmla="*/ 2147483647 h 22"/>
                  <a:gd name="T36" fmla="*/ 2147483647 w 30"/>
                  <a:gd name="T37" fmla="*/ 2147483647 h 22"/>
                  <a:gd name="T38" fmla="*/ 2147483647 w 30"/>
                  <a:gd name="T39" fmla="*/ 2147483647 h 22"/>
                  <a:gd name="T40" fmla="*/ 2147483647 w 30"/>
                  <a:gd name="T41" fmla="*/ 2147483647 h 22"/>
                  <a:gd name="T42" fmla="*/ 2147483647 w 30"/>
                  <a:gd name="T43" fmla="*/ 2147483647 h 22"/>
                  <a:gd name="T44" fmla="*/ 2147483647 w 30"/>
                  <a:gd name="T45" fmla="*/ 0 h 22"/>
                  <a:gd name="T46" fmla="*/ 2147483647 w 30"/>
                  <a:gd name="T47" fmla="*/ 0 h 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0"/>
                  <a:gd name="T73" fmla="*/ 0 h 22"/>
                  <a:gd name="T74" fmla="*/ 30 w 30"/>
                  <a:gd name="T75" fmla="*/ 22 h 2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0" h="22">
                    <a:moveTo>
                      <a:pt x="20" y="0"/>
                    </a:moveTo>
                    <a:lnTo>
                      <a:pt x="20" y="0"/>
                    </a:lnTo>
                    <a:lnTo>
                      <a:pt x="16" y="0"/>
                    </a:lnTo>
                    <a:lnTo>
                      <a:pt x="14" y="0"/>
                    </a:lnTo>
                    <a:lnTo>
                      <a:pt x="4" y="6"/>
                    </a:lnTo>
                    <a:lnTo>
                      <a:pt x="0" y="8"/>
                    </a:lnTo>
                    <a:lnTo>
                      <a:pt x="0" y="10"/>
                    </a:lnTo>
                    <a:lnTo>
                      <a:pt x="2" y="14"/>
                    </a:lnTo>
                    <a:lnTo>
                      <a:pt x="8" y="18"/>
                    </a:lnTo>
                    <a:lnTo>
                      <a:pt x="16" y="22"/>
                    </a:lnTo>
                    <a:lnTo>
                      <a:pt x="22" y="22"/>
                    </a:lnTo>
                    <a:lnTo>
                      <a:pt x="28" y="20"/>
                    </a:lnTo>
                    <a:lnTo>
                      <a:pt x="30" y="20"/>
                    </a:lnTo>
                    <a:lnTo>
                      <a:pt x="30" y="16"/>
                    </a:lnTo>
                    <a:lnTo>
                      <a:pt x="30" y="14"/>
                    </a:lnTo>
                    <a:lnTo>
                      <a:pt x="28" y="12"/>
                    </a:lnTo>
                    <a:lnTo>
                      <a:pt x="22" y="8"/>
                    </a:lnTo>
                    <a:lnTo>
                      <a:pt x="22" y="4"/>
                    </a:lnTo>
                    <a:lnTo>
                      <a:pt x="22" y="2"/>
                    </a:lnTo>
                    <a:lnTo>
                      <a:pt x="2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2" name="Freeform 5998"/>
              <p:cNvSpPr>
                <a:spLocks/>
              </p:cNvSpPr>
              <p:nvPr/>
            </p:nvSpPr>
            <p:spPr bwMode="auto">
              <a:xfrm>
                <a:off x="4570634" y="2962798"/>
                <a:ext cx="3319" cy="3318"/>
              </a:xfrm>
              <a:custGeom>
                <a:avLst/>
                <a:gdLst>
                  <a:gd name="T0" fmla="*/ 0 w 6"/>
                  <a:gd name="T1" fmla="*/ 2147483647 h 8"/>
                  <a:gd name="T2" fmla="*/ 0 w 6"/>
                  <a:gd name="T3" fmla="*/ 2147483647 h 8"/>
                  <a:gd name="T4" fmla="*/ 2147483647 w 6"/>
                  <a:gd name="T5" fmla="*/ 2147483647 h 8"/>
                  <a:gd name="T6" fmla="*/ 2147483647 w 6"/>
                  <a:gd name="T7" fmla="*/ 2147483647 h 8"/>
                  <a:gd name="T8" fmla="*/ 2147483647 w 6"/>
                  <a:gd name="T9" fmla="*/ 2147483647 h 8"/>
                  <a:gd name="T10" fmla="*/ 2147483647 w 6"/>
                  <a:gd name="T11" fmla="*/ 2147483647 h 8"/>
                  <a:gd name="T12" fmla="*/ 2147483647 w 6"/>
                  <a:gd name="T13" fmla="*/ 2147483647 h 8"/>
                  <a:gd name="T14" fmla="*/ 2147483647 w 6"/>
                  <a:gd name="T15" fmla="*/ 0 h 8"/>
                  <a:gd name="T16" fmla="*/ 2147483647 w 6"/>
                  <a:gd name="T17" fmla="*/ 2147483647 h 8"/>
                  <a:gd name="T18" fmla="*/ 0 w 6"/>
                  <a:gd name="T19" fmla="*/ 2147483647 h 8"/>
                  <a:gd name="T20" fmla="*/ 0 w 6"/>
                  <a:gd name="T21" fmla="*/ 2147483647 h 8"/>
                  <a:gd name="T22" fmla="*/ 0 w 6"/>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8"/>
                  <a:gd name="T38" fmla="*/ 6 w 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8">
                    <a:moveTo>
                      <a:pt x="0" y="8"/>
                    </a:moveTo>
                    <a:lnTo>
                      <a:pt x="0" y="8"/>
                    </a:lnTo>
                    <a:lnTo>
                      <a:pt x="2" y="8"/>
                    </a:lnTo>
                    <a:lnTo>
                      <a:pt x="4" y="6"/>
                    </a:lnTo>
                    <a:lnTo>
                      <a:pt x="6" y="4"/>
                    </a:lnTo>
                    <a:lnTo>
                      <a:pt x="4" y="2"/>
                    </a:lnTo>
                    <a:lnTo>
                      <a:pt x="2" y="0"/>
                    </a:lnTo>
                    <a:lnTo>
                      <a:pt x="2" y="4"/>
                    </a:lnTo>
                    <a:lnTo>
                      <a:pt x="0" y="6"/>
                    </a:lnTo>
                    <a:lnTo>
                      <a:pt x="0"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3" name="Freeform 5999"/>
              <p:cNvSpPr>
                <a:spLocks/>
              </p:cNvSpPr>
              <p:nvPr/>
            </p:nvSpPr>
            <p:spPr bwMode="auto">
              <a:xfrm>
                <a:off x="4587227" y="2891463"/>
                <a:ext cx="8296" cy="3318"/>
              </a:xfrm>
              <a:custGeom>
                <a:avLst/>
                <a:gdLst>
                  <a:gd name="T0" fmla="*/ 2147483647 w 16"/>
                  <a:gd name="T1" fmla="*/ 0 h 12"/>
                  <a:gd name="T2" fmla="*/ 2147483647 w 16"/>
                  <a:gd name="T3" fmla="*/ 0 h 12"/>
                  <a:gd name="T4" fmla="*/ 2147483647 w 16"/>
                  <a:gd name="T5" fmla="*/ 0 h 12"/>
                  <a:gd name="T6" fmla="*/ 2147483647 w 16"/>
                  <a:gd name="T7" fmla="*/ 0 h 12"/>
                  <a:gd name="T8" fmla="*/ 2147483647 w 16"/>
                  <a:gd name="T9" fmla="*/ 0 h 12"/>
                  <a:gd name="T10" fmla="*/ 0 w 16"/>
                  <a:gd name="T11" fmla="*/ 2147483647 h 12"/>
                  <a:gd name="T12" fmla="*/ 0 w 16"/>
                  <a:gd name="T13" fmla="*/ 2147483647 h 12"/>
                  <a:gd name="T14" fmla="*/ 0 w 16"/>
                  <a:gd name="T15" fmla="*/ 2147483647 h 12"/>
                  <a:gd name="T16" fmla="*/ 0 w 16"/>
                  <a:gd name="T17" fmla="*/ 2147483647 h 12"/>
                  <a:gd name="T18" fmla="*/ 2147483647 w 16"/>
                  <a:gd name="T19" fmla="*/ 2147483647 h 12"/>
                  <a:gd name="T20" fmla="*/ 2147483647 w 16"/>
                  <a:gd name="T21" fmla="*/ 2147483647 h 12"/>
                  <a:gd name="T22" fmla="*/ 2147483647 w 16"/>
                  <a:gd name="T23" fmla="*/ 2147483647 h 12"/>
                  <a:gd name="T24" fmla="*/ 2147483647 w 16"/>
                  <a:gd name="T25" fmla="*/ 2147483647 h 12"/>
                  <a:gd name="T26" fmla="*/ 2147483647 w 16"/>
                  <a:gd name="T27" fmla="*/ 2147483647 h 12"/>
                  <a:gd name="T28" fmla="*/ 2147483647 w 16"/>
                  <a:gd name="T29" fmla="*/ 2147483647 h 12"/>
                  <a:gd name="T30" fmla="*/ 2147483647 w 16"/>
                  <a:gd name="T31" fmla="*/ 2147483647 h 12"/>
                  <a:gd name="T32" fmla="*/ 2147483647 w 16"/>
                  <a:gd name="T33" fmla="*/ 2147483647 h 12"/>
                  <a:gd name="T34" fmla="*/ 2147483647 w 16"/>
                  <a:gd name="T35" fmla="*/ 2147483647 h 12"/>
                  <a:gd name="T36" fmla="*/ 2147483647 w 16"/>
                  <a:gd name="T37" fmla="*/ 2147483647 h 12"/>
                  <a:gd name="T38" fmla="*/ 2147483647 w 16"/>
                  <a:gd name="T39" fmla="*/ 0 h 12"/>
                  <a:gd name="T40" fmla="*/ 2147483647 w 16"/>
                  <a:gd name="T41" fmla="*/ 0 h 12"/>
                  <a:gd name="T42" fmla="*/ 2147483647 w 16"/>
                  <a:gd name="T43" fmla="*/ 0 h 12"/>
                  <a:gd name="T44" fmla="*/ 2147483647 w 16"/>
                  <a:gd name="T45" fmla="*/ 0 h 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
                  <a:gd name="T70" fmla="*/ 0 h 12"/>
                  <a:gd name="T71" fmla="*/ 16 w 16"/>
                  <a:gd name="T72" fmla="*/ 12 h 1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 h="12">
                    <a:moveTo>
                      <a:pt x="14" y="0"/>
                    </a:moveTo>
                    <a:lnTo>
                      <a:pt x="14" y="0"/>
                    </a:lnTo>
                    <a:lnTo>
                      <a:pt x="10" y="0"/>
                    </a:lnTo>
                    <a:lnTo>
                      <a:pt x="6" y="0"/>
                    </a:lnTo>
                    <a:lnTo>
                      <a:pt x="2" y="0"/>
                    </a:lnTo>
                    <a:lnTo>
                      <a:pt x="0" y="2"/>
                    </a:lnTo>
                    <a:lnTo>
                      <a:pt x="0" y="6"/>
                    </a:lnTo>
                    <a:lnTo>
                      <a:pt x="0" y="10"/>
                    </a:lnTo>
                    <a:lnTo>
                      <a:pt x="2" y="10"/>
                    </a:lnTo>
                    <a:lnTo>
                      <a:pt x="4" y="10"/>
                    </a:lnTo>
                    <a:lnTo>
                      <a:pt x="6" y="8"/>
                    </a:lnTo>
                    <a:lnTo>
                      <a:pt x="8" y="8"/>
                    </a:lnTo>
                    <a:lnTo>
                      <a:pt x="10" y="8"/>
                    </a:lnTo>
                    <a:lnTo>
                      <a:pt x="12" y="10"/>
                    </a:lnTo>
                    <a:lnTo>
                      <a:pt x="14" y="12"/>
                    </a:lnTo>
                    <a:lnTo>
                      <a:pt x="14" y="10"/>
                    </a:lnTo>
                    <a:lnTo>
                      <a:pt x="16" y="0"/>
                    </a:lnTo>
                    <a:lnTo>
                      <a:pt x="14"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4" name="Freeform 6000"/>
              <p:cNvSpPr>
                <a:spLocks/>
              </p:cNvSpPr>
              <p:nvPr/>
            </p:nvSpPr>
            <p:spPr bwMode="auto">
              <a:xfrm>
                <a:off x="4580590" y="2952844"/>
                <a:ext cx="11614" cy="14931"/>
              </a:xfrm>
              <a:custGeom>
                <a:avLst/>
                <a:gdLst>
                  <a:gd name="T0" fmla="*/ 0 w 22"/>
                  <a:gd name="T1" fmla="*/ 2147483647 h 26"/>
                  <a:gd name="T2" fmla="*/ 0 w 22"/>
                  <a:gd name="T3" fmla="*/ 2147483647 h 26"/>
                  <a:gd name="T4" fmla="*/ 0 w 22"/>
                  <a:gd name="T5" fmla="*/ 2147483647 h 26"/>
                  <a:gd name="T6" fmla="*/ 2147483647 w 22"/>
                  <a:gd name="T7" fmla="*/ 2147483647 h 26"/>
                  <a:gd name="T8" fmla="*/ 2147483647 w 22"/>
                  <a:gd name="T9" fmla="*/ 2147483647 h 26"/>
                  <a:gd name="T10" fmla="*/ 2147483647 w 22"/>
                  <a:gd name="T11" fmla="*/ 2147483647 h 26"/>
                  <a:gd name="T12" fmla="*/ 2147483647 w 22"/>
                  <a:gd name="T13" fmla="*/ 2147483647 h 26"/>
                  <a:gd name="T14" fmla="*/ 2147483647 w 22"/>
                  <a:gd name="T15" fmla="*/ 2147483647 h 26"/>
                  <a:gd name="T16" fmla="*/ 2147483647 w 22"/>
                  <a:gd name="T17" fmla="*/ 2147483647 h 26"/>
                  <a:gd name="T18" fmla="*/ 2147483647 w 22"/>
                  <a:gd name="T19" fmla="*/ 2147483647 h 26"/>
                  <a:gd name="T20" fmla="*/ 2147483647 w 22"/>
                  <a:gd name="T21" fmla="*/ 2147483647 h 26"/>
                  <a:gd name="T22" fmla="*/ 2147483647 w 22"/>
                  <a:gd name="T23" fmla="*/ 2147483647 h 26"/>
                  <a:gd name="T24" fmla="*/ 2147483647 w 22"/>
                  <a:gd name="T25" fmla="*/ 2147483647 h 26"/>
                  <a:gd name="T26" fmla="*/ 2147483647 w 22"/>
                  <a:gd name="T27" fmla="*/ 0 h 26"/>
                  <a:gd name="T28" fmla="*/ 2147483647 w 22"/>
                  <a:gd name="T29" fmla="*/ 0 h 26"/>
                  <a:gd name="T30" fmla="*/ 0 w 22"/>
                  <a:gd name="T31" fmla="*/ 2147483647 h 26"/>
                  <a:gd name="T32" fmla="*/ 0 w 22"/>
                  <a:gd name="T33" fmla="*/ 2147483647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26"/>
                  <a:gd name="T53" fmla="*/ 22 w 22"/>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26">
                    <a:moveTo>
                      <a:pt x="0" y="2"/>
                    </a:moveTo>
                    <a:lnTo>
                      <a:pt x="0" y="2"/>
                    </a:lnTo>
                    <a:lnTo>
                      <a:pt x="0" y="4"/>
                    </a:lnTo>
                    <a:lnTo>
                      <a:pt x="2" y="8"/>
                    </a:lnTo>
                    <a:lnTo>
                      <a:pt x="12" y="20"/>
                    </a:lnTo>
                    <a:lnTo>
                      <a:pt x="18" y="26"/>
                    </a:lnTo>
                    <a:lnTo>
                      <a:pt x="20" y="26"/>
                    </a:lnTo>
                    <a:lnTo>
                      <a:pt x="22" y="24"/>
                    </a:lnTo>
                    <a:lnTo>
                      <a:pt x="18" y="20"/>
                    </a:lnTo>
                    <a:lnTo>
                      <a:pt x="14" y="14"/>
                    </a:lnTo>
                    <a:lnTo>
                      <a:pt x="8" y="6"/>
                    </a:lnTo>
                    <a:lnTo>
                      <a:pt x="4" y="0"/>
                    </a:lnTo>
                    <a:lnTo>
                      <a:pt x="2" y="0"/>
                    </a:lnTo>
                    <a:lnTo>
                      <a:pt x="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5" name="Freeform 6001"/>
              <p:cNvSpPr>
                <a:spLocks/>
              </p:cNvSpPr>
              <p:nvPr/>
            </p:nvSpPr>
            <p:spPr bwMode="auto">
              <a:xfrm>
                <a:off x="4577271" y="2863261"/>
                <a:ext cx="4977" cy="8295"/>
              </a:xfrm>
              <a:custGeom>
                <a:avLst/>
                <a:gdLst>
                  <a:gd name="T0" fmla="*/ 2147483647 w 10"/>
                  <a:gd name="T1" fmla="*/ 0 h 12"/>
                  <a:gd name="T2" fmla="*/ 2147483647 w 10"/>
                  <a:gd name="T3" fmla="*/ 0 h 12"/>
                  <a:gd name="T4" fmla="*/ 2147483647 w 10"/>
                  <a:gd name="T5" fmla="*/ 2147483647 h 12"/>
                  <a:gd name="T6" fmla="*/ 0 w 10"/>
                  <a:gd name="T7" fmla="*/ 2147483647 h 12"/>
                  <a:gd name="T8" fmla="*/ 0 w 10"/>
                  <a:gd name="T9" fmla="*/ 2147483647 h 12"/>
                  <a:gd name="T10" fmla="*/ 2147483647 w 10"/>
                  <a:gd name="T11" fmla="*/ 2147483647 h 12"/>
                  <a:gd name="T12" fmla="*/ 2147483647 w 10"/>
                  <a:gd name="T13" fmla="*/ 2147483647 h 12"/>
                  <a:gd name="T14" fmla="*/ 2147483647 w 10"/>
                  <a:gd name="T15" fmla="*/ 2147483647 h 12"/>
                  <a:gd name="T16" fmla="*/ 2147483647 w 10"/>
                  <a:gd name="T17" fmla="*/ 2147483647 h 12"/>
                  <a:gd name="T18" fmla="*/ 2147483647 w 10"/>
                  <a:gd name="T19" fmla="*/ 2147483647 h 12"/>
                  <a:gd name="T20" fmla="*/ 2147483647 w 10"/>
                  <a:gd name="T21" fmla="*/ 2147483647 h 12"/>
                  <a:gd name="T22" fmla="*/ 2147483647 w 10"/>
                  <a:gd name="T23" fmla="*/ 0 h 12"/>
                  <a:gd name="T24" fmla="*/ 2147483647 w 10"/>
                  <a:gd name="T25" fmla="*/ 0 h 12"/>
                  <a:gd name="T26" fmla="*/ 2147483647 w 10"/>
                  <a:gd name="T27" fmla="*/ 0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2"/>
                  <a:gd name="T44" fmla="*/ 10 w 10"/>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2">
                    <a:moveTo>
                      <a:pt x="6" y="0"/>
                    </a:moveTo>
                    <a:lnTo>
                      <a:pt x="6" y="0"/>
                    </a:lnTo>
                    <a:lnTo>
                      <a:pt x="2" y="2"/>
                    </a:lnTo>
                    <a:lnTo>
                      <a:pt x="0" y="6"/>
                    </a:lnTo>
                    <a:lnTo>
                      <a:pt x="0" y="10"/>
                    </a:lnTo>
                    <a:lnTo>
                      <a:pt x="4" y="12"/>
                    </a:lnTo>
                    <a:lnTo>
                      <a:pt x="6" y="12"/>
                    </a:lnTo>
                    <a:lnTo>
                      <a:pt x="8" y="10"/>
                    </a:lnTo>
                    <a:lnTo>
                      <a:pt x="10" y="6"/>
                    </a:lnTo>
                    <a:lnTo>
                      <a:pt x="10" y="2"/>
                    </a:lnTo>
                    <a:lnTo>
                      <a:pt x="8" y="0"/>
                    </a:lnTo>
                    <a:lnTo>
                      <a:pt x="6"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6" name="Freeform 6002"/>
              <p:cNvSpPr>
                <a:spLocks/>
              </p:cNvSpPr>
              <p:nvPr/>
            </p:nvSpPr>
            <p:spPr bwMode="auto">
              <a:xfrm>
                <a:off x="5332243" y="4613456"/>
                <a:ext cx="13274" cy="14930"/>
              </a:xfrm>
              <a:custGeom>
                <a:avLst/>
                <a:gdLst>
                  <a:gd name="T0" fmla="*/ 2147483647 w 18"/>
                  <a:gd name="T1" fmla="*/ 2147483647 h 28"/>
                  <a:gd name="T2" fmla="*/ 2147483647 w 18"/>
                  <a:gd name="T3" fmla="*/ 2147483647 h 28"/>
                  <a:gd name="T4" fmla="*/ 2147483647 w 18"/>
                  <a:gd name="T5" fmla="*/ 2147483647 h 28"/>
                  <a:gd name="T6" fmla="*/ 2147483647 w 18"/>
                  <a:gd name="T7" fmla="*/ 2147483647 h 28"/>
                  <a:gd name="T8" fmla="*/ 2147483647 w 18"/>
                  <a:gd name="T9" fmla="*/ 2147483647 h 28"/>
                  <a:gd name="T10" fmla="*/ 2147483647 w 18"/>
                  <a:gd name="T11" fmla="*/ 2147483647 h 28"/>
                  <a:gd name="T12" fmla="*/ 2147483647 w 18"/>
                  <a:gd name="T13" fmla="*/ 2147483647 h 28"/>
                  <a:gd name="T14" fmla="*/ 2147483647 w 18"/>
                  <a:gd name="T15" fmla="*/ 2147483647 h 28"/>
                  <a:gd name="T16" fmla="*/ 2147483647 w 18"/>
                  <a:gd name="T17" fmla="*/ 2147483647 h 28"/>
                  <a:gd name="T18" fmla="*/ 2147483647 w 18"/>
                  <a:gd name="T19" fmla="*/ 0 h 28"/>
                  <a:gd name="T20" fmla="*/ 2147483647 w 18"/>
                  <a:gd name="T21" fmla="*/ 2147483647 h 28"/>
                  <a:gd name="T22" fmla="*/ 2147483647 w 18"/>
                  <a:gd name="T23" fmla="*/ 2147483647 h 28"/>
                  <a:gd name="T24" fmla="*/ 0 w 18"/>
                  <a:gd name="T25" fmla="*/ 2147483647 h 28"/>
                  <a:gd name="T26" fmla="*/ 0 w 18"/>
                  <a:gd name="T27" fmla="*/ 2147483647 h 28"/>
                  <a:gd name="T28" fmla="*/ 2147483647 w 18"/>
                  <a:gd name="T29" fmla="*/ 2147483647 h 28"/>
                  <a:gd name="T30" fmla="*/ 2147483647 w 18"/>
                  <a:gd name="T31" fmla="*/ 2147483647 h 28"/>
                  <a:gd name="T32" fmla="*/ 2147483647 w 18"/>
                  <a:gd name="T33" fmla="*/ 2147483647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8"/>
                  <a:gd name="T53" fmla="*/ 18 w 18"/>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8">
                    <a:moveTo>
                      <a:pt x="10" y="28"/>
                    </a:moveTo>
                    <a:lnTo>
                      <a:pt x="10" y="28"/>
                    </a:lnTo>
                    <a:lnTo>
                      <a:pt x="14" y="26"/>
                    </a:lnTo>
                    <a:lnTo>
                      <a:pt x="16" y="24"/>
                    </a:lnTo>
                    <a:lnTo>
                      <a:pt x="18" y="22"/>
                    </a:lnTo>
                    <a:lnTo>
                      <a:pt x="18" y="20"/>
                    </a:lnTo>
                    <a:lnTo>
                      <a:pt x="16" y="12"/>
                    </a:lnTo>
                    <a:lnTo>
                      <a:pt x="14" y="2"/>
                    </a:lnTo>
                    <a:lnTo>
                      <a:pt x="12" y="0"/>
                    </a:lnTo>
                    <a:lnTo>
                      <a:pt x="10" y="2"/>
                    </a:lnTo>
                    <a:lnTo>
                      <a:pt x="2" y="12"/>
                    </a:lnTo>
                    <a:lnTo>
                      <a:pt x="0" y="18"/>
                    </a:lnTo>
                    <a:lnTo>
                      <a:pt x="0" y="24"/>
                    </a:lnTo>
                    <a:lnTo>
                      <a:pt x="2" y="28"/>
                    </a:lnTo>
                    <a:lnTo>
                      <a:pt x="10" y="2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7" name="Freeform 6003"/>
              <p:cNvSpPr>
                <a:spLocks/>
              </p:cNvSpPr>
              <p:nvPr/>
            </p:nvSpPr>
            <p:spPr bwMode="auto">
              <a:xfrm>
                <a:off x="5284125" y="4639999"/>
                <a:ext cx="14933" cy="13272"/>
              </a:xfrm>
              <a:custGeom>
                <a:avLst/>
                <a:gdLst>
                  <a:gd name="T0" fmla="*/ 0 w 26"/>
                  <a:gd name="T1" fmla="*/ 2147483647 h 24"/>
                  <a:gd name="T2" fmla="*/ 0 w 26"/>
                  <a:gd name="T3" fmla="*/ 2147483647 h 24"/>
                  <a:gd name="T4" fmla="*/ 0 w 26"/>
                  <a:gd name="T5" fmla="*/ 2147483647 h 24"/>
                  <a:gd name="T6" fmla="*/ 2147483647 w 26"/>
                  <a:gd name="T7" fmla="*/ 2147483647 h 24"/>
                  <a:gd name="T8" fmla="*/ 2147483647 w 26"/>
                  <a:gd name="T9" fmla="*/ 2147483647 h 24"/>
                  <a:gd name="T10" fmla="*/ 2147483647 w 26"/>
                  <a:gd name="T11" fmla="*/ 2147483647 h 24"/>
                  <a:gd name="T12" fmla="*/ 2147483647 w 26"/>
                  <a:gd name="T13" fmla="*/ 2147483647 h 24"/>
                  <a:gd name="T14" fmla="*/ 2147483647 w 26"/>
                  <a:gd name="T15" fmla="*/ 2147483647 h 24"/>
                  <a:gd name="T16" fmla="*/ 2147483647 w 26"/>
                  <a:gd name="T17" fmla="*/ 2147483647 h 24"/>
                  <a:gd name="T18" fmla="*/ 2147483647 w 26"/>
                  <a:gd name="T19" fmla="*/ 2147483647 h 24"/>
                  <a:gd name="T20" fmla="*/ 2147483647 w 26"/>
                  <a:gd name="T21" fmla="*/ 2147483647 h 24"/>
                  <a:gd name="T22" fmla="*/ 2147483647 w 26"/>
                  <a:gd name="T23" fmla="*/ 2147483647 h 24"/>
                  <a:gd name="T24" fmla="*/ 2147483647 w 26"/>
                  <a:gd name="T25" fmla="*/ 2147483647 h 24"/>
                  <a:gd name="T26" fmla="*/ 2147483647 w 26"/>
                  <a:gd name="T27" fmla="*/ 2147483647 h 24"/>
                  <a:gd name="T28" fmla="*/ 2147483647 w 26"/>
                  <a:gd name="T29" fmla="*/ 2147483647 h 24"/>
                  <a:gd name="T30" fmla="*/ 2147483647 w 26"/>
                  <a:gd name="T31" fmla="*/ 0 h 24"/>
                  <a:gd name="T32" fmla="*/ 2147483647 w 26"/>
                  <a:gd name="T33" fmla="*/ 2147483647 h 24"/>
                  <a:gd name="T34" fmla="*/ 0 w 26"/>
                  <a:gd name="T35" fmla="*/ 2147483647 h 24"/>
                  <a:gd name="T36" fmla="*/ 0 w 26"/>
                  <a:gd name="T37" fmla="*/ 2147483647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24"/>
                  <a:gd name="T59" fmla="*/ 26 w 26"/>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24">
                    <a:moveTo>
                      <a:pt x="0" y="4"/>
                    </a:moveTo>
                    <a:lnTo>
                      <a:pt x="0" y="4"/>
                    </a:lnTo>
                    <a:lnTo>
                      <a:pt x="0" y="8"/>
                    </a:lnTo>
                    <a:lnTo>
                      <a:pt x="2" y="12"/>
                    </a:lnTo>
                    <a:lnTo>
                      <a:pt x="8" y="20"/>
                    </a:lnTo>
                    <a:lnTo>
                      <a:pt x="12" y="22"/>
                    </a:lnTo>
                    <a:lnTo>
                      <a:pt x="16" y="24"/>
                    </a:lnTo>
                    <a:lnTo>
                      <a:pt x="20" y="22"/>
                    </a:lnTo>
                    <a:lnTo>
                      <a:pt x="24" y="20"/>
                    </a:lnTo>
                    <a:lnTo>
                      <a:pt x="26" y="16"/>
                    </a:lnTo>
                    <a:lnTo>
                      <a:pt x="26" y="12"/>
                    </a:lnTo>
                    <a:lnTo>
                      <a:pt x="22" y="8"/>
                    </a:lnTo>
                    <a:lnTo>
                      <a:pt x="18" y="4"/>
                    </a:lnTo>
                    <a:lnTo>
                      <a:pt x="14" y="2"/>
                    </a:lnTo>
                    <a:lnTo>
                      <a:pt x="8" y="0"/>
                    </a:lnTo>
                    <a:lnTo>
                      <a:pt x="4" y="2"/>
                    </a:lnTo>
                    <a:lnTo>
                      <a:pt x="0"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8" name="Freeform 6007"/>
              <p:cNvSpPr>
                <a:spLocks/>
              </p:cNvSpPr>
              <p:nvPr/>
            </p:nvSpPr>
            <p:spPr bwMode="auto">
              <a:xfrm>
                <a:off x="3226617" y="4006279"/>
                <a:ext cx="4977" cy="11612"/>
              </a:xfrm>
              <a:custGeom>
                <a:avLst/>
                <a:gdLst>
                  <a:gd name="T0" fmla="*/ 2147483647 w 10"/>
                  <a:gd name="T1" fmla="*/ 2147483647 h 16"/>
                  <a:gd name="T2" fmla="*/ 2147483647 w 10"/>
                  <a:gd name="T3" fmla="*/ 2147483647 h 16"/>
                  <a:gd name="T4" fmla="*/ 2147483647 w 10"/>
                  <a:gd name="T5" fmla="*/ 2147483647 h 16"/>
                  <a:gd name="T6" fmla="*/ 2147483647 w 10"/>
                  <a:gd name="T7" fmla="*/ 2147483647 h 16"/>
                  <a:gd name="T8" fmla="*/ 2147483647 w 10"/>
                  <a:gd name="T9" fmla="*/ 2147483647 h 16"/>
                  <a:gd name="T10" fmla="*/ 2147483647 w 10"/>
                  <a:gd name="T11" fmla="*/ 2147483647 h 16"/>
                  <a:gd name="T12" fmla="*/ 2147483647 w 10"/>
                  <a:gd name="T13" fmla="*/ 0 h 16"/>
                  <a:gd name="T14" fmla="*/ 2147483647 w 10"/>
                  <a:gd name="T15" fmla="*/ 0 h 16"/>
                  <a:gd name="T16" fmla="*/ 2147483647 w 10"/>
                  <a:gd name="T17" fmla="*/ 2147483647 h 16"/>
                  <a:gd name="T18" fmla="*/ 2147483647 w 10"/>
                  <a:gd name="T19" fmla="*/ 2147483647 h 16"/>
                  <a:gd name="T20" fmla="*/ 2147483647 w 10"/>
                  <a:gd name="T21" fmla="*/ 2147483647 h 16"/>
                  <a:gd name="T22" fmla="*/ 0 w 10"/>
                  <a:gd name="T23" fmla="*/ 2147483647 h 16"/>
                  <a:gd name="T24" fmla="*/ 2147483647 w 10"/>
                  <a:gd name="T25" fmla="*/ 2147483647 h 16"/>
                  <a:gd name="T26" fmla="*/ 2147483647 w 10"/>
                  <a:gd name="T27" fmla="*/ 2147483647 h 16"/>
                  <a:gd name="T28" fmla="*/ 2147483647 w 10"/>
                  <a:gd name="T29" fmla="*/ 2147483647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16"/>
                  <a:gd name="T47" fmla="*/ 10 w 10"/>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16">
                    <a:moveTo>
                      <a:pt x="6" y="16"/>
                    </a:moveTo>
                    <a:lnTo>
                      <a:pt x="6" y="16"/>
                    </a:lnTo>
                    <a:lnTo>
                      <a:pt x="8" y="16"/>
                    </a:lnTo>
                    <a:lnTo>
                      <a:pt x="10" y="12"/>
                    </a:lnTo>
                    <a:lnTo>
                      <a:pt x="6" y="4"/>
                    </a:lnTo>
                    <a:lnTo>
                      <a:pt x="4" y="0"/>
                    </a:lnTo>
                    <a:lnTo>
                      <a:pt x="4" y="6"/>
                    </a:lnTo>
                    <a:lnTo>
                      <a:pt x="2" y="10"/>
                    </a:lnTo>
                    <a:lnTo>
                      <a:pt x="0" y="14"/>
                    </a:lnTo>
                    <a:lnTo>
                      <a:pt x="2" y="16"/>
                    </a:lnTo>
                    <a:lnTo>
                      <a:pt x="6" y="1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9" name="Freeform 6137"/>
              <p:cNvSpPr>
                <a:spLocks/>
              </p:cNvSpPr>
              <p:nvPr/>
            </p:nvSpPr>
            <p:spPr bwMode="auto">
              <a:xfrm>
                <a:off x="4159133" y="4039458"/>
                <a:ext cx="6637" cy="9954"/>
              </a:xfrm>
              <a:custGeom>
                <a:avLst/>
                <a:gdLst>
                  <a:gd name="T0" fmla="*/ 2147483647 w 12"/>
                  <a:gd name="T1" fmla="*/ 0 h 18"/>
                  <a:gd name="T2" fmla="*/ 2147483647 w 12"/>
                  <a:gd name="T3" fmla="*/ 0 h 18"/>
                  <a:gd name="T4" fmla="*/ 2147483647 w 12"/>
                  <a:gd name="T5" fmla="*/ 0 h 18"/>
                  <a:gd name="T6" fmla="*/ 2147483647 w 12"/>
                  <a:gd name="T7" fmla="*/ 0 h 18"/>
                  <a:gd name="T8" fmla="*/ 0 w 12"/>
                  <a:gd name="T9" fmla="*/ 2147483647 h 18"/>
                  <a:gd name="T10" fmla="*/ 0 w 12"/>
                  <a:gd name="T11" fmla="*/ 2147483647 h 18"/>
                  <a:gd name="T12" fmla="*/ 2147483647 w 12"/>
                  <a:gd name="T13" fmla="*/ 2147483647 h 18"/>
                  <a:gd name="T14" fmla="*/ 2147483647 w 12"/>
                  <a:gd name="T15" fmla="*/ 2147483647 h 18"/>
                  <a:gd name="T16" fmla="*/ 2147483647 w 12"/>
                  <a:gd name="T17" fmla="*/ 2147483647 h 18"/>
                  <a:gd name="T18" fmla="*/ 2147483647 w 12"/>
                  <a:gd name="T19" fmla="*/ 2147483647 h 18"/>
                  <a:gd name="T20" fmla="*/ 2147483647 w 12"/>
                  <a:gd name="T21" fmla="*/ 2147483647 h 18"/>
                  <a:gd name="T22" fmla="*/ 2147483647 w 12"/>
                  <a:gd name="T23" fmla="*/ 2147483647 h 18"/>
                  <a:gd name="T24" fmla="*/ 2147483647 w 12"/>
                  <a:gd name="T25" fmla="*/ 2147483647 h 18"/>
                  <a:gd name="T26" fmla="*/ 2147483647 w 12"/>
                  <a:gd name="T27" fmla="*/ 0 h 18"/>
                  <a:gd name="T28" fmla="*/ 2147483647 w 12"/>
                  <a:gd name="T29" fmla="*/ 0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18"/>
                  <a:gd name="T47" fmla="*/ 12 w 12"/>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18">
                    <a:moveTo>
                      <a:pt x="10" y="0"/>
                    </a:moveTo>
                    <a:lnTo>
                      <a:pt x="10" y="0"/>
                    </a:lnTo>
                    <a:lnTo>
                      <a:pt x="6" y="0"/>
                    </a:lnTo>
                    <a:lnTo>
                      <a:pt x="4" y="0"/>
                    </a:lnTo>
                    <a:lnTo>
                      <a:pt x="0" y="6"/>
                    </a:lnTo>
                    <a:lnTo>
                      <a:pt x="0" y="14"/>
                    </a:lnTo>
                    <a:lnTo>
                      <a:pt x="2" y="18"/>
                    </a:lnTo>
                    <a:lnTo>
                      <a:pt x="4" y="18"/>
                    </a:lnTo>
                    <a:lnTo>
                      <a:pt x="6" y="16"/>
                    </a:lnTo>
                    <a:lnTo>
                      <a:pt x="10" y="10"/>
                    </a:lnTo>
                    <a:lnTo>
                      <a:pt x="12" y="4"/>
                    </a:lnTo>
                    <a:lnTo>
                      <a:pt x="12" y="2"/>
                    </a:lnTo>
                    <a:lnTo>
                      <a:pt x="1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0" name="Freeform 6139"/>
              <p:cNvSpPr>
                <a:spLocks/>
              </p:cNvSpPr>
              <p:nvPr/>
            </p:nvSpPr>
            <p:spPr bwMode="auto">
              <a:xfrm>
                <a:off x="5007024" y="4369589"/>
                <a:ext cx="4978" cy="13272"/>
              </a:xfrm>
              <a:custGeom>
                <a:avLst/>
                <a:gdLst>
                  <a:gd name="T0" fmla="*/ 2147483647 w 10"/>
                  <a:gd name="T1" fmla="*/ 2147483647 h 28"/>
                  <a:gd name="T2" fmla="*/ 2147483647 w 10"/>
                  <a:gd name="T3" fmla="*/ 2147483647 h 28"/>
                  <a:gd name="T4" fmla="*/ 2147483647 w 10"/>
                  <a:gd name="T5" fmla="*/ 2147483647 h 28"/>
                  <a:gd name="T6" fmla="*/ 2147483647 w 10"/>
                  <a:gd name="T7" fmla="*/ 2147483647 h 28"/>
                  <a:gd name="T8" fmla="*/ 2147483647 w 10"/>
                  <a:gd name="T9" fmla="*/ 2147483647 h 28"/>
                  <a:gd name="T10" fmla="*/ 2147483647 w 10"/>
                  <a:gd name="T11" fmla="*/ 2147483647 h 28"/>
                  <a:gd name="T12" fmla="*/ 2147483647 w 10"/>
                  <a:gd name="T13" fmla="*/ 0 h 28"/>
                  <a:gd name="T14" fmla="*/ 2147483647 w 10"/>
                  <a:gd name="T15" fmla="*/ 0 h 28"/>
                  <a:gd name="T16" fmla="*/ 2147483647 w 10"/>
                  <a:gd name="T17" fmla="*/ 0 h 28"/>
                  <a:gd name="T18" fmla="*/ 0 w 10"/>
                  <a:gd name="T19" fmla="*/ 2147483647 h 28"/>
                  <a:gd name="T20" fmla="*/ 0 w 10"/>
                  <a:gd name="T21" fmla="*/ 2147483647 h 28"/>
                  <a:gd name="T22" fmla="*/ 2147483647 w 10"/>
                  <a:gd name="T23" fmla="*/ 2147483647 h 28"/>
                  <a:gd name="T24" fmla="*/ 2147483647 w 10"/>
                  <a:gd name="T25" fmla="*/ 2147483647 h 28"/>
                  <a:gd name="T26" fmla="*/ 2147483647 w 10"/>
                  <a:gd name="T27" fmla="*/ 2147483647 h 28"/>
                  <a:gd name="T28" fmla="*/ 2147483647 w 10"/>
                  <a:gd name="T29" fmla="*/ 2147483647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28"/>
                  <a:gd name="T47" fmla="*/ 10 w 10"/>
                  <a:gd name="T48" fmla="*/ 28 h 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28">
                    <a:moveTo>
                      <a:pt x="8" y="28"/>
                    </a:moveTo>
                    <a:lnTo>
                      <a:pt x="8" y="28"/>
                    </a:lnTo>
                    <a:lnTo>
                      <a:pt x="10" y="28"/>
                    </a:lnTo>
                    <a:lnTo>
                      <a:pt x="10" y="24"/>
                    </a:lnTo>
                    <a:lnTo>
                      <a:pt x="10" y="12"/>
                    </a:lnTo>
                    <a:lnTo>
                      <a:pt x="8" y="2"/>
                    </a:lnTo>
                    <a:lnTo>
                      <a:pt x="6" y="0"/>
                    </a:lnTo>
                    <a:lnTo>
                      <a:pt x="4" y="0"/>
                    </a:lnTo>
                    <a:lnTo>
                      <a:pt x="0" y="6"/>
                    </a:lnTo>
                    <a:lnTo>
                      <a:pt x="0" y="16"/>
                    </a:lnTo>
                    <a:lnTo>
                      <a:pt x="2" y="24"/>
                    </a:lnTo>
                    <a:lnTo>
                      <a:pt x="4" y="26"/>
                    </a:lnTo>
                    <a:lnTo>
                      <a:pt x="8" y="2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1" name="Freeform 6140"/>
              <p:cNvSpPr>
                <a:spLocks/>
              </p:cNvSpPr>
              <p:nvPr/>
            </p:nvSpPr>
            <p:spPr bwMode="auto">
              <a:xfrm>
                <a:off x="4212230" y="3946557"/>
                <a:ext cx="4977" cy="8294"/>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2147483647 w 10"/>
                  <a:gd name="T9" fmla="*/ 2147483647 h 14"/>
                  <a:gd name="T10" fmla="*/ 2147483647 w 10"/>
                  <a:gd name="T11" fmla="*/ 0 h 14"/>
                  <a:gd name="T12" fmla="*/ 2147483647 w 10"/>
                  <a:gd name="T13" fmla="*/ 0 h 14"/>
                  <a:gd name="T14" fmla="*/ 0 w 10"/>
                  <a:gd name="T15" fmla="*/ 2147483647 h 14"/>
                  <a:gd name="T16" fmla="*/ 2147483647 w 10"/>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4"/>
                  <a:gd name="T29" fmla="*/ 10 w 1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4">
                    <a:moveTo>
                      <a:pt x="8" y="14"/>
                    </a:moveTo>
                    <a:lnTo>
                      <a:pt x="8" y="14"/>
                    </a:lnTo>
                    <a:lnTo>
                      <a:pt x="10" y="10"/>
                    </a:lnTo>
                    <a:lnTo>
                      <a:pt x="10" y="6"/>
                    </a:lnTo>
                    <a:lnTo>
                      <a:pt x="10" y="2"/>
                    </a:lnTo>
                    <a:lnTo>
                      <a:pt x="8" y="0"/>
                    </a:lnTo>
                    <a:lnTo>
                      <a:pt x="4" y="0"/>
                    </a:lnTo>
                    <a:lnTo>
                      <a:pt x="0" y="4"/>
                    </a:lnTo>
                    <a:lnTo>
                      <a:pt x="8" y="1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2" name="Freeform 6142"/>
              <p:cNvSpPr>
                <a:spLocks/>
              </p:cNvSpPr>
              <p:nvPr/>
            </p:nvSpPr>
            <p:spPr bwMode="auto">
              <a:xfrm>
                <a:off x="4212230" y="3946557"/>
                <a:ext cx="4977" cy="8294"/>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2147483647 w 10"/>
                  <a:gd name="T9" fmla="*/ 2147483647 h 14"/>
                  <a:gd name="T10" fmla="*/ 2147483647 w 10"/>
                  <a:gd name="T11" fmla="*/ 0 h 14"/>
                  <a:gd name="T12" fmla="*/ 2147483647 w 10"/>
                  <a:gd name="T13" fmla="*/ 0 h 14"/>
                  <a:gd name="T14" fmla="*/ 0 w 10"/>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4"/>
                  <a:gd name="T26" fmla="*/ 10 w 1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4">
                    <a:moveTo>
                      <a:pt x="8" y="14"/>
                    </a:moveTo>
                    <a:lnTo>
                      <a:pt x="8" y="14"/>
                    </a:lnTo>
                    <a:lnTo>
                      <a:pt x="10" y="10"/>
                    </a:lnTo>
                    <a:lnTo>
                      <a:pt x="10" y="6"/>
                    </a:lnTo>
                    <a:lnTo>
                      <a:pt x="10" y="2"/>
                    </a:lnTo>
                    <a:lnTo>
                      <a:pt x="8" y="0"/>
                    </a:lnTo>
                    <a:lnTo>
                      <a:pt x="4" y="0"/>
                    </a:lnTo>
                    <a:lnTo>
                      <a:pt x="0" y="4"/>
                    </a:lnTo>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3" name="Freeform 6143"/>
              <p:cNvSpPr>
                <a:spLocks/>
              </p:cNvSpPr>
              <p:nvPr/>
            </p:nvSpPr>
            <p:spPr bwMode="auto">
              <a:xfrm>
                <a:off x="3229936" y="4004620"/>
                <a:ext cx="6637" cy="6636"/>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2147483647 w 10"/>
                  <a:gd name="T9" fmla="*/ 2147483647 h 14"/>
                  <a:gd name="T10" fmla="*/ 2147483647 w 10"/>
                  <a:gd name="T11" fmla="*/ 0 h 14"/>
                  <a:gd name="T12" fmla="*/ 2147483647 w 10"/>
                  <a:gd name="T13" fmla="*/ 2147483647 h 14"/>
                  <a:gd name="T14" fmla="*/ 2147483647 w 10"/>
                  <a:gd name="T15" fmla="*/ 2147483647 h 14"/>
                  <a:gd name="T16" fmla="*/ 2147483647 w 10"/>
                  <a:gd name="T17" fmla="*/ 2147483647 h 14"/>
                  <a:gd name="T18" fmla="*/ 0 w 10"/>
                  <a:gd name="T19" fmla="*/ 2147483647 h 14"/>
                  <a:gd name="T20" fmla="*/ 0 w 10"/>
                  <a:gd name="T21" fmla="*/ 2147483647 h 14"/>
                  <a:gd name="T22" fmla="*/ 2147483647 w 10"/>
                  <a:gd name="T23" fmla="*/ 2147483647 h 14"/>
                  <a:gd name="T24" fmla="*/ 2147483647 w 10"/>
                  <a:gd name="T25" fmla="*/ 2147483647 h 14"/>
                  <a:gd name="T26" fmla="*/ 2147483647 w 10"/>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4"/>
                  <a:gd name="T44" fmla="*/ 10 w 1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4">
                    <a:moveTo>
                      <a:pt x="6" y="14"/>
                    </a:moveTo>
                    <a:lnTo>
                      <a:pt x="6" y="14"/>
                    </a:lnTo>
                    <a:lnTo>
                      <a:pt x="10" y="10"/>
                    </a:lnTo>
                    <a:lnTo>
                      <a:pt x="10" y="4"/>
                    </a:lnTo>
                    <a:lnTo>
                      <a:pt x="10" y="2"/>
                    </a:lnTo>
                    <a:lnTo>
                      <a:pt x="8" y="0"/>
                    </a:lnTo>
                    <a:lnTo>
                      <a:pt x="6" y="2"/>
                    </a:lnTo>
                    <a:lnTo>
                      <a:pt x="2" y="4"/>
                    </a:lnTo>
                    <a:lnTo>
                      <a:pt x="0" y="6"/>
                    </a:lnTo>
                    <a:lnTo>
                      <a:pt x="0" y="10"/>
                    </a:lnTo>
                    <a:lnTo>
                      <a:pt x="4" y="14"/>
                    </a:lnTo>
                    <a:lnTo>
                      <a:pt x="6" y="1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4" name="Freeform 6145"/>
              <p:cNvSpPr>
                <a:spLocks/>
              </p:cNvSpPr>
              <p:nvPr/>
            </p:nvSpPr>
            <p:spPr bwMode="auto">
              <a:xfrm>
                <a:off x="3206706" y="4027845"/>
                <a:ext cx="4977" cy="8295"/>
              </a:xfrm>
              <a:custGeom>
                <a:avLst/>
                <a:gdLst>
                  <a:gd name="T0" fmla="*/ 2147483647 w 8"/>
                  <a:gd name="T1" fmla="*/ 0 h 14"/>
                  <a:gd name="T2" fmla="*/ 2147483647 w 8"/>
                  <a:gd name="T3" fmla="*/ 0 h 14"/>
                  <a:gd name="T4" fmla="*/ 2147483647 w 8"/>
                  <a:gd name="T5" fmla="*/ 2147483647 h 14"/>
                  <a:gd name="T6" fmla="*/ 0 w 8"/>
                  <a:gd name="T7" fmla="*/ 2147483647 h 14"/>
                  <a:gd name="T8" fmla="*/ 0 w 8"/>
                  <a:gd name="T9" fmla="*/ 2147483647 h 14"/>
                  <a:gd name="T10" fmla="*/ 0 w 8"/>
                  <a:gd name="T11" fmla="*/ 2147483647 h 14"/>
                  <a:gd name="T12" fmla="*/ 2147483647 w 8"/>
                  <a:gd name="T13" fmla="*/ 2147483647 h 14"/>
                  <a:gd name="T14" fmla="*/ 2147483647 w 8"/>
                  <a:gd name="T15" fmla="*/ 2147483647 h 14"/>
                  <a:gd name="T16" fmla="*/ 2147483647 w 8"/>
                  <a:gd name="T17" fmla="*/ 2147483647 h 14"/>
                  <a:gd name="T18" fmla="*/ 2147483647 w 8"/>
                  <a:gd name="T19" fmla="*/ 2147483647 h 14"/>
                  <a:gd name="T20" fmla="*/ 2147483647 w 8"/>
                  <a:gd name="T21" fmla="*/ 0 h 14"/>
                  <a:gd name="T22" fmla="*/ 2147483647 w 8"/>
                  <a:gd name="T23" fmla="*/ 0 h 14"/>
                  <a:gd name="T24" fmla="*/ 2147483647 w 8"/>
                  <a:gd name="T25" fmla="*/ 0 h 14"/>
                  <a:gd name="T26" fmla="*/ 2147483647 w 8"/>
                  <a:gd name="T27" fmla="*/ 0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14"/>
                  <a:gd name="T44" fmla="*/ 8 w 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14">
                    <a:moveTo>
                      <a:pt x="6" y="0"/>
                    </a:moveTo>
                    <a:lnTo>
                      <a:pt x="6" y="0"/>
                    </a:lnTo>
                    <a:lnTo>
                      <a:pt x="2" y="2"/>
                    </a:lnTo>
                    <a:lnTo>
                      <a:pt x="0" y="8"/>
                    </a:lnTo>
                    <a:lnTo>
                      <a:pt x="0" y="12"/>
                    </a:lnTo>
                    <a:lnTo>
                      <a:pt x="0" y="14"/>
                    </a:lnTo>
                    <a:lnTo>
                      <a:pt x="2" y="14"/>
                    </a:lnTo>
                    <a:lnTo>
                      <a:pt x="4" y="12"/>
                    </a:lnTo>
                    <a:lnTo>
                      <a:pt x="8" y="6"/>
                    </a:lnTo>
                    <a:lnTo>
                      <a:pt x="8" y="0"/>
                    </a:lnTo>
                    <a:lnTo>
                      <a:pt x="6"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5" name="Freeform 6146"/>
              <p:cNvSpPr>
                <a:spLocks/>
              </p:cNvSpPr>
              <p:nvPr/>
            </p:nvSpPr>
            <p:spPr bwMode="auto">
              <a:xfrm>
                <a:off x="3213343" y="4037799"/>
                <a:ext cx="4977" cy="6636"/>
              </a:xfrm>
              <a:custGeom>
                <a:avLst/>
                <a:gdLst>
                  <a:gd name="T0" fmla="*/ 2147483647 w 10"/>
                  <a:gd name="T1" fmla="*/ 2147483647 h 10"/>
                  <a:gd name="T2" fmla="*/ 2147483647 w 10"/>
                  <a:gd name="T3" fmla="*/ 2147483647 h 10"/>
                  <a:gd name="T4" fmla="*/ 2147483647 w 10"/>
                  <a:gd name="T5" fmla="*/ 0 h 10"/>
                  <a:gd name="T6" fmla="*/ 2147483647 w 10"/>
                  <a:gd name="T7" fmla="*/ 0 h 10"/>
                  <a:gd name="T8" fmla="*/ 2147483647 w 10"/>
                  <a:gd name="T9" fmla="*/ 2147483647 h 10"/>
                  <a:gd name="T10" fmla="*/ 0 w 10"/>
                  <a:gd name="T11" fmla="*/ 2147483647 h 10"/>
                  <a:gd name="T12" fmla="*/ 0 w 10"/>
                  <a:gd name="T13" fmla="*/ 2147483647 h 10"/>
                  <a:gd name="T14" fmla="*/ 2147483647 w 10"/>
                  <a:gd name="T15" fmla="*/ 2147483647 h 10"/>
                  <a:gd name="T16" fmla="*/ 2147483647 w 10"/>
                  <a:gd name="T17" fmla="*/ 2147483647 h 10"/>
                  <a:gd name="T18" fmla="*/ 2147483647 w 10"/>
                  <a:gd name="T19" fmla="*/ 2147483647 h 10"/>
                  <a:gd name="T20" fmla="*/ 2147483647 w 10"/>
                  <a:gd name="T21" fmla="*/ 2147483647 h 10"/>
                  <a:gd name="T22" fmla="*/ 2147483647 w 10"/>
                  <a:gd name="T23" fmla="*/ 2147483647 h 10"/>
                  <a:gd name="T24" fmla="*/ 2147483647 w 10"/>
                  <a:gd name="T25" fmla="*/ 2147483647 h 10"/>
                  <a:gd name="T26" fmla="*/ 2147483647 w 10"/>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0"/>
                  <a:gd name="T44" fmla="*/ 10 w 10"/>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0">
                    <a:moveTo>
                      <a:pt x="10" y="2"/>
                    </a:moveTo>
                    <a:lnTo>
                      <a:pt x="10" y="2"/>
                    </a:lnTo>
                    <a:lnTo>
                      <a:pt x="10" y="0"/>
                    </a:lnTo>
                    <a:lnTo>
                      <a:pt x="8" y="0"/>
                    </a:lnTo>
                    <a:lnTo>
                      <a:pt x="4" y="4"/>
                    </a:lnTo>
                    <a:lnTo>
                      <a:pt x="0" y="8"/>
                    </a:lnTo>
                    <a:lnTo>
                      <a:pt x="2" y="10"/>
                    </a:lnTo>
                    <a:lnTo>
                      <a:pt x="4" y="10"/>
                    </a:lnTo>
                    <a:lnTo>
                      <a:pt x="8" y="8"/>
                    </a:lnTo>
                    <a:lnTo>
                      <a:pt x="10" y="4"/>
                    </a:lnTo>
                    <a:lnTo>
                      <a:pt x="1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6" name="Freeform 6147"/>
              <p:cNvSpPr>
                <a:spLocks/>
              </p:cNvSpPr>
              <p:nvPr/>
            </p:nvSpPr>
            <p:spPr bwMode="auto">
              <a:xfrm>
                <a:off x="3231595" y="3999644"/>
                <a:ext cx="6637" cy="1658"/>
              </a:xfrm>
              <a:custGeom>
                <a:avLst/>
                <a:gdLst>
                  <a:gd name="T0" fmla="*/ 0 w 10"/>
                  <a:gd name="T1" fmla="*/ 2147483647 h 6"/>
                  <a:gd name="T2" fmla="*/ 0 w 10"/>
                  <a:gd name="T3" fmla="*/ 2147483647 h 6"/>
                  <a:gd name="T4" fmla="*/ 0 w 10"/>
                  <a:gd name="T5" fmla="*/ 2147483647 h 6"/>
                  <a:gd name="T6" fmla="*/ 0 w 10"/>
                  <a:gd name="T7" fmla="*/ 2147483647 h 6"/>
                  <a:gd name="T8" fmla="*/ 2147483647 w 10"/>
                  <a:gd name="T9" fmla="*/ 2147483647 h 6"/>
                  <a:gd name="T10" fmla="*/ 2147483647 w 10"/>
                  <a:gd name="T11" fmla="*/ 2147483647 h 6"/>
                  <a:gd name="T12" fmla="*/ 2147483647 w 10"/>
                  <a:gd name="T13" fmla="*/ 0 h 6"/>
                  <a:gd name="T14" fmla="*/ 2147483647 w 10"/>
                  <a:gd name="T15" fmla="*/ 0 h 6"/>
                  <a:gd name="T16" fmla="*/ 2147483647 w 10"/>
                  <a:gd name="T17" fmla="*/ 0 h 6"/>
                  <a:gd name="T18" fmla="*/ 2147483647 w 10"/>
                  <a:gd name="T19" fmla="*/ 0 h 6"/>
                  <a:gd name="T20" fmla="*/ 2147483647 w 10"/>
                  <a:gd name="T21" fmla="*/ 2147483647 h 6"/>
                  <a:gd name="T22" fmla="*/ 0 w 10"/>
                  <a:gd name="T23" fmla="*/ 2147483647 h 6"/>
                  <a:gd name="T24" fmla="*/ 0 w 10"/>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6"/>
                  <a:gd name="T41" fmla="*/ 10 w 10"/>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6">
                    <a:moveTo>
                      <a:pt x="0" y="6"/>
                    </a:moveTo>
                    <a:lnTo>
                      <a:pt x="0" y="6"/>
                    </a:lnTo>
                    <a:lnTo>
                      <a:pt x="4" y="6"/>
                    </a:lnTo>
                    <a:lnTo>
                      <a:pt x="8" y="4"/>
                    </a:lnTo>
                    <a:lnTo>
                      <a:pt x="10" y="0"/>
                    </a:lnTo>
                    <a:lnTo>
                      <a:pt x="8" y="0"/>
                    </a:lnTo>
                    <a:lnTo>
                      <a:pt x="4" y="0"/>
                    </a:lnTo>
                    <a:lnTo>
                      <a:pt x="2" y="2"/>
                    </a:lnTo>
                    <a:lnTo>
                      <a:pt x="0"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7" name="Freeform 6148"/>
              <p:cNvSpPr>
                <a:spLocks/>
              </p:cNvSpPr>
              <p:nvPr/>
            </p:nvSpPr>
            <p:spPr bwMode="auto">
              <a:xfrm>
                <a:off x="3213343" y="4034481"/>
                <a:ext cx="3319" cy="3318"/>
              </a:xfrm>
              <a:custGeom>
                <a:avLst/>
                <a:gdLst>
                  <a:gd name="T0" fmla="*/ 2147483647 w 8"/>
                  <a:gd name="T1" fmla="*/ 0 h 8"/>
                  <a:gd name="T2" fmla="*/ 2147483647 w 8"/>
                  <a:gd name="T3" fmla="*/ 0 h 8"/>
                  <a:gd name="T4" fmla="*/ 2147483647 w 8"/>
                  <a:gd name="T5" fmla="*/ 2147483647 h 8"/>
                  <a:gd name="T6" fmla="*/ 0 w 8"/>
                  <a:gd name="T7" fmla="*/ 2147483647 h 8"/>
                  <a:gd name="T8" fmla="*/ 0 w 8"/>
                  <a:gd name="T9" fmla="*/ 2147483647 h 8"/>
                  <a:gd name="T10" fmla="*/ 0 w 8"/>
                  <a:gd name="T11" fmla="*/ 2147483647 h 8"/>
                  <a:gd name="T12" fmla="*/ 0 w 8"/>
                  <a:gd name="T13" fmla="*/ 2147483647 h 8"/>
                  <a:gd name="T14" fmla="*/ 2147483647 w 8"/>
                  <a:gd name="T15" fmla="*/ 2147483647 h 8"/>
                  <a:gd name="T16" fmla="*/ 2147483647 w 8"/>
                  <a:gd name="T17" fmla="*/ 2147483647 h 8"/>
                  <a:gd name="T18" fmla="*/ 2147483647 w 8"/>
                  <a:gd name="T19" fmla="*/ 2147483647 h 8"/>
                  <a:gd name="T20" fmla="*/ 2147483647 w 8"/>
                  <a:gd name="T21" fmla="*/ 0 h 8"/>
                  <a:gd name="T22" fmla="*/ 2147483647 w 8"/>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8"/>
                  <a:gd name="T38" fmla="*/ 8 w 8"/>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8">
                    <a:moveTo>
                      <a:pt x="6" y="0"/>
                    </a:moveTo>
                    <a:lnTo>
                      <a:pt x="6" y="0"/>
                    </a:lnTo>
                    <a:lnTo>
                      <a:pt x="4" y="2"/>
                    </a:lnTo>
                    <a:lnTo>
                      <a:pt x="0" y="4"/>
                    </a:lnTo>
                    <a:lnTo>
                      <a:pt x="0" y="6"/>
                    </a:lnTo>
                    <a:lnTo>
                      <a:pt x="0" y="8"/>
                    </a:lnTo>
                    <a:lnTo>
                      <a:pt x="4" y="8"/>
                    </a:lnTo>
                    <a:lnTo>
                      <a:pt x="6" y="6"/>
                    </a:lnTo>
                    <a:lnTo>
                      <a:pt x="8" y="2"/>
                    </a:lnTo>
                    <a:lnTo>
                      <a:pt x="6"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8" name="Freeform 6151"/>
              <p:cNvSpPr>
                <a:spLocks noEditPoints="1"/>
              </p:cNvSpPr>
              <p:nvPr/>
            </p:nvSpPr>
            <p:spPr bwMode="auto">
              <a:xfrm>
                <a:off x="6621504" y="4051070"/>
                <a:ext cx="1539812" cy="1375272"/>
              </a:xfrm>
              <a:custGeom>
                <a:avLst/>
                <a:gdLst/>
                <a:ahLst/>
                <a:cxnLst>
                  <a:cxn ang="0">
                    <a:pos x="696" y="550"/>
                  </a:cxn>
                  <a:cxn ang="0">
                    <a:pos x="1634" y="564"/>
                  </a:cxn>
                  <a:cxn ang="0">
                    <a:pos x="1542" y="1182"/>
                  </a:cxn>
                  <a:cxn ang="0">
                    <a:pos x="1436" y="994"/>
                  </a:cxn>
                  <a:cxn ang="0">
                    <a:pos x="1244" y="702"/>
                  </a:cxn>
                  <a:cxn ang="0">
                    <a:pos x="1144" y="636"/>
                  </a:cxn>
                  <a:cxn ang="0">
                    <a:pos x="912" y="744"/>
                  </a:cxn>
                  <a:cxn ang="0">
                    <a:pos x="920" y="604"/>
                  </a:cxn>
                  <a:cxn ang="0">
                    <a:pos x="754" y="556"/>
                  </a:cxn>
                  <a:cxn ang="0">
                    <a:pos x="612" y="722"/>
                  </a:cxn>
                  <a:cxn ang="0">
                    <a:pos x="414" y="840"/>
                  </a:cxn>
                  <a:cxn ang="0">
                    <a:pos x="110" y="1034"/>
                  </a:cxn>
                  <a:cxn ang="0">
                    <a:pos x="8" y="1264"/>
                  </a:cxn>
                  <a:cxn ang="0">
                    <a:pos x="96" y="1664"/>
                  </a:cxn>
                  <a:cxn ang="0">
                    <a:pos x="344" y="1698"/>
                  </a:cxn>
                  <a:cxn ang="0">
                    <a:pos x="772" y="1596"/>
                  </a:cxn>
                  <a:cxn ang="0">
                    <a:pos x="990" y="1640"/>
                  </a:cxn>
                  <a:cxn ang="0">
                    <a:pos x="1020" y="1792"/>
                  </a:cxn>
                  <a:cxn ang="0">
                    <a:pos x="1276" y="1916"/>
                  </a:cxn>
                  <a:cxn ang="0">
                    <a:pos x="1478" y="1874"/>
                  </a:cxn>
                  <a:cxn ang="0">
                    <a:pos x="1628" y="1412"/>
                  </a:cxn>
                  <a:cxn ang="0">
                    <a:pos x="1668" y="244"/>
                  </a:cxn>
                  <a:cxn ang="0">
                    <a:pos x="1242" y="2032"/>
                  </a:cxn>
                  <a:cxn ang="0">
                    <a:pos x="1276" y="2118"/>
                  </a:cxn>
                  <a:cxn ang="0">
                    <a:pos x="1388" y="2198"/>
                  </a:cxn>
                  <a:cxn ang="0">
                    <a:pos x="982" y="1810"/>
                  </a:cxn>
                  <a:cxn ang="0">
                    <a:pos x="2214" y="814"/>
                  </a:cxn>
                  <a:cxn ang="0">
                    <a:pos x="2158" y="1098"/>
                  </a:cxn>
                  <a:cxn ang="0">
                    <a:pos x="2154" y="718"/>
                  </a:cxn>
                  <a:cxn ang="0">
                    <a:pos x="1772" y="386"/>
                  </a:cxn>
                  <a:cxn ang="0">
                    <a:pos x="1742" y="318"/>
                  </a:cxn>
                  <a:cxn ang="0">
                    <a:pos x="1830" y="382"/>
                  </a:cxn>
                  <a:cxn ang="0">
                    <a:pos x="1906" y="576"/>
                  </a:cxn>
                  <a:cxn ang="0">
                    <a:pos x="2196" y="808"/>
                  </a:cxn>
                  <a:cxn ang="0">
                    <a:pos x="2434" y="2088"/>
                  </a:cxn>
                  <a:cxn ang="0">
                    <a:pos x="2246" y="2248"/>
                  </a:cxn>
                  <a:cxn ang="0">
                    <a:pos x="2256" y="2404"/>
                  </a:cxn>
                  <a:cxn ang="0">
                    <a:pos x="2416" y="2196"/>
                  </a:cxn>
                  <a:cxn ang="0">
                    <a:pos x="2666" y="822"/>
                  </a:cxn>
                  <a:cxn ang="0">
                    <a:pos x="2482" y="1836"/>
                  </a:cxn>
                  <a:cxn ang="0">
                    <a:pos x="2464" y="1830"/>
                  </a:cxn>
                  <a:cxn ang="0">
                    <a:pos x="2502" y="2120"/>
                  </a:cxn>
                  <a:cxn ang="0">
                    <a:pos x="2600" y="1904"/>
                  </a:cxn>
                  <a:cxn ang="0">
                    <a:pos x="2250" y="926"/>
                  </a:cxn>
                  <a:cxn ang="0">
                    <a:pos x="1522" y="492"/>
                  </a:cxn>
                  <a:cxn ang="0">
                    <a:pos x="1366" y="252"/>
                  </a:cxn>
                  <a:cxn ang="0">
                    <a:pos x="920" y="78"/>
                  </a:cxn>
                  <a:cxn ang="0">
                    <a:pos x="850" y="288"/>
                  </a:cxn>
                  <a:cxn ang="0">
                    <a:pos x="994" y="384"/>
                  </a:cxn>
                  <a:cxn ang="0">
                    <a:pos x="1060" y="804"/>
                  </a:cxn>
                  <a:cxn ang="0">
                    <a:pos x="1212" y="440"/>
                  </a:cxn>
                  <a:cxn ang="0">
                    <a:pos x="1400" y="492"/>
                  </a:cxn>
                  <a:cxn ang="0">
                    <a:pos x="1394" y="386"/>
                  </a:cxn>
                  <a:cxn ang="0">
                    <a:pos x="1220" y="170"/>
                  </a:cxn>
                  <a:cxn ang="0">
                    <a:pos x="1452" y="296"/>
                  </a:cxn>
                  <a:cxn ang="0">
                    <a:pos x="1530" y="242"/>
                  </a:cxn>
                  <a:cxn ang="0">
                    <a:pos x="1588" y="202"/>
                  </a:cxn>
                  <a:cxn ang="0">
                    <a:pos x="1500" y="128"/>
                  </a:cxn>
                  <a:cxn ang="0">
                    <a:pos x="768" y="146"/>
                  </a:cxn>
                  <a:cxn ang="0">
                    <a:pos x="1004" y="284"/>
                  </a:cxn>
                  <a:cxn ang="0">
                    <a:pos x="966" y="96"/>
                  </a:cxn>
                  <a:cxn ang="0">
                    <a:pos x="786" y="18"/>
                  </a:cxn>
                  <a:cxn ang="0">
                    <a:pos x="1616" y="1224"/>
                  </a:cxn>
                </a:cxnLst>
                <a:rect l="0" t="0" r="r" b="b"/>
                <a:pathLst>
                  <a:path w="2690" h="2404">
                    <a:moveTo>
                      <a:pt x="692" y="12"/>
                    </a:moveTo>
                    <a:lnTo>
                      <a:pt x="692" y="12"/>
                    </a:lnTo>
                    <a:lnTo>
                      <a:pt x="698" y="14"/>
                    </a:lnTo>
                    <a:lnTo>
                      <a:pt x="702" y="18"/>
                    </a:lnTo>
                    <a:lnTo>
                      <a:pt x="708" y="20"/>
                    </a:lnTo>
                    <a:lnTo>
                      <a:pt x="714" y="20"/>
                    </a:lnTo>
                    <a:lnTo>
                      <a:pt x="714" y="20"/>
                    </a:lnTo>
                    <a:lnTo>
                      <a:pt x="716" y="20"/>
                    </a:lnTo>
                    <a:lnTo>
                      <a:pt x="714" y="18"/>
                    </a:lnTo>
                    <a:lnTo>
                      <a:pt x="712" y="16"/>
                    </a:lnTo>
                    <a:lnTo>
                      <a:pt x="710" y="12"/>
                    </a:lnTo>
                    <a:lnTo>
                      <a:pt x="708" y="12"/>
                    </a:lnTo>
                    <a:lnTo>
                      <a:pt x="710" y="12"/>
                    </a:lnTo>
                    <a:lnTo>
                      <a:pt x="710" y="12"/>
                    </a:lnTo>
                    <a:lnTo>
                      <a:pt x="714" y="12"/>
                    </a:lnTo>
                    <a:lnTo>
                      <a:pt x="718" y="16"/>
                    </a:lnTo>
                    <a:lnTo>
                      <a:pt x="722" y="18"/>
                    </a:lnTo>
                    <a:lnTo>
                      <a:pt x="728" y="18"/>
                    </a:lnTo>
                    <a:lnTo>
                      <a:pt x="728" y="18"/>
                    </a:lnTo>
                    <a:lnTo>
                      <a:pt x="730" y="16"/>
                    </a:lnTo>
                    <a:lnTo>
                      <a:pt x="730" y="12"/>
                    </a:lnTo>
                    <a:lnTo>
                      <a:pt x="724" y="6"/>
                    </a:lnTo>
                    <a:lnTo>
                      <a:pt x="714" y="2"/>
                    </a:lnTo>
                    <a:lnTo>
                      <a:pt x="708" y="0"/>
                    </a:lnTo>
                    <a:lnTo>
                      <a:pt x="702" y="2"/>
                    </a:lnTo>
                    <a:lnTo>
                      <a:pt x="702" y="2"/>
                    </a:lnTo>
                    <a:lnTo>
                      <a:pt x="694" y="4"/>
                    </a:lnTo>
                    <a:lnTo>
                      <a:pt x="688" y="8"/>
                    </a:lnTo>
                    <a:lnTo>
                      <a:pt x="688" y="10"/>
                    </a:lnTo>
                    <a:lnTo>
                      <a:pt x="692" y="12"/>
                    </a:lnTo>
                    <a:lnTo>
                      <a:pt x="692" y="12"/>
                    </a:lnTo>
                    <a:close/>
                    <a:moveTo>
                      <a:pt x="742" y="352"/>
                    </a:moveTo>
                    <a:lnTo>
                      <a:pt x="742" y="352"/>
                    </a:lnTo>
                    <a:lnTo>
                      <a:pt x="740" y="350"/>
                    </a:lnTo>
                    <a:lnTo>
                      <a:pt x="740" y="350"/>
                    </a:lnTo>
                    <a:lnTo>
                      <a:pt x="736" y="352"/>
                    </a:lnTo>
                    <a:lnTo>
                      <a:pt x="732" y="358"/>
                    </a:lnTo>
                    <a:lnTo>
                      <a:pt x="728" y="366"/>
                    </a:lnTo>
                    <a:lnTo>
                      <a:pt x="724" y="382"/>
                    </a:lnTo>
                    <a:lnTo>
                      <a:pt x="724" y="386"/>
                    </a:lnTo>
                    <a:lnTo>
                      <a:pt x="724" y="388"/>
                    </a:lnTo>
                    <a:lnTo>
                      <a:pt x="726" y="388"/>
                    </a:lnTo>
                    <a:lnTo>
                      <a:pt x="726" y="388"/>
                    </a:lnTo>
                    <a:lnTo>
                      <a:pt x="736" y="382"/>
                    </a:lnTo>
                    <a:lnTo>
                      <a:pt x="742" y="374"/>
                    </a:lnTo>
                    <a:lnTo>
                      <a:pt x="744" y="364"/>
                    </a:lnTo>
                    <a:lnTo>
                      <a:pt x="742" y="352"/>
                    </a:lnTo>
                    <a:lnTo>
                      <a:pt x="742" y="352"/>
                    </a:lnTo>
                    <a:close/>
                    <a:moveTo>
                      <a:pt x="696" y="550"/>
                    </a:moveTo>
                    <a:lnTo>
                      <a:pt x="696" y="550"/>
                    </a:lnTo>
                    <a:lnTo>
                      <a:pt x="692" y="548"/>
                    </a:lnTo>
                    <a:lnTo>
                      <a:pt x="690" y="548"/>
                    </a:lnTo>
                    <a:lnTo>
                      <a:pt x="690" y="552"/>
                    </a:lnTo>
                    <a:lnTo>
                      <a:pt x="692" y="556"/>
                    </a:lnTo>
                    <a:lnTo>
                      <a:pt x="700" y="566"/>
                    </a:lnTo>
                    <a:lnTo>
                      <a:pt x="710" y="578"/>
                    </a:lnTo>
                    <a:lnTo>
                      <a:pt x="710" y="578"/>
                    </a:lnTo>
                    <a:lnTo>
                      <a:pt x="714" y="580"/>
                    </a:lnTo>
                    <a:lnTo>
                      <a:pt x="718" y="578"/>
                    </a:lnTo>
                    <a:lnTo>
                      <a:pt x="724" y="576"/>
                    </a:lnTo>
                    <a:lnTo>
                      <a:pt x="728" y="574"/>
                    </a:lnTo>
                    <a:lnTo>
                      <a:pt x="734" y="568"/>
                    </a:lnTo>
                    <a:lnTo>
                      <a:pt x="736" y="564"/>
                    </a:lnTo>
                    <a:lnTo>
                      <a:pt x="738" y="558"/>
                    </a:lnTo>
                    <a:lnTo>
                      <a:pt x="736" y="552"/>
                    </a:lnTo>
                    <a:lnTo>
                      <a:pt x="736" y="552"/>
                    </a:lnTo>
                    <a:lnTo>
                      <a:pt x="730" y="546"/>
                    </a:lnTo>
                    <a:lnTo>
                      <a:pt x="728" y="544"/>
                    </a:lnTo>
                    <a:lnTo>
                      <a:pt x="724" y="546"/>
                    </a:lnTo>
                    <a:lnTo>
                      <a:pt x="722" y="548"/>
                    </a:lnTo>
                    <a:lnTo>
                      <a:pt x="718" y="552"/>
                    </a:lnTo>
                    <a:lnTo>
                      <a:pt x="712" y="554"/>
                    </a:lnTo>
                    <a:lnTo>
                      <a:pt x="706" y="554"/>
                    </a:lnTo>
                    <a:lnTo>
                      <a:pt x="696" y="550"/>
                    </a:lnTo>
                    <a:lnTo>
                      <a:pt x="696" y="550"/>
                    </a:lnTo>
                    <a:close/>
                    <a:moveTo>
                      <a:pt x="936" y="688"/>
                    </a:moveTo>
                    <a:lnTo>
                      <a:pt x="936" y="688"/>
                    </a:lnTo>
                    <a:lnTo>
                      <a:pt x="938" y="696"/>
                    </a:lnTo>
                    <a:lnTo>
                      <a:pt x="940" y="696"/>
                    </a:lnTo>
                    <a:lnTo>
                      <a:pt x="942" y="696"/>
                    </a:lnTo>
                    <a:lnTo>
                      <a:pt x="946" y="692"/>
                    </a:lnTo>
                    <a:lnTo>
                      <a:pt x="950" y="684"/>
                    </a:lnTo>
                    <a:lnTo>
                      <a:pt x="950" y="684"/>
                    </a:lnTo>
                    <a:lnTo>
                      <a:pt x="950" y="680"/>
                    </a:lnTo>
                    <a:lnTo>
                      <a:pt x="950" y="678"/>
                    </a:lnTo>
                    <a:lnTo>
                      <a:pt x="946" y="676"/>
                    </a:lnTo>
                    <a:lnTo>
                      <a:pt x="942" y="676"/>
                    </a:lnTo>
                    <a:lnTo>
                      <a:pt x="940" y="676"/>
                    </a:lnTo>
                    <a:lnTo>
                      <a:pt x="936" y="680"/>
                    </a:lnTo>
                    <a:lnTo>
                      <a:pt x="934" y="684"/>
                    </a:lnTo>
                    <a:lnTo>
                      <a:pt x="936" y="688"/>
                    </a:lnTo>
                    <a:lnTo>
                      <a:pt x="936" y="688"/>
                    </a:lnTo>
                    <a:close/>
                    <a:moveTo>
                      <a:pt x="1610" y="556"/>
                    </a:moveTo>
                    <a:lnTo>
                      <a:pt x="1610" y="556"/>
                    </a:lnTo>
                    <a:lnTo>
                      <a:pt x="1616" y="560"/>
                    </a:lnTo>
                    <a:lnTo>
                      <a:pt x="1624" y="562"/>
                    </a:lnTo>
                    <a:lnTo>
                      <a:pt x="1632" y="564"/>
                    </a:lnTo>
                    <a:lnTo>
                      <a:pt x="1634" y="564"/>
                    </a:lnTo>
                    <a:lnTo>
                      <a:pt x="1634" y="562"/>
                    </a:lnTo>
                    <a:lnTo>
                      <a:pt x="1634" y="562"/>
                    </a:lnTo>
                    <a:lnTo>
                      <a:pt x="1628" y="558"/>
                    </a:lnTo>
                    <a:lnTo>
                      <a:pt x="1618" y="552"/>
                    </a:lnTo>
                    <a:lnTo>
                      <a:pt x="1610" y="550"/>
                    </a:lnTo>
                    <a:lnTo>
                      <a:pt x="1610" y="552"/>
                    </a:lnTo>
                    <a:lnTo>
                      <a:pt x="1610" y="556"/>
                    </a:lnTo>
                    <a:lnTo>
                      <a:pt x="1610" y="556"/>
                    </a:lnTo>
                    <a:close/>
                    <a:moveTo>
                      <a:pt x="1402" y="2052"/>
                    </a:moveTo>
                    <a:lnTo>
                      <a:pt x="1402" y="2052"/>
                    </a:lnTo>
                    <a:lnTo>
                      <a:pt x="1404" y="2054"/>
                    </a:lnTo>
                    <a:lnTo>
                      <a:pt x="1410" y="2056"/>
                    </a:lnTo>
                    <a:lnTo>
                      <a:pt x="1416" y="2056"/>
                    </a:lnTo>
                    <a:lnTo>
                      <a:pt x="1420" y="2054"/>
                    </a:lnTo>
                    <a:lnTo>
                      <a:pt x="1420" y="2054"/>
                    </a:lnTo>
                    <a:lnTo>
                      <a:pt x="1420" y="2052"/>
                    </a:lnTo>
                    <a:lnTo>
                      <a:pt x="1418" y="2048"/>
                    </a:lnTo>
                    <a:lnTo>
                      <a:pt x="1412" y="2048"/>
                    </a:lnTo>
                    <a:lnTo>
                      <a:pt x="1404" y="2048"/>
                    </a:lnTo>
                    <a:lnTo>
                      <a:pt x="1402" y="2050"/>
                    </a:lnTo>
                    <a:lnTo>
                      <a:pt x="1402" y="2052"/>
                    </a:lnTo>
                    <a:lnTo>
                      <a:pt x="1402" y="2052"/>
                    </a:lnTo>
                    <a:close/>
                    <a:moveTo>
                      <a:pt x="1610" y="1344"/>
                    </a:moveTo>
                    <a:lnTo>
                      <a:pt x="1610" y="1344"/>
                    </a:lnTo>
                    <a:lnTo>
                      <a:pt x="1612" y="1338"/>
                    </a:lnTo>
                    <a:lnTo>
                      <a:pt x="1614" y="1334"/>
                    </a:lnTo>
                    <a:lnTo>
                      <a:pt x="1612" y="1324"/>
                    </a:lnTo>
                    <a:lnTo>
                      <a:pt x="1610" y="1312"/>
                    </a:lnTo>
                    <a:lnTo>
                      <a:pt x="1608" y="1304"/>
                    </a:lnTo>
                    <a:lnTo>
                      <a:pt x="1610" y="1294"/>
                    </a:lnTo>
                    <a:lnTo>
                      <a:pt x="1610" y="1294"/>
                    </a:lnTo>
                    <a:lnTo>
                      <a:pt x="1610" y="1280"/>
                    </a:lnTo>
                    <a:lnTo>
                      <a:pt x="1608" y="1276"/>
                    </a:lnTo>
                    <a:lnTo>
                      <a:pt x="1606" y="1276"/>
                    </a:lnTo>
                    <a:lnTo>
                      <a:pt x="1604" y="1274"/>
                    </a:lnTo>
                    <a:lnTo>
                      <a:pt x="1600" y="1270"/>
                    </a:lnTo>
                    <a:lnTo>
                      <a:pt x="1598" y="1266"/>
                    </a:lnTo>
                    <a:lnTo>
                      <a:pt x="1596" y="1256"/>
                    </a:lnTo>
                    <a:lnTo>
                      <a:pt x="1596" y="1256"/>
                    </a:lnTo>
                    <a:lnTo>
                      <a:pt x="1594" y="1246"/>
                    </a:lnTo>
                    <a:lnTo>
                      <a:pt x="1590" y="1238"/>
                    </a:lnTo>
                    <a:lnTo>
                      <a:pt x="1582" y="1226"/>
                    </a:lnTo>
                    <a:lnTo>
                      <a:pt x="1570" y="1214"/>
                    </a:lnTo>
                    <a:lnTo>
                      <a:pt x="1560" y="1198"/>
                    </a:lnTo>
                    <a:lnTo>
                      <a:pt x="1560" y="1198"/>
                    </a:lnTo>
                    <a:lnTo>
                      <a:pt x="1550" y="1184"/>
                    </a:lnTo>
                    <a:lnTo>
                      <a:pt x="1548" y="1182"/>
                    </a:lnTo>
                    <a:lnTo>
                      <a:pt x="1546" y="1182"/>
                    </a:lnTo>
                    <a:lnTo>
                      <a:pt x="1542" y="1182"/>
                    </a:lnTo>
                    <a:lnTo>
                      <a:pt x="1538" y="1180"/>
                    </a:lnTo>
                    <a:lnTo>
                      <a:pt x="1534" y="1176"/>
                    </a:lnTo>
                    <a:lnTo>
                      <a:pt x="1526" y="1166"/>
                    </a:lnTo>
                    <a:lnTo>
                      <a:pt x="1526" y="1166"/>
                    </a:lnTo>
                    <a:lnTo>
                      <a:pt x="1518" y="1156"/>
                    </a:lnTo>
                    <a:lnTo>
                      <a:pt x="1514" y="1146"/>
                    </a:lnTo>
                    <a:lnTo>
                      <a:pt x="1514" y="1136"/>
                    </a:lnTo>
                    <a:lnTo>
                      <a:pt x="1514" y="1126"/>
                    </a:lnTo>
                    <a:lnTo>
                      <a:pt x="1514" y="1110"/>
                    </a:lnTo>
                    <a:lnTo>
                      <a:pt x="1514" y="1104"/>
                    </a:lnTo>
                    <a:lnTo>
                      <a:pt x="1510" y="1098"/>
                    </a:lnTo>
                    <a:lnTo>
                      <a:pt x="1510" y="1098"/>
                    </a:lnTo>
                    <a:lnTo>
                      <a:pt x="1508" y="1096"/>
                    </a:lnTo>
                    <a:lnTo>
                      <a:pt x="1506" y="1096"/>
                    </a:lnTo>
                    <a:lnTo>
                      <a:pt x="1502" y="1102"/>
                    </a:lnTo>
                    <a:lnTo>
                      <a:pt x="1502" y="1104"/>
                    </a:lnTo>
                    <a:lnTo>
                      <a:pt x="1498" y="1104"/>
                    </a:lnTo>
                    <a:lnTo>
                      <a:pt x="1494" y="1102"/>
                    </a:lnTo>
                    <a:lnTo>
                      <a:pt x="1490" y="1096"/>
                    </a:lnTo>
                    <a:lnTo>
                      <a:pt x="1490" y="1096"/>
                    </a:lnTo>
                    <a:lnTo>
                      <a:pt x="1484" y="1090"/>
                    </a:lnTo>
                    <a:lnTo>
                      <a:pt x="1480" y="1090"/>
                    </a:lnTo>
                    <a:lnTo>
                      <a:pt x="1480" y="1092"/>
                    </a:lnTo>
                    <a:lnTo>
                      <a:pt x="1480" y="1098"/>
                    </a:lnTo>
                    <a:lnTo>
                      <a:pt x="1478" y="1102"/>
                    </a:lnTo>
                    <a:lnTo>
                      <a:pt x="1478" y="1106"/>
                    </a:lnTo>
                    <a:lnTo>
                      <a:pt x="1474" y="1104"/>
                    </a:lnTo>
                    <a:lnTo>
                      <a:pt x="1470" y="1100"/>
                    </a:lnTo>
                    <a:lnTo>
                      <a:pt x="1470" y="1100"/>
                    </a:lnTo>
                    <a:lnTo>
                      <a:pt x="1464" y="1092"/>
                    </a:lnTo>
                    <a:lnTo>
                      <a:pt x="1462" y="1086"/>
                    </a:lnTo>
                    <a:lnTo>
                      <a:pt x="1462" y="1080"/>
                    </a:lnTo>
                    <a:lnTo>
                      <a:pt x="1462" y="1076"/>
                    </a:lnTo>
                    <a:lnTo>
                      <a:pt x="1464" y="1066"/>
                    </a:lnTo>
                    <a:lnTo>
                      <a:pt x="1462" y="1060"/>
                    </a:lnTo>
                    <a:lnTo>
                      <a:pt x="1462" y="1054"/>
                    </a:lnTo>
                    <a:lnTo>
                      <a:pt x="1462" y="1054"/>
                    </a:lnTo>
                    <a:lnTo>
                      <a:pt x="1458" y="1046"/>
                    </a:lnTo>
                    <a:lnTo>
                      <a:pt x="1452" y="1038"/>
                    </a:lnTo>
                    <a:lnTo>
                      <a:pt x="1440" y="1022"/>
                    </a:lnTo>
                    <a:lnTo>
                      <a:pt x="1430" y="1012"/>
                    </a:lnTo>
                    <a:lnTo>
                      <a:pt x="1428" y="1008"/>
                    </a:lnTo>
                    <a:lnTo>
                      <a:pt x="1432" y="1008"/>
                    </a:lnTo>
                    <a:lnTo>
                      <a:pt x="1432" y="1008"/>
                    </a:lnTo>
                    <a:lnTo>
                      <a:pt x="1436" y="1008"/>
                    </a:lnTo>
                    <a:lnTo>
                      <a:pt x="1438" y="1006"/>
                    </a:lnTo>
                    <a:lnTo>
                      <a:pt x="1440" y="1002"/>
                    </a:lnTo>
                    <a:lnTo>
                      <a:pt x="1438" y="998"/>
                    </a:lnTo>
                    <a:lnTo>
                      <a:pt x="1436" y="994"/>
                    </a:lnTo>
                    <a:lnTo>
                      <a:pt x="1430" y="988"/>
                    </a:lnTo>
                    <a:lnTo>
                      <a:pt x="1422" y="984"/>
                    </a:lnTo>
                    <a:lnTo>
                      <a:pt x="1410" y="978"/>
                    </a:lnTo>
                    <a:lnTo>
                      <a:pt x="1410" y="978"/>
                    </a:lnTo>
                    <a:lnTo>
                      <a:pt x="1398" y="974"/>
                    </a:lnTo>
                    <a:lnTo>
                      <a:pt x="1392" y="968"/>
                    </a:lnTo>
                    <a:lnTo>
                      <a:pt x="1388" y="964"/>
                    </a:lnTo>
                    <a:lnTo>
                      <a:pt x="1386" y="960"/>
                    </a:lnTo>
                    <a:lnTo>
                      <a:pt x="1384" y="956"/>
                    </a:lnTo>
                    <a:lnTo>
                      <a:pt x="1380" y="952"/>
                    </a:lnTo>
                    <a:lnTo>
                      <a:pt x="1374" y="950"/>
                    </a:lnTo>
                    <a:lnTo>
                      <a:pt x="1364" y="946"/>
                    </a:lnTo>
                    <a:lnTo>
                      <a:pt x="1364" y="946"/>
                    </a:lnTo>
                    <a:lnTo>
                      <a:pt x="1354" y="942"/>
                    </a:lnTo>
                    <a:lnTo>
                      <a:pt x="1346" y="938"/>
                    </a:lnTo>
                    <a:lnTo>
                      <a:pt x="1340" y="934"/>
                    </a:lnTo>
                    <a:lnTo>
                      <a:pt x="1338" y="928"/>
                    </a:lnTo>
                    <a:lnTo>
                      <a:pt x="1334" y="916"/>
                    </a:lnTo>
                    <a:lnTo>
                      <a:pt x="1332" y="908"/>
                    </a:lnTo>
                    <a:lnTo>
                      <a:pt x="1328" y="902"/>
                    </a:lnTo>
                    <a:lnTo>
                      <a:pt x="1328" y="902"/>
                    </a:lnTo>
                    <a:lnTo>
                      <a:pt x="1324" y="896"/>
                    </a:lnTo>
                    <a:lnTo>
                      <a:pt x="1324" y="886"/>
                    </a:lnTo>
                    <a:lnTo>
                      <a:pt x="1322" y="864"/>
                    </a:lnTo>
                    <a:lnTo>
                      <a:pt x="1322" y="852"/>
                    </a:lnTo>
                    <a:lnTo>
                      <a:pt x="1320" y="840"/>
                    </a:lnTo>
                    <a:lnTo>
                      <a:pt x="1316" y="828"/>
                    </a:lnTo>
                    <a:lnTo>
                      <a:pt x="1308" y="818"/>
                    </a:lnTo>
                    <a:lnTo>
                      <a:pt x="1308" y="818"/>
                    </a:lnTo>
                    <a:lnTo>
                      <a:pt x="1304" y="812"/>
                    </a:lnTo>
                    <a:lnTo>
                      <a:pt x="1302" y="806"/>
                    </a:lnTo>
                    <a:lnTo>
                      <a:pt x="1298" y="794"/>
                    </a:lnTo>
                    <a:lnTo>
                      <a:pt x="1296" y="780"/>
                    </a:lnTo>
                    <a:lnTo>
                      <a:pt x="1296" y="764"/>
                    </a:lnTo>
                    <a:lnTo>
                      <a:pt x="1296" y="750"/>
                    </a:lnTo>
                    <a:lnTo>
                      <a:pt x="1294" y="736"/>
                    </a:lnTo>
                    <a:lnTo>
                      <a:pt x="1290" y="726"/>
                    </a:lnTo>
                    <a:lnTo>
                      <a:pt x="1286" y="722"/>
                    </a:lnTo>
                    <a:lnTo>
                      <a:pt x="1282" y="718"/>
                    </a:lnTo>
                    <a:lnTo>
                      <a:pt x="1282" y="718"/>
                    </a:lnTo>
                    <a:lnTo>
                      <a:pt x="1274" y="712"/>
                    </a:lnTo>
                    <a:lnTo>
                      <a:pt x="1268" y="704"/>
                    </a:lnTo>
                    <a:lnTo>
                      <a:pt x="1262" y="692"/>
                    </a:lnTo>
                    <a:lnTo>
                      <a:pt x="1258" y="690"/>
                    </a:lnTo>
                    <a:lnTo>
                      <a:pt x="1256" y="688"/>
                    </a:lnTo>
                    <a:lnTo>
                      <a:pt x="1254" y="690"/>
                    </a:lnTo>
                    <a:lnTo>
                      <a:pt x="1250" y="698"/>
                    </a:lnTo>
                    <a:lnTo>
                      <a:pt x="1250" y="698"/>
                    </a:lnTo>
                    <a:lnTo>
                      <a:pt x="1244" y="702"/>
                    </a:lnTo>
                    <a:lnTo>
                      <a:pt x="1240" y="704"/>
                    </a:lnTo>
                    <a:lnTo>
                      <a:pt x="1236" y="702"/>
                    </a:lnTo>
                    <a:lnTo>
                      <a:pt x="1232" y="696"/>
                    </a:lnTo>
                    <a:lnTo>
                      <a:pt x="1228" y="690"/>
                    </a:lnTo>
                    <a:lnTo>
                      <a:pt x="1226" y="682"/>
                    </a:lnTo>
                    <a:lnTo>
                      <a:pt x="1224" y="664"/>
                    </a:lnTo>
                    <a:lnTo>
                      <a:pt x="1224" y="664"/>
                    </a:lnTo>
                    <a:lnTo>
                      <a:pt x="1224" y="650"/>
                    </a:lnTo>
                    <a:lnTo>
                      <a:pt x="1224" y="634"/>
                    </a:lnTo>
                    <a:lnTo>
                      <a:pt x="1220" y="620"/>
                    </a:lnTo>
                    <a:lnTo>
                      <a:pt x="1216" y="614"/>
                    </a:lnTo>
                    <a:lnTo>
                      <a:pt x="1212" y="606"/>
                    </a:lnTo>
                    <a:lnTo>
                      <a:pt x="1212" y="606"/>
                    </a:lnTo>
                    <a:lnTo>
                      <a:pt x="1208" y="600"/>
                    </a:lnTo>
                    <a:lnTo>
                      <a:pt x="1206" y="596"/>
                    </a:lnTo>
                    <a:lnTo>
                      <a:pt x="1206" y="588"/>
                    </a:lnTo>
                    <a:lnTo>
                      <a:pt x="1208" y="584"/>
                    </a:lnTo>
                    <a:lnTo>
                      <a:pt x="1206" y="582"/>
                    </a:lnTo>
                    <a:lnTo>
                      <a:pt x="1204" y="578"/>
                    </a:lnTo>
                    <a:lnTo>
                      <a:pt x="1204" y="578"/>
                    </a:lnTo>
                    <a:lnTo>
                      <a:pt x="1200" y="576"/>
                    </a:lnTo>
                    <a:lnTo>
                      <a:pt x="1196" y="572"/>
                    </a:lnTo>
                    <a:lnTo>
                      <a:pt x="1194" y="562"/>
                    </a:lnTo>
                    <a:lnTo>
                      <a:pt x="1192" y="548"/>
                    </a:lnTo>
                    <a:lnTo>
                      <a:pt x="1190" y="534"/>
                    </a:lnTo>
                    <a:lnTo>
                      <a:pt x="1190" y="534"/>
                    </a:lnTo>
                    <a:lnTo>
                      <a:pt x="1188" y="526"/>
                    </a:lnTo>
                    <a:lnTo>
                      <a:pt x="1184" y="522"/>
                    </a:lnTo>
                    <a:lnTo>
                      <a:pt x="1180" y="520"/>
                    </a:lnTo>
                    <a:lnTo>
                      <a:pt x="1176" y="520"/>
                    </a:lnTo>
                    <a:lnTo>
                      <a:pt x="1172" y="522"/>
                    </a:lnTo>
                    <a:lnTo>
                      <a:pt x="1170" y="526"/>
                    </a:lnTo>
                    <a:lnTo>
                      <a:pt x="1166" y="532"/>
                    </a:lnTo>
                    <a:lnTo>
                      <a:pt x="1166" y="538"/>
                    </a:lnTo>
                    <a:lnTo>
                      <a:pt x="1166" y="538"/>
                    </a:lnTo>
                    <a:lnTo>
                      <a:pt x="1164" y="552"/>
                    </a:lnTo>
                    <a:lnTo>
                      <a:pt x="1162" y="564"/>
                    </a:lnTo>
                    <a:lnTo>
                      <a:pt x="1150" y="594"/>
                    </a:lnTo>
                    <a:lnTo>
                      <a:pt x="1150" y="594"/>
                    </a:lnTo>
                    <a:lnTo>
                      <a:pt x="1146" y="602"/>
                    </a:lnTo>
                    <a:lnTo>
                      <a:pt x="1146" y="608"/>
                    </a:lnTo>
                    <a:lnTo>
                      <a:pt x="1146" y="612"/>
                    </a:lnTo>
                    <a:lnTo>
                      <a:pt x="1150" y="614"/>
                    </a:lnTo>
                    <a:lnTo>
                      <a:pt x="1152" y="616"/>
                    </a:lnTo>
                    <a:lnTo>
                      <a:pt x="1152" y="618"/>
                    </a:lnTo>
                    <a:lnTo>
                      <a:pt x="1150" y="622"/>
                    </a:lnTo>
                    <a:lnTo>
                      <a:pt x="1150" y="622"/>
                    </a:lnTo>
                    <a:lnTo>
                      <a:pt x="1144" y="630"/>
                    </a:lnTo>
                    <a:lnTo>
                      <a:pt x="1144" y="636"/>
                    </a:lnTo>
                    <a:lnTo>
                      <a:pt x="1144" y="646"/>
                    </a:lnTo>
                    <a:lnTo>
                      <a:pt x="1138" y="658"/>
                    </a:lnTo>
                    <a:lnTo>
                      <a:pt x="1138" y="658"/>
                    </a:lnTo>
                    <a:lnTo>
                      <a:pt x="1136" y="668"/>
                    </a:lnTo>
                    <a:lnTo>
                      <a:pt x="1136" y="676"/>
                    </a:lnTo>
                    <a:lnTo>
                      <a:pt x="1140" y="700"/>
                    </a:lnTo>
                    <a:lnTo>
                      <a:pt x="1144" y="724"/>
                    </a:lnTo>
                    <a:lnTo>
                      <a:pt x="1144" y="736"/>
                    </a:lnTo>
                    <a:lnTo>
                      <a:pt x="1142" y="748"/>
                    </a:lnTo>
                    <a:lnTo>
                      <a:pt x="1142" y="748"/>
                    </a:lnTo>
                    <a:lnTo>
                      <a:pt x="1136" y="768"/>
                    </a:lnTo>
                    <a:lnTo>
                      <a:pt x="1136" y="780"/>
                    </a:lnTo>
                    <a:lnTo>
                      <a:pt x="1136" y="792"/>
                    </a:lnTo>
                    <a:lnTo>
                      <a:pt x="1130" y="806"/>
                    </a:lnTo>
                    <a:lnTo>
                      <a:pt x="1130" y="806"/>
                    </a:lnTo>
                    <a:lnTo>
                      <a:pt x="1124" y="816"/>
                    </a:lnTo>
                    <a:lnTo>
                      <a:pt x="1120" y="826"/>
                    </a:lnTo>
                    <a:lnTo>
                      <a:pt x="1116" y="840"/>
                    </a:lnTo>
                    <a:lnTo>
                      <a:pt x="1114" y="850"/>
                    </a:lnTo>
                    <a:lnTo>
                      <a:pt x="1110" y="856"/>
                    </a:lnTo>
                    <a:lnTo>
                      <a:pt x="1102" y="862"/>
                    </a:lnTo>
                    <a:lnTo>
                      <a:pt x="1102" y="862"/>
                    </a:lnTo>
                    <a:lnTo>
                      <a:pt x="1096" y="866"/>
                    </a:lnTo>
                    <a:lnTo>
                      <a:pt x="1088" y="866"/>
                    </a:lnTo>
                    <a:lnTo>
                      <a:pt x="1078" y="864"/>
                    </a:lnTo>
                    <a:lnTo>
                      <a:pt x="1068" y="860"/>
                    </a:lnTo>
                    <a:lnTo>
                      <a:pt x="1060" y="854"/>
                    </a:lnTo>
                    <a:lnTo>
                      <a:pt x="1052" y="848"/>
                    </a:lnTo>
                    <a:lnTo>
                      <a:pt x="1046" y="842"/>
                    </a:lnTo>
                    <a:lnTo>
                      <a:pt x="1044" y="836"/>
                    </a:lnTo>
                    <a:lnTo>
                      <a:pt x="1044" y="836"/>
                    </a:lnTo>
                    <a:lnTo>
                      <a:pt x="1040" y="830"/>
                    </a:lnTo>
                    <a:lnTo>
                      <a:pt x="1036" y="826"/>
                    </a:lnTo>
                    <a:lnTo>
                      <a:pt x="1028" y="824"/>
                    </a:lnTo>
                    <a:lnTo>
                      <a:pt x="1022" y="822"/>
                    </a:lnTo>
                    <a:lnTo>
                      <a:pt x="1014" y="818"/>
                    </a:lnTo>
                    <a:lnTo>
                      <a:pt x="1004" y="812"/>
                    </a:lnTo>
                    <a:lnTo>
                      <a:pt x="990" y="800"/>
                    </a:lnTo>
                    <a:lnTo>
                      <a:pt x="990" y="800"/>
                    </a:lnTo>
                    <a:lnTo>
                      <a:pt x="978" y="788"/>
                    </a:lnTo>
                    <a:lnTo>
                      <a:pt x="968" y="782"/>
                    </a:lnTo>
                    <a:lnTo>
                      <a:pt x="962" y="780"/>
                    </a:lnTo>
                    <a:lnTo>
                      <a:pt x="956" y="778"/>
                    </a:lnTo>
                    <a:lnTo>
                      <a:pt x="948" y="776"/>
                    </a:lnTo>
                    <a:lnTo>
                      <a:pt x="942" y="772"/>
                    </a:lnTo>
                    <a:lnTo>
                      <a:pt x="934" y="764"/>
                    </a:lnTo>
                    <a:lnTo>
                      <a:pt x="934" y="764"/>
                    </a:lnTo>
                    <a:lnTo>
                      <a:pt x="922" y="752"/>
                    </a:lnTo>
                    <a:lnTo>
                      <a:pt x="912" y="744"/>
                    </a:lnTo>
                    <a:lnTo>
                      <a:pt x="898" y="732"/>
                    </a:lnTo>
                    <a:lnTo>
                      <a:pt x="896" y="728"/>
                    </a:lnTo>
                    <a:lnTo>
                      <a:pt x="896" y="722"/>
                    </a:lnTo>
                    <a:lnTo>
                      <a:pt x="900" y="712"/>
                    </a:lnTo>
                    <a:lnTo>
                      <a:pt x="908" y="700"/>
                    </a:lnTo>
                    <a:lnTo>
                      <a:pt x="908" y="700"/>
                    </a:lnTo>
                    <a:lnTo>
                      <a:pt x="916" y="684"/>
                    </a:lnTo>
                    <a:lnTo>
                      <a:pt x="920" y="674"/>
                    </a:lnTo>
                    <a:lnTo>
                      <a:pt x="920" y="670"/>
                    </a:lnTo>
                    <a:lnTo>
                      <a:pt x="918" y="670"/>
                    </a:lnTo>
                    <a:lnTo>
                      <a:pt x="916" y="668"/>
                    </a:lnTo>
                    <a:lnTo>
                      <a:pt x="914" y="666"/>
                    </a:lnTo>
                    <a:lnTo>
                      <a:pt x="914" y="662"/>
                    </a:lnTo>
                    <a:lnTo>
                      <a:pt x="918" y="652"/>
                    </a:lnTo>
                    <a:lnTo>
                      <a:pt x="918" y="652"/>
                    </a:lnTo>
                    <a:lnTo>
                      <a:pt x="924" y="644"/>
                    </a:lnTo>
                    <a:lnTo>
                      <a:pt x="928" y="640"/>
                    </a:lnTo>
                    <a:lnTo>
                      <a:pt x="930" y="642"/>
                    </a:lnTo>
                    <a:lnTo>
                      <a:pt x="934" y="646"/>
                    </a:lnTo>
                    <a:lnTo>
                      <a:pt x="936" y="648"/>
                    </a:lnTo>
                    <a:lnTo>
                      <a:pt x="936" y="650"/>
                    </a:lnTo>
                    <a:lnTo>
                      <a:pt x="938" y="646"/>
                    </a:lnTo>
                    <a:lnTo>
                      <a:pt x="940" y="638"/>
                    </a:lnTo>
                    <a:lnTo>
                      <a:pt x="940" y="638"/>
                    </a:lnTo>
                    <a:lnTo>
                      <a:pt x="942" y="626"/>
                    </a:lnTo>
                    <a:lnTo>
                      <a:pt x="946" y="618"/>
                    </a:lnTo>
                    <a:lnTo>
                      <a:pt x="950" y="612"/>
                    </a:lnTo>
                    <a:lnTo>
                      <a:pt x="956" y="606"/>
                    </a:lnTo>
                    <a:lnTo>
                      <a:pt x="958" y="604"/>
                    </a:lnTo>
                    <a:lnTo>
                      <a:pt x="960" y="602"/>
                    </a:lnTo>
                    <a:lnTo>
                      <a:pt x="960" y="598"/>
                    </a:lnTo>
                    <a:lnTo>
                      <a:pt x="956" y="596"/>
                    </a:lnTo>
                    <a:lnTo>
                      <a:pt x="956" y="596"/>
                    </a:lnTo>
                    <a:lnTo>
                      <a:pt x="950" y="590"/>
                    </a:lnTo>
                    <a:lnTo>
                      <a:pt x="946" y="586"/>
                    </a:lnTo>
                    <a:lnTo>
                      <a:pt x="942" y="580"/>
                    </a:lnTo>
                    <a:lnTo>
                      <a:pt x="942" y="578"/>
                    </a:lnTo>
                    <a:lnTo>
                      <a:pt x="940" y="578"/>
                    </a:lnTo>
                    <a:lnTo>
                      <a:pt x="934" y="582"/>
                    </a:lnTo>
                    <a:lnTo>
                      <a:pt x="934" y="582"/>
                    </a:lnTo>
                    <a:lnTo>
                      <a:pt x="930" y="584"/>
                    </a:lnTo>
                    <a:lnTo>
                      <a:pt x="928" y="588"/>
                    </a:lnTo>
                    <a:lnTo>
                      <a:pt x="928" y="594"/>
                    </a:lnTo>
                    <a:lnTo>
                      <a:pt x="930" y="598"/>
                    </a:lnTo>
                    <a:lnTo>
                      <a:pt x="928" y="600"/>
                    </a:lnTo>
                    <a:lnTo>
                      <a:pt x="926" y="602"/>
                    </a:lnTo>
                    <a:lnTo>
                      <a:pt x="926" y="602"/>
                    </a:lnTo>
                    <a:lnTo>
                      <a:pt x="922" y="604"/>
                    </a:lnTo>
                    <a:lnTo>
                      <a:pt x="920" y="604"/>
                    </a:lnTo>
                    <a:lnTo>
                      <a:pt x="918" y="598"/>
                    </a:lnTo>
                    <a:lnTo>
                      <a:pt x="918" y="592"/>
                    </a:lnTo>
                    <a:lnTo>
                      <a:pt x="918" y="590"/>
                    </a:lnTo>
                    <a:lnTo>
                      <a:pt x="916" y="590"/>
                    </a:lnTo>
                    <a:lnTo>
                      <a:pt x="916" y="590"/>
                    </a:lnTo>
                    <a:lnTo>
                      <a:pt x="914" y="588"/>
                    </a:lnTo>
                    <a:lnTo>
                      <a:pt x="914" y="586"/>
                    </a:lnTo>
                    <a:lnTo>
                      <a:pt x="914" y="578"/>
                    </a:lnTo>
                    <a:lnTo>
                      <a:pt x="914" y="574"/>
                    </a:lnTo>
                    <a:lnTo>
                      <a:pt x="912" y="574"/>
                    </a:lnTo>
                    <a:lnTo>
                      <a:pt x="906" y="576"/>
                    </a:lnTo>
                    <a:lnTo>
                      <a:pt x="898" y="584"/>
                    </a:lnTo>
                    <a:lnTo>
                      <a:pt x="898" y="584"/>
                    </a:lnTo>
                    <a:lnTo>
                      <a:pt x="888" y="590"/>
                    </a:lnTo>
                    <a:lnTo>
                      <a:pt x="882" y="594"/>
                    </a:lnTo>
                    <a:lnTo>
                      <a:pt x="878" y="594"/>
                    </a:lnTo>
                    <a:lnTo>
                      <a:pt x="874" y="592"/>
                    </a:lnTo>
                    <a:lnTo>
                      <a:pt x="870" y="586"/>
                    </a:lnTo>
                    <a:lnTo>
                      <a:pt x="866" y="584"/>
                    </a:lnTo>
                    <a:lnTo>
                      <a:pt x="860" y="584"/>
                    </a:lnTo>
                    <a:lnTo>
                      <a:pt x="860" y="584"/>
                    </a:lnTo>
                    <a:lnTo>
                      <a:pt x="854" y="586"/>
                    </a:lnTo>
                    <a:lnTo>
                      <a:pt x="848" y="586"/>
                    </a:lnTo>
                    <a:lnTo>
                      <a:pt x="844" y="584"/>
                    </a:lnTo>
                    <a:lnTo>
                      <a:pt x="842" y="580"/>
                    </a:lnTo>
                    <a:lnTo>
                      <a:pt x="834" y="572"/>
                    </a:lnTo>
                    <a:lnTo>
                      <a:pt x="830" y="570"/>
                    </a:lnTo>
                    <a:lnTo>
                      <a:pt x="822" y="570"/>
                    </a:lnTo>
                    <a:lnTo>
                      <a:pt x="822" y="570"/>
                    </a:lnTo>
                    <a:lnTo>
                      <a:pt x="814" y="570"/>
                    </a:lnTo>
                    <a:lnTo>
                      <a:pt x="808" y="568"/>
                    </a:lnTo>
                    <a:lnTo>
                      <a:pt x="804" y="564"/>
                    </a:lnTo>
                    <a:lnTo>
                      <a:pt x="802" y="560"/>
                    </a:lnTo>
                    <a:lnTo>
                      <a:pt x="798" y="554"/>
                    </a:lnTo>
                    <a:lnTo>
                      <a:pt x="796" y="554"/>
                    </a:lnTo>
                    <a:lnTo>
                      <a:pt x="792" y="554"/>
                    </a:lnTo>
                    <a:lnTo>
                      <a:pt x="792" y="554"/>
                    </a:lnTo>
                    <a:lnTo>
                      <a:pt x="788" y="554"/>
                    </a:lnTo>
                    <a:lnTo>
                      <a:pt x="784" y="554"/>
                    </a:lnTo>
                    <a:lnTo>
                      <a:pt x="782" y="550"/>
                    </a:lnTo>
                    <a:lnTo>
                      <a:pt x="776" y="546"/>
                    </a:lnTo>
                    <a:lnTo>
                      <a:pt x="774" y="544"/>
                    </a:lnTo>
                    <a:lnTo>
                      <a:pt x="768" y="542"/>
                    </a:lnTo>
                    <a:lnTo>
                      <a:pt x="768" y="542"/>
                    </a:lnTo>
                    <a:lnTo>
                      <a:pt x="758" y="542"/>
                    </a:lnTo>
                    <a:lnTo>
                      <a:pt x="752" y="544"/>
                    </a:lnTo>
                    <a:lnTo>
                      <a:pt x="750" y="546"/>
                    </a:lnTo>
                    <a:lnTo>
                      <a:pt x="750" y="548"/>
                    </a:lnTo>
                    <a:lnTo>
                      <a:pt x="754" y="556"/>
                    </a:lnTo>
                    <a:lnTo>
                      <a:pt x="754" y="556"/>
                    </a:lnTo>
                    <a:lnTo>
                      <a:pt x="756" y="558"/>
                    </a:lnTo>
                    <a:lnTo>
                      <a:pt x="762" y="560"/>
                    </a:lnTo>
                    <a:lnTo>
                      <a:pt x="774" y="560"/>
                    </a:lnTo>
                    <a:lnTo>
                      <a:pt x="778" y="560"/>
                    </a:lnTo>
                    <a:lnTo>
                      <a:pt x="782" y="564"/>
                    </a:lnTo>
                    <a:lnTo>
                      <a:pt x="784" y="570"/>
                    </a:lnTo>
                    <a:lnTo>
                      <a:pt x="782" y="580"/>
                    </a:lnTo>
                    <a:lnTo>
                      <a:pt x="782" y="580"/>
                    </a:lnTo>
                    <a:lnTo>
                      <a:pt x="778" y="594"/>
                    </a:lnTo>
                    <a:lnTo>
                      <a:pt x="778" y="596"/>
                    </a:lnTo>
                    <a:lnTo>
                      <a:pt x="776" y="596"/>
                    </a:lnTo>
                    <a:lnTo>
                      <a:pt x="768" y="594"/>
                    </a:lnTo>
                    <a:lnTo>
                      <a:pt x="760" y="594"/>
                    </a:lnTo>
                    <a:lnTo>
                      <a:pt x="750" y="596"/>
                    </a:lnTo>
                    <a:lnTo>
                      <a:pt x="750" y="596"/>
                    </a:lnTo>
                    <a:lnTo>
                      <a:pt x="742" y="596"/>
                    </a:lnTo>
                    <a:lnTo>
                      <a:pt x="736" y="596"/>
                    </a:lnTo>
                    <a:lnTo>
                      <a:pt x="728" y="592"/>
                    </a:lnTo>
                    <a:lnTo>
                      <a:pt x="726" y="592"/>
                    </a:lnTo>
                    <a:lnTo>
                      <a:pt x="720" y="594"/>
                    </a:lnTo>
                    <a:lnTo>
                      <a:pt x="700" y="608"/>
                    </a:lnTo>
                    <a:lnTo>
                      <a:pt x="700" y="608"/>
                    </a:lnTo>
                    <a:lnTo>
                      <a:pt x="688" y="620"/>
                    </a:lnTo>
                    <a:lnTo>
                      <a:pt x="680" y="628"/>
                    </a:lnTo>
                    <a:lnTo>
                      <a:pt x="678" y="634"/>
                    </a:lnTo>
                    <a:lnTo>
                      <a:pt x="676" y="638"/>
                    </a:lnTo>
                    <a:lnTo>
                      <a:pt x="676" y="644"/>
                    </a:lnTo>
                    <a:lnTo>
                      <a:pt x="674" y="652"/>
                    </a:lnTo>
                    <a:lnTo>
                      <a:pt x="670" y="662"/>
                    </a:lnTo>
                    <a:lnTo>
                      <a:pt x="662" y="674"/>
                    </a:lnTo>
                    <a:lnTo>
                      <a:pt x="662" y="674"/>
                    </a:lnTo>
                    <a:lnTo>
                      <a:pt x="654" y="688"/>
                    </a:lnTo>
                    <a:lnTo>
                      <a:pt x="650" y="698"/>
                    </a:lnTo>
                    <a:lnTo>
                      <a:pt x="652" y="706"/>
                    </a:lnTo>
                    <a:lnTo>
                      <a:pt x="654" y="710"/>
                    </a:lnTo>
                    <a:lnTo>
                      <a:pt x="662" y="716"/>
                    </a:lnTo>
                    <a:lnTo>
                      <a:pt x="662" y="720"/>
                    </a:lnTo>
                    <a:lnTo>
                      <a:pt x="658" y="724"/>
                    </a:lnTo>
                    <a:lnTo>
                      <a:pt x="658" y="724"/>
                    </a:lnTo>
                    <a:lnTo>
                      <a:pt x="652" y="728"/>
                    </a:lnTo>
                    <a:lnTo>
                      <a:pt x="648" y="730"/>
                    </a:lnTo>
                    <a:lnTo>
                      <a:pt x="644" y="730"/>
                    </a:lnTo>
                    <a:lnTo>
                      <a:pt x="640" y="728"/>
                    </a:lnTo>
                    <a:lnTo>
                      <a:pt x="630" y="722"/>
                    </a:lnTo>
                    <a:lnTo>
                      <a:pt x="626" y="722"/>
                    </a:lnTo>
                    <a:lnTo>
                      <a:pt x="618" y="722"/>
                    </a:lnTo>
                    <a:lnTo>
                      <a:pt x="618" y="722"/>
                    </a:lnTo>
                    <a:lnTo>
                      <a:pt x="612" y="722"/>
                    </a:lnTo>
                    <a:lnTo>
                      <a:pt x="608" y="718"/>
                    </a:lnTo>
                    <a:lnTo>
                      <a:pt x="596" y="712"/>
                    </a:lnTo>
                    <a:lnTo>
                      <a:pt x="574" y="688"/>
                    </a:lnTo>
                    <a:lnTo>
                      <a:pt x="562" y="676"/>
                    </a:lnTo>
                    <a:lnTo>
                      <a:pt x="554" y="670"/>
                    </a:lnTo>
                    <a:lnTo>
                      <a:pt x="550" y="668"/>
                    </a:lnTo>
                    <a:lnTo>
                      <a:pt x="548" y="668"/>
                    </a:lnTo>
                    <a:lnTo>
                      <a:pt x="546" y="670"/>
                    </a:lnTo>
                    <a:lnTo>
                      <a:pt x="544" y="674"/>
                    </a:lnTo>
                    <a:lnTo>
                      <a:pt x="544" y="674"/>
                    </a:lnTo>
                    <a:lnTo>
                      <a:pt x="542" y="682"/>
                    </a:lnTo>
                    <a:lnTo>
                      <a:pt x="540" y="684"/>
                    </a:lnTo>
                    <a:lnTo>
                      <a:pt x="536" y="684"/>
                    </a:lnTo>
                    <a:lnTo>
                      <a:pt x="532" y="682"/>
                    </a:lnTo>
                    <a:lnTo>
                      <a:pt x="526" y="678"/>
                    </a:lnTo>
                    <a:lnTo>
                      <a:pt x="522" y="678"/>
                    </a:lnTo>
                    <a:lnTo>
                      <a:pt x="518" y="682"/>
                    </a:lnTo>
                    <a:lnTo>
                      <a:pt x="516" y="690"/>
                    </a:lnTo>
                    <a:lnTo>
                      <a:pt x="516" y="690"/>
                    </a:lnTo>
                    <a:lnTo>
                      <a:pt x="516" y="698"/>
                    </a:lnTo>
                    <a:lnTo>
                      <a:pt x="514" y="700"/>
                    </a:lnTo>
                    <a:lnTo>
                      <a:pt x="510" y="700"/>
                    </a:lnTo>
                    <a:lnTo>
                      <a:pt x="508" y="698"/>
                    </a:lnTo>
                    <a:lnTo>
                      <a:pt x="502" y="696"/>
                    </a:lnTo>
                    <a:lnTo>
                      <a:pt x="498" y="698"/>
                    </a:lnTo>
                    <a:lnTo>
                      <a:pt x="490" y="704"/>
                    </a:lnTo>
                    <a:lnTo>
                      <a:pt x="482" y="718"/>
                    </a:lnTo>
                    <a:lnTo>
                      <a:pt x="482" y="718"/>
                    </a:lnTo>
                    <a:lnTo>
                      <a:pt x="474" y="732"/>
                    </a:lnTo>
                    <a:lnTo>
                      <a:pt x="468" y="742"/>
                    </a:lnTo>
                    <a:lnTo>
                      <a:pt x="458" y="752"/>
                    </a:lnTo>
                    <a:lnTo>
                      <a:pt x="454" y="756"/>
                    </a:lnTo>
                    <a:lnTo>
                      <a:pt x="452" y="762"/>
                    </a:lnTo>
                    <a:lnTo>
                      <a:pt x="450" y="768"/>
                    </a:lnTo>
                    <a:lnTo>
                      <a:pt x="448" y="780"/>
                    </a:lnTo>
                    <a:lnTo>
                      <a:pt x="448" y="780"/>
                    </a:lnTo>
                    <a:lnTo>
                      <a:pt x="448" y="794"/>
                    </a:lnTo>
                    <a:lnTo>
                      <a:pt x="446" y="798"/>
                    </a:lnTo>
                    <a:lnTo>
                      <a:pt x="444" y="800"/>
                    </a:lnTo>
                    <a:lnTo>
                      <a:pt x="440" y="798"/>
                    </a:lnTo>
                    <a:lnTo>
                      <a:pt x="434" y="794"/>
                    </a:lnTo>
                    <a:lnTo>
                      <a:pt x="428" y="792"/>
                    </a:lnTo>
                    <a:lnTo>
                      <a:pt x="426" y="792"/>
                    </a:lnTo>
                    <a:lnTo>
                      <a:pt x="422" y="794"/>
                    </a:lnTo>
                    <a:lnTo>
                      <a:pt x="420" y="798"/>
                    </a:lnTo>
                    <a:lnTo>
                      <a:pt x="418" y="804"/>
                    </a:lnTo>
                    <a:lnTo>
                      <a:pt x="416" y="824"/>
                    </a:lnTo>
                    <a:lnTo>
                      <a:pt x="416" y="824"/>
                    </a:lnTo>
                    <a:lnTo>
                      <a:pt x="414" y="840"/>
                    </a:lnTo>
                    <a:lnTo>
                      <a:pt x="414" y="842"/>
                    </a:lnTo>
                    <a:lnTo>
                      <a:pt x="412" y="842"/>
                    </a:lnTo>
                    <a:lnTo>
                      <a:pt x="408" y="828"/>
                    </a:lnTo>
                    <a:lnTo>
                      <a:pt x="402" y="818"/>
                    </a:lnTo>
                    <a:lnTo>
                      <a:pt x="400" y="812"/>
                    </a:lnTo>
                    <a:lnTo>
                      <a:pt x="396" y="810"/>
                    </a:lnTo>
                    <a:lnTo>
                      <a:pt x="392" y="810"/>
                    </a:lnTo>
                    <a:lnTo>
                      <a:pt x="386" y="812"/>
                    </a:lnTo>
                    <a:lnTo>
                      <a:pt x="382" y="816"/>
                    </a:lnTo>
                    <a:lnTo>
                      <a:pt x="376" y="822"/>
                    </a:lnTo>
                    <a:lnTo>
                      <a:pt x="376" y="822"/>
                    </a:lnTo>
                    <a:lnTo>
                      <a:pt x="366" y="840"/>
                    </a:lnTo>
                    <a:lnTo>
                      <a:pt x="360" y="852"/>
                    </a:lnTo>
                    <a:lnTo>
                      <a:pt x="360" y="864"/>
                    </a:lnTo>
                    <a:lnTo>
                      <a:pt x="362" y="872"/>
                    </a:lnTo>
                    <a:lnTo>
                      <a:pt x="362" y="880"/>
                    </a:lnTo>
                    <a:lnTo>
                      <a:pt x="362" y="886"/>
                    </a:lnTo>
                    <a:lnTo>
                      <a:pt x="358" y="894"/>
                    </a:lnTo>
                    <a:lnTo>
                      <a:pt x="350" y="902"/>
                    </a:lnTo>
                    <a:lnTo>
                      <a:pt x="350" y="902"/>
                    </a:lnTo>
                    <a:lnTo>
                      <a:pt x="344" y="908"/>
                    </a:lnTo>
                    <a:lnTo>
                      <a:pt x="338" y="916"/>
                    </a:lnTo>
                    <a:lnTo>
                      <a:pt x="334" y="930"/>
                    </a:lnTo>
                    <a:lnTo>
                      <a:pt x="330" y="940"/>
                    </a:lnTo>
                    <a:lnTo>
                      <a:pt x="324" y="948"/>
                    </a:lnTo>
                    <a:lnTo>
                      <a:pt x="316" y="958"/>
                    </a:lnTo>
                    <a:lnTo>
                      <a:pt x="304" y="968"/>
                    </a:lnTo>
                    <a:lnTo>
                      <a:pt x="304" y="968"/>
                    </a:lnTo>
                    <a:lnTo>
                      <a:pt x="290" y="976"/>
                    </a:lnTo>
                    <a:lnTo>
                      <a:pt x="276" y="980"/>
                    </a:lnTo>
                    <a:lnTo>
                      <a:pt x="266" y="982"/>
                    </a:lnTo>
                    <a:lnTo>
                      <a:pt x="256" y="980"/>
                    </a:lnTo>
                    <a:lnTo>
                      <a:pt x="240" y="980"/>
                    </a:lnTo>
                    <a:lnTo>
                      <a:pt x="234" y="982"/>
                    </a:lnTo>
                    <a:lnTo>
                      <a:pt x="232" y="986"/>
                    </a:lnTo>
                    <a:lnTo>
                      <a:pt x="232" y="986"/>
                    </a:lnTo>
                    <a:lnTo>
                      <a:pt x="228" y="990"/>
                    </a:lnTo>
                    <a:lnTo>
                      <a:pt x="224" y="994"/>
                    </a:lnTo>
                    <a:lnTo>
                      <a:pt x="212" y="998"/>
                    </a:lnTo>
                    <a:lnTo>
                      <a:pt x="198" y="1002"/>
                    </a:lnTo>
                    <a:lnTo>
                      <a:pt x="180" y="1012"/>
                    </a:lnTo>
                    <a:lnTo>
                      <a:pt x="180" y="1012"/>
                    </a:lnTo>
                    <a:lnTo>
                      <a:pt x="170" y="1016"/>
                    </a:lnTo>
                    <a:lnTo>
                      <a:pt x="162" y="1016"/>
                    </a:lnTo>
                    <a:lnTo>
                      <a:pt x="150" y="1012"/>
                    </a:lnTo>
                    <a:lnTo>
                      <a:pt x="142" y="1012"/>
                    </a:lnTo>
                    <a:lnTo>
                      <a:pt x="134" y="1014"/>
                    </a:lnTo>
                    <a:lnTo>
                      <a:pt x="124" y="1020"/>
                    </a:lnTo>
                    <a:lnTo>
                      <a:pt x="110" y="1034"/>
                    </a:lnTo>
                    <a:lnTo>
                      <a:pt x="110" y="1034"/>
                    </a:lnTo>
                    <a:lnTo>
                      <a:pt x="98" y="1048"/>
                    </a:lnTo>
                    <a:lnTo>
                      <a:pt x="86" y="1058"/>
                    </a:lnTo>
                    <a:lnTo>
                      <a:pt x="78" y="1062"/>
                    </a:lnTo>
                    <a:lnTo>
                      <a:pt x="72" y="1066"/>
                    </a:lnTo>
                    <a:lnTo>
                      <a:pt x="66" y="1068"/>
                    </a:lnTo>
                    <a:lnTo>
                      <a:pt x="60" y="1074"/>
                    </a:lnTo>
                    <a:lnTo>
                      <a:pt x="54" y="1082"/>
                    </a:lnTo>
                    <a:lnTo>
                      <a:pt x="50" y="1094"/>
                    </a:lnTo>
                    <a:lnTo>
                      <a:pt x="50" y="1094"/>
                    </a:lnTo>
                    <a:lnTo>
                      <a:pt x="44" y="1104"/>
                    </a:lnTo>
                    <a:lnTo>
                      <a:pt x="42" y="1106"/>
                    </a:lnTo>
                    <a:lnTo>
                      <a:pt x="42" y="1104"/>
                    </a:lnTo>
                    <a:lnTo>
                      <a:pt x="40" y="1100"/>
                    </a:lnTo>
                    <a:lnTo>
                      <a:pt x="38" y="1092"/>
                    </a:lnTo>
                    <a:lnTo>
                      <a:pt x="38" y="1084"/>
                    </a:lnTo>
                    <a:lnTo>
                      <a:pt x="36" y="1078"/>
                    </a:lnTo>
                    <a:lnTo>
                      <a:pt x="34" y="1078"/>
                    </a:lnTo>
                    <a:lnTo>
                      <a:pt x="30" y="1078"/>
                    </a:lnTo>
                    <a:lnTo>
                      <a:pt x="24" y="1088"/>
                    </a:lnTo>
                    <a:lnTo>
                      <a:pt x="24" y="1088"/>
                    </a:lnTo>
                    <a:lnTo>
                      <a:pt x="18" y="1100"/>
                    </a:lnTo>
                    <a:lnTo>
                      <a:pt x="16" y="1110"/>
                    </a:lnTo>
                    <a:lnTo>
                      <a:pt x="18" y="1118"/>
                    </a:lnTo>
                    <a:lnTo>
                      <a:pt x="20" y="1126"/>
                    </a:lnTo>
                    <a:lnTo>
                      <a:pt x="22" y="1134"/>
                    </a:lnTo>
                    <a:lnTo>
                      <a:pt x="22" y="1144"/>
                    </a:lnTo>
                    <a:lnTo>
                      <a:pt x="20" y="1154"/>
                    </a:lnTo>
                    <a:lnTo>
                      <a:pt x="12" y="1170"/>
                    </a:lnTo>
                    <a:lnTo>
                      <a:pt x="12" y="1170"/>
                    </a:lnTo>
                    <a:lnTo>
                      <a:pt x="8" y="1180"/>
                    </a:lnTo>
                    <a:lnTo>
                      <a:pt x="4" y="1188"/>
                    </a:lnTo>
                    <a:lnTo>
                      <a:pt x="4" y="1196"/>
                    </a:lnTo>
                    <a:lnTo>
                      <a:pt x="4" y="1204"/>
                    </a:lnTo>
                    <a:lnTo>
                      <a:pt x="8" y="1220"/>
                    </a:lnTo>
                    <a:lnTo>
                      <a:pt x="16" y="1236"/>
                    </a:lnTo>
                    <a:lnTo>
                      <a:pt x="34" y="1266"/>
                    </a:lnTo>
                    <a:lnTo>
                      <a:pt x="40" y="1280"/>
                    </a:lnTo>
                    <a:lnTo>
                      <a:pt x="40" y="1288"/>
                    </a:lnTo>
                    <a:lnTo>
                      <a:pt x="42" y="1294"/>
                    </a:lnTo>
                    <a:lnTo>
                      <a:pt x="42" y="1294"/>
                    </a:lnTo>
                    <a:lnTo>
                      <a:pt x="40" y="1304"/>
                    </a:lnTo>
                    <a:lnTo>
                      <a:pt x="38" y="1304"/>
                    </a:lnTo>
                    <a:lnTo>
                      <a:pt x="36" y="1304"/>
                    </a:lnTo>
                    <a:lnTo>
                      <a:pt x="32" y="1298"/>
                    </a:lnTo>
                    <a:lnTo>
                      <a:pt x="26" y="1288"/>
                    </a:lnTo>
                    <a:lnTo>
                      <a:pt x="14" y="1268"/>
                    </a:lnTo>
                    <a:lnTo>
                      <a:pt x="10" y="1264"/>
                    </a:lnTo>
                    <a:lnTo>
                      <a:pt x="8" y="1264"/>
                    </a:lnTo>
                    <a:lnTo>
                      <a:pt x="8" y="1264"/>
                    </a:lnTo>
                    <a:lnTo>
                      <a:pt x="8" y="1264"/>
                    </a:lnTo>
                    <a:lnTo>
                      <a:pt x="6" y="1270"/>
                    </a:lnTo>
                    <a:lnTo>
                      <a:pt x="8" y="1276"/>
                    </a:lnTo>
                    <a:lnTo>
                      <a:pt x="14" y="1290"/>
                    </a:lnTo>
                    <a:lnTo>
                      <a:pt x="20" y="1304"/>
                    </a:lnTo>
                    <a:lnTo>
                      <a:pt x="22" y="1310"/>
                    </a:lnTo>
                    <a:lnTo>
                      <a:pt x="22" y="1316"/>
                    </a:lnTo>
                    <a:lnTo>
                      <a:pt x="22" y="1316"/>
                    </a:lnTo>
                    <a:lnTo>
                      <a:pt x="20" y="1316"/>
                    </a:lnTo>
                    <a:lnTo>
                      <a:pt x="20" y="1316"/>
                    </a:lnTo>
                    <a:lnTo>
                      <a:pt x="16" y="1312"/>
                    </a:lnTo>
                    <a:lnTo>
                      <a:pt x="10" y="1298"/>
                    </a:lnTo>
                    <a:lnTo>
                      <a:pt x="6" y="1292"/>
                    </a:lnTo>
                    <a:lnTo>
                      <a:pt x="2" y="1288"/>
                    </a:lnTo>
                    <a:lnTo>
                      <a:pt x="2" y="1288"/>
                    </a:lnTo>
                    <a:lnTo>
                      <a:pt x="0" y="1290"/>
                    </a:lnTo>
                    <a:lnTo>
                      <a:pt x="0" y="1298"/>
                    </a:lnTo>
                    <a:lnTo>
                      <a:pt x="0" y="1298"/>
                    </a:lnTo>
                    <a:lnTo>
                      <a:pt x="0" y="1306"/>
                    </a:lnTo>
                    <a:lnTo>
                      <a:pt x="4" y="1316"/>
                    </a:lnTo>
                    <a:lnTo>
                      <a:pt x="18" y="1334"/>
                    </a:lnTo>
                    <a:lnTo>
                      <a:pt x="30" y="1354"/>
                    </a:lnTo>
                    <a:lnTo>
                      <a:pt x="34" y="1364"/>
                    </a:lnTo>
                    <a:lnTo>
                      <a:pt x="36" y="1374"/>
                    </a:lnTo>
                    <a:lnTo>
                      <a:pt x="36" y="1374"/>
                    </a:lnTo>
                    <a:lnTo>
                      <a:pt x="36" y="1390"/>
                    </a:lnTo>
                    <a:lnTo>
                      <a:pt x="40" y="1402"/>
                    </a:lnTo>
                    <a:lnTo>
                      <a:pt x="48" y="1414"/>
                    </a:lnTo>
                    <a:lnTo>
                      <a:pt x="60" y="1438"/>
                    </a:lnTo>
                    <a:lnTo>
                      <a:pt x="60" y="1438"/>
                    </a:lnTo>
                    <a:lnTo>
                      <a:pt x="66" y="1452"/>
                    </a:lnTo>
                    <a:lnTo>
                      <a:pt x="68" y="1462"/>
                    </a:lnTo>
                    <a:lnTo>
                      <a:pt x="68" y="1482"/>
                    </a:lnTo>
                    <a:lnTo>
                      <a:pt x="70" y="1494"/>
                    </a:lnTo>
                    <a:lnTo>
                      <a:pt x="72" y="1510"/>
                    </a:lnTo>
                    <a:lnTo>
                      <a:pt x="76" y="1530"/>
                    </a:lnTo>
                    <a:lnTo>
                      <a:pt x="86" y="1556"/>
                    </a:lnTo>
                    <a:lnTo>
                      <a:pt x="86" y="1556"/>
                    </a:lnTo>
                    <a:lnTo>
                      <a:pt x="96" y="1580"/>
                    </a:lnTo>
                    <a:lnTo>
                      <a:pt x="100" y="1598"/>
                    </a:lnTo>
                    <a:lnTo>
                      <a:pt x="102" y="1610"/>
                    </a:lnTo>
                    <a:lnTo>
                      <a:pt x="100" y="1620"/>
                    </a:lnTo>
                    <a:lnTo>
                      <a:pt x="96" y="1632"/>
                    </a:lnTo>
                    <a:lnTo>
                      <a:pt x="94" y="1638"/>
                    </a:lnTo>
                    <a:lnTo>
                      <a:pt x="94" y="1646"/>
                    </a:lnTo>
                    <a:lnTo>
                      <a:pt x="94" y="1646"/>
                    </a:lnTo>
                    <a:lnTo>
                      <a:pt x="96" y="1656"/>
                    </a:lnTo>
                    <a:lnTo>
                      <a:pt x="96" y="1664"/>
                    </a:lnTo>
                    <a:lnTo>
                      <a:pt x="94" y="1672"/>
                    </a:lnTo>
                    <a:lnTo>
                      <a:pt x="92" y="1678"/>
                    </a:lnTo>
                    <a:lnTo>
                      <a:pt x="88" y="1682"/>
                    </a:lnTo>
                    <a:lnTo>
                      <a:pt x="84" y="1684"/>
                    </a:lnTo>
                    <a:lnTo>
                      <a:pt x="80" y="1684"/>
                    </a:lnTo>
                    <a:lnTo>
                      <a:pt x="74" y="1684"/>
                    </a:lnTo>
                    <a:lnTo>
                      <a:pt x="74" y="1684"/>
                    </a:lnTo>
                    <a:lnTo>
                      <a:pt x="70" y="1684"/>
                    </a:lnTo>
                    <a:lnTo>
                      <a:pt x="68" y="1688"/>
                    </a:lnTo>
                    <a:lnTo>
                      <a:pt x="66" y="1694"/>
                    </a:lnTo>
                    <a:lnTo>
                      <a:pt x="66" y="1702"/>
                    </a:lnTo>
                    <a:lnTo>
                      <a:pt x="68" y="1710"/>
                    </a:lnTo>
                    <a:lnTo>
                      <a:pt x="70" y="1716"/>
                    </a:lnTo>
                    <a:lnTo>
                      <a:pt x="76" y="1722"/>
                    </a:lnTo>
                    <a:lnTo>
                      <a:pt x="82" y="1722"/>
                    </a:lnTo>
                    <a:lnTo>
                      <a:pt x="82" y="1722"/>
                    </a:lnTo>
                    <a:lnTo>
                      <a:pt x="88" y="1722"/>
                    </a:lnTo>
                    <a:lnTo>
                      <a:pt x="92" y="1726"/>
                    </a:lnTo>
                    <a:lnTo>
                      <a:pt x="104" y="1738"/>
                    </a:lnTo>
                    <a:lnTo>
                      <a:pt x="114" y="1746"/>
                    </a:lnTo>
                    <a:lnTo>
                      <a:pt x="124" y="1754"/>
                    </a:lnTo>
                    <a:lnTo>
                      <a:pt x="138" y="1760"/>
                    </a:lnTo>
                    <a:lnTo>
                      <a:pt x="156" y="1762"/>
                    </a:lnTo>
                    <a:lnTo>
                      <a:pt x="156" y="1762"/>
                    </a:lnTo>
                    <a:lnTo>
                      <a:pt x="174" y="1764"/>
                    </a:lnTo>
                    <a:lnTo>
                      <a:pt x="188" y="1760"/>
                    </a:lnTo>
                    <a:lnTo>
                      <a:pt x="200" y="1756"/>
                    </a:lnTo>
                    <a:lnTo>
                      <a:pt x="208" y="1750"/>
                    </a:lnTo>
                    <a:lnTo>
                      <a:pt x="222" y="1736"/>
                    </a:lnTo>
                    <a:lnTo>
                      <a:pt x="230" y="1732"/>
                    </a:lnTo>
                    <a:lnTo>
                      <a:pt x="238" y="1730"/>
                    </a:lnTo>
                    <a:lnTo>
                      <a:pt x="238" y="1730"/>
                    </a:lnTo>
                    <a:lnTo>
                      <a:pt x="246" y="1728"/>
                    </a:lnTo>
                    <a:lnTo>
                      <a:pt x="252" y="1724"/>
                    </a:lnTo>
                    <a:lnTo>
                      <a:pt x="254" y="1720"/>
                    </a:lnTo>
                    <a:lnTo>
                      <a:pt x="258" y="1714"/>
                    </a:lnTo>
                    <a:lnTo>
                      <a:pt x="260" y="1708"/>
                    </a:lnTo>
                    <a:lnTo>
                      <a:pt x="264" y="1704"/>
                    </a:lnTo>
                    <a:lnTo>
                      <a:pt x="270" y="1702"/>
                    </a:lnTo>
                    <a:lnTo>
                      <a:pt x="278" y="1700"/>
                    </a:lnTo>
                    <a:lnTo>
                      <a:pt x="278" y="1700"/>
                    </a:lnTo>
                    <a:lnTo>
                      <a:pt x="290" y="1700"/>
                    </a:lnTo>
                    <a:lnTo>
                      <a:pt x="300" y="1700"/>
                    </a:lnTo>
                    <a:lnTo>
                      <a:pt x="316" y="1696"/>
                    </a:lnTo>
                    <a:lnTo>
                      <a:pt x="322" y="1694"/>
                    </a:lnTo>
                    <a:lnTo>
                      <a:pt x="328" y="1694"/>
                    </a:lnTo>
                    <a:lnTo>
                      <a:pt x="336" y="1694"/>
                    </a:lnTo>
                    <a:lnTo>
                      <a:pt x="344" y="1698"/>
                    </a:lnTo>
                    <a:lnTo>
                      <a:pt x="344" y="1698"/>
                    </a:lnTo>
                    <a:lnTo>
                      <a:pt x="354" y="1702"/>
                    </a:lnTo>
                    <a:lnTo>
                      <a:pt x="360" y="1704"/>
                    </a:lnTo>
                    <a:lnTo>
                      <a:pt x="364" y="1704"/>
                    </a:lnTo>
                    <a:lnTo>
                      <a:pt x="368" y="1702"/>
                    </a:lnTo>
                    <a:lnTo>
                      <a:pt x="372" y="1698"/>
                    </a:lnTo>
                    <a:lnTo>
                      <a:pt x="378" y="1698"/>
                    </a:lnTo>
                    <a:lnTo>
                      <a:pt x="386" y="1698"/>
                    </a:lnTo>
                    <a:lnTo>
                      <a:pt x="398" y="1702"/>
                    </a:lnTo>
                    <a:lnTo>
                      <a:pt x="398" y="1702"/>
                    </a:lnTo>
                    <a:lnTo>
                      <a:pt x="406" y="1702"/>
                    </a:lnTo>
                    <a:lnTo>
                      <a:pt x="410" y="1702"/>
                    </a:lnTo>
                    <a:lnTo>
                      <a:pt x="416" y="1702"/>
                    </a:lnTo>
                    <a:lnTo>
                      <a:pt x="420" y="1698"/>
                    </a:lnTo>
                    <a:lnTo>
                      <a:pt x="426" y="1690"/>
                    </a:lnTo>
                    <a:lnTo>
                      <a:pt x="430" y="1678"/>
                    </a:lnTo>
                    <a:lnTo>
                      <a:pt x="434" y="1668"/>
                    </a:lnTo>
                    <a:lnTo>
                      <a:pt x="438" y="1656"/>
                    </a:lnTo>
                    <a:lnTo>
                      <a:pt x="446" y="1650"/>
                    </a:lnTo>
                    <a:lnTo>
                      <a:pt x="450" y="1646"/>
                    </a:lnTo>
                    <a:lnTo>
                      <a:pt x="454" y="1646"/>
                    </a:lnTo>
                    <a:lnTo>
                      <a:pt x="454" y="1646"/>
                    </a:lnTo>
                    <a:lnTo>
                      <a:pt x="464" y="1644"/>
                    </a:lnTo>
                    <a:lnTo>
                      <a:pt x="472" y="1640"/>
                    </a:lnTo>
                    <a:lnTo>
                      <a:pt x="484" y="1628"/>
                    </a:lnTo>
                    <a:lnTo>
                      <a:pt x="492" y="1622"/>
                    </a:lnTo>
                    <a:lnTo>
                      <a:pt x="502" y="1616"/>
                    </a:lnTo>
                    <a:lnTo>
                      <a:pt x="514" y="1614"/>
                    </a:lnTo>
                    <a:lnTo>
                      <a:pt x="530" y="1614"/>
                    </a:lnTo>
                    <a:lnTo>
                      <a:pt x="530" y="1614"/>
                    </a:lnTo>
                    <a:lnTo>
                      <a:pt x="544" y="1614"/>
                    </a:lnTo>
                    <a:lnTo>
                      <a:pt x="556" y="1614"/>
                    </a:lnTo>
                    <a:lnTo>
                      <a:pt x="578" y="1610"/>
                    </a:lnTo>
                    <a:lnTo>
                      <a:pt x="596" y="1602"/>
                    </a:lnTo>
                    <a:lnTo>
                      <a:pt x="614" y="1594"/>
                    </a:lnTo>
                    <a:lnTo>
                      <a:pt x="630" y="1586"/>
                    </a:lnTo>
                    <a:lnTo>
                      <a:pt x="644" y="1580"/>
                    </a:lnTo>
                    <a:lnTo>
                      <a:pt x="660" y="1574"/>
                    </a:lnTo>
                    <a:lnTo>
                      <a:pt x="668" y="1574"/>
                    </a:lnTo>
                    <a:lnTo>
                      <a:pt x="676" y="1574"/>
                    </a:lnTo>
                    <a:lnTo>
                      <a:pt x="676" y="1574"/>
                    </a:lnTo>
                    <a:lnTo>
                      <a:pt x="696" y="1578"/>
                    </a:lnTo>
                    <a:lnTo>
                      <a:pt x="706" y="1576"/>
                    </a:lnTo>
                    <a:lnTo>
                      <a:pt x="712" y="1574"/>
                    </a:lnTo>
                    <a:lnTo>
                      <a:pt x="716" y="1572"/>
                    </a:lnTo>
                    <a:lnTo>
                      <a:pt x="718" y="1570"/>
                    </a:lnTo>
                    <a:lnTo>
                      <a:pt x="724" y="1572"/>
                    </a:lnTo>
                    <a:lnTo>
                      <a:pt x="752" y="1586"/>
                    </a:lnTo>
                    <a:lnTo>
                      <a:pt x="752" y="1586"/>
                    </a:lnTo>
                    <a:lnTo>
                      <a:pt x="772" y="1596"/>
                    </a:lnTo>
                    <a:lnTo>
                      <a:pt x="786" y="1602"/>
                    </a:lnTo>
                    <a:lnTo>
                      <a:pt x="798" y="1606"/>
                    </a:lnTo>
                    <a:lnTo>
                      <a:pt x="806" y="1606"/>
                    </a:lnTo>
                    <a:lnTo>
                      <a:pt x="822" y="1608"/>
                    </a:lnTo>
                    <a:lnTo>
                      <a:pt x="828" y="1612"/>
                    </a:lnTo>
                    <a:lnTo>
                      <a:pt x="838" y="1618"/>
                    </a:lnTo>
                    <a:lnTo>
                      <a:pt x="838" y="1618"/>
                    </a:lnTo>
                    <a:lnTo>
                      <a:pt x="846" y="1626"/>
                    </a:lnTo>
                    <a:lnTo>
                      <a:pt x="848" y="1632"/>
                    </a:lnTo>
                    <a:lnTo>
                      <a:pt x="848" y="1636"/>
                    </a:lnTo>
                    <a:lnTo>
                      <a:pt x="846" y="1642"/>
                    </a:lnTo>
                    <a:lnTo>
                      <a:pt x="844" y="1646"/>
                    </a:lnTo>
                    <a:lnTo>
                      <a:pt x="844" y="1650"/>
                    </a:lnTo>
                    <a:lnTo>
                      <a:pt x="848" y="1656"/>
                    </a:lnTo>
                    <a:lnTo>
                      <a:pt x="860" y="1662"/>
                    </a:lnTo>
                    <a:lnTo>
                      <a:pt x="860" y="1662"/>
                    </a:lnTo>
                    <a:lnTo>
                      <a:pt x="866" y="1666"/>
                    </a:lnTo>
                    <a:lnTo>
                      <a:pt x="870" y="1672"/>
                    </a:lnTo>
                    <a:lnTo>
                      <a:pt x="876" y="1682"/>
                    </a:lnTo>
                    <a:lnTo>
                      <a:pt x="880" y="1694"/>
                    </a:lnTo>
                    <a:lnTo>
                      <a:pt x="882" y="1708"/>
                    </a:lnTo>
                    <a:lnTo>
                      <a:pt x="884" y="1722"/>
                    </a:lnTo>
                    <a:lnTo>
                      <a:pt x="886" y="1732"/>
                    </a:lnTo>
                    <a:lnTo>
                      <a:pt x="892" y="1742"/>
                    </a:lnTo>
                    <a:lnTo>
                      <a:pt x="894" y="1746"/>
                    </a:lnTo>
                    <a:lnTo>
                      <a:pt x="900" y="1748"/>
                    </a:lnTo>
                    <a:lnTo>
                      <a:pt x="900" y="1748"/>
                    </a:lnTo>
                    <a:lnTo>
                      <a:pt x="914" y="1756"/>
                    </a:lnTo>
                    <a:lnTo>
                      <a:pt x="914" y="1758"/>
                    </a:lnTo>
                    <a:lnTo>
                      <a:pt x="914" y="1756"/>
                    </a:lnTo>
                    <a:lnTo>
                      <a:pt x="914" y="1750"/>
                    </a:lnTo>
                    <a:lnTo>
                      <a:pt x="916" y="1742"/>
                    </a:lnTo>
                    <a:lnTo>
                      <a:pt x="920" y="1730"/>
                    </a:lnTo>
                    <a:lnTo>
                      <a:pt x="932" y="1716"/>
                    </a:lnTo>
                    <a:lnTo>
                      <a:pt x="932" y="1716"/>
                    </a:lnTo>
                    <a:lnTo>
                      <a:pt x="944" y="1702"/>
                    </a:lnTo>
                    <a:lnTo>
                      <a:pt x="952" y="1694"/>
                    </a:lnTo>
                    <a:lnTo>
                      <a:pt x="958" y="1690"/>
                    </a:lnTo>
                    <a:lnTo>
                      <a:pt x="962" y="1690"/>
                    </a:lnTo>
                    <a:lnTo>
                      <a:pt x="964" y="1690"/>
                    </a:lnTo>
                    <a:lnTo>
                      <a:pt x="966" y="1680"/>
                    </a:lnTo>
                    <a:lnTo>
                      <a:pt x="966" y="1680"/>
                    </a:lnTo>
                    <a:lnTo>
                      <a:pt x="968" y="1672"/>
                    </a:lnTo>
                    <a:lnTo>
                      <a:pt x="972" y="1666"/>
                    </a:lnTo>
                    <a:lnTo>
                      <a:pt x="980" y="1658"/>
                    </a:lnTo>
                    <a:lnTo>
                      <a:pt x="986" y="1650"/>
                    </a:lnTo>
                    <a:lnTo>
                      <a:pt x="988" y="1646"/>
                    </a:lnTo>
                    <a:lnTo>
                      <a:pt x="990" y="1640"/>
                    </a:lnTo>
                    <a:lnTo>
                      <a:pt x="990" y="1640"/>
                    </a:lnTo>
                    <a:lnTo>
                      <a:pt x="990" y="1632"/>
                    </a:lnTo>
                    <a:lnTo>
                      <a:pt x="990" y="1630"/>
                    </a:lnTo>
                    <a:lnTo>
                      <a:pt x="990" y="1632"/>
                    </a:lnTo>
                    <a:lnTo>
                      <a:pt x="998" y="1646"/>
                    </a:lnTo>
                    <a:lnTo>
                      <a:pt x="998" y="1646"/>
                    </a:lnTo>
                    <a:lnTo>
                      <a:pt x="998" y="1654"/>
                    </a:lnTo>
                    <a:lnTo>
                      <a:pt x="996" y="1664"/>
                    </a:lnTo>
                    <a:lnTo>
                      <a:pt x="988" y="1686"/>
                    </a:lnTo>
                    <a:lnTo>
                      <a:pt x="980" y="1710"/>
                    </a:lnTo>
                    <a:lnTo>
                      <a:pt x="978" y="1718"/>
                    </a:lnTo>
                    <a:lnTo>
                      <a:pt x="978" y="1726"/>
                    </a:lnTo>
                    <a:lnTo>
                      <a:pt x="978" y="1726"/>
                    </a:lnTo>
                    <a:lnTo>
                      <a:pt x="980" y="1736"/>
                    </a:lnTo>
                    <a:lnTo>
                      <a:pt x="980" y="1746"/>
                    </a:lnTo>
                    <a:lnTo>
                      <a:pt x="976" y="1750"/>
                    </a:lnTo>
                    <a:lnTo>
                      <a:pt x="972" y="1752"/>
                    </a:lnTo>
                    <a:lnTo>
                      <a:pt x="968" y="1752"/>
                    </a:lnTo>
                    <a:lnTo>
                      <a:pt x="968" y="1752"/>
                    </a:lnTo>
                    <a:lnTo>
                      <a:pt x="964" y="1754"/>
                    </a:lnTo>
                    <a:lnTo>
                      <a:pt x="960" y="1756"/>
                    </a:lnTo>
                    <a:lnTo>
                      <a:pt x="956" y="1758"/>
                    </a:lnTo>
                    <a:lnTo>
                      <a:pt x="954" y="1762"/>
                    </a:lnTo>
                    <a:lnTo>
                      <a:pt x="954" y="1766"/>
                    </a:lnTo>
                    <a:lnTo>
                      <a:pt x="958" y="1770"/>
                    </a:lnTo>
                    <a:lnTo>
                      <a:pt x="962" y="1770"/>
                    </a:lnTo>
                    <a:lnTo>
                      <a:pt x="972" y="1770"/>
                    </a:lnTo>
                    <a:lnTo>
                      <a:pt x="972" y="1770"/>
                    </a:lnTo>
                    <a:lnTo>
                      <a:pt x="978" y="1770"/>
                    </a:lnTo>
                    <a:lnTo>
                      <a:pt x="982" y="1766"/>
                    </a:lnTo>
                    <a:lnTo>
                      <a:pt x="990" y="1758"/>
                    </a:lnTo>
                    <a:lnTo>
                      <a:pt x="994" y="1750"/>
                    </a:lnTo>
                    <a:lnTo>
                      <a:pt x="996" y="1740"/>
                    </a:lnTo>
                    <a:lnTo>
                      <a:pt x="1000" y="1730"/>
                    </a:lnTo>
                    <a:lnTo>
                      <a:pt x="1002" y="1726"/>
                    </a:lnTo>
                    <a:lnTo>
                      <a:pt x="1004" y="1726"/>
                    </a:lnTo>
                    <a:lnTo>
                      <a:pt x="1006" y="1726"/>
                    </a:lnTo>
                    <a:lnTo>
                      <a:pt x="1012" y="1734"/>
                    </a:lnTo>
                    <a:lnTo>
                      <a:pt x="1012" y="1734"/>
                    </a:lnTo>
                    <a:lnTo>
                      <a:pt x="1016" y="1744"/>
                    </a:lnTo>
                    <a:lnTo>
                      <a:pt x="1018" y="1754"/>
                    </a:lnTo>
                    <a:lnTo>
                      <a:pt x="1016" y="1762"/>
                    </a:lnTo>
                    <a:lnTo>
                      <a:pt x="1014" y="1770"/>
                    </a:lnTo>
                    <a:lnTo>
                      <a:pt x="1006" y="1784"/>
                    </a:lnTo>
                    <a:lnTo>
                      <a:pt x="1004" y="1788"/>
                    </a:lnTo>
                    <a:lnTo>
                      <a:pt x="1006" y="1792"/>
                    </a:lnTo>
                    <a:lnTo>
                      <a:pt x="1006" y="1792"/>
                    </a:lnTo>
                    <a:lnTo>
                      <a:pt x="1008" y="1794"/>
                    </a:lnTo>
                    <a:lnTo>
                      <a:pt x="1012" y="1794"/>
                    </a:lnTo>
                    <a:lnTo>
                      <a:pt x="1020" y="1792"/>
                    </a:lnTo>
                    <a:lnTo>
                      <a:pt x="1030" y="1792"/>
                    </a:lnTo>
                    <a:lnTo>
                      <a:pt x="1036" y="1792"/>
                    </a:lnTo>
                    <a:lnTo>
                      <a:pt x="1042" y="1794"/>
                    </a:lnTo>
                    <a:lnTo>
                      <a:pt x="1042" y="1794"/>
                    </a:lnTo>
                    <a:lnTo>
                      <a:pt x="1048" y="1800"/>
                    </a:lnTo>
                    <a:lnTo>
                      <a:pt x="1054" y="1806"/>
                    </a:lnTo>
                    <a:lnTo>
                      <a:pt x="1060" y="1814"/>
                    </a:lnTo>
                    <a:lnTo>
                      <a:pt x="1066" y="1824"/>
                    </a:lnTo>
                    <a:lnTo>
                      <a:pt x="1070" y="1832"/>
                    </a:lnTo>
                    <a:lnTo>
                      <a:pt x="1072" y="1842"/>
                    </a:lnTo>
                    <a:lnTo>
                      <a:pt x="1072" y="1850"/>
                    </a:lnTo>
                    <a:lnTo>
                      <a:pt x="1070" y="1858"/>
                    </a:lnTo>
                    <a:lnTo>
                      <a:pt x="1070" y="1858"/>
                    </a:lnTo>
                    <a:lnTo>
                      <a:pt x="1068" y="1866"/>
                    </a:lnTo>
                    <a:lnTo>
                      <a:pt x="1068" y="1874"/>
                    </a:lnTo>
                    <a:lnTo>
                      <a:pt x="1074" y="1886"/>
                    </a:lnTo>
                    <a:lnTo>
                      <a:pt x="1080" y="1896"/>
                    </a:lnTo>
                    <a:lnTo>
                      <a:pt x="1088" y="1904"/>
                    </a:lnTo>
                    <a:lnTo>
                      <a:pt x="1098" y="1914"/>
                    </a:lnTo>
                    <a:lnTo>
                      <a:pt x="1106" y="1920"/>
                    </a:lnTo>
                    <a:lnTo>
                      <a:pt x="1114" y="1924"/>
                    </a:lnTo>
                    <a:lnTo>
                      <a:pt x="1114" y="1924"/>
                    </a:lnTo>
                    <a:lnTo>
                      <a:pt x="1120" y="1926"/>
                    </a:lnTo>
                    <a:lnTo>
                      <a:pt x="1126" y="1930"/>
                    </a:lnTo>
                    <a:lnTo>
                      <a:pt x="1134" y="1938"/>
                    </a:lnTo>
                    <a:lnTo>
                      <a:pt x="1138" y="1944"/>
                    </a:lnTo>
                    <a:lnTo>
                      <a:pt x="1142" y="1944"/>
                    </a:lnTo>
                    <a:lnTo>
                      <a:pt x="1146" y="1942"/>
                    </a:lnTo>
                    <a:lnTo>
                      <a:pt x="1146" y="1942"/>
                    </a:lnTo>
                    <a:lnTo>
                      <a:pt x="1152" y="1936"/>
                    </a:lnTo>
                    <a:lnTo>
                      <a:pt x="1156" y="1936"/>
                    </a:lnTo>
                    <a:lnTo>
                      <a:pt x="1160" y="1936"/>
                    </a:lnTo>
                    <a:lnTo>
                      <a:pt x="1176" y="1942"/>
                    </a:lnTo>
                    <a:lnTo>
                      <a:pt x="1198" y="1956"/>
                    </a:lnTo>
                    <a:lnTo>
                      <a:pt x="1198" y="1956"/>
                    </a:lnTo>
                    <a:lnTo>
                      <a:pt x="1210" y="1962"/>
                    </a:lnTo>
                    <a:lnTo>
                      <a:pt x="1218" y="1964"/>
                    </a:lnTo>
                    <a:lnTo>
                      <a:pt x="1224" y="1964"/>
                    </a:lnTo>
                    <a:lnTo>
                      <a:pt x="1230" y="1960"/>
                    </a:lnTo>
                    <a:lnTo>
                      <a:pt x="1238" y="1952"/>
                    </a:lnTo>
                    <a:lnTo>
                      <a:pt x="1244" y="1946"/>
                    </a:lnTo>
                    <a:lnTo>
                      <a:pt x="1252" y="1940"/>
                    </a:lnTo>
                    <a:lnTo>
                      <a:pt x="1252" y="1940"/>
                    </a:lnTo>
                    <a:lnTo>
                      <a:pt x="1260" y="1936"/>
                    </a:lnTo>
                    <a:lnTo>
                      <a:pt x="1264" y="1930"/>
                    </a:lnTo>
                    <a:lnTo>
                      <a:pt x="1270" y="1920"/>
                    </a:lnTo>
                    <a:lnTo>
                      <a:pt x="1270" y="1918"/>
                    </a:lnTo>
                    <a:lnTo>
                      <a:pt x="1272" y="1916"/>
                    </a:lnTo>
                    <a:lnTo>
                      <a:pt x="1276" y="1916"/>
                    </a:lnTo>
                    <a:lnTo>
                      <a:pt x="1282" y="1918"/>
                    </a:lnTo>
                    <a:lnTo>
                      <a:pt x="1282" y="1918"/>
                    </a:lnTo>
                    <a:lnTo>
                      <a:pt x="1286" y="1924"/>
                    </a:lnTo>
                    <a:lnTo>
                      <a:pt x="1288" y="1928"/>
                    </a:lnTo>
                    <a:lnTo>
                      <a:pt x="1284" y="1930"/>
                    </a:lnTo>
                    <a:lnTo>
                      <a:pt x="1280" y="1934"/>
                    </a:lnTo>
                    <a:lnTo>
                      <a:pt x="1274" y="1940"/>
                    </a:lnTo>
                    <a:lnTo>
                      <a:pt x="1274" y="1944"/>
                    </a:lnTo>
                    <a:lnTo>
                      <a:pt x="1278" y="1946"/>
                    </a:lnTo>
                    <a:lnTo>
                      <a:pt x="1278" y="1946"/>
                    </a:lnTo>
                    <a:lnTo>
                      <a:pt x="1282" y="1948"/>
                    </a:lnTo>
                    <a:lnTo>
                      <a:pt x="1288" y="1948"/>
                    </a:lnTo>
                    <a:lnTo>
                      <a:pt x="1290" y="1944"/>
                    </a:lnTo>
                    <a:lnTo>
                      <a:pt x="1292" y="1942"/>
                    </a:lnTo>
                    <a:lnTo>
                      <a:pt x="1296" y="1936"/>
                    </a:lnTo>
                    <a:lnTo>
                      <a:pt x="1296" y="1942"/>
                    </a:lnTo>
                    <a:lnTo>
                      <a:pt x="1296" y="1942"/>
                    </a:lnTo>
                    <a:lnTo>
                      <a:pt x="1298" y="1948"/>
                    </a:lnTo>
                    <a:lnTo>
                      <a:pt x="1300" y="1952"/>
                    </a:lnTo>
                    <a:lnTo>
                      <a:pt x="1306" y="1956"/>
                    </a:lnTo>
                    <a:lnTo>
                      <a:pt x="1316" y="1964"/>
                    </a:lnTo>
                    <a:lnTo>
                      <a:pt x="1324" y="1970"/>
                    </a:lnTo>
                    <a:lnTo>
                      <a:pt x="1334" y="1982"/>
                    </a:lnTo>
                    <a:lnTo>
                      <a:pt x="1334" y="1982"/>
                    </a:lnTo>
                    <a:lnTo>
                      <a:pt x="1338" y="1988"/>
                    </a:lnTo>
                    <a:lnTo>
                      <a:pt x="1340" y="1988"/>
                    </a:lnTo>
                    <a:lnTo>
                      <a:pt x="1340" y="1980"/>
                    </a:lnTo>
                    <a:lnTo>
                      <a:pt x="1340" y="1974"/>
                    </a:lnTo>
                    <a:lnTo>
                      <a:pt x="1340" y="1968"/>
                    </a:lnTo>
                    <a:lnTo>
                      <a:pt x="1342" y="1962"/>
                    </a:lnTo>
                    <a:lnTo>
                      <a:pt x="1346" y="1960"/>
                    </a:lnTo>
                    <a:lnTo>
                      <a:pt x="1346" y="1960"/>
                    </a:lnTo>
                    <a:lnTo>
                      <a:pt x="1354" y="1956"/>
                    </a:lnTo>
                    <a:lnTo>
                      <a:pt x="1362" y="1950"/>
                    </a:lnTo>
                    <a:lnTo>
                      <a:pt x="1386" y="1930"/>
                    </a:lnTo>
                    <a:lnTo>
                      <a:pt x="1398" y="1920"/>
                    </a:lnTo>
                    <a:lnTo>
                      <a:pt x="1412" y="1912"/>
                    </a:lnTo>
                    <a:lnTo>
                      <a:pt x="1428" y="1908"/>
                    </a:lnTo>
                    <a:lnTo>
                      <a:pt x="1434" y="1908"/>
                    </a:lnTo>
                    <a:lnTo>
                      <a:pt x="1442" y="1908"/>
                    </a:lnTo>
                    <a:lnTo>
                      <a:pt x="1442" y="1908"/>
                    </a:lnTo>
                    <a:lnTo>
                      <a:pt x="1456" y="1910"/>
                    </a:lnTo>
                    <a:lnTo>
                      <a:pt x="1466" y="1906"/>
                    </a:lnTo>
                    <a:lnTo>
                      <a:pt x="1474" y="1902"/>
                    </a:lnTo>
                    <a:lnTo>
                      <a:pt x="1478" y="1896"/>
                    </a:lnTo>
                    <a:lnTo>
                      <a:pt x="1482" y="1890"/>
                    </a:lnTo>
                    <a:lnTo>
                      <a:pt x="1482" y="1884"/>
                    </a:lnTo>
                    <a:lnTo>
                      <a:pt x="1482" y="1878"/>
                    </a:lnTo>
                    <a:lnTo>
                      <a:pt x="1478" y="1874"/>
                    </a:lnTo>
                    <a:lnTo>
                      <a:pt x="1478" y="1874"/>
                    </a:lnTo>
                    <a:lnTo>
                      <a:pt x="1476" y="1870"/>
                    </a:lnTo>
                    <a:lnTo>
                      <a:pt x="1476" y="1866"/>
                    </a:lnTo>
                    <a:lnTo>
                      <a:pt x="1480" y="1856"/>
                    </a:lnTo>
                    <a:lnTo>
                      <a:pt x="1486" y="1842"/>
                    </a:lnTo>
                    <a:lnTo>
                      <a:pt x="1488" y="1836"/>
                    </a:lnTo>
                    <a:lnTo>
                      <a:pt x="1488" y="1828"/>
                    </a:lnTo>
                    <a:lnTo>
                      <a:pt x="1488" y="1828"/>
                    </a:lnTo>
                    <a:lnTo>
                      <a:pt x="1490" y="1812"/>
                    </a:lnTo>
                    <a:lnTo>
                      <a:pt x="1494" y="1794"/>
                    </a:lnTo>
                    <a:lnTo>
                      <a:pt x="1502" y="1776"/>
                    </a:lnTo>
                    <a:lnTo>
                      <a:pt x="1506" y="1770"/>
                    </a:lnTo>
                    <a:lnTo>
                      <a:pt x="1510" y="1766"/>
                    </a:lnTo>
                    <a:lnTo>
                      <a:pt x="1510" y="1766"/>
                    </a:lnTo>
                    <a:lnTo>
                      <a:pt x="1514" y="1760"/>
                    </a:lnTo>
                    <a:lnTo>
                      <a:pt x="1518" y="1750"/>
                    </a:lnTo>
                    <a:lnTo>
                      <a:pt x="1526" y="1718"/>
                    </a:lnTo>
                    <a:lnTo>
                      <a:pt x="1530" y="1700"/>
                    </a:lnTo>
                    <a:lnTo>
                      <a:pt x="1538" y="1680"/>
                    </a:lnTo>
                    <a:lnTo>
                      <a:pt x="1548" y="1662"/>
                    </a:lnTo>
                    <a:lnTo>
                      <a:pt x="1554" y="1654"/>
                    </a:lnTo>
                    <a:lnTo>
                      <a:pt x="1562" y="1646"/>
                    </a:lnTo>
                    <a:lnTo>
                      <a:pt x="1562" y="1646"/>
                    </a:lnTo>
                    <a:lnTo>
                      <a:pt x="1574" y="1634"/>
                    </a:lnTo>
                    <a:lnTo>
                      <a:pt x="1582" y="1626"/>
                    </a:lnTo>
                    <a:lnTo>
                      <a:pt x="1586" y="1618"/>
                    </a:lnTo>
                    <a:lnTo>
                      <a:pt x="1588" y="1612"/>
                    </a:lnTo>
                    <a:lnTo>
                      <a:pt x="1588" y="1604"/>
                    </a:lnTo>
                    <a:lnTo>
                      <a:pt x="1590" y="1598"/>
                    </a:lnTo>
                    <a:lnTo>
                      <a:pt x="1594" y="1590"/>
                    </a:lnTo>
                    <a:lnTo>
                      <a:pt x="1594" y="1590"/>
                    </a:lnTo>
                    <a:lnTo>
                      <a:pt x="1598" y="1576"/>
                    </a:lnTo>
                    <a:lnTo>
                      <a:pt x="1602" y="1566"/>
                    </a:lnTo>
                    <a:lnTo>
                      <a:pt x="1602" y="1556"/>
                    </a:lnTo>
                    <a:lnTo>
                      <a:pt x="1602" y="1546"/>
                    </a:lnTo>
                    <a:lnTo>
                      <a:pt x="1602" y="1532"/>
                    </a:lnTo>
                    <a:lnTo>
                      <a:pt x="1604" y="1524"/>
                    </a:lnTo>
                    <a:lnTo>
                      <a:pt x="1606" y="1516"/>
                    </a:lnTo>
                    <a:lnTo>
                      <a:pt x="1606" y="1516"/>
                    </a:lnTo>
                    <a:lnTo>
                      <a:pt x="1612" y="1504"/>
                    </a:lnTo>
                    <a:lnTo>
                      <a:pt x="1614" y="1494"/>
                    </a:lnTo>
                    <a:lnTo>
                      <a:pt x="1616" y="1476"/>
                    </a:lnTo>
                    <a:lnTo>
                      <a:pt x="1618" y="1458"/>
                    </a:lnTo>
                    <a:lnTo>
                      <a:pt x="1620" y="1448"/>
                    </a:lnTo>
                    <a:lnTo>
                      <a:pt x="1626" y="1438"/>
                    </a:lnTo>
                    <a:lnTo>
                      <a:pt x="1626" y="1438"/>
                    </a:lnTo>
                    <a:lnTo>
                      <a:pt x="1628" y="1432"/>
                    </a:lnTo>
                    <a:lnTo>
                      <a:pt x="1630" y="1426"/>
                    </a:lnTo>
                    <a:lnTo>
                      <a:pt x="1628" y="1412"/>
                    </a:lnTo>
                    <a:lnTo>
                      <a:pt x="1626" y="1398"/>
                    </a:lnTo>
                    <a:lnTo>
                      <a:pt x="1622" y="1384"/>
                    </a:lnTo>
                    <a:lnTo>
                      <a:pt x="1612" y="1358"/>
                    </a:lnTo>
                    <a:lnTo>
                      <a:pt x="1610" y="1350"/>
                    </a:lnTo>
                    <a:lnTo>
                      <a:pt x="1610" y="1344"/>
                    </a:lnTo>
                    <a:lnTo>
                      <a:pt x="1610" y="1344"/>
                    </a:lnTo>
                    <a:close/>
                    <a:moveTo>
                      <a:pt x="1412" y="2026"/>
                    </a:moveTo>
                    <a:lnTo>
                      <a:pt x="1412" y="2026"/>
                    </a:lnTo>
                    <a:lnTo>
                      <a:pt x="1408" y="2024"/>
                    </a:lnTo>
                    <a:lnTo>
                      <a:pt x="1406" y="2020"/>
                    </a:lnTo>
                    <a:lnTo>
                      <a:pt x="1404" y="2016"/>
                    </a:lnTo>
                    <a:lnTo>
                      <a:pt x="1402" y="2014"/>
                    </a:lnTo>
                    <a:lnTo>
                      <a:pt x="1400" y="2014"/>
                    </a:lnTo>
                    <a:lnTo>
                      <a:pt x="1396" y="2018"/>
                    </a:lnTo>
                    <a:lnTo>
                      <a:pt x="1396" y="2018"/>
                    </a:lnTo>
                    <a:lnTo>
                      <a:pt x="1392" y="2022"/>
                    </a:lnTo>
                    <a:lnTo>
                      <a:pt x="1392" y="2024"/>
                    </a:lnTo>
                    <a:lnTo>
                      <a:pt x="1394" y="2024"/>
                    </a:lnTo>
                    <a:lnTo>
                      <a:pt x="1394" y="2024"/>
                    </a:lnTo>
                    <a:lnTo>
                      <a:pt x="1396" y="2026"/>
                    </a:lnTo>
                    <a:lnTo>
                      <a:pt x="1398" y="2028"/>
                    </a:lnTo>
                    <a:lnTo>
                      <a:pt x="1400" y="2038"/>
                    </a:lnTo>
                    <a:lnTo>
                      <a:pt x="1400" y="2038"/>
                    </a:lnTo>
                    <a:lnTo>
                      <a:pt x="1402" y="2040"/>
                    </a:lnTo>
                    <a:lnTo>
                      <a:pt x="1404" y="2042"/>
                    </a:lnTo>
                    <a:lnTo>
                      <a:pt x="1410" y="2044"/>
                    </a:lnTo>
                    <a:lnTo>
                      <a:pt x="1414" y="2042"/>
                    </a:lnTo>
                    <a:lnTo>
                      <a:pt x="1414" y="2040"/>
                    </a:lnTo>
                    <a:lnTo>
                      <a:pt x="1414" y="2036"/>
                    </a:lnTo>
                    <a:lnTo>
                      <a:pt x="1414" y="2036"/>
                    </a:lnTo>
                    <a:lnTo>
                      <a:pt x="1412" y="2034"/>
                    </a:lnTo>
                    <a:lnTo>
                      <a:pt x="1412" y="2032"/>
                    </a:lnTo>
                    <a:lnTo>
                      <a:pt x="1414" y="2030"/>
                    </a:lnTo>
                    <a:lnTo>
                      <a:pt x="1416" y="2028"/>
                    </a:lnTo>
                    <a:lnTo>
                      <a:pt x="1412" y="2026"/>
                    </a:lnTo>
                    <a:lnTo>
                      <a:pt x="1412" y="2026"/>
                    </a:lnTo>
                    <a:close/>
                    <a:moveTo>
                      <a:pt x="1708" y="300"/>
                    </a:moveTo>
                    <a:lnTo>
                      <a:pt x="1708" y="300"/>
                    </a:lnTo>
                    <a:lnTo>
                      <a:pt x="1704" y="298"/>
                    </a:lnTo>
                    <a:lnTo>
                      <a:pt x="1700" y="294"/>
                    </a:lnTo>
                    <a:lnTo>
                      <a:pt x="1694" y="284"/>
                    </a:lnTo>
                    <a:lnTo>
                      <a:pt x="1688" y="274"/>
                    </a:lnTo>
                    <a:lnTo>
                      <a:pt x="1686" y="272"/>
                    </a:lnTo>
                    <a:lnTo>
                      <a:pt x="1682" y="268"/>
                    </a:lnTo>
                    <a:lnTo>
                      <a:pt x="1682" y="268"/>
                    </a:lnTo>
                    <a:lnTo>
                      <a:pt x="1678" y="266"/>
                    </a:lnTo>
                    <a:lnTo>
                      <a:pt x="1676" y="262"/>
                    </a:lnTo>
                    <a:lnTo>
                      <a:pt x="1672" y="252"/>
                    </a:lnTo>
                    <a:lnTo>
                      <a:pt x="1668" y="244"/>
                    </a:lnTo>
                    <a:lnTo>
                      <a:pt x="1668" y="242"/>
                    </a:lnTo>
                    <a:lnTo>
                      <a:pt x="1664" y="244"/>
                    </a:lnTo>
                    <a:lnTo>
                      <a:pt x="1664" y="244"/>
                    </a:lnTo>
                    <a:lnTo>
                      <a:pt x="1662" y="248"/>
                    </a:lnTo>
                    <a:lnTo>
                      <a:pt x="1662" y="250"/>
                    </a:lnTo>
                    <a:lnTo>
                      <a:pt x="1666" y="256"/>
                    </a:lnTo>
                    <a:lnTo>
                      <a:pt x="1670" y="264"/>
                    </a:lnTo>
                    <a:lnTo>
                      <a:pt x="1672" y="268"/>
                    </a:lnTo>
                    <a:lnTo>
                      <a:pt x="1672" y="276"/>
                    </a:lnTo>
                    <a:lnTo>
                      <a:pt x="1672" y="276"/>
                    </a:lnTo>
                    <a:lnTo>
                      <a:pt x="1672" y="282"/>
                    </a:lnTo>
                    <a:lnTo>
                      <a:pt x="1672" y="288"/>
                    </a:lnTo>
                    <a:lnTo>
                      <a:pt x="1680" y="298"/>
                    </a:lnTo>
                    <a:lnTo>
                      <a:pt x="1688" y="306"/>
                    </a:lnTo>
                    <a:lnTo>
                      <a:pt x="1690" y="310"/>
                    </a:lnTo>
                    <a:lnTo>
                      <a:pt x="1692" y="316"/>
                    </a:lnTo>
                    <a:lnTo>
                      <a:pt x="1692" y="316"/>
                    </a:lnTo>
                    <a:lnTo>
                      <a:pt x="1694" y="324"/>
                    </a:lnTo>
                    <a:lnTo>
                      <a:pt x="1700" y="330"/>
                    </a:lnTo>
                    <a:lnTo>
                      <a:pt x="1708" y="332"/>
                    </a:lnTo>
                    <a:lnTo>
                      <a:pt x="1716" y="330"/>
                    </a:lnTo>
                    <a:lnTo>
                      <a:pt x="1716" y="330"/>
                    </a:lnTo>
                    <a:lnTo>
                      <a:pt x="1720" y="328"/>
                    </a:lnTo>
                    <a:lnTo>
                      <a:pt x="1722" y="326"/>
                    </a:lnTo>
                    <a:lnTo>
                      <a:pt x="1722" y="322"/>
                    </a:lnTo>
                    <a:lnTo>
                      <a:pt x="1720" y="316"/>
                    </a:lnTo>
                    <a:lnTo>
                      <a:pt x="1716" y="306"/>
                    </a:lnTo>
                    <a:lnTo>
                      <a:pt x="1712" y="304"/>
                    </a:lnTo>
                    <a:lnTo>
                      <a:pt x="1708" y="300"/>
                    </a:lnTo>
                    <a:lnTo>
                      <a:pt x="1708" y="300"/>
                    </a:lnTo>
                    <a:close/>
                    <a:moveTo>
                      <a:pt x="1712" y="342"/>
                    </a:moveTo>
                    <a:lnTo>
                      <a:pt x="1712" y="342"/>
                    </a:lnTo>
                    <a:lnTo>
                      <a:pt x="1712" y="346"/>
                    </a:lnTo>
                    <a:lnTo>
                      <a:pt x="1716" y="346"/>
                    </a:lnTo>
                    <a:lnTo>
                      <a:pt x="1718" y="346"/>
                    </a:lnTo>
                    <a:lnTo>
                      <a:pt x="1720" y="344"/>
                    </a:lnTo>
                    <a:lnTo>
                      <a:pt x="1720" y="344"/>
                    </a:lnTo>
                    <a:lnTo>
                      <a:pt x="1718" y="340"/>
                    </a:lnTo>
                    <a:lnTo>
                      <a:pt x="1716" y="338"/>
                    </a:lnTo>
                    <a:lnTo>
                      <a:pt x="1712" y="340"/>
                    </a:lnTo>
                    <a:lnTo>
                      <a:pt x="1712" y="342"/>
                    </a:lnTo>
                    <a:lnTo>
                      <a:pt x="1712" y="342"/>
                    </a:lnTo>
                    <a:close/>
                    <a:moveTo>
                      <a:pt x="1238" y="2006"/>
                    </a:moveTo>
                    <a:lnTo>
                      <a:pt x="1238" y="2006"/>
                    </a:lnTo>
                    <a:lnTo>
                      <a:pt x="1236" y="2012"/>
                    </a:lnTo>
                    <a:lnTo>
                      <a:pt x="1234" y="2024"/>
                    </a:lnTo>
                    <a:lnTo>
                      <a:pt x="1236" y="2032"/>
                    </a:lnTo>
                    <a:lnTo>
                      <a:pt x="1240" y="2034"/>
                    </a:lnTo>
                    <a:lnTo>
                      <a:pt x="1242" y="2032"/>
                    </a:lnTo>
                    <a:lnTo>
                      <a:pt x="1242" y="2032"/>
                    </a:lnTo>
                    <a:lnTo>
                      <a:pt x="1244" y="2028"/>
                    </a:lnTo>
                    <a:lnTo>
                      <a:pt x="1246" y="2024"/>
                    </a:lnTo>
                    <a:lnTo>
                      <a:pt x="1246" y="2014"/>
                    </a:lnTo>
                    <a:lnTo>
                      <a:pt x="1242" y="2006"/>
                    </a:lnTo>
                    <a:lnTo>
                      <a:pt x="1240" y="2004"/>
                    </a:lnTo>
                    <a:lnTo>
                      <a:pt x="1238" y="2006"/>
                    </a:lnTo>
                    <a:lnTo>
                      <a:pt x="1238" y="2006"/>
                    </a:lnTo>
                    <a:close/>
                    <a:moveTo>
                      <a:pt x="1414" y="2116"/>
                    </a:moveTo>
                    <a:lnTo>
                      <a:pt x="1414" y="2116"/>
                    </a:lnTo>
                    <a:lnTo>
                      <a:pt x="1414" y="2106"/>
                    </a:lnTo>
                    <a:lnTo>
                      <a:pt x="1414" y="2096"/>
                    </a:lnTo>
                    <a:lnTo>
                      <a:pt x="1414" y="2088"/>
                    </a:lnTo>
                    <a:lnTo>
                      <a:pt x="1412" y="2082"/>
                    </a:lnTo>
                    <a:lnTo>
                      <a:pt x="1408" y="2076"/>
                    </a:lnTo>
                    <a:lnTo>
                      <a:pt x="1406" y="2072"/>
                    </a:lnTo>
                    <a:lnTo>
                      <a:pt x="1402" y="2072"/>
                    </a:lnTo>
                    <a:lnTo>
                      <a:pt x="1400" y="2074"/>
                    </a:lnTo>
                    <a:lnTo>
                      <a:pt x="1400" y="2074"/>
                    </a:lnTo>
                    <a:lnTo>
                      <a:pt x="1398" y="2078"/>
                    </a:lnTo>
                    <a:lnTo>
                      <a:pt x="1396" y="2078"/>
                    </a:lnTo>
                    <a:lnTo>
                      <a:pt x="1392" y="2076"/>
                    </a:lnTo>
                    <a:lnTo>
                      <a:pt x="1388" y="2076"/>
                    </a:lnTo>
                    <a:lnTo>
                      <a:pt x="1386" y="2078"/>
                    </a:lnTo>
                    <a:lnTo>
                      <a:pt x="1382" y="2080"/>
                    </a:lnTo>
                    <a:lnTo>
                      <a:pt x="1382" y="2080"/>
                    </a:lnTo>
                    <a:lnTo>
                      <a:pt x="1380" y="2082"/>
                    </a:lnTo>
                    <a:lnTo>
                      <a:pt x="1378" y="2082"/>
                    </a:lnTo>
                    <a:lnTo>
                      <a:pt x="1370" y="2082"/>
                    </a:lnTo>
                    <a:lnTo>
                      <a:pt x="1352" y="2088"/>
                    </a:lnTo>
                    <a:lnTo>
                      <a:pt x="1352" y="2088"/>
                    </a:lnTo>
                    <a:lnTo>
                      <a:pt x="1340" y="2092"/>
                    </a:lnTo>
                    <a:lnTo>
                      <a:pt x="1332" y="2094"/>
                    </a:lnTo>
                    <a:lnTo>
                      <a:pt x="1324" y="2092"/>
                    </a:lnTo>
                    <a:lnTo>
                      <a:pt x="1320" y="2088"/>
                    </a:lnTo>
                    <a:lnTo>
                      <a:pt x="1310" y="2080"/>
                    </a:lnTo>
                    <a:lnTo>
                      <a:pt x="1304" y="2076"/>
                    </a:lnTo>
                    <a:lnTo>
                      <a:pt x="1296" y="2076"/>
                    </a:lnTo>
                    <a:lnTo>
                      <a:pt x="1296" y="2076"/>
                    </a:lnTo>
                    <a:lnTo>
                      <a:pt x="1288" y="2074"/>
                    </a:lnTo>
                    <a:lnTo>
                      <a:pt x="1282" y="2072"/>
                    </a:lnTo>
                    <a:lnTo>
                      <a:pt x="1274" y="2066"/>
                    </a:lnTo>
                    <a:lnTo>
                      <a:pt x="1272" y="2064"/>
                    </a:lnTo>
                    <a:lnTo>
                      <a:pt x="1270" y="2064"/>
                    </a:lnTo>
                    <a:lnTo>
                      <a:pt x="1266" y="2078"/>
                    </a:lnTo>
                    <a:lnTo>
                      <a:pt x="1266" y="2078"/>
                    </a:lnTo>
                    <a:lnTo>
                      <a:pt x="1264" y="2086"/>
                    </a:lnTo>
                    <a:lnTo>
                      <a:pt x="1266" y="2094"/>
                    </a:lnTo>
                    <a:lnTo>
                      <a:pt x="1276" y="2118"/>
                    </a:lnTo>
                    <a:lnTo>
                      <a:pt x="1276" y="2118"/>
                    </a:lnTo>
                    <a:lnTo>
                      <a:pt x="1280" y="2130"/>
                    </a:lnTo>
                    <a:lnTo>
                      <a:pt x="1284" y="2134"/>
                    </a:lnTo>
                    <a:lnTo>
                      <a:pt x="1288" y="2136"/>
                    </a:lnTo>
                    <a:lnTo>
                      <a:pt x="1288" y="2144"/>
                    </a:lnTo>
                    <a:lnTo>
                      <a:pt x="1288" y="2144"/>
                    </a:lnTo>
                    <a:lnTo>
                      <a:pt x="1288" y="2158"/>
                    </a:lnTo>
                    <a:lnTo>
                      <a:pt x="1292" y="2174"/>
                    </a:lnTo>
                    <a:lnTo>
                      <a:pt x="1296" y="2186"/>
                    </a:lnTo>
                    <a:lnTo>
                      <a:pt x="1300" y="2192"/>
                    </a:lnTo>
                    <a:lnTo>
                      <a:pt x="1304" y="2198"/>
                    </a:lnTo>
                    <a:lnTo>
                      <a:pt x="1304" y="2198"/>
                    </a:lnTo>
                    <a:lnTo>
                      <a:pt x="1310" y="2202"/>
                    </a:lnTo>
                    <a:lnTo>
                      <a:pt x="1312" y="2206"/>
                    </a:lnTo>
                    <a:lnTo>
                      <a:pt x="1318" y="2216"/>
                    </a:lnTo>
                    <a:lnTo>
                      <a:pt x="1322" y="2224"/>
                    </a:lnTo>
                    <a:lnTo>
                      <a:pt x="1324" y="2226"/>
                    </a:lnTo>
                    <a:lnTo>
                      <a:pt x="1328" y="2226"/>
                    </a:lnTo>
                    <a:lnTo>
                      <a:pt x="1328" y="2226"/>
                    </a:lnTo>
                    <a:lnTo>
                      <a:pt x="1332" y="2226"/>
                    </a:lnTo>
                    <a:lnTo>
                      <a:pt x="1338" y="2226"/>
                    </a:lnTo>
                    <a:lnTo>
                      <a:pt x="1352" y="2230"/>
                    </a:lnTo>
                    <a:lnTo>
                      <a:pt x="1352" y="2230"/>
                    </a:lnTo>
                    <a:lnTo>
                      <a:pt x="1356" y="2232"/>
                    </a:lnTo>
                    <a:lnTo>
                      <a:pt x="1358" y="2230"/>
                    </a:lnTo>
                    <a:lnTo>
                      <a:pt x="1360" y="2226"/>
                    </a:lnTo>
                    <a:lnTo>
                      <a:pt x="1362" y="2220"/>
                    </a:lnTo>
                    <a:lnTo>
                      <a:pt x="1366" y="2214"/>
                    </a:lnTo>
                    <a:lnTo>
                      <a:pt x="1366" y="2214"/>
                    </a:lnTo>
                    <a:lnTo>
                      <a:pt x="1370" y="2212"/>
                    </a:lnTo>
                    <a:lnTo>
                      <a:pt x="1372" y="2208"/>
                    </a:lnTo>
                    <a:lnTo>
                      <a:pt x="1374" y="2200"/>
                    </a:lnTo>
                    <a:lnTo>
                      <a:pt x="1376" y="2194"/>
                    </a:lnTo>
                    <a:lnTo>
                      <a:pt x="1378" y="2194"/>
                    </a:lnTo>
                    <a:lnTo>
                      <a:pt x="1378" y="2196"/>
                    </a:lnTo>
                    <a:lnTo>
                      <a:pt x="1378" y="2196"/>
                    </a:lnTo>
                    <a:lnTo>
                      <a:pt x="1380" y="2198"/>
                    </a:lnTo>
                    <a:lnTo>
                      <a:pt x="1382" y="2198"/>
                    </a:lnTo>
                    <a:lnTo>
                      <a:pt x="1382" y="2194"/>
                    </a:lnTo>
                    <a:lnTo>
                      <a:pt x="1384" y="2190"/>
                    </a:lnTo>
                    <a:lnTo>
                      <a:pt x="1386" y="2188"/>
                    </a:lnTo>
                    <a:lnTo>
                      <a:pt x="1388" y="2188"/>
                    </a:lnTo>
                    <a:lnTo>
                      <a:pt x="1388" y="2188"/>
                    </a:lnTo>
                    <a:lnTo>
                      <a:pt x="1392" y="2192"/>
                    </a:lnTo>
                    <a:lnTo>
                      <a:pt x="1394" y="2194"/>
                    </a:lnTo>
                    <a:lnTo>
                      <a:pt x="1394" y="2196"/>
                    </a:lnTo>
                    <a:lnTo>
                      <a:pt x="1392" y="2196"/>
                    </a:lnTo>
                    <a:lnTo>
                      <a:pt x="1392" y="2196"/>
                    </a:lnTo>
                    <a:lnTo>
                      <a:pt x="1388" y="2198"/>
                    </a:lnTo>
                    <a:lnTo>
                      <a:pt x="1388" y="2202"/>
                    </a:lnTo>
                    <a:lnTo>
                      <a:pt x="1390" y="2206"/>
                    </a:lnTo>
                    <a:lnTo>
                      <a:pt x="1398" y="2210"/>
                    </a:lnTo>
                    <a:lnTo>
                      <a:pt x="1398" y="2210"/>
                    </a:lnTo>
                    <a:lnTo>
                      <a:pt x="1402" y="2208"/>
                    </a:lnTo>
                    <a:lnTo>
                      <a:pt x="1404" y="2206"/>
                    </a:lnTo>
                    <a:lnTo>
                      <a:pt x="1402" y="2194"/>
                    </a:lnTo>
                    <a:lnTo>
                      <a:pt x="1400" y="2180"/>
                    </a:lnTo>
                    <a:lnTo>
                      <a:pt x="1400" y="2174"/>
                    </a:lnTo>
                    <a:lnTo>
                      <a:pt x="1402" y="2170"/>
                    </a:lnTo>
                    <a:lnTo>
                      <a:pt x="1402" y="2170"/>
                    </a:lnTo>
                    <a:lnTo>
                      <a:pt x="1404" y="2168"/>
                    </a:lnTo>
                    <a:lnTo>
                      <a:pt x="1404" y="2166"/>
                    </a:lnTo>
                    <a:lnTo>
                      <a:pt x="1402" y="2160"/>
                    </a:lnTo>
                    <a:lnTo>
                      <a:pt x="1402" y="2152"/>
                    </a:lnTo>
                    <a:lnTo>
                      <a:pt x="1402" y="2150"/>
                    </a:lnTo>
                    <a:lnTo>
                      <a:pt x="1404" y="2146"/>
                    </a:lnTo>
                    <a:lnTo>
                      <a:pt x="1404" y="2146"/>
                    </a:lnTo>
                    <a:lnTo>
                      <a:pt x="1408" y="2144"/>
                    </a:lnTo>
                    <a:lnTo>
                      <a:pt x="1410" y="2144"/>
                    </a:lnTo>
                    <a:lnTo>
                      <a:pt x="1410" y="2150"/>
                    </a:lnTo>
                    <a:lnTo>
                      <a:pt x="1412" y="2154"/>
                    </a:lnTo>
                    <a:lnTo>
                      <a:pt x="1412" y="2154"/>
                    </a:lnTo>
                    <a:lnTo>
                      <a:pt x="1414" y="2152"/>
                    </a:lnTo>
                    <a:lnTo>
                      <a:pt x="1414" y="2152"/>
                    </a:lnTo>
                    <a:lnTo>
                      <a:pt x="1416" y="2148"/>
                    </a:lnTo>
                    <a:lnTo>
                      <a:pt x="1416" y="2146"/>
                    </a:lnTo>
                    <a:lnTo>
                      <a:pt x="1414" y="2140"/>
                    </a:lnTo>
                    <a:lnTo>
                      <a:pt x="1412" y="2132"/>
                    </a:lnTo>
                    <a:lnTo>
                      <a:pt x="1412" y="2124"/>
                    </a:lnTo>
                    <a:lnTo>
                      <a:pt x="1414" y="2116"/>
                    </a:lnTo>
                    <a:lnTo>
                      <a:pt x="1414" y="2116"/>
                    </a:lnTo>
                    <a:close/>
                    <a:moveTo>
                      <a:pt x="984" y="1792"/>
                    </a:moveTo>
                    <a:lnTo>
                      <a:pt x="984" y="1792"/>
                    </a:lnTo>
                    <a:lnTo>
                      <a:pt x="980" y="1788"/>
                    </a:lnTo>
                    <a:lnTo>
                      <a:pt x="974" y="1788"/>
                    </a:lnTo>
                    <a:lnTo>
                      <a:pt x="966" y="1788"/>
                    </a:lnTo>
                    <a:lnTo>
                      <a:pt x="958" y="1792"/>
                    </a:lnTo>
                    <a:lnTo>
                      <a:pt x="950" y="1794"/>
                    </a:lnTo>
                    <a:lnTo>
                      <a:pt x="944" y="1798"/>
                    </a:lnTo>
                    <a:lnTo>
                      <a:pt x="942" y="1804"/>
                    </a:lnTo>
                    <a:lnTo>
                      <a:pt x="940" y="1808"/>
                    </a:lnTo>
                    <a:lnTo>
                      <a:pt x="940" y="1808"/>
                    </a:lnTo>
                    <a:lnTo>
                      <a:pt x="942" y="1810"/>
                    </a:lnTo>
                    <a:lnTo>
                      <a:pt x="948" y="1812"/>
                    </a:lnTo>
                    <a:lnTo>
                      <a:pt x="960" y="1814"/>
                    </a:lnTo>
                    <a:lnTo>
                      <a:pt x="974" y="1812"/>
                    </a:lnTo>
                    <a:lnTo>
                      <a:pt x="982" y="1810"/>
                    </a:lnTo>
                    <a:lnTo>
                      <a:pt x="982" y="1810"/>
                    </a:lnTo>
                    <a:lnTo>
                      <a:pt x="990" y="1808"/>
                    </a:lnTo>
                    <a:lnTo>
                      <a:pt x="998" y="1808"/>
                    </a:lnTo>
                    <a:lnTo>
                      <a:pt x="1004" y="1806"/>
                    </a:lnTo>
                    <a:lnTo>
                      <a:pt x="1004" y="1804"/>
                    </a:lnTo>
                    <a:lnTo>
                      <a:pt x="1002" y="1800"/>
                    </a:lnTo>
                    <a:lnTo>
                      <a:pt x="1002" y="1800"/>
                    </a:lnTo>
                    <a:lnTo>
                      <a:pt x="1000" y="1798"/>
                    </a:lnTo>
                    <a:lnTo>
                      <a:pt x="994" y="1798"/>
                    </a:lnTo>
                    <a:lnTo>
                      <a:pt x="990" y="1796"/>
                    </a:lnTo>
                    <a:lnTo>
                      <a:pt x="984" y="1792"/>
                    </a:lnTo>
                    <a:lnTo>
                      <a:pt x="984" y="1792"/>
                    </a:lnTo>
                    <a:close/>
                    <a:moveTo>
                      <a:pt x="2204" y="1064"/>
                    </a:moveTo>
                    <a:lnTo>
                      <a:pt x="2204" y="1064"/>
                    </a:lnTo>
                    <a:lnTo>
                      <a:pt x="2206" y="1066"/>
                    </a:lnTo>
                    <a:lnTo>
                      <a:pt x="2208" y="1066"/>
                    </a:lnTo>
                    <a:lnTo>
                      <a:pt x="2212" y="1066"/>
                    </a:lnTo>
                    <a:lnTo>
                      <a:pt x="2214" y="1060"/>
                    </a:lnTo>
                    <a:lnTo>
                      <a:pt x="2214" y="1058"/>
                    </a:lnTo>
                    <a:lnTo>
                      <a:pt x="2212" y="1054"/>
                    </a:lnTo>
                    <a:lnTo>
                      <a:pt x="2212" y="1054"/>
                    </a:lnTo>
                    <a:lnTo>
                      <a:pt x="2210" y="1050"/>
                    </a:lnTo>
                    <a:lnTo>
                      <a:pt x="2208" y="1048"/>
                    </a:lnTo>
                    <a:lnTo>
                      <a:pt x="2206" y="1048"/>
                    </a:lnTo>
                    <a:lnTo>
                      <a:pt x="2204" y="1050"/>
                    </a:lnTo>
                    <a:lnTo>
                      <a:pt x="2202" y="1054"/>
                    </a:lnTo>
                    <a:lnTo>
                      <a:pt x="2204" y="1064"/>
                    </a:lnTo>
                    <a:lnTo>
                      <a:pt x="2204" y="1064"/>
                    </a:lnTo>
                    <a:close/>
                    <a:moveTo>
                      <a:pt x="2218" y="862"/>
                    </a:moveTo>
                    <a:lnTo>
                      <a:pt x="2218" y="862"/>
                    </a:lnTo>
                    <a:lnTo>
                      <a:pt x="2216" y="866"/>
                    </a:lnTo>
                    <a:lnTo>
                      <a:pt x="2218" y="870"/>
                    </a:lnTo>
                    <a:lnTo>
                      <a:pt x="2222" y="872"/>
                    </a:lnTo>
                    <a:lnTo>
                      <a:pt x="2228" y="874"/>
                    </a:lnTo>
                    <a:lnTo>
                      <a:pt x="2228" y="874"/>
                    </a:lnTo>
                    <a:lnTo>
                      <a:pt x="2230" y="872"/>
                    </a:lnTo>
                    <a:lnTo>
                      <a:pt x="2230" y="870"/>
                    </a:lnTo>
                    <a:lnTo>
                      <a:pt x="2228" y="864"/>
                    </a:lnTo>
                    <a:lnTo>
                      <a:pt x="2222" y="860"/>
                    </a:lnTo>
                    <a:lnTo>
                      <a:pt x="2220" y="860"/>
                    </a:lnTo>
                    <a:lnTo>
                      <a:pt x="2218" y="862"/>
                    </a:lnTo>
                    <a:lnTo>
                      <a:pt x="2218" y="862"/>
                    </a:lnTo>
                    <a:close/>
                    <a:moveTo>
                      <a:pt x="2220" y="824"/>
                    </a:moveTo>
                    <a:lnTo>
                      <a:pt x="2220" y="824"/>
                    </a:lnTo>
                    <a:lnTo>
                      <a:pt x="2222" y="824"/>
                    </a:lnTo>
                    <a:lnTo>
                      <a:pt x="2222" y="822"/>
                    </a:lnTo>
                    <a:lnTo>
                      <a:pt x="2216" y="814"/>
                    </a:lnTo>
                    <a:lnTo>
                      <a:pt x="2216" y="814"/>
                    </a:lnTo>
                    <a:lnTo>
                      <a:pt x="2216" y="812"/>
                    </a:lnTo>
                    <a:lnTo>
                      <a:pt x="2214" y="814"/>
                    </a:lnTo>
                    <a:lnTo>
                      <a:pt x="2212" y="816"/>
                    </a:lnTo>
                    <a:lnTo>
                      <a:pt x="2214" y="822"/>
                    </a:lnTo>
                    <a:lnTo>
                      <a:pt x="2216" y="822"/>
                    </a:lnTo>
                    <a:lnTo>
                      <a:pt x="2220" y="824"/>
                    </a:lnTo>
                    <a:lnTo>
                      <a:pt x="2220" y="824"/>
                    </a:lnTo>
                    <a:close/>
                    <a:moveTo>
                      <a:pt x="2124" y="1064"/>
                    </a:moveTo>
                    <a:lnTo>
                      <a:pt x="2124" y="1064"/>
                    </a:lnTo>
                    <a:lnTo>
                      <a:pt x="2118" y="1060"/>
                    </a:lnTo>
                    <a:lnTo>
                      <a:pt x="2116" y="1060"/>
                    </a:lnTo>
                    <a:lnTo>
                      <a:pt x="2114" y="1062"/>
                    </a:lnTo>
                    <a:lnTo>
                      <a:pt x="2096" y="1042"/>
                    </a:lnTo>
                    <a:lnTo>
                      <a:pt x="2096" y="1042"/>
                    </a:lnTo>
                    <a:lnTo>
                      <a:pt x="2094" y="1038"/>
                    </a:lnTo>
                    <a:lnTo>
                      <a:pt x="2090" y="1032"/>
                    </a:lnTo>
                    <a:lnTo>
                      <a:pt x="2076" y="1018"/>
                    </a:lnTo>
                    <a:lnTo>
                      <a:pt x="2060" y="1008"/>
                    </a:lnTo>
                    <a:lnTo>
                      <a:pt x="2050" y="1000"/>
                    </a:lnTo>
                    <a:lnTo>
                      <a:pt x="2050" y="1004"/>
                    </a:lnTo>
                    <a:lnTo>
                      <a:pt x="2050" y="1004"/>
                    </a:lnTo>
                    <a:lnTo>
                      <a:pt x="2044" y="998"/>
                    </a:lnTo>
                    <a:lnTo>
                      <a:pt x="2040" y="994"/>
                    </a:lnTo>
                    <a:lnTo>
                      <a:pt x="2036" y="992"/>
                    </a:lnTo>
                    <a:lnTo>
                      <a:pt x="2040" y="1000"/>
                    </a:lnTo>
                    <a:lnTo>
                      <a:pt x="2050" y="1020"/>
                    </a:lnTo>
                    <a:lnTo>
                      <a:pt x="2050" y="1020"/>
                    </a:lnTo>
                    <a:lnTo>
                      <a:pt x="2052" y="1024"/>
                    </a:lnTo>
                    <a:lnTo>
                      <a:pt x="2052" y="1026"/>
                    </a:lnTo>
                    <a:lnTo>
                      <a:pt x="2052" y="1026"/>
                    </a:lnTo>
                    <a:lnTo>
                      <a:pt x="2064" y="1036"/>
                    </a:lnTo>
                    <a:lnTo>
                      <a:pt x="2070" y="1042"/>
                    </a:lnTo>
                    <a:lnTo>
                      <a:pt x="2076" y="1056"/>
                    </a:lnTo>
                    <a:lnTo>
                      <a:pt x="2076" y="1054"/>
                    </a:lnTo>
                    <a:lnTo>
                      <a:pt x="2078" y="1058"/>
                    </a:lnTo>
                    <a:lnTo>
                      <a:pt x="2078" y="1058"/>
                    </a:lnTo>
                    <a:lnTo>
                      <a:pt x="2082" y="1058"/>
                    </a:lnTo>
                    <a:lnTo>
                      <a:pt x="2088" y="1064"/>
                    </a:lnTo>
                    <a:lnTo>
                      <a:pt x="2088" y="1064"/>
                    </a:lnTo>
                    <a:lnTo>
                      <a:pt x="2094" y="1070"/>
                    </a:lnTo>
                    <a:lnTo>
                      <a:pt x="2102" y="1074"/>
                    </a:lnTo>
                    <a:lnTo>
                      <a:pt x="2110" y="1080"/>
                    </a:lnTo>
                    <a:lnTo>
                      <a:pt x="2116" y="1086"/>
                    </a:lnTo>
                    <a:lnTo>
                      <a:pt x="2136" y="1098"/>
                    </a:lnTo>
                    <a:lnTo>
                      <a:pt x="2136" y="1098"/>
                    </a:lnTo>
                    <a:lnTo>
                      <a:pt x="2136" y="1102"/>
                    </a:lnTo>
                    <a:lnTo>
                      <a:pt x="2136" y="1104"/>
                    </a:lnTo>
                    <a:lnTo>
                      <a:pt x="2136" y="1104"/>
                    </a:lnTo>
                    <a:lnTo>
                      <a:pt x="2136" y="1104"/>
                    </a:lnTo>
                    <a:lnTo>
                      <a:pt x="2154" y="1100"/>
                    </a:lnTo>
                    <a:lnTo>
                      <a:pt x="2158" y="1098"/>
                    </a:lnTo>
                    <a:lnTo>
                      <a:pt x="2158" y="1096"/>
                    </a:lnTo>
                    <a:lnTo>
                      <a:pt x="2148" y="1086"/>
                    </a:lnTo>
                    <a:lnTo>
                      <a:pt x="2124" y="1064"/>
                    </a:lnTo>
                    <a:lnTo>
                      <a:pt x="2124" y="1064"/>
                    </a:lnTo>
                    <a:close/>
                    <a:moveTo>
                      <a:pt x="2172" y="1036"/>
                    </a:moveTo>
                    <a:lnTo>
                      <a:pt x="2172" y="1036"/>
                    </a:lnTo>
                    <a:lnTo>
                      <a:pt x="2178" y="1038"/>
                    </a:lnTo>
                    <a:lnTo>
                      <a:pt x="2182" y="1040"/>
                    </a:lnTo>
                    <a:lnTo>
                      <a:pt x="2184" y="1038"/>
                    </a:lnTo>
                    <a:lnTo>
                      <a:pt x="2186" y="1036"/>
                    </a:lnTo>
                    <a:lnTo>
                      <a:pt x="2186" y="1030"/>
                    </a:lnTo>
                    <a:lnTo>
                      <a:pt x="2182" y="1024"/>
                    </a:lnTo>
                    <a:lnTo>
                      <a:pt x="2182" y="1024"/>
                    </a:lnTo>
                    <a:lnTo>
                      <a:pt x="2176" y="1018"/>
                    </a:lnTo>
                    <a:lnTo>
                      <a:pt x="2172" y="1016"/>
                    </a:lnTo>
                    <a:lnTo>
                      <a:pt x="2168" y="1018"/>
                    </a:lnTo>
                    <a:lnTo>
                      <a:pt x="2168" y="1020"/>
                    </a:lnTo>
                    <a:lnTo>
                      <a:pt x="2170" y="1020"/>
                    </a:lnTo>
                    <a:lnTo>
                      <a:pt x="2170" y="1020"/>
                    </a:lnTo>
                    <a:lnTo>
                      <a:pt x="2172" y="1022"/>
                    </a:lnTo>
                    <a:lnTo>
                      <a:pt x="2172" y="1024"/>
                    </a:lnTo>
                    <a:lnTo>
                      <a:pt x="2170" y="1028"/>
                    </a:lnTo>
                    <a:lnTo>
                      <a:pt x="2168" y="1032"/>
                    </a:lnTo>
                    <a:lnTo>
                      <a:pt x="2170" y="1034"/>
                    </a:lnTo>
                    <a:lnTo>
                      <a:pt x="2172" y="1036"/>
                    </a:lnTo>
                    <a:lnTo>
                      <a:pt x="2172" y="1036"/>
                    </a:lnTo>
                    <a:close/>
                    <a:moveTo>
                      <a:pt x="2152" y="752"/>
                    </a:moveTo>
                    <a:lnTo>
                      <a:pt x="2152" y="752"/>
                    </a:lnTo>
                    <a:lnTo>
                      <a:pt x="2154" y="760"/>
                    </a:lnTo>
                    <a:lnTo>
                      <a:pt x="2156" y="764"/>
                    </a:lnTo>
                    <a:lnTo>
                      <a:pt x="2160" y="766"/>
                    </a:lnTo>
                    <a:lnTo>
                      <a:pt x="2168" y="764"/>
                    </a:lnTo>
                    <a:lnTo>
                      <a:pt x="2168" y="764"/>
                    </a:lnTo>
                    <a:lnTo>
                      <a:pt x="2172" y="762"/>
                    </a:lnTo>
                    <a:lnTo>
                      <a:pt x="2174" y="760"/>
                    </a:lnTo>
                    <a:lnTo>
                      <a:pt x="2176" y="758"/>
                    </a:lnTo>
                    <a:lnTo>
                      <a:pt x="2176" y="754"/>
                    </a:lnTo>
                    <a:lnTo>
                      <a:pt x="2174" y="746"/>
                    </a:lnTo>
                    <a:lnTo>
                      <a:pt x="2170" y="736"/>
                    </a:lnTo>
                    <a:lnTo>
                      <a:pt x="2170" y="736"/>
                    </a:lnTo>
                    <a:lnTo>
                      <a:pt x="2168" y="732"/>
                    </a:lnTo>
                    <a:lnTo>
                      <a:pt x="2166" y="732"/>
                    </a:lnTo>
                    <a:lnTo>
                      <a:pt x="2164" y="734"/>
                    </a:lnTo>
                    <a:lnTo>
                      <a:pt x="2162" y="736"/>
                    </a:lnTo>
                    <a:lnTo>
                      <a:pt x="2162" y="736"/>
                    </a:lnTo>
                    <a:lnTo>
                      <a:pt x="2158" y="730"/>
                    </a:lnTo>
                    <a:lnTo>
                      <a:pt x="2158" y="730"/>
                    </a:lnTo>
                    <a:lnTo>
                      <a:pt x="2156" y="724"/>
                    </a:lnTo>
                    <a:lnTo>
                      <a:pt x="2154" y="718"/>
                    </a:lnTo>
                    <a:lnTo>
                      <a:pt x="2152" y="716"/>
                    </a:lnTo>
                    <a:lnTo>
                      <a:pt x="2148" y="716"/>
                    </a:lnTo>
                    <a:lnTo>
                      <a:pt x="2148" y="716"/>
                    </a:lnTo>
                    <a:lnTo>
                      <a:pt x="2146" y="718"/>
                    </a:lnTo>
                    <a:lnTo>
                      <a:pt x="2146" y="722"/>
                    </a:lnTo>
                    <a:lnTo>
                      <a:pt x="2148" y="726"/>
                    </a:lnTo>
                    <a:lnTo>
                      <a:pt x="2148" y="726"/>
                    </a:lnTo>
                    <a:lnTo>
                      <a:pt x="2152" y="736"/>
                    </a:lnTo>
                    <a:lnTo>
                      <a:pt x="2152" y="742"/>
                    </a:lnTo>
                    <a:lnTo>
                      <a:pt x="2152" y="746"/>
                    </a:lnTo>
                    <a:lnTo>
                      <a:pt x="2152" y="752"/>
                    </a:lnTo>
                    <a:lnTo>
                      <a:pt x="2152" y="752"/>
                    </a:lnTo>
                    <a:close/>
                    <a:moveTo>
                      <a:pt x="2196" y="758"/>
                    </a:moveTo>
                    <a:lnTo>
                      <a:pt x="2196" y="758"/>
                    </a:lnTo>
                    <a:lnTo>
                      <a:pt x="2202" y="754"/>
                    </a:lnTo>
                    <a:lnTo>
                      <a:pt x="2206" y="750"/>
                    </a:lnTo>
                    <a:lnTo>
                      <a:pt x="2208" y="748"/>
                    </a:lnTo>
                    <a:lnTo>
                      <a:pt x="2206" y="746"/>
                    </a:lnTo>
                    <a:lnTo>
                      <a:pt x="2206" y="746"/>
                    </a:lnTo>
                    <a:lnTo>
                      <a:pt x="2202" y="746"/>
                    </a:lnTo>
                    <a:lnTo>
                      <a:pt x="2198" y="748"/>
                    </a:lnTo>
                    <a:lnTo>
                      <a:pt x="2194" y="752"/>
                    </a:lnTo>
                    <a:lnTo>
                      <a:pt x="2194" y="754"/>
                    </a:lnTo>
                    <a:lnTo>
                      <a:pt x="2196" y="758"/>
                    </a:lnTo>
                    <a:lnTo>
                      <a:pt x="2196" y="758"/>
                    </a:lnTo>
                    <a:close/>
                    <a:moveTo>
                      <a:pt x="2206" y="798"/>
                    </a:moveTo>
                    <a:lnTo>
                      <a:pt x="2206" y="798"/>
                    </a:lnTo>
                    <a:lnTo>
                      <a:pt x="2210" y="800"/>
                    </a:lnTo>
                    <a:lnTo>
                      <a:pt x="2214" y="800"/>
                    </a:lnTo>
                    <a:lnTo>
                      <a:pt x="2216" y="798"/>
                    </a:lnTo>
                    <a:lnTo>
                      <a:pt x="2216" y="792"/>
                    </a:lnTo>
                    <a:lnTo>
                      <a:pt x="2216" y="792"/>
                    </a:lnTo>
                    <a:lnTo>
                      <a:pt x="2216" y="790"/>
                    </a:lnTo>
                    <a:lnTo>
                      <a:pt x="2214" y="788"/>
                    </a:lnTo>
                    <a:lnTo>
                      <a:pt x="2208" y="790"/>
                    </a:lnTo>
                    <a:lnTo>
                      <a:pt x="2204" y="794"/>
                    </a:lnTo>
                    <a:lnTo>
                      <a:pt x="2204" y="796"/>
                    </a:lnTo>
                    <a:lnTo>
                      <a:pt x="2206" y="798"/>
                    </a:lnTo>
                    <a:lnTo>
                      <a:pt x="2206" y="798"/>
                    </a:lnTo>
                    <a:close/>
                    <a:moveTo>
                      <a:pt x="1762" y="382"/>
                    </a:moveTo>
                    <a:lnTo>
                      <a:pt x="1762" y="382"/>
                    </a:lnTo>
                    <a:lnTo>
                      <a:pt x="1762" y="386"/>
                    </a:lnTo>
                    <a:lnTo>
                      <a:pt x="1764" y="392"/>
                    </a:lnTo>
                    <a:lnTo>
                      <a:pt x="1768" y="394"/>
                    </a:lnTo>
                    <a:lnTo>
                      <a:pt x="1770" y="394"/>
                    </a:lnTo>
                    <a:lnTo>
                      <a:pt x="1772" y="392"/>
                    </a:lnTo>
                    <a:lnTo>
                      <a:pt x="1772" y="392"/>
                    </a:lnTo>
                    <a:lnTo>
                      <a:pt x="1774" y="390"/>
                    </a:lnTo>
                    <a:lnTo>
                      <a:pt x="1772" y="386"/>
                    </a:lnTo>
                    <a:lnTo>
                      <a:pt x="1770" y="382"/>
                    </a:lnTo>
                    <a:lnTo>
                      <a:pt x="1766" y="378"/>
                    </a:lnTo>
                    <a:lnTo>
                      <a:pt x="1764" y="380"/>
                    </a:lnTo>
                    <a:lnTo>
                      <a:pt x="1762" y="382"/>
                    </a:lnTo>
                    <a:lnTo>
                      <a:pt x="1762" y="382"/>
                    </a:lnTo>
                    <a:close/>
                    <a:moveTo>
                      <a:pt x="1786" y="386"/>
                    </a:moveTo>
                    <a:lnTo>
                      <a:pt x="1786" y="386"/>
                    </a:lnTo>
                    <a:lnTo>
                      <a:pt x="1784" y="386"/>
                    </a:lnTo>
                    <a:lnTo>
                      <a:pt x="1780" y="388"/>
                    </a:lnTo>
                    <a:lnTo>
                      <a:pt x="1776" y="396"/>
                    </a:lnTo>
                    <a:lnTo>
                      <a:pt x="1776" y="402"/>
                    </a:lnTo>
                    <a:lnTo>
                      <a:pt x="1778" y="404"/>
                    </a:lnTo>
                    <a:lnTo>
                      <a:pt x="1780" y="404"/>
                    </a:lnTo>
                    <a:lnTo>
                      <a:pt x="1780" y="404"/>
                    </a:lnTo>
                    <a:lnTo>
                      <a:pt x="1784" y="402"/>
                    </a:lnTo>
                    <a:lnTo>
                      <a:pt x="1788" y="404"/>
                    </a:lnTo>
                    <a:lnTo>
                      <a:pt x="1790" y="410"/>
                    </a:lnTo>
                    <a:lnTo>
                      <a:pt x="1794" y="414"/>
                    </a:lnTo>
                    <a:lnTo>
                      <a:pt x="1794" y="414"/>
                    </a:lnTo>
                    <a:lnTo>
                      <a:pt x="1796" y="416"/>
                    </a:lnTo>
                    <a:lnTo>
                      <a:pt x="1800" y="412"/>
                    </a:lnTo>
                    <a:lnTo>
                      <a:pt x="1798" y="408"/>
                    </a:lnTo>
                    <a:lnTo>
                      <a:pt x="1794" y="402"/>
                    </a:lnTo>
                    <a:lnTo>
                      <a:pt x="1794" y="402"/>
                    </a:lnTo>
                    <a:lnTo>
                      <a:pt x="1790" y="396"/>
                    </a:lnTo>
                    <a:lnTo>
                      <a:pt x="1790" y="392"/>
                    </a:lnTo>
                    <a:lnTo>
                      <a:pt x="1790" y="390"/>
                    </a:lnTo>
                    <a:lnTo>
                      <a:pt x="1786" y="386"/>
                    </a:lnTo>
                    <a:lnTo>
                      <a:pt x="1786" y="386"/>
                    </a:lnTo>
                    <a:close/>
                    <a:moveTo>
                      <a:pt x="1754" y="340"/>
                    </a:moveTo>
                    <a:lnTo>
                      <a:pt x="1754" y="340"/>
                    </a:lnTo>
                    <a:lnTo>
                      <a:pt x="1758" y="346"/>
                    </a:lnTo>
                    <a:lnTo>
                      <a:pt x="1766" y="354"/>
                    </a:lnTo>
                    <a:lnTo>
                      <a:pt x="1776" y="360"/>
                    </a:lnTo>
                    <a:lnTo>
                      <a:pt x="1780" y="360"/>
                    </a:lnTo>
                    <a:lnTo>
                      <a:pt x="1784" y="360"/>
                    </a:lnTo>
                    <a:lnTo>
                      <a:pt x="1784" y="360"/>
                    </a:lnTo>
                    <a:lnTo>
                      <a:pt x="1788" y="358"/>
                    </a:lnTo>
                    <a:lnTo>
                      <a:pt x="1788" y="358"/>
                    </a:lnTo>
                    <a:lnTo>
                      <a:pt x="1784" y="356"/>
                    </a:lnTo>
                    <a:lnTo>
                      <a:pt x="1776" y="352"/>
                    </a:lnTo>
                    <a:lnTo>
                      <a:pt x="1774" y="348"/>
                    </a:lnTo>
                    <a:lnTo>
                      <a:pt x="1772" y="344"/>
                    </a:lnTo>
                    <a:lnTo>
                      <a:pt x="1772" y="344"/>
                    </a:lnTo>
                    <a:lnTo>
                      <a:pt x="1768" y="336"/>
                    </a:lnTo>
                    <a:lnTo>
                      <a:pt x="1764" y="332"/>
                    </a:lnTo>
                    <a:lnTo>
                      <a:pt x="1746" y="320"/>
                    </a:lnTo>
                    <a:lnTo>
                      <a:pt x="1746" y="320"/>
                    </a:lnTo>
                    <a:lnTo>
                      <a:pt x="1742" y="318"/>
                    </a:lnTo>
                    <a:lnTo>
                      <a:pt x="1740" y="320"/>
                    </a:lnTo>
                    <a:lnTo>
                      <a:pt x="1742" y="328"/>
                    </a:lnTo>
                    <a:lnTo>
                      <a:pt x="1742" y="328"/>
                    </a:lnTo>
                    <a:lnTo>
                      <a:pt x="1744" y="332"/>
                    </a:lnTo>
                    <a:lnTo>
                      <a:pt x="1748" y="334"/>
                    </a:lnTo>
                    <a:lnTo>
                      <a:pt x="1752" y="336"/>
                    </a:lnTo>
                    <a:lnTo>
                      <a:pt x="1754" y="340"/>
                    </a:lnTo>
                    <a:lnTo>
                      <a:pt x="1754" y="340"/>
                    </a:lnTo>
                    <a:close/>
                    <a:moveTo>
                      <a:pt x="1744" y="368"/>
                    </a:moveTo>
                    <a:lnTo>
                      <a:pt x="1744" y="368"/>
                    </a:lnTo>
                    <a:lnTo>
                      <a:pt x="1744" y="374"/>
                    </a:lnTo>
                    <a:lnTo>
                      <a:pt x="1748" y="378"/>
                    </a:lnTo>
                    <a:lnTo>
                      <a:pt x="1752" y="382"/>
                    </a:lnTo>
                    <a:lnTo>
                      <a:pt x="1754" y="380"/>
                    </a:lnTo>
                    <a:lnTo>
                      <a:pt x="1756" y="380"/>
                    </a:lnTo>
                    <a:lnTo>
                      <a:pt x="1756" y="380"/>
                    </a:lnTo>
                    <a:lnTo>
                      <a:pt x="1758" y="376"/>
                    </a:lnTo>
                    <a:lnTo>
                      <a:pt x="1758" y="374"/>
                    </a:lnTo>
                    <a:lnTo>
                      <a:pt x="1752" y="368"/>
                    </a:lnTo>
                    <a:lnTo>
                      <a:pt x="1746" y="366"/>
                    </a:lnTo>
                    <a:lnTo>
                      <a:pt x="1744" y="366"/>
                    </a:lnTo>
                    <a:lnTo>
                      <a:pt x="1744" y="368"/>
                    </a:lnTo>
                    <a:lnTo>
                      <a:pt x="1744" y="368"/>
                    </a:lnTo>
                    <a:close/>
                    <a:moveTo>
                      <a:pt x="1802" y="416"/>
                    </a:moveTo>
                    <a:lnTo>
                      <a:pt x="1802" y="416"/>
                    </a:lnTo>
                    <a:lnTo>
                      <a:pt x="1800" y="420"/>
                    </a:lnTo>
                    <a:lnTo>
                      <a:pt x="1800" y="424"/>
                    </a:lnTo>
                    <a:lnTo>
                      <a:pt x="1804" y="426"/>
                    </a:lnTo>
                    <a:lnTo>
                      <a:pt x="1810" y="424"/>
                    </a:lnTo>
                    <a:lnTo>
                      <a:pt x="1810" y="424"/>
                    </a:lnTo>
                    <a:lnTo>
                      <a:pt x="1810" y="422"/>
                    </a:lnTo>
                    <a:lnTo>
                      <a:pt x="1812" y="420"/>
                    </a:lnTo>
                    <a:lnTo>
                      <a:pt x="1810" y="416"/>
                    </a:lnTo>
                    <a:lnTo>
                      <a:pt x="1806" y="414"/>
                    </a:lnTo>
                    <a:lnTo>
                      <a:pt x="1804" y="414"/>
                    </a:lnTo>
                    <a:lnTo>
                      <a:pt x="1802" y="416"/>
                    </a:lnTo>
                    <a:lnTo>
                      <a:pt x="1802" y="416"/>
                    </a:lnTo>
                    <a:close/>
                    <a:moveTo>
                      <a:pt x="1858" y="386"/>
                    </a:moveTo>
                    <a:lnTo>
                      <a:pt x="1858" y="386"/>
                    </a:lnTo>
                    <a:lnTo>
                      <a:pt x="1848" y="382"/>
                    </a:lnTo>
                    <a:lnTo>
                      <a:pt x="1844" y="378"/>
                    </a:lnTo>
                    <a:lnTo>
                      <a:pt x="1840" y="374"/>
                    </a:lnTo>
                    <a:lnTo>
                      <a:pt x="1832" y="368"/>
                    </a:lnTo>
                    <a:lnTo>
                      <a:pt x="1832" y="368"/>
                    </a:lnTo>
                    <a:lnTo>
                      <a:pt x="1828" y="366"/>
                    </a:lnTo>
                    <a:lnTo>
                      <a:pt x="1826" y="368"/>
                    </a:lnTo>
                    <a:lnTo>
                      <a:pt x="1828" y="378"/>
                    </a:lnTo>
                    <a:lnTo>
                      <a:pt x="1828" y="378"/>
                    </a:lnTo>
                    <a:lnTo>
                      <a:pt x="1830" y="382"/>
                    </a:lnTo>
                    <a:lnTo>
                      <a:pt x="1834" y="386"/>
                    </a:lnTo>
                    <a:lnTo>
                      <a:pt x="1848" y="394"/>
                    </a:lnTo>
                    <a:lnTo>
                      <a:pt x="1864" y="404"/>
                    </a:lnTo>
                    <a:lnTo>
                      <a:pt x="1878" y="414"/>
                    </a:lnTo>
                    <a:lnTo>
                      <a:pt x="1878" y="414"/>
                    </a:lnTo>
                    <a:lnTo>
                      <a:pt x="1880" y="416"/>
                    </a:lnTo>
                    <a:lnTo>
                      <a:pt x="1882" y="416"/>
                    </a:lnTo>
                    <a:lnTo>
                      <a:pt x="1878" y="408"/>
                    </a:lnTo>
                    <a:lnTo>
                      <a:pt x="1870" y="396"/>
                    </a:lnTo>
                    <a:lnTo>
                      <a:pt x="1864" y="390"/>
                    </a:lnTo>
                    <a:lnTo>
                      <a:pt x="1858" y="386"/>
                    </a:lnTo>
                    <a:lnTo>
                      <a:pt x="1858" y="386"/>
                    </a:lnTo>
                    <a:close/>
                    <a:moveTo>
                      <a:pt x="1882" y="456"/>
                    </a:moveTo>
                    <a:lnTo>
                      <a:pt x="1882" y="456"/>
                    </a:lnTo>
                    <a:lnTo>
                      <a:pt x="1876" y="450"/>
                    </a:lnTo>
                    <a:lnTo>
                      <a:pt x="1872" y="450"/>
                    </a:lnTo>
                    <a:lnTo>
                      <a:pt x="1870" y="454"/>
                    </a:lnTo>
                    <a:lnTo>
                      <a:pt x="1870" y="462"/>
                    </a:lnTo>
                    <a:lnTo>
                      <a:pt x="1870" y="462"/>
                    </a:lnTo>
                    <a:lnTo>
                      <a:pt x="1870" y="468"/>
                    </a:lnTo>
                    <a:lnTo>
                      <a:pt x="1876" y="474"/>
                    </a:lnTo>
                    <a:lnTo>
                      <a:pt x="1882" y="478"/>
                    </a:lnTo>
                    <a:lnTo>
                      <a:pt x="1892" y="478"/>
                    </a:lnTo>
                    <a:lnTo>
                      <a:pt x="1892" y="478"/>
                    </a:lnTo>
                    <a:lnTo>
                      <a:pt x="1900" y="476"/>
                    </a:lnTo>
                    <a:lnTo>
                      <a:pt x="1900" y="478"/>
                    </a:lnTo>
                    <a:lnTo>
                      <a:pt x="1902" y="480"/>
                    </a:lnTo>
                    <a:lnTo>
                      <a:pt x="1912" y="482"/>
                    </a:lnTo>
                    <a:lnTo>
                      <a:pt x="1912" y="482"/>
                    </a:lnTo>
                    <a:lnTo>
                      <a:pt x="1916" y="482"/>
                    </a:lnTo>
                    <a:lnTo>
                      <a:pt x="1920" y="482"/>
                    </a:lnTo>
                    <a:lnTo>
                      <a:pt x="1920" y="480"/>
                    </a:lnTo>
                    <a:lnTo>
                      <a:pt x="1918" y="476"/>
                    </a:lnTo>
                    <a:lnTo>
                      <a:pt x="1914" y="468"/>
                    </a:lnTo>
                    <a:lnTo>
                      <a:pt x="1906" y="460"/>
                    </a:lnTo>
                    <a:lnTo>
                      <a:pt x="1906" y="460"/>
                    </a:lnTo>
                    <a:lnTo>
                      <a:pt x="1902" y="458"/>
                    </a:lnTo>
                    <a:lnTo>
                      <a:pt x="1900" y="456"/>
                    </a:lnTo>
                    <a:lnTo>
                      <a:pt x="1892" y="456"/>
                    </a:lnTo>
                    <a:lnTo>
                      <a:pt x="1886" y="458"/>
                    </a:lnTo>
                    <a:lnTo>
                      <a:pt x="1884" y="456"/>
                    </a:lnTo>
                    <a:lnTo>
                      <a:pt x="1882" y="456"/>
                    </a:lnTo>
                    <a:lnTo>
                      <a:pt x="1882" y="456"/>
                    </a:lnTo>
                    <a:close/>
                    <a:moveTo>
                      <a:pt x="1884" y="560"/>
                    </a:moveTo>
                    <a:lnTo>
                      <a:pt x="1884" y="560"/>
                    </a:lnTo>
                    <a:lnTo>
                      <a:pt x="1886" y="564"/>
                    </a:lnTo>
                    <a:lnTo>
                      <a:pt x="1894" y="570"/>
                    </a:lnTo>
                    <a:lnTo>
                      <a:pt x="1902" y="576"/>
                    </a:lnTo>
                    <a:lnTo>
                      <a:pt x="1906" y="576"/>
                    </a:lnTo>
                    <a:lnTo>
                      <a:pt x="1910" y="576"/>
                    </a:lnTo>
                    <a:lnTo>
                      <a:pt x="1910" y="576"/>
                    </a:lnTo>
                    <a:lnTo>
                      <a:pt x="1910" y="574"/>
                    </a:lnTo>
                    <a:lnTo>
                      <a:pt x="1908" y="570"/>
                    </a:lnTo>
                    <a:lnTo>
                      <a:pt x="1900" y="562"/>
                    </a:lnTo>
                    <a:lnTo>
                      <a:pt x="1890" y="558"/>
                    </a:lnTo>
                    <a:lnTo>
                      <a:pt x="1886" y="558"/>
                    </a:lnTo>
                    <a:lnTo>
                      <a:pt x="1884" y="560"/>
                    </a:lnTo>
                    <a:lnTo>
                      <a:pt x="1884" y="560"/>
                    </a:lnTo>
                    <a:close/>
                    <a:moveTo>
                      <a:pt x="1966" y="508"/>
                    </a:moveTo>
                    <a:lnTo>
                      <a:pt x="1966" y="508"/>
                    </a:lnTo>
                    <a:lnTo>
                      <a:pt x="1958" y="506"/>
                    </a:lnTo>
                    <a:lnTo>
                      <a:pt x="1950" y="502"/>
                    </a:lnTo>
                    <a:lnTo>
                      <a:pt x="1942" y="498"/>
                    </a:lnTo>
                    <a:lnTo>
                      <a:pt x="1938" y="498"/>
                    </a:lnTo>
                    <a:lnTo>
                      <a:pt x="1936" y="500"/>
                    </a:lnTo>
                    <a:lnTo>
                      <a:pt x="1936" y="500"/>
                    </a:lnTo>
                    <a:lnTo>
                      <a:pt x="1934" y="500"/>
                    </a:lnTo>
                    <a:lnTo>
                      <a:pt x="1934" y="502"/>
                    </a:lnTo>
                    <a:lnTo>
                      <a:pt x="1938" y="504"/>
                    </a:lnTo>
                    <a:lnTo>
                      <a:pt x="1942" y="506"/>
                    </a:lnTo>
                    <a:lnTo>
                      <a:pt x="1944" y="510"/>
                    </a:lnTo>
                    <a:lnTo>
                      <a:pt x="1944" y="512"/>
                    </a:lnTo>
                    <a:lnTo>
                      <a:pt x="1944" y="512"/>
                    </a:lnTo>
                    <a:lnTo>
                      <a:pt x="1946" y="516"/>
                    </a:lnTo>
                    <a:lnTo>
                      <a:pt x="1948" y="518"/>
                    </a:lnTo>
                    <a:lnTo>
                      <a:pt x="1956" y="524"/>
                    </a:lnTo>
                    <a:lnTo>
                      <a:pt x="1966" y="528"/>
                    </a:lnTo>
                    <a:lnTo>
                      <a:pt x="1974" y="528"/>
                    </a:lnTo>
                    <a:lnTo>
                      <a:pt x="1974" y="528"/>
                    </a:lnTo>
                    <a:lnTo>
                      <a:pt x="1976" y="528"/>
                    </a:lnTo>
                    <a:lnTo>
                      <a:pt x="1978" y="526"/>
                    </a:lnTo>
                    <a:lnTo>
                      <a:pt x="1976" y="518"/>
                    </a:lnTo>
                    <a:lnTo>
                      <a:pt x="1972" y="512"/>
                    </a:lnTo>
                    <a:lnTo>
                      <a:pt x="1968" y="510"/>
                    </a:lnTo>
                    <a:lnTo>
                      <a:pt x="1966" y="508"/>
                    </a:lnTo>
                    <a:lnTo>
                      <a:pt x="1966" y="508"/>
                    </a:lnTo>
                    <a:close/>
                    <a:moveTo>
                      <a:pt x="2174" y="784"/>
                    </a:moveTo>
                    <a:lnTo>
                      <a:pt x="2174" y="784"/>
                    </a:lnTo>
                    <a:lnTo>
                      <a:pt x="2174" y="788"/>
                    </a:lnTo>
                    <a:lnTo>
                      <a:pt x="2180" y="792"/>
                    </a:lnTo>
                    <a:lnTo>
                      <a:pt x="2180" y="792"/>
                    </a:lnTo>
                    <a:lnTo>
                      <a:pt x="2182" y="794"/>
                    </a:lnTo>
                    <a:lnTo>
                      <a:pt x="2184" y="798"/>
                    </a:lnTo>
                    <a:lnTo>
                      <a:pt x="2186" y="804"/>
                    </a:lnTo>
                    <a:lnTo>
                      <a:pt x="2188" y="808"/>
                    </a:lnTo>
                    <a:lnTo>
                      <a:pt x="2192" y="808"/>
                    </a:lnTo>
                    <a:lnTo>
                      <a:pt x="2196" y="808"/>
                    </a:lnTo>
                    <a:lnTo>
                      <a:pt x="2196" y="808"/>
                    </a:lnTo>
                    <a:lnTo>
                      <a:pt x="2198" y="806"/>
                    </a:lnTo>
                    <a:lnTo>
                      <a:pt x="2198" y="800"/>
                    </a:lnTo>
                    <a:lnTo>
                      <a:pt x="2196" y="794"/>
                    </a:lnTo>
                    <a:lnTo>
                      <a:pt x="2190" y="788"/>
                    </a:lnTo>
                    <a:lnTo>
                      <a:pt x="2186" y="784"/>
                    </a:lnTo>
                    <a:lnTo>
                      <a:pt x="2180" y="780"/>
                    </a:lnTo>
                    <a:lnTo>
                      <a:pt x="2176" y="780"/>
                    </a:lnTo>
                    <a:lnTo>
                      <a:pt x="2174" y="784"/>
                    </a:lnTo>
                    <a:lnTo>
                      <a:pt x="2174" y="784"/>
                    </a:lnTo>
                    <a:close/>
                    <a:moveTo>
                      <a:pt x="1938" y="458"/>
                    </a:moveTo>
                    <a:lnTo>
                      <a:pt x="1938" y="458"/>
                    </a:lnTo>
                    <a:lnTo>
                      <a:pt x="1938" y="454"/>
                    </a:lnTo>
                    <a:lnTo>
                      <a:pt x="1938" y="448"/>
                    </a:lnTo>
                    <a:lnTo>
                      <a:pt x="1936" y="444"/>
                    </a:lnTo>
                    <a:lnTo>
                      <a:pt x="1930" y="438"/>
                    </a:lnTo>
                    <a:lnTo>
                      <a:pt x="1930" y="438"/>
                    </a:lnTo>
                    <a:lnTo>
                      <a:pt x="1928" y="434"/>
                    </a:lnTo>
                    <a:lnTo>
                      <a:pt x="1926" y="428"/>
                    </a:lnTo>
                    <a:lnTo>
                      <a:pt x="1922" y="420"/>
                    </a:lnTo>
                    <a:lnTo>
                      <a:pt x="1920" y="410"/>
                    </a:lnTo>
                    <a:lnTo>
                      <a:pt x="1916" y="408"/>
                    </a:lnTo>
                    <a:lnTo>
                      <a:pt x="1910" y="406"/>
                    </a:lnTo>
                    <a:lnTo>
                      <a:pt x="1910" y="406"/>
                    </a:lnTo>
                    <a:lnTo>
                      <a:pt x="1908" y="404"/>
                    </a:lnTo>
                    <a:lnTo>
                      <a:pt x="1906" y="406"/>
                    </a:lnTo>
                    <a:lnTo>
                      <a:pt x="1906" y="412"/>
                    </a:lnTo>
                    <a:lnTo>
                      <a:pt x="1912" y="422"/>
                    </a:lnTo>
                    <a:lnTo>
                      <a:pt x="1916" y="440"/>
                    </a:lnTo>
                    <a:lnTo>
                      <a:pt x="1916" y="440"/>
                    </a:lnTo>
                    <a:lnTo>
                      <a:pt x="1918" y="446"/>
                    </a:lnTo>
                    <a:lnTo>
                      <a:pt x="1920" y="448"/>
                    </a:lnTo>
                    <a:lnTo>
                      <a:pt x="1926" y="452"/>
                    </a:lnTo>
                    <a:lnTo>
                      <a:pt x="1930" y="460"/>
                    </a:lnTo>
                    <a:lnTo>
                      <a:pt x="1930" y="460"/>
                    </a:lnTo>
                    <a:lnTo>
                      <a:pt x="1936" y="466"/>
                    </a:lnTo>
                    <a:lnTo>
                      <a:pt x="1940" y="470"/>
                    </a:lnTo>
                    <a:lnTo>
                      <a:pt x="1942" y="468"/>
                    </a:lnTo>
                    <a:lnTo>
                      <a:pt x="1942" y="468"/>
                    </a:lnTo>
                    <a:lnTo>
                      <a:pt x="1938" y="458"/>
                    </a:lnTo>
                    <a:lnTo>
                      <a:pt x="1938" y="458"/>
                    </a:lnTo>
                    <a:close/>
                    <a:moveTo>
                      <a:pt x="2456" y="2102"/>
                    </a:moveTo>
                    <a:lnTo>
                      <a:pt x="2456" y="2102"/>
                    </a:lnTo>
                    <a:lnTo>
                      <a:pt x="2460" y="2096"/>
                    </a:lnTo>
                    <a:lnTo>
                      <a:pt x="2460" y="2090"/>
                    </a:lnTo>
                    <a:lnTo>
                      <a:pt x="2458" y="2084"/>
                    </a:lnTo>
                    <a:lnTo>
                      <a:pt x="2456" y="2082"/>
                    </a:lnTo>
                    <a:lnTo>
                      <a:pt x="2450" y="2082"/>
                    </a:lnTo>
                    <a:lnTo>
                      <a:pt x="2442" y="2084"/>
                    </a:lnTo>
                    <a:lnTo>
                      <a:pt x="2434" y="2088"/>
                    </a:lnTo>
                    <a:lnTo>
                      <a:pt x="2426" y="2094"/>
                    </a:lnTo>
                    <a:lnTo>
                      <a:pt x="2426" y="2094"/>
                    </a:lnTo>
                    <a:lnTo>
                      <a:pt x="2418" y="2100"/>
                    </a:lnTo>
                    <a:lnTo>
                      <a:pt x="2412" y="2100"/>
                    </a:lnTo>
                    <a:lnTo>
                      <a:pt x="2410" y="2098"/>
                    </a:lnTo>
                    <a:lnTo>
                      <a:pt x="2410" y="2094"/>
                    </a:lnTo>
                    <a:lnTo>
                      <a:pt x="2410" y="2080"/>
                    </a:lnTo>
                    <a:lnTo>
                      <a:pt x="2410" y="2076"/>
                    </a:lnTo>
                    <a:lnTo>
                      <a:pt x="2408" y="2074"/>
                    </a:lnTo>
                    <a:lnTo>
                      <a:pt x="2408" y="2074"/>
                    </a:lnTo>
                    <a:lnTo>
                      <a:pt x="2400" y="2072"/>
                    </a:lnTo>
                    <a:lnTo>
                      <a:pt x="2398" y="2070"/>
                    </a:lnTo>
                    <a:lnTo>
                      <a:pt x="2398" y="2068"/>
                    </a:lnTo>
                    <a:lnTo>
                      <a:pt x="2404" y="2064"/>
                    </a:lnTo>
                    <a:lnTo>
                      <a:pt x="2404" y="2064"/>
                    </a:lnTo>
                    <a:lnTo>
                      <a:pt x="2408" y="2062"/>
                    </a:lnTo>
                    <a:lnTo>
                      <a:pt x="2408" y="2058"/>
                    </a:lnTo>
                    <a:lnTo>
                      <a:pt x="2408" y="2056"/>
                    </a:lnTo>
                    <a:lnTo>
                      <a:pt x="2404" y="2054"/>
                    </a:lnTo>
                    <a:lnTo>
                      <a:pt x="2400" y="2054"/>
                    </a:lnTo>
                    <a:lnTo>
                      <a:pt x="2396" y="2056"/>
                    </a:lnTo>
                    <a:lnTo>
                      <a:pt x="2388" y="2060"/>
                    </a:lnTo>
                    <a:lnTo>
                      <a:pt x="2380" y="2068"/>
                    </a:lnTo>
                    <a:lnTo>
                      <a:pt x="2380" y="2068"/>
                    </a:lnTo>
                    <a:lnTo>
                      <a:pt x="2376" y="2074"/>
                    </a:lnTo>
                    <a:lnTo>
                      <a:pt x="2374" y="2080"/>
                    </a:lnTo>
                    <a:lnTo>
                      <a:pt x="2374" y="2096"/>
                    </a:lnTo>
                    <a:lnTo>
                      <a:pt x="2372" y="2104"/>
                    </a:lnTo>
                    <a:lnTo>
                      <a:pt x="2370" y="2110"/>
                    </a:lnTo>
                    <a:lnTo>
                      <a:pt x="2366" y="2116"/>
                    </a:lnTo>
                    <a:lnTo>
                      <a:pt x="2358" y="2120"/>
                    </a:lnTo>
                    <a:lnTo>
                      <a:pt x="2358" y="2120"/>
                    </a:lnTo>
                    <a:lnTo>
                      <a:pt x="2352" y="2126"/>
                    </a:lnTo>
                    <a:lnTo>
                      <a:pt x="2346" y="2134"/>
                    </a:lnTo>
                    <a:lnTo>
                      <a:pt x="2336" y="2156"/>
                    </a:lnTo>
                    <a:lnTo>
                      <a:pt x="2324" y="2180"/>
                    </a:lnTo>
                    <a:lnTo>
                      <a:pt x="2318" y="2190"/>
                    </a:lnTo>
                    <a:lnTo>
                      <a:pt x="2310" y="2196"/>
                    </a:lnTo>
                    <a:lnTo>
                      <a:pt x="2310" y="2196"/>
                    </a:lnTo>
                    <a:lnTo>
                      <a:pt x="2298" y="2206"/>
                    </a:lnTo>
                    <a:lnTo>
                      <a:pt x="2286" y="2218"/>
                    </a:lnTo>
                    <a:lnTo>
                      <a:pt x="2274" y="2228"/>
                    </a:lnTo>
                    <a:lnTo>
                      <a:pt x="2270" y="2230"/>
                    </a:lnTo>
                    <a:lnTo>
                      <a:pt x="2264" y="2232"/>
                    </a:lnTo>
                    <a:lnTo>
                      <a:pt x="2264" y="2232"/>
                    </a:lnTo>
                    <a:lnTo>
                      <a:pt x="2260" y="2234"/>
                    </a:lnTo>
                    <a:lnTo>
                      <a:pt x="2256" y="2236"/>
                    </a:lnTo>
                    <a:lnTo>
                      <a:pt x="2250" y="2242"/>
                    </a:lnTo>
                    <a:lnTo>
                      <a:pt x="2246" y="2248"/>
                    </a:lnTo>
                    <a:lnTo>
                      <a:pt x="2242" y="2250"/>
                    </a:lnTo>
                    <a:lnTo>
                      <a:pt x="2236" y="2250"/>
                    </a:lnTo>
                    <a:lnTo>
                      <a:pt x="2236" y="2250"/>
                    </a:lnTo>
                    <a:lnTo>
                      <a:pt x="2228" y="2250"/>
                    </a:lnTo>
                    <a:lnTo>
                      <a:pt x="2222" y="2254"/>
                    </a:lnTo>
                    <a:lnTo>
                      <a:pt x="2216" y="2260"/>
                    </a:lnTo>
                    <a:lnTo>
                      <a:pt x="2210" y="2266"/>
                    </a:lnTo>
                    <a:lnTo>
                      <a:pt x="2200" y="2282"/>
                    </a:lnTo>
                    <a:lnTo>
                      <a:pt x="2186" y="2298"/>
                    </a:lnTo>
                    <a:lnTo>
                      <a:pt x="2186" y="2298"/>
                    </a:lnTo>
                    <a:lnTo>
                      <a:pt x="2174" y="2310"/>
                    </a:lnTo>
                    <a:lnTo>
                      <a:pt x="2162" y="2322"/>
                    </a:lnTo>
                    <a:lnTo>
                      <a:pt x="2160" y="2328"/>
                    </a:lnTo>
                    <a:lnTo>
                      <a:pt x="2156" y="2334"/>
                    </a:lnTo>
                    <a:lnTo>
                      <a:pt x="2156" y="2338"/>
                    </a:lnTo>
                    <a:lnTo>
                      <a:pt x="2158" y="2344"/>
                    </a:lnTo>
                    <a:lnTo>
                      <a:pt x="2158" y="2344"/>
                    </a:lnTo>
                    <a:lnTo>
                      <a:pt x="2160" y="2348"/>
                    </a:lnTo>
                    <a:lnTo>
                      <a:pt x="2158" y="2352"/>
                    </a:lnTo>
                    <a:lnTo>
                      <a:pt x="2152" y="2356"/>
                    </a:lnTo>
                    <a:lnTo>
                      <a:pt x="2146" y="2360"/>
                    </a:lnTo>
                    <a:lnTo>
                      <a:pt x="2146" y="2362"/>
                    </a:lnTo>
                    <a:lnTo>
                      <a:pt x="2146" y="2368"/>
                    </a:lnTo>
                    <a:lnTo>
                      <a:pt x="2146" y="2368"/>
                    </a:lnTo>
                    <a:lnTo>
                      <a:pt x="2152" y="2376"/>
                    </a:lnTo>
                    <a:lnTo>
                      <a:pt x="2162" y="2382"/>
                    </a:lnTo>
                    <a:lnTo>
                      <a:pt x="2168" y="2384"/>
                    </a:lnTo>
                    <a:lnTo>
                      <a:pt x="2172" y="2384"/>
                    </a:lnTo>
                    <a:lnTo>
                      <a:pt x="2178" y="2382"/>
                    </a:lnTo>
                    <a:lnTo>
                      <a:pt x="2184" y="2378"/>
                    </a:lnTo>
                    <a:lnTo>
                      <a:pt x="2184" y="2378"/>
                    </a:lnTo>
                    <a:lnTo>
                      <a:pt x="2190" y="2376"/>
                    </a:lnTo>
                    <a:lnTo>
                      <a:pt x="2192" y="2374"/>
                    </a:lnTo>
                    <a:lnTo>
                      <a:pt x="2194" y="2376"/>
                    </a:lnTo>
                    <a:lnTo>
                      <a:pt x="2196" y="2378"/>
                    </a:lnTo>
                    <a:lnTo>
                      <a:pt x="2200" y="2384"/>
                    </a:lnTo>
                    <a:lnTo>
                      <a:pt x="2202" y="2386"/>
                    </a:lnTo>
                    <a:lnTo>
                      <a:pt x="2208" y="2386"/>
                    </a:lnTo>
                    <a:lnTo>
                      <a:pt x="2208" y="2386"/>
                    </a:lnTo>
                    <a:lnTo>
                      <a:pt x="2212" y="2386"/>
                    </a:lnTo>
                    <a:lnTo>
                      <a:pt x="2216" y="2388"/>
                    </a:lnTo>
                    <a:lnTo>
                      <a:pt x="2218" y="2392"/>
                    </a:lnTo>
                    <a:lnTo>
                      <a:pt x="2218" y="2396"/>
                    </a:lnTo>
                    <a:lnTo>
                      <a:pt x="2220" y="2398"/>
                    </a:lnTo>
                    <a:lnTo>
                      <a:pt x="2224" y="2402"/>
                    </a:lnTo>
                    <a:lnTo>
                      <a:pt x="2232" y="2402"/>
                    </a:lnTo>
                    <a:lnTo>
                      <a:pt x="2232" y="2402"/>
                    </a:lnTo>
                    <a:lnTo>
                      <a:pt x="2248" y="2404"/>
                    </a:lnTo>
                    <a:lnTo>
                      <a:pt x="2256" y="2404"/>
                    </a:lnTo>
                    <a:lnTo>
                      <a:pt x="2262" y="2404"/>
                    </a:lnTo>
                    <a:lnTo>
                      <a:pt x="2268" y="2402"/>
                    </a:lnTo>
                    <a:lnTo>
                      <a:pt x="2276" y="2398"/>
                    </a:lnTo>
                    <a:lnTo>
                      <a:pt x="2282" y="2390"/>
                    </a:lnTo>
                    <a:lnTo>
                      <a:pt x="2288" y="2380"/>
                    </a:lnTo>
                    <a:lnTo>
                      <a:pt x="2288" y="2380"/>
                    </a:lnTo>
                    <a:lnTo>
                      <a:pt x="2296" y="2372"/>
                    </a:lnTo>
                    <a:lnTo>
                      <a:pt x="2302" y="2366"/>
                    </a:lnTo>
                    <a:lnTo>
                      <a:pt x="2308" y="2362"/>
                    </a:lnTo>
                    <a:lnTo>
                      <a:pt x="2314" y="2360"/>
                    </a:lnTo>
                    <a:lnTo>
                      <a:pt x="2320" y="2358"/>
                    </a:lnTo>
                    <a:lnTo>
                      <a:pt x="2320" y="2356"/>
                    </a:lnTo>
                    <a:lnTo>
                      <a:pt x="2318" y="2352"/>
                    </a:lnTo>
                    <a:lnTo>
                      <a:pt x="2318" y="2352"/>
                    </a:lnTo>
                    <a:lnTo>
                      <a:pt x="2318" y="2346"/>
                    </a:lnTo>
                    <a:lnTo>
                      <a:pt x="2318" y="2340"/>
                    </a:lnTo>
                    <a:lnTo>
                      <a:pt x="2324" y="2328"/>
                    </a:lnTo>
                    <a:lnTo>
                      <a:pt x="2332" y="2312"/>
                    </a:lnTo>
                    <a:lnTo>
                      <a:pt x="2336" y="2300"/>
                    </a:lnTo>
                    <a:lnTo>
                      <a:pt x="2336" y="2288"/>
                    </a:lnTo>
                    <a:lnTo>
                      <a:pt x="2336" y="2288"/>
                    </a:lnTo>
                    <a:lnTo>
                      <a:pt x="2340" y="2276"/>
                    </a:lnTo>
                    <a:lnTo>
                      <a:pt x="2346" y="2266"/>
                    </a:lnTo>
                    <a:lnTo>
                      <a:pt x="2354" y="2258"/>
                    </a:lnTo>
                    <a:lnTo>
                      <a:pt x="2364" y="2252"/>
                    </a:lnTo>
                    <a:lnTo>
                      <a:pt x="2376" y="2248"/>
                    </a:lnTo>
                    <a:lnTo>
                      <a:pt x="2386" y="2246"/>
                    </a:lnTo>
                    <a:lnTo>
                      <a:pt x="2394" y="2244"/>
                    </a:lnTo>
                    <a:lnTo>
                      <a:pt x="2400" y="2246"/>
                    </a:lnTo>
                    <a:lnTo>
                      <a:pt x="2400" y="2246"/>
                    </a:lnTo>
                    <a:lnTo>
                      <a:pt x="2406" y="2246"/>
                    </a:lnTo>
                    <a:lnTo>
                      <a:pt x="2410" y="2246"/>
                    </a:lnTo>
                    <a:lnTo>
                      <a:pt x="2414" y="2244"/>
                    </a:lnTo>
                    <a:lnTo>
                      <a:pt x="2416" y="2242"/>
                    </a:lnTo>
                    <a:lnTo>
                      <a:pt x="2418" y="2238"/>
                    </a:lnTo>
                    <a:lnTo>
                      <a:pt x="2418" y="2236"/>
                    </a:lnTo>
                    <a:lnTo>
                      <a:pt x="2416" y="2232"/>
                    </a:lnTo>
                    <a:lnTo>
                      <a:pt x="2410" y="2230"/>
                    </a:lnTo>
                    <a:lnTo>
                      <a:pt x="2410" y="2230"/>
                    </a:lnTo>
                    <a:lnTo>
                      <a:pt x="2404" y="2228"/>
                    </a:lnTo>
                    <a:lnTo>
                      <a:pt x="2402" y="2224"/>
                    </a:lnTo>
                    <a:lnTo>
                      <a:pt x="2400" y="2218"/>
                    </a:lnTo>
                    <a:lnTo>
                      <a:pt x="2400" y="2214"/>
                    </a:lnTo>
                    <a:lnTo>
                      <a:pt x="2400" y="2208"/>
                    </a:lnTo>
                    <a:lnTo>
                      <a:pt x="2402" y="2204"/>
                    </a:lnTo>
                    <a:lnTo>
                      <a:pt x="2406" y="2200"/>
                    </a:lnTo>
                    <a:lnTo>
                      <a:pt x="2410" y="2198"/>
                    </a:lnTo>
                    <a:lnTo>
                      <a:pt x="2410" y="2198"/>
                    </a:lnTo>
                    <a:lnTo>
                      <a:pt x="2416" y="2196"/>
                    </a:lnTo>
                    <a:lnTo>
                      <a:pt x="2420" y="2192"/>
                    </a:lnTo>
                    <a:lnTo>
                      <a:pt x="2430" y="2178"/>
                    </a:lnTo>
                    <a:lnTo>
                      <a:pt x="2440" y="2160"/>
                    </a:lnTo>
                    <a:lnTo>
                      <a:pt x="2454" y="2138"/>
                    </a:lnTo>
                    <a:lnTo>
                      <a:pt x="2454" y="2138"/>
                    </a:lnTo>
                    <a:lnTo>
                      <a:pt x="2460" y="2130"/>
                    </a:lnTo>
                    <a:lnTo>
                      <a:pt x="2462" y="2124"/>
                    </a:lnTo>
                    <a:lnTo>
                      <a:pt x="2462" y="2120"/>
                    </a:lnTo>
                    <a:lnTo>
                      <a:pt x="2460" y="2118"/>
                    </a:lnTo>
                    <a:lnTo>
                      <a:pt x="2456" y="2116"/>
                    </a:lnTo>
                    <a:lnTo>
                      <a:pt x="2454" y="2114"/>
                    </a:lnTo>
                    <a:lnTo>
                      <a:pt x="2454" y="2110"/>
                    </a:lnTo>
                    <a:lnTo>
                      <a:pt x="2456" y="2102"/>
                    </a:lnTo>
                    <a:lnTo>
                      <a:pt x="2456" y="2102"/>
                    </a:lnTo>
                    <a:close/>
                    <a:moveTo>
                      <a:pt x="2684" y="808"/>
                    </a:moveTo>
                    <a:lnTo>
                      <a:pt x="2684" y="808"/>
                    </a:lnTo>
                    <a:lnTo>
                      <a:pt x="2680" y="812"/>
                    </a:lnTo>
                    <a:lnTo>
                      <a:pt x="2678" y="810"/>
                    </a:lnTo>
                    <a:lnTo>
                      <a:pt x="2678" y="810"/>
                    </a:lnTo>
                    <a:lnTo>
                      <a:pt x="2682" y="802"/>
                    </a:lnTo>
                    <a:lnTo>
                      <a:pt x="2688" y="794"/>
                    </a:lnTo>
                    <a:lnTo>
                      <a:pt x="2688" y="794"/>
                    </a:lnTo>
                    <a:lnTo>
                      <a:pt x="2690" y="792"/>
                    </a:lnTo>
                    <a:lnTo>
                      <a:pt x="2690" y="790"/>
                    </a:lnTo>
                    <a:lnTo>
                      <a:pt x="2688" y="788"/>
                    </a:lnTo>
                    <a:lnTo>
                      <a:pt x="2684" y="790"/>
                    </a:lnTo>
                    <a:lnTo>
                      <a:pt x="2676" y="794"/>
                    </a:lnTo>
                    <a:lnTo>
                      <a:pt x="2664" y="800"/>
                    </a:lnTo>
                    <a:lnTo>
                      <a:pt x="2664" y="800"/>
                    </a:lnTo>
                    <a:lnTo>
                      <a:pt x="2658" y="804"/>
                    </a:lnTo>
                    <a:lnTo>
                      <a:pt x="2652" y="806"/>
                    </a:lnTo>
                    <a:lnTo>
                      <a:pt x="2648" y="806"/>
                    </a:lnTo>
                    <a:lnTo>
                      <a:pt x="2646" y="812"/>
                    </a:lnTo>
                    <a:lnTo>
                      <a:pt x="2646" y="812"/>
                    </a:lnTo>
                    <a:lnTo>
                      <a:pt x="2644" y="814"/>
                    </a:lnTo>
                    <a:lnTo>
                      <a:pt x="2642" y="816"/>
                    </a:lnTo>
                    <a:lnTo>
                      <a:pt x="2636" y="814"/>
                    </a:lnTo>
                    <a:lnTo>
                      <a:pt x="2634" y="814"/>
                    </a:lnTo>
                    <a:lnTo>
                      <a:pt x="2634" y="816"/>
                    </a:lnTo>
                    <a:lnTo>
                      <a:pt x="2636" y="826"/>
                    </a:lnTo>
                    <a:lnTo>
                      <a:pt x="2636" y="826"/>
                    </a:lnTo>
                    <a:lnTo>
                      <a:pt x="2640" y="832"/>
                    </a:lnTo>
                    <a:lnTo>
                      <a:pt x="2642" y="832"/>
                    </a:lnTo>
                    <a:lnTo>
                      <a:pt x="2656" y="822"/>
                    </a:lnTo>
                    <a:lnTo>
                      <a:pt x="2656" y="822"/>
                    </a:lnTo>
                    <a:lnTo>
                      <a:pt x="2660" y="820"/>
                    </a:lnTo>
                    <a:lnTo>
                      <a:pt x="2662" y="820"/>
                    </a:lnTo>
                    <a:lnTo>
                      <a:pt x="2664" y="820"/>
                    </a:lnTo>
                    <a:lnTo>
                      <a:pt x="2666" y="822"/>
                    </a:lnTo>
                    <a:lnTo>
                      <a:pt x="2666" y="824"/>
                    </a:lnTo>
                    <a:lnTo>
                      <a:pt x="2668" y="824"/>
                    </a:lnTo>
                    <a:lnTo>
                      <a:pt x="2670" y="824"/>
                    </a:lnTo>
                    <a:lnTo>
                      <a:pt x="2670" y="824"/>
                    </a:lnTo>
                    <a:lnTo>
                      <a:pt x="2678" y="820"/>
                    </a:lnTo>
                    <a:lnTo>
                      <a:pt x="2684" y="820"/>
                    </a:lnTo>
                    <a:lnTo>
                      <a:pt x="2690" y="820"/>
                    </a:lnTo>
                    <a:lnTo>
                      <a:pt x="2690" y="820"/>
                    </a:lnTo>
                    <a:lnTo>
                      <a:pt x="2690" y="820"/>
                    </a:lnTo>
                    <a:lnTo>
                      <a:pt x="2690" y="820"/>
                    </a:lnTo>
                    <a:lnTo>
                      <a:pt x="2688" y="816"/>
                    </a:lnTo>
                    <a:lnTo>
                      <a:pt x="2688" y="810"/>
                    </a:lnTo>
                    <a:lnTo>
                      <a:pt x="2688" y="806"/>
                    </a:lnTo>
                    <a:lnTo>
                      <a:pt x="2684" y="808"/>
                    </a:lnTo>
                    <a:lnTo>
                      <a:pt x="2684" y="808"/>
                    </a:lnTo>
                    <a:close/>
                    <a:moveTo>
                      <a:pt x="2600" y="1904"/>
                    </a:moveTo>
                    <a:lnTo>
                      <a:pt x="2600" y="1904"/>
                    </a:lnTo>
                    <a:lnTo>
                      <a:pt x="2596" y="1910"/>
                    </a:lnTo>
                    <a:lnTo>
                      <a:pt x="2592" y="1916"/>
                    </a:lnTo>
                    <a:lnTo>
                      <a:pt x="2586" y="1918"/>
                    </a:lnTo>
                    <a:lnTo>
                      <a:pt x="2580" y="1918"/>
                    </a:lnTo>
                    <a:lnTo>
                      <a:pt x="2574" y="1918"/>
                    </a:lnTo>
                    <a:lnTo>
                      <a:pt x="2566" y="1914"/>
                    </a:lnTo>
                    <a:lnTo>
                      <a:pt x="2548" y="1906"/>
                    </a:lnTo>
                    <a:lnTo>
                      <a:pt x="2548" y="1906"/>
                    </a:lnTo>
                    <a:lnTo>
                      <a:pt x="2540" y="1900"/>
                    </a:lnTo>
                    <a:lnTo>
                      <a:pt x="2534" y="1892"/>
                    </a:lnTo>
                    <a:lnTo>
                      <a:pt x="2530" y="1884"/>
                    </a:lnTo>
                    <a:lnTo>
                      <a:pt x="2528" y="1876"/>
                    </a:lnTo>
                    <a:lnTo>
                      <a:pt x="2522" y="1856"/>
                    </a:lnTo>
                    <a:lnTo>
                      <a:pt x="2518" y="1848"/>
                    </a:lnTo>
                    <a:lnTo>
                      <a:pt x="2514" y="1840"/>
                    </a:lnTo>
                    <a:lnTo>
                      <a:pt x="2514" y="1840"/>
                    </a:lnTo>
                    <a:lnTo>
                      <a:pt x="2508" y="1834"/>
                    </a:lnTo>
                    <a:lnTo>
                      <a:pt x="2504" y="1832"/>
                    </a:lnTo>
                    <a:lnTo>
                      <a:pt x="2504" y="1834"/>
                    </a:lnTo>
                    <a:lnTo>
                      <a:pt x="2504" y="1838"/>
                    </a:lnTo>
                    <a:lnTo>
                      <a:pt x="2506" y="1850"/>
                    </a:lnTo>
                    <a:lnTo>
                      <a:pt x="2512" y="1868"/>
                    </a:lnTo>
                    <a:lnTo>
                      <a:pt x="2512" y="1868"/>
                    </a:lnTo>
                    <a:lnTo>
                      <a:pt x="2514" y="1874"/>
                    </a:lnTo>
                    <a:lnTo>
                      <a:pt x="2512" y="1876"/>
                    </a:lnTo>
                    <a:lnTo>
                      <a:pt x="2512" y="1876"/>
                    </a:lnTo>
                    <a:lnTo>
                      <a:pt x="2506" y="1874"/>
                    </a:lnTo>
                    <a:lnTo>
                      <a:pt x="2498" y="1868"/>
                    </a:lnTo>
                    <a:lnTo>
                      <a:pt x="2490" y="1862"/>
                    </a:lnTo>
                    <a:lnTo>
                      <a:pt x="2484" y="1854"/>
                    </a:lnTo>
                    <a:lnTo>
                      <a:pt x="2482" y="1844"/>
                    </a:lnTo>
                    <a:lnTo>
                      <a:pt x="2482" y="1836"/>
                    </a:lnTo>
                    <a:lnTo>
                      <a:pt x="2482" y="1836"/>
                    </a:lnTo>
                    <a:lnTo>
                      <a:pt x="2482" y="1830"/>
                    </a:lnTo>
                    <a:lnTo>
                      <a:pt x="2482" y="1826"/>
                    </a:lnTo>
                    <a:lnTo>
                      <a:pt x="2478" y="1818"/>
                    </a:lnTo>
                    <a:lnTo>
                      <a:pt x="2474" y="1810"/>
                    </a:lnTo>
                    <a:lnTo>
                      <a:pt x="2472" y="1806"/>
                    </a:lnTo>
                    <a:lnTo>
                      <a:pt x="2472" y="1802"/>
                    </a:lnTo>
                    <a:lnTo>
                      <a:pt x="2472" y="1802"/>
                    </a:lnTo>
                    <a:lnTo>
                      <a:pt x="2472" y="1792"/>
                    </a:lnTo>
                    <a:lnTo>
                      <a:pt x="2470" y="1786"/>
                    </a:lnTo>
                    <a:lnTo>
                      <a:pt x="2466" y="1780"/>
                    </a:lnTo>
                    <a:lnTo>
                      <a:pt x="2462" y="1770"/>
                    </a:lnTo>
                    <a:lnTo>
                      <a:pt x="2462" y="1770"/>
                    </a:lnTo>
                    <a:lnTo>
                      <a:pt x="2454" y="1762"/>
                    </a:lnTo>
                    <a:lnTo>
                      <a:pt x="2448" y="1758"/>
                    </a:lnTo>
                    <a:lnTo>
                      <a:pt x="2440" y="1754"/>
                    </a:lnTo>
                    <a:lnTo>
                      <a:pt x="2428" y="1752"/>
                    </a:lnTo>
                    <a:lnTo>
                      <a:pt x="2428" y="1752"/>
                    </a:lnTo>
                    <a:lnTo>
                      <a:pt x="2424" y="1750"/>
                    </a:lnTo>
                    <a:lnTo>
                      <a:pt x="2422" y="1748"/>
                    </a:lnTo>
                    <a:lnTo>
                      <a:pt x="2418" y="1738"/>
                    </a:lnTo>
                    <a:lnTo>
                      <a:pt x="2412" y="1730"/>
                    </a:lnTo>
                    <a:lnTo>
                      <a:pt x="2408" y="1726"/>
                    </a:lnTo>
                    <a:lnTo>
                      <a:pt x="2402" y="1726"/>
                    </a:lnTo>
                    <a:lnTo>
                      <a:pt x="2402" y="1726"/>
                    </a:lnTo>
                    <a:lnTo>
                      <a:pt x="2394" y="1726"/>
                    </a:lnTo>
                    <a:lnTo>
                      <a:pt x="2394" y="1728"/>
                    </a:lnTo>
                    <a:lnTo>
                      <a:pt x="2394" y="1730"/>
                    </a:lnTo>
                    <a:lnTo>
                      <a:pt x="2400" y="1736"/>
                    </a:lnTo>
                    <a:lnTo>
                      <a:pt x="2410" y="1748"/>
                    </a:lnTo>
                    <a:lnTo>
                      <a:pt x="2410" y="1748"/>
                    </a:lnTo>
                    <a:lnTo>
                      <a:pt x="2414" y="1754"/>
                    </a:lnTo>
                    <a:lnTo>
                      <a:pt x="2416" y="1758"/>
                    </a:lnTo>
                    <a:lnTo>
                      <a:pt x="2416" y="1762"/>
                    </a:lnTo>
                    <a:lnTo>
                      <a:pt x="2416" y="1764"/>
                    </a:lnTo>
                    <a:lnTo>
                      <a:pt x="2414" y="1768"/>
                    </a:lnTo>
                    <a:lnTo>
                      <a:pt x="2420" y="1776"/>
                    </a:lnTo>
                    <a:lnTo>
                      <a:pt x="2420" y="1776"/>
                    </a:lnTo>
                    <a:lnTo>
                      <a:pt x="2426" y="1784"/>
                    </a:lnTo>
                    <a:lnTo>
                      <a:pt x="2430" y="1794"/>
                    </a:lnTo>
                    <a:lnTo>
                      <a:pt x="2440" y="1814"/>
                    </a:lnTo>
                    <a:lnTo>
                      <a:pt x="2444" y="1822"/>
                    </a:lnTo>
                    <a:lnTo>
                      <a:pt x="2448" y="1828"/>
                    </a:lnTo>
                    <a:lnTo>
                      <a:pt x="2452" y="1830"/>
                    </a:lnTo>
                    <a:lnTo>
                      <a:pt x="2454" y="1826"/>
                    </a:lnTo>
                    <a:lnTo>
                      <a:pt x="2454" y="1826"/>
                    </a:lnTo>
                    <a:lnTo>
                      <a:pt x="2456" y="1822"/>
                    </a:lnTo>
                    <a:lnTo>
                      <a:pt x="2460" y="1822"/>
                    </a:lnTo>
                    <a:lnTo>
                      <a:pt x="2464" y="1830"/>
                    </a:lnTo>
                    <a:lnTo>
                      <a:pt x="2466" y="1840"/>
                    </a:lnTo>
                    <a:lnTo>
                      <a:pt x="2466" y="1842"/>
                    </a:lnTo>
                    <a:lnTo>
                      <a:pt x="2464" y="1842"/>
                    </a:lnTo>
                    <a:lnTo>
                      <a:pt x="2464" y="1842"/>
                    </a:lnTo>
                    <a:lnTo>
                      <a:pt x="2458" y="1838"/>
                    </a:lnTo>
                    <a:lnTo>
                      <a:pt x="2458" y="1842"/>
                    </a:lnTo>
                    <a:lnTo>
                      <a:pt x="2474" y="1878"/>
                    </a:lnTo>
                    <a:lnTo>
                      <a:pt x="2474" y="1878"/>
                    </a:lnTo>
                    <a:lnTo>
                      <a:pt x="2480" y="1892"/>
                    </a:lnTo>
                    <a:lnTo>
                      <a:pt x="2482" y="1902"/>
                    </a:lnTo>
                    <a:lnTo>
                      <a:pt x="2482" y="1910"/>
                    </a:lnTo>
                    <a:lnTo>
                      <a:pt x="2482" y="1916"/>
                    </a:lnTo>
                    <a:lnTo>
                      <a:pt x="2478" y="1928"/>
                    </a:lnTo>
                    <a:lnTo>
                      <a:pt x="2476" y="1936"/>
                    </a:lnTo>
                    <a:lnTo>
                      <a:pt x="2476" y="1946"/>
                    </a:lnTo>
                    <a:lnTo>
                      <a:pt x="2476" y="1946"/>
                    </a:lnTo>
                    <a:lnTo>
                      <a:pt x="2476" y="1954"/>
                    </a:lnTo>
                    <a:lnTo>
                      <a:pt x="2472" y="1962"/>
                    </a:lnTo>
                    <a:lnTo>
                      <a:pt x="2466" y="1968"/>
                    </a:lnTo>
                    <a:lnTo>
                      <a:pt x="2460" y="1972"/>
                    </a:lnTo>
                    <a:lnTo>
                      <a:pt x="2446" y="1980"/>
                    </a:lnTo>
                    <a:lnTo>
                      <a:pt x="2442" y="1984"/>
                    </a:lnTo>
                    <a:lnTo>
                      <a:pt x="2440" y="1988"/>
                    </a:lnTo>
                    <a:lnTo>
                      <a:pt x="2440" y="1988"/>
                    </a:lnTo>
                    <a:lnTo>
                      <a:pt x="2440" y="1994"/>
                    </a:lnTo>
                    <a:lnTo>
                      <a:pt x="2444" y="2000"/>
                    </a:lnTo>
                    <a:lnTo>
                      <a:pt x="2456" y="2010"/>
                    </a:lnTo>
                    <a:lnTo>
                      <a:pt x="2474" y="2020"/>
                    </a:lnTo>
                    <a:lnTo>
                      <a:pt x="2488" y="2028"/>
                    </a:lnTo>
                    <a:lnTo>
                      <a:pt x="2488" y="2028"/>
                    </a:lnTo>
                    <a:lnTo>
                      <a:pt x="2494" y="2032"/>
                    </a:lnTo>
                    <a:lnTo>
                      <a:pt x="2496" y="2040"/>
                    </a:lnTo>
                    <a:lnTo>
                      <a:pt x="2498" y="2048"/>
                    </a:lnTo>
                    <a:lnTo>
                      <a:pt x="2496" y="2058"/>
                    </a:lnTo>
                    <a:lnTo>
                      <a:pt x="2492" y="2076"/>
                    </a:lnTo>
                    <a:lnTo>
                      <a:pt x="2488" y="2082"/>
                    </a:lnTo>
                    <a:lnTo>
                      <a:pt x="2484" y="2088"/>
                    </a:lnTo>
                    <a:lnTo>
                      <a:pt x="2484" y="2088"/>
                    </a:lnTo>
                    <a:lnTo>
                      <a:pt x="2478" y="2092"/>
                    </a:lnTo>
                    <a:lnTo>
                      <a:pt x="2474" y="2098"/>
                    </a:lnTo>
                    <a:lnTo>
                      <a:pt x="2474" y="2100"/>
                    </a:lnTo>
                    <a:lnTo>
                      <a:pt x="2476" y="2100"/>
                    </a:lnTo>
                    <a:lnTo>
                      <a:pt x="2488" y="2106"/>
                    </a:lnTo>
                    <a:lnTo>
                      <a:pt x="2488" y="2106"/>
                    </a:lnTo>
                    <a:lnTo>
                      <a:pt x="2492" y="2108"/>
                    </a:lnTo>
                    <a:lnTo>
                      <a:pt x="2494" y="2110"/>
                    </a:lnTo>
                    <a:lnTo>
                      <a:pt x="2498" y="2116"/>
                    </a:lnTo>
                    <a:lnTo>
                      <a:pt x="2498" y="2120"/>
                    </a:lnTo>
                    <a:lnTo>
                      <a:pt x="2502" y="2120"/>
                    </a:lnTo>
                    <a:lnTo>
                      <a:pt x="2506" y="2118"/>
                    </a:lnTo>
                    <a:lnTo>
                      <a:pt x="2512" y="2114"/>
                    </a:lnTo>
                    <a:lnTo>
                      <a:pt x="2512" y="2114"/>
                    </a:lnTo>
                    <a:lnTo>
                      <a:pt x="2520" y="2108"/>
                    </a:lnTo>
                    <a:lnTo>
                      <a:pt x="2530" y="2094"/>
                    </a:lnTo>
                    <a:lnTo>
                      <a:pt x="2552" y="2062"/>
                    </a:lnTo>
                    <a:lnTo>
                      <a:pt x="2560" y="2044"/>
                    </a:lnTo>
                    <a:lnTo>
                      <a:pt x="2568" y="2028"/>
                    </a:lnTo>
                    <a:lnTo>
                      <a:pt x="2570" y="2016"/>
                    </a:lnTo>
                    <a:lnTo>
                      <a:pt x="2570" y="2010"/>
                    </a:lnTo>
                    <a:lnTo>
                      <a:pt x="2568" y="2006"/>
                    </a:lnTo>
                    <a:lnTo>
                      <a:pt x="2568" y="2006"/>
                    </a:lnTo>
                    <a:lnTo>
                      <a:pt x="2566" y="2002"/>
                    </a:lnTo>
                    <a:lnTo>
                      <a:pt x="2568" y="1998"/>
                    </a:lnTo>
                    <a:lnTo>
                      <a:pt x="2570" y="1992"/>
                    </a:lnTo>
                    <a:lnTo>
                      <a:pt x="2574" y="1986"/>
                    </a:lnTo>
                    <a:lnTo>
                      <a:pt x="2580" y="1982"/>
                    </a:lnTo>
                    <a:lnTo>
                      <a:pt x="2586" y="1980"/>
                    </a:lnTo>
                    <a:lnTo>
                      <a:pt x="2594" y="1982"/>
                    </a:lnTo>
                    <a:lnTo>
                      <a:pt x="2602" y="1986"/>
                    </a:lnTo>
                    <a:lnTo>
                      <a:pt x="2602" y="1986"/>
                    </a:lnTo>
                    <a:lnTo>
                      <a:pt x="2608" y="1990"/>
                    </a:lnTo>
                    <a:lnTo>
                      <a:pt x="2610" y="1990"/>
                    </a:lnTo>
                    <a:lnTo>
                      <a:pt x="2612" y="1988"/>
                    </a:lnTo>
                    <a:lnTo>
                      <a:pt x="2612" y="1984"/>
                    </a:lnTo>
                    <a:lnTo>
                      <a:pt x="2610" y="1978"/>
                    </a:lnTo>
                    <a:lnTo>
                      <a:pt x="2608" y="1970"/>
                    </a:lnTo>
                    <a:lnTo>
                      <a:pt x="2608" y="1964"/>
                    </a:lnTo>
                    <a:lnTo>
                      <a:pt x="2610" y="1958"/>
                    </a:lnTo>
                    <a:lnTo>
                      <a:pt x="2612" y="1956"/>
                    </a:lnTo>
                    <a:lnTo>
                      <a:pt x="2614" y="1954"/>
                    </a:lnTo>
                    <a:lnTo>
                      <a:pt x="2614" y="1954"/>
                    </a:lnTo>
                    <a:lnTo>
                      <a:pt x="2620" y="1952"/>
                    </a:lnTo>
                    <a:lnTo>
                      <a:pt x="2624" y="1948"/>
                    </a:lnTo>
                    <a:lnTo>
                      <a:pt x="2626" y="1942"/>
                    </a:lnTo>
                    <a:lnTo>
                      <a:pt x="2626" y="1934"/>
                    </a:lnTo>
                    <a:lnTo>
                      <a:pt x="2628" y="1920"/>
                    </a:lnTo>
                    <a:lnTo>
                      <a:pt x="2628" y="1912"/>
                    </a:lnTo>
                    <a:lnTo>
                      <a:pt x="2630" y="1908"/>
                    </a:lnTo>
                    <a:lnTo>
                      <a:pt x="2630" y="1908"/>
                    </a:lnTo>
                    <a:lnTo>
                      <a:pt x="2632" y="1904"/>
                    </a:lnTo>
                    <a:lnTo>
                      <a:pt x="2630" y="1900"/>
                    </a:lnTo>
                    <a:lnTo>
                      <a:pt x="2626" y="1896"/>
                    </a:lnTo>
                    <a:lnTo>
                      <a:pt x="2620" y="1894"/>
                    </a:lnTo>
                    <a:lnTo>
                      <a:pt x="2614" y="1894"/>
                    </a:lnTo>
                    <a:lnTo>
                      <a:pt x="2608" y="1896"/>
                    </a:lnTo>
                    <a:lnTo>
                      <a:pt x="2604" y="1900"/>
                    </a:lnTo>
                    <a:lnTo>
                      <a:pt x="2600" y="1904"/>
                    </a:lnTo>
                    <a:lnTo>
                      <a:pt x="2600" y="1904"/>
                    </a:lnTo>
                    <a:close/>
                    <a:moveTo>
                      <a:pt x="2636" y="868"/>
                    </a:moveTo>
                    <a:lnTo>
                      <a:pt x="2636" y="868"/>
                    </a:lnTo>
                    <a:lnTo>
                      <a:pt x="2636" y="864"/>
                    </a:lnTo>
                    <a:lnTo>
                      <a:pt x="2634" y="860"/>
                    </a:lnTo>
                    <a:lnTo>
                      <a:pt x="2630" y="856"/>
                    </a:lnTo>
                    <a:lnTo>
                      <a:pt x="2626" y="854"/>
                    </a:lnTo>
                    <a:lnTo>
                      <a:pt x="2616" y="850"/>
                    </a:lnTo>
                    <a:lnTo>
                      <a:pt x="2606" y="852"/>
                    </a:lnTo>
                    <a:lnTo>
                      <a:pt x="2606" y="852"/>
                    </a:lnTo>
                    <a:lnTo>
                      <a:pt x="2596" y="858"/>
                    </a:lnTo>
                    <a:lnTo>
                      <a:pt x="2588" y="864"/>
                    </a:lnTo>
                    <a:lnTo>
                      <a:pt x="2582" y="870"/>
                    </a:lnTo>
                    <a:lnTo>
                      <a:pt x="2580" y="876"/>
                    </a:lnTo>
                    <a:lnTo>
                      <a:pt x="2580" y="880"/>
                    </a:lnTo>
                    <a:lnTo>
                      <a:pt x="2580" y="882"/>
                    </a:lnTo>
                    <a:lnTo>
                      <a:pt x="2582" y="886"/>
                    </a:lnTo>
                    <a:lnTo>
                      <a:pt x="2586" y="888"/>
                    </a:lnTo>
                    <a:lnTo>
                      <a:pt x="2600" y="892"/>
                    </a:lnTo>
                    <a:lnTo>
                      <a:pt x="2600" y="892"/>
                    </a:lnTo>
                    <a:lnTo>
                      <a:pt x="2610" y="896"/>
                    </a:lnTo>
                    <a:lnTo>
                      <a:pt x="2616" y="894"/>
                    </a:lnTo>
                    <a:lnTo>
                      <a:pt x="2620" y="890"/>
                    </a:lnTo>
                    <a:lnTo>
                      <a:pt x="2620" y="890"/>
                    </a:lnTo>
                    <a:lnTo>
                      <a:pt x="2624" y="888"/>
                    </a:lnTo>
                    <a:lnTo>
                      <a:pt x="2626" y="886"/>
                    </a:lnTo>
                    <a:lnTo>
                      <a:pt x="2630" y="888"/>
                    </a:lnTo>
                    <a:lnTo>
                      <a:pt x="2636" y="890"/>
                    </a:lnTo>
                    <a:lnTo>
                      <a:pt x="2638" y="890"/>
                    </a:lnTo>
                    <a:lnTo>
                      <a:pt x="2640" y="888"/>
                    </a:lnTo>
                    <a:lnTo>
                      <a:pt x="2640" y="888"/>
                    </a:lnTo>
                    <a:lnTo>
                      <a:pt x="2642" y="886"/>
                    </a:lnTo>
                    <a:lnTo>
                      <a:pt x="2642" y="886"/>
                    </a:lnTo>
                    <a:lnTo>
                      <a:pt x="2640" y="882"/>
                    </a:lnTo>
                    <a:lnTo>
                      <a:pt x="2636" y="876"/>
                    </a:lnTo>
                    <a:lnTo>
                      <a:pt x="2636" y="872"/>
                    </a:lnTo>
                    <a:lnTo>
                      <a:pt x="2636" y="868"/>
                    </a:lnTo>
                    <a:lnTo>
                      <a:pt x="2636" y="868"/>
                    </a:lnTo>
                    <a:close/>
                    <a:moveTo>
                      <a:pt x="2260" y="930"/>
                    </a:moveTo>
                    <a:lnTo>
                      <a:pt x="2260" y="930"/>
                    </a:lnTo>
                    <a:lnTo>
                      <a:pt x="2260" y="928"/>
                    </a:lnTo>
                    <a:lnTo>
                      <a:pt x="2262" y="924"/>
                    </a:lnTo>
                    <a:lnTo>
                      <a:pt x="2258" y="918"/>
                    </a:lnTo>
                    <a:lnTo>
                      <a:pt x="2254" y="912"/>
                    </a:lnTo>
                    <a:lnTo>
                      <a:pt x="2252" y="912"/>
                    </a:lnTo>
                    <a:lnTo>
                      <a:pt x="2248" y="914"/>
                    </a:lnTo>
                    <a:lnTo>
                      <a:pt x="2248" y="914"/>
                    </a:lnTo>
                    <a:lnTo>
                      <a:pt x="2248" y="918"/>
                    </a:lnTo>
                    <a:lnTo>
                      <a:pt x="2248" y="920"/>
                    </a:lnTo>
                    <a:lnTo>
                      <a:pt x="2250" y="926"/>
                    </a:lnTo>
                    <a:lnTo>
                      <a:pt x="2256" y="930"/>
                    </a:lnTo>
                    <a:lnTo>
                      <a:pt x="2258" y="930"/>
                    </a:lnTo>
                    <a:lnTo>
                      <a:pt x="2260" y="930"/>
                    </a:lnTo>
                    <a:lnTo>
                      <a:pt x="2260" y="930"/>
                    </a:lnTo>
                    <a:close/>
                    <a:moveTo>
                      <a:pt x="2258" y="948"/>
                    </a:moveTo>
                    <a:lnTo>
                      <a:pt x="2258" y="948"/>
                    </a:lnTo>
                    <a:lnTo>
                      <a:pt x="2256" y="950"/>
                    </a:lnTo>
                    <a:lnTo>
                      <a:pt x="2256" y="954"/>
                    </a:lnTo>
                    <a:lnTo>
                      <a:pt x="2258" y="960"/>
                    </a:lnTo>
                    <a:lnTo>
                      <a:pt x="2262" y="964"/>
                    </a:lnTo>
                    <a:lnTo>
                      <a:pt x="2266" y="966"/>
                    </a:lnTo>
                    <a:lnTo>
                      <a:pt x="2266" y="966"/>
                    </a:lnTo>
                    <a:lnTo>
                      <a:pt x="2268" y="964"/>
                    </a:lnTo>
                    <a:lnTo>
                      <a:pt x="2268" y="962"/>
                    </a:lnTo>
                    <a:lnTo>
                      <a:pt x="2266" y="954"/>
                    </a:lnTo>
                    <a:lnTo>
                      <a:pt x="2262" y="948"/>
                    </a:lnTo>
                    <a:lnTo>
                      <a:pt x="2260" y="948"/>
                    </a:lnTo>
                    <a:lnTo>
                      <a:pt x="2258" y="948"/>
                    </a:lnTo>
                    <a:lnTo>
                      <a:pt x="2258" y="948"/>
                    </a:lnTo>
                    <a:close/>
                    <a:moveTo>
                      <a:pt x="1490" y="460"/>
                    </a:moveTo>
                    <a:lnTo>
                      <a:pt x="1490" y="460"/>
                    </a:lnTo>
                    <a:lnTo>
                      <a:pt x="1492" y="462"/>
                    </a:lnTo>
                    <a:lnTo>
                      <a:pt x="1494" y="464"/>
                    </a:lnTo>
                    <a:lnTo>
                      <a:pt x="1496" y="462"/>
                    </a:lnTo>
                    <a:lnTo>
                      <a:pt x="1496" y="460"/>
                    </a:lnTo>
                    <a:lnTo>
                      <a:pt x="1496" y="454"/>
                    </a:lnTo>
                    <a:lnTo>
                      <a:pt x="1494" y="448"/>
                    </a:lnTo>
                    <a:lnTo>
                      <a:pt x="1494" y="448"/>
                    </a:lnTo>
                    <a:lnTo>
                      <a:pt x="1490" y="446"/>
                    </a:lnTo>
                    <a:lnTo>
                      <a:pt x="1486" y="448"/>
                    </a:lnTo>
                    <a:lnTo>
                      <a:pt x="1486" y="452"/>
                    </a:lnTo>
                    <a:lnTo>
                      <a:pt x="1490" y="460"/>
                    </a:lnTo>
                    <a:lnTo>
                      <a:pt x="1490" y="460"/>
                    </a:lnTo>
                    <a:close/>
                    <a:moveTo>
                      <a:pt x="1532" y="492"/>
                    </a:moveTo>
                    <a:lnTo>
                      <a:pt x="1532" y="492"/>
                    </a:lnTo>
                    <a:lnTo>
                      <a:pt x="1534" y="486"/>
                    </a:lnTo>
                    <a:lnTo>
                      <a:pt x="1534" y="482"/>
                    </a:lnTo>
                    <a:lnTo>
                      <a:pt x="1532" y="482"/>
                    </a:lnTo>
                    <a:lnTo>
                      <a:pt x="1530" y="482"/>
                    </a:lnTo>
                    <a:lnTo>
                      <a:pt x="1530" y="482"/>
                    </a:lnTo>
                    <a:lnTo>
                      <a:pt x="1528" y="484"/>
                    </a:lnTo>
                    <a:lnTo>
                      <a:pt x="1526" y="484"/>
                    </a:lnTo>
                    <a:lnTo>
                      <a:pt x="1522" y="480"/>
                    </a:lnTo>
                    <a:lnTo>
                      <a:pt x="1518" y="478"/>
                    </a:lnTo>
                    <a:lnTo>
                      <a:pt x="1516" y="478"/>
                    </a:lnTo>
                    <a:lnTo>
                      <a:pt x="1516" y="478"/>
                    </a:lnTo>
                    <a:lnTo>
                      <a:pt x="1516" y="478"/>
                    </a:lnTo>
                    <a:lnTo>
                      <a:pt x="1518" y="486"/>
                    </a:lnTo>
                    <a:lnTo>
                      <a:pt x="1522" y="492"/>
                    </a:lnTo>
                    <a:lnTo>
                      <a:pt x="1528" y="496"/>
                    </a:lnTo>
                    <a:lnTo>
                      <a:pt x="1532" y="496"/>
                    </a:lnTo>
                    <a:lnTo>
                      <a:pt x="1532" y="492"/>
                    </a:lnTo>
                    <a:lnTo>
                      <a:pt x="1532" y="492"/>
                    </a:lnTo>
                    <a:close/>
                    <a:moveTo>
                      <a:pt x="1520" y="466"/>
                    </a:moveTo>
                    <a:lnTo>
                      <a:pt x="1520" y="466"/>
                    </a:lnTo>
                    <a:lnTo>
                      <a:pt x="1516" y="458"/>
                    </a:lnTo>
                    <a:lnTo>
                      <a:pt x="1512" y="454"/>
                    </a:lnTo>
                    <a:lnTo>
                      <a:pt x="1508" y="454"/>
                    </a:lnTo>
                    <a:lnTo>
                      <a:pt x="1506" y="454"/>
                    </a:lnTo>
                    <a:lnTo>
                      <a:pt x="1504" y="456"/>
                    </a:lnTo>
                    <a:lnTo>
                      <a:pt x="1502" y="460"/>
                    </a:lnTo>
                    <a:lnTo>
                      <a:pt x="1502" y="460"/>
                    </a:lnTo>
                    <a:lnTo>
                      <a:pt x="1500" y="468"/>
                    </a:lnTo>
                    <a:lnTo>
                      <a:pt x="1500" y="470"/>
                    </a:lnTo>
                    <a:lnTo>
                      <a:pt x="1504" y="470"/>
                    </a:lnTo>
                    <a:lnTo>
                      <a:pt x="1504" y="470"/>
                    </a:lnTo>
                    <a:lnTo>
                      <a:pt x="1514" y="472"/>
                    </a:lnTo>
                    <a:lnTo>
                      <a:pt x="1518" y="470"/>
                    </a:lnTo>
                    <a:lnTo>
                      <a:pt x="1520" y="466"/>
                    </a:lnTo>
                    <a:lnTo>
                      <a:pt x="1520" y="466"/>
                    </a:lnTo>
                    <a:close/>
                    <a:moveTo>
                      <a:pt x="1400" y="268"/>
                    </a:moveTo>
                    <a:lnTo>
                      <a:pt x="1400" y="268"/>
                    </a:lnTo>
                    <a:lnTo>
                      <a:pt x="1394" y="264"/>
                    </a:lnTo>
                    <a:lnTo>
                      <a:pt x="1392" y="264"/>
                    </a:lnTo>
                    <a:lnTo>
                      <a:pt x="1390" y="266"/>
                    </a:lnTo>
                    <a:lnTo>
                      <a:pt x="1392" y="272"/>
                    </a:lnTo>
                    <a:lnTo>
                      <a:pt x="1396" y="280"/>
                    </a:lnTo>
                    <a:lnTo>
                      <a:pt x="1396" y="280"/>
                    </a:lnTo>
                    <a:lnTo>
                      <a:pt x="1398" y="282"/>
                    </a:lnTo>
                    <a:lnTo>
                      <a:pt x="1400" y="284"/>
                    </a:lnTo>
                    <a:lnTo>
                      <a:pt x="1402" y="282"/>
                    </a:lnTo>
                    <a:lnTo>
                      <a:pt x="1404" y="280"/>
                    </a:lnTo>
                    <a:lnTo>
                      <a:pt x="1404" y="274"/>
                    </a:lnTo>
                    <a:lnTo>
                      <a:pt x="1402" y="272"/>
                    </a:lnTo>
                    <a:lnTo>
                      <a:pt x="1400" y="268"/>
                    </a:lnTo>
                    <a:lnTo>
                      <a:pt x="1400" y="268"/>
                    </a:lnTo>
                    <a:close/>
                    <a:moveTo>
                      <a:pt x="1360" y="254"/>
                    </a:moveTo>
                    <a:lnTo>
                      <a:pt x="1360" y="254"/>
                    </a:lnTo>
                    <a:lnTo>
                      <a:pt x="1360" y="256"/>
                    </a:lnTo>
                    <a:lnTo>
                      <a:pt x="1360" y="260"/>
                    </a:lnTo>
                    <a:lnTo>
                      <a:pt x="1362" y="264"/>
                    </a:lnTo>
                    <a:lnTo>
                      <a:pt x="1368" y="266"/>
                    </a:lnTo>
                    <a:lnTo>
                      <a:pt x="1372" y="264"/>
                    </a:lnTo>
                    <a:lnTo>
                      <a:pt x="1372" y="264"/>
                    </a:lnTo>
                    <a:lnTo>
                      <a:pt x="1372" y="262"/>
                    </a:lnTo>
                    <a:lnTo>
                      <a:pt x="1372" y="260"/>
                    </a:lnTo>
                    <a:lnTo>
                      <a:pt x="1370" y="254"/>
                    </a:lnTo>
                    <a:lnTo>
                      <a:pt x="1366" y="252"/>
                    </a:lnTo>
                    <a:lnTo>
                      <a:pt x="1364" y="252"/>
                    </a:lnTo>
                    <a:lnTo>
                      <a:pt x="1360" y="254"/>
                    </a:lnTo>
                    <a:lnTo>
                      <a:pt x="1360" y="254"/>
                    </a:lnTo>
                    <a:close/>
                    <a:moveTo>
                      <a:pt x="1320" y="218"/>
                    </a:moveTo>
                    <a:lnTo>
                      <a:pt x="1320" y="218"/>
                    </a:lnTo>
                    <a:lnTo>
                      <a:pt x="1318" y="216"/>
                    </a:lnTo>
                    <a:lnTo>
                      <a:pt x="1316" y="218"/>
                    </a:lnTo>
                    <a:lnTo>
                      <a:pt x="1314" y="220"/>
                    </a:lnTo>
                    <a:lnTo>
                      <a:pt x="1314" y="226"/>
                    </a:lnTo>
                    <a:lnTo>
                      <a:pt x="1316" y="232"/>
                    </a:lnTo>
                    <a:lnTo>
                      <a:pt x="1316" y="232"/>
                    </a:lnTo>
                    <a:lnTo>
                      <a:pt x="1318" y="232"/>
                    </a:lnTo>
                    <a:lnTo>
                      <a:pt x="1320" y="232"/>
                    </a:lnTo>
                    <a:lnTo>
                      <a:pt x="1324" y="228"/>
                    </a:lnTo>
                    <a:lnTo>
                      <a:pt x="1324" y="224"/>
                    </a:lnTo>
                    <a:lnTo>
                      <a:pt x="1324" y="220"/>
                    </a:lnTo>
                    <a:lnTo>
                      <a:pt x="1320" y="218"/>
                    </a:lnTo>
                    <a:lnTo>
                      <a:pt x="1320" y="218"/>
                    </a:lnTo>
                    <a:close/>
                    <a:moveTo>
                      <a:pt x="1360" y="106"/>
                    </a:moveTo>
                    <a:lnTo>
                      <a:pt x="1360" y="106"/>
                    </a:lnTo>
                    <a:lnTo>
                      <a:pt x="1370" y="106"/>
                    </a:lnTo>
                    <a:lnTo>
                      <a:pt x="1376" y="102"/>
                    </a:lnTo>
                    <a:lnTo>
                      <a:pt x="1376" y="100"/>
                    </a:lnTo>
                    <a:lnTo>
                      <a:pt x="1376" y="98"/>
                    </a:lnTo>
                    <a:lnTo>
                      <a:pt x="1374" y="98"/>
                    </a:lnTo>
                    <a:lnTo>
                      <a:pt x="1370" y="96"/>
                    </a:lnTo>
                    <a:lnTo>
                      <a:pt x="1370" y="96"/>
                    </a:lnTo>
                    <a:lnTo>
                      <a:pt x="1362" y="94"/>
                    </a:lnTo>
                    <a:lnTo>
                      <a:pt x="1352" y="94"/>
                    </a:lnTo>
                    <a:lnTo>
                      <a:pt x="1344" y="96"/>
                    </a:lnTo>
                    <a:lnTo>
                      <a:pt x="1342" y="100"/>
                    </a:lnTo>
                    <a:lnTo>
                      <a:pt x="1340" y="102"/>
                    </a:lnTo>
                    <a:lnTo>
                      <a:pt x="1340" y="102"/>
                    </a:lnTo>
                    <a:lnTo>
                      <a:pt x="1340" y="108"/>
                    </a:lnTo>
                    <a:lnTo>
                      <a:pt x="1344" y="108"/>
                    </a:lnTo>
                    <a:lnTo>
                      <a:pt x="1352" y="108"/>
                    </a:lnTo>
                    <a:lnTo>
                      <a:pt x="1360" y="106"/>
                    </a:lnTo>
                    <a:lnTo>
                      <a:pt x="1360" y="106"/>
                    </a:lnTo>
                    <a:close/>
                    <a:moveTo>
                      <a:pt x="918" y="88"/>
                    </a:moveTo>
                    <a:lnTo>
                      <a:pt x="918" y="88"/>
                    </a:lnTo>
                    <a:lnTo>
                      <a:pt x="922" y="90"/>
                    </a:lnTo>
                    <a:lnTo>
                      <a:pt x="926" y="92"/>
                    </a:lnTo>
                    <a:lnTo>
                      <a:pt x="948" y="88"/>
                    </a:lnTo>
                    <a:lnTo>
                      <a:pt x="948" y="88"/>
                    </a:lnTo>
                    <a:lnTo>
                      <a:pt x="958" y="84"/>
                    </a:lnTo>
                    <a:lnTo>
                      <a:pt x="958" y="84"/>
                    </a:lnTo>
                    <a:lnTo>
                      <a:pt x="954" y="82"/>
                    </a:lnTo>
                    <a:lnTo>
                      <a:pt x="920" y="78"/>
                    </a:lnTo>
                    <a:lnTo>
                      <a:pt x="920" y="78"/>
                    </a:lnTo>
                    <a:lnTo>
                      <a:pt x="906" y="76"/>
                    </a:lnTo>
                    <a:lnTo>
                      <a:pt x="902" y="78"/>
                    </a:lnTo>
                    <a:lnTo>
                      <a:pt x="908" y="80"/>
                    </a:lnTo>
                    <a:lnTo>
                      <a:pt x="918" y="88"/>
                    </a:lnTo>
                    <a:lnTo>
                      <a:pt x="918" y="88"/>
                    </a:lnTo>
                    <a:close/>
                    <a:moveTo>
                      <a:pt x="910" y="44"/>
                    </a:moveTo>
                    <a:lnTo>
                      <a:pt x="910" y="44"/>
                    </a:lnTo>
                    <a:lnTo>
                      <a:pt x="912" y="46"/>
                    </a:lnTo>
                    <a:lnTo>
                      <a:pt x="914" y="48"/>
                    </a:lnTo>
                    <a:lnTo>
                      <a:pt x="914" y="54"/>
                    </a:lnTo>
                    <a:lnTo>
                      <a:pt x="916" y="56"/>
                    </a:lnTo>
                    <a:lnTo>
                      <a:pt x="918" y="56"/>
                    </a:lnTo>
                    <a:lnTo>
                      <a:pt x="922" y="58"/>
                    </a:lnTo>
                    <a:lnTo>
                      <a:pt x="930" y="56"/>
                    </a:lnTo>
                    <a:lnTo>
                      <a:pt x="930" y="56"/>
                    </a:lnTo>
                    <a:lnTo>
                      <a:pt x="936" y="54"/>
                    </a:lnTo>
                    <a:lnTo>
                      <a:pt x="938" y="52"/>
                    </a:lnTo>
                    <a:lnTo>
                      <a:pt x="936" y="50"/>
                    </a:lnTo>
                    <a:lnTo>
                      <a:pt x="928" y="46"/>
                    </a:lnTo>
                    <a:lnTo>
                      <a:pt x="928" y="46"/>
                    </a:lnTo>
                    <a:lnTo>
                      <a:pt x="924" y="44"/>
                    </a:lnTo>
                    <a:lnTo>
                      <a:pt x="920" y="38"/>
                    </a:lnTo>
                    <a:lnTo>
                      <a:pt x="916" y="34"/>
                    </a:lnTo>
                    <a:lnTo>
                      <a:pt x="906" y="30"/>
                    </a:lnTo>
                    <a:lnTo>
                      <a:pt x="906" y="30"/>
                    </a:lnTo>
                    <a:lnTo>
                      <a:pt x="896" y="30"/>
                    </a:lnTo>
                    <a:lnTo>
                      <a:pt x="894" y="30"/>
                    </a:lnTo>
                    <a:lnTo>
                      <a:pt x="896" y="32"/>
                    </a:lnTo>
                    <a:lnTo>
                      <a:pt x="902" y="38"/>
                    </a:lnTo>
                    <a:lnTo>
                      <a:pt x="910" y="44"/>
                    </a:lnTo>
                    <a:lnTo>
                      <a:pt x="910" y="44"/>
                    </a:lnTo>
                    <a:close/>
                    <a:moveTo>
                      <a:pt x="868" y="284"/>
                    </a:moveTo>
                    <a:lnTo>
                      <a:pt x="868" y="284"/>
                    </a:lnTo>
                    <a:lnTo>
                      <a:pt x="866" y="272"/>
                    </a:lnTo>
                    <a:lnTo>
                      <a:pt x="862" y="266"/>
                    </a:lnTo>
                    <a:lnTo>
                      <a:pt x="860" y="264"/>
                    </a:lnTo>
                    <a:lnTo>
                      <a:pt x="858" y="264"/>
                    </a:lnTo>
                    <a:lnTo>
                      <a:pt x="856" y="270"/>
                    </a:lnTo>
                    <a:lnTo>
                      <a:pt x="856" y="270"/>
                    </a:lnTo>
                    <a:lnTo>
                      <a:pt x="852" y="276"/>
                    </a:lnTo>
                    <a:lnTo>
                      <a:pt x="850" y="276"/>
                    </a:lnTo>
                    <a:lnTo>
                      <a:pt x="848" y="276"/>
                    </a:lnTo>
                    <a:lnTo>
                      <a:pt x="846" y="278"/>
                    </a:lnTo>
                    <a:lnTo>
                      <a:pt x="846" y="278"/>
                    </a:lnTo>
                    <a:lnTo>
                      <a:pt x="848" y="280"/>
                    </a:lnTo>
                    <a:lnTo>
                      <a:pt x="848" y="282"/>
                    </a:lnTo>
                    <a:lnTo>
                      <a:pt x="850" y="284"/>
                    </a:lnTo>
                    <a:lnTo>
                      <a:pt x="850" y="288"/>
                    </a:lnTo>
                    <a:lnTo>
                      <a:pt x="850" y="288"/>
                    </a:lnTo>
                    <a:lnTo>
                      <a:pt x="850" y="296"/>
                    </a:lnTo>
                    <a:lnTo>
                      <a:pt x="852" y="300"/>
                    </a:lnTo>
                    <a:lnTo>
                      <a:pt x="860" y="308"/>
                    </a:lnTo>
                    <a:lnTo>
                      <a:pt x="860" y="308"/>
                    </a:lnTo>
                    <a:lnTo>
                      <a:pt x="864" y="310"/>
                    </a:lnTo>
                    <a:lnTo>
                      <a:pt x="866" y="306"/>
                    </a:lnTo>
                    <a:lnTo>
                      <a:pt x="868" y="298"/>
                    </a:lnTo>
                    <a:lnTo>
                      <a:pt x="868" y="284"/>
                    </a:lnTo>
                    <a:lnTo>
                      <a:pt x="868" y="284"/>
                    </a:lnTo>
                    <a:close/>
                    <a:moveTo>
                      <a:pt x="852" y="306"/>
                    </a:moveTo>
                    <a:lnTo>
                      <a:pt x="852" y="306"/>
                    </a:lnTo>
                    <a:lnTo>
                      <a:pt x="848" y="302"/>
                    </a:lnTo>
                    <a:lnTo>
                      <a:pt x="846" y="298"/>
                    </a:lnTo>
                    <a:lnTo>
                      <a:pt x="844" y="296"/>
                    </a:lnTo>
                    <a:lnTo>
                      <a:pt x="844" y="296"/>
                    </a:lnTo>
                    <a:lnTo>
                      <a:pt x="844" y="296"/>
                    </a:lnTo>
                    <a:lnTo>
                      <a:pt x="844" y="302"/>
                    </a:lnTo>
                    <a:lnTo>
                      <a:pt x="846" y="304"/>
                    </a:lnTo>
                    <a:lnTo>
                      <a:pt x="846" y="304"/>
                    </a:lnTo>
                    <a:lnTo>
                      <a:pt x="852" y="310"/>
                    </a:lnTo>
                    <a:lnTo>
                      <a:pt x="858" y="318"/>
                    </a:lnTo>
                    <a:lnTo>
                      <a:pt x="858" y="318"/>
                    </a:lnTo>
                    <a:lnTo>
                      <a:pt x="858" y="318"/>
                    </a:lnTo>
                    <a:lnTo>
                      <a:pt x="858" y="314"/>
                    </a:lnTo>
                    <a:lnTo>
                      <a:pt x="856" y="310"/>
                    </a:lnTo>
                    <a:lnTo>
                      <a:pt x="852" y="306"/>
                    </a:lnTo>
                    <a:lnTo>
                      <a:pt x="852" y="306"/>
                    </a:lnTo>
                    <a:close/>
                    <a:moveTo>
                      <a:pt x="1028" y="396"/>
                    </a:moveTo>
                    <a:lnTo>
                      <a:pt x="1028" y="396"/>
                    </a:lnTo>
                    <a:lnTo>
                      <a:pt x="1032" y="394"/>
                    </a:lnTo>
                    <a:lnTo>
                      <a:pt x="1032" y="392"/>
                    </a:lnTo>
                    <a:lnTo>
                      <a:pt x="1036" y="380"/>
                    </a:lnTo>
                    <a:lnTo>
                      <a:pt x="1036" y="380"/>
                    </a:lnTo>
                    <a:lnTo>
                      <a:pt x="1040" y="372"/>
                    </a:lnTo>
                    <a:lnTo>
                      <a:pt x="1040" y="370"/>
                    </a:lnTo>
                    <a:lnTo>
                      <a:pt x="1036" y="368"/>
                    </a:lnTo>
                    <a:lnTo>
                      <a:pt x="1036" y="368"/>
                    </a:lnTo>
                    <a:lnTo>
                      <a:pt x="1034" y="366"/>
                    </a:lnTo>
                    <a:lnTo>
                      <a:pt x="1032" y="364"/>
                    </a:lnTo>
                    <a:lnTo>
                      <a:pt x="1032" y="362"/>
                    </a:lnTo>
                    <a:lnTo>
                      <a:pt x="1028" y="360"/>
                    </a:lnTo>
                    <a:lnTo>
                      <a:pt x="1028" y="360"/>
                    </a:lnTo>
                    <a:lnTo>
                      <a:pt x="1024" y="358"/>
                    </a:lnTo>
                    <a:lnTo>
                      <a:pt x="1018" y="360"/>
                    </a:lnTo>
                    <a:lnTo>
                      <a:pt x="1008" y="366"/>
                    </a:lnTo>
                    <a:lnTo>
                      <a:pt x="998" y="374"/>
                    </a:lnTo>
                    <a:lnTo>
                      <a:pt x="994" y="378"/>
                    </a:lnTo>
                    <a:lnTo>
                      <a:pt x="994" y="384"/>
                    </a:lnTo>
                    <a:lnTo>
                      <a:pt x="994" y="384"/>
                    </a:lnTo>
                    <a:lnTo>
                      <a:pt x="992" y="388"/>
                    </a:lnTo>
                    <a:lnTo>
                      <a:pt x="988" y="396"/>
                    </a:lnTo>
                    <a:lnTo>
                      <a:pt x="984" y="402"/>
                    </a:lnTo>
                    <a:lnTo>
                      <a:pt x="984" y="408"/>
                    </a:lnTo>
                    <a:lnTo>
                      <a:pt x="984" y="408"/>
                    </a:lnTo>
                    <a:lnTo>
                      <a:pt x="984" y="410"/>
                    </a:lnTo>
                    <a:lnTo>
                      <a:pt x="984" y="412"/>
                    </a:lnTo>
                    <a:lnTo>
                      <a:pt x="988" y="410"/>
                    </a:lnTo>
                    <a:lnTo>
                      <a:pt x="996" y="408"/>
                    </a:lnTo>
                    <a:lnTo>
                      <a:pt x="1000" y="408"/>
                    </a:lnTo>
                    <a:lnTo>
                      <a:pt x="1006" y="410"/>
                    </a:lnTo>
                    <a:lnTo>
                      <a:pt x="1006" y="410"/>
                    </a:lnTo>
                    <a:lnTo>
                      <a:pt x="1012" y="410"/>
                    </a:lnTo>
                    <a:lnTo>
                      <a:pt x="1016" y="410"/>
                    </a:lnTo>
                    <a:lnTo>
                      <a:pt x="1020" y="406"/>
                    </a:lnTo>
                    <a:lnTo>
                      <a:pt x="1024" y="400"/>
                    </a:lnTo>
                    <a:lnTo>
                      <a:pt x="1028" y="396"/>
                    </a:lnTo>
                    <a:lnTo>
                      <a:pt x="1028" y="396"/>
                    </a:lnTo>
                    <a:close/>
                    <a:moveTo>
                      <a:pt x="1032" y="410"/>
                    </a:moveTo>
                    <a:lnTo>
                      <a:pt x="1032" y="410"/>
                    </a:lnTo>
                    <a:lnTo>
                      <a:pt x="1036" y="410"/>
                    </a:lnTo>
                    <a:lnTo>
                      <a:pt x="1036" y="406"/>
                    </a:lnTo>
                    <a:lnTo>
                      <a:pt x="1034" y="402"/>
                    </a:lnTo>
                    <a:lnTo>
                      <a:pt x="1032" y="400"/>
                    </a:lnTo>
                    <a:lnTo>
                      <a:pt x="1032" y="400"/>
                    </a:lnTo>
                    <a:lnTo>
                      <a:pt x="1032" y="398"/>
                    </a:lnTo>
                    <a:lnTo>
                      <a:pt x="1030" y="398"/>
                    </a:lnTo>
                    <a:lnTo>
                      <a:pt x="1026" y="400"/>
                    </a:lnTo>
                    <a:lnTo>
                      <a:pt x="1024" y="404"/>
                    </a:lnTo>
                    <a:lnTo>
                      <a:pt x="1024" y="404"/>
                    </a:lnTo>
                    <a:lnTo>
                      <a:pt x="1024" y="408"/>
                    </a:lnTo>
                    <a:lnTo>
                      <a:pt x="1024" y="410"/>
                    </a:lnTo>
                    <a:lnTo>
                      <a:pt x="1032" y="410"/>
                    </a:lnTo>
                    <a:lnTo>
                      <a:pt x="1032" y="410"/>
                    </a:lnTo>
                    <a:close/>
                    <a:moveTo>
                      <a:pt x="1044" y="820"/>
                    </a:moveTo>
                    <a:lnTo>
                      <a:pt x="1044" y="820"/>
                    </a:lnTo>
                    <a:lnTo>
                      <a:pt x="1046" y="820"/>
                    </a:lnTo>
                    <a:lnTo>
                      <a:pt x="1050" y="820"/>
                    </a:lnTo>
                    <a:lnTo>
                      <a:pt x="1054" y="816"/>
                    </a:lnTo>
                    <a:lnTo>
                      <a:pt x="1056" y="812"/>
                    </a:lnTo>
                    <a:lnTo>
                      <a:pt x="1056" y="812"/>
                    </a:lnTo>
                    <a:lnTo>
                      <a:pt x="1060" y="812"/>
                    </a:lnTo>
                    <a:lnTo>
                      <a:pt x="1064" y="810"/>
                    </a:lnTo>
                    <a:lnTo>
                      <a:pt x="1068" y="808"/>
                    </a:lnTo>
                    <a:lnTo>
                      <a:pt x="1068" y="806"/>
                    </a:lnTo>
                    <a:lnTo>
                      <a:pt x="1066" y="804"/>
                    </a:lnTo>
                    <a:lnTo>
                      <a:pt x="1066" y="804"/>
                    </a:lnTo>
                    <a:lnTo>
                      <a:pt x="1064" y="802"/>
                    </a:lnTo>
                    <a:lnTo>
                      <a:pt x="1060" y="804"/>
                    </a:lnTo>
                    <a:lnTo>
                      <a:pt x="1052" y="808"/>
                    </a:lnTo>
                    <a:lnTo>
                      <a:pt x="1046" y="814"/>
                    </a:lnTo>
                    <a:lnTo>
                      <a:pt x="1044" y="818"/>
                    </a:lnTo>
                    <a:lnTo>
                      <a:pt x="1044" y="820"/>
                    </a:lnTo>
                    <a:lnTo>
                      <a:pt x="1044" y="820"/>
                    </a:lnTo>
                    <a:close/>
                    <a:moveTo>
                      <a:pt x="844" y="336"/>
                    </a:moveTo>
                    <a:lnTo>
                      <a:pt x="844" y="336"/>
                    </a:lnTo>
                    <a:lnTo>
                      <a:pt x="852" y="332"/>
                    </a:lnTo>
                    <a:lnTo>
                      <a:pt x="856" y="326"/>
                    </a:lnTo>
                    <a:lnTo>
                      <a:pt x="854" y="320"/>
                    </a:lnTo>
                    <a:lnTo>
                      <a:pt x="850" y="312"/>
                    </a:lnTo>
                    <a:lnTo>
                      <a:pt x="850" y="312"/>
                    </a:lnTo>
                    <a:lnTo>
                      <a:pt x="846" y="306"/>
                    </a:lnTo>
                    <a:lnTo>
                      <a:pt x="842" y="306"/>
                    </a:lnTo>
                    <a:lnTo>
                      <a:pt x="840" y="310"/>
                    </a:lnTo>
                    <a:lnTo>
                      <a:pt x="840" y="316"/>
                    </a:lnTo>
                    <a:lnTo>
                      <a:pt x="840" y="330"/>
                    </a:lnTo>
                    <a:lnTo>
                      <a:pt x="842" y="336"/>
                    </a:lnTo>
                    <a:lnTo>
                      <a:pt x="844" y="336"/>
                    </a:lnTo>
                    <a:lnTo>
                      <a:pt x="844" y="336"/>
                    </a:lnTo>
                    <a:close/>
                    <a:moveTo>
                      <a:pt x="794" y="292"/>
                    </a:moveTo>
                    <a:lnTo>
                      <a:pt x="794" y="292"/>
                    </a:lnTo>
                    <a:lnTo>
                      <a:pt x="800" y="276"/>
                    </a:lnTo>
                    <a:lnTo>
                      <a:pt x="804" y="264"/>
                    </a:lnTo>
                    <a:lnTo>
                      <a:pt x="806" y="256"/>
                    </a:lnTo>
                    <a:lnTo>
                      <a:pt x="806" y="256"/>
                    </a:lnTo>
                    <a:lnTo>
                      <a:pt x="804" y="256"/>
                    </a:lnTo>
                    <a:lnTo>
                      <a:pt x="804" y="256"/>
                    </a:lnTo>
                    <a:lnTo>
                      <a:pt x="798" y="264"/>
                    </a:lnTo>
                    <a:lnTo>
                      <a:pt x="794" y="278"/>
                    </a:lnTo>
                    <a:lnTo>
                      <a:pt x="794" y="292"/>
                    </a:lnTo>
                    <a:lnTo>
                      <a:pt x="794" y="292"/>
                    </a:lnTo>
                    <a:close/>
                    <a:moveTo>
                      <a:pt x="1118" y="446"/>
                    </a:moveTo>
                    <a:lnTo>
                      <a:pt x="1118" y="446"/>
                    </a:lnTo>
                    <a:lnTo>
                      <a:pt x="1122" y="448"/>
                    </a:lnTo>
                    <a:lnTo>
                      <a:pt x="1128" y="450"/>
                    </a:lnTo>
                    <a:lnTo>
                      <a:pt x="1142" y="448"/>
                    </a:lnTo>
                    <a:lnTo>
                      <a:pt x="1158" y="448"/>
                    </a:lnTo>
                    <a:lnTo>
                      <a:pt x="1166" y="450"/>
                    </a:lnTo>
                    <a:lnTo>
                      <a:pt x="1172" y="452"/>
                    </a:lnTo>
                    <a:lnTo>
                      <a:pt x="1172" y="452"/>
                    </a:lnTo>
                    <a:lnTo>
                      <a:pt x="1180" y="454"/>
                    </a:lnTo>
                    <a:lnTo>
                      <a:pt x="1186" y="454"/>
                    </a:lnTo>
                    <a:lnTo>
                      <a:pt x="1190" y="452"/>
                    </a:lnTo>
                    <a:lnTo>
                      <a:pt x="1194" y="450"/>
                    </a:lnTo>
                    <a:lnTo>
                      <a:pt x="1204" y="442"/>
                    </a:lnTo>
                    <a:lnTo>
                      <a:pt x="1208" y="440"/>
                    </a:lnTo>
                    <a:lnTo>
                      <a:pt x="1212" y="440"/>
                    </a:lnTo>
                    <a:lnTo>
                      <a:pt x="1212" y="440"/>
                    </a:lnTo>
                    <a:lnTo>
                      <a:pt x="1216" y="440"/>
                    </a:lnTo>
                    <a:lnTo>
                      <a:pt x="1218" y="438"/>
                    </a:lnTo>
                    <a:lnTo>
                      <a:pt x="1218" y="434"/>
                    </a:lnTo>
                    <a:lnTo>
                      <a:pt x="1218" y="430"/>
                    </a:lnTo>
                    <a:lnTo>
                      <a:pt x="1214" y="420"/>
                    </a:lnTo>
                    <a:lnTo>
                      <a:pt x="1206" y="414"/>
                    </a:lnTo>
                    <a:lnTo>
                      <a:pt x="1206" y="414"/>
                    </a:lnTo>
                    <a:lnTo>
                      <a:pt x="1200" y="410"/>
                    </a:lnTo>
                    <a:lnTo>
                      <a:pt x="1198" y="406"/>
                    </a:lnTo>
                    <a:lnTo>
                      <a:pt x="1200" y="406"/>
                    </a:lnTo>
                    <a:lnTo>
                      <a:pt x="1206" y="404"/>
                    </a:lnTo>
                    <a:lnTo>
                      <a:pt x="1218" y="402"/>
                    </a:lnTo>
                    <a:lnTo>
                      <a:pt x="1222" y="398"/>
                    </a:lnTo>
                    <a:lnTo>
                      <a:pt x="1222" y="394"/>
                    </a:lnTo>
                    <a:lnTo>
                      <a:pt x="1222" y="394"/>
                    </a:lnTo>
                    <a:lnTo>
                      <a:pt x="1222" y="392"/>
                    </a:lnTo>
                    <a:lnTo>
                      <a:pt x="1224" y="390"/>
                    </a:lnTo>
                    <a:lnTo>
                      <a:pt x="1230" y="388"/>
                    </a:lnTo>
                    <a:lnTo>
                      <a:pt x="1232" y="388"/>
                    </a:lnTo>
                    <a:lnTo>
                      <a:pt x="1232" y="384"/>
                    </a:lnTo>
                    <a:lnTo>
                      <a:pt x="1232" y="376"/>
                    </a:lnTo>
                    <a:lnTo>
                      <a:pt x="1228" y="364"/>
                    </a:lnTo>
                    <a:lnTo>
                      <a:pt x="1228" y="364"/>
                    </a:lnTo>
                    <a:lnTo>
                      <a:pt x="1234" y="372"/>
                    </a:lnTo>
                    <a:lnTo>
                      <a:pt x="1240" y="376"/>
                    </a:lnTo>
                    <a:lnTo>
                      <a:pt x="1246" y="378"/>
                    </a:lnTo>
                    <a:lnTo>
                      <a:pt x="1256" y="376"/>
                    </a:lnTo>
                    <a:lnTo>
                      <a:pt x="1256" y="376"/>
                    </a:lnTo>
                    <a:lnTo>
                      <a:pt x="1268" y="372"/>
                    </a:lnTo>
                    <a:lnTo>
                      <a:pt x="1272" y="374"/>
                    </a:lnTo>
                    <a:lnTo>
                      <a:pt x="1272" y="376"/>
                    </a:lnTo>
                    <a:lnTo>
                      <a:pt x="1274" y="378"/>
                    </a:lnTo>
                    <a:lnTo>
                      <a:pt x="1278" y="382"/>
                    </a:lnTo>
                    <a:lnTo>
                      <a:pt x="1284" y="384"/>
                    </a:lnTo>
                    <a:lnTo>
                      <a:pt x="1296" y="386"/>
                    </a:lnTo>
                    <a:lnTo>
                      <a:pt x="1296" y="386"/>
                    </a:lnTo>
                    <a:lnTo>
                      <a:pt x="1308" y="388"/>
                    </a:lnTo>
                    <a:lnTo>
                      <a:pt x="1316" y="392"/>
                    </a:lnTo>
                    <a:lnTo>
                      <a:pt x="1324" y="398"/>
                    </a:lnTo>
                    <a:lnTo>
                      <a:pt x="1330" y="406"/>
                    </a:lnTo>
                    <a:lnTo>
                      <a:pt x="1340" y="426"/>
                    </a:lnTo>
                    <a:lnTo>
                      <a:pt x="1348" y="438"/>
                    </a:lnTo>
                    <a:lnTo>
                      <a:pt x="1358" y="450"/>
                    </a:lnTo>
                    <a:lnTo>
                      <a:pt x="1358" y="450"/>
                    </a:lnTo>
                    <a:lnTo>
                      <a:pt x="1374" y="472"/>
                    </a:lnTo>
                    <a:lnTo>
                      <a:pt x="1380" y="480"/>
                    </a:lnTo>
                    <a:lnTo>
                      <a:pt x="1384" y="486"/>
                    </a:lnTo>
                    <a:lnTo>
                      <a:pt x="1392" y="488"/>
                    </a:lnTo>
                    <a:lnTo>
                      <a:pt x="1400" y="492"/>
                    </a:lnTo>
                    <a:lnTo>
                      <a:pt x="1432" y="498"/>
                    </a:lnTo>
                    <a:lnTo>
                      <a:pt x="1432" y="498"/>
                    </a:lnTo>
                    <a:lnTo>
                      <a:pt x="1450" y="502"/>
                    </a:lnTo>
                    <a:lnTo>
                      <a:pt x="1462" y="506"/>
                    </a:lnTo>
                    <a:lnTo>
                      <a:pt x="1470" y="510"/>
                    </a:lnTo>
                    <a:lnTo>
                      <a:pt x="1476" y="512"/>
                    </a:lnTo>
                    <a:lnTo>
                      <a:pt x="1482" y="518"/>
                    </a:lnTo>
                    <a:lnTo>
                      <a:pt x="1488" y="520"/>
                    </a:lnTo>
                    <a:lnTo>
                      <a:pt x="1492" y="520"/>
                    </a:lnTo>
                    <a:lnTo>
                      <a:pt x="1492" y="520"/>
                    </a:lnTo>
                    <a:lnTo>
                      <a:pt x="1500" y="520"/>
                    </a:lnTo>
                    <a:lnTo>
                      <a:pt x="1506" y="518"/>
                    </a:lnTo>
                    <a:lnTo>
                      <a:pt x="1512" y="514"/>
                    </a:lnTo>
                    <a:lnTo>
                      <a:pt x="1514" y="510"/>
                    </a:lnTo>
                    <a:lnTo>
                      <a:pt x="1514" y="506"/>
                    </a:lnTo>
                    <a:lnTo>
                      <a:pt x="1512" y="502"/>
                    </a:lnTo>
                    <a:lnTo>
                      <a:pt x="1508" y="498"/>
                    </a:lnTo>
                    <a:lnTo>
                      <a:pt x="1498" y="494"/>
                    </a:lnTo>
                    <a:lnTo>
                      <a:pt x="1498" y="494"/>
                    </a:lnTo>
                    <a:lnTo>
                      <a:pt x="1482" y="490"/>
                    </a:lnTo>
                    <a:lnTo>
                      <a:pt x="1474" y="484"/>
                    </a:lnTo>
                    <a:lnTo>
                      <a:pt x="1472" y="482"/>
                    </a:lnTo>
                    <a:lnTo>
                      <a:pt x="1472" y="480"/>
                    </a:lnTo>
                    <a:lnTo>
                      <a:pt x="1474" y="476"/>
                    </a:lnTo>
                    <a:lnTo>
                      <a:pt x="1478" y="472"/>
                    </a:lnTo>
                    <a:lnTo>
                      <a:pt x="1478" y="470"/>
                    </a:lnTo>
                    <a:lnTo>
                      <a:pt x="1476" y="468"/>
                    </a:lnTo>
                    <a:lnTo>
                      <a:pt x="1464" y="466"/>
                    </a:lnTo>
                    <a:lnTo>
                      <a:pt x="1464" y="466"/>
                    </a:lnTo>
                    <a:lnTo>
                      <a:pt x="1454" y="464"/>
                    </a:lnTo>
                    <a:lnTo>
                      <a:pt x="1450" y="462"/>
                    </a:lnTo>
                    <a:lnTo>
                      <a:pt x="1448" y="458"/>
                    </a:lnTo>
                    <a:lnTo>
                      <a:pt x="1448" y="454"/>
                    </a:lnTo>
                    <a:lnTo>
                      <a:pt x="1450" y="448"/>
                    </a:lnTo>
                    <a:lnTo>
                      <a:pt x="1454" y="442"/>
                    </a:lnTo>
                    <a:lnTo>
                      <a:pt x="1454" y="438"/>
                    </a:lnTo>
                    <a:lnTo>
                      <a:pt x="1448" y="438"/>
                    </a:lnTo>
                    <a:lnTo>
                      <a:pt x="1436" y="440"/>
                    </a:lnTo>
                    <a:lnTo>
                      <a:pt x="1436" y="440"/>
                    </a:lnTo>
                    <a:lnTo>
                      <a:pt x="1432" y="440"/>
                    </a:lnTo>
                    <a:lnTo>
                      <a:pt x="1428" y="440"/>
                    </a:lnTo>
                    <a:lnTo>
                      <a:pt x="1422" y="436"/>
                    </a:lnTo>
                    <a:lnTo>
                      <a:pt x="1416" y="428"/>
                    </a:lnTo>
                    <a:lnTo>
                      <a:pt x="1412" y="420"/>
                    </a:lnTo>
                    <a:lnTo>
                      <a:pt x="1408" y="400"/>
                    </a:lnTo>
                    <a:lnTo>
                      <a:pt x="1404" y="394"/>
                    </a:lnTo>
                    <a:lnTo>
                      <a:pt x="1400" y="390"/>
                    </a:lnTo>
                    <a:lnTo>
                      <a:pt x="1400" y="390"/>
                    </a:lnTo>
                    <a:lnTo>
                      <a:pt x="1394" y="386"/>
                    </a:lnTo>
                    <a:lnTo>
                      <a:pt x="1386" y="378"/>
                    </a:lnTo>
                    <a:lnTo>
                      <a:pt x="1370" y="360"/>
                    </a:lnTo>
                    <a:lnTo>
                      <a:pt x="1364" y="350"/>
                    </a:lnTo>
                    <a:lnTo>
                      <a:pt x="1358" y="340"/>
                    </a:lnTo>
                    <a:lnTo>
                      <a:pt x="1356" y="334"/>
                    </a:lnTo>
                    <a:lnTo>
                      <a:pt x="1356" y="332"/>
                    </a:lnTo>
                    <a:lnTo>
                      <a:pt x="1358" y="330"/>
                    </a:lnTo>
                    <a:lnTo>
                      <a:pt x="1358" y="330"/>
                    </a:lnTo>
                    <a:lnTo>
                      <a:pt x="1362" y="328"/>
                    </a:lnTo>
                    <a:lnTo>
                      <a:pt x="1366" y="326"/>
                    </a:lnTo>
                    <a:lnTo>
                      <a:pt x="1376" y="328"/>
                    </a:lnTo>
                    <a:lnTo>
                      <a:pt x="1388" y="328"/>
                    </a:lnTo>
                    <a:lnTo>
                      <a:pt x="1392" y="326"/>
                    </a:lnTo>
                    <a:lnTo>
                      <a:pt x="1394" y="324"/>
                    </a:lnTo>
                    <a:lnTo>
                      <a:pt x="1394" y="324"/>
                    </a:lnTo>
                    <a:lnTo>
                      <a:pt x="1396" y="320"/>
                    </a:lnTo>
                    <a:lnTo>
                      <a:pt x="1396" y="314"/>
                    </a:lnTo>
                    <a:lnTo>
                      <a:pt x="1390" y="302"/>
                    </a:lnTo>
                    <a:lnTo>
                      <a:pt x="1386" y="296"/>
                    </a:lnTo>
                    <a:lnTo>
                      <a:pt x="1380" y="292"/>
                    </a:lnTo>
                    <a:lnTo>
                      <a:pt x="1374" y="290"/>
                    </a:lnTo>
                    <a:lnTo>
                      <a:pt x="1370" y="290"/>
                    </a:lnTo>
                    <a:lnTo>
                      <a:pt x="1370" y="290"/>
                    </a:lnTo>
                    <a:lnTo>
                      <a:pt x="1364" y="290"/>
                    </a:lnTo>
                    <a:lnTo>
                      <a:pt x="1360" y="290"/>
                    </a:lnTo>
                    <a:lnTo>
                      <a:pt x="1354" y="284"/>
                    </a:lnTo>
                    <a:lnTo>
                      <a:pt x="1344" y="276"/>
                    </a:lnTo>
                    <a:lnTo>
                      <a:pt x="1338" y="272"/>
                    </a:lnTo>
                    <a:lnTo>
                      <a:pt x="1328" y="270"/>
                    </a:lnTo>
                    <a:lnTo>
                      <a:pt x="1328" y="270"/>
                    </a:lnTo>
                    <a:lnTo>
                      <a:pt x="1312" y="264"/>
                    </a:lnTo>
                    <a:lnTo>
                      <a:pt x="1310" y="262"/>
                    </a:lnTo>
                    <a:lnTo>
                      <a:pt x="1308" y="260"/>
                    </a:lnTo>
                    <a:lnTo>
                      <a:pt x="1310" y="256"/>
                    </a:lnTo>
                    <a:lnTo>
                      <a:pt x="1312" y="246"/>
                    </a:lnTo>
                    <a:lnTo>
                      <a:pt x="1312" y="246"/>
                    </a:lnTo>
                    <a:lnTo>
                      <a:pt x="1312" y="238"/>
                    </a:lnTo>
                    <a:lnTo>
                      <a:pt x="1306" y="230"/>
                    </a:lnTo>
                    <a:lnTo>
                      <a:pt x="1298" y="220"/>
                    </a:lnTo>
                    <a:lnTo>
                      <a:pt x="1288" y="210"/>
                    </a:lnTo>
                    <a:lnTo>
                      <a:pt x="1278" y="200"/>
                    </a:lnTo>
                    <a:lnTo>
                      <a:pt x="1266" y="192"/>
                    </a:lnTo>
                    <a:lnTo>
                      <a:pt x="1256" y="188"/>
                    </a:lnTo>
                    <a:lnTo>
                      <a:pt x="1248" y="186"/>
                    </a:lnTo>
                    <a:lnTo>
                      <a:pt x="1248" y="186"/>
                    </a:lnTo>
                    <a:lnTo>
                      <a:pt x="1242" y="186"/>
                    </a:lnTo>
                    <a:lnTo>
                      <a:pt x="1238" y="184"/>
                    </a:lnTo>
                    <a:lnTo>
                      <a:pt x="1230" y="178"/>
                    </a:lnTo>
                    <a:lnTo>
                      <a:pt x="1220" y="170"/>
                    </a:lnTo>
                    <a:lnTo>
                      <a:pt x="1214" y="166"/>
                    </a:lnTo>
                    <a:lnTo>
                      <a:pt x="1202" y="162"/>
                    </a:lnTo>
                    <a:lnTo>
                      <a:pt x="1202" y="162"/>
                    </a:lnTo>
                    <a:lnTo>
                      <a:pt x="1190" y="158"/>
                    </a:lnTo>
                    <a:lnTo>
                      <a:pt x="1174" y="152"/>
                    </a:lnTo>
                    <a:lnTo>
                      <a:pt x="1140" y="134"/>
                    </a:lnTo>
                    <a:lnTo>
                      <a:pt x="1106" y="120"/>
                    </a:lnTo>
                    <a:lnTo>
                      <a:pt x="1092" y="116"/>
                    </a:lnTo>
                    <a:lnTo>
                      <a:pt x="1078" y="116"/>
                    </a:lnTo>
                    <a:lnTo>
                      <a:pt x="1080" y="404"/>
                    </a:lnTo>
                    <a:lnTo>
                      <a:pt x="1080" y="404"/>
                    </a:lnTo>
                    <a:lnTo>
                      <a:pt x="1094" y="414"/>
                    </a:lnTo>
                    <a:lnTo>
                      <a:pt x="1104" y="426"/>
                    </a:lnTo>
                    <a:lnTo>
                      <a:pt x="1118" y="446"/>
                    </a:lnTo>
                    <a:lnTo>
                      <a:pt x="1118" y="446"/>
                    </a:lnTo>
                    <a:close/>
                    <a:moveTo>
                      <a:pt x="784" y="288"/>
                    </a:moveTo>
                    <a:lnTo>
                      <a:pt x="784" y="288"/>
                    </a:lnTo>
                    <a:lnTo>
                      <a:pt x="786" y="290"/>
                    </a:lnTo>
                    <a:lnTo>
                      <a:pt x="788" y="288"/>
                    </a:lnTo>
                    <a:lnTo>
                      <a:pt x="790" y="286"/>
                    </a:lnTo>
                    <a:lnTo>
                      <a:pt x="790" y="282"/>
                    </a:lnTo>
                    <a:lnTo>
                      <a:pt x="790" y="282"/>
                    </a:lnTo>
                    <a:lnTo>
                      <a:pt x="788" y="278"/>
                    </a:lnTo>
                    <a:lnTo>
                      <a:pt x="784" y="274"/>
                    </a:lnTo>
                    <a:lnTo>
                      <a:pt x="784" y="274"/>
                    </a:lnTo>
                    <a:lnTo>
                      <a:pt x="782" y="276"/>
                    </a:lnTo>
                    <a:lnTo>
                      <a:pt x="784" y="288"/>
                    </a:lnTo>
                    <a:lnTo>
                      <a:pt x="784" y="288"/>
                    </a:lnTo>
                    <a:close/>
                    <a:moveTo>
                      <a:pt x="1474" y="80"/>
                    </a:moveTo>
                    <a:lnTo>
                      <a:pt x="1474" y="80"/>
                    </a:lnTo>
                    <a:lnTo>
                      <a:pt x="1476" y="80"/>
                    </a:lnTo>
                    <a:lnTo>
                      <a:pt x="1476" y="78"/>
                    </a:lnTo>
                    <a:lnTo>
                      <a:pt x="1474" y="72"/>
                    </a:lnTo>
                    <a:lnTo>
                      <a:pt x="1468" y="68"/>
                    </a:lnTo>
                    <a:lnTo>
                      <a:pt x="1466" y="68"/>
                    </a:lnTo>
                    <a:lnTo>
                      <a:pt x="1464" y="68"/>
                    </a:lnTo>
                    <a:lnTo>
                      <a:pt x="1464" y="68"/>
                    </a:lnTo>
                    <a:lnTo>
                      <a:pt x="1464" y="72"/>
                    </a:lnTo>
                    <a:lnTo>
                      <a:pt x="1464" y="76"/>
                    </a:lnTo>
                    <a:lnTo>
                      <a:pt x="1468" y="78"/>
                    </a:lnTo>
                    <a:lnTo>
                      <a:pt x="1474" y="80"/>
                    </a:lnTo>
                    <a:lnTo>
                      <a:pt x="1474" y="80"/>
                    </a:lnTo>
                    <a:close/>
                    <a:moveTo>
                      <a:pt x="1436" y="292"/>
                    </a:moveTo>
                    <a:lnTo>
                      <a:pt x="1436" y="292"/>
                    </a:lnTo>
                    <a:lnTo>
                      <a:pt x="1442" y="296"/>
                    </a:lnTo>
                    <a:lnTo>
                      <a:pt x="1446" y="298"/>
                    </a:lnTo>
                    <a:lnTo>
                      <a:pt x="1448" y="298"/>
                    </a:lnTo>
                    <a:lnTo>
                      <a:pt x="1450" y="298"/>
                    </a:lnTo>
                    <a:lnTo>
                      <a:pt x="1452" y="296"/>
                    </a:lnTo>
                    <a:lnTo>
                      <a:pt x="1454" y="296"/>
                    </a:lnTo>
                    <a:lnTo>
                      <a:pt x="1458" y="298"/>
                    </a:lnTo>
                    <a:lnTo>
                      <a:pt x="1462" y="302"/>
                    </a:lnTo>
                    <a:lnTo>
                      <a:pt x="1462" y="302"/>
                    </a:lnTo>
                    <a:lnTo>
                      <a:pt x="1468" y="306"/>
                    </a:lnTo>
                    <a:lnTo>
                      <a:pt x="1478" y="308"/>
                    </a:lnTo>
                    <a:lnTo>
                      <a:pt x="1490" y="306"/>
                    </a:lnTo>
                    <a:lnTo>
                      <a:pt x="1502" y="302"/>
                    </a:lnTo>
                    <a:lnTo>
                      <a:pt x="1514" y="298"/>
                    </a:lnTo>
                    <a:lnTo>
                      <a:pt x="1524" y="292"/>
                    </a:lnTo>
                    <a:lnTo>
                      <a:pt x="1534" y="284"/>
                    </a:lnTo>
                    <a:lnTo>
                      <a:pt x="1538" y="278"/>
                    </a:lnTo>
                    <a:lnTo>
                      <a:pt x="1538" y="278"/>
                    </a:lnTo>
                    <a:lnTo>
                      <a:pt x="1542" y="272"/>
                    </a:lnTo>
                    <a:lnTo>
                      <a:pt x="1544" y="270"/>
                    </a:lnTo>
                    <a:lnTo>
                      <a:pt x="1548" y="270"/>
                    </a:lnTo>
                    <a:lnTo>
                      <a:pt x="1550" y="270"/>
                    </a:lnTo>
                    <a:lnTo>
                      <a:pt x="1556" y="272"/>
                    </a:lnTo>
                    <a:lnTo>
                      <a:pt x="1560" y="270"/>
                    </a:lnTo>
                    <a:lnTo>
                      <a:pt x="1566" y="268"/>
                    </a:lnTo>
                    <a:lnTo>
                      <a:pt x="1566" y="268"/>
                    </a:lnTo>
                    <a:lnTo>
                      <a:pt x="1568" y="264"/>
                    </a:lnTo>
                    <a:lnTo>
                      <a:pt x="1570" y="260"/>
                    </a:lnTo>
                    <a:lnTo>
                      <a:pt x="1566" y="252"/>
                    </a:lnTo>
                    <a:lnTo>
                      <a:pt x="1564" y="246"/>
                    </a:lnTo>
                    <a:lnTo>
                      <a:pt x="1564" y="244"/>
                    </a:lnTo>
                    <a:lnTo>
                      <a:pt x="1566" y="242"/>
                    </a:lnTo>
                    <a:lnTo>
                      <a:pt x="1566" y="242"/>
                    </a:lnTo>
                    <a:lnTo>
                      <a:pt x="1572" y="240"/>
                    </a:lnTo>
                    <a:lnTo>
                      <a:pt x="1574" y="238"/>
                    </a:lnTo>
                    <a:lnTo>
                      <a:pt x="1580" y="228"/>
                    </a:lnTo>
                    <a:lnTo>
                      <a:pt x="1580" y="216"/>
                    </a:lnTo>
                    <a:lnTo>
                      <a:pt x="1578" y="212"/>
                    </a:lnTo>
                    <a:lnTo>
                      <a:pt x="1576" y="208"/>
                    </a:lnTo>
                    <a:lnTo>
                      <a:pt x="1576" y="208"/>
                    </a:lnTo>
                    <a:lnTo>
                      <a:pt x="1572" y="202"/>
                    </a:lnTo>
                    <a:lnTo>
                      <a:pt x="1566" y="202"/>
                    </a:lnTo>
                    <a:lnTo>
                      <a:pt x="1548" y="202"/>
                    </a:lnTo>
                    <a:lnTo>
                      <a:pt x="1548" y="202"/>
                    </a:lnTo>
                    <a:lnTo>
                      <a:pt x="1546" y="204"/>
                    </a:lnTo>
                    <a:lnTo>
                      <a:pt x="1544" y="206"/>
                    </a:lnTo>
                    <a:lnTo>
                      <a:pt x="1542" y="210"/>
                    </a:lnTo>
                    <a:lnTo>
                      <a:pt x="1546" y="224"/>
                    </a:lnTo>
                    <a:lnTo>
                      <a:pt x="1550" y="236"/>
                    </a:lnTo>
                    <a:lnTo>
                      <a:pt x="1548" y="240"/>
                    </a:lnTo>
                    <a:lnTo>
                      <a:pt x="1542" y="240"/>
                    </a:lnTo>
                    <a:lnTo>
                      <a:pt x="1542" y="240"/>
                    </a:lnTo>
                    <a:lnTo>
                      <a:pt x="1536" y="238"/>
                    </a:lnTo>
                    <a:lnTo>
                      <a:pt x="1530" y="242"/>
                    </a:lnTo>
                    <a:lnTo>
                      <a:pt x="1526" y="248"/>
                    </a:lnTo>
                    <a:lnTo>
                      <a:pt x="1522" y="254"/>
                    </a:lnTo>
                    <a:lnTo>
                      <a:pt x="1518" y="262"/>
                    </a:lnTo>
                    <a:lnTo>
                      <a:pt x="1514" y="266"/>
                    </a:lnTo>
                    <a:lnTo>
                      <a:pt x="1510" y="268"/>
                    </a:lnTo>
                    <a:lnTo>
                      <a:pt x="1504" y="266"/>
                    </a:lnTo>
                    <a:lnTo>
                      <a:pt x="1504" y="266"/>
                    </a:lnTo>
                    <a:lnTo>
                      <a:pt x="1500" y="264"/>
                    </a:lnTo>
                    <a:lnTo>
                      <a:pt x="1498" y="264"/>
                    </a:lnTo>
                    <a:lnTo>
                      <a:pt x="1494" y="268"/>
                    </a:lnTo>
                    <a:lnTo>
                      <a:pt x="1490" y="270"/>
                    </a:lnTo>
                    <a:lnTo>
                      <a:pt x="1488" y="264"/>
                    </a:lnTo>
                    <a:lnTo>
                      <a:pt x="1488" y="264"/>
                    </a:lnTo>
                    <a:lnTo>
                      <a:pt x="1486" y="256"/>
                    </a:lnTo>
                    <a:lnTo>
                      <a:pt x="1488" y="250"/>
                    </a:lnTo>
                    <a:lnTo>
                      <a:pt x="1490" y="248"/>
                    </a:lnTo>
                    <a:lnTo>
                      <a:pt x="1490" y="244"/>
                    </a:lnTo>
                    <a:lnTo>
                      <a:pt x="1490" y="244"/>
                    </a:lnTo>
                    <a:lnTo>
                      <a:pt x="1488" y="242"/>
                    </a:lnTo>
                    <a:lnTo>
                      <a:pt x="1488" y="242"/>
                    </a:lnTo>
                    <a:lnTo>
                      <a:pt x="1484" y="244"/>
                    </a:lnTo>
                    <a:lnTo>
                      <a:pt x="1480" y="250"/>
                    </a:lnTo>
                    <a:lnTo>
                      <a:pt x="1480" y="262"/>
                    </a:lnTo>
                    <a:lnTo>
                      <a:pt x="1480" y="262"/>
                    </a:lnTo>
                    <a:lnTo>
                      <a:pt x="1478" y="266"/>
                    </a:lnTo>
                    <a:lnTo>
                      <a:pt x="1476" y="268"/>
                    </a:lnTo>
                    <a:lnTo>
                      <a:pt x="1470" y="270"/>
                    </a:lnTo>
                    <a:lnTo>
                      <a:pt x="1460" y="268"/>
                    </a:lnTo>
                    <a:lnTo>
                      <a:pt x="1448" y="266"/>
                    </a:lnTo>
                    <a:lnTo>
                      <a:pt x="1434" y="266"/>
                    </a:lnTo>
                    <a:lnTo>
                      <a:pt x="1424" y="264"/>
                    </a:lnTo>
                    <a:lnTo>
                      <a:pt x="1416" y="266"/>
                    </a:lnTo>
                    <a:lnTo>
                      <a:pt x="1414" y="268"/>
                    </a:lnTo>
                    <a:lnTo>
                      <a:pt x="1414" y="270"/>
                    </a:lnTo>
                    <a:lnTo>
                      <a:pt x="1414" y="270"/>
                    </a:lnTo>
                    <a:lnTo>
                      <a:pt x="1416" y="278"/>
                    </a:lnTo>
                    <a:lnTo>
                      <a:pt x="1420" y="280"/>
                    </a:lnTo>
                    <a:lnTo>
                      <a:pt x="1428" y="284"/>
                    </a:lnTo>
                    <a:lnTo>
                      <a:pt x="1436" y="292"/>
                    </a:lnTo>
                    <a:lnTo>
                      <a:pt x="1436" y="292"/>
                    </a:lnTo>
                    <a:close/>
                    <a:moveTo>
                      <a:pt x="1546" y="156"/>
                    </a:moveTo>
                    <a:lnTo>
                      <a:pt x="1546" y="156"/>
                    </a:lnTo>
                    <a:lnTo>
                      <a:pt x="1552" y="162"/>
                    </a:lnTo>
                    <a:lnTo>
                      <a:pt x="1562" y="170"/>
                    </a:lnTo>
                    <a:lnTo>
                      <a:pt x="1572" y="178"/>
                    </a:lnTo>
                    <a:lnTo>
                      <a:pt x="1582" y="190"/>
                    </a:lnTo>
                    <a:lnTo>
                      <a:pt x="1582" y="190"/>
                    </a:lnTo>
                    <a:lnTo>
                      <a:pt x="1586" y="196"/>
                    </a:lnTo>
                    <a:lnTo>
                      <a:pt x="1588" y="202"/>
                    </a:lnTo>
                    <a:lnTo>
                      <a:pt x="1590" y="210"/>
                    </a:lnTo>
                    <a:lnTo>
                      <a:pt x="1590" y="220"/>
                    </a:lnTo>
                    <a:lnTo>
                      <a:pt x="1592" y="224"/>
                    </a:lnTo>
                    <a:lnTo>
                      <a:pt x="1594" y="232"/>
                    </a:lnTo>
                    <a:lnTo>
                      <a:pt x="1594" y="232"/>
                    </a:lnTo>
                    <a:lnTo>
                      <a:pt x="1598" y="236"/>
                    </a:lnTo>
                    <a:lnTo>
                      <a:pt x="1602" y="234"/>
                    </a:lnTo>
                    <a:lnTo>
                      <a:pt x="1604" y="230"/>
                    </a:lnTo>
                    <a:lnTo>
                      <a:pt x="1608" y="222"/>
                    </a:lnTo>
                    <a:lnTo>
                      <a:pt x="1608" y="214"/>
                    </a:lnTo>
                    <a:lnTo>
                      <a:pt x="1608" y="206"/>
                    </a:lnTo>
                    <a:lnTo>
                      <a:pt x="1604" y="196"/>
                    </a:lnTo>
                    <a:lnTo>
                      <a:pt x="1596" y="190"/>
                    </a:lnTo>
                    <a:lnTo>
                      <a:pt x="1596" y="190"/>
                    </a:lnTo>
                    <a:lnTo>
                      <a:pt x="1582" y="178"/>
                    </a:lnTo>
                    <a:lnTo>
                      <a:pt x="1574" y="168"/>
                    </a:lnTo>
                    <a:lnTo>
                      <a:pt x="1566" y="160"/>
                    </a:lnTo>
                    <a:lnTo>
                      <a:pt x="1556" y="154"/>
                    </a:lnTo>
                    <a:lnTo>
                      <a:pt x="1556" y="154"/>
                    </a:lnTo>
                    <a:lnTo>
                      <a:pt x="1538" y="142"/>
                    </a:lnTo>
                    <a:lnTo>
                      <a:pt x="1526" y="132"/>
                    </a:lnTo>
                    <a:lnTo>
                      <a:pt x="1518" y="126"/>
                    </a:lnTo>
                    <a:lnTo>
                      <a:pt x="1516" y="126"/>
                    </a:lnTo>
                    <a:lnTo>
                      <a:pt x="1514" y="128"/>
                    </a:lnTo>
                    <a:lnTo>
                      <a:pt x="1514" y="128"/>
                    </a:lnTo>
                    <a:lnTo>
                      <a:pt x="1510" y="132"/>
                    </a:lnTo>
                    <a:lnTo>
                      <a:pt x="1508" y="134"/>
                    </a:lnTo>
                    <a:lnTo>
                      <a:pt x="1510" y="136"/>
                    </a:lnTo>
                    <a:lnTo>
                      <a:pt x="1516" y="138"/>
                    </a:lnTo>
                    <a:lnTo>
                      <a:pt x="1530" y="144"/>
                    </a:lnTo>
                    <a:lnTo>
                      <a:pt x="1538" y="150"/>
                    </a:lnTo>
                    <a:lnTo>
                      <a:pt x="1546" y="156"/>
                    </a:lnTo>
                    <a:lnTo>
                      <a:pt x="1546" y="156"/>
                    </a:lnTo>
                    <a:close/>
                    <a:moveTo>
                      <a:pt x="1500" y="128"/>
                    </a:moveTo>
                    <a:lnTo>
                      <a:pt x="1500" y="128"/>
                    </a:lnTo>
                    <a:lnTo>
                      <a:pt x="1502" y="126"/>
                    </a:lnTo>
                    <a:lnTo>
                      <a:pt x="1502" y="122"/>
                    </a:lnTo>
                    <a:lnTo>
                      <a:pt x="1496" y="116"/>
                    </a:lnTo>
                    <a:lnTo>
                      <a:pt x="1492" y="114"/>
                    </a:lnTo>
                    <a:lnTo>
                      <a:pt x="1490" y="114"/>
                    </a:lnTo>
                    <a:lnTo>
                      <a:pt x="1486" y="114"/>
                    </a:lnTo>
                    <a:lnTo>
                      <a:pt x="1484" y="118"/>
                    </a:lnTo>
                    <a:lnTo>
                      <a:pt x="1484" y="118"/>
                    </a:lnTo>
                    <a:lnTo>
                      <a:pt x="1484" y="120"/>
                    </a:lnTo>
                    <a:lnTo>
                      <a:pt x="1484" y="124"/>
                    </a:lnTo>
                    <a:lnTo>
                      <a:pt x="1488" y="128"/>
                    </a:lnTo>
                    <a:lnTo>
                      <a:pt x="1494" y="130"/>
                    </a:lnTo>
                    <a:lnTo>
                      <a:pt x="1498" y="130"/>
                    </a:lnTo>
                    <a:lnTo>
                      <a:pt x="1500" y="128"/>
                    </a:lnTo>
                    <a:lnTo>
                      <a:pt x="1500" y="128"/>
                    </a:lnTo>
                    <a:close/>
                    <a:moveTo>
                      <a:pt x="726" y="46"/>
                    </a:moveTo>
                    <a:lnTo>
                      <a:pt x="726" y="46"/>
                    </a:lnTo>
                    <a:lnTo>
                      <a:pt x="726" y="50"/>
                    </a:lnTo>
                    <a:lnTo>
                      <a:pt x="724" y="54"/>
                    </a:lnTo>
                    <a:lnTo>
                      <a:pt x="716" y="62"/>
                    </a:lnTo>
                    <a:lnTo>
                      <a:pt x="714" y="66"/>
                    </a:lnTo>
                    <a:lnTo>
                      <a:pt x="716" y="70"/>
                    </a:lnTo>
                    <a:lnTo>
                      <a:pt x="718" y="72"/>
                    </a:lnTo>
                    <a:lnTo>
                      <a:pt x="726" y="72"/>
                    </a:lnTo>
                    <a:lnTo>
                      <a:pt x="726" y="72"/>
                    </a:lnTo>
                    <a:lnTo>
                      <a:pt x="738" y="72"/>
                    </a:lnTo>
                    <a:lnTo>
                      <a:pt x="742" y="74"/>
                    </a:lnTo>
                    <a:lnTo>
                      <a:pt x="746" y="78"/>
                    </a:lnTo>
                    <a:lnTo>
                      <a:pt x="752" y="88"/>
                    </a:lnTo>
                    <a:lnTo>
                      <a:pt x="758" y="104"/>
                    </a:lnTo>
                    <a:lnTo>
                      <a:pt x="758" y="104"/>
                    </a:lnTo>
                    <a:lnTo>
                      <a:pt x="762" y="106"/>
                    </a:lnTo>
                    <a:lnTo>
                      <a:pt x="764" y="108"/>
                    </a:lnTo>
                    <a:lnTo>
                      <a:pt x="774" y="110"/>
                    </a:lnTo>
                    <a:lnTo>
                      <a:pt x="786" y="110"/>
                    </a:lnTo>
                    <a:lnTo>
                      <a:pt x="798" y="110"/>
                    </a:lnTo>
                    <a:lnTo>
                      <a:pt x="810" y="108"/>
                    </a:lnTo>
                    <a:lnTo>
                      <a:pt x="820" y="108"/>
                    </a:lnTo>
                    <a:lnTo>
                      <a:pt x="828" y="110"/>
                    </a:lnTo>
                    <a:lnTo>
                      <a:pt x="830" y="112"/>
                    </a:lnTo>
                    <a:lnTo>
                      <a:pt x="830" y="114"/>
                    </a:lnTo>
                    <a:lnTo>
                      <a:pt x="830" y="114"/>
                    </a:lnTo>
                    <a:lnTo>
                      <a:pt x="830" y="120"/>
                    </a:lnTo>
                    <a:lnTo>
                      <a:pt x="826" y="122"/>
                    </a:lnTo>
                    <a:lnTo>
                      <a:pt x="822" y="122"/>
                    </a:lnTo>
                    <a:lnTo>
                      <a:pt x="816" y="120"/>
                    </a:lnTo>
                    <a:lnTo>
                      <a:pt x="808" y="120"/>
                    </a:lnTo>
                    <a:lnTo>
                      <a:pt x="802" y="118"/>
                    </a:lnTo>
                    <a:lnTo>
                      <a:pt x="798" y="120"/>
                    </a:lnTo>
                    <a:lnTo>
                      <a:pt x="794" y="124"/>
                    </a:lnTo>
                    <a:lnTo>
                      <a:pt x="794" y="124"/>
                    </a:lnTo>
                    <a:lnTo>
                      <a:pt x="790" y="130"/>
                    </a:lnTo>
                    <a:lnTo>
                      <a:pt x="784" y="134"/>
                    </a:lnTo>
                    <a:lnTo>
                      <a:pt x="778" y="134"/>
                    </a:lnTo>
                    <a:lnTo>
                      <a:pt x="772" y="132"/>
                    </a:lnTo>
                    <a:lnTo>
                      <a:pt x="766" y="130"/>
                    </a:lnTo>
                    <a:lnTo>
                      <a:pt x="760" y="130"/>
                    </a:lnTo>
                    <a:lnTo>
                      <a:pt x="756" y="132"/>
                    </a:lnTo>
                    <a:lnTo>
                      <a:pt x="756" y="138"/>
                    </a:lnTo>
                    <a:lnTo>
                      <a:pt x="756" y="138"/>
                    </a:lnTo>
                    <a:lnTo>
                      <a:pt x="756" y="142"/>
                    </a:lnTo>
                    <a:lnTo>
                      <a:pt x="760" y="144"/>
                    </a:lnTo>
                    <a:lnTo>
                      <a:pt x="768" y="146"/>
                    </a:lnTo>
                    <a:lnTo>
                      <a:pt x="780" y="156"/>
                    </a:lnTo>
                    <a:lnTo>
                      <a:pt x="780" y="156"/>
                    </a:lnTo>
                    <a:lnTo>
                      <a:pt x="786" y="164"/>
                    </a:lnTo>
                    <a:lnTo>
                      <a:pt x="790" y="170"/>
                    </a:lnTo>
                    <a:lnTo>
                      <a:pt x="790" y="174"/>
                    </a:lnTo>
                    <a:lnTo>
                      <a:pt x="788" y="176"/>
                    </a:lnTo>
                    <a:lnTo>
                      <a:pt x="784" y="180"/>
                    </a:lnTo>
                    <a:lnTo>
                      <a:pt x="784" y="184"/>
                    </a:lnTo>
                    <a:lnTo>
                      <a:pt x="784" y="188"/>
                    </a:lnTo>
                    <a:lnTo>
                      <a:pt x="784" y="188"/>
                    </a:lnTo>
                    <a:lnTo>
                      <a:pt x="788" y="194"/>
                    </a:lnTo>
                    <a:lnTo>
                      <a:pt x="792" y="196"/>
                    </a:lnTo>
                    <a:lnTo>
                      <a:pt x="796" y="198"/>
                    </a:lnTo>
                    <a:lnTo>
                      <a:pt x="802" y="198"/>
                    </a:lnTo>
                    <a:lnTo>
                      <a:pt x="806" y="196"/>
                    </a:lnTo>
                    <a:lnTo>
                      <a:pt x="810" y="192"/>
                    </a:lnTo>
                    <a:lnTo>
                      <a:pt x="814" y="186"/>
                    </a:lnTo>
                    <a:lnTo>
                      <a:pt x="816" y="178"/>
                    </a:lnTo>
                    <a:lnTo>
                      <a:pt x="816" y="178"/>
                    </a:lnTo>
                    <a:lnTo>
                      <a:pt x="822" y="158"/>
                    </a:lnTo>
                    <a:lnTo>
                      <a:pt x="826" y="150"/>
                    </a:lnTo>
                    <a:lnTo>
                      <a:pt x="828" y="150"/>
                    </a:lnTo>
                    <a:lnTo>
                      <a:pt x="828" y="154"/>
                    </a:lnTo>
                    <a:lnTo>
                      <a:pt x="824" y="168"/>
                    </a:lnTo>
                    <a:lnTo>
                      <a:pt x="824" y="168"/>
                    </a:lnTo>
                    <a:lnTo>
                      <a:pt x="824" y="174"/>
                    </a:lnTo>
                    <a:lnTo>
                      <a:pt x="824" y="178"/>
                    </a:lnTo>
                    <a:lnTo>
                      <a:pt x="828" y="180"/>
                    </a:lnTo>
                    <a:lnTo>
                      <a:pt x="832" y="184"/>
                    </a:lnTo>
                    <a:lnTo>
                      <a:pt x="844" y="188"/>
                    </a:lnTo>
                    <a:lnTo>
                      <a:pt x="852" y="192"/>
                    </a:lnTo>
                    <a:lnTo>
                      <a:pt x="860" y="198"/>
                    </a:lnTo>
                    <a:lnTo>
                      <a:pt x="860" y="198"/>
                    </a:lnTo>
                    <a:lnTo>
                      <a:pt x="870" y="206"/>
                    </a:lnTo>
                    <a:lnTo>
                      <a:pt x="878" y="212"/>
                    </a:lnTo>
                    <a:lnTo>
                      <a:pt x="886" y="214"/>
                    </a:lnTo>
                    <a:lnTo>
                      <a:pt x="892" y="216"/>
                    </a:lnTo>
                    <a:lnTo>
                      <a:pt x="906" y="218"/>
                    </a:lnTo>
                    <a:lnTo>
                      <a:pt x="916" y="220"/>
                    </a:lnTo>
                    <a:lnTo>
                      <a:pt x="926" y="226"/>
                    </a:lnTo>
                    <a:lnTo>
                      <a:pt x="926" y="226"/>
                    </a:lnTo>
                    <a:lnTo>
                      <a:pt x="940" y="232"/>
                    </a:lnTo>
                    <a:lnTo>
                      <a:pt x="954" y="238"/>
                    </a:lnTo>
                    <a:lnTo>
                      <a:pt x="966" y="242"/>
                    </a:lnTo>
                    <a:lnTo>
                      <a:pt x="980" y="252"/>
                    </a:lnTo>
                    <a:lnTo>
                      <a:pt x="980" y="252"/>
                    </a:lnTo>
                    <a:lnTo>
                      <a:pt x="988" y="258"/>
                    </a:lnTo>
                    <a:lnTo>
                      <a:pt x="994" y="266"/>
                    </a:lnTo>
                    <a:lnTo>
                      <a:pt x="1004" y="284"/>
                    </a:lnTo>
                    <a:lnTo>
                      <a:pt x="1014" y="302"/>
                    </a:lnTo>
                    <a:lnTo>
                      <a:pt x="1024" y="318"/>
                    </a:lnTo>
                    <a:lnTo>
                      <a:pt x="1024" y="318"/>
                    </a:lnTo>
                    <a:lnTo>
                      <a:pt x="1028" y="324"/>
                    </a:lnTo>
                    <a:lnTo>
                      <a:pt x="1030" y="328"/>
                    </a:lnTo>
                    <a:lnTo>
                      <a:pt x="1028" y="330"/>
                    </a:lnTo>
                    <a:lnTo>
                      <a:pt x="1026" y="332"/>
                    </a:lnTo>
                    <a:lnTo>
                      <a:pt x="1022" y="336"/>
                    </a:lnTo>
                    <a:lnTo>
                      <a:pt x="1020" y="338"/>
                    </a:lnTo>
                    <a:lnTo>
                      <a:pt x="1020" y="344"/>
                    </a:lnTo>
                    <a:lnTo>
                      <a:pt x="1020" y="344"/>
                    </a:lnTo>
                    <a:lnTo>
                      <a:pt x="1024" y="350"/>
                    </a:lnTo>
                    <a:lnTo>
                      <a:pt x="1028" y="354"/>
                    </a:lnTo>
                    <a:lnTo>
                      <a:pt x="1036" y="360"/>
                    </a:lnTo>
                    <a:lnTo>
                      <a:pt x="1040" y="364"/>
                    </a:lnTo>
                    <a:lnTo>
                      <a:pt x="1044" y="368"/>
                    </a:lnTo>
                    <a:lnTo>
                      <a:pt x="1044" y="372"/>
                    </a:lnTo>
                    <a:lnTo>
                      <a:pt x="1040" y="380"/>
                    </a:lnTo>
                    <a:lnTo>
                      <a:pt x="1040" y="380"/>
                    </a:lnTo>
                    <a:lnTo>
                      <a:pt x="1036" y="394"/>
                    </a:lnTo>
                    <a:lnTo>
                      <a:pt x="1036" y="396"/>
                    </a:lnTo>
                    <a:lnTo>
                      <a:pt x="1038" y="398"/>
                    </a:lnTo>
                    <a:lnTo>
                      <a:pt x="1044" y="396"/>
                    </a:lnTo>
                    <a:lnTo>
                      <a:pt x="1046" y="396"/>
                    </a:lnTo>
                    <a:lnTo>
                      <a:pt x="1050" y="396"/>
                    </a:lnTo>
                    <a:lnTo>
                      <a:pt x="1050" y="396"/>
                    </a:lnTo>
                    <a:lnTo>
                      <a:pt x="1052" y="398"/>
                    </a:lnTo>
                    <a:lnTo>
                      <a:pt x="1054" y="398"/>
                    </a:lnTo>
                    <a:lnTo>
                      <a:pt x="1060" y="398"/>
                    </a:lnTo>
                    <a:lnTo>
                      <a:pt x="1068" y="398"/>
                    </a:lnTo>
                    <a:lnTo>
                      <a:pt x="1074" y="400"/>
                    </a:lnTo>
                    <a:lnTo>
                      <a:pt x="1080" y="404"/>
                    </a:lnTo>
                    <a:lnTo>
                      <a:pt x="1078" y="116"/>
                    </a:lnTo>
                    <a:lnTo>
                      <a:pt x="1078" y="116"/>
                    </a:lnTo>
                    <a:lnTo>
                      <a:pt x="1070" y="114"/>
                    </a:lnTo>
                    <a:lnTo>
                      <a:pt x="1060" y="110"/>
                    </a:lnTo>
                    <a:lnTo>
                      <a:pt x="1038" y="100"/>
                    </a:lnTo>
                    <a:lnTo>
                      <a:pt x="1002" y="76"/>
                    </a:lnTo>
                    <a:lnTo>
                      <a:pt x="1002" y="76"/>
                    </a:lnTo>
                    <a:lnTo>
                      <a:pt x="996" y="72"/>
                    </a:lnTo>
                    <a:lnTo>
                      <a:pt x="988" y="72"/>
                    </a:lnTo>
                    <a:lnTo>
                      <a:pt x="982" y="74"/>
                    </a:lnTo>
                    <a:lnTo>
                      <a:pt x="976" y="76"/>
                    </a:lnTo>
                    <a:lnTo>
                      <a:pt x="970" y="80"/>
                    </a:lnTo>
                    <a:lnTo>
                      <a:pt x="966" y="84"/>
                    </a:lnTo>
                    <a:lnTo>
                      <a:pt x="964" y="88"/>
                    </a:lnTo>
                    <a:lnTo>
                      <a:pt x="964" y="92"/>
                    </a:lnTo>
                    <a:lnTo>
                      <a:pt x="964" y="92"/>
                    </a:lnTo>
                    <a:lnTo>
                      <a:pt x="966" y="96"/>
                    </a:lnTo>
                    <a:lnTo>
                      <a:pt x="964" y="100"/>
                    </a:lnTo>
                    <a:lnTo>
                      <a:pt x="956" y="106"/>
                    </a:lnTo>
                    <a:lnTo>
                      <a:pt x="946" y="110"/>
                    </a:lnTo>
                    <a:lnTo>
                      <a:pt x="942" y="110"/>
                    </a:lnTo>
                    <a:lnTo>
                      <a:pt x="938" y="108"/>
                    </a:lnTo>
                    <a:lnTo>
                      <a:pt x="938" y="108"/>
                    </a:lnTo>
                    <a:lnTo>
                      <a:pt x="936" y="108"/>
                    </a:lnTo>
                    <a:lnTo>
                      <a:pt x="934" y="110"/>
                    </a:lnTo>
                    <a:lnTo>
                      <a:pt x="928" y="116"/>
                    </a:lnTo>
                    <a:lnTo>
                      <a:pt x="914" y="138"/>
                    </a:lnTo>
                    <a:lnTo>
                      <a:pt x="906" y="148"/>
                    </a:lnTo>
                    <a:lnTo>
                      <a:pt x="898" y="158"/>
                    </a:lnTo>
                    <a:lnTo>
                      <a:pt x="890" y="164"/>
                    </a:lnTo>
                    <a:lnTo>
                      <a:pt x="886" y="164"/>
                    </a:lnTo>
                    <a:lnTo>
                      <a:pt x="882" y="164"/>
                    </a:lnTo>
                    <a:lnTo>
                      <a:pt x="882" y="164"/>
                    </a:lnTo>
                    <a:lnTo>
                      <a:pt x="876" y="160"/>
                    </a:lnTo>
                    <a:lnTo>
                      <a:pt x="872" y="156"/>
                    </a:lnTo>
                    <a:lnTo>
                      <a:pt x="870" y="150"/>
                    </a:lnTo>
                    <a:lnTo>
                      <a:pt x="868" y="144"/>
                    </a:lnTo>
                    <a:lnTo>
                      <a:pt x="864" y="132"/>
                    </a:lnTo>
                    <a:lnTo>
                      <a:pt x="862" y="126"/>
                    </a:lnTo>
                    <a:lnTo>
                      <a:pt x="860" y="120"/>
                    </a:lnTo>
                    <a:lnTo>
                      <a:pt x="860" y="120"/>
                    </a:lnTo>
                    <a:lnTo>
                      <a:pt x="856" y="118"/>
                    </a:lnTo>
                    <a:lnTo>
                      <a:pt x="854" y="118"/>
                    </a:lnTo>
                    <a:lnTo>
                      <a:pt x="852" y="124"/>
                    </a:lnTo>
                    <a:lnTo>
                      <a:pt x="852" y="126"/>
                    </a:lnTo>
                    <a:lnTo>
                      <a:pt x="852" y="126"/>
                    </a:lnTo>
                    <a:lnTo>
                      <a:pt x="846" y="114"/>
                    </a:lnTo>
                    <a:lnTo>
                      <a:pt x="846" y="114"/>
                    </a:lnTo>
                    <a:lnTo>
                      <a:pt x="842" y="102"/>
                    </a:lnTo>
                    <a:lnTo>
                      <a:pt x="842" y="94"/>
                    </a:lnTo>
                    <a:lnTo>
                      <a:pt x="842" y="86"/>
                    </a:lnTo>
                    <a:lnTo>
                      <a:pt x="844" y="80"/>
                    </a:lnTo>
                    <a:lnTo>
                      <a:pt x="846" y="66"/>
                    </a:lnTo>
                    <a:lnTo>
                      <a:pt x="846" y="58"/>
                    </a:lnTo>
                    <a:lnTo>
                      <a:pt x="844" y="48"/>
                    </a:lnTo>
                    <a:lnTo>
                      <a:pt x="844" y="48"/>
                    </a:lnTo>
                    <a:lnTo>
                      <a:pt x="840" y="40"/>
                    </a:lnTo>
                    <a:lnTo>
                      <a:pt x="838" y="36"/>
                    </a:lnTo>
                    <a:lnTo>
                      <a:pt x="834" y="36"/>
                    </a:lnTo>
                    <a:lnTo>
                      <a:pt x="830" y="36"/>
                    </a:lnTo>
                    <a:lnTo>
                      <a:pt x="826" y="36"/>
                    </a:lnTo>
                    <a:lnTo>
                      <a:pt x="818" y="36"/>
                    </a:lnTo>
                    <a:lnTo>
                      <a:pt x="810" y="32"/>
                    </a:lnTo>
                    <a:lnTo>
                      <a:pt x="798" y="26"/>
                    </a:lnTo>
                    <a:lnTo>
                      <a:pt x="798" y="26"/>
                    </a:lnTo>
                    <a:lnTo>
                      <a:pt x="786" y="18"/>
                    </a:lnTo>
                    <a:lnTo>
                      <a:pt x="776" y="16"/>
                    </a:lnTo>
                    <a:lnTo>
                      <a:pt x="770" y="16"/>
                    </a:lnTo>
                    <a:lnTo>
                      <a:pt x="764" y="20"/>
                    </a:lnTo>
                    <a:lnTo>
                      <a:pt x="756" y="28"/>
                    </a:lnTo>
                    <a:lnTo>
                      <a:pt x="752" y="32"/>
                    </a:lnTo>
                    <a:lnTo>
                      <a:pt x="748" y="34"/>
                    </a:lnTo>
                    <a:lnTo>
                      <a:pt x="748" y="34"/>
                    </a:lnTo>
                    <a:lnTo>
                      <a:pt x="740" y="36"/>
                    </a:lnTo>
                    <a:lnTo>
                      <a:pt x="732" y="38"/>
                    </a:lnTo>
                    <a:lnTo>
                      <a:pt x="728" y="40"/>
                    </a:lnTo>
                    <a:lnTo>
                      <a:pt x="726" y="42"/>
                    </a:lnTo>
                    <a:lnTo>
                      <a:pt x="726" y="46"/>
                    </a:lnTo>
                    <a:lnTo>
                      <a:pt x="726" y="46"/>
                    </a:lnTo>
                    <a:close/>
                    <a:moveTo>
                      <a:pt x="1600" y="438"/>
                    </a:moveTo>
                    <a:lnTo>
                      <a:pt x="1600" y="438"/>
                    </a:lnTo>
                    <a:lnTo>
                      <a:pt x="1594" y="436"/>
                    </a:lnTo>
                    <a:lnTo>
                      <a:pt x="1588" y="434"/>
                    </a:lnTo>
                    <a:lnTo>
                      <a:pt x="1586" y="436"/>
                    </a:lnTo>
                    <a:lnTo>
                      <a:pt x="1588" y="438"/>
                    </a:lnTo>
                    <a:lnTo>
                      <a:pt x="1588" y="438"/>
                    </a:lnTo>
                    <a:lnTo>
                      <a:pt x="1590" y="442"/>
                    </a:lnTo>
                    <a:lnTo>
                      <a:pt x="1590" y="444"/>
                    </a:lnTo>
                    <a:lnTo>
                      <a:pt x="1592" y="446"/>
                    </a:lnTo>
                    <a:lnTo>
                      <a:pt x="1596" y="448"/>
                    </a:lnTo>
                    <a:lnTo>
                      <a:pt x="1596" y="448"/>
                    </a:lnTo>
                    <a:lnTo>
                      <a:pt x="1600" y="448"/>
                    </a:lnTo>
                    <a:lnTo>
                      <a:pt x="1604" y="446"/>
                    </a:lnTo>
                    <a:lnTo>
                      <a:pt x="1604" y="444"/>
                    </a:lnTo>
                    <a:lnTo>
                      <a:pt x="1600" y="438"/>
                    </a:lnTo>
                    <a:lnTo>
                      <a:pt x="1600" y="438"/>
                    </a:lnTo>
                    <a:close/>
                    <a:moveTo>
                      <a:pt x="1606" y="1248"/>
                    </a:moveTo>
                    <a:lnTo>
                      <a:pt x="1606" y="1248"/>
                    </a:lnTo>
                    <a:lnTo>
                      <a:pt x="1606" y="1252"/>
                    </a:lnTo>
                    <a:lnTo>
                      <a:pt x="1604" y="1260"/>
                    </a:lnTo>
                    <a:lnTo>
                      <a:pt x="1604" y="1268"/>
                    </a:lnTo>
                    <a:lnTo>
                      <a:pt x="1604" y="1272"/>
                    </a:lnTo>
                    <a:lnTo>
                      <a:pt x="1606" y="1274"/>
                    </a:lnTo>
                    <a:lnTo>
                      <a:pt x="1606" y="1274"/>
                    </a:lnTo>
                    <a:lnTo>
                      <a:pt x="1608" y="1274"/>
                    </a:lnTo>
                    <a:lnTo>
                      <a:pt x="1610" y="1270"/>
                    </a:lnTo>
                    <a:lnTo>
                      <a:pt x="1610" y="1260"/>
                    </a:lnTo>
                    <a:lnTo>
                      <a:pt x="1610" y="1260"/>
                    </a:lnTo>
                    <a:lnTo>
                      <a:pt x="1614" y="1250"/>
                    </a:lnTo>
                    <a:lnTo>
                      <a:pt x="1620" y="1240"/>
                    </a:lnTo>
                    <a:lnTo>
                      <a:pt x="1620" y="1240"/>
                    </a:lnTo>
                    <a:lnTo>
                      <a:pt x="1620" y="1236"/>
                    </a:lnTo>
                    <a:lnTo>
                      <a:pt x="1618" y="1232"/>
                    </a:lnTo>
                    <a:lnTo>
                      <a:pt x="1618" y="1228"/>
                    </a:lnTo>
                    <a:lnTo>
                      <a:pt x="1616" y="1224"/>
                    </a:lnTo>
                    <a:lnTo>
                      <a:pt x="1616" y="1224"/>
                    </a:lnTo>
                    <a:lnTo>
                      <a:pt x="1616" y="1220"/>
                    </a:lnTo>
                    <a:lnTo>
                      <a:pt x="1614" y="1220"/>
                    </a:lnTo>
                    <a:lnTo>
                      <a:pt x="1612" y="1224"/>
                    </a:lnTo>
                    <a:lnTo>
                      <a:pt x="1612" y="1230"/>
                    </a:lnTo>
                    <a:lnTo>
                      <a:pt x="1612" y="1230"/>
                    </a:lnTo>
                    <a:lnTo>
                      <a:pt x="1612" y="1234"/>
                    </a:lnTo>
                    <a:lnTo>
                      <a:pt x="1612" y="1236"/>
                    </a:lnTo>
                    <a:lnTo>
                      <a:pt x="1608" y="1240"/>
                    </a:lnTo>
                    <a:lnTo>
                      <a:pt x="1606" y="1244"/>
                    </a:lnTo>
                    <a:lnTo>
                      <a:pt x="1604" y="1246"/>
                    </a:lnTo>
                    <a:lnTo>
                      <a:pt x="1606" y="1248"/>
                    </a:lnTo>
                    <a:lnTo>
                      <a:pt x="1606" y="124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sp>
            <p:nvSpPr>
              <p:cNvPr id="109" name="Freeform 6152"/>
              <p:cNvSpPr>
                <a:spLocks/>
              </p:cNvSpPr>
              <p:nvPr/>
            </p:nvSpPr>
            <p:spPr bwMode="auto">
              <a:xfrm>
                <a:off x="4751495" y="3153578"/>
                <a:ext cx="1660" cy="3318"/>
              </a:xfrm>
              <a:custGeom>
                <a:avLst/>
                <a:gdLst>
                  <a:gd name="T0" fmla="*/ 2147483647 w 4"/>
                  <a:gd name="T1" fmla="*/ 2147483647 h 6"/>
                  <a:gd name="T2" fmla="*/ 2147483647 w 4"/>
                  <a:gd name="T3" fmla="*/ 2147483647 h 6"/>
                  <a:gd name="T4" fmla="*/ 2147483647 w 4"/>
                  <a:gd name="T5" fmla="*/ 2147483647 h 6"/>
                  <a:gd name="T6" fmla="*/ 0 w 4"/>
                  <a:gd name="T7" fmla="*/ 0 h 6"/>
                  <a:gd name="T8" fmla="*/ 2147483647 w 4"/>
                  <a:gd name="T9" fmla="*/ 2147483647 h 6"/>
                  <a:gd name="T10" fmla="*/ 2147483647 w 4"/>
                  <a:gd name="T11" fmla="*/ 2147483647 h 6"/>
                  <a:gd name="T12" fmla="*/ 2147483647 w 4"/>
                  <a:gd name="T13" fmla="*/ 2147483647 h 6"/>
                  <a:gd name="T14" fmla="*/ 2147483647 w 4"/>
                  <a:gd name="T15" fmla="*/ 2147483647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4" y="6"/>
                    </a:moveTo>
                    <a:lnTo>
                      <a:pt x="4" y="6"/>
                    </a:lnTo>
                    <a:lnTo>
                      <a:pt x="4" y="4"/>
                    </a:lnTo>
                    <a:lnTo>
                      <a:pt x="0" y="0"/>
                    </a:lnTo>
                    <a:lnTo>
                      <a:pt x="2" y="4"/>
                    </a:lnTo>
                    <a:lnTo>
                      <a:pt x="4"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10" name="Freeform 6153"/>
              <p:cNvSpPr>
                <a:spLocks noEditPoints="1"/>
              </p:cNvSpPr>
              <p:nvPr/>
            </p:nvSpPr>
            <p:spPr bwMode="auto">
              <a:xfrm>
                <a:off x="3608252" y="2972752"/>
                <a:ext cx="1589590" cy="2077008"/>
              </a:xfrm>
              <a:custGeom>
                <a:avLst/>
                <a:gdLst/>
                <a:ahLst/>
                <a:cxnLst>
                  <a:cxn ang="0">
                    <a:pos x="2626" y="2588"/>
                  </a:cxn>
                  <a:cxn ang="0">
                    <a:pos x="2478" y="2732"/>
                  </a:cxn>
                  <a:cxn ang="0">
                    <a:pos x="2470" y="2928"/>
                  </a:cxn>
                  <a:cxn ang="0">
                    <a:pos x="2514" y="3136"/>
                  </a:cxn>
                  <a:cxn ang="0">
                    <a:pos x="2698" y="2722"/>
                  </a:cxn>
                  <a:cxn ang="0">
                    <a:pos x="2736" y="2624"/>
                  </a:cxn>
                  <a:cxn ang="0">
                    <a:pos x="2676" y="1330"/>
                  </a:cxn>
                  <a:cxn ang="0">
                    <a:pos x="2484" y="1368"/>
                  </a:cxn>
                  <a:cxn ang="0">
                    <a:pos x="2416" y="1236"/>
                  </a:cxn>
                  <a:cxn ang="0">
                    <a:pos x="2338" y="1150"/>
                  </a:cxn>
                  <a:cxn ang="0">
                    <a:pos x="2260" y="998"/>
                  </a:cxn>
                  <a:cxn ang="0">
                    <a:pos x="2208" y="850"/>
                  </a:cxn>
                  <a:cxn ang="0">
                    <a:pos x="2132" y="716"/>
                  </a:cxn>
                  <a:cxn ang="0">
                    <a:pos x="2050" y="494"/>
                  </a:cxn>
                  <a:cxn ang="0">
                    <a:pos x="1990" y="314"/>
                  </a:cxn>
                  <a:cxn ang="0">
                    <a:pos x="1886" y="346"/>
                  </a:cxn>
                  <a:cxn ang="0">
                    <a:pos x="1718" y="308"/>
                  </a:cxn>
                  <a:cxn ang="0">
                    <a:pos x="1550" y="246"/>
                  </a:cxn>
                  <a:cxn ang="0">
                    <a:pos x="1376" y="328"/>
                  </a:cxn>
                  <a:cxn ang="0">
                    <a:pos x="1172" y="224"/>
                  </a:cxn>
                  <a:cxn ang="0">
                    <a:pos x="1152" y="110"/>
                  </a:cxn>
                  <a:cxn ang="0">
                    <a:pos x="1122" y="32"/>
                  </a:cxn>
                  <a:cxn ang="0">
                    <a:pos x="998" y="14"/>
                  </a:cxn>
                  <a:cxn ang="0">
                    <a:pos x="842" y="28"/>
                  </a:cxn>
                  <a:cxn ang="0">
                    <a:pos x="668" y="86"/>
                  </a:cxn>
                  <a:cxn ang="0">
                    <a:pos x="542" y="114"/>
                  </a:cxn>
                  <a:cxn ang="0">
                    <a:pos x="332" y="256"/>
                  </a:cxn>
                  <a:cxn ang="0">
                    <a:pos x="196" y="492"/>
                  </a:cxn>
                  <a:cxn ang="0">
                    <a:pos x="60" y="714"/>
                  </a:cxn>
                  <a:cxn ang="0">
                    <a:pos x="24" y="846"/>
                  </a:cxn>
                  <a:cxn ang="0">
                    <a:pos x="60" y="986"/>
                  </a:cxn>
                  <a:cxn ang="0">
                    <a:pos x="40" y="1222"/>
                  </a:cxn>
                  <a:cxn ang="0">
                    <a:pos x="54" y="1264"/>
                  </a:cxn>
                  <a:cxn ang="0">
                    <a:pos x="54" y="1300"/>
                  </a:cxn>
                  <a:cxn ang="0">
                    <a:pos x="86" y="1336"/>
                  </a:cxn>
                  <a:cxn ang="0">
                    <a:pos x="112" y="1360"/>
                  </a:cxn>
                  <a:cxn ang="0">
                    <a:pos x="168" y="1432"/>
                  </a:cxn>
                  <a:cxn ang="0">
                    <a:pos x="182" y="1482"/>
                  </a:cxn>
                  <a:cxn ang="0">
                    <a:pos x="270" y="1570"/>
                  </a:cxn>
                  <a:cxn ang="0">
                    <a:pos x="504" y="1632"/>
                  </a:cxn>
                  <a:cxn ang="0">
                    <a:pos x="648" y="1636"/>
                  </a:cxn>
                  <a:cxn ang="0">
                    <a:pos x="844" y="1564"/>
                  </a:cxn>
                  <a:cxn ang="0">
                    <a:pos x="996" y="1658"/>
                  </a:cxn>
                  <a:cxn ang="0">
                    <a:pos x="1088" y="1684"/>
                  </a:cxn>
                  <a:cxn ang="0">
                    <a:pos x="1082" y="1824"/>
                  </a:cxn>
                  <a:cxn ang="0">
                    <a:pos x="1104" y="1880"/>
                  </a:cxn>
                  <a:cxn ang="0">
                    <a:pos x="1088" y="1988"/>
                  </a:cxn>
                  <a:cxn ang="0">
                    <a:pos x="1208" y="2168"/>
                  </a:cxn>
                  <a:cxn ang="0">
                    <a:pos x="1256" y="2396"/>
                  </a:cxn>
                  <a:cxn ang="0">
                    <a:pos x="1176" y="2736"/>
                  </a:cxn>
                  <a:cxn ang="0">
                    <a:pos x="1334" y="3266"/>
                  </a:cxn>
                  <a:cxn ang="0">
                    <a:pos x="1424" y="3532"/>
                  </a:cxn>
                  <a:cxn ang="0">
                    <a:pos x="1472" y="3606"/>
                  </a:cxn>
                  <a:cxn ang="0">
                    <a:pos x="1590" y="3598"/>
                  </a:cxn>
                  <a:cxn ang="0">
                    <a:pos x="1740" y="3574"/>
                  </a:cxn>
                  <a:cxn ang="0">
                    <a:pos x="2018" y="3276"/>
                  </a:cxn>
                  <a:cxn ang="0">
                    <a:pos x="2134" y="3056"/>
                  </a:cxn>
                  <a:cxn ang="0">
                    <a:pos x="2108" y="2854"/>
                  </a:cxn>
                  <a:cxn ang="0">
                    <a:pos x="2336" y="2636"/>
                  </a:cxn>
                  <a:cxn ang="0">
                    <a:pos x="2324" y="2384"/>
                  </a:cxn>
                  <a:cxn ang="0">
                    <a:pos x="2282" y="2206"/>
                  </a:cxn>
                  <a:cxn ang="0">
                    <a:pos x="2350" y="1998"/>
                  </a:cxn>
                  <a:cxn ang="0">
                    <a:pos x="2646" y="1646"/>
                  </a:cxn>
                </a:cxnLst>
                <a:rect l="0" t="0" r="r" b="b"/>
                <a:pathLst>
                  <a:path w="2776" h="3628">
                    <a:moveTo>
                      <a:pt x="2710" y="2504"/>
                    </a:moveTo>
                    <a:lnTo>
                      <a:pt x="2710" y="2504"/>
                    </a:lnTo>
                    <a:lnTo>
                      <a:pt x="2706" y="2498"/>
                    </a:lnTo>
                    <a:lnTo>
                      <a:pt x="2702" y="2492"/>
                    </a:lnTo>
                    <a:lnTo>
                      <a:pt x="2698" y="2476"/>
                    </a:lnTo>
                    <a:lnTo>
                      <a:pt x="2696" y="2470"/>
                    </a:lnTo>
                    <a:lnTo>
                      <a:pt x="2692" y="2466"/>
                    </a:lnTo>
                    <a:lnTo>
                      <a:pt x="2690" y="2468"/>
                    </a:lnTo>
                    <a:lnTo>
                      <a:pt x="2684" y="2472"/>
                    </a:lnTo>
                    <a:lnTo>
                      <a:pt x="2684" y="2472"/>
                    </a:lnTo>
                    <a:lnTo>
                      <a:pt x="2680" y="2480"/>
                    </a:lnTo>
                    <a:lnTo>
                      <a:pt x="2678" y="2486"/>
                    </a:lnTo>
                    <a:lnTo>
                      <a:pt x="2676" y="2508"/>
                    </a:lnTo>
                    <a:lnTo>
                      <a:pt x="2676" y="2508"/>
                    </a:lnTo>
                    <a:lnTo>
                      <a:pt x="2674" y="2518"/>
                    </a:lnTo>
                    <a:lnTo>
                      <a:pt x="2672" y="2526"/>
                    </a:lnTo>
                    <a:lnTo>
                      <a:pt x="2668" y="2532"/>
                    </a:lnTo>
                    <a:lnTo>
                      <a:pt x="2664" y="2536"/>
                    </a:lnTo>
                    <a:lnTo>
                      <a:pt x="2656" y="2542"/>
                    </a:lnTo>
                    <a:lnTo>
                      <a:pt x="2648" y="2544"/>
                    </a:lnTo>
                    <a:lnTo>
                      <a:pt x="2634" y="2546"/>
                    </a:lnTo>
                    <a:lnTo>
                      <a:pt x="2632" y="2548"/>
                    </a:lnTo>
                    <a:lnTo>
                      <a:pt x="2632" y="2554"/>
                    </a:lnTo>
                    <a:lnTo>
                      <a:pt x="2632" y="2554"/>
                    </a:lnTo>
                    <a:lnTo>
                      <a:pt x="2638" y="2566"/>
                    </a:lnTo>
                    <a:lnTo>
                      <a:pt x="2636" y="2572"/>
                    </a:lnTo>
                    <a:lnTo>
                      <a:pt x="2636" y="2576"/>
                    </a:lnTo>
                    <a:lnTo>
                      <a:pt x="2626" y="2588"/>
                    </a:lnTo>
                    <a:lnTo>
                      <a:pt x="2606" y="2608"/>
                    </a:lnTo>
                    <a:lnTo>
                      <a:pt x="2606" y="2608"/>
                    </a:lnTo>
                    <a:lnTo>
                      <a:pt x="2596" y="2618"/>
                    </a:lnTo>
                    <a:lnTo>
                      <a:pt x="2588" y="2628"/>
                    </a:lnTo>
                    <a:lnTo>
                      <a:pt x="2578" y="2640"/>
                    </a:lnTo>
                    <a:lnTo>
                      <a:pt x="2572" y="2646"/>
                    </a:lnTo>
                    <a:lnTo>
                      <a:pt x="2564" y="2650"/>
                    </a:lnTo>
                    <a:lnTo>
                      <a:pt x="2554" y="2652"/>
                    </a:lnTo>
                    <a:lnTo>
                      <a:pt x="2538" y="2656"/>
                    </a:lnTo>
                    <a:lnTo>
                      <a:pt x="2538" y="2656"/>
                    </a:lnTo>
                    <a:lnTo>
                      <a:pt x="2530" y="2658"/>
                    </a:lnTo>
                    <a:lnTo>
                      <a:pt x="2526" y="2660"/>
                    </a:lnTo>
                    <a:lnTo>
                      <a:pt x="2522" y="2664"/>
                    </a:lnTo>
                    <a:lnTo>
                      <a:pt x="2520" y="2668"/>
                    </a:lnTo>
                    <a:lnTo>
                      <a:pt x="2516" y="2670"/>
                    </a:lnTo>
                    <a:lnTo>
                      <a:pt x="2512" y="2670"/>
                    </a:lnTo>
                    <a:lnTo>
                      <a:pt x="2506" y="2670"/>
                    </a:lnTo>
                    <a:lnTo>
                      <a:pt x="2506" y="2670"/>
                    </a:lnTo>
                    <a:lnTo>
                      <a:pt x="2500" y="2670"/>
                    </a:lnTo>
                    <a:lnTo>
                      <a:pt x="2496" y="2670"/>
                    </a:lnTo>
                    <a:lnTo>
                      <a:pt x="2496" y="2672"/>
                    </a:lnTo>
                    <a:lnTo>
                      <a:pt x="2496" y="2676"/>
                    </a:lnTo>
                    <a:lnTo>
                      <a:pt x="2494" y="2690"/>
                    </a:lnTo>
                    <a:lnTo>
                      <a:pt x="2492" y="2700"/>
                    </a:lnTo>
                    <a:lnTo>
                      <a:pt x="2486" y="2712"/>
                    </a:lnTo>
                    <a:lnTo>
                      <a:pt x="2486" y="2712"/>
                    </a:lnTo>
                    <a:lnTo>
                      <a:pt x="2480" y="2724"/>
                    </a:lnTo>
                    <a:lnTo>
                      <a:pt x="2478" y="2732"/>
                    </a:lnTo>
                    <a:lnTo>
                      <a:pt x="2478" y="2738"/>
                    </a:lnTo>
                    <a:lnTo>
                      <a:pt x="2478" y="2742"/>
                    </a:lnTo>
                    <a:lnTo>
                      <a:pt x="2482" y="2750"/>
                    </a:lnTo>
                    <a:lnTo>
                      <a:pt x="2482" y="2754"/>
                    </a:lnTo>
                    <a:lnTo>
                      <a:pt x="2482" y="2762"/>
                    </a:lnTo>
                    <a:lnTo>
                      <a:pt x="2482" y="2762"/>
                    </a:lnTo>
                    <a:lnTo>
                      <a:pt x="2480" y="2772"/>
                    </a:lnTo>
                    <a:lnTo>
                      <a:pt x="2480" y="2778"/>
                    </a:lnTo>
                    <a:lnTo>
                      <a:pt x="2484" y="2790"/>
                    </a:lnTo>
                    <a:lnTo>
                      <a:pt x="2488" y="2798"/>
                    </a:lnTo>
                    <a:lnTo>
                      <a:pt x="2488" y="2802"/>
                    </a:lnTo>
                    <a:lnTo>
                      <a:pt x="2488" y="2806"/>
                    </a:lnTo>
                    <a:lnTo>
                      <a:pt x="2488" y="2806"/>
                    </a:lnTo>
                    <a:lnTo>
                      <a:pt x="2488" y="2814"/>
                    </a:lnTo>
                    <a:lnTo>
                      <a:pt x="2490" y="2820"/>
                    </a:lnTo>
                    <a:lnTo>
                      <a:pt x="2494" y="2832"/>
                    </a:lnTo>
                    <a:lnTo>
                      <a:pt x="2498" y="2848"/>
                    </a:lnTo>
                    <a:lnTo>
                      <a:pt x="2498" y="2848"/>
                    </a:lnTo>
                    <a:lnTo>
                      <a:pt x="2498" y="2860"/>
                    </a:lnTo>
                    <a:lnTo>
                      <a:pt x="2496" y="2868"/>
                    </a:lnTo>
                    <a:lnTo>
                      <a:pt x="2492" y="2876"/>
                    </a:lnTo>
                    <a:lnTo>
                      <a:pt x="2488" y="2884"/>
                    </a:lnTo>
                    <a:lnTo>
                      <a:pt x="2480" y="2900"/>
                    </a:lnTo>
                    <a:lnTo>
                      <a:pt x="2476" y="2908"/>
                    </a:lnTo>
                    <a:lnTo>
                      <a:pt x="2474" y="2916"/>
                    </a:lnTo>
                    <a:lnTo>
                      <a:pt x="2474" y="2916"/>
                    </a:lnTo>
                    <a:lnTo>
                      <a:pt x="2472" y="2924"/>
                    </a:lnTo>
                    <a:lnTo>
                      <a:pt x="2470" y="2928"/>
                    </a:lnTo>
                    <a:lnTo>
                      <a:pt x="2466" y="2928"/>
                    </a:lnTo>
                    <a:lnTo>
                      <a:pt x="2464" y="2928"/>
                    </a:lnTo>
                    <a:lnTo>
                      <a:pt x="2462" y="2930"/>
                    </a:lnTo>
                    <a:lnTo>
                      <a:pt x="2458" y="2934"/>
                    </a:lnTo>
                    <a:lnTo>
                      <a:pt x="2454" y="2942"/>
                    </a:lnTo>
                    <a:lnTo>
                      <a:pt x="2450" y="2954"/>
                    </a:lnTo>
                    <a:lnTo>
                      <a:pt x="2450" y="2954"/>
                    </a:lnTo>
                    <a:lnTo>
                      <a:pt x="2448" y="2968"/>
                    </a:lnTo>
                    <a:lnTo>
                      <a:pt x="2446" y="2980"/>
                    </a:lnTo>
                    <a:lnTo>
                      <a:pt x="2448" y="2990"/>
                    </a:lnTo>
                    <a:lnTo>
                      <a:pt x="2448" y="2998"/>
                    </a:lnTo>
                    <a:lnTo>
                      <a:pt x="2456" y="3012"/>
                    </a:lnTo>
                    <a:lnTo>
                      <a:pt x="2464" y="3026"/>
                    </a:lnTo>
                    <a:lnTo>
                      <a:pt x="2464" y="3026"/>
                    </a:lnTo>
                    <a:lnTo>
                      <a:pt x="2466" y="3034"/>
                    </a:lnTo>
                    <a:lnTo>
                      <a:pt x="2466" y="3040"/>
                    </a:lnTo>
                    <a:lnTo>
                      <a:pt x="2466" y="3054"/>
                    </a:lnTo>
                    <a:lnTo>
                      <a:pt x="2464" y="3062"/>
                    </a:lnTo>
                    <a:lnTo>
                      <a:pt x="2466" y="3072"/>
                    </a:lnTo>
                    <a:lnTo>
                      <a:pt x="2468" y="3084"/>
                    </a:lnTo>
                    <a:lnTo>
                      <a:pt x="2474" y="3100"/>
                    </a:lnTo>
                    <a:lnTo>
                      <a:pt x="2474" y="3100"/>
                    </a:lnTo>
                    <a:lnTo>
                      <a:pt x="2480" y="3114"/>
                    </a:lnTo>
                    <a:lnTo>
                      <a:pt x="2486" y="3122"/>
                    </a:lnTo>
                    <a:lnTo>
                      <a:pt x="2492" y="3126"/>
                    </a:lnTo>
                    <a:lnTo>
                      <a:pt x="2498" y="3130"/>
                    </a:lnTo>
                    <a:lnTo>
                      <a:pt x="2510" y="3134"/>
                    </a:lnTo>
                    <a:lnTo>
                      <a:pt x="2514" y="3136"/>
                    </a:lnTo>
                    <a:lnTo>
                      <a:pt x="2520" y="3142"/>
                    </a:lnTo>
                    <a:lnTo>
                      <a:pt x="2520" y="3142"/>
                    </a:lnTo>
                    <a:lnTo>
                      <a:pt x="2522" y="3144"/>
                    </a:lnTo>
                    <a:lnTo>
                      <a:pt x="2526" y="3146"/>
                    </a:lnTo>
                    <a:lnTo>
                      <a:pt x="2534" y="3146"/>
                    </a:lnTo>
                    <a:lnTo>
                      <a:pt x="2544" y="3144"/>
                    </a:lnTo>
                    <a:lnTo>
                      <a:pt x="2554" y="3140"/>
                    </a:lnTo>
                    <a:lnTo>
                      <a:pt x="2574" y="3128"/>
                    </a:lnTo>
                    <a:lnTo>
                      <a:pt x="2584" y="3124"/>
                    </a:lnTo>
                    <a:lnTo>
                      <a:pt x="2594" y="3122"/>
                    </a:lnTo>
                    <a:lnTo>
                      <a:pt x="2594" y="3122"/>
                    </a:lnTo>
                    <a:lnTo>
                      <a:pt x="2598" y="3120"/>
                    </a:lnTo>
                    <a:lnTo>
                      <a:pt x="2602" y="3116"/>
                    </a:lnTo>
                    <a:lnTo>
                      <a:pt x="2610" y="3096"/>
                    </a:lnTo>
                    <a:lnTo>
                      <a:pt x="2620" y="3068"/>
                    </a:lnTo>
                    <a:lnTo>
                      <a:pt x="2628" y="3034"/>
                    </a:lnTo>
                    <a:lnTo>
                      <a:pt x="2648" y="2952"/>
                    </a:lnTo>
                    <a:lnTo>
                      <a:pt x="2668" y="2870"/>
                    </a:lnTo>
                    <a:lnTo>
                      <a:pt x="2668" y="2870"/>
                    </a:lnTo>
                    <a:lnTo>
                      <a:pt x="2682" y="2822"/>
                    </a:lnTo>
                    <a:lnTo>
                      <a:pt x="2694" y="2792"/>
                    </a:lnTo>
                    <a:lnTo>
                      <a:pt x="2696" y="2780"/>
                    </a:lnTo>
                    <a:lnTo>
                      <a:pt x="2700" y="2768"/>
                    </a:lnTo>
                    <a:lnTo>
                      <a:pt x="2700" y="2756"/>
                    </a:lnTo>
                    <a:lnTo>
                      <a:pt x="2698" y="2742"/>
                    </a:lnTo>
                    <a:lnTo>
                      <a:pt x="2698" y="2742"/>
                    </a:lnTo>
                    <a:lnTo>
                      <a:pt x="2698" y="2730"/>
                    </a:lnTo>
                    <a:lnTo>
                      <a:pt x="2698" y="2722"/>
                    </a:lnTo>
                    <a:lnTo>
                      <a:pt x="2700" y="2718"/>
                    </a:lnTo>
                    <a:lnTo>
                      <a:pt x="2704" y="2714"/>
                    </a:lnTo>
                    <a:lnTo>
                      <a:pt x="2710" y="2710"/>
                    </a:lnTo>
                    <a:lnTo>
                      <a:pt x="2712" y="2706"/>
                    </a:lnTo>
                    <a:lnTo>
                      <a:pt x="2710" y="2700"/>
                    </a:lnTo>
                    <a:lnTo>
                      <a:pt x="2710" y="2700"/>
                    </a:lnTo>
                    <a:lnTo>
                      <a:pt x="2710" y="2690"/>
                    </a:lnTo>
                    <a:lnTo>
                      <a:pt x="2712" y="2684"/>
                    </a:lnTo>
                    <a:lnTo>
                      <a:pt x="2712" y="2674"/>
                    </a:lnTo>
                    <a:lnTo>
                      <a:pt x="2712" y="2670"/>
                    </a:lnTo>
                    <a:lnTo>
                      <a:pt x="2710" y="2662"/>
                    </a:lnTo>
                    <a:lnTo>
                      <a:pt x="2710" y="2662"/>
                    </a:lnTo>
                    <a:lnTo>
                      <a:pt x="2706" y="2654"/>
                    </a:lnTo>
                    <a:lnTo>
                      <a:pt x="2706" y="2648"/>
                    </a:lnTo>
                    <a:lnTo>
                      <a:pt x="2706" y="2642"/>
                    </a:lnTo>
                    <a:lnTo>
                      <a:pt x="2708" y="2638"/>
                    </a:lnTo>
                    <a:lnTo>
                      <a:pt x="2710" y="2636"/>
                    </a:lnTo>
                    <a:lnTo>
                      <a:pt x="2714" y="2640"/>
                    </a:lnTo>
                    <a:lnTo>
                      <a:pt x="2718" y="2646"/>
                    </a:lnTo>
                    <a:lnTo>
                      <a:pt x="2722" y="2658"/>
                    </a:lnTo>
                    <a:lnTo>
                      <a:pt x="2722" y="2658"/>
                    </a:lnTo>
                    <a:lnTo>
                      <a:pt x="2724" y="2662"/>
                    </a:lnTo>
                    <a:lnTo>
                      <a:pt x="2728" y="2662"/>
                    </a:lnTo>
                    <a:lnTo>
                      <a:pt x="2732" y="2658"/>
                    </a:lnTo>
                    <a:lnTo>
                      <a:pt x="2734" y="2652"/>
                    </a:lnTo>
                    <a:lnTo>
                      <a:pt x="2736" y="2644"/>
                    </a:lnTo>
                    <a:lnTo>
                      <a:pt x="2738" y="2634"/>
                    </a:lnTo>
                    <a:lnTo>
                      <a:pt x="2736" y="2624"/>
                    </a:lnTo>
                    <a:lnTo>
                      <a:pt x="2734" y="2614"/>
                    </a:lnTo>
                    <a:lnTo>
                      <a:pt x="2734" y="2614"/>
                    </a:lnTo>
                    <a:lnTo>
                      <a:pt x="2732" y="2604"/>
                    </a:lnTo>
                    <a:lnTo>
                      <a:pt x="2730" y="2590"/>
                    </a:lnTo>
                    <a:lnTo>
                      <a:pt x="2724" y="2556"/>
                    </a:lnTo>
                    <a:lnTo>
                      <a:pt x="2720" y="2522"/>
                    </a:lnTo>
                    <a:lnTo>
                      <a:pt x="2716" y="2510"/>
                    </a:lnTo>
                    <a:lnTo>
                      <a:pt x="2710" y="2504"/>
                    </a:lnTo>
                    <a:lnTo>
                      <a:pt x="2710" y="2504"/>
                    </a:lnTo>
                    <a:close/>
                    <a:moveTo>
                      <a:pt x="2770" y="1364"/>
                    </a:moveTo>
                    <a:lnTo>
                      <a:pt x="2770" y="1364"/>
                    </a:lnTo>
                    <a:lnTo>
                      <a:pt x="2764" y="1352"/>
                    </a:lnTo>
                    <a:lnTo>
                      <a:pt x="2762" y="1342"/>
                    </a:lnTo>
                    <a:lnTo>
                      <a:pt x="2764" y="1332"/>
                    </a:lnTo>
                    <a:lnTo>
                      <a:pt x="2766" y="1322"/>
                    </a:lnTo>
                    <a:lnTo>
                      <a:pt x="2770" y="1316"/>
                    </a:lnTo>
                    <a:lnTo>
                      <a:pt x="2770" y="1308"/>
                    </a:lnTo>
                    <a:lnTo>
                      <a:pt x="2768" y="1304"/>
                    </a:lnTo>
                    <a:lnTo>
                      <a:pt x="2762" y="1300"/>
                    </a:lnTo>
                    <a:lnTo>
                      <a:pt x="2762" y="1300"/>
                    </a:lnTo>
                    <a:lnTo>
                      <a:pt x="2752" y="1300"/>
                    </a:lnTo>
                    <a:lnTo>
                      <a:pt x="2746" y="1302"/>
                    </a:lnTo>
                    <a:lnTo>
                      <a:pt x="2730" y="1314"/>
                    </a:lnTo>
                    <a:lnTo>
                      <a:pt x="2720" y="1320"/>
                    </a:lnTo>
                    <a:lnTo>
                      <a:pt x="2708" y="1326"/>
                    </a:lnTo>
                    <a:lnTo>
                      <a:pt x="2694" y="1330"/>
                    </a:lnTo>
                    <a:lnTo>
                      <a:pt x="2676" y="1330"/>
                    </a:lnTo>
                    <a:lnTo>
                      <a:pt x="2676" y="1330"/>
                    </a:lnTo>
                    <a:lnTo>
                      <a:pt x="2660" y="1332"/>
                    </a:lnTo>
                    <a:lnTo>
                      <a:pt x="2650" y="1332"/>
                    </a:lnTo>
                    <a:lnTo>
                      <a:pt x="2646" y="1334"/>
                    </a:lnTo>
                    <a:lnTo>
                      <a:pt x="2646" y="1336"/>
                    </a:lnTo>
                    <a:lnTo>
                      <a:pt x="2646" y="1338"/>
                    </a:lnTo>
                    <a:lnTo>
                      <a:pt x="2644" y="1340"/>
                    </a:lnTo>
                    <a:lnTo>
                      <a:pt x="2640" y="1340"/>
                    </a:lnTo>
                    <a:lnTo>
                      <a:pt x="2630" y="1340"/>
                    </a:lnTo>
                    <a:lnTo>
                      <a:pt x="2630" y="1340"/>
                    </a:lnTo>
                    <a:lnTo>
                      <a:pt x="2618" y="1340"/>
                    </a:lnTo>
                    <a:lnTo>
                      <a:pt x="2608" y="1342"/>
                    </a:lnTo>
                    <a:lnTo>
                      <a:pt x="2602" y="1346"/>
                    </a:lnTo>
                    <a:lnTo>
                      <a:pt x="2596" y="1352"/>
                    </a:lnTo>
                    <a:lnTo>
                      <a:pt x="2590" y="1356"/>
                    </a:lnTo>
                    <a:lnTo>
                      <a:pt x="2584" y="1360"/>
                    </a:lnTo>
                    <a:lnTo>
                      <a:pt x="2574" y="1360"/>
                    </a:lnTo>
                    <a:lnTo>
                      <a:pt x="2564" y="1358"/>
                    </a:lnTo>
                    <a:lnTo>
                      <a:pt x="2564" y="1358"/>
                    </a:lnTo>
                    <a:lnTo>
                      <a:pt x="2552" y="1356"/>
                    </a:lnTo>
                    <a:lnTo>
                      <a:pt x="2542" y="1356"/>
                    </a:lnTo>
                    <a:lnTo>
                      <a:pt x="2534" y="1360"/>
                    </a:lnTo>
                    <a:lnTo>
                      <a:pt x="2528" y="1366"/>
                    </a:lnTo>
                    <a:lnTo>
                      <a:pt x="2520" y="1370"/>
                    </a:lnTo>
                    <a:lnTo>
                      <a:pt x="2512" y="1374"/>
                    </a:lnTo>
                    <a:lnTo>
                      <a:pt x="2504" y="1376"/>
                    </a:lnTo>
                    <a:lnTo>
                      <a:pt x="2494" y="1374"/>
                    </a:lnTo>
                    <a:lnTo>
                      <a:pt x="2494" y="1374"/>
                    </a:lnTo>
                    <a:lnTo>
                      <a:pt x="2484" y="1368"/>
                    </a:lnTo>
                    <a:lnTo>
                      <a:pt x="2476" y="1362"/>
                    </a:lnTo>
                    <a:lnTo>
                      <a:pt x="2470" y="1356"/>
                    </a:lnTo>
                    <a:lnTo>
                      <a:pt x="2466" y="1350"/>
                    </a:lnTo>
                    <a:lnTo>
                      <a:pt x="2458" y="1334"/>
                    </a:lnTo>
                    <a:lnTo>
                      <a:pt x="2454" y="1328"/>
                    </a:lnTo>
                    <a:lnTo>
                      <a:pt x="2448" y="1320"/>
                    </a:lnTo>
                    <a:lnTo>
                      <a:pt x="2448" y="1320"/>
                    </a:lnTo>
                    <a:lnTo>
                      <a:pt x="2444" y="1318"/>
                    </a:lnTo>
                    <a:lnTo>
                      <a:pt x="2438" y="1316"/>
                    </a:lnTo>
                    <a:lnTo>
                      <a:pt x="2428" y="1316"/>
                    </a:lnTo>
                    <a:lnTo>
                      <a:pt x="2426" y="1316"/>
                    </a:lnTo>
                    <a:lnTo>
                      <a:pt x="2428" y="1314"/>
                    </a:lnTo>
                    <a:lnTo>
                      <a:pt x="2444" y="1302"/>
                    </a:lnTo>
                    <a:lnTo>
                      <a:pt x="2444" y="1302"/>
                    </a:lnTo>
                    <a:lnTo>
                      <a:pt x="2450" y="1298"/>
                    </a:lnTo>
                    <a:lnTo>
                      <a:pt x="2452" y="1294"/>
                    </a:lnTo>
                    <a:lnTo>
                      <a:pt x="2452" y="1288"/>
                    </a:lnTo>
                    <a:lnTo>
                      <a:pt x="2452" y="1284"/>
                    </a:lnTo>
                    <a:lnTo>
                      <a:pt x="2448" y="1272"/>
                    </a:lnTo>
                    <a:lnTo>
                      <a:pt x="2440" y="1260"/>
                    </a:lnTo>
                    <a:lnTo>
                      <a:pt x="2440" y="1260"/>
                    </a:lnTo>
                    <a:lnTo>
                      <a:pt x="2436" y="1256"/>
                    </a:lnTo>
                    <a:lnTo>
                      <a:pt x="2432" y="1254"/>
                    </a:lnTo>
                    <a:lnTo>
                      <a:pt x="2426" y="1252"/>
                    </a:lnTo>
                    <a:lnTo>
                      <a:pt x="2422" y="1244"/>
                    </a:lnTo>
                    <a:lnTo>
                      <a:pt x="2422" y="1244"/>
                    </a:lnTo>
                    <a:lnTo>
                      <a:pt x="2418" y="1238"/>
                    </a:lnTo>
                    <a:lnTo>
                      <a:pt x="2416" y="1236"/>
                    </a:lnTo>
                    <a:lnTo>
                      <a:pt x="2414" y="1232"/>
                    </a:lnTo>
                    <a:lnTo>
                      <a:pt x="2410" y="1224"/>
                    </a:lnTo>
                    <a:lnTo>
                      <a:pt x="2410" y="1224"/>
                    </a:lnTo>
                    <a:lnTo>
                      <a:pt x="2404" y="1214"/>
                    </a:lnTo>
                    <a:lnTo>
                      <a:pt x="2404" y="1214"/>
                    </a:lnTo>
                    <a:lnTo>
                      <a:pt x="2402" y="1214"/>
                    </a:lnTo>
                    <a:lnTo>
                      <a:pt x="2402" y="1216"/>
                    </a:lnTo>
                    <a:lnTo>
                      <a:pt x="2396" y="1208"/>
                    </a:lnTo>
                    <a:lnTo>
                      <a:pt x="2396" y="1208"/>
                    </a:lnTo>
                    <a:lnTo>
                      <a:pt x="2394" y="1204"/>
                    </a:lnTo>
                    <a:lnTo>
                      <a:pt x="2392" y="1202"/>
                    </a:lnTo>
                    <a:lnTo>
                      <a:pt x="2388" y="1202"/>
                    </a:lnTo>
                    <a:lnTo>
                      <a:pt x="2384" y="1202"/>
                    </a:lnTo>
                    <a:lnTo>
                      <a:pt x="2382" y="1198"/>
                    </a:lnTo>
                    <a:lnTo>
                      <a:pt x="2378" y="1192"/>
                    </a:lnTo>
                    <a:lnTo>
                      <a:pt x="2372" y="1182"/>
                    </a:lnTo>
                    <a:lnTo>
                      <a:pt x="2372" y="1182"/>
                    </a:lnTo>
                    <a:lnTo>
                      <a:pt x="2366" y="1172"/>
                    </a:lnTo>
                    <a:lnTo>
                      <a:pt x="2362" y="1166"/>
                    </a:lnTo>
                    <a:lnTo>
                      <a:pt x="2358" y="1164"/>
                    </a:lnTo>
                    <a:lnTo>
                      <a:pt x="2356" y="1164"/>
                    </a:lnTo>
                    <a:lnTo>
                      <a:pt x="2354" y="1166"/>
                    </a:lnTo>
                    <a:lnTo>
                      <a:pt x="2352" y="1166"/>
                    </a:lnTo>
                    <a:lnTo>
                      <a:pt x="2348" y="1162"/>
                    </a:lnTo>
                    <a:lnTo>
                      <a:pt x="2344" y="1156"/>
                    </a:lnTo>
                    <a:lnTo>
                      <a:pt x="2344" y="1156"/>
                    </a:lnTo>
                    <a:lnTo>
                      <a:pt x="2340" y="1150"/>
                    </a:lnTo>
                    <a:lnTo>
                      <a:pt x="2338" y="1150"/>
                    </a:lnTo>
                    <a:lnTo>
                      <a:pt x="2334" y="1150"/>
                    </a:lnTo>
                    <a:lnTo>
                      <a:pt x="2332" y="1152"/>
                    </a:lnTo>
                    <a:lnTo>
                      <a:pt x="2330" y="1152"/>
                    </a:lnTo>
                    <a:lnTo>
                      <a:pt x="2326" y="1150"/>
                    </a:lnTo>
                    <a:lnTo>
                      <a:pt x="2322" y="1144"/>
                    </a:lnTo>
                    <a:lnTo>
                      <a:pt x="2316" y="1132"/>
                    </a:lnTo>
                    <a:lnTo>
                      <a:pt x="2316" y="1132"/>
                    </a:lnTo>
                    <a:lnTo>
                      <a:pt x="2312" y="1124"/>
                    </a:lnTo>
                    <a:lnTo>
                      <a:pt x="2310" y="1122"/>
                    </a:lnTo>
                    <a:lnTo>
                      <a:pt x="2308" y="1124"/>
                    </a:lnTo>
                    <a:lnTo>
                      <a:pt x="2308" y="1128"/>
                    </a:lnTo>
                    <a:lnTo>
                      <a:pt x="2308" y="1140"/>
                    </a:lnTo>
                    <a:lnTo>
                      <a:pt x="2308" y="1144"/>
                    </a:lnTo>
                    <a:lnTo>
                      <a:pt x="2306" y="1146"/>
                    </a:lnTo>
                    <a:lnTo>
                      <a:pt x="2306" y="1146"/>
                    </a:lnTo>
                    <a:lnTo>
                      <a:pt x="2304" y="1142"/>
                    </a:lnTo>
                    <a:lnTo>
                      <a:pt x="2300" y="1136"/>
                    </a:lnTo>
                    <a:lnTo>
                      <a:pt x="2298" y="1126"/>
                    </a:lnTo>
                    <a:lnTo>
                      <a:pt x="2290" y="1110"/>
                    </a:lnTo>
                    <a:lnTo>
                      <a:pt x="2290" y="1110"/>
                    </a:lnTo>
                    <a:lnTo>
                      <a:pt x="2286" y="1100"/>
                    </a:lnTo>
                    <a:lnTo>
                      <a:pt x="2284" y="1086"/>
                    </a:lnTo>
                    <a:lnTo>
                      <a:pt x="2280" y="1058"/>
                    </a:lnTo>
                    <a:lnTo>
                      <a:pt x="2276" y="1042"/>
                    </a:lnTo>
                    <a:lnTo>
                      <a:pt x="2272" y="1026"/>
                    </a:lnTo>
                    <a:lnTo>
                      <a:pt x="2268" y="1012"/>
                    </a:lnTo>
                    <a:lnTo>
                      <a:pt x="2260" y="998"/>
                    </a:lnTo>
                    <a:lnTo>
                      <a:pt x="2260" y="998"/>
                    </a:lnTo>
                    <a:lnTo>
                      <a:pt x="2252" y="988"/>
                    </a:lnTo>
                    <a:lnTo>
                      <a:pt x="2248" y="984"/>
                    </a:lnTo>
                    <a:lnTo>
                      <a:pt x="2244" y="986"/>
                    </a:lnTo>
                    <a:lnTo>
                      <a:pt x="2244" y="986"/>
                    </a:lnTo>
                    <a:lnTo>
                      <a:pt x="2242" y="986"/>
                    </a:lnTo>
                    <a:lnTo>
                      <a:pt x="2240" y="984"/>
                    </a:lnTo>
                    <a:lnTo>
                      <a:pt x="2236" y="976"/>
                    </a:lnTo>
                    <a:lnTo>
                      <a:pt x="2230" y="968"/>
                    </a:lnTo>
                    <a:lnTo>
                      <a:pt x="2226" y="966"/>
                    </a:lnTo>
                    <a:lnTo>
                      <a:pt x="2222" y="966"/>
                    </a:lnTo>
                    <a:lnTo>
                      <a:pt x="2222" y="966"/>
                    </a:lnTo>
                    <a:lnTo>
                      <a:pt x="2220" y="966"/>
                    </a:lnTo>
                    <a:lnTo>
                      <a:pt x="2218" y="964"/>
                    </a:lnTo>
                    <a:lnTo>
                      <a:pt x="2212" y="956"/>
                    </a:lnTo>
                    <a:lnTo>
                      <a:pt x="2208" y="944"/>
                    </a:lnTo>
                    <a:lnTo>
                      <a:pt x="2206" y="928"/>
                    </a:lnTo>
                    <a:lnTo>
                      <a:pt x="2202" y="900"/>
                    </a:lnTo>
                    <a:lnTo>
                      <a:pt x="2200" y="890"/>
                    </a:lnTo>
                    <a:lnTo>
                      <a:pt x="2202" y="884"/>
                    </a:lnTo>
                    <a:lnTo>
                      <a:pt x="2202" y="884"/>
                    </a:lnTo>
                    <a:lnTo>
                      <a:pt x="2204" y="876"/>
                    </a:lnTo>
                    <a:lnTo>
                      <a:pt x="2204" y="870"/>
                    </a:lnTo>
                    <a:lnTo>
                      <a:pt x="2200" y="858"/>
                    </a:lnTo>
                    <a:lnTo>
                      <a:pt x="2198" y="850"/>
                    </a:lnTo>
                    <a:lnTo>
                      <a:pt x="2200" y="848"/>
                    </a:lnTo>
                    <a:lnTo>
                      <a:pt x="2204" y="850"/>
                    </a:lnTo>
                    <a:lnTo>
                      <a:pt x="2204" y="850"/>
                    </a:lnTo>
                    <a:lnTo>
                      <a:pt x="2208" y="850"/>
                    </a:lnTo>
                    <a:lnTo>
                      <a:pt x="2210" y="848"/>
                    </a:lnTo>
                    <a:lnTo>
                      <a:pt x="2204" y="842"/>
                    </a:lnTo>
                    <a:lnTo>
                      <a:pt x="2198" y="826"/>
                    </a:lnTo>
                    <a:lnTo>
                      <a:pt x="2194" y="816"/>
                    </a:lnTo>
                    <a:lnTo>
                      <a:pt x="2192" y="802"/>
                    </a:lnTo>
                    <a:lnTo>
                      <a:pt x="2192" y="802"/>
                    </a:lnTo>
                    <a:lnTo>
                      <a:pt x="2190" y="794"/>
                    </a:lnTo>
                    <a:lnTo>
                      <a:pt x="2188" y="790"/>
                    </a:lnTo>
                    <a:lnTo>
                      <a:pt x="2184" y="786"/>
                    </a:lnTo>
                    <a:lnTo>
                      <a:pt x="2176" y="784"/>
                    </a:lnTo>
                    <a:lnTo>
                      <a:pt x="2176" y="784"/>
                    </a:lnTo>
                    <a:lnTo>
                      <a:pt x="2174" y="782"/>
                    </a:lnTo>
                    <a:lnTo>
                      <a:pt x="2170" y="780"/>
                    </a:lnTo>
                    <a:lnTo>
                      <a:pt x="2166" y="772"/>
                    </a:lnTo>
                    <a:lnTo>
                      <a:pt x="2162" y="766"/>
                    </a:lnTo>
                    <a:lnTo>
                      <a:pt x="2160" y="764"/>
                    </a:lnTo>
                    <a:lnTo>
                      <a:pt x="2154" y="764"/>
                    </a:lnTo>
                    <a:lnTo>
                      <a:pt x="2154" y="764"/>
                    </a:lnTo>
                    <a:lnTo>
                      <a:pt x="2150" y="762"/>
                    </a:lnTo>
                    <a:lnTo>
                      <a:pt x="2146" y="758"/>
                    </a:lnTo>
                    <a:lnTo>
                      <a:pt x="2138" y="746"/>
                    </a:lnTo>
                    <a:lnTo>
                      <a:pt x="2138" y="746"/>
                    </a:lnTo>
                    <a:lnTo>
                      <a:pt x="2134" y="752"/>
                    </a:lnTo>
                    <a:lnTo>
                      <a:pt x="2134" y="752"/>
                    </a:lnTo>
                    <a:lnTo>
                      <a:pt x="2138" y="746"/>
                    </a:lnTo>
                    <a:lnTo>
                      <a:pt x="2138" y="746"/>
                    </a:lnTo>
                    <a:lnTo>
                      <a:pt x="2134" y="732"/>
                    </a:lnTo>
                    <a:lnTo>
                      <a:pt x="2132" y="716"/>
                    </a:lnTo>
                    <a:lnTo>
                      <a:pt x="2132" y="710"/>
                    </a:lnTo>
                    <a:lnTo>
                      <a:pt x="2134" y="706"/>
                    </a:lnTo>
                    <a:lnTo>
                      <a:pt x="2136" y="702"/>
                    </a:lnTo>
                    <a:lnTo>
                      <a:pt x="2142" y="702"/>
                    </a:lnTo>
                    <a:lnTo>
                      <a:pt x="2142" y="702"/>
                    </a:lnTo>
                    <a:lnTo>
                      <a:pt x="2144" y="702"/>
                    </a:lnTo>
                    <a:lnTo>
                      <a:pt x="2138" y="698"/>
                    </a:lnTo>
                    <a:lnTo>
                      <a:pt x="2134" y="692"/>
                    </a:lnTo>
                    <a:lnTo>
                      <a:pt x="2128" y="684"/>
                    </a:lnTo>
                    <a:lnTo>
                      <a:pt x="2120" y="674"/>
                    </a:lnTo>
                    <a:lnTo>
                      <a:pt x="2116" y="662"/>
                    </a:lnTo>
                    <a:lnTo>
                      <a:pt x="2116" y="662"/>
                    </a:lnTo>
                    <a:lnTo>
                      <a:pt x="2108" y="642"/>
                    </a:lnTo>
                    <a:lnTo>
                      <a:pt x="2098" y="624"/>
                    </a:lnTo>
                    <a:lnTo>
                      <a:pt x="2082" y="594"/>
                    </a:lnTo>
                    <a:lnTo>
                      <a:pt x="2072" y="572"/>
                    </a:lnTo>
                    <a:lnTo>
                      <a:pt x="2070" y="564"/>
                    </a:lnTo>
                    <a:lnTo>
                      <a:pt x="2070" y="556"/>
                    </a:lnTo>
                    <a:lnTo>
                      <a:pt x="2070" y="556"/>
                    </a:lnTo>
                    <a:lnTo>
                      <a:pt x="2070" y="550"/>
                    </a:lnTo>
                    <a:lnTo>
                      <a:pt x="2070" y="544"/>
                    </a:lnTo>
                    <a:lnTo>
                      <a:pt x="2064" y="534"/>
                    </a:lnTo>
                    <a:lnTo>
                      <a:pt x="2058" y="526"/>
                    </a:lnTo>
                    <a:lnTo>
                      <a:pt x="2056" y="520"/>
                    </a:lnTo>
                    <a:lnTo>
                      <a:pt x="2056" y="512"/>
                    </a:lnTo>
                    <a:lnTo>
                      <a:pt x="2056" y="512"/>
                    </a:lnTo>
                    <a:lnTo>
                      <a:pt x="2054" y="504"/>
                    </a:lnTo>
                    <a:lnTo>
                      <a:pt x="2050" y="494"/>
                    </a:lnTo>
                    <a:lnTo>
                      <a:pt x="2036" y="474"/>
                    </a:lnTo>
                    <a:lnTo>
                      <a:pt x="2022" y="452"/>
                    </a:lnTo>
                    <a:lnTo>
                      <a:pt x="2018" y="442"/>
                    </a:lnTo>
                    <a:lnTo>
                      <a:pt x="2016" y="434"/>
                    </a:lnTo>
                    <a:lnTo>
                      <a:pt x="2016" y="434"/>
                    </a:lnTo>
                    <a:lnTo>
                      <a:pt x="2016" y="426"/>
                    </a:lnTo>
                    <a:lnTo>
                      <a:pt x="2014" y="422"/>
                    </a:lnTo>
                    <a:lnTo>
                      <a:pt x="2010" y="416"/>
                    </a:lnTo>
                    <a:lnTo>
                      <a:pt x="2008" y="412"/>
                    </a:lnTo>
                    <a:lnTo>
                      <a:pt x="2008" y="408"/>
                    </a:lnTo>
                    <a:lnTo>
                      <a:pt x="2010" y="402"/>
                    </a:lnTo>
                    <a:lnTo>
                      <a:pt x="2014" y="394"/>
                    </a:lnTo>
                    <a:lnTo>
                      <a:pt x="2000" y="332"/>
                    </a:lnTo>
                    <a:lnTo>
                      <a:pt x="2000" y="332"/>
                    </a:lnTo>
                    <a:lnTo>
                      <a:pt x="1998" y="332"/>
                    </a:lnTo>
                    <a:lnTo>
                      <a:pt x="1996" y="328"/>
                    </a:lnTo>
                    <a:lnTo>
                      <a:pt x="1996" y="328"/>
                    </a:lnTo>
                    <a:lnTo>
                      <a:pt x="1992" y="326"/>
                    </a:lnTo>
                    <a:lnTo>
                      <a:pt x="1990" y="326"/>
                    </a:lnTo>
                    <a:lnTo>
                      <a:pt x="1986" y="326"/>
                    </a:lnTo>
                    <a:lnTo>
                      <a:pt x="1984" y="324"/>
                    </a:lnTo>
                    <a:lnTo>
                      <a:pt x="1984" y="324"/>
                    </a:lnTo>
                    <a:lnTo>
                      <a:pt x="1984" y="322"/>
                    </a:lnTo>
                    <a:lnTo>
                      <a:pt x="1984" y="320"/>
                    </a:lnTo>
                    <a:lnTo>
                      <a:pt x="1986" y="318"/>
                    </a:lnTo>
                    <a:lnTo>
                      <a:pt x="1988" y="316"/>
                    </a:lnTo>
                    <a:lnTo>
                      <a:pt x="1988" y="316"/>
                    </a:lnTo>
                    <a:lnTo>
                      <a:pt x="1990" y="314"/>
                    </a:lnTo>
                    <a:lnTo>
                      <a:pt x="1992" y="316"/>
                    </a:lnTo>
                    <a:lnTo>
                      <a:pt x="1998" y="320"/>
                    </a:lnTo>
                    <a:lnTo>
                      <a:pt x="1996" y="316"/>
                    </a:lnTo>
                    <a:lnTo>
                      <a:pt x="1996" y="316"/>
                    </a:lnTo>
                    <a:lnTo>
                      <a:pt x="1990" y="310"/>
                    </a:lnTo>
                    <a:lnTo>
                      <a:pt x="1990" y="310"/>
                    </a:lnTo>
                    <a:lnTo>
                      <a:pt x="1988" y="308"/>
                    </a:lnTo>
                    <a:lnTo>
                      <a:pt x="1986" y="308"/>
                    </a:lnTo>
                    <a:lnTo>
                      <a:pt x="1980" y="312"/>
                    </a:lnTo>
                    <a:lnTo>
                      <a:pt x="1980" y="312"/>
                    </a:lnTo>
                    <a:lnTo>
                      <a:pt x="1976" y="314"/>
                    </a:lnTo>
                    <a:lnTo>
                      <a:pt x="1974" y="314"/>
                    </a:lnTo>
                    <a:lnTo>
                      <a:pt x="1966" y="310"/>
                    </a:lnTo>
                    <a:lnTo>
                      <a:pt x="1958" y="306"/>
                    </a:lnTo>
                    <a:lnTo>
                      <a:pt x="1954" y="306"/>
                    </a:lnTo>
                    <a:lnTo>
                      <a:pt x="1948" y="308"/>
                    </a:lnTo>
                    <a:lnTo>
                      <a:pt x="1948" y="308"/>
                    </a:lnTo>
                    <a:lnTo>
                      <a:pt x="1938" y="312"/>
                    </a:lnTo>
                    <a:lnTo>
                      <a:pt x="1932" y="312"/>
                    </a:lnTo>
                    <a:lnTo>
                      <a:pt x="1928" y="312"/>
                    </a:lnTo>
                    <a:lnTo>
                      <a:pt x="1922" y="318"/>
                    </a:lnTo>
                    <a:lnTo>
                      <a:pt x="1922" y="318"/>
                    </a:lnTo>
                    <a:lnTo>
                      <a:pt x="1920" y="320"/>
                    </a:lnTo>
                    <a:lnTo>
                      <a:pt x="1916" y="322"/>
                    </a:lnTo>
                    <a:lnTo>
                      <a:pt x="1908" y="326"/>
                    </a:lnTo>
                    <a:lnTo>
                      <a:pt x="1892" y="340"/>
                    </a:lnTo>
                    <a:lnTo>
                      <a:pt x="1892" y="340"/>
                    </a:lnTo>
                    <a:lnTo>
                      <a:pt x="1886" y="346"/>
                    </a:lnTo>
                    <a:lnTo>
                      <a:pt x="1880" y="346"/>
                    </a:lnTo>
                    <a:lnTo>
                      <a:pt x="1874" y="346"/>
                    </a:lnTo>
                    <a:lnTo>
                      <a:pt x="1866" y="344"/>
                    </a:lnTo>
                    <a:lnTo>
                      <a:pt x="1854" y="336"/>
                    </a:lnTo>
                    <a:lnTo>
                      <a:pt x="1848" y="334"/>
                    </a:lnTo>
                    <a:lnTo>
                      <a:pt x="1844" y="334"/>
                    </a:lnTo>
                    <a:lnTo>
                      <a:pt x="1844" y="334"/>
                    </a:lnTo>
                    <a:lnTo>
                      <a:pt x="1836" y="332"/>
                    </a:lnTo>
                    <a:lnTo>
                      <a:pt x="1830" y="330"/>
                    </a:lnTo>
                    <a:lnTo>
                      <a:pt x="1826" y="326"/>
                    </a:lnTo>
                    <a:lnTo>
                      <a:pt x="1822" y="326"/>
                    </a:lnTo>
                    <a:lnTo>
                      <a:pt x="1818" y="326"/>
                    </a:lnTo>
                    <a:lnTo>
                      <a:pt x="1818" y="326"/>
                    </a:lnTo>
                    <a:lnTo>
                      <a:pt x="1812" y="326"/>
                    </a:lnTo>
                    <a:lnTo>
                      <a:pt x="1812" y="324"/>
                    </a:lnTo>
                    <a:lnTo>
                      <a:pt x="1808" y="322"/>
                    </a:lnTo>
                    <a:lnTo>
                      <a:pt x="1804" y="318"/>
                    </a:lnTo>
                    <a:lnTo>
                      <a:pt x="1794" y="314"/>
                    </a:lnTo>
                    <a:lnTo>
                      <a:pt x="1778" y="310"/>
                    </a:lnTo>
                    <a:lnTo>
                      <a:pt x="1778" y="310"/>
                    </a:lnTo>
                    <a:lnTo>
                      <a:pt x="1762" y="308"/>
                    </a:lnTo>
                    <a:lnTo>
                      <a:pt x="1750" y="306"/>
                    </a:lnTo>
                    <a:lnTo>
                      <a:pt x="1734" y="308"/>
                    </a:lnTo>
                    <a:lnTo>
                      <a:pt x="1724" y="310"/>
                    </a:lnTo>
                    <a:lnTo>
                      <a:pt x="1718" y="310"/>
                    </a:lnTo>
                    <a:lnTo>
                      <a:pt x="1718" y="310"/>
                    </a:lnTo>
                    <a:lnTo>
                      <a:pt x="1718" y="308"/>
                    </a:lnTo>
                    <a:lnTo>
                      <a:pt x="1718" y="308"/>
                    </a:lnTo>
                    <a:lnTo>
                      <a:pt x="1716" y="302"/>
                    </a:lnTo>
                    <a:lnTo>
                      <a:pt x="1714" y="292"/>
                    </a:lnTo>
                    <a:lnTo>
                      <a:pt x="1710" y="288"/>
                    </a:lnTo>
                    <a:lnTo>
                      <a:pt x="1706" y="286"/>
                    </a:lnTo>
                    <a:lnTo>
                      <a:pt x="1700" y="284"/>
                    </a:lnTo>
                    <a:lnTo>
                      <a:pt x="1692" y="284"/>
                    </a:lnTo>
                    <a:lnTo>
                      <a:pt x="1692" y="284"/>
                    </a:lnTo>
                    <a:lnTo>
                      <a:pt x="1678" y="284"/>
                    </a:lnTo>
                    <a:lnTo>
                      <a:pt x="1672" y="282"/>
                    </a:lnTo>
                    <a:lnTo>
                      <a:pt x="1666" y="280"/>
                    </a:lnTo>
                    <a:lnTo>
                      <a:pt x="1654" y="278"/>
                    </a:lnTo>
                    <a:lnTo>
                      <a:pt x="1654" y="278"/>
                    </a:lnTo>
                    <a:lnTo>
                      <a:pt x="1648" y="276"/>
                    </a:lnTo>
                    <a:lnTo>
                      <a:pt x="1644" y="274"/>
                    </a:lnTo>
                    <a:lnTo>
                      <a:pt x="1640" y="266"/>
                    </a:lnTo>
                    <a:lnTo>
                      <a:pt x="1638" y="262"/>
                    </a:lnTo>
                    <a:lnTo>
                      <a:pt x="1632" y="256"/>
                    </a:lnTo>
                    <a:lnTo>
                      <a:pt x="1624" y="250"/>
                    </a:lnTo>
                    <a:lnTo>
                      <a:pt x="1612" y="242"/>
                    </a:lnTo>
                    <a:lnTo>
                      <a:pt x="1612" y="242"/>
                    </a:lnTo>
                    <a:lnTo>
                      <a:pt x="1596" y="236"/>
                    </a:lnTo>
                    <a:lnTo>
                      <a:pt x="1584" y="236"/>
                    </a:lnTo>
                    <a:lnTo>
                      <a:pt x="1574" y="238"/>
                    </a:lnTo>
                    <a:lnTo>
                      <a:pt x="1568" y="242"/>
                    </a:lnTo>
                    <a:lnTo>
                      <a:pt x="1568" y="242"/>
                    </a:lnTo>
                    <a:lnTo>
                      <a:pt x="1564" y="244"/>
                    </a:lnTo>
                    <a:lnTo>
                      <a:pt x="1560" y="246"/>
                    </a:lnTo>
                    <a:lnTo>
                      <a:pt x="1550" y="246"/>
                    </a:lnTo>
                    <a:lnTo>
                      <a:pt x="1544" y="248"/>
                    </a:lnTo>
                    <a:lnTo>
                      <a:pt x="1536" y="252"/>
                    </a:lnTo>
                    <a:lnTo>
                      <a:pt x="1528" y="260"/>
                    </a:lnTo>
                    <a:lnTo>
                      <a:pt x="1516" y="274"/>
                    </a:lnTo>
                    <a:lnTo>
                      <a:pt x="1516" y="274"/>
                    </a:lnTo>
                    <a:lnTo>
                      <a:pt x="1510" y="284"/>
                    </a:lnTo>
                    <a:lnTo>
                      <a:pt x="1508" y="292"/>
                    </a:lnTo>
                    <a:lnTo>
                      <a:pt x="1508" y="302"/>
                    </a:lnTo>
                    <a:lnTo>
                      <a:pt x="1510" y="314"/>
                    </a:lnTo>
                    <a:lnTo>
                      <a:pt x="1512" y="324"/>
                    </a:lnTo>
                    <a:lnTo>
                      <a:pt x="1514" y="334"/>
                    </a:lnTo>
                    <a:lnTo>
                      <a:pt x="1512" y="344"/>
                    </a:lnTo>
                    <a:lnTo>
                      <a:pt x="1506" y="354"/>
                    </a:lnTo>
                    <a:lnTo>
                      <a:pt x="1506" y="354"/>
                    </a:lnTo>
                    <a:lnTo>
                      <a:pt x="1498" y="362"/>
                    </a:lnTo>
                    <a:lnTo>
                      <a:pt x="1492" y="368"/>
                    </a:lnTo>
                    <a:lnTo>
                      <a:pt x="1484" y="374"/>
                    </a:lnTo>
                    <a:lnTo>
                      <a:pt x="1478" y="376"/>
                    </a:lnTo>
                    <a:lnTo>
                      <a:pt x="1470" y="376"/>
                    </a:lnTo>
                    <a:lnTo>
                      <a:pt x="1464" y="374"/>
                    </a:lnTo>
                    <a:lnTo>
                      <a:pt x="1458" y="368"/>
                    </a:lnTo>
                    <a:lnTo>
                      <a:pt x="1452" y="362"/>
                    </a:lnTo>
                    <a:lnTo>
                      <a:pt x="1452" y="362"/>
                    </a:lnTo>
                    <a:lnTo>
                      <a:pt x="1446" y="356"/>
                    </a:lnTo>
                    <a:lnTo>
                      <a:pt x="1438" y="350"/>
                    </a:lnTo>
                    <a:lnTo>
                      <a:pt x="1418" y="338"/>
                    </a:lnTo>
                    <a:lnTo>
                      <a:pt x="1398" y="330"/>
                    </a:lnTo>
                    <a:lnTo>
                      <a:pt x="1376" y="328"/>
                    </a:lnTo>
                    <a:lnTo>
                      <a:pt x="1376" y="328"/>
                    </a:lnTo>
                    <a:lnTo>
                      <a:pt x="1358" y="326"/>
                    </a:lnTo>
                    <a:lnTo>
                      <a:pt x="1350" y="324"/>
                    </a:lnTo>
                    <a:lnTo>
                      <a:pt x="1344" y="320"/>
                    </a:lnTo>
                    <a:lnTo>
                      <a:pt x="1338" y="316"/>
                    </a:lnTo>
                    <a:lnTo>
                      <a:pt x="1334" y="310"/>
                    </a:lnTo>
                    <a:lnTo>
                      <a:pt x="1330" y="300"/>
                    </a:lnTo>
                    <a:lnTo>
                      <a:pt x="1326" y="288"/>
                    </a:lnTo>
                    <a:lnTo>
                      <a:pt x="1326" y="288"/>
                    </a:lnTo>
                    <a:lnTo>
                      <a:pt x="1324" y="276"/>
                    </a:lnTo>
                    <a:lnTo>
                      <a:pt x="1320" y="268"/>
                    </a:lnTo>
                    <a:lnTo>
                      <a:pt x="1314" y="262"/>
                    </a:lnTo>
                    <a:lnTo>
                      <a:pt x="1306" y="260"/>
                    </a:lnTo>
                    <a:lnTo>
                      <a:pt x="1294" y="258"/>
                    </a:lnTo>
                    <a:lnTo>
                      <a:pt x="1288" y="256"/>
                    </a:lnTo>
                    <a:lnTo>
                      <a:pt x="1284" y="254"/>
                    </a:lnTo>
                    <a:lnTo>
                      <a:pt x="1284" y="254"/>
                    </a:lnTo>
                    <a:lnTo>
                      <a:pt x="1272" y="248"/>
                    </a:lnTo>
                    <a:lnTo>
                      <a:pt x="1256" y="242"/>
                    </a:lnTo>
                    <a:lnTo>
                      <a:pt x="1238" y="240"/>
                    </a:lnTo>
                    <a:lnTo>
                      <a:pt x="1230" y="240"/>
                    </a:lnTo>
                    <a:lnTo>
                      <a:pt x="1224" y="240"/>
                    </a:lnTo>
                    <a:lnTo>
                      <a:pt x="1224" y="240"/>
                    </a:lnTo>
                    <a:lnTo>
                      <a:pt x="1216" y="242"/>
                    </a:lnTo>
                    <a:lnTo>
                      <a:pt x="1210" y="242"/>
                    </a:lnTo>
                    <a:lnTo>
                      <a:pt x="1196" y="236"/>
                    </a:lnTo>
                    <a:lnTo>
                      <a:pt x="1182" y="230"/>
                    </a:lnTo>
                    <a:lnTo>
                      <a:pt x="1172" y="224"/>
                    </a:lnTo>
                    <a:lnTo>
                      <a:pt x="1172" y="224"/>
                    </a:lnTo>
                    <a:lnTo>
                      <a:pt x="1160" y="218"/>
                    </a:lnTo>
                    <a:lnTo>
                      <a:pt x="1156" y="214"/>
                    </a:lnTo>
                    <a:lnTo>
                      <a:pt x="1154" y="206"/>
                    </a:lnTo>
                    <a:lnTo>
                      <a:pt x="1154" y="206"/>
                    </a:lnTo>
                    <a:lnTo>
                      <a:pt x="1152" y="198"/>
                    </a:lnTo>
                    <a:lnTo>
                      <a:pt x="1150" y="198"/>
                    </a:lnTo>
                    <a:lnTo>
                      <a:pt x="1148" y="198"/>
                    </a:lnTo>
                    <a:lnTo>
                      <a:pt x="1144" y="200"/>
                    </a:lnTo>
                    <a:lnTo>
                      <a:pt x="1142" y="200"/>
                    </a:lnTo>
                    <a:lnTo>
                      <a:pt x="1140" y="198"/>
                    </a:lnTo>
                    <a:lnTo>
                      <a:pt x="1140" y="198"/>
                    </a:lnTo>
                    <a:lnTo>
                      <a:pt x="1132" y="196"/>
                    </a:lnTo>
                    <a:lnTo>
                      <a:pt x="1124" y="194"/>
                    </a:lnTo>
                    <a:lnTo>
                      <a:pt x="1118" y="194"/>
                    </a:lnTo>
                    <a:lnTo>
                      <a:pt x="1114" y="190"/>
                    </a:lnTo>
                    <a:lnTo>
                      <a:pt x="1110" y="184"/>
                    </a:lnTo>
                    <a:lnTo>
                      <a:pt x="1108" y="176"/>
                    </a:lnTo>
                    <a:lnTo>
                      <a:pt x="1108" y="176"/>
                    </a:lnTo>
                    <a:lnTo>
                      <a:pt x="1110" y="170"/>
                    </a:lnTo>
                    <a:lnTo>
                      <a:pt x="1116" y="162"/>
                    </a:lnTo>
                    <a:lnTo>
                      <a:pt x="1134" y="144"/>
                    </a:lnTo>
                    <a:lnTo>
                      <a:pt x="1142" y="134"/>
                    </a:lnTo>
                    <a:lnTo>
                      <a:pt x="1150" y="124"/>
                    </a:lnTo>
                    <a:lnTo>
                      <a:pt x="1154" y="116"/>
                    </a:lnTo>
                    <a:lnTo>
                      <a:pt x="1154" y="114"/>
                    </a:lnTo>
                    <a:lnTo>
                      <a:pt x="1152" y="110"/>
                    </a:lnTo>
                    <a:lnTo>
                      <a:pt x="1152" y="110"/>
                    </a:lnTo>
                    <a:lnTo>
                      <a:pt x="1150" y="106"/>
                    </a:lnTo>
                    <a:lnTo>
                      <a:pt x="1148" y="102"/>
                    </a:lnTo>
                    <a:lnTo>
                      <a:pt x="1148" y="96"/>
                    </a:lnTo>
                    <a:lnTo>
                      <a:pt x="1148" y="92"/>
                    </a:lnTo>
                    <a:lnTo>
                      <a:pt x="1146" y="90"/>
                    </a:lnTo>
                    <a:lnTo>
                      <a:pt x="1142" y="86"/>
                    </a:lnTo>
                    <a:lnTo>
                      <a:pt x="1136" y="82"/>
                    </a:lnTo>
                    <a:lnTo>
                      <a:pt x="1136" y="82"/>
                    </a:lnTo>
                    <a:lnTo>
                      <a:pt x="1132" y="78"/>
                    </a:lnTo>
                    <a:lnTo>
                      <a:pt x="1128" y="74"/>
                    </a:lnTo>
                    <a:lnTo>
                      <a:pt x="1124" y="64"/>
                    </a:lnTo>
                    <a:lnTo>
                      <a:pt x="1124" y="60"/>
                    </a:lnTo>
                    <a:lnTo>
                      <a:pt x="1124" y="56"/>
                    </a:lnTo>
                    <a:lnTo>
                      <a:pt x="1126" y="52"/>
                    </a:lnTo>
                    <a:lnTo>
                      <a:pt x="1130" y="50"/>
                    </a:lnTo>
                    <a:lnTo>
                      <a:pt x="1130" y="50"/>
                    </a:lnTo>
                    <a:lnTo>
                      <a:pt x="1140" y="42"/>
                    </a:lnTo>
                    <a:lnTo>
                      <a:pt x="1148" y="34"/>
                    </a:lnTo>
                    <a:lnTo>
                      <a:pt x="1152" y="26"/>
                    </a:lnTo>
                    <a:lnTo>
                      <a:pt x="1152" y="20"/>
                    </a:lnTo>
                    <a:lnTo>
                      <a:pt x="1152" y="16"/>
                    </a:lnTo>
                    <a:lnTo>
                      <a:pt x="1152" y="16"/>
                    </a:lnTo>
                    <a:lnTo>
                      <a:pt x="1148" y="14"/>
                    </a:lnTo>
                    <a:lnTo>
                      <a:pt x="1146" y="16"/>
                    </a:lnTo>
                    <a:lnTo>
                      <a:pt x="1136" y="22"/>
                    </a:lnTo>
                    <a:lnTo>
                      <a:pt x="1128" y="30"/>
                    </a:lnTo>
                    <a:lnTo>
                      <a:pt x="1124" y="32"/>
                    </a:lnTo>
                    <a:lnTo>
                      <a:pt x="1122" y="32"/>
                    </a:lnTo>
                    <a:lnTo>
                      <a:pt x="1122" y="32"/>
                    </a:lnTo>
                    <a:lnTo>
                      <a:pt x="1120" y="30"/>
                    </a:lnTo>
                    <a:lnTo>
                      <a:pt x="1118" y="26"/>
                    </a:lnTo>
                    <a:lnTo>
                      <a:pt x="1118" y="18"/>
                    </a:lnTo>
                    <a:lnTo>
                      <a:pt x="1116" y="10"/>
                    </a:lnTo>
                    <a:lnTo>
                      <a:pt x="1112" y="6"/>
                    </a:lnTo>
                    <a:lnTo>
                      <a:pt x="1108" y="4"/>
                    </a:lnTo>
                    <a:lnTo>
                      <a:pt x="1108" y="4"/>
                    </a:lnTo>
                    <a:lnTo>
                      <a:pt x="1096" y="0"/>
                    </a:lnTo>
                    <a:lnTo>
                      <a:pt x="1088" y="2"/>
                    </a:lnTo>
                    <a:lnTo>
                      <a:pt x="1080" y="4"/>
                    </a:lnTo>
                    <a:lnTo>
                      <a:pt x="1074" y="6"/>
                    </a:lnTo>
                    <a:lnTo>
                      <a:pt x="1064" y="16"/>
                    </a:lnTo>
                    <a:lnTo>
                      <a:pt x="1058" y="22"/>
                    </a:lnTo>
                    <a:lnTo>
                      <a:pt x="1058" y="22"/>
                    </a:lnTo>
                    <a:lnTo>
                      <a:pt x="1052" y="22"/>
                    </a:lnTo>
                    <a:lnTo>
                      <a:pt x="1052" y="22"/>
                    </a:lnTo>
                    <a:lnTo>
                      <a:pt x="1040" y="22"/>
                    </a:lnTo>
                    <a:lnTo>
                      <a:pt x="1034" y="22"/>
                    </a:lnTo>
                    <a:lnTo>
                      <a:pt x="1026" y="24"/>
                    </a:lnTo>
                    <a:lnTo>
                      <a:pt x="1026" y="24"/>
                    </a:lnTo>
                    <a:lnTo>
                      <a:pt x="1022" y="28"/>
                    </a:lnTo>
                    <a:lnTo>
                      <a:pt x="1018" y="24"/>
                    </a:lnTo>
                    <a:lnTo>
                      <a:pt x="1014" y="20"/>
                    </a:lnTo>
                    <a:lnTo>
                      <a:pt x="1006" y="14"/>
                    </a:lnTo>
                    <a:lnTo>
                      <a:pt x="1006" y="14"/>
                    </a:lnTo>
                    <a:lnTo>
                      <a:pt x="1002" y="12"/>
                    </a:lnTo>
                    <a:lnTo>
                      <a:pt x="998" y="14"/>
                    </a:lnTo>
                    <a:lnTo>
                      <a:pt x="994" y="18"/>
                    </a:lnTo>
                    <a:lnTo>
                      <a:pt x="992" y="20"/>
                    </a:lnTo>
                    <a:lnTo>
                      <a:pt x="988" y="22"/>
                    </a:lnTo>
                    <a:lnTo>
                      <a:pt x="984" y="22"/>
                    </a:lnTo>
                    <a:lnTo>
                      <a:pt x="978" y="20"/>
                    </a:lnTo>
                    <a:lnTo>
                      <a:pt x="978" y="20"/>
                    </a:lnTo>
                    <a:lnTo>
                      <a:pt x="966" y="16"/>
                    </a:lnTo>
                    <a:lnTo>
                      <a:pt x="962" y="16"/>
                    </a:lnTo>
                    <a:lnTo>
                      <a:pt x="960" y="18"/>
                    </a:lnTo>
                    <a:lnTo>
                      <a:pt x="954" y="22"/>
                    </a:lnTo>
                    <a:lnTo>
                      <a:pt x="942" y="26"/>
                    </a:lnTo>
                    <a:lnTo>
                      <a:pt x="942" y="26"/>
                    </a:lnTo>
                    <a:lnTo>
                      <a:pt x="936" y="28"/>
                    </a:lnTo>
                    <a:lnTo>
                      <a:pt x="930" y="30"/>
                    </a:lnTo>
                    <a:lnTo>
                      <a:pt x="924" y="36"/>
                    </a:lnTo>
                    <a:lnTo>
                      <a:pt x="920" y="38"/>
                    </a:lnTo>
                    <a:lnTo>
                      <a:pt x="918" y="38"/>
                    </a:lnTo>
                    <a:lnTo>
                      <a:pt x="914" y="36"/>
                    </a:lnTo>
                    <a:lnTo>
                      <a:pt x="910" y="32"/>
                    </a:lnTo>
                    <a:lnTo>
                      <a:pt x="910" y="32"/>
                    </a:lnTo>
                    <a:lnTo>
                      <a:pt x="906" y="28"/>
                    </a:lnTo>
                    <a:lnTo>
                      <a:pt x="900" y="26"/>
                    </a:lnTo>
                    <a:lnTo>
                      <a:pt x="886" y="22"/>
                    </a:lnTo>
                    <a:lnTo>
                      <a:pt x="870" y="24"/>
                    </a:lnTo>
                    <a:lnTo>
                      <a:pt x="854" y="26"/>
                    </a:lnTo>
                    <a:lnTo>
                      <a:pt x="854" y="26"/>
                    </a:lnTo>
                    <a:lnTo>
                      <a:pt x="848" y="28"/>
                    </a:lnTo>
                    <a:lnTo>
                      <a:pt x="842" y="28"/>
                    </a:lnTo>
                    <a:lnTo>
                      <a:pt x="832" y="28"/>
                    </a:lnTo>
                    <a:lnTo>
                      <a:pt x="822" y="28"/>
                    </a:lnTo>
                    <a:lnTo>
                      <a:pt x="820" y="30"/>
                    </a:lnTo>
                    <a:lnTo>
                      <a:pt x="816" y="32"/>
                    </a:lnTo>
                    <a:lnTo>
                      <a:pt x="816" y="32"/>
                    </a:lnTo>
                    <a:lnTo>
                      <a:pt x="812" y="38"/>
                    </a:lnTo>
                    <a:lnTo>
                      <a:pt x="804" y="40"/>
                    </a:lnTo>
                    <a:lnTo>
                      <a:pt x="776" y="42"/>
                    </a:lnTo>
                    <a:lnTo>
                      <a:pt x="776" y="42"/>
                    </a:lnTo>
                    <a:lnTo>
                      <a:pt x="754" y="46"/>
                    </a:lnTo>
                    <a:lnTo>
                      <a:pt x="732" y="52"/>
                    </a:lnTo>
                    <a:lnTo>
                      <a:pt x="724" y="58"/>
                    </a:lnTo>
                    <a:lnTo>
                      <a:pt x="716" y="64"/>
                    </a:lnTo>
                    <a:lnTo>
                      <a:pt x="710" y="70"/>
                    </a:lnTo>
                    <a:lnTo>
                      <a:pt x="706" y="76"/>
                    </a:lnTo>
                    <a:lnTo>
                      <a:pt x="706" y="76"/>
                    </a:lnTo>
                    <a:lnTo>
                      <a:pt x="704" y="82"/>
                    </a:lnTo>
                    <a:lnTo>
                      <a:pt x="700" y="86"/>
                    </a:lnTo>
                    <a:lnTo>
                      <a:pt x="698" y="86"/>
                    </a:lnTo>
                    <a:lnTo>
                      <a:pt x="696" y="84"/>
                    </a:lnTo>
                    <a:lnTo>
                      <a:pt x="690" y="80"/>
                    </a:lnTo>
                    <a:lnTo>
                      <a:pt x="686" y="82"/>
                    </a:lnTo>
                    <a:lnTo>
                      <a:pt x="682" y="84"/>
                    </a:lnTo>
                    <a:lnTo>
                      <a:pt x="682" y="84"/>
                    </a:lnTo>
                    <a:lnTo>
                      <a:pt x="680" y="86"/>
                    </a:lnTo>
                    <a:lnTo>
                      <a:pt x="676" y="88"/>
                    </a:lnTo>
                    <a:lnTo>
                      <a:pt x="670" y="86"/>
                    </a:lnTo>
                    <a:lnTo>
                      <a:pt x="668" y="86"/>
                    </a:lnTo>
                    <a:lnTo>
                      <a:pt x="664" y="88"/>
                    </a:lnTo>
                    <a:lnTo>
                      <a:pt x="662" y="90"/>
                    </a:lnTo>
                    <a:lnTo>
                      <a:pt x="656" y="96"/>
                    </a:lnTo>
                    <a:lnTo>
                      <a:pt x="656" y="96"/>
                    </a:lnTo>
                    <a:lnTo>
                      <a:pt x="650" y="104"/>
                    </a:lnTo>
                    <a:lnTo>
                      <a:pt x="640" y="114"/>
                    </a:lnTo>
                    <a:lnTo>
                      <a:pt x="634" y="118"/>
                    </a:lnTo>
                    <a:lnTo>
                      <a:pt x="628" y="120"/>
                    </a:lnTo>
                    <a:lnTo>
                      <a:pt x="622" y="120"/>
                    </a:lnTo>
                    <a:lnTo>
                      <a:pt x="616" y="120"/>
                    </a:lnTo>
                    <a:lnTo>
                      <a:pt x="616" y="120"/>
                    </a:lnTo>
                    <a:lnTo>
                      <a:pt x="600" y="120"/>
                    </a:lnTo>
                    <a:lnTo>
                      <a:pt x="596" y="118"/>
                    </a:lnTo>
                    <a:lnTo>
                      <a:pt x="592" y="116"/>
                    </a:lnTo>
                    <a:lnTo>
                      <a:pt x="588" y="112"/>
                    </a:lnTo>
                    <a:lnTo>
                      <a:pt x="586" y="108"/>
                    </a:lnTo>
                    <a:lnTo>
                      <a:pt x="586" y="108"/>
                    </a:lnTo>
                    <a:lnTo>
                      <a:pt x="586" y="104"/>
                    </a:lnTo>
                    <a:lnTo>
                      <a:pt x="584" y="104"/>
                    </a:lnTo>
                    <a:lnTo>
                      <a:pt x="580" y="108"/>
                    </a:lnTo>
                    <a:lnTo>
                      <a:pt x="578" y="110"/>
                    </a:lnTo>
                    <a:lnTo>
                      <a:pt x="574" y="112"/>
                    </a:lnTo>
                    <a:lnTo>
                      <a:pt x="570" y="114"/>
                    </a:lnTo>
                    <a:lnTo>
                      <a:pt x="562" y="112"/>
                    </a:lnTo>
                    <a:lnTo>
                      <a:pt x="562" y="112"/>
                    </a:lnTo>
                    <a:lnTo>
                      <a:pt x="558" y="110"/>
                    </a:lnTo>
                    <a:lnTo>
                      <a:pt x="552" y="110"/>
                    </a:lnTo>
                    <a:lnTo>
                      <a:pt x="542" y="114"/>
                    </a:lnTo>
                    <a:lnTo>
                      <a:pt x="536" y="116"/>
                    </a:lnTo>
                    <a:lnTo>
                      <a:pt x="530" y="118"/>
                    </a:lnTo>
                    <a:lnTo>
                      <a:pt x="520" y="116"/>
                    </a:lnTo>
                    <a:lnTo>
                      <a:pt x="510" y="112"/>
                    </a:lnTo>
                    <a:lnTo>
                      <a:pt x="510" y="112"/>
                    </a:lnTo>
                    <a:lnTo>
                      <a:pt x="502" y="108"/>
                    </a:lnTo>
                    <a:lnTo>
                      <a:pt x="498" y="102"/>
                    </a:lnTo>
                    <a:lnTo>
                      <a:pt x="494" y="98"/>
                    </a:lnTo>
                    <a:lnTo>
                      <a:pt x="492" y="94"/>
                    </a:lnTo>
                    <a:lnTo>
                      <a:pt x="464" y="96"/>
                    </a:lnTo>
                    <a:lnTo>
                      <a:pt x="464" y="96"/>
                    </a:lnTo>
                    <a:lnTo>
                      <a:pt x="454" y="122"/>
                    </a:lnTo>
                    <a:lnTo>
                      <a:pt x="444" y="152"/>
                    </a:lnTo>
                    <a:lnTo>
                      <a:pt x="436" y="166"/>
                    </a:lnTo>
                    <a:lnTo>
                      <a:pt x="426" y="180"/>
                    </a:lnTo>
                    <a:lnTo>
                      <a:pt x="414" y="190"/>
                    </a:lnTo>
                    <a:lnTo>
                      <a:pt x="400" y="200"/>
                    </a:lnTo>
                    <a:lnTo>
                      <a:pt x="400" y="200"/>
                    </a:lnTo>
                    <a:lnTo>
                      <a:pt x="380" y="206"/>
                    </a:lnTo>
                    <a:lnTo>
                      <a:pt x="368" y="212"/>
                    </a:lnTo>
                    <a:lnTo>
                      <a:pt x="360" y="218"/>
                    </a:lnTo>
                    <a:lnTo>
                      <a:pt x="356" y="222"/>
                    </a:lnTo>
                    <a:lnTo>
                      <a:pt x="352" y="232"/>
                    </a:lnTo>
                    <a:lnTo>
                      <a:pt x="348" y="238"/>
                    </a:lnTo>
                    <a:lnTo>
                      <a:pt x="342" y="244"/>
                    </a:lnTo>
                    <a:lnTo>
                      <a:pt x="342" y="244"/>
                    </a:lnTo>
                    <a:lnTo>
                      <a:pt x="334" y="252"/>
                    </a:lnTo>
                    <a:lnTo>
                      <a:pt x="332" y="256"/>
                    </a:lnTo>
                    <a:lnTo>
                      <a:pt x="330" y="260"/>
                    </a:lnTo>
                    <a:lnTo>
                      <a:pt x="330" y="264"/>
                    </a:lnTo>
                    <a:lnTo>
                      <a:pt x="330" y="270"/>
                    </a:lnTo>
                    <a:lnTo>
                      <a:pt x="330" y="274"/>
                    </a:lnTo>
                    <a:lnTo>
                      <a:pt x="326" y="282"/>
                    </a:lnTo>
                    <a:lnTo>
                      <a:pt x="320" y="292"/>
                    </a:lnTo>
                    <a:lnTo>
                      <a:pt x="320" y="292"/>
                    </a:lnTo>
                    <a:lnTo>
                      <a:pt x="312" y="306"/>
                    </a:lnTo>
                    <a:lnTo>
                      <a:pt x="308" y="320"/>
                    </a:lnTo>
                    <a:lnTo>
                      <a:pt x="308" y="336"/>
                    </a:lnTo>
                    <a:lnTo>
                      <a:pt x="310" y="350"/>
                    </a:lnTo>
                    <a:lnTo>
                      <a:pt x="314" y="376"/>
                    </a:lnTo>
                    <a:lnTo>
                      <a:pt x="314" y="388"/>
                    </a:lnTo>
                    <a:lnTo>
                      <a:pt x="310" y="398"/>
                    </a:lnTo>
                    <a:lnTo>
                      <a:pt x="310" y="398"/>
                    </a:lnTo>
                    <a:lnTo>
                      <a:pt x="298" y="420"/>
                    </a:lnTo>
                    <a:lnTo>
                      <a:pt x="288" y="434"/>
                    </a:lnTo>
                    <a:lnTo>
                      <a:pt x="282" y="442"/>
                    </a:lnTo>
                    <a:lnTo>
                      <a:pt x="276" y="446"/>
                    </a:lnTo>
                    <a:lnTo>
                      <a:pt x="264" y="452"/>
                    </a:lnTo>
                    <a:lnTo>
                      <a:pt x="258" y="456"/>
                    </a:lnTo>
                    <a:lnTo>
                      <a:pt x="250" y="466"/>
                    </a:lnTo>
                    <a:lnTo>
                      <a:pt x="250" y="466"/>
                    </a:lnTo>
                    <a:lnTo>
                      <a:pt x="240" y="478"/>
                    </a:lnTo>
                    <a:lnTo>
                      <a:pt x="228" y="484"/>
                    </a:lnTo>
                    <a:lnTo>
                      <a:pt x="218" y="488"/>
                    </a:lnTo>
                    <a:lnTo>
                      <a:pt x="206" y="490"/>
                    </a:lnTo>
                    <a:lnTo>
                      <a:pt x="196" y="492"/>
                    </a:lnTo>
                    <a:lnTo>
                      <a:pt x="188" y="496"/>
                    </a:lnTo>
                    <a:lnTo>
                      <a:pt x="180" y="500"/>
                    </a:lnTo>
                    <a:lnTo>
                      <a:pt x="174" y="510"/>
                    </a:lnTo>
                    <a:lnTo>
                      <a:pt x="174" y="510"/>
                    </a:lnTo>
                    <a:lnTo>
                      <a:pt x="164" y="538"/>
                    </a:lnTo>
                    <a:lnTo>
                      <a:pt x="156" y="556"/>
                    </a:lnTo>
                    <a:lnTo>
                      <a:pt x="148" y="566"/>
                    </a:lnTo>
                    <a:lnTo>
                      <a:pt x="140" y="572"/>
                    </a:lnTo>
                    <a:lnTo>
                      <a:pt x="134" y="574"/>
                    </a:lnTo>
                    <a:lnTo>
                      <a:pt x="128" y="578"/>
                    </a:lnTo>
                    <a:lnTo>
                      <a:pt x="124" y="584"/>
                    </a:lnTo>
                    <a:lnTo>
                      <a:pt x="120" y="596"/>
                    </a:lnTo>
                    <a:lnTo>
                      <a:pt x="120" y="596"/>
                    </a:lnTo>
                    <a:lnTo>
                      <a:pt x="116" y="610"/>
                    </a:lnTo>
                    <a:lnTo>
                      <a:pt x="114" y="614"/>
                    </a:lnTo>
                    <a:lnTo>
                      <a:pt x="110" y="620"/>
                    </a:lnTo>
                    <a:lnTo>
                      <a:pt x="108" y="640"/>
                    </a:lnTo>
                    <a:lnTo>
                      <a:pt x="108" y="640"/>
                    </a:lnTo>
                    <a:lnTo>
                      <a:pt x="104" y="660"/>
                    </a:lnTo>
                    <a:lnTo>
                      <a:pt x="102" y="666"/>
                    </a:lnTo>
                    <a:lnTo>
                      <a:pt x="98" y="670"/>
                    </a:lnTo>
                    <a:lnTo>
                      <a:pt x="90" y="678"/>
                    </a:lnTo>
                    <a:lnTo>
                      <a:pt x="78" y="692"/>
                    </a:lnTo>
                    <a:lnTo>
                      <a:pt x="78" y="692"/>
                    </a:lnTo>
                    <a:lnTo>
                      <a:pt x="64" y="706"/>
                    </a:lnTo>
                    <a:lnTo>
                      <a:pt x="58" y="712"/>
                    </a:lnTo>
                    <a:lnTo>
                      <a:pt x="58" y="714"/>
                    </a:lnTo>
                    <a:lnTo>
                      <a:pt x="60" y="714"/>
                    </a:lnTo>
                    <a:lnTo>
                      <a:pt x="64" y="714"/>
                    </a:lnTo>
                    <a:lnTo>
                      <a:pt x="64" y="714"/>
                    </a:lnTo>
                    <a:lnTo>
                      <a:pt x="66" y="714"/>
                    </a:lnTo>
                    <a:lnTo>
                      <a:pt x="66" y="716"/>
                    </a:lnTo>
                    <a:lnTo>
                      <a:pt x="60" y="726"/>
                    </a:lnTo>
                    <a:lnTo>
                      <a:pt x="54" y="740"/>
                    </a:lnTo>
                    <a:lnTo>
                      <a:pt x="52" y="750"/>
                    </a:lnTo>
                    <a:lnTo>
                      <a:pt x="50" y="762"/>
                    </a:lnTo>
                    <a:lnTo>
                      <a:pt x="50" y="762"/>
                    </a:lnTo>
                    <a:lnTo>
                      <a:pt x="48" y="772"/>
                    </a:lnTo>
                    <a:lnTo>
                      <a:pt x="46" y="778"/>
                    </a:lnTo>
                    <a:lnTo>
                      <a:pt x="42" y="782"/>
                    </a:lnTo>
                    <a:lnTo>
                      <a:pt x="36" y="786"/>
                    </a:lnTo>
                    <a:lnTo>
                      <a:pt x="32" y="788"/>
                    </a:lnTo>
                    <a:lnTo>
                      <a:pt x="28" y="794"/>
                    </a:lnTo>
                    <a:lnTo>
                      <a:pt x="24" y="800"/>
                    </a:lnTo>
                    <a:lnTo>
                      <a:pt x="20" y="812"/>
                    </a:lnTo>
                    <a:lnTo>
                      <a:pt x="20" y="812"/>
                    </a:lnTo>
                    <a:lnTo>
                      <a:pt x="16" y="834"/>
                    </a:lnTo>
                    <a:lnTo>
                      <a:pt x="14" y="850"/>
                    </a:lnTo>
                    <a:lnTo>
                      <a:pt x="16" y="858"/>
                    </a:lnTo>
                    <a:lnTo>
                      <a:pt x="16" y="860"/>
                    </a:lnTo>
                    <a:lnTo>
                      <a:pt x="18" y="860"/>
                    </a:lnTo>
                    <a:lnTo>
                      <a:pt x="18" y="860"/>
                    </a:lnTo>
                    <a:lnTo>
                      <a:pt x="20" y="860"/>
                    </a:lnTo>
                    <a:lnTo>
                      <a:pt x="22" y="858"/>
                    </a:lnTo>
                    <a:lnTo>
                      <a:pt x="22" y="852"/>
                    </a:lnTo>
                    <a:lnTo>
                      <a:pt x="24" y="846"/>
                    </a:lnTo>
                    <a:lnTo>
                      <a:pt x="24" y="844"/>
                    </a:lnTo>
                    <a:lnTo>
                      <a:pt x="26" y="844"/>
                    </a:lnTo>
                    <a:lnTo>
                      <a:pt x="26" y="844"/>
                    </a:lnTo>
                    <a:lnTo>
                      <a:pt x="30" y="846"/>
                    </a:lnTo>
                    <a:lnTo>
                      <a:pt x="30" y="850"/>
                    </a:lnTo>
                    <a:lnTo>
                      <a:pt x="32" y="860"/>
                    </a:lnTo>
                    <a:lnTo>
                      <a:pt x="34" y="868"/>
                    </a:lnTo>
                    <a:lnTo>
                      <a:pt x="36" y="868"/>
                    </a:lnTo>
                    <a:lnTo>
                      <a:pt x="38" y="868"/>
                    </a:lnTo>
                    <a:lnTo>
                      <a:pt x="38" y="868"/>
                    </a:lnTo>
                    <a:lnTo>
                      <a:pt x="42" y="868"/>
                    </a:lnTo>
                    <a:lnTo>
                      <a:pt x="44" y="868"/>
                    </a:lnTo>
                    <a:lnTo>
                      <a:pt x="48" y="878"/>
                    </a:lnTo>
                    <a:lnTo>
                      <a:pt x="50" y="890"/>
                    </a:lnTo>
                    <a:lnTo>
                      <a:pt x="50" y="902"/>
                    </a:lnTo>
                    <a:lnTo>
                      <a:pt x="50" y="902"/>
                    </a:lnTo>
                    <a:lnTo>
                      <a:pt x="50" y="910"/>
                    </a:lnTo>
                    <a:lnTo>
                      <a:pt x="46" y="918"/>
                    </a:lnTo>
                    <a:lnTo>
                      <a:pt x="42" y="926"/>
                    </a:lnTo>
                    <a:lnTo>
                      <a:pt x="38" y="930"/>
                    </a:lnTo>
                    <a:lnTo>
                      <a:pt x="40" y="932"/>
                    </a:lnTo>
                    <a:lnTo>
                      <a:pt x="42" y="936"/>
                    </a:lnTo>
                    <a:lnTo>
                      <a:pt x="42" y="936"/>
                    </a:lnTo>
                    <a:lnTo>
                      <a:pt x="46" y="940"/>
                    </a:lnTo>
                    <a:lnTo>
                      <a:pt x="50" y="948"/>
                    </a:lnTo>
                    <a:lnTo>
                      <a:pt x="54" y="958"/>
                    </a:lnTo>
                    <a:lnTo>
                      <a:pt x="58" y="972"/>
                    </a:lnTo>
                    <a:lnTo>
                      <a:pt x="60" y="986"/>
                    </a:lnTo>
                    <a:lnTo>
                      <a:pt x="60" y="1002"/>
                    </a:lnTo>
                    <a:lnTo>
                      <a:pt x="58" y="1016"/>
                    </a:lnTo>
                    <a:lnTo>
                      <a:pt x="54" y="1030"/>
                    </a:lnTo>
                    <a:lnTo>
                      <a:pt x="54" y="1030"/>
                    </a:lnTo>
                    <a:lnTo>
                      <a:pt x="42" y="1066"/>
                    </a:lnTo>
                    <a:lnTo>
                      <a:pt x="40" y="1076"/>
                    </a:lnTo>
                    <a:lnTo>
                      <a:pt x="40" y="1086"/>
                    </a:lnTo>
                    <a:lnTo>
                      <a:pt x="40" y="1086"/>
                    </a:lnTo>
                    <a:lnTo>
                      <a:pt x="40" y="1102"/>
                    </a:lnTo>
                    <a:lnTo>
                      <a:pt x="34" y="1122"/>
                    </a:lnTo>
                    <a:lnTo>
                      <a:pt x="28" y="1132"/>
                    </a:lnTo>
                    <a:lnTo>
                      <a:pt x="22" y="1142"/>
                    </a:lnTo>
                    <a:lnTo>
                      <a:pt x="16" y="1150"/>
                    </a:lnTo>
                    <a:lnTo>
                      <a:pt x="6" y="1156"/>
                    </a:lnTo>
                    <a:lnTo>
                      <a:pt x="6" y="1156"/>
                    </a:lnTo>
                    <a:lnTo>
                      <a:pt x="2" y="1160"/>
                    </a:lnTo>
                    <a:lnTo>
                      <a:pt x="0" y="1162"/>
                    </a:lnTo>
                    <a:lnTo>
                      <a:pt x="2" y="1164"/>
                    </a:lnTo>
                    <a:lnTo>
                      <a:pt x="10" y="1164"/>
                    </a:lnTo>
                    <a:lnTo>
                      <a:pt x="10" y="1164"/>
                    </a:lnTo>
                    <a:lnTo>
                      <a:pt x="14" y="1164"/>
                    </a:lnTo>
                    <a:lnTo>
                      <a:pt x="16" y="1168"/>
                    </a:lnTo>
                    <a:lnTo>
                      <a:pt x="22" y="1184"/>
                    </a:lnTo>
                    <a:lnTo>
                      <a:pt x="30" y="1202"/>
                    </a:lnTo>
                    <a:lnTo>
                      <a:pt x="34" y="1210"/>
                    </a:lnTo>
                    <a:lnTo>
                      <a:pt x="38" y="1218"/>
                    </a:lnTo>
                    <a:lnTo>
                      <a:pt x="38" y="1218"/>
                    </a:lnTo>
                    <a:lnTo>
                      <a:pt x="40" y="1222"/>
                    </a:lnTo>
                    <a:lnTo>
                      <a:pt x="44" y="1224"/>
                    </a:lnTo>
                    <a:lnTo>
                      <a:pt x="46" y="1226"/>
                    </a:lnTo>
                    <a:lnTo>
                      <a:pt x="52" y="1226"/>
                    </a:lnTo>
                    <a:lnTo>
                      <a:pt x="64" y="1224"/>
                    </a:lnTo>
                    <a:lnTo>
                      <a:pt x="80" y="1224"/>
                    </a:lnTo>
                    <a:lnTo>
                      <a:pt x="80" y="1224"/>
                    </a:lnTo>
                    <a:lnTo>
                      <a:pt x="62" y="1228"/>
                    </a:lnTo>
                    <a:lnTo>
                      <a:pt x="50" y="1232"/>
                    </a:lnTo>
                    <a:lnTo>
                      <a:pt x="40" y="1232"/>
                    </a:lnTo>
                    <a:lnTo>
                      <a:pt x="38" y="1232"/>
                    </a:lnTo>
                    <a:lnTo>
                      <a:pt x="36" y="1228"/>
                    </a:lnTo>
                    <a:lnTo>
                      <a:pt x="36" y="1228"/>
                    </a:lnTo>
                    <a:lnTo>
                      <a:pt x="34" y="1226"/>
                    </a:lnTo>
                    <a:lnTo>
                      <a:pt x="32" y="1224"/>
                    </a:lnTo>
                    <a:lnTo>
                      <a:pt x="28" y="1228"/>
                    </a:lnTo>
                    <a:lnTo>
                      <a:pt x="26" y="1234"/>
                    </a:lnTo>
                    <a:lnTo>
                      <a:pt x="28" y="1242"/>
                    </a:lnTo>
                    <a:lnTo>
                      <a:pt x="28" y="1242"/>
                    </a:lnTo>
                    <a:lnTo>
                      <a:pt x="30" y="1252"/>
                    </a:lnTo>
                    <a:lnTo>
                      <a:pt x="30" y="1260"/>
                    </a:lnTo>
                    <a:lnTo>
                      <a:pt x="30" y="1264"/>
                    </a:lnTo>
                    <a:lnTo>
                      <a:pt x="32" y="1264"/>
                    </a:lnTo>
                    <a:lnTo>
                      <a:pt x="34" y="1264"/>
                    </a:lnTo>
                    <a:lnTo>
                      <a:pt x="34" y="1264"/>
                    </a:lnTo>
                    <a:lnTo>
                      <a:pt x="40" y="1262"/>
                    </a:lnTo>
                    <a:lnTo>
                      <a:pt x="44" y="1264"/>
                    </a:lnTo>
                    <a:lnTo>
                      <a:pt x="48" y="1266"/>
                    </a:lnTo>
                    <a:lnTo>
                      <a:pt x="54" y="1264"/>
                    </a:lnTo>
                    <a:lnTo>
                      <a:pt x="54" y="1264"/>
                    </a:lnTo>
                    <a:lnTo>
                      <a:pt x="60" y="1264"/>
                    </a:lnTo>
                    <a:lnTo>
                      <a:pt x="64" y="1264"/>
                    </a:lnTo>
                    <a:lnTo>
                      <a:pt x="70" y="1268"/>
                    </a:lnTo>
                    <a:lnTo>
                      <a:pt x="76" y="1268"/>
                    </a:lnTo>
                    <a:lnTo>
                      <a:pt x="76" y="1268"/>
                    </a:lnTo>
                    <a:lnTo>
                      <a:pt x="64" y="1270"/>
                    </a:lnTo>
                    <a:lnTo>
                      <a:pt x="54" y="1270"/>
                    </a:lnTo>
                    <a:lnTo>
                      <a:pt x="44" y="1268"/>
                    </a:lnTo>
                    <a:lnTo>
                      <a:pt x="38" y="1266"/>
                    </a:lnTo>
                    <a:lnTo>
                      <a:pt x="36" y="1268"/>
                    </a:lnTo>
                    <a:lnTo>
                      <a:pt x="32" y="1270"/>
                    </a:lnTo>
                    <a:lnTo>
                      <a:pt x="32" y="1270"/>
                    </a:lnTo>
                    <a:lnTo>
                      <a:pt x="30" y="1274"/>
                    </a:lnTo>
                    <a:lnTo>
                      <a:pt x="30" y="1276"/>
                    </a:lnTo>
                    <a:lnTo>
                      <a:pt x="34" y="1278"/>
                    </a:lnTo>
                    <a:lnTo>
                      <a:pt x="38" y="1282"/>
                    </a:lnTo>
                    <a:lnTo>
                      <a:pt x="38" y="1282"/>
                    </a:lnTo>
                    <a:lnTo>
                      <a:pt x="40" y="1286"/>
                    </a:lnTo>
                    <a:lnTo>
                      <a:pt x="42" y="1286"/>
                    </a:lnTo>
                    <a:lnTo>
                      <a:pt x="48" y="1284"/>
                    </a:lnTo>
                    <a:lnTo>
                      <a:pt x="52" y="1284"/>
                    </a:lnTo>
                    <a:lnTo>
                      <a:pt x="50" y="1290"/>
                    </a:lnTo>
                    <a:lnTo>
                      <a:pt x="50" y="1290"/>
                    </a:lnTo>
                    <a:lnTo>
                      <a:pt x="46" y="1296"/>
                    </a:lnTo>
                    <a:lnTo>
                      <a:pt x="48" y="1298"/>
                    </a:lnTo>
                    <a:lnTo>
                      <a:pt x="48" y="1300"/>
                    </a:lnTo>
                    <a:lnTo>
                      <a:pt x="54" y="1300"/>
                    </a:lnTo>
                    <a:lnTo>
                      <a:pt x="60" y="1300"/>
                    </a:lnTo>
                    <a:lnTo>
                      <a:pt x="60" y="1300"/>
                    </a:lnTo>
                    <a:lnTo>
                      <a:pt x="64" y="1298"/>
                    </a:lnTo>
                    <a:lnTo>
                      <a:pt x="64" y="1300"/>
                    </a:lnTo>
                    <a:lnTo>
                      <a:pt x="64" y="1306"/>
                    </a:lnTo>
                    <a:lnTo>
                      <a:pt x="64" y="1312"/>
                    </a:lnTo>
                    <a:lnTo>
                      <a:pt x="66" y="1312"/>
                    </a:lnTo>
                    <a:lnTo>
                      <a:pt x="70" y="1310"/>
                    </a:lnTo>
                    <a:lnTo>
                      <a:pt x="70" y="1310"/>
                    </a:lnTo>
                    <a:lnTo>
                      <a:pt x="78" y="1304"/>
                    </a:lnTo>
                    <a:lnTo>
                      <a:pt x="86" y="1300"/>
                    </a:lnTo>
                    <a:lnTo>
                      <a:pt x="88" y="1300"/>
                    </a:lnTo>
                    <a:lnTo>
                      <a:pt x="88" y="1302"/>
                    </a:lnTo>
                    <a:lnTo>
                      <a:pt x="82" y="1304"/>
                    </a:lnTo>
                    <a:lnTo>
                      <a:pt x="82" y="1304"/>
                    </a:lnTo>
                    <a:lnTo>
                      <a:pt x="80" y="1306"/>
                    </a:lnTo>
                    <a:lnTo>
                      <a:pt x="78" y="1308"/>
                    </a:lnTo>
                    <a:lnTo>
                      <a:pt x="80" y="1312"/>
                    </a:lnTo>
                    <a:lnTo>
                      <a:pt x="82" y="1318"/>
                    </a:lnTo>
                    <a:lnTo>
                      <a:pt x="84" y="1320"/>
                    </a:lnTo>
                    <a:lnTo>
                      <a:pt x="82" y="1324"/>
                    </a:lnTo>
                    <a:lnTo>
                      <a:pt x="82" y="1324"/>
                    </a:lnTo>
                    <a:lnTo>
                      <a:pt x="80" y="1328"/>
                    </a:lnTo>
                    <a:lnTo>
                      <a:pt x="82" y="1328"/>
                    </a:lnTo>
                    <a:lnTo>
                      <a:pt x="84" y="1328"/>
                    </a:lnTo>
                    <a:lnTo>
                      <a:pt x="86" y="1332"/>
                    </a:lnTo>
                    <a:lnTo>
                      <a:pt x="86" y="1332"/>
                    </a:lnTo>
                    <a:lnTo>
                      <a:pt x="86" y="1336"/>
                    </a:lnTo>
                    <a:lnTo>
                      <a:pt x="88" y="1336"/>
                    </a:lnTo>
                    <a:lnTo>
                      <a:pt x="90" y="1338"/>
                    </a:lnTo>
                    <a:lnTo>
                      <a:pt x="90" y="1342"/>
                    </a:lnTo>
                    <a:lnTo>
                      <a:pt x="90" y="1342"/>
                    </a:lnTo>
                    <a:lnTo>
                      <a:pt x="92" y="1346"/>
                    </a:lnTo>
                    <a:lnTo>
                      <a:pt x="94" y="1344"/>
                    </a:lnTo>
                    <a:lnTo>
                      <a:pt x="100" y="1336"/>
                    </a:lnTo>
                    <a:lnTo>
                      <a:pt x="100" y="1336"/>
                    </a:lnTo>
                    <a:lnTo>
                      <a:pt x="98" y="1344"/>
                    </a:lnTo>
                    <a:lnTo>
                      <a:pt x="100" y="1348"/>
                    </a:lnTo>
                    <a:lnTo>
                      <a:pt x="100" y="1348"/>
                    </a:lnTo>
                    <a:lnTo>
                      <a:pt x="98" y="1352"/>
                    </a:lnTo>
                    <a:lnTo>
                      <a:pt x="100" y="1356"/>
                    </a:lnTo>
                    <a:lnTo>
                      <a:pt x="100" y="1356"/>
                    </a:lnTo>
                    <a:lnTo>
                      <a:pt x="102" y="1356"/>
                    </a:lnTo>
                    <a:lnTo>
                      <a:pt x="102" y="1356"/>
                    </a:lnTo>
                    <a:lnTo>
                      <a:pt x="104" y="1352"/>
                    </a:lnTo>
                    <a:lnTo>
                      <a:pt x="108" y="1346"/>
                    </a:lnTo>
                    <a:lnTo>
                      <a:pt x="110" y="1344"/>
                    </a:lnTo>
                    <a:lnTo>
                      <a:pt x="114" y="1344"/>
                    </a:lnTo>
                    <a:lnTo>
                      <a:pt x="114" y="1344"/>
                    </a:lnTo>
                    <a:lnTo>
                      <a:pt x="116" y="1344"/>
                    </a:lnTo>
                    <a:lnTo>
                      <a:pt x="112" y="1346"/>
                    </a:lnTo>
                    <a:lnTo>
                      <a:pt x="110" y="1350"/>
                    </a:lnTo>
                    <a:lnTo>
                      <a:pt x="110" y="1354"/>
                    </a:lnTo>
                    <a:lnTo>
                      <a:pt x="110" y="1358"/>
                    </a:lnTo>
                    <a:lnTo>
                      <a:pt x="110" y="1358"/>
                    </a:lnTo>
                    <a:lnTo>
                      <a:pt x="112" y="1360"/>
                    </a:lnTo>
                    <a:lnTo>
                      <a:pt x="114" y="1360"/>
                    </a:lnTo>
                    <a:lnTo>
                      <a:pt x="118" y="1356"/>
                    </a:lnTo>
                    <a:lnTo>
                      <a:pt x="118" y="1354"/>
                    </a:lnTo>
                    <a:lnTo>
                      <a:pt x="118" y="1362"/>
                    </a:lnTo>
                    <a:lnTo>
                      <a:pt x="118" y="1362"/>
                    </a:lnTo>
                    <a:lnTo>
                      <a:pt x="118" y="1372"/>
                    </a:lnTo>
                    <a:lnTo>
                      <a:pt x="118" y="1372"/>
                    </a:lnTo>
                    <a:lnTo>
                      <a:pt x="120" y="1378"/>
                    </a:lnTo>
                    <a:lnTo>
                      <a:pt x="120" y="1378"/>
                    </a:lnTo>
                    <a:lnTo>
                      <a:pt x="124" y="1384"/>
                    </a:lnTo>
                    <a:lnTo>
                      <a:pt x="128" y="1386"/>
                    </a:lnTo>
                    <a:lnTo>
                      <a:pt x="134" y="1388"/>
                    </a:lnTo>
                    <a:lnTo>
                      <a:pt x="140" y="1392"/>
                    </a:lnTo>
                    <a:lnTo>
                      <a:pt x="140" y="1392"/>
                    </a:lnTo>
                    <a:lnTo>
                      <a:pt x="146" y="1398"/>
                    </a:lnTo>
                    <a:lnTo>
                      <a:pt x="154" y="1402"/>
                    </a:lnTo>
                    <a:lnTo>
                      <a:pt x="158" y="1404"/>
                    </a:lnTo>
                    <a:lnTo>
                      <a:pt x="158" y="1406"/>
                    </a:lnTo>
                    <a:lnTo>
                      <a:pt x="158" y="1408"/>
                    </a:lnTo>
                    <a:lnTo>
                      <a:pt x="158" y="1408"/>
                    </a:lnTo>
                    <a:lnTo>
                      <a:pt x="156" y="1414"/>
                    </a:lnTo>
                    <a:lnTo>
                      <a:pt x="154" y="1418"/>
                    </a:lnTo>
                    <a:lnTo>
                      <a:pt x="156" y="1420"/>
                    </a:lnTo>
                    <a:lnTo>
                      <a:pt x="162" y="1424"/>
                    </a:lnTo>
                    <a:lnTo>
                      <a:pt x="162" y="1424"/>
                    </a:lnTo>
                    <a:lnTo>
                      <a:pt x="166" y="1426"/>
                    </a:lnTo>
                    <a:lnTo>
                      <a:pt x="166" y="1430"/>
                    </a:lnTo>
                    <a:lnTo>
                      <a:pt x="168" y="1432"/>
                    </a:lnTo>
                    <a:lnTo>
                      <a:pt x="170" y="1434"/>
                    </a:lnTo>
                    <a:lnTo>
                      <a:pt x="170" y="1434"/>
                    </a:lnTo>
                    <a:lnTo>
                      <a:pt x="172" y="1436"/>
                    </a:lnTo>
                    <a:lnTo>
                      <a:pt x="170" y="1438"/>
                    </a:lnTo>
                    <a:lnTo>
                      <a:pt x="170" y="1440"/>
                    </a:lnTo>
                    <a:lnTo>
                      <a:pt x="170" y="1442"/>
                    </a:lnTo>
                    <a:lnTo>
                      <a:pt x="170" y="1442"/>
                    </a:lnTo>
                    <a:lnTo>
                      <a:pt x="176" y="1448"/>
                    </a:lnTo>
                    <a:lnTo>
                      <a:pt x="176" y="1450"/>
                    </a:lnTo>
                    <a:lnTo>
                      <a:pt x="174" y="1450"/>
                    </a:lnTo>
                    <a:lnTo>
                      <a:pt x="172" y="1452"/>
                    </a:lnTo>
                    <a:lnTo>
                      <a:pt x="170" y="1454"/>
                    </a:lnTo>
                    <a:lnTo>
                      <a:pt x="172" y="1458"/>
                    </a:lnTo>
                    <a:lnTo>
                      <a:pt x="172" y="1458"/>
                    </a:lnTo>
                    <a:lnTo>
                      <a:pt x="174" y="1462"/>
                    </a:lnTo>
                    <a:lnTo>
                      <a:pt x="176" y="1462"/>
                    </a:lnTo>
                    <a:lnTo>
                      <a:pt x="180" y="1462"/>
                    </a:lnTo>
                    <a:lnTo>
                      <a:pt x="186" y="1464"/>
                    </a:lnTo>
                    <a:lnTo>
                      <a:pt x="186" y="1464"/>
                    </a:lnTo>
                    <a:lnTo>
                      <a:pt x="182" y="1468"/>
                    </a:lnTo>
                    <a:lnTo>
                      <a:pt x="178" y="1470"/>
                    </a:lnTo>
                    <a:lnTo>
                      <a:pt x="172" y="1470"/>
                    </a:lnTo>
                    <a:lnTo>
                      <a:pt x="170" y="1468"/>
                    </a:lnTo>
                    <a:lnTo>
                      <a:pt x="170" y="1472"/>
                    </a:lnTo>
                    <a:lnTo>
                      <a:pt x="170" y="1472"/>
                    </a:lnTo>
                    <a:lnTo>
                      <a:pt x="174" y="1480"/>
                    </a:lnTo>
                    <a:lnTo>
                      <a:pt x="178" y="1482"/>
                    </a:lnTo>
                    <a:lnTo>
                      <a:pt x="182" y="1482"/>
                    </a:lnTo>
                    <a:lnTo>
                      <a:pt x="184" y="1486"/>
                    </a:lnTo>
                    <a:lnTo>
                      <a:pt x="184" y="1486"/>
                    </a:lnTo>
                    <a:lnTo>
                      <a:pt x="186" y="1492"/>
                    </a:lnTo>
                    <a:lnTo>
                      <a:pt x="184" y="1494"/>
                    </a:lnTo>
                    <a:lnTo>
                      <a:pt x="182" y="1496"/>
                    </a:lnTo>
                    <a:lnTo>
                      <a:pt x="182" y="1498"/>
                    </a:lnTo>
                    <a:lnTo>
                      <a:pt x="182" y="1498"/>
                    </a:lnTo>
                    <a:lnTo>
                      <a:pt x="186" y="1502"/>
                    </a:lnTo>
                    <a:lnTo>
                      <a:pt x="192" y="1504"/>
                    </a:lnTo>
                    <a:lnTo>
                      <a:pt x="196" y="1506"/>
                    </a:lnTo>
                    <a:lnTo>
                      <a:pt x="202" y="1510"/>
                    </a:lnTo>
                    <a:lnTo>
                      <a:pt x="202" y="1510"/>
                    </a:lnTo>
                    <a:lnTo>
                      <a:pt x="204" y="1512"/>
                    </a:lnTo>
                    <a:lnTo>
                      <a:pt x="204" y="1514"/>
                    </a:lnTo>
                    <a:lnTo>
                      <a:pt x="202" y="1518"/>
                    </a:lnTo>
                    <a:lnTo>
                      <a:pt x="200" y="1520"/>
                    </a:lnTo>
                    <a:lnTo>
                      <a:pt x="202" y="1520"/>
                    </a:lnTo>
                    <a:lnTo>
                      <a:pt x="208" y="1524"/>
                    </a:lnTo>
                    <a:lnTo>
                      <a:pt x="208" y="1524"/>
                    </a:lnTo>
                    <a:lnTo>
                      <a:pt x="228" y="1534"/>
                    </a:lnTo>
                    <a:lnTo>
                      <a:pt x="236" y="1538"/>
                    </a:lnTo>
                    <a:lnTo>
                      <a:pt x="242" y="1546"/>
                    </a:lnTo>
                    <a:lnTo>
                      <a:pt x="242" y="1546"/>
                    </a:lnTo>
                    <a:lnTo>
                      <a:pt x="246" y="1552"/>
                    </a:lnTo>
                    <a:lnTo>
                      <a:pt x="250" y="1556"/>
                    </a:lnTo>
                    <a:lnTo>
                      <a:pt x="260" y="1562"/>
                    </a:lnTo>
                    <a:lnTo>
                      <a:pt x="268" y="1566"/>
                    </a:lnTo>
                    <a:lnTo>
                      <a:pt x="270" y="1570"/>
                    </a:lnTo>
                    <a:lnTo>
                      <a:pt x="272" y="1574"/>
                    </a:lnTo>
                    <a:lnTo>
                      <a:pt x="272" y="1574"/>
                    </a:lnTo>
                    <a:lnTo>
                      <a:pt x="272" y="1576"/>
                    </a:lnTo>
                    <a:lnTo>
                      <a:pt x="274" y="1578"/>
                    </a:lnTo>
                    <a:lnTo>
                      <a:pt x="282" y="1582"/>
                    </a:lnTo>
                    <a:lnTo>
                      <a:pt x="294" y="1590"/>
                    </a:lnTo>
                    <a:lnTo>
                      <a:pt x="302" y="1596"/>
                    </a:lnTo>
                    <a:lnTo>
                      <a:pt x="310" y="1606"/>
                    </a:lnTo>
                    <a:lnTo>
                      <a:pt x="310" y="1606"/>
                    </a:lnTo>
                    <a:lnTo>
                      <a:pt x="328" y="1626"/>
                    </a:lnTo>
                    <a:lnTo>
                      <a:pt x="346" y="1644"/>
                    </a:lnTo>
                    <a:lnTo>
                      <a:pt x="364" y="1654"/>
                    </a:lnTo>
                    <a:lnTo>
                      <a:pt x="380" y="1660"/>
                    </a:lnTo>
                    <a:lnTo>
                      <a:pt x="380" y="1660"/>
                    </a:lnTo>
                    <a:lnTo>
                      <a:pt x="388" y="1664"/>
                    </a:lnTo>
                    <a:lnTo>
                      <a:pt x="392" y="1668"/>
                    </a:lnTo>
                    <a:lnTo>
                      <a:pt x="396" y="1670"/>
                    </a:lnTo>
                    <a:lnTo>
                      <a:pt x="402" y="1672"/>
                    </a:lnTo>
                    <a:lnTo>
                      <a:pt x="402" y="1672"/>
                    </a:lnTo>
                    <a:lnTo>
                      <a:pt x="408" y="1670"/>
                    </a:lnTo>
                    <a:lnTo>
                      <a:pt x="412" y="1666"/>
                    </a:lnTo>
                    <a:lnTo>
                      <a:pt x="422" y="1658"/>
                    </a:lnTo>
                    <a:lnTo>
                      <a:pt x="436" y="1648"/>
                    </a:lnTo>
                    <a:lnTo>
                      <a:pt x="448" y="1642"/>
                    </a:lnTo>
                    <a:lnTo>
                      <a:pt x="462" y="1638"/>
                    </a:lnTo>
                    <a:lnTo>
                      <a:pt x="462" y="1638"/>
                    </a:lnTo>
                    <a:lnTo>
                      <a:pt x="488" y="1634"/>
                    </a:lnTo>
                    <a:lnTo>
                      <a:pt x="504" y="1632"/>
                    </a:lnTo>
                    <a:lnTo>
                      <a:pt x="516" y="1632"/>
                    </a:lnTo>
                    <a:lnTo>
                      <a:pt x="530" y="1630"/>
                    </a:lnTo>
                    <a:lnTo>
                      <a:pt x="530" y="1630"/>
                    </a:lnTo>
                    <a:lnTo>
                      <a:pt x="540" y="1628"/>
                    </a:lnTo>
                    <a:lnTo>
                      <a:pt x="554" y="1630"/>
                    </a:lnTo>
                    <a:lnTo>
                      <a:pt x="554" y="1630"/>
                    </a:lnTo>
                    <a:lnTo>
                      <a:pt x="566" y="1630"/>
                    </a:lnTo>
                    <a:lnTo>
                      <a:pt x="572" y="1630"/>
                    </a:lnTo>
                    <a:lnTo>
                      <a:pt x="576" y="1630"/>
                    </a:lnTo>
                    <a:lnTo>
                      <a:pt x="580" y="1630"/>
                    </a:lnTo>
                    <a:lnTo>
                      <a:pt x="580" y="1630"/>
                    </a:lnTo>
                    <a:lnTo>
                      <a:pt x="590" y="1632"/>
                    </a:lnTo>
                    <a:lnTo>
                      <a:pt x="592" y="1632"/>
                    </a:lnTo>
                    <a:lnTo>
                      <a:pt x="590" y="1632"/>
                    </a:lnTo>
                    <a:lnTo>
                      <a:pt x="590" y="1632"/>
                    </a:lnTo>
                    <a:lnTo>
                      <a:pt x="582" y="1634"/>
                    </a:lnTo>
                    <a:lnTo>
                      <a:pt x="578" y="1634"/>
                    </a:lnTo>
                    <a:lnTo>
                      <a:pt x="576" y="1636"/>
                    </a:lnTo>
                    <a:lnTo>
                      <a:pt x="578" y="1636"/>
                    </a:lnTo>
                    <a:lnTo>
                      <a:pt x="578" y="1636"/>
                    </a:lnTo>
                    <a:lnTo>
                      <a:pt x="594" y="1640"/>
                    </a:lnTo>
                    <a:lnTo>
                      <a:pt x="606" y="1644"/>
                    </a:lnTo>
                    <a:lnTo>
                      <a:pt x="618" y="1650"/>
                    </a:lnTo>
                    <a:lnTo>
                      <a:pt x="618" y="1650"/>
                    </a:lnTo>
                    <a:lnTo>
                      <a:pt x="622" y="1652"/>
                    </a:lnTo>
                    <a:lnTo>
                      <a:pt x="626" y="1652"/>
                    </a:lnTo>
                    <a:lnTo>
                      <a:pt x="636" y="1644"/>
                    </a:lnTo>
                    <a:lnTo>
                      <a:pt x="648" y="1636"/>
                    </a:lnTo>
                    <a:lnTo>
                      <a:pt x="656" y="1632"/>
                    </a:lnTo>
                    <a:lnTo>
                      <a:pt x="664" y="1630"/>
                    </a:lnTo>
                    <a:lnTo>
                      <a:pt x="664" y="1630"/>
                    </a:lnTo>
                    <a:lnTo>
                      <a:pt x="674" y="1628"/>
                    </a:lnTo>
                    <a:lnTo>
                      <a:pt x="680" y="1624"/>
                    </a:lnTo>
                    <a:lnTo>
                      <a:pt x="690" y="1614"/>
                    </a:lnTo>
                    <a:lnTo>
                      <a:pt x="698" y="1610"/>
                    </a:lnTo>
                    <a:lnTo>
                      <a:pt x="706" y="1606"/>
                    </a:lnTo>
                    <a:lnTo>
                      <a:pt x="716" y="1602"/>
                    </a:lnTo>
                    <a:lnTo>
                      <a:pt x="730" y="1600"/>
                    </a:lnTo>
                    <a:lnTo>
                      <a:pt x="730" y="1600"/>
                    </a:lnTo>
                    <a:lnTo>
                      <a:pt x="742" y="1598"/>
                    </a:lnTo>
                    <a:lnTo>
                      <a:pt x="746" y="1596"/>
                    </a:lnTo>
                    <a:lnTo>
                      <a:pt x="746" y="1594"/>
                    </a:lnTo>
                    <a:lnTo>
                      <a:pt x="748" y="1590"/>
                    </a:lnTo>
                    <a:lnTo>
                      <a:pt x="754" y="1586"/>
                    </a:lnTo>
                    <a:lnTo>
                      <a:pt x="754" y="1586"/>
                    </a:lnTo>
                    <a:lnTo>
                      <a:pt x="760" y="1582"/>
                    </a:lnTo>
                    <a:lnTo>
                      <a:pt x="774" y="1578"/>
                    </a:lnTo>
                    <a:lnTo>
                      <a:pt x="774" y="1578"/>
                    </a:lnTo>
                    <a:lnTo>
                      <a:pt x="796" y="1574"/>
                    </a:lnTo>
                    <a:lnTo>
                      <a:pt x="814" y="1572"/>
                    </a:lnTo>
                    <a:lnTo>
                      <a:pt x="814" y="1572"/>
                    </a:lnTo>
                    <a:lnTo>
                      <a:pt x="832" y="1572"/>
                    </a:lnTo>
                    <a:lnTo>
                      <a:pt x="838" y="1570"/>
                    </a:lnTo>
                    <a:lnTo>
                      <a:pt x="840" y="1568"/>
                    </a:lnTo>
                    <a:lnTo>
                      <a:pt x="840" y="1568"/>
                    </a:lnTo>
                    <a:lnTo>
                      <a:pt x="844" y="1564"/>
                    </a:lnTo>
                    <a:lnTo>
                      <a:pt x="846" y="1566"/>
                    </a:lnTo>
                    <a:lnTo>
                      <a:pt x="850" y="1570"/>
                    </a:lnTo>
                    <a:lnTo>
                      <a:pt x="860" y="1570"/>
                    </a:lnTo>
                    <a:lnTo>
                      <a:pt x="860" y="1570"/>
                    </a:lnTo>
                    <a:lnTo>
                      <a:pt x="874" y="1570"/>
                    </a:lnTo>
                    <a:lnTo>
                      <a:pt x="884" y="1574"/>
                    </a:lnTo>
                    <a:lnTo>
                      <a:pt x="890" y="1578"/>
                    </a:lnTo>
                    <a:lnTo>
                      <a:pt x="896" y="1584"/>
                    </a:lnTo>
                    <a:lnTo>
                      <a:pt x="908" y="1600"/>
                    </a:lnTo>
                    <a:lnTo>
                      <a:pt x="908" y="1600"/>
                    </a:lnTo>
                    <a:lnTo>
                      <a:pt x="916" y="1616"/>
                    </a:lnTo>
                    <a:lnTo>
                      <a:pt x="924" y="1642"/>
                    </a:lnTo>
                    <a:lnTo>
                      <a:pt x="930" y="1654"/>
                    </a:lnTo>
                    <a:lnTo>
                      <a:pt x="936" y="1664"/>
                    </a:lnTo>
                    <a:lnTo>
                      <a:pt x="944" y="1670"/>
                    </a:lnTo>
                    <a:lnTo>
                      <a:pt x="948" y="1672"/>
                    </a:lnTo>
                    <a:lnTo>
                      <a:pt x="954" y="1672"/>
                    </a:lnTo>
                    <a:lnTo>
                      <a:pt x="954" y="1672"/>
                    </a:lnTo>
                    <a:lnTo>
                      <a:pt x="970" y="1672"/>
                    </a:lnTo>
                    <a:lnTo>
                      <a:pt x="976" y="1672"/>
                    </a:lnTo>
                    <a:lnTo>
                      <a:pt x="984" y="1670"/>
                    </a:lnTo>
                    <a:lnTo>
                      <a:pt x="984" y="1670"/>
                    </a:lnTo>
                    <a:lnTo>
                      <a:pt x="990" y="1668"/>
                    </a:lnTo>
                    <a:lnTo>
                      <a:pt x="992" y="1664"/>
                    </a:lnTo>
                    <a:lnTo>
                      <a:pt x="992" y="1662"/>
                    </a:lnTo>
                    <a:lnTo>
                      <a:pt x="992" y="1658"/>
                    </a:lnTo>
                    <a:lnTo>
                      <a:pt x="992" y="1656"/>
                    </a:lnTo>
                    <a:lnTo>
                      <a:pt x="996" y="1658"/>
                    </a:lnTo>
                    <a:lnTo>
                      <a:pt x="996" y="1658"/>
                    </a:lnTo>
                    <a:lnTo>
                      <a:pt x="1002" y="1660"/>
                    </a:lnTo>
                    <a:lnTo>
                      <a:pt x="1008" y="1662"/>
                    </a:lnTo>
                    <a:lnTo>
                      <a:pt x="1018" y="1662"/>
                    </a:lnTo>
                    <a:lnTo>
                      <a:pt x="1028" y="1662"/>
                    </a:lnTo>
                    <a:lnTo>
                      <a:pt x="1036" y="1660"/>
                    </a:lnTo>
                    <a:lnTo>
                      <a:pt x="1040" y="1656"/>
                    </a:lnTo>
                    <a:lnTo>
                      <a:pt x="1042" y="1654"/>
                    </a:lnTo>
                    <a:lnTo>
                      <a:pt x="1042" y="1650"/>
                    </a:lnTo>
                    <a:lnTo>
                      <a:pt x="1036" y="1640"/>
                    </a:lnTo>
                    <a:lnTo>
                      <a:pt x="1048" y="1650"/>
                    </a:lnTo>
                    <a:lnTo>
                      <a:pt x="1048" y="1650"/>
                    </a:lnTo>
                    <a:lnTo>
                      <a:pt x="1048" y="1658"/>
                    </a:lnTo>
                    <a:lnTo>
                      <a:pt x="1050" y="1662"/>
                    </a:lnTo>
                    <a:lnTo>
                      <a:pt x="1052" y="1662"/>
                    </a:lnTo>
                    <a:lnTo>
                      <a:pt x="1056" y="1662"/>
                    </a:lnTo>
                    <a:lnTo>
                      <a:pt x="1060" y="1660"/>
                    </a:lnTo>
                    <a:lnTo>
                      <a:pt x="1062" y="1662"/>
                    </a:lnTo>
                    <a:lnTo>
                      <a:pt x="1064" y="1666"/>
                    </a:lnTo>
                    <a:lnTo>
                      <a:pt x="1064" y="1666"/>
                    </a:lnTo>
                    <a:lnTo>
                      <a:pt x="1066" y="1682"/>
                    </a:lnTo>
                    <a:lnTo>
                      <a:pt x="1070" y="1684"/>
                    </a:lnTo>
                    <a:lnTo>
                      <a:pt x="1076" y="1688"/>
                    </a:lnTo>
                    <a:lnTo>
                      <a:pt x="1076" y="1688"/>
                    </a:lnTo>
                    <a:lnTo>
                      <a:pt x="1082" y="1690"/>
                    </a:lnTo>
                    <a:lnTo>
                      <a:pt x="1084" y="1690"/>
                    </a:lnTo>
                    <a:lnTo>
                      <a:pt x="1086" y="1686"/>
                    </a:lnTo>
                    <a:lnTo>
                      <a:pt x="1088" y="1684"/>
                    </a:lnTo>
                    <a:lnTo>
                      <a:pt x="1090" y="1684"/>
                    </a:lnTo>
                    <a:lnTo>
                      <a:pt x="1094" y="1684"/>
                    </a:lnTo>
                    <a:lnTo>
                      <a:pt x="1094" y="1684"/>
                    </a:lnTo>
                    <a:lnTo>
                      <a:pt x="1096" y="1688"/>
                    </a:lnTo>
                    <a:lnTo>
                      <a:pt x="1096" y="1690"/>
                    </a:lnTo>
                    <a:lnTo>
                      <a:pt x="1094" y="1694"/>
                    </a:lnTo>
                    <a:lnTo>
                      <a:pt x="1090" y="1698"/>
                    </a:lnTo>
                    <a:lnTo>
                      <a:pt x="1090" y="1700"/>
                    </a:lnTo>
                    <a:lnTo>
                      <a:pt x="1092" y="1704"/>
                    </a:lnTo>
                    <a:lnTo>
                      <a:pt x="1092" y="1704"/>
                    </a:lnTo>
                    <a:lnTo>
                      <a:pt x="1096" y="1708"/>
                    </a:lnTo>
                    <a:lnTo>
                      <a:pt x="1094" y="1708"/>
                    </a:lnTo>
                    <a:lnTo>
                      <a:pt x="1094" y="1712"/>
                    </a:lnTo>
                    <a:lnTo>
                      <a:pt x="1100" y="1718"/>
                    </a:lnTo>
                    <a:lnTo>
                      <a:pt x="1100" y="1718"/>
                    </a:lnTo>
                    <a:lnTo>
                      <a:pt x="1102" y="1724"/>
                    </a:lnTo>
                    <a:lnTo>
                      <a:pt x="1104" y="1730"/>
                    </a:lnTo>
                    <a:lnTo>
                      <a:pt x="1104" y="1742"/>
                    </a:lnTo>
                    <a:lnTo>
                      <a:pt x="1100" y="1756"/>
                    </a:lnTo>
                    <a:lnTo>
                      <a:pt x="1100" y="1770"/>
                    </a:lnTo>
                    <a:lnTo>
                      <a:pt x="1100" y="1770"/>
                    </a:lnTo>
                    <a:lnTo>
                      <a:pt x="1100" y="1782"/>
                    </a:lnTo>
                    <a:lnTo>
                      <a:pt x="1098" y="1790"/>
                    </a:lnTo>
                    <a:lnTo>
                      <a:pt x="1094" y="1798"/>
                    </a:lnTo>
                    <a:lnTo>
                      <a:pt x="1090" y="1804"/>
                    </a:lnTo>
                    <a:lnTo>
                      <a:pt x="1084" y="1814"/>
                    </a:lnTo>
                    <a:lnTo>
                      <a:pt x="1082" y="1820"/>
                    </a:lnTo>
                    <a:lnTo>
                      <a:pt x="1082" y="1824"/>
                    </a:lnTo>
                    <a:lnTo>
                      <a:pt x="1082" y="1824"/>
                    </a:lnTo>
                    <a:lnTo>
                      <a:pt x="1082" y="1828"/>
                    </a:lnTo>
                    <a:lnTo>
                      <a:pt x="1084" y="1828"/>
                    </a:lnTo>
                    <a:lnTo>
                      <a:pt x="1088" y="1828"/>
                    </a:lnTo>
                    <a:lnTo>
                      <a:pt x="1092" y="1828"/>
                    </a:lnTo>
                    <a:lnTo>
                      <a:pt x="1090" y="1834"/>
                    </a:lnTo>
                    <a:lnTo>
                      <a:pt x="1090" y="1834"/>
                    </a:lnTo>
                    <a:lnTo>
                      <a:pt x="1090" y="1838"/>
                    </a:lnTo>
                    <a:lnTo>
                      <a:pt x="1092" y="1844"/>
                    </a:lnTo>
                    <a:lnTo>
                      <a:pt x="1094" y="1848"/>
                    </a:lnTo>
                    <a:lnTo>
                      <a:pt x="1092" y="1852"/>
                    </a:lnTo>
                    <a:lnTo>
                      <a:pt x="1092" y="1852"/>
                    </a:lnTo>
                    <a:lnTo>
                      <a:pt x="1090" y="1852"/>
                    </a:lnTo>
                    <a:lnTo>
                      <a:pt x="1088" y="1850"/>
                    </a:lnTo>
                    <a:lnTo>
                      <a:pt x="1086" y="1848"/>
                    </a:lnTo>
                    <a:lnTo>
                      <a:pt x="1082" y="1852"/>
                    </a:lnTo>
                    <a:lnTo>
                      <a:pt x="1082" y="1852"/>
                    </a:lnTo>
                    <a:lnTo>
                      <a:pt x="1082" y="1854"/>
                    </a:lnTo>
                    <a:lnTo>
                      <a:pt x="1082" y="1858"/>
                    </a:lnTo>
                    <a:lnTo>
                      <a:pt x="1086" y="1864"/>
                    </a:lnTo>
                    <a:lnTo>
                      <a:pt x="1094" y="1868"/>
                    </a:lnTo>
                    <a:lnTo>
                      <a:pt x="1106" y="1872"/>
                    </a:lnTo>
                    <a:lnTo>
                      <a:pt x="1106" y="1872"/>
                    </a:lnTo>
                    <a:lnTo>
                      <a:pt x="1110" y="1872"/>
                    </a:lnTo>
                    <a:lnTo>
                      <a:pt x="1110" y="1874"/>
                    </a:lnTo>
                    <a:lnTo>
                      <a:pt x="1110" y="1876"/>
                    </a:lnTo>
                    <a:lnTo>
                      <a:pt x="1106" y="1878"/>
                    </a:lnTo>
                    <a:lnTo>
                      <a:pt x="1104" y="1880"/>
                    </a:lnTo>
                    <a:lnTo>
                      <a:pt x="1098" y="1880"/>
                    </a:lnTo>
                    <a:lnTo>
                      <a:pt x="1094" y="1878"/>
                    </a:lnTo>
                    <a:lnTo>
                      <a:pt x="1090" y="1874"/>
                    </a:lnTo>
                    <a:lnTo>
                      <a:pt x="1090" y="1874"/>
                    </a:lnTo>
                    <a:lnTo>
                      <a:pt x="1084" y="1868"/>
                    </a:lnTo>
                    <a:lnTo>
                      <a:pt x="1082" y="1866"/>
                    </a:lnTo>
                    <a:lnTo>
                      <a:pt x="1080" y="1866"/>
                    </a:lnTo>
                    <a:lnTo>
                      <a:pt x="1080" y="1872"/>
                    </a:lnTo>
                    <a:lnTo>
                      <a:pt x="1080" y="1882"/>
                    </a:lnTo>
                    <a:lnTo>
                      <a:pt x="1080" y="1882"/>
                    </a:lnTo>
                    <a:lnTo>
                      <a:pt x="1078" y="1898"/>
                    </a:lnTo>
                    <a:lnTo>
                      <a:pt x="1074" y="1910"/>
                    </a:lnTo>
                    <a:lnTo>
                      <a:pt x="1072" y="1914"/>
                    </a:lnTo>
                    <a:lnTo>
                      <a:pt x="1068" y="1918"/>
                    </a:lnTo>
                    <a:lnTo>
                      <a:pt x="1066" y="1918"/>
                    </a:lnTo>
                    <a:lnTo>
                      <a:pt x="1062" y="1914"/>
                    </a:lnTo>
                    <a:lnTo>
                      <a:pt x="1062" y="1914"/>
                    </a:lnTo>
                    <a:lnTo>
                      <a:pt x="1056" y="1910"/>
                    </a:lnTo>
                    <a:lnTo>
                      <a:pt x="1056" y="1910"/>
                    </a:lnTo>
                    <a:lnTo>
                      <a:pt x="1056" y="1912"/>
                    </a:lnTo>
                    <a:lnTo>
                      <a:pt x="1058" y="1922"/>
                    </a:lnTo>
                    <a:lnTo>
                      <a:pt x="1064" y="1936"/>
                    </a:lnTo>
                    <a:lnTo>
                      <a:pt x="1064" y="1936"/>
                    </a:lnTo>
                    <a:lnTo>
                      <a:pt x="1076" y="1964"/>
                    </a:lnTo>
                    <a:lnTo>
                      <a:pt x="1080" y="1974"/>
                    </a:lnTo>
                    <a:lnTo>
                      <a:pt x="1084" y="1982"/>
                    </a:lnTo>
                    <a:lnTo>
                      <a:pt x="1084" y="1982"/>
                    </a:lnTo>
                    <a:lnTo>
                      <a:pt x="1088" y="1988"/>
                    </a:lnTo>
                    <a:lnTo>
                      <a:pt x="1094" y="1996"/>
                    </a:lnTo>
                    <a:lnTo>
                      <a:pt x="1100" y="2006"/>
                    </a:lnTo>
                    <a:lnTo>
                      <a:pt x="1110" y="2018"/>
                    </a:lnTo>
                    <a:lnTo>
                      <a:pt x="1110" y="2018"/>
                    </a:lnTo>
                    <a:lnTo>
                      <a:pt x="1132" y="2042"/>
                    </a:lnTo>
                    <a:lnTo>
                      <a:pt x="1140" y="2052"/>
                    </a:lnTo>
                    <a:lnTo>
                      <a:pt x="1142" y="2058"/>
                    </a:lnTo>
                    <a:lnTo>
                      <a:pt x="1150" y="2070"/>
                    </a:lnTo>
                    <a:lnTo>
                      <a:pt x="1150" y="2070"/>
                    </a:lnTo>
                    <a:lnTo>
                      <a:pt x="1172" y="2092"/>
                    </a:lnTo>
                    <a:lnTo>
                      <a:pt x="1178" y="2100"/>
                    </a:lnTo>
                    <a:lnTo>
                      <a:pt x="1180" y="2110"/>
                    </a:lnTo>
                    <a:lnTo>
                      <a:pt x="1180" y="2110"/>
                    </a:lnTo>
                    <a:lnTo>
                      <a:pt x="1184" y="2118"/>
                    </a:lnTo>
                    <a:lnTo>
                      <a:pt x="1190" y="2128"/>
                    </a:lnTo>
                    <a:lnTo>
                      <a:pt x="1190" y="2128"/>
                    </a:lnTo>
                    <a:lnTo>
                      <a:pt x="1194" y="2136"/>
                    </a:lnTo>
                    <a:lnTo>
                      <a:pt x="1196" y="2142"/>
                    </a:lnTo>
                    <a:lnTo>
                      <a:pt x="1194" y="2148"/>
                    </a:lnTo>
                    <a:lnTo>
                      <a:pt x="1194" y="2148"/>
                    </a:lnTo>
                    <a:lnTo>
                      <a:pt x="1194" y="2156"/>
                    </a:lnTo>
                    <a:lnTo>
                      <a:pt x="1194" y="2158"/>
                    </a:lnTo>
                    <a:lnTo>
                      <a:pt x="1196" y="2160"/>
                    </a:lnTo>
                    <a:lnTo>
                      <a:pt x="1198" y="2164"/>
                    </a:lnTo>
                    <a:lnTo>
                      <a:pt x="1198" y="2164"/>
                    </a:lnTo>
                    <a:lnTo>
                      <a:pt x="1200" y="2168"/>
                    </a:lnTo>
                    <a:lnTo>
                      <a:pt x="1204" y="2170"/>
                    </a:lnTo>
                    <a:lnTo>
                      <a:pt x="1208" y="2168"/>
                    </a:lnTo>
                    <a:lnTo>
                      <a:pt x="1216" y="2164"/>
                    </a:lnTo>
                    <a:lnTo>
                      <a:pt x="1216" y="2164"/>
                    </a:lnTo>
                    <a:lnTo>
                      <a:pt x="1222" y="2162"/>
                    </a:lnTo>
                    <a:lnTo>
                      <a:pt x="1226" y="2162"/>
                    </a:lnTo>
                    <a:lnTo>
                      <a:pt x="1234" y="2162"/>
                    </a:lnTo>
                    <a:lnTo>
                      <a:pt x="1234" y="2162"/>
                    </a:lnTo>
                    <a:lnTo>
                      <a:pt x="1226" y="2168"/>
                    </a:lnTo>
                    <a:lnTo>
                      <a:pt x="1220" y="2172"/>
                    </a:lnTo>
                    <a:lnTo>
                      <a:pt x="1208" y="2174"/>
                    </a:lnTo>
                    <a:lnTo>
                      <a:pt x="1202" y="2176"/>
                    </a:lnTo>
                    <a:lnTo>
                      <a:pt x="1200" y="2178"/>
                    </a:lnTo>
                    <a:lnTo>
                      <a:pt x="1202" y="2182"/>
                    </a:lnTo>
                    <a:lnTo>
                      <a:pt x="1202" y="2182"/>
                    </a:lnTo>
                    <a:lnTo>
                      <a:pt x="1212" y="2202"/>
                    </a:lnTo>
                    <a:lnTo>
                      <a:pt x="1226" y="2240"/>
                    </a:lnTo>
                    <a:lnTo>
                      <a:pt x="1232" y="2260"/>
                    </a:lnTo>
                    <a:lnTo>
                      <a:pt x="1238" y="2278"/>
                    </a:lnTo>
                    <a:lnTo>
                      <a:pt x="1238" y="2294"/>
                    </a:lnTo>
                    <a:lnTo>
                      <a:pt x="1236" y="2300"/>
                    </a:lnTo>
                    <a:lnTo>
                      <a:pt x="1234" y="2306"/>
                    </a:lnTo>
                    <a:lnTo>
                      <a:pt x="1234" y="2306"/>
                    </a:lnTo>
                    <a:lnTo>
                      <a:pt x="1230" y="2314"/>
                    </a:lnTo>
                    <a:lnTo>
                      <a:pt x="1230" y="2324"/>
                    </a:lnTo>
                    <a:lnTo>
                      <a:pt x="1230" y="2336"/>
                    </a:lnTo>
                    <a:lnTo>
                      <a:pt x="1234" y="2346"/>
                    </a:lnTo>
                    <a:lnTo>
                      <a:pt x="1246" y="2372"/>
                    </a:lnTo>
                    <a:lnTo>
                      <a:pt x="1256" y="2396"/>
                    </a:lnTo>
                    <a:lnTo>
                      <a:pt x="1256" y="2396"/>
                    </a:lnTo>
                    <a:lnTo>
                      <a:pt x="1260" y="2408"/>
                    </a:lnTo>
                    <a:lnTo>
                      <a:pt x="1262" y="2422"/>
                    </a:lnTo>
                    <a:lnTo>
                      <a:pt x="1262" y="2436"/>
                    </a:lnTo>
                    <a:lnTo>
                      <a:pt x="1262" y="2450"/>
                    </a:lnTo>
                    <a:lnTo>
                      <a:pt x="1258" y="2464"/>
                    </a:lnTo>
                    <a:lnTo>
                      <a:pt x="1254" y="2476"/>
                    </a:lnTo>
                    <a:lnTo>
                      <a:pt x="1246" y="2486"/>
                    </a:lnTo>
                    <a:lnTo>
                      <a:pt x="1238" y="2494"/>
                    </a:lnTo>
                    <a:lnTo>
                      <a:pt x="1238" y="2494"/>
                    </a:lnTo>
                    <a:lnTo>
                      <a:pt x="1230" y="2502"/>
                    </a:lnTo>
                    <a:lnTo>
                      <a:pt x="1222" y="2510"/>
                    </a:lnTo>
                    <a:lnTo>
                      <a:pt x="1218" y="2518"/>
                    </a:lnTo>
                    <a:lnTo>
                      <a:pt x="1212" y="2528"/>
                    </a:lnTo>
                    <a:lnTo>
                      <a:pt x="1206" y="2548"/>
                    </a:lnTo>
                    <a:lnTo>
                      <a:pt x="1202" y="2570"/>
                    </a:lnTo>
                    <a:lnTo>
                      <a:pt x="1196" y="2610"/>
                    </a:lnTo>
                    <a:lnTo>
                      <a:pt x="1192" y="2626"/>
                    </a:lnTo>
                    <a:lnTo>
                      <a:pt x="1188" y="2640"/>
                    </a:lnTo>
                    <a:lnTo>
                      <a:pt x="1188" y="2640"/>
                    </a:lnTo>
                    <a:lnTo>
                      <a:pt x="1182" y="2652"/>
                    </a:lnTo>
                    <a:lnTo>
                      <a:pt x="1178" y="2662"/>
                    </a:lnTo>
                    <a:lnTo>
                      <a:pt x="1176" y="2670"/>
                    </a:lnTo>
                    <a:lnTo>
                      <a:pt x="1176" y="2680"/>
                    </a:lnTo>
                    <a:lnTo>
                      <a:pt x="1178" y="2700"/>
                    </a:lnTo>
                    <a:lnTo>
                      <a:pt x="1178" y="2712"/>
                    </a:lnTo>
                    <a:lnTo>
                      <a:pt x="1178" y="2726"/>
                    </a:lnTo>
                    <a:lnTo>
                      <a:pt x="1178" y="2726"/>
                    </a:lnTo>
                    <a:lnTo>
                      <a:pt x="1176" y="2736"/>
                    </a:lnTo>
                    <a:lnTo>
                      <a:pt x="1176" y="2746"/>
                    </a:lnTo>
                    <a:lnTo>
                      <a:pt x="1180" y="2764"/>
                    </a:lnTo>
                    <a:lnTo>
                      <a:pt x="1188" y="2784"/>
                    </a:lnTo>
                    <a:lnTo>
                      <a:pt x="1200" y="2804"/>
                    </a:lnTo>
                    <a:lnTo>
                      <a:pt x="1222" y="2850"/>
                    </a:lnTo>
                    <a:lnTo>
                      <a:pt x="1234" y="2876"/>
                    </a:lnTo>
                    <a:lnTo>
                      <a:pt x="1242" y="2904"/>
                    </a:lnTo>
                    <a:lnTo>
                      <a:pt x="1242" y="2904"/>
                    </a:lnTo>
                    <a:lnTo>
                      <a:pt x="1250" y="2930"/>
                    </a:lnTo>
                    <a:lnTo>
                      <a:pt x="1260" y="2946"/>
                    </a:lnTo>
                    <a:lnTo>
                      <a:pt x="1268" y="2958"/>
                    </a:lnTo>
                    <a:lnTo>
                      <a:pt x="1276" y="2966"/>
                    </a:lnTo>
                    <a:lnTo>
                      <a:pt x="1284" y="2976"/>
                    </a:lnTo>
                    <a:lnTo>
                      <a:pt x="1288" y="2990"/>
                    </a:lnTo>
                    <a:lnTo>
                      <a:pt x="1288" y="3008"/>
                    </a:lnTo>
                    <a:lnTo>
                      <a:pt x="1286" y="3038"/>
                    </a:lnTo>
                    <a:lnTo>
                      <a:pt x="1286" y="3038"/>
                    </a:lnTo>
                    <a:lnTo>
                      <a:pt x="1284" y="3052"/>
                    </a:lnTo>
                    <a:lnTo>
                      <a:pt x="1286" y="3070"/>
                    </a:lnTo>
                    <a:lnTo>
                      <a:pt x="1294" y="3112"/>
                    </a:lnTo>
                    <a:lnTo>
                      <a:pt x="1304" y="3156"/>
                    </a:lnTo>
                    <a:lnTo>
                      <a:pt x="1308" y="3178"/>
                    </a:lnTo>
                    <a:lnTo>
                      <a:pt x="1310" y="3200"/>
                    </a:lnTo>
                    <a:lnTo>
                      <a:pt x="1310" y="3200"/>
                    </a:lnTo>
                    <a:lnTo>
                      <a:pt x="1312" y="3220"/>
                    </a:lnTo>
                    <a:lnTo>
                      <a:pt x="1318" y="3238"/>
                    </a:lnTo>
                    <a:lnTo>
                      <a:pt x="1326" y="3254"/>
                    </a:lnTo>
                    <a:lnTo>
                      <a:pt x="1334" y="3266"/>
                    </a:lnTo>
                    <a:lnTo>
                      <a:pt x="1342" y="3278"/>
                    </a:lnTo>
                    <a:lnTo>
                      <a:pt x="1352" y="3286"/>
                    </a:lnTo>
                    <a:lnTo>
                      <a:pt x="1366" y="3302"/>
                    </a:lnTo>
                    <a:lnTo>
                      <a:pt x="1366" y="3302"/>
                    </a:lnTo>
                    <a:lnTo>
                      <a:pt x="1376" y="3316"/>
                    </a:lnTo>
                    <a:lnTo>
                      <a:pt x="1384" y="3330"/>
                    </a:lnTo>
                    <a:lnTo>
                      <a:pt x="1388" y="3344"/>
                    </a:lnTo>
                    <a:lnTo>
                      <a:pt x="1392" y="3358"/>
                    </a:lnTo>
                    <a:lnTo>
                      <a:pt x="1396" y="3374"/>
                    </a:lnTo>
                    <a:lnTo>
                      <a:pt x="1402" y="3392"/>
                    </a:lnTo>
                    <a:lnTo>
                      <a:pt x="1410" y="3414"/>
                    </a:lnTo>
                    <a:lnTo>
                      <a:pt x="1424" y="3436"/>
                    </a:lnTo>
                    <a:lnTo>
                      <a:pt x="1424" y="3436"/>
                    </a:lnTo>
                    <a:lnTo>
                      <a:pt x="1436" y="3458"/>
                    </a:lnTo>
                    <a:lnTo>
                      <a:pt x="1444" y="3474"/>
                    </a:lnTo>
                    <a:lnTo>
                      <a:pt x="1446" y="3490"/>
                    </a:lnTo>
                    <a:lnTo>
                      <a:pt x="1446" y="3502"/>
                    </a:lnTo>
                    <a:lnTo>
                      <a:pt x="1442" y="3510"/>
                    </a:lnTo>
                    <a:lnTo>
                      <a:pt x="1438" y="3516"/>
                    </a:lnTo>
                    <a:lnTo>
                      <a:pt x="1434" y="3518"/>
                    </a:lnTo>
                    <a:lnTo>
                      <a:pt x="1432" y="3518"/>
                    </a:lnTo>
                    <a:lnTo>
                      <a:pt x="1432" y="3518"/>
                    </a:lnTo>
                    <a:lnTo>
                      <a:pt x="1430" y="3516"/>
                    </a:lnTo>
                    <a:lnTo>
                      <a:pt x="1426" y="3518"/>
                    </a:lnTo>
                    <a:lnTo>
                      <a:pt x="1424" y="3518"/>
                    </a:lnTo>
                    <a:lnTo>
                      <a:pt x="1424" y="3522"/>
                    </a:lnTo>
                    <a:lnTo>
                      <a:pt x="1424" y="3526"/>
                    </a:lnTo>
                    <a:lnTo>
                      <a:pt x="1424" y="3532"/>
                    </a:lnTo>
                    <a:lnTo>
                      <a:pt x="1428" y="3538"/>
                    </a:lnTo>
                    <a:lnTo>
                      <a:pt x="1432" y="3546"/>
                    </a:lnTo>
                    <a:lnTo>
                      <a:pt x="1432" y="3546"/>
                    </a:lnTo>
                    <a:lnTo>
                      <a:pt x="1442" y="3558"/>
                    </a:lnTo>
                    <a:lnTo>
                      <a:pt x="1446" y="3568"/>
                    </a:lnTo>
                    <a:lnTo>
                      <a:pt x="1448" y="3574"/>
                    </a:lnTo>
                    <a:lnTo>
                      <a:pt x="1444" y="3580"/>
                    </a:lnTo>
                    <a:lnTo>
                      <a:pt x="1444" y="3580"/>
                    </a:lnTo>
                    <a:lnTo>
                      <a:pt x="1442" y="3582"/>
                    </a:lnTo>
                    <a:lnTo>
                      <a:pt x="1442" y="3588"/>
                    </a:lnTo>
                    <a:lnTo>
                      <a:pt x="1442" y="3596"/>
                    </a:lnTo>
                    <a:lnTo>
                      <a:pt x="1446" y="3602"/>
                    </a:lnTo>
                    <a:lnTo>
                      <a:pt x="1448" y="3602"/>
                    </a:lnTo>
                    <a:lnTo>
                      <a:pt x="1448" y="3598"/>
                    </a:lnTo>
                    <a:lnTo>
                      <a:pt x="1448" y="3598"/>
                    </a:lnTo>
                    <a:lnTo>
                      <a:pt x="1450" y="3594"/>
                    </a:lnTo>
                    <a:lnTo>
                      <a:pt x="1452" y="3590"/>
                    </a:lnTo>
                    <a:lnTo>
                      <a:pt x="1454" y="3588"/>
                    </a:lnTo>
                    <a:lnTo>
                      <a:pt x="1458" y="3588"/>
                    </a:lnTo>
                    <a:lnTo>
                      <a:pt x="1460" y="3588"/>
                    </a:lnTo>
                    <a:lnTo>
                      <a:pt x="1462" y="3590"/>
                    </a:lnTo>
                    <a:lnTo>
                      <a:pt x="1464" y="3592"/>
                    </a:lnTo>
                    <a:lnTo>
                      <a:pt x="1464" y="3596"/>
                    </a:lnTo>
                    <a:lnTo>
                      <a:pt x="1464" y="3596"/>
                    </a:lnTo>
                    <a:lnTo>
                      <a:pt x="1464" y="3602"/>
                    </a:lnTo>
                    <a:lnTo>
                      <a:pt x="1466" y="3604"/>
                    </a:lnTo>
                    <a:lnTo>
                      <a:pt x="1470" y="3606"/>
                    </a:lnTo>
                    <a:lnTo>
                      <a:pt x="1472" y="3606"/>
                    </a:lnTo>
                    <a:lnTo>
                      <a:pt x="1478" y="3606"/>
                    </a:lnTo>
                    <a:lnTo>
                      <a:pt x="1480" y="3608"/>
                    </a:lnTo>
                    <a:lnTo>
                      <a:pt x="1482" y="3612"/>
                    </a:lnTo>
                    <a:lnTo>
                      <a:pt x="1482" y="3612"/>
                    </a:lnTo>
                    <a:lnTo>
                      <a:pt x="1484" y="3618"/>
                    </a:lnTo>
                    <a:lnTo>
                      <a:pt x="1486" y="3620"/>
                    </a:lnTo>
                    <a:lnTo>
                      <a:pt x="1490" y="3620"/>
                    </a:lnTo>
                    <a:lnTo>
                      <a:pt x="1494" y="3624"/>
                    </a:lnTo>
                    <a:lnTo>
                      <a:pt x="1494" y="3624"/>
                    </a:lnTo>
                    <a:lnTo>
                      <a:pt x="1496" y="3628"/>
                    </a:lnTo>
                    <a:lnTo>
                      <a:pt x="1500" y="3626"/>
                    </a:lnTo>
                    <a:lnTo>
                      <a:pt x="1506" y="3626"/>
                    </a:lnTo>
                    <a:lnTo>
                      <a:pt x="1510" y="3626"/>
                    </a:lnTo>
                    <a:lnTo>
                      <a:pt x="1510" y="3626"/>
                    </a:lnTo>
                    <a:lnTo>
                      <a:pt x="1514" y="3628"/>
                    </a:lnTo>
                    <a:lnTo>
                      <a:pt x="1516" y="3626"/>
                    </a:lnTo>
                    <a:lnTo>
                      <a:pt x="1520" y="3620"/>
                    </a:lnTo>
                    <a:lnTo>
                      <a:pt x="1526" y="3612"/>
                    </a:lnTo>
                    <a:lnTo>
                      <a:pt x="1532" y="3610"/>
                    </a:lnTo>
                    <a:lnTo>
                      <a:pt x="1540" y="3608"/>
                    </a:lnTo>
                    <a:lnTo>
                      <a:pt x="1540" y="3608"/>
                    </a:lnTo>
                    <a:lnTo>
                      <a:pt x="1552" y="3606"/>
                    </a:lnTo>
                    <a:lnTo>
                      <a:pt x="1558" y="3608"/>
                    </a:lnTo>
                    <a:lnTo>
                      <a:pt x="1564" y="3608"/>
                    </a:lnTo>
                    <a:lnTo>
                      <a:pt x="1576" y="3604"/>
                    </a:lnTo>
                    <a:lnTo>
                      <a:pt x="1576" y="3604"/>
                    </a:lnTo>
                    <a:lnTo>
                      <a:pt x="1584" y="3602"/>
                    </a:lnTo>
                    <a:lnTo>
                      <a:pt x="1590" y="3598"/>
                    </a:lnTo>
                    <a:lnTo>
                      <a:pt x="1594" y="3592"/>
                    </a:lnTo>
                    <a:lnTo>
                      <a:pt x="1600" y="3586"/>
                    </a:lnTo>
                    <a:lnTo>
                      <a:pt x="1602" y="3586"/>
                    </a:lnTo>
                    <a:lnTo>
                      <a:pt x="1608" y="3584"/>
                    </a:lnTo>
                    <a:lnTo>
                      <a:pt x="1608" y="3584"/>
                    </a:lnTo>
                    <a:lnTo>
                      <a:pt x="1620" y="3584"/>
                    </a:lnTo>
                    <a:lnTo>
                      <a:pt x="1632" y="3588"/>
                    </a:lnTo>
                    <a:lnTo>
                      <a:pt x="1642" y="3590"/>
                    </a:lnTo>
                    <a:lnTo>
                      <a:pt x="1648" y="3590"/>
                    </a:lnTo>
                    <a:lnTo>
                      <a:pt x="1652" y="3586"/>
                    </a:lnTo>
                    <a:lnTo>
                      <a:pt x="1652" y="3586"/>
                    </a:lnTo>
                    <a:lnTo>
                      <a:pt x="1656" y="3586"/>
                    </a:lnTo>
                    <a:lnTo>
                      <a:pt x="1664" y="3586"/>
                    </a:lnTo>
                    <a:lnTo>
                      <a:pt x="1678" y="3592"/>
                    </a:lnTo>
                    <a:lnTo>
                      <a:pt x="1686" y="3594"/>
                    </a:lnTo>
                    <a:lnTo>
                      <a:pt x="1694" y="3594"/>
                    </a:lnTo>
                    <a:lnTo>
                      <a:pt x="1702" y="3594"/>
                    </a:lnTo>
                    <a:lnTo>
                      <a:pt x="1706" y="3590"/>
                    </a:lnTo>
                    <a:lnTo>
                      <a:pt x="1706" y="3590"/>
                    </a:lnTo>
                    <a:lnTo>
                      <a:pt x="1712" y="3584"/>
                    </a:lnTo>
                    <a:lnTo>
                      <a:pt x="1718" y="3582"/>
                    </a:lnTo>
                    <a:lnTo>
                      <a:pt x="1724" y="3584"/>
                    </a:lnTo>
                    <a:lnTo>
                      <a:pt x="1730" y="3584"/>
                    </a:lnTo>
                    <a:lnTo>
                      <a:pt x="1738" y="3586"/>
                    </a:lnTo>
                    <a:lnTo>
                      <a:pt x="1740" y="3584"/>
                    </a:lnTo>
                    <a:lnTo>
                      <a:pt x="1740" y="3580"/>
                    </a:lnTo>
                    <a:lnTo>
                      <a:pt x="1740" y="3580"/>
                    </a:lnTo>
                    <a:lnTo>
                      <a:pt x="1740" y="3574"/>
                    </a:lnTo>
                    <a:lnTo>
                      <a:pt x="1742" y="3572"/>
                    </a:lnTo>
                    <a:lnTo>
                      <a:pt x="1748" y="3572"/>
                    </a:lnTo>
                    <a:lnTo>
                      <a:pt x="1756" y="3572"/>
                    </a:lnTo>
                    <a:lnTo>
                      <a:pt x="1764" y="3572"/>
                    </a:lnTo>
                    <a:lnTo>
                      <a:pt x="1774" y="3570"/>
                    </a:lnTo>
                    <a:lnTo>
                      <a:pt x="1782" y="3568"/>
                    </a:lnTo>
                    <a:lnTo>
                      <a:pt x="1792" y="3562"/>
                    </a:lnTo>
                    <a:lnTo>
                      <a:pt x="1792" y="3562"/>
                    </a:lnTo>
                    <a:lnTo>
                      <a:pt x="1810" y="3550"/>
                    </a:lnTo>
                    <a:lnTo>
                      <a:pt x="1832" y="3532"/>
                    </a:lnTo>
                    <a:lnTo>
                      <a:pt x="1858" y="3506"/>
                    </a:lnTo>
                    <a:lnTo>
                      <a:pt x="1870" y="3490"/>
                    </a:lnTo>
                    <a:lnTo>
                      <a:pt x="1884" y="3472"/>
                    </a:lnTo>
                    <a:lnTo>
                      <a:pt x="1884" y="3472"/>
                    </a:lnTo>
                    <a:lnTo>
                      <a:pt x="1892" y="3462"/>
                    </a:lnTo>
                    <a:lnTo>
                      <a:pt x="1898" y="3456"/>
                    </a:lnTo>
                    <a:lnTo>
                      <a:pt x="1912" y="3442"/>
                    </a:lnTo>
                    <a:lnTo>
                      <a:pt x="1920" y="3432"/>
                    </a:lnTo>
                    <a:lnTo>
                      <a:pt x="1930" y="3418"/>
                    </a:lnTo>
                    <a:lnTo>
                      <a:pt x="1940" y="3398"/>
                    </a:lnTo>
                    <a:lnTo>
                      <a:pt x="1952" y="3372"/>
                    </a:lnTo>
                    <a:lnTo>
                      <a:pt x="1952" y="3372"/>
                    </a:lnTo>
                    <a:lnTo>
                      <a:pt x="1968" y="3344"/>
                    </a:lnTo>
                    <a:lnTo>
                      <a:pt x="1980" y="3324"/>
                    </a:lnTo>
                    <a:lnTo>
                      <a:pt x="1992" y="3314"/>
                    </a:lnTo>
                    <a:lnTo>
                      <a:pt x="2002" y="3304"/>
                    </a:lnTo>
                    <a:lnTo>
                      <a:pt x="2010" y="3294"/>
                    </a:lnTo>
                    <a:lnTo>
                      <a:pt x="2018" y="3276"/>
                    </a:lnTo>
                    <a:lnTo>
                      <a:pt x="2026" y="3250"/>
                    </a:lnTo>
                    <a:lnTo>
                      <a:pt x="2030" y="3210"/>
                    </a:lnTo>
                    <a:lnTo>
                      <a:pt x="2030" y="3210"/>
                    </a:lnTo>
                    <a:lnTo>
                      <a:pt x="2034" y="3182"/>
                    </a:lnTo>
                    <a:lnTo>
                      <a:pt x="2032" y="3176"/>
                    </a:lnTo>
                    <a:lnTo>
                      <a:pt x="2030" y="3176"/>
                    </a:lnTo>
                    <a:lnTo>
                      <a:pt x="2026" y="3176"/>
                    </a:lnTo>
                    <a:lnTo>
                      <a:pt x="2024" y="3176"/>
                    </a:lnTo>
                    <a:lnTo>
                      <a:pt x="2022" y="3170"/>
                    </a:lnTo>
                    <a:lnTo>
                      <a:pt x="2022" y="3170"/>
                    </a:lnTo>
                    <a:lnTo>
                      <a:pt x="2020" y="3164"/>
                    </a:lnTo>
                    <a:lnTo>
                      <a:pt x="2024" y="3156"/>
                    </a:lnTo>
                    <a:lnTo>
                      <a:pt x="2028" y="3148"/>
                    </a:lnTo>
                    <a:lnTo>
                      <a:pt x="2036" y="3140"/>
                    </a:lnTo>
                    <a:lnTo>
                      <a:pt x="2046" y="3132"/>
                    </a:lnTo>
                    <a:lnTo>
                      <a:pt x="2056" y="3126"/>
                    </a:lnTo>
                    <a:lnTo>
                      <a:pt x="2070" y="3118"/>
                    </a:lnTo>
                    <a:lnTo>
                      <a:pt x="2084" y="3114"/>
                    </a:lnTo>
                    <a:lnTo>
                      <a:pt x="2084" y="3114"/>
                    </a:lnTo>
                    <a:lnTo>
                      <a:pt x="2096" y="3108"/>
                    </a:lnTo>
                    <a:lnTo>
                      <a:pt x="2108" y="3100"/>
                    </a:lnTo>
                    <a:lnTo>
                      <a:pt x="2118" y="3094"/>
                    </a:lnTo>
                    <a:lnTo>
                      <a:pt x="2126" y="3086"/>
                    </a:lnTo>
                    <a:lnTo>
                      <a:pt x="2132" y="3078"/>
                    </a:lnTo>
                    <a:lnTo>
                      <a:pt x="2136" y="3070"/>
                    </a:lnTo>
                    <a:lnTo>
                      <a:pt x="2136" y="3062"/>
                    </a:lnTo>
                    <a:lnTo>
                      <a:pt x="2134" y="3056"/>
                    </a:lnTo>
                    <a:lnTo>
                      <a:pt x="2134" y="3056"/>
                    </a:lnTo>
                    <a:lnTo>
                      <a:pt x="2130" y="3050"/>
                    </a:lnTo>
                    <a:lnTo>
                      <a:pt x="2130" y="3044"/>
                    </a:lnTo>
                    <a:lnTo>
                      <a:pt x="2132" y="3034"/>
                    </a:lnTo>
                    <a:lnTo>
                      <a:pt x="2136" y="3016"/>
                    </a:lnTo>
                    <a:lnTo>
                      <a:pt x="2138" y="3006"/>
                    </a:lnTo>
                    <a:lnTo>
                      <a:pt x="2138" y="2990"/>
                    </a:lnTo>
                    <a:lnTo>
                      <a:pt x="2138" y="2990"/>
                    </a:lnTo>
                    <a:lnTo>
                      <a:pt x="2136" y="2972"/>
                    </a:lnTo>
                    <a:lnTo>
                      <a:pt x="2136" y="2970"/>
                    </a:lnTo>
                    <a:lnTo>
                      <a:pt x="2134" y="2972"/>
                    </a:lnTo>
                    <a:lnTo>
                      <a:pt x="2132" y="2974"/>
                    </a:lnTo>
                    <a:lnTo>
                      <a:pt x="2130" y="2974"/>
                    </a:lnTo>
                    <a:lnTo>
                      <a:pt x="2128" y="2972"/>
                    </a:lnTo>
                    <a:lnTo>
                      <a:pt x="2126" y="2962"/>
                    </a:lnTo>
                    <a:lnTo>
                      <a:pt x="2126" y="2962"/>
                    </a:lnTo>
                    <a:lnTo>
                      <a:pt x="2120" y="2934"/>
                    </a:lnTo>
                    <a:lnTo>
                      <a:pt x="2120" y="2920"/>
                    </a:lnTo>
                    <a:lnTo>
                      <a:pt x="2118" y="2910"/>
                    </a:lnTo>
                    <a:lnTo>
                      <a:pt x="2108" y="2896"/>
                    </a:lnTo>
                    <a:lnTo>
                      <a:pt x="2108" y="2896"/>
                    </a:lnTo>
                    <a:lnTo>
                      <a:pt x="2104" y="2890"/>
                    </a:lnTo>
                    <a:lnTo>
                      <a:pt x="2102" y="2886"/>
                    </a:lnTo>
                    <a:lnTo>
                      <a:pt x="2102" y="2878"/>
                    </a:lnTo>
                    <a:lnTo>
                      <a:pt x="2104" y="2870"/>
                    </a:lnTo>
                    <a:lnTo>
                      <a:pt x="2104" y="2860"/>
                    </a:lnTo>
                    <a:lnTo>
                      <a:pt x="2104" y="2860"/>
                    </a:lnTo>
                    <a:lnTo>
                      <a:pt x="2104" y="2854"/>
                    </a:lnTo>
                    <a:lnTo>
                      <a:pt x="2108" y="2854"/>
                    </a:lnTo>
                    <a:lnTo>
                      <a:pt x="2114" y="2852"/>
                    </a:lnTo>
                    <a:lnTo>
                      <a:pt x="2120" y="2848"/>
                    </a:lnTo>
                    <a:lnTo>
                      <a:pt x="2126" y="2842"/>
                    </a:lnTo>
                    <a:lnTo>
                      <a:pt x="2136" y="2832"/>
                    </a:lnTo>
                    <a:lnTo>
                      <a:pt x="2136" y="2832"/>
                    </a:lnTo>
                    <a:lnTo>
                      <a:pt x="2144" y="2822"/>
                    </a:lnTo>
                    <a:lnTo>
                      <a:pt x="2150" y="2816"/>
                    </a:lnTo>
                    <a:lnTo>
                      <a:pt x="2160" y="2812"/>
                    </a:lnTo>
                    <a:lnTo>
                      <a:pt x="2166" y="2808"/>
                    </a:lnTo>
                    <a:lnTo>
                      <a:pt x="2170" y="2804"/>
                    </a:lnTo>
                    <a:lnTo>
                      <a:pt x="2178" y="2794"/>
                    </a:lnTo>
                    <a:lnTo>
                      <a:pt x="2186" y="2780"/>
                    </a:lnTo>
                    <a:lnTo>
                      <a:pt x="2186" y="2780"/>
                    </a:lnTo>
                    <a:lnTo>
                      <a:pt x="2196" y="2764"/>
                    </a:lnTo>
                    <a:lnTo>
                      <a:pt x="2206" y="2750"/>
                    </a:lnTo>
                    <a:lnTo>
                      <a:pt x="2216" y="2740"/>
                    </a:lnTo>
                    <a:lnTo>
                      <a:pt x="2226" y="2734"/>
                    </a:lnTo>
                    <a:lnTo>
                      <a:pt x="2236" y="2728"/>
                    </a:lnTo>
                    <a:lnTo>
                      <a:pt x="2246" y="2724"/>
                    </a:lnTo>
                    <a:lnTo>
                      <a:pt x="2266" y="2718"/>
                    </a:lnTo>
                    <a:lnTo>
                      <a:pt x="2266" y="2718"/>
                    </a:lnTo>
                    <a:lnTo>
                      <a:pt x="2276" y="2714"/>
                    </a:lnTo>
                    <a:lnTo>
                      <a:pt x="2284" y="2708"/>
                    </a:lnTo>
                    <a:lnTo>
                      <a:pt x="2294" y="2700"/>
                    </a:lnTo>
                    <a:lnTo>
                      <a:pt x="2302" y="2690"/>
                    </a:lnTo>
                    <a:lnTo>
                      <a:pt x="2320" y="2666"/>
                    </a:lnTo>
                    <a:lnTo>
                      <a:pt x="2336" y="2636"/>
                    </a:lnTo>
                    <a:lnTo>
                      <a:pt x="2336" y="2636"/>
                    </a:lnTo>
                    <a:lnTo>
                      <a:pt x="2344" y="2622"/>
                    </a:lnTo>
                    <a:lnTo>
                      <a:pt x="2344" y="2620"/>
                    </a:lnTo>
                    <a:lnTo>
                      <a:pt x="2344" y="2616"/>
                    </a:lnTo>
                    <a:lnTo>
                      <a:pt x="2348" y="2606"/>
                    </a:lnTo>
                    <a:lnTo>
                      <a:pt x="2348" y="2606"/>
                    </a:lnTo>
                    <a:lnTo>
                      <a:pt x="2350" y="2598"/>
                    </a:lnTo>
                    <a:lnTo>
                      <a:pt x="2352" y="2594"/>
                    </a:lnTo>
                    <a:lnTo>
                      <a:pt x="2350" y="2590"/>
                    </a:lnTo>
                    <a:lnTo>
                      <a:pt x="2348" y="2586"/>
                    </a:lnTo>
                    <a:lnTo>
                      <a:pt x="2344" y="2582"/>
                    </a:lnTo>
                    <a:lnTo>
                      <a:pt x="2340" y="2576"/>
                    </a:lnTo>
                    <a:lnTo>
                      <a:pt x="2338" y="2566"/>
                    </a:lnTo>
                    <a:lnTo>
                      <a:pt x="2338" y="2552"/>
                    </a:lnTo>
                    <a:lnTo>
                      <a:pt x="2338" y="2552"/>
                    </a:lnTo>
                    <a:lnTo>
                      <a:pt x="2338" y="2500"/>
                    </a:lnTo>
                    <a:lnTo>
                      <a:pt x="2338" y="2478"/>
                    </a:lnTo>
                    <a:lnTo>
                      <a:pt x="2334" y="2454"/>
                    </a:lnTo>
                    <a:lnTo>
                      <a:pt x="2334" y="2454"/>
                    </a:lnTo>
                    <a:lnTo>
                      <a:pt x="2334" y="2440"/>
                    </a:lnTo>
                    <a:lnTo>
                      <a:pt x="2334" y="2432"/>
                    </a:lnTo>
                    <a:lnTo>
                      <a:pt x="2338" y="2426"/>
                    </a:lnTo>
                    <a:lnTo>
                      <a:pt x="2342" y="2424"/>
                    </a:lnTo>
                    <a:lnTo>
                      <a:pt x="2344" y="2420"/>
                    </a:lnTo>
                    <a:lnTo>
                      <a:pt x="2344" y="2414"/>
                    </a:lnTo>
                    <a:lnTo>
                      <a:pt x="2340" y="2406"/>
                    </a:lnTo>
                    <a:lnTo>
                      <a:pt x="2334" y="2394"/>
                    </a:lnTo>
                    <a:lnTo>
                      <a:pt x="2334" y="2394"/>
                    </a:lnTo>
                    <a:lnTo>
                      <a:pt x="2324" y="2384"/>
                    </a:lnTo>
                    <a:lnTo>
                      <a:pt x="2318" y="2380"/>
                    </a:lnTo>
                    <a:lnTo>
                      <a:pt x="2312" y="2376"/>
                    </a:lnTo>
                    <a:lnTo>
                      <a:pt x="2308" y="2368"/>
                    </a:lnTo>
                    <a:lnTo>
                      <a:pt x="2308" y="2368"/>
                    </a:lnTo>
                    <a:lnTo>
                      <a:pt x="2304" y="2358"/>
                    </a:lnTo>
                    <a:lnTo>
                      <a:pt x="2302" y="2348"/>
                    </a:lnTo>
                    <a:lnTo>
                      <a:pt x="2300" y="2334"/>
                    </a:lnTo>
                    <a:lnTo>
                      <a:pt x="2292" y="2310"/>
                    </a:lnTo>
                    <a:lnTo>
                      <a:pt x="2292" y="2310"/>
                    </a:lnTo>
                    <a:lnTo>
                      <a:pt x="2288" y="2298"/>
                    </a:lnTo>
                    <a:lnTo>
                      <a:pt x="2288" y="2290"/>
                    </a:lnTo>
                    <a:lnTo>
                      <a:pt x="2288" y="2286"/>
                    </a:lnTo>
                    <a:lnTo>
                      <a:pt x="2290" y="2280"/>
                    </a:lnTo>
                    <a:lnTo>
                      <a:pt x="2292" y="2278"/>
                    </a:lnTo>
                    <a:lnTo>
                      <a:pt x="2294" y="2274"/>
                    </a:lnTo>
                    <a:lnTo>
                      <a:pt x="2294" y="2268"/>
                    </a:lnTo>
                    <a:lnTo>
                      <a:pt x="2292" y="2258"/>
                    </a:lnTo>
                    <a:lnTo>
                      <a:pt x="2292" y="2258"/>
                    </a:lnTo>
                    <a:lnTo>
                      <a:pt x="2288" y="2248"/>
                    </a:lnTo>
                    <a:lnTo>
                      <a:pt x="2288" y="2240"/>
                    </a:lnTo>
                    <a:lnTo>
                      <a:pt x="2290" y="2236"/>
                    </a:lnTo>
                    <a:lnTo>
                      <a:pt x="2292" y="2232"/>
                    </a:lnTo>
                    <a:lnTo>
                      <a:pt x="2294" y="2230"/>
                    </a:lnTo>
                    <a:lnTo>
                      <a:pt x="2296" y="2228"/>
                    </a:lnTo>
                    <a:lnTo>
                      <a:pt x="2296" y="2226"/>
                    </a:lnTo>
                    <a:lnTo>
                      <a:pt x="2294" y="2220"/>
                    </a:lnTo>
                    <a:lnTo>
                      <a:pt x="2294" y="2220"/>
                    </a:lnTo>
                    <a:lnTo>
                      <a:pt x="2282" y="2206"/>
                    </a:lnTo>
                    <a:lnTo>
                      <a:pt x="2272" y="2192"/>
                    </a:lnTo>
                    <a:lnTo>
                      <a:pt x="2268" y="2184"/>
                    </a:lnTo>
                    <a:lnTo>
                      <a:pt x="2266" y="2174"/>
                    </a:lnTo>
                    <a:lnTo>
                      <a:pt x="2268" y="2164"/>
                    </a:lnTo>
                    <a:lnTo>
                      <a:pt x="2272" y="2150"/>
                    </a:lnTo>
                    <a:lnTo>
                      <a:pt x="2272" y="2150"/>
                    </a:lnTo>
                    <a:lnTo>
                      <a:pt x="2276" y="2138"/>
                    </a:lnTo>
                    <a:lnTo>
                      <a:pt x="2278" y="2130"/>
                    </a:lnTo>
                    <a:lnTo>
                      <a:pt x="2282" y="2122"/>
                    </a:lnTo>
                    <a:lnTo>
                      <a:pt x="2288" y="2108"/>
                    </a:lnTo>
                    <a:lnTo>
                      <a:pt x="2288" y="2108"/>
                    </a:lnTo>
                    <a:lnTo>
                      <a:pt x="2304" y="2084"/>
                    </a:lnTo>
                    <a:lnTo>
                      <a:pt x="2308" y="2074"/>
                    </a:lnTo>
                    <a:lnTo>
                      <a:pt x="2310" y="2058"/>
                    </a:lnTo>
                    <a:lnTo>
                      <a:pt x="2310" y="2058"/>
                    </a:lnTo>
                    <a:lnTo>
                      <a:pt x="2312" y="2052"/>
                    </a:lnTo>
                    <a:lnTo>
                      <a:pt x="2314" y="2048"/>
                    </a:lnTo>
                    <a:lnTo>
                      <a:pt x="2320" y="2046"/>
                    </a:lnTo>
                    <a:lnTo>
                      <a:pt x="2322" y="2044"/>
                    </a:lnTo>
                    <a:lnTo>
                      <a:pt x="2324" y="2042"/>
                    </a:lnTo>
                    <a:lnTo>
                      <a:pt x="2324" y="2036"/>
                    </a:lnTo>
                    <a:lnTo>
                      <a:pt x="2322" y="2026"/>
                    </a:lnTo>
                    <a:lnTo>
                      <a:pt x="2322" y="2026"/>
                    </a:lnTo>
                    <a:lnTo>
                      <a:pt x="2324" y="2016"/>
                    </a:lnTo>
                    <a:lnTo>
                      <a:pt x="2326" y="2008"/>
                    </a:lnTo>
                    <a:lnTo>
                      <a:pt x="2332" y="2004"/>
                    </a:lnTo>
                    <a:lnTo>
                      <a:pt x="2338" y="2002"/>
                    </a:lnTo>
                    <a:lnTo>
                      <a:pt x="2350" y="1998"/>
                    </a:lnTo>
                    <a:lnTo>
                      <a:pt x="2354" y="1994"/>
                    </a:lnTo>
                    <a:lnTo>
                      <a:pt x="2354" y="1988"/>
                    </a:lnTo>
                    <a:lnTo>
                      <a:pt x="2354" y="1988"/>
                    </a:lnTo>
                    <a:lnTo>
                      <a:pt x="2352" y="1980"/>
                    </a:lnTo>
                    <a:lnTo>
                      <a:pt x="2356" y="1980"/>
                    </a:lnTo>
                    <a:lnTo>
                      <a:pt x="2360" y="1980"/>
                    </a:lnTo>
                    <a:lnTo>
                      <a:pt x="2366" y="1978"/>
                    </a:lnTo>
                    <a:lnTo>
                      <a:pt x="2372" y="1972"/>
                    </a:lnTo>
                    <a:lnTo>
                      <a:pt x="2380" y="1962"/>
                    </a:lnTo>
                    <a:lnTo>
                      <a:pt x="2380" y="1962"/>
                    </a:lnTo>
                    <a:lnTo>
                      <a:pt x="2388" y="1950"/>
                    </a:lnTo>
                    <a:lnTo>
                      <a:pt x="2390" y="1944"/>
                    </a:lnTo>
                    <a:lnTo>
                      <a:pt x="2394" y="1932"/>
                    </a:lnTo>
                    <a:lnTo>
                      <a:pt x="2396" y="1926"/>
                    </a:lnTo>
                    <a:lnTo>
                      <a:pt x="2400" y="1918"/>
                    </a:lnTo>
                    <a:lnTo>
                      <a:pt x="2408" y="1908"/>
                    </a:lnTo>
                    <a:lnTo>
                      <a:pt x="2422" y="1892"/>
                    </a:lnTo>
                    <a:lnTo>
                      <a:pt x="2422" y="1892"/>
                    </a:lnTo>
                    <a:lnTo>
                      <a:pt x="2450" y="1860"/>
                    </a:lnTo>
                    <a:lnTo>
                      <a:pt x="2470" y="1836"/>
                    </a:lnTo>
                    <a:lnTo>
                      <a:pt x="2494" y="1812"/>
                    </a:lnTo>
                    <a:lnTo>
                      <a:pt x="2532" y="1780"/>
                    </a:lnTo>
                    <a:lnTo>
                      <a:pt x="2532" y="1780"/>
                    </a:lnTo>
                    <a:lnTo>
                      <a:pt x="2556" y="1760"/>
                    </a:lnTo>
                    <a:lnTo>
                      <a:pt x="2580" y="1736"/>
                    </a:lnTo>
                    <a:lnTo>
                      <a:pt x="2604" y="1710"/>
                    </a:lnTo>
                    <a:lnTo>
                      <a:pt x="2626" y="1680"/>
                    </a:lnTo>
                    <a:lnTo>
                      <a:pt x="2646" y="1646"/>
                    </a:lnTo>
                    <a:lnTo>
                      <a:pt x="2666" y="1610"/>
                    </a:lnTo>
                    <a:lnTo>
                      <a:pt x="2686" y="1570"/>
                    </a:lnTo>
                    <a:lnTo>
                      <a:pt x="2702" y="1526"/>
                    </a:lnTo>
                    <a:lnTo>
                      <a:pt x="2702" y="1526"/>
                    </a:lnTo>
                    <a:lnTo>
                      <a:pt x="2712" y="1502"/>
                    </a:lnTo>
                    <a:lnTo>
                      <a:pt x="2722" y="1482"/>
                    </a:lnTo>
                    <a:lnTo>
                      <a:pt x="2738" y="1452"/>
                    </a:lnTo>
                    <a:lnTo>
                      <a:pt x="2750" y="1426"/>
                    </a:lnTo>
                    <a:lnTo>
                      <a:pt x="2752" y="1416"/>
                    </a:lnTo>
                    <a:lnTo>
                      <a:pt x="2754" y="1404"/>
                    </a:lnTo>
                    <a:lnTo>
                      <a:pt x="2754" y="1404"/>
                    </a:lnTo>
                    <a:lnTo>
                      <a:pt x="2758" y="1388"/>
                    </a:lnTo>
                    <a:lnTo>
                      <a:pt x="2762" y="1378"/>
                    </a:lnTo>
                    <a:lnTo>
                      <a:pt x="2768" y="1376"/>
                    </a:lnTo>
                    <a:lnTo>
                      <a:pt x="2772" y="1376"/>
                    </a:lnTo>
                    <a:lnTo>
                      <a:pt x="2776" y="1376"/>
                    </a:lnTo>
                    <a:lnTo>
                      <a:pt x="2776" y="1376"/>
                    </a:lnTo>
                    <a:lnTo>
                      <a:pt x="2770" y="1364"/>
                    </a:lnTo>
                    <a:lnTo>
                      <a:pt x="2770" y="136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sp>
            <p:nvSpPr>
              <p:cNvPr id="111" name="Freeform 6155"/>
              <p:cNvSpPr>
                <a:spLocks noEditPoints="1"/>
              </p:cNvSpPr>
              <p:nvPr/>
            </p:nvSpPr>
            <p:spPr bwMode="auto">
              <a:xfrm>
                <a:off x="3769201" y="1348638"/>
                <a:ext cx="1621117" cy="2352394"/>
              </a:xfrm>
              <a:custGeom>
                <a:avLst/>
                <a:gdLst/>
                <a:ahLst/>
                <a:cxnLst>
                  <a:cxn ang="0">
                    <a:pos x="1252" y="182"/>
                  </a:cxn>
                  <a:cxn ang="0">
                    <a:pos x="1182" y="102"/>
                  </a:cxn>
                  <a:cxn ang="0">
                    <a:pos x="1170" y="832"/>
                  </a:cxn>
                  <a:cxn ang="0">
                    <a:pos x="1328" y="260"/>
                  </a:cxn>
                  <a:cxn ang="0">
                    <a:pos x="1116" y="888"/>
                  </a:cxn>
                  <a:cxn ang="0">
                    <a:pos x="1002" y="938"/>
                  </a:cxn>
                  <a:cxn ang="0">
                    <a:pos x="1078" y="890"/>
                  </a:cxn>
                  <a:cxn ang="0">
                    <a:pos x="1318" y="40"/>
                  </a:cxn>
                  <a:cxn ang="0">
                    <a:pos x="144" y="1644"/>
                  </a:cxn>
                  <a:cxn ang="0">
                    <a:pos x="70" y="1866"/>
                  </a:cxn>
                  <a:cxn ang="0">
                    <a:pos x="170" y="1652"/>
                  </a:cxn>
                  <a:cxn ang="0">
                    <a:pos x="188" y="1758"/>
                  </a:cxn>
                  <a:cxn ang="0">
                    <a:pos x="270" y="1632"/>
                  </a:cxn>
                  <a:cxn ang="0">
                    <a:pos x="204" y="1758"/>
                  </a:cxn>
                  <a:cxn ang="0">
                    <a:pos x="234" y="1954"/>
                  </a:cxn>
                  <a:cxn ang="0">
                    <a:pos x="316" y="2084"/>
                  </a:cxn>
                  <a:cxn ang="0">
                    <a:pos x="626" y="1382"/>
                  </a:cxn>
                  <a:cxn ang="0">
                    <a:pos x="354" y="1486"/>
                  </a:cxn>
                  <a:cxn ang="0">
                    <a:pos x="522" y="1136"/>
                  </a:cxn>
                  <a:cxn ang="0">
                    <a:pos x="180" y="1048"/>
                  </a:cxn>
                  <a:cxn ang="0">
                    <a:pos x="238" y="1920"/>
                  </a:cxn>
                  <a:cxn ang="0">
                    <a:pos x="908" y="1824"/>
                  </a:cxn>
                  <a:cxn ang="0">
                    <a:pos x="914" y="1826"/>
                  </a:cxn>
                  <a:cxn ang="0">
                    <a:pos x="1094" y="1700"/>
                  </a:cxn>
                  <a:cxn ang="0">
                    <a:pos x="632" y="1514"/>
                  </a:cxn>
                  <a:cxn ang="0">
                    <a:pos x="1324" y="1592"/>
                  </a:cxn>
                  <a:cxn ang="0">
                    <a:pos x="954" y="2790"/>
                  </a:cxn>
                  <a:cxn ang="0">
                    <a:pos x="1260" y="2818"/>
                  </a:cxn>
                  <a:cxn ang="0">
                    <a:pos x="1352" y="2902"/>
                  </a:cxn>
                  <a:cxn ang="0">
                    <a:pos x="2500" y="3468"/>
                  </a:cxn>
                  <a:cxn ang="0">
                    <a:pos x="2346" y="3260"/>
                  </a:cxn>
                  <a:cxn ang="0">
                    <a:pos x="2192" y="978"/>
                  </a:cxn>
                  <a:cxn ang="0">
                    <a:pos x="1910" y="896"/>
                  </a:cxn>
                  <a:cxn ang="0">
                    <a:pos x="1536" y="738"/>
                  </a:cxn>
                  <a:cxn ang="0">
                    <a:pos x="1350" y="810"/>
                  </a:cxn>
                  <a:cxn ang="0">
                    <a:pos x="1154" y="858"/>
                  </a:cxn>
                  <a:cxn ang="0">
                    <a:pos x="1036" y="1012"/>
                  </a:cxn>
                  <a:cxn ang="0">
                    <a:pos x="886" y="1194"/>
                  </a:cxn>
                  <a:cxn ang="0">
                    <a:pos x="704" y="1308"/>
                  </a:cxn>
                  <a:cxn ang="0">
                    <a:pos x="624" y="1436"/>
                  </a:cxn>
                  <a:cxn ang="0">
                    <a:pos x="760" y="1618"/>
                  </a:cxn>
                  <a:cxn ang="0">
                    <a:pos x="1070" y="1736"/>
                  </a:cxn>
                  <a:cxn ang="0">
                    <a:pos x="1148" y="1332"/>
                  </a:cxn>
                  <a:cxn ang="0">
                    <a:pos x="1290" y="1300"/>
                  </a:cxn>
                  <a:cxn ang="0">
                    <a:pos x="1552" y="1536"/>
                  </a:cxn>
                  <a:cxn ang="0">
                    <a:pos x="1180" y="1840"/>
                  </a:cxn>
                  <a:cxn ang="0">
                    <a:pos x="810" y="1824"/>
                  </a:cxn>
                  <a:cxn ang="0">
                    <a:pos x="766" y="1806"/>
                  </a:cxn>
                  <a:cxn ang="0">
                    <a:pos x="618" y="1946"/>
                  </a:cxn>
                  <a:cxn ang="0">
                    <a:pos x="292" y="2188"/>
                  </a:cxn>
                  <a:cxn ang="0">
                    <a:pos x="270" y="2496"/>
                  </a:cxn>
                  <a:cxn ang="0">
                    <a:pos x="284" y="2872"/>
                  </a:cxn>
                  <a:cxn ang="0">
                    <a:pos x="854" y="2536"/>
                  </a:cxn>
                  <a:cxn ang="0">
                    <a:pos x="990" y="2544"/>
                  </a:cxn>
                  <a:cxn ang="0">
                    <a:pos x="1240" y="2726"/>
                  </a:cxn>
                  <a:cxn ang="0">
                    <a:pos x="1394" y="2818"/>
                  </a:cxn>
                  <a:cxn ang="0">
                    <a:pos x="1532" y="2638"/>
                  </a:cxn>
                  <a:cxn ang="0">
                    <a:pos x="1772" y="2410"/>
                  </a:cxn>
                  <a:cxn ang="0">
                    <a:pos x="1912" y="2410"/>
                  </a:cxn>
                  <a:cxn ang="0">
                    <a:pos x="1538" y="2666"/>
                  </a:cxn>
                  <a:cxn ang="0">
                    <a:pos x="1642" y="2896"/>
                  </a:cxn>
                  <a:cxn ang="0">
                    <a:pos x="1818" y="3330"/>
                  </a:cxn>
                  <a:cxn ang="0">
                    <a:pos x="2248" y="4088"/>
                  </a:cxn>
                </a:cxnLst>
                <a:rect l="0" t="0" r="r" b="b"/>
                <a:pathLst>
                  <a:path w="2834" h="4108">
                    <a:moveTo>
                      <a:pt x="1216" y="808"/>
                    </a:moveTo>
                    <a:lnTo>
                      <a:pt x="1216" y="808"/>
                    </a:lnTo>
                    <a:lnTo>
                      <a:pt x="1216" y="806"/>
                    </a:lnTo>
                    <a:lnTo>
                      <a:pt x="1212" y="804"/>
                    </a:lnTo>
                    <a:lnTo>
                      <a:pt x="1208" y="804"/>
                    </a:lnTo>
                    <a:lnTo>
                      <a:pt x="1206" y="804"/>
                    </a:lnTo>
                    <a:lnTo>
                      <a:pt x="1206" y="804"/>
                    </a:lnTo>
                    <a:lnTo>
                      <a:pt x="1206" y="806"/>
                    </a:lnTo>
                    <a:lnTo>
                      <a:pt x="1210" y="808"/>
                    </a:lnTo>
                    <a:lnTo>
                      <a:pt x="1214" y="808"/>
                    </a:lnTo>
                    <a:lnTo>
                      <a:pt x="1216" y="808"/>
                    </a:lnTo>
                    <a:lnTo>
                      <a:pt x="1216" y="808"/>
                    </a:lnTo>
                    <a:close/>
                    <a:moveTo>
                      <a:pt x="1202" y="798"/>
                    </a:moveTo>
                    <a:lnTo>
                      <a:pt x="1202" y="798"/>
                    </a:lnTo>
                    <a:lnTo>
                      <a:pt x="1198" y="798"/>
                    </a:lnTo>
                    <a:lnTo>
                      <a:pt x="1194" y="802"/>
                    </a:lnTo>
                    <a:lnTo>
                      <a:pt x="1194" y="806"/>
                    </a:lnTo>
                    <a:lnTo>
                      <a:pt x="1194" y="806"/>
                    </a:lnTo>
                    <a:lnTo>
                      <a:pt x="1196" y="806"/>
                    </a:lnTo>
                    <a:lnTo>
                      <a:pt x="1196" y="806"/>
                    </a:lnTo>
                    <a:lnTo>
                      <a:pt x="1200" y="806"/>
                    </a:lnTo>
                    <a:lnTo>
                      <a:pt x="1202" y="802"/>
                    </a:lnTo>
                    <a:lnTo>
                      <a:pt x="1202" y="800"/>
                    </a:lnTo>
                    <a:lnTo>
                      <a:pt x="1202" y="798"/>
                    </a:lnTo>
                    <a:lnTo>
                      <a:pt x="1202" y="798"/>
                    </a:lnTo>
                    <a:close/>
                    <a:moveTo>
                      <a:pt x="1082" y="898"/>
                    </a:moveTo>
                    <a:lnTo>
                      <a:pt x="1082" y="898"/>
                    </a:lnTo>
                    <a:lnTo>
                      <a:pt x="1078" y="896"/>
                    </a:lnTo>
                    <a:lnTo>
                      <a:pt x="1074" y="900"/>
                    </a:lnTo>
                    <a:lnTo>
                      <a:pt x="1074" y="900"/>
                    </a:lnTo>
                    <a:lnTo>
                      <a:pt x="1072" y="902"/>
                    </a:lnTo>
                    <a:lnTo>
                      <a:pt x="1072" y="906"/>
                    </a:lnTo>
                    <a:lnTo>
                      <a:pt x="1072" y="910"/>
                    </a:lnTo>
                    <a:lnTo>
                      <a:pt x="1066" y="914"/>
                    </a:lnTo>
                    <a:lnTo>
                      <a:pt x="1066" y="914"/>
                    </a:lnTo>
                    <a:lnTo>
                      <a:pt x="1062" y="916"/>
                    </a:lnTo>
                    <a:lnTo>
                      <a:pt x="1064" y="914"/>
                    </a:lnTo>
                    <a:lnTo>
                      <a:pt x="1066" y="910"/>
                    </a:lnTo>
                    <a:lnTo>
                      <a:pt x="1064" y="908"/>
                    </a:lnTo>
                    <a:lnTo>
                      <a:pt x="1062" y="908"/>
                    </a:lnTo>
                    <a:lnTo>
                      <a:pt x="1062" y="908"/>
                    </a:lnTo>
                    <a:lnTo>
                      <a:pt x="1060" y="908"/>
                    </a:lnTo>
                    <a:lnTo>
                      <a:pt x="1060" y="906"/>
                    </a:lnTo>
                    <a:lnTo>
                      <a:pt x="1062" y="902"/>
                    </a:lnTo>
                    <a:lnTo>
                      <a:pt x="1066" y="896"/>
                    </a:lnTo>
                    <a:lnTo>
                      <a:pt x="1066" y="894"/>
                    </a:lnTo>
                    <a:lnTo>
                      <a:pt x="1064" y="892"/>
                    </a:lnTo>
                    <a:lnTo>
                      <a:pt x="1064" y="892"/>
                    </a:lnTo>
                    <a:lnTo>
                      <a:pt x="1058" y="892"/>
                    </a:lnTo>
                    <a:lnTo>
                      <a:pt x="1054" y="896"/>
                    </a:lnTo>
                    <a:lnTo>
                      <a:pt x="1048" y="900"/>
                    </a:lnTo>
                    <a:lnTo>
                      <a:pt x="1046" y="906"/>
                    </a:lnTo>
                    <a:lnTo>
                      <a:pt x="1046" y="906"/>
                    </a:lnTo>
                    <a:lnTo>
                      <a:pt x="1046" y="912"/>
                    </a:lnTo>
                    <a:lnTo>
                      <a:pt x="1046" y="916"/>
                    </a:lnTo>
                    <a:lnTo>
                      <a:pt x="1046" y="918"/>
                    </a:lnTo>
                    <a:lnTo>
                      <a:pt x="1042" y="920"/>
                    </a:lnTo>
                    <a:lnTo>
                      <a:pt x="1042" y="920"/>
                    </a:lnTo>
                    <a:lnTo>
                      <a:pt x="1036" y="922"/>
                    </a:lnTo>
                    <a:lnTo>
                      <a:pt x="1036" y="924"/>
                    </a:lnTo>
                    <a:lnTo>
                      <a:pt x="1036" y="928"/>
                    </a:lnTo>
                    <a:lnTo>
                      <a:pt x="1032" y="938"/>
                    </a:lnTo>
                    <a:lnTo>
                      <a:pt x="1032" y="938"/>
                    </a:lnTo>
                    <a:lnTo>
                      <a:pt x="1030" y="942"/>
                    </a:lnTo>
                    <a:lnTo>
                      <a:pt x="1034" y="940"/>
                    </a:lnTo>
                    <a:lnTo>
                      <a:pt x="1040" y="938"/>
                    </a:lnTo>
                    <a:lnTo>
                      <a:pt x="1044" y="938"/>
                    </a:lnTo>
                    <a:lnTo>
                      <a:pt x="1048" y="940"/>
                    </a:lnTo>
                    <a:lnTo>
                      <a:pt x="1048" y="940"/>
                    </a:lnTo>
                    <a:lnTo>
                      <a:pt x="1050" y="940"/>
                    </a:lnTo>
                    <a:lnTo>
                      <a:pt x="1052" y="940"/>
                    </a:lnTo>
                    <a:lnTo>
                      <a:pt x="1054" y="936"/>
                    </a:lnTo>
                    <a:lnTo>
                      <a:pt x="1056" y="934"/>
                    </a:lnTo>
                    <a:lnTo>
                      <a:pt x="1058" y="932"/>
                    </a:lnTo>
                    <a:lnTo>
                      <a:pt x="1060" y="934"/>
                    </a:lnTo>
                    <a:lnTo>
                      <a:pt x="1060" y="934"/>
                    </a:lnTo>
                    <a:lnTo>
                      <a:pt x="1062" y="936"/>
                    </a:lnTo>
                    <a:lnTo>
                      <a:pt x="1064" y="936"/>
                    </a:lnTo>
                    <a:lnTo>
                      <a:pt x="1068" y="930"/>
                    </a:lnTo>
                    <a:lnTo>
                      <a:pt x="1068" y="930"/>
                    </a:lnTo>
                    <a:lnTo>
                      <a:pt x="1070" y="926"/>
                    </a:lnTo>
                    <a:lnTo>
                      <a:pt x="1072" y="924"/>
                    </a:lnTo>
                    <a:lnTo>
                      <a:pt x="1076" y="920"/>
                    </a:lnTo>
                    <a:lnTo>
                      <a:pt x="1084" y="920"/>
                    </a:lnTo>
                    <a:lnTo>
                      <a:pt x="1084" y="920"/>
                    </a:lnTo>
                    <a:lnTo>
                      <a:pt x="1088" y="918"/>
                    </a:lnTo>
                    <a:lnTo>
                      <a:pt x="1090" y="916"/>
                    </a:lnTo>
                    <a:lnTo>
                      <a:pt x="1090" y="914"/>
                    </a:lnTo>
                    <a:lnTo>
                      <a:pt x="1090" y="910"/>
                    </a:lnTo>
                    <a:lnTo>
                      <a:pt x="1086" y="904"/>
                    </a:lnTo>
                    <a:lnTo>
                      <a:pt x="1082" y="898"/>
                    </a:lnTo>
                    <a:lnTo>
                      <a:pt x="1082" y="898"/>
                    </a:lnTo>
                    <a:close/>
                    <a:moveTo>
                      <a:pt x="1190" y="808"/>
                    </a:moveTo>
                    <a:lnTo>
                      <a:pt x="1190" y="808"/>
                    </a:lnTo>
                    <a:lnTo>
                      <a:pt x="1188" y="808"/>
                    </a:lnTo>
                    <a:lnTo>
                      <a:pt x="1186" y="808"/>
                    </a:lnTo>
                    <a:lnTo>
                      <a:pt x="1184" y="808"/>
                    </a:lnTo>
                    <a:lnTo>
                      <a:pt x="1182" y="808"/>
                    </a:lnTo>
                    <a:lnTo>
                      <a:pt x="1182" y="808"/>
                    </a:lnTo>
                    <a:lnTo>
                      <a:pt x="1180" y="808"/>
                    </a:lnTo>
                    <a:lnTo>
                      <a:pt x="1178" y="810"/>
                    </a:lnTo>
                    <a:lnTo>
                      <a:pt x="1176" y="814"/>
                    </a:lnTo>
                    <a:lnTo>
                      <a:pt x="1176" y="814"/>
                    </a:lnTo>
                    <a:lnTo>
                      <a:pt x="1178" y="814"/>
                    </a:lnTo>
                    <a:lnTo>
                      <a:pt x="1178" y="816"/>
                    </a:lnTo>
                    <a:lnTo>
                      <a:pt x="1184" y="814"/>
                    </a:lnTo>
                    <a:lnTo>
                      <a:pt x="1188" y="810"/>
                    </a:lnTo>
                    <a:lnTo>
                      <a:pt x="1190" y="808"/>
                    </a:lnTo>
                    <a:lnTo>
                      <a:pt x="1190" y="808"/>
                    </a:lnTo>
                    <a:close/>
                    <a:moveTo>
                      <a:pt x="1400" y="746"/>
                    </a:moveTo>
                    <a:lnTo>
                      <a:pt x="1400" y="746"/>
                    </a:lnTo>
                    <a:lnTo>
                      <a:pt x="1394" y="744"/>
                    </a:lnTo>
                    <a:lnTo>
                      <a:pt x="1390" y="744"/>
                    </a:lnTo>
                    <a:lnTo>
                      <a:pt x="1388" y="744"/>
                    </a:lnTo>
                    <a:lnTo>
                      <a:pt x="1390" y="748"/>
                    </a:lnTo>
                    <a:lnTo>
                      <a:pt x="1390" y="748"/>
                    </a:lnTo>
                    <a:lnTo>
                      <a:pt x="1394" y="750"/>
                    </a:lnTo>
                    <a:lnTo>
                      <a:pt x="1398" y="750"/>
                    </a:lnTo>
                    <a:lnTo>
                      <a:pt x="1400" y="748"/>
                    </a:lnTo>
                    <a:lnTo>
                      <a:pt x="1400" y="746"/>
                    </a:lnTo>
                    <a:lnTo>
                      <a:pt x="1400" y="746"/>
                    </a:lnTo>
                    <a:close/>
                    <a:moveTo>
                      <a:pt x="1252" y="182"/>
                    </a:moveTo>
                    <a:lnTo>
                      <a:pt x="1252" y="182"/>
                    </a:lnTo>
                    <a:lnTo>
                      <a:pt x="1256" y="186"/>
                    </a:lnTo>
                    <a:lnTo>
                      <a:pt x="1256" y="188"/>
                    </a:lnTo>
                    <a:lnTo>
                      <a:pt x="1258" y="190"/>
                    </a:lnTo>
                    <a:lnTo>
                      <a:pt x="1258" y="192"/>
                    </a:lnTo>
                    <a:lnTo>
                      <a:pt x="1262" y="192"/>
                    </a:lnTo>
                    <a:lnTo>
                      <a:pt x="1272" y="190"/>
                    </a:lnTo>
                    <a:lnTo>
                      <a:pt x="1272" y="190"/>
                    </a:lnTo>
                    <a:lnTo>
                      <a:pt x="1290" y="186"/>
                    </a:lnTo>
                    <a:lnTo>
                      <a:pt x="1306" y="186"/>
                    </a:lnTo>
                    <a:lnTo>
                      <a:pt x="1312" y="184"/>
                    </a:lnTo>
                    <a:lnTo>
                      <a:pt x="1316" y="182"/>
                    </a:lnTo>
                    <a:lnTo>
                      <a:pt x="1318" y="178"/>
                    </a:lnTo>
                    <a:lnTo>
                      <a:pt x="1318" y="172"/>
                    </a:lnTo>
                    <a:lnTo>
                      <a:pt x="1318" y="172"/>
                    </a:lnTo>
                    <a:lnTo>
                      <a:pt x="1316" y="166"/>
                    </a:lnTo>
                    <a:lnTo>
                      <a:pt x="1312" y="162"/>
                    </a:lnTo>
                    <a:lnTo>
                      <a:pt x="1306" y="160"/>
                    </a:lnTo>
                    <a:lnTo>
                      <a:pt x="1300" y="158"/>
                    </a:lnTo>
                    <a:lnTo>
                      <a:pt x="1284" y="158"/>
                    </a:lnTo>
                    <a:lnTo>
                      <a:pt x="1266" y="162"/>
                    </a:lnTo>
                    <a:lnTo>
                      <a:pt x="1266" y="162"/>
                    </a:lnTo>
                    <a:lnTo>
                      <a:pt x="1250" y="166"/>
                    </a:lnTo>
                    <a:lnTo>
                      <a:pt x="1238" y="168"/>
                    </a:lnTo>
                    <a:lnTo>
                      <a:pt x="1238" y="170"/>
                    </a:lnTo>
                    <a:lnTo>
                      <a:pt x="1238" y="174"/>
                    </a:lnTo>
                    <a:lnTo>
                      <a:pt x="1252" y="182"/>
                    </a:lnTo>
                    <a:lnTo>
                      <a:pt x="1252" y="182"/>
                    </a:lnTo>
                    <a:close/>
                    <a:moveTo>
                      <a:pt x="1236" y="808"/>
                    </a:moveTo>
                    <a:lnTo>
                      <a:pt x="1236" y="808"/>
                    </a:lnTo>
                    <a:lnTo>
                      <a:pt x="1238" y="806"/>
                    </a:lnTo>
                    <a:lnTo>
                      <a:pt x="1236" y="804"/>
                    </a:lnTo>
                    <a:lnTo>
                      <a:pt x="1228" y="802"/>
                    </a:lnTo>
                    <a:lnTo>
                      <a:pt x="1228" y="802"/>
                    </a:lnTo>
                    <a:lnTo>
                      <a:pt x="1224" y="798"/>
                    </a:lnTo>
                    <a:lnTo>
                      <a:pt x="1220" y="796"/>
                    </a:lnTo>
                    <a:lnTo>
                      <a:pt x="1216" y="794"/>
                    </a:lnTo>
                    <a:lnTo>
                      <a:pt x="1216" y="798"/>
                    </a:lnTo>
                    <a:lnTo>
                      <a:pt x="1216" y="798"/>
                    </a:lnTo>
                    <a:lnTo>
                      <a:pt x="1216" y="802"/>
                    </a:lnTo>
                    <a:lnTo>
                      <a:pt x="1220" y="806"/>
                    </a:lnTo>
                    <a:lnTo>
                      <a:pt x="1228" y="810"/>
                    </a:lnTo>
                    <a:lnTo>
                      <a:pt x="1236" y="808"/>
                    </a:lnTo>
                    <a:lnTo>
                      <a:pt x="1236" y="808"/>
                    </a:lnTo>
                    <a:close/>
                    <a:moveTo>
                      <a:pt x="902" y="108"/>
                    </a:moveTo>
                    <a:lnTo>
                      <a:pt x="902" y="108"/>
                    </a:lnTo>
                    <a:lnTo>
                      <a:pt x="902" y="114"/>
                    </a:lnTo>
                    <a:lnTo>
                      <a:pt x="904" y="120"/>
                    </a:lnTo>
                    <a:lnTo>
                      <a:pt x="906" y="124"/>
                    </a:lnTo>
                    <a:lnTo>
                      <a:pt x="910" y="126"/>
                    </a:lnTo>
                    <a:lnTo>
                      <a:pt x="912" y="128"/>
                    </a:lnTo>
                    <a:lnTo>
                      <a:pt x="910" y="128"/>
                    </a:lnTo>
                    <a:lnTo>
                      <a:pt x="900" y="130"/>
                    </a:lnTo>
                    <a:lnTo>
                      <a:pt x="900" y="130"/>
                    </a:lnTo>
                    <a:lnTo>
                      <a:pt x="886" y="130"/>
                    </a:lnTo>
                    <a:lnTo>
                      <a:pt x="884" y="132"/>
                    </a:lnTo>
                    <a:lnTo>
                      <a:pt x="886" y="136"/>
                    </a:lnTo>
                    <a:lnTo>
                      <a:pt x="898" y="148"/>
                    </a:lnTo>
                    <a:lnTo>
                      <a:pt x="922" y="172"/>
                    </a:lnTo>
                    <a:lnTo>
                      <a:pt x="922" y="172"/>
                    </a:lnTo>
                    <a:lnTo>
                      <a:pt x="936" y="184"/>
                    </a:lnTo>
                    <a:lnTo>
                      <a:pt x="948" y="192"/>
                    </a:lnTo>
                    <a:lnTo>
                      <a:pt x="960" y="194"/>
                    </a:lnTo>
                    <a:lnTo>
                      <a:pt x="970" y="192"/>
                    </a:lnTo>
                    <a:lnTo>
                      <a:pt x="980" y="188"/>
                    </a:lnTo>
                    <a:lnTo>
                      <a:pt x="990" y="182"/>
                    </a:lnTo>
                    <a:lnTo>
                      <a:pt x="1018" y="164"/>
                    </a:lnTo>
                    <a:lnTo>
                      <a:pt x="1018" y="164"/>
                    </a:lnTo>
                    <a:lnTo>
                      <a:pt x="1038" y="152"/>
                    </a:lnTo>
                    <a:lnTo>
                      <a:pt x="1040" y="152"/>
                    </a:lnTo>
                    <a:lnTo>
                      <a:pt x="1042" y="154"/>
                    </a:lnTo>
                    <a:lnTo>
                      <a:pt x="1042" y="158"/>
                    </a:lnTo>
                    <a:lnTo>
                      <a:pt x="1048" y="160"/>
                    </a:lnTo>
                    <a:lnTo>
                      <a:pt x="1056" y="164"/>
                    </a:lnTo>
                    <a:lnTo>
                      <a:pt x="1072" y="166"/>
                    </a:lnTo>
                    <a:lnTo>
                      <a:pt x="1072" y="166"/>
                    </a:lnTo>
                    <a:lnTo>
                      <a:pt x="1088" y="168"/>
                    </a:lnTo>
                    <a:lnTo>
                      <a:pt x="1096" y="170"/>
                    </a:lnTo>
                    <a:lnTo>
                      <a:pt x="1096" y="170"/>
                    </a:lnTo>
                    <a:lnTo>
                      <a:pt x="1094" y="172"/>
                    </a:lnTo>
                    <a:lnTo>
                      <a:pt x="1088" y="176"/>
                    </a:lnTo>
                    <a:lnTo>
                      <a:pt x="1058" y="186"/>
                    </a:lnTo>
                    <a:lnTo>
                      <a:pt x="1014" y="198"/>
                    </a:lnTo>
                    <a:lnTo>
                      <a:pt x="1014" y="198"/>
                    </a:lnTo>
                    <a:lnTo>
                      <a:pt x="994" y="206"/>
                    </a:lnTo>
                    <a:lnTo>
                      <a:pt x="980" y="210"/>
                    </a:lnTo>
                    <a:lnTo>
                      <a:pt x="972" y="216"/>
                    </a:lnTo>
                    <a:lnTo>
                      <a:pt x="970" y="218"/>
                    </a:lnTo>
                    <a:lnTo>
                      <a:pt x="970" y="220"/>
                    </a:lnTo>
                    <a:lnTo>
                      <a:pt x="976" y="222"/>
                    </a:lnTo>
                    <a:lnTo>
                      <a:pt x="988" y="224"/>
                    </a:lnTo>
                    <a:lnTo>
                      <a:pt x="1008" y="224"/>
                    </a:lnTo>
                    <a:lnTo>
                      <a:pt x="1034" y="222"/>
                    </a:lnTo>
                    <a:lnTo>
                      <a:pt x="1034" y="222"/>
                    </a:lnTo>
                    <a:lnTo>
                      <a:pt x="1058" y="220"/>
                    </a:lnTo>
                    <a:lnTo>
                      <a:pt x="1072" y="220"/>
                    </a:lnTo>
                    <a:lnTo>
                      <a:pt x="1074" y="222"/>
                    </a:lnTo>
                    <a:lnTo>
                      <a:pt x="1076" y="222"/>
                    </a:lnTo>
                    <a:lnTo>
                      <a:pt x="1072" y="226"/>
                    </a:lnTo>
                    <a:lnTo>
                      <a:pt x="1064" y="232"/>
                    </a:lnTo>
                    <a:lnTo>
                      <a:pt x="1050" y="236"/>
                    </a:lnTo>
                    <a:lnTo>
                      <a:pt x="1036" y="242"/>
                    </a:lnTo>
                    <a:lnTo>
                      <a:pt x="1018" y="244"/>
                    </a:lnTo>
                    <a:lnTo>
                      <a:pt x="1018" y="244"/>
                    </a:lnTo>
                    <a:lnTo>
                      <a:pt x="994" y="250"/>
                    </a:lnTo>
                    <a:lnTo>
                      <a:pt x="988" y="252"/>
                    </a:lnTo>
                    <a:lnTo>
                      <a:pt x="984" y="256"/>
                    </a:lnTo>
                    <a:lnTo>
                      <a:pt x="986" y="260"/>
                    </a:lnTo>
                    <a:lnTo>
                      <a:pt x="990" y="264"/>
                    </a:lnTo>
                    <a:lnTo>
                      <a:pt x="1014" y="274"/>
                    </a:lnTo>
                    <a:lnTo>
                      <a:pt x="1014" y="274"/>
                    </a:lnTo>
                    <a:lnTo>
                      <a:pt x="1028" y="280"/>
                    </a:lnTo>
                    <a:lnTo>
                      <a:pt x="1036" y="286"/>
                    </a:lnTo>
                    <a:lnTo>
                      <a:pt x="1048" y="296"/>
                    </a:lnTo>
                    <a:lnTo>
                      <a:pt x="1052" y="302"/>
                    </a:lnTo>
                    <a:lnTo>
                      <a:pt x="1060" y="308"/>
                    </a:lnTo>
                    <a:lnTo>
                      <a:pt x="1072" y="312"/>
                    </a:lnTo>
                    <a:lnTo>
                      <a:pt x="1090" y="318"/>
                    </a:lnTo>
                    <a:lnTo>
                      <a:pt x="1090" y="318"/>
                    </a:lnTo>
                    <a:lnTo>
                      <a:pt x="1098" y="320"/>
                    </a:lnTo>
                    <a:lnTo>
                      <a:pt x="1104" y="320"/>
                    </a:lnTo>
                    <a:lnTo>
                      <a:pt x="1110" y="318"/>
                    </a:lnTo>
                    <a:lnTo>
                      <a:pt x="1114" y="316"/>
                    </a:lnTo>
                    <a:lnTo>
                      <a:pt x="1116" y="312"/>
                    </a:lnTo>
                    <a:lnTo>
                      <a:pt x="1116" y="306"/>
                    </a:lnTo>
                    <a:lnTo>
                      <a:pt x="1118" y="294"/>
                    </a:lnTo>
                    <a:lnTo>
                      <a:pt x="1120" y="282"/>
                    </a:lnTo>
                    <a:lnTo>
                      <a:pt x="1124" y="268"/>
                    </a:lnTo>
                    <a:lnTo>
                      <a:pt x="1128" y="262"/>
                    </a:lnTo>
                    <a:lnTo>
                      <a:pt x="1132" y="256"/>
                    </a:lnTo>
                    <a:lnTo>
                      <a:pt x="1138" y="252"/>
                    </a:lnTo>
                    <a:lnTo>
                      <a:pt x="1146" y="248"/>
                    </a:lnTo>
                    <a:lnTo>
                      <a:pt x="1146" y="248"/>
                    </a:lnTo>
                    <a:lnTo>
                      <a:pt x="1160" y="242"/>
                    </a:lnTo>
                    <a:lnTo>
                      <a:pt x="1166" y="236"/>
                    </a:lnTo>
                    <a:lnTo>
                      <a:pt x="1166" y="230"/>
                    </a:lnTo>
                    <a:lnTo>
                      <a:pt x="1164" y="224"/>
                    </a:lnTo>
                    <a:lnTo>
                      <a:pt x="1162" y="218"/>
                    </a:lnTo>
                    <a:lnTo>
                      <a:pt x="1162" y="214"/>
                    </a:lnTo>
                    <a:lnTo>
                      <a:pt x="1162" y="212"/>
                    </a:lnTo>
                    <a:lnTo>
                      <a:pt x="1166" y="208"/>
                    </a:lnTo>
                    <a:lnTo>
                      <a:pt x="1176" y="204"/>
                    </a:lnTo>
                    <a:lnTo>
                      <a:pt x="1176" y="204"/>
                    </a:lnTo>
                    <a:lnTo>
                      <a:pt x="1182" y="202"/>
                    </a:lnTo>
                    <a:lnTo>
                      <a:pt x="1188" y="200"/>
                    </a:lnTo>
                    <a:lnTo>
                      <a:pt x="1190" y="196"/>
                    </a:lnTo>
                    <a:lnTo>
                      <a:pt x="1192" y="192"/>
                    </a:lnTo>
                    <a:lnTo>
                      <a:pt x="1194" y="186"/>
                    </a:lnTo>
                    <a:lnTo>
                      <a:pt x="1194" y="178"/>
                    </a:lnTo>
                    <a:lnTo>
                      <a:pt x="1196" y="170"/>
                    </a:lnTo>
                    <a:lnTo>
                      <a:pt x="1198" y="166"/>
                    </a:lnTo>
                    <a:lnTo>
                      <a:pt x="1202" y="164"/>
                    </a:lnTo>
                    <a:lnTo>
                      <a:pt x="1206" y="160"/>
                    </a:lnTo>
                    <a:lnTo>
                      <a:pt x="1212" y="158"/>
                    </a:lnTo>
                    <a:lnTo>
                      <a:pt x="1234" y="156"/>
                    </a:lnTo>
                    <a:lnTo>
                      <a:pt x="1234" y="156"/>
                    </a:lnTo>
                    <a:lnTo>
                      <a:pt x="1272" y="152"/>
                    </a:lnTo>
                    <a:lnTo>
                      <a:pt x="1284" y="148"/>
                    </a:lnTo>
                    <a:lnTo>
                      <a:pt x="1290" y="146"/>
                    </a:lnTo>
                    <a:lnTo>
                      <a:pt x="1290" y="144"/>
                    </a:lnTo>
                    <a:lnTo>
                      <a:pt x="1290" y="142"/>
                    </a:lnTo>
                    <a:lnTo>
                      <a:pt x="1284" y="138"/>
                    </a:lnTo>
                    <a:lnTo>
                      <a:pt x="1274" y="136"/>
                    </a:lnTo>
                    <a:lnTo>
                      <a:pt x="1260" y="130"/>
                    </a:lnTo>
                    <a:lnTo>
                      <a:pt x="1260" y="130"/>
                    </a:lnTo>
                    <a:lnTo>
                      <a:pt x="1244" y="126"/>
                    </a:lnTo>
                    <a:lnTo>
                      <a:pt x="1236" y="124"/>
                    </a:lnTo>
                    <a:lnTo>
                      <a:pt x="1226" y="118"/>
                    </a:lnTo>
                    <a:lnTo>
                      <a:pt x="1224" y="116"/>
                    </a:lnTo>
                    <a:lnTo>
                      <a:pt x="1220" y="114"/>
                    </a:lnTo>
                    <a:lnTo>
                      <a:pt x="1202" y="114"/>
                    </a:lnTo>
                    <a:lnTo>
                      <a:pt x="1202" y="114"/>
                    </a:lnTo>
                    <a:lnTo>
                      <a:pt x="1190" y="112"/>
                    </a:lnTo>
                    <a:lnTo>
                      <a:pt x="1186" y="110"/>
                    </a:lnTo>
                    <a:lnTo>
                      <a:pt x="1184" y="106"/>
                    </a:lnTo>
                    <a:lnTo>
                      <a:pt x="1182" y="102"/>
                    </a:lnTo>
                    <a:lnTo>
                      <a:pt x="1182" y="96"/>
                    </a:lnTo>
                    <a:lnTo>
                      <a:pt x="1182" y="90"/>
                    </a:lnTo>
                    <a:lnTo>
                      <a:pt x="1178" y="84"/>
                    </a:lnTo>
                    <a:lnTo>
                      <a:pt x="1170" y="78"/>
                    </a:lnTo>
                    <a:lnTo>
                      <a:pt x="1170" y="78"/>
                    </a:lnTo>
                    <a:lnTo>
                      <a:pt x="1162" y="74"/>
                    </a:lnTo>
                    <a:lnTo>
                      <a:pt x="1156" y="76"/>
                    </a:lnTo>
                    <a:lnTo>
                      <a:pt x="1152" y="82"/>
                    </a:lnTo>
                    <a:lnTo>
                      <a:pt x="1148" y="88"/>
                    </a:lnTo>
                    <a:lnTo>
                      <a:pt x="1144" y="96"/>
                    </a:lnTo>
                    <a:lnTo>
                      <a:pt x="1144" y="98"/>
                    </a:lnTo>
                    <a:lnTo>
                      <a:pt x="1142" y="94"/>
                    </a:lnTo>
                    <a:lnTo>
                      <a:pt x="1142" y="94"/>
                    </a:lnTo>
                    <a:lnTo>
                      <a:pt x="1140" y="84"/>
                    </a:lnTo>
                    <a:lnTo>
                      <a:pt x="1140" y="78"/>
                    </a:lnTo>
                    <a:lnTo>
                      <a:pt x="1142" y="74"/>
                    </a:lnTo>
                    <a:lnTo>
                      <a:pt x="1144" y="70"/>
                    </a:lnTo>
                    <a:lnTo>
                      <a:pt x="1150" y="66"/>
                    </a:lnTo>
                    <a:lnTo>
                      <a:pt x="1152" y="64"/>
                    </a:lnTo>
                    <a:lnTo>
                      <a:pt x="1152" y="64"/>
                    </a:lnTo>
                    <a:lnTo>
                      <a:pt x="1152" y="64"/>
                    </a:lnTo>
                    <a:lnTo>
                      <a:pt x="1132" y="54"/>
                    </a:lnTo>
                    <a:lnTo>
                      <a:pt x="1124" y="50"/>
                    </a:lnTo>
                    <a:lnTo>
                      <a:pt x="1108" y="50"/>
                    </a:lnTo>
                    <a:lnTo>
                      <a:pt x="1108" y="50"/>
                    </a:lnTo>
                    <a:lnTo>
                      <a:pt x="1100" y="50"/>
                    </a:lnTo>
                    <a:lnTo>
                      <a:pt x="1092" y="48"/>
                    </a:lnTo>
                    <a:lnTo>
                      <a:pt x="1084" y="42"/>
                    </a:lnTo>
                    <a:lnTo>
                      <a:pt x="1080" y="40"/>
                    </a:lnTo>
                    <a:lnTo>
                      <a:pt x="1076" y="40"/>
                    </a:lnTo>
                    <a:lnTo>
                      <a:pt x="1070" y="40"/>
                    </a:lnTo>
                    <a:lnTo>
                      <a:pt x="1062" y="44"/>
                    </a:lnTo>
                    <a:lnTo>
                      <a:pt x="1062" y="44"/>
                    </a:lnTo>
                    <a:lnTo>
                      <a:pt x="1058" y="48"/>
                    </a:lnTo>
                    <a:lnTo>
                      <a:pt x="1056" y="54"/>
                    </a:lnTo>
                    <a:lnTo>
                      <a:pt x="1054" y="58"/>
                    </a:lnTo>
                    <a:lnTo>
                      <a:pt x="1056" y="66"/>
                    </a:lnTo>
                    <a:lnTo>
                      <a:pt x="1060" y="80"/>
                    </a:lnTo>
                    <a:lnTo>
                      <a:pt x="1068" y="94"/>
                    </a:lnTo>
                    <a:lnTo>
                      <a:pt x="1084" y="120"/>
                    </a:lnTo>
                    <a:lnTo>
                      <a:pt x="1086" y="130"/>
                    </a:lnTo>
                    <a:lnTo>
                      <a:pt x="1086" y="132"/>
                    </a:lnTo>
                    <a:lnTo>
                      <a:pt x="1084" y="132"/>
                    </a:lnTo>
                    <a:lnTo>
                      <a:pt x="1084" y="132"/>
                    </a:lnTo>
                    <a:lnTo>
                      <a:pt x="1080" y="132"/>
                    </a:lnTo>
                    <a:lnTo>
                      <a:pt x="1076" y="130"/>
                    </a:lnTo>
                    <a:lnTo>
                      <a:pt x="1068" y="122"/>
                    </a:lnTo>
                    <a:lnTo>
                      <a:pt x="1048" y="96"/>
                    </a:lnTo>
                    <a:lnTo>
                      <a:pt x="1036" y="82"/>
                    </a:lnTo>
                    <a:lnTo>
                      <a:pt x="1026" y="72"/>
                    </a:lnTo>
                    <a:lnTo>
                      <a:pt x="1020" y="68"/>
                    </a:lnTo>
                    <a:lnTo>
                      <a:pt x="1014" y="66"/>
                    </a:lnTo>
                    <a:lnTo>
                      <a:pt x="1008" y="64"/>
                    </a:lnTo>
                    <a:lnTo>
                      <a:pt x="1004" y="66"/>
                    </a:lnTo>
                    <a:lnTo>
                      <a:pt x="1004" y="66"/>
                    </a:lnTo>
                    <a:lnTo>
                      <a:pt x="998" y="68"/>
                    </a:lnTo>
                    <a:lnTo>
                      <a:pt x="994" y="70"/>
                    </a:lnTo>
                    <a:lnTo>
                      <a:pt x="990" y="78"/>
                    </a:lnTo>
                    <a:lnTo>
                      <a:pt x="988" y="88"/>
                    </a:lnTo>
                    <a:lnTo>
                      <a:pt x="986" y="96"/>
                    </a:lnTo>
                    <a:lnTo>
                      <a:pt x="986" y="108"/>
                    </a:lnTo>
                    <a:lnTo>
                      <a:pt x="984" y="106"/>
                    </a:lnTo>
                    <a:lnTo>
                      <a:pt x="980" y="100"/>
                    </a:lnTo>
                    <a:lnTo>
                      <a:pt x="980" y="100"/>
                    </a:lnTo>
                    <a:lnTo>
                      <a:pt x="974" y="90"/>
                    </a:lnTo>
                    <a:lnTo>
                      <a:pt x="968" y="84"/>
                    </a:lnTo>
                    <a:lnTo>
                      <a:pt x="960" y="80"/>
                    </a:lnTo>
                    <a:lnTo>
                      <a:pt x="954" y="78"/>
                    </a:lnTo>
                    <a:lnTo>
                      <a:pt x="950" y="76"/>
                    </a:lnTo>
                    <a:lnTo>
                      <a:pt x="948" y="76"/>
                    </a:lnTo>
                    <a:lnTo>
                      <a:pt x="960" y="72"/>
                    </a:lnTo>
                    <a:lnTo>
                      <a:pt x="960" y="72"/>
                    </a:lnTo>
                    <a:lnTo>
                      <a:pt x="972" y="70"/>
                    </a:lnTo>
                    <a:lnTo>
                      <a:pt x="978" y="66"/>
                    </a:lnTo>
                    <a:lnTo>
                      <a:pt x="984" y="62"/>
                    </a:lnTo>
                    <a:lnTo>
                      <a:pt x="984" y="60"/>
                    </a:lnTo>
                    <a:lnTo>
                      <a:pt x="982" y="56"/>
                    </a:lnTo>
                    <a:lnTo>
                      <a:pt x="978" y="56"/>
                    </a:lnTo>
                    <a:lnTo>
                      <a:pt x="970" y="56"/>
                    </a:lnTo>
                    <a:lnTo>
                      <a:pt x="958" y="60"/>
                    </a:lnTo>
                    <a:lnTo>
                      <a:pt x="958" y="60"/>
                    </a:lnTo>
                    <a:lnTo>
                      <a:pt x="946" y="62"/>
                    </a:lnTo>
                    <a:lnTo>
                      <a:pt x="938" y="62"/>
                    </a:lnTo>
                    <a:lnTo>
                      <a:pt x="934" y="62"/>
                    </a:lnTo>
                    <a:lnTo>
                      <a:pt x="930" y="58"/>
                    </a:lnTo>
                    <a:lnTo>
                      <a:pt x="928" y="56"/>
                    </a:lnTo>
                    <a:lnTo>
                      <a:pt x="926" y="56"/>
                    </a:lnTo>
                    <a:lnTo>
                      <a:pt x="922" y="58"/>
                    </a:lnTo>
                    <a:lnTo>
                      <a:pt x="916" y="60"/>
                    </a:lnTo>
                    <a:lnTo>
                      <a:pt x="916" y="60"/>
                    </a:lnTo>
                    <a:lnTo>
                      <a:pt x="908" y="64"/>
                    </a:lnTo>
                    <a:lnTo>
                      <a:pt x="904" y="64"/>
                    </a:lnTo>
                    <a:lnTo>
                      <a:pt x="902" y="64"/>
                    </a:lnTo>
                    <a:lnTo>
                      <a:pt x="900" y="60"/>
                    </a:lnTo>
                    <a:lnTo>
                      <a:pt x="896" y="58"/>
                    </a:lnTo>
                    <a:lnTo>
                      <a:pt x="892" y="58"/>
                    </a:lnTo>
                    <a:lnTo>
                      <a:pt x="884" y="60"/>
                    </a:lnTo>
                    <a:lnTo>
                      <a:pt x="874" y="64"/>
                    </a:lnTo>
                    <a:lnTo>
                      <a:pt x="874" y="64"/>
                    </a:lnTo>
                    <a:lnTo>
                      <a:pt x="862" y="72"/>
                    </a:lnTo>
                    <a:lnTo>
                      <a:pt x="856" y="78"/>
                    </a:lnTo>
                    <a:lnTo>
                      <a:pt x="854" y="82"/>
                    </a:lnTo>
                    <a:lnTo>
                      <a:pt x="854" y="88"/>
                    </a:lnTo>
                    <a:lnTo>
                      <a:pt x="858" y="92"/>
                    </a:lnTo>
                    <a:lnTo>
                      <a:pt x="862" y="98"/>
                    </a:lnTo>
                    <a:lnTo>
                      <a:pt x="872" y="112"/>
                    </a:lnTo>
                    <a:lnTo>
                      <a:pt x="872" y="112"/>
                    </a:lnTo>
                    <a:lnTo>
                      <a:pt x="878" y="116"/>
                    </a:lnTo>
                    <a:lnTo>
                      <a:pt x="884" y="118"/>
                    </a:lnTo>
                    <a:lnTo>
                      <a:pt x="890" y="114"/>
                    </a:lnTo>
                    <a:lnTo>
                      <a:pt x="894" y="110"/>
                    </a:lnTo>
                    <a:lnTo>
                      <a:pt x="902" y="104"/>
                    </a:lnTo>
                    <a:lnTo>
                      <a:pt x="902" y="104"/>
                    </a:lnTo>
                    <a:lnTo>
                      <a:pt x="902" y="108"/>
                    </a:lnTo>
                    <a:lnTo>
                      <a:pt x="902" y="108"/>
                    </a:lnTo>
                    <a:close/>
                    <a:moveTo>
                      <a:pt x="1272" y="818"/>
                    </a:moveTo>
                    <a:lnTo>
                      <a:pt x="1272" y="818"/>
                    </a:lnTo>
                    <a:lnTo>
                      <a:pt x="1272" y="818"/>
                    </a:lnTo>
                    <a:lnTo>
                      <a:pt x="1272" y="816"/>
                    </a:lnTo>
                    <a:lnTo>
                      <a:pt x="1270" y="814"/>
                    </a:lnTo>
                    <a:lnTo>
                      <a:pt x="1266" y="812"/>
                    </a:lnTo>
                    <a:lnTo>
                      <a:pt x="1264" y="814"/>
                    </a:lnTo>
                    <a:lnTo>
                      <a:pt x="1264" y="814"/>
                    </a:lnTo>
                    <a:lnTo>
                      <a:pt x="1264" y="818"/>
                    </a:lnTo>
                    <a:lnTo>
                      <a:pt x="1264" y="820"/>
                    </a:lnTo>
                    <a:lnTo>
                      <a:pt x="1272" y="818"/>
                    </a:lnTo>
                    <a:lnTo>
                      <a:pt x="1272" y="818"/>
                    </a:lnTo>
                    <a:close/>
                    <a:moveTo>
                      <a:pt x="1168" y="848"/>
                    </a:moveTo>
                    <a:lnTo>
                      <a:pt x="1168" y="848"/>
                    </a:lnTo>
                    <a:lnTo>
                      <a:pt x="1176" y="848"/>
                    </a:lnTo>
                    <a:lnTo>
                      <a:pt x="1180" y="848"/>
                    </a:lnTo>
                    <a:lnTo>
                      <a:pt x="1182" y="844"/>
                    </a:lnTo>
                    <a:lnTo>
                      <a:pt x="1182" y="844"/>
                    </a:lnTo>
                    <a:lnTo>
                      <a:pt x="1184" y="840"/>
                    </a:lnTo>
                    <a:lnTo>
                      <a:pt x="1190" y="836"/>
                    </a:lnTo>
                    <a:lnTo>
                      <a:pt x="1192" y="834"/>
                    </a:lnTo>
                    <a:lnTo>
                      <a:pt x="1192" y="832"/>
                    </a:lnTo>
                    <a:lnTo>
                      <a:pt x="1192" y="830"/>
                    </a:lnTo>
                    <a:lnTo>
                      <a:pt x="1188" y="828"/>
                    </a:lnTo>
                    <a:lnTo>
                      <a:pt x="1188" y="828"/>
                    </a:lnTo>
                    <a:lnTo>
                      <a:pt x="1182" y="826"/>
                    </a:lnTo>
                    <a:lnTo>
                      <a:pt x="1180" y="826"/>
                    </a:lnTo>
                    <a:lnTo>
                      <a:pt x="1180" y="828"/>
                    </a:lnTo>
                    <a:lnTo>
                      <a:pt x="1176" y="830"/>
                    </a:lnTo>
                    <a:lnTo>
                      <a:pt x="1176" y="830"/>
                    </a:lnTo>
                    <a:lnTo>
                      <a:pt x="1174" y="830"/>
                    </a:lnTo>
                    <a:lnTo>
                      <a:pt x="1172" y="832"/>
                    </a:lnTo>
                    <a:lnTo>
                      <a:pt x="1172" y="832"/>
                    </a:lnTo>
                    <a:lnTo>
                      <a:pt x="1170" y="832"/>
                    </a:lnTo>
                    <a:lnTo>
                      <a:pt x="1170" y="832"/>
                    </a:lnTo>
                    <a:lnTo>
                      <a:pt x="1166" y="832"/>
                    </a:lnTo>
                    <a:lnTo>
                      <a:pt x="1164" y="832"/>
                    </a:lnTo>
                    <a:lnTo>
                      <a:pt x="1162" y="834"/>
                    </a:lnTo>
                    <a:lnTo>
                      <a:pt x="1162" y="838"/>
                    </a:lnTo>
                    <a:lnTo>
                      <a:pt x="1162" y="838"/>
                    </a:lnTo>
                    <a:lnTo>
                      <a:pt x="1160" y="842"/>
                    </a:lnTo>
                    <a:lnTo>
                      <a:pt x="1156" y="842"/>
                    </a:lnTo>
                    <a:lnTo>
                      <a:pt x="1154" y="842"/>
                    </a:lnTo>
                    <a:lnTo>
                      <a:pt x="1152" y="844"/>
                    </a:lnTo>
                    <a:lnTo>
                      <a:pt x="1152" y="844"/>
                    </a:lnTo>
                    <a:lnTo>
                      <a:pt x="1152" y="846"/>
                    </a:lnTo>
                    <a:lnTo>
                      <a:pt x="1154" y="848"/>
                    </a:lnTo>
                    <a:lnTo>
                      <a:pt x="1168" y="848"/>
                    </a:lnTo>
                    <a:lnTo>
                      <a:pt x="1168" y="848"/>
                    </a:lnTo>
                    <a:close/>
                    <a:moveTo>
                      <a:pt x="1214" y="822"/>
                    </a:moveTo>
                    <a:lnTo>
                      <a:pt x="1214" y="822"/>
                    </a:lnTo>
                    <a:lnTo>
                      <a:pt x="1218" y="816"/>
                    </a:lnTo>
                    <a:lnTo>
                      <a:pt x="1218" y="814"/>
                    </a:lnTo>
                    <a:lnTo>
                      <a:pt x="1216" y="814"/>
                    </a:lnTo>
                    <a:lnTo>
                      <a:pt x="1216" y="814"/>
                    </a:lnTo>
                    <a:lnTo>
                      <a:pt x="1212" y="812"/>
                    </a:lnTo>
                    <a:lnTo>
                      <a:pt x="1208" y="814"/>
                    </a:lnTo>
                    <a:lnTo>
                      <a:pt x="1206" y="814"/>
                    </a:lnTo>
                    <a:lnTo>
                      <a:pt x="1202" y="812"/>
                    </a:lnTo>
                    <a:lnTo>
                      <a:pt x="1202" y="812"/>
                    </a:lnTo>
                    <a:lnTo>
                      <a:pt x="1198" y="810"/>
                    </a:lnTo>
                    <a:lnTo>
                      <a:pt x="1198" y="810"/>
                    </a:lnTo>
                    <a:lnTo>
                      <a:pt x="1196" y="812"/>
                    </a:lnTo>
                    <a:lnTo>
                      <a:pt x="1192" y="814"/>
                    </a:lnTo>
                    <a:lnTo>
                      <a:pt x="1192" y="814"/>
                    </a:lnTo>
                    <a:lnTo>
                      <a:pt x="1190" y="814"/>
                    </a:lnTo>
                    <a:lnTo>
                      <a:pt x="1188" y="814"/>
                    </a:lnTo>
                    <a:lnTo>
                      <a:pt x="1188" y="816"/>
                    </a:lnTo>
                    <a:lnTo>
                      <a:pt x="1184" y="820"/>
                    </a:lnTo>
                    <a:lnTo>
                      <a:pt x="1184" y="820"/>
                    </a:lnTo>
                    <a:lnTo>
                      <a:pt x="1182" y="822"/>
                    </a:lnTo>
                    <a:lnTo>
                      <a:pt x="1184" y="824"/>
                    </a:lnTo>
                    <a:lnTo>
                      <a:pt x="1190" y="824"/>
                    </a:lnTo>
                    <a:lnTo>
                      <a:pt x="1196" y="828"/>
                    </a:lnTo>
                    <a:lnTo>
                      <a:pt x="1196" y="828"/>
                    </a:lnTo>
                    <a:lnTo>
                      <a:pt x="1200" y="830"/>
                    </a:lnTo>
                    <a:lnTo>
                      <a:pt x="1204" y="830"/>
                    </a:lnTo>
                    <a:lnTo>
                      <a:pt x="1214" y="822"/>
                    </a:lnTo>
                    <a:lnTo>
                      <a:pt x="1214" y="822"/>
                    </a:lnTo>
                    <a:close/>
                    <a:moveTo>
                      <a:pt x="1352" y="792"/>
                    </a:moveTo>
                    <a:lnTo>
                      <a:pt x="1352" y="792"/>
                    </a:lnTo>
                    <a:lnTo>
                      <a:pt x="1348" y="790"/>
                    </a:lnTo>
                    <a:lnTo>
                      <a:pt x="1344" y="788"/>
                    </a:lnTo>
                    <a:lnTo>
                      <a:pt x="1338" y="788"/>
                    </a:lnTo>
                    <a:lnTo>
                      <a:pt x="1330" y="790"/>
                    </a:lnTo>
                    <a:lnTo>
                      <a:pt x="1330" y="790"/>
                    </a:lnTo>
                    <a:lnTo>
                      <a:pt x="1328" y="792"/>
                    </a:lnTo>
                    <a:lnTo>
                      <a:pt x="1330" y="794"/>
                    </a:lnTo>
                    <a:lnTo>
                      <a:pt x="1340" y="798"/>
                    </a:lnTo>
                    <a:lnTo>
                      <a:pt x="1350" y="796"/>
                    </a:lnTo>
                    <a:lnTo>
                      <a:pt x="1352" y="796"/>
                    </a:lnTo>
                    <a:lnTo>
                      <a:pt x="1352" y="792"/>
                    </a:lnTo>
                    <a:lnTo>
                      <a:pt x="1352" y="792"/>
                    </a:lnTo>
                    <a:close/>
                    <a:moveTo>
                      <a:pt x="1326" y="780"/>
                    </a:moveTo>
                    <a:lnTo>
                      <a:pt x="1326" y="780"/>
                    </a:lnTo>
                    <a:lnTo>
                      <a:pt x="1330" y="778"/>
                    </a:lnTo>
                    <a:lnTo>
                      <a:pt x="1334" y="776"/>
                    </a:lnTo>
                    <a:lnTo>
                      <a:pt x="1338" y="776"/>
                    </a:lnTo>
                    <a:lnTo>
                      <a:pt x="1342" y="776"/>
                    </a:lnTo>
                    <a:lnTo>
                      <a:pt x="1342" y="776"/>
                    </a:lnTo>
                    <a:lnTo>
                      <a:pt x="1346" y="778"/>
                    </a:lnTo>
                    <a:lnTo>
                      <a:pt x="1350" y="776"/>
                    </a:lnTo>
                    <a:lnTo>
                      <a:pt x="1364" y="766"/>
                    </a:lnTo>
                    <a:lnTo>
                      <a:pt x="1364" y="766"/>
                    </a:lnTo>
                    <a:lnTo>
                      <a:pt x="1372" y="760"/>
                    </a:lnTo>
                    <a:lnTo>
                      <a:pt x="1372" y="758"/>
                    </a:lnTo>
                    <a:lnTo>
                      <a:pt x="1372" y="756"/>
                    </a:lnTo>
                    <a:lnTo>
                      <a:pt x="1368" y="756"/>
                    </a:lnTo>
                    <a:lnTo>
                      <a:pt x="1362" y="756"/>
                    </a:lnTo>
                    <a:lnTo>
                      <a:pt x="1362" y="756"/>
                    </a:lnTo>
                    <a:lnTo>
                      <a:pt x="1356" y="758"/>
                    </a:lnTo>
                    <a:lnTo>
                      <a:pt x="1358" y="760"/>
                    </a:lnTo>
                    <a:lnTo>
                      <a:pt x="1358" y="762"/>
                    </a:lnTo>
                    <a:lnTo>
                      <a:pt x="1356" y="764"/>
                    </a:lnTo>
                    <a:lnTo>
                      <a:pt x="1356" y="764"/>
                    </a:lnTo>
                    <a:lnTo>
                      <a:pt x="1350" y="762"/>
                    </a:lnTo>
                    <a:lnTo>
                      <a:pt x="1348" y="762"/>
                    </a:lnTo>
                    <a:lnTo>
                      <a:pt x="1346" y="762"/>
                    </a:lnTo>
                    <a:lnTo>
                      <a:pt x="1342" y="766"/>
                    </a:lnTo>
                    <a:lnTo>
                      <a:pt x="1342" y="766"/>
                    </a:lnTo>
                    <a:lnTo>
                      <a:pt x="1342" y="770"/>
                    </a:lnTo>
                    <a:lnTo>
                      <a:pt x="1340" y="768"/>
                    </a:lnTo>
                    <a:lnTo>
                      <a:pt x="1338" y="766"/>
                    </a:lnTo>
                    <a:lnTo>
                      <a:pt x="1332" y="766"/>
                    </a:lnTo>
                    <a:lnTo>
                      <a:pt x="1332" y="766"/>
                    </a:lnTo>
                    <a:lnTo>
                      <a:pt x="1318" y="770"/>
                    </a:lnTo>
                    <a:lnTo>
                      <a:pt x="1314" y="774"/>
                    </a:lnTo>
                    <a:lnTo>
                      <a:pt x="1318" y="776"/>
                    </a:lnTo>
                    <a:lnTo>
                      <a:pt x="1318" y="776"/>
                    </a:lnTo>
                    <a:lnTo>
                      <a:pt x="1320" y="776"/>
                    </a:lnTo>
                    <a:lnTo>
                      <a:pt x="1322" y="778"/>
                    </a:lnTo>
                    <a:lnTo>
                      <a:pt x="1320" y="780"/>
                    </a:lnTo>
                    <a:lnTo>
                      <a:pt x="1320" y="780"/>
                    </a:lnTo>
                    <a:lnTo>
                      <a:pt x="1326" y="780"/>
                    </a:lnTo>
                    <a:lnTo>
                      <a:pt x="1326" y="780"/>
                    </a:lnTo>
                    <a:close/>
                    <a:moveTo>
                      <a:pt x="1414" y="220"/>
                    </a:moveTo>
                    <a:lnTo>
                      <a:pt x="1414" y="220"/>
                    </a:lnTo>
                    <a:lnTo>
                      <a:pt x="1408" y="216"/>
                    </a:lnTo>
                    <a:lnTo>
                      <a:pt x="1402" y="216"/>
                    </a:lnTo>
                    <a:lnTo>
                      <a:pt x="1392" y="218"/>
                    </a:lnTo>
                    <a:lnTo>
                      <a:pt x="1388" y="220"/>
                    </a:lnTo>
                    <a:lnTo>
                      <a:pt x="1382" y="220"/>
                    </a:lnTo>
                    <a:lnTo>
                      <a:pt x="1374" y="218"/>
                    </a:lnTo>
                    <a:lnTo>
                      <a:pt x="1364" y="214"/>
                    </a:lnTo>
                    <a:lnTo>
                      <a:pt x="1364" y="214"/>
                    </a:lnTo>
                    <a:lnTo>
                      <a:pt x="1356" y="208"/>
                    </a:lnTo>
                    <a:lnTo>
                      <a:pt x="1354" y="204"/>
                    </a:lnTo>
                    <a:lnTo>
                      <a:pt x="1356" y="200"/>
                    </a:lnTo>
                    <a:lnTo>
                      <a:pt x="1360" y="198"/>
                    </a:lnTo>
                    <a:lnTo>
                      <a:pt x="1370" y="194"/>
                    </a:lnTo>
                    <a:lnTo>
                      <a:pt x="1370" y="192"/>
                    </a:lnTo>
                    <a:lnTo>
                      <a:pt x="1366" y="190"/>
                    </a:lnTo>
                    <a:lnTo>
                      <a:pt x="1366" y="190"/>
                    </a:lnTo>
                    <a:lnTo>
                      <a:pt x="1354" y="188"/>
                    </a:lnTo>
                    <a:lnTo>
                      <a:pt x="1336" y="188"/>
                    </a:lnTo>
                    <a:lnTo>
                      <a:pt x="1316" y="188"/>
                    </a:lnTo>
                    <a:lnTo>
                      <a:pt x="1296" y="190"/>
                    </a:lnTo>
                    <a:lnTo>
                      <a:pt x="1280" y="194"/>
                    </a:lnTo>
                    <a:lnTo>
                      <a:pt x="1274" y="196"/>
                    </a:lnTo>
                    <a:lnTo>
                      <a:pt x="1270" y="198"/>
                    </a:lnTo>
                    <a:lnTo>
                      <a:pt x="1270" y="202"/>
                    </a:lnTo>
                    <a:lnTo>
                      <a:pt x="1272" y="204"/>
                    </a:lnTo>
                    <a:lnTo>
                      <a:pt x="1276" y="208"/>
                    </a:lnTo>
                    <a:lnTo>
                      <a:pt x="1286" y="212"/>
                    </a:lnTo>
                    <a:lnTo>
                      <a:pt x="1286" y="212"/>
                    </a:lnTo>
                    <a:lnTo>
                      <a:pt x="1292" y="214"/>
                    </a:lnTo>
                    <a:lnTo>
                      <a:pt x="1292" y="216"/>
                    </a:lnTo>
                    <a:lnTo>
                      <a:pt x="1292" y="218"/>
                    </a:lnTo>
                    <a:lnTo>
                      <a:pt x="1286" y="224"/>
                    </a:lnTo>
                    <a:lnTo>
                      <a:pt x="1272" y="236"/>
                    </a:lnTo>
                    <a:lnTo>
                      <a:pt x="1272" y="236"/>
                    </a:lnTo>
                    <a:lnTo>
                      <a:pt x="1264" y="242"/>
                    </a:lnTo>
                    <a:lnTo>
                      <a:pt x="1262" y="246"/>
                    </a:lnTo>
                    <a:lnTo>
                      <a:pt x="1264" y="248"/>
                    </a:lnTo>
                    <a:lnTo>
                      <a:pt x="1270" y="250"/>
                    </a:lnTo>
                    <a:lnTo>
                      <a:pt x="1288" y="250"/>
                    </a:lnTo>
                    <a:lnTo>
                      <a:pt x="1314" y="246"/>
                    </a:lnTo>
                    <a:lnTo>
                      <a:pt x="1314" y="246"/>
                    </a:lnTo>
                    <a:lnTo>
                      <a:pt x="1324" y="248"/>
                    </a:lnTo>
                    <a:lnTo>
                      <a:pt x="1328" y="248"/>
                    </a:lnTo>
                    <a:lnTo>
                      <a:pt x="1328" y="250"/>
                    </a:lnTo>
                    <a:lnTo>
                      <a:pt x="1328" y="256"/>
                    </a:lnTo>
                    <a:lnTo>
                      <a:pt x="1328" y="260"/>
                    </a:lnTo>
                    <a:lnTo>
                      <a:pt x="1326" y="264"/>
                    </a:lnTo>
                    <a:lnTo>
                      <a:pt x="1326" y="266"/>
                    </a:lnTo>
                    <a:lnTo>
                      <a:pt x="1328" y="266"/>
                    </a:lnTo>
                    <a:lnTo>
                      <a:pt x="1336" y="266"/>
                    </a:lnTo>
                    <a:lnTo>
                      <a:pt x="1350" y="260"/>
                    </a:lnTo>
                    <a:lnTo>
                      <a:pt x="1350" y="260"/>
                    </a:lnTo>
                    <a:lnTo>
                      <a:pt x="1376" y="250"/>
                    </a:lnTo>
                    <a:lnTo>
                      <a:pt x="1402" y="238"/>
                    </a:lnTo>
                    <a:lnTo>
                      <a:pt x="1412" y="234"/>
                    </a:lnTo>
                    <a:lnTo>
                      <a:pt x="1418" y="228"/>
                    </a:lnTo>
                    <a:lnTo>
                      <a:pt x="1420" y="226"/>
                    </a:lnTo>
                    <a:lnTo>
                      <a:pt x="1420" y="224"/>
                    </a:lnTo>
                    <a:lnTo>
                      <a:pt x="1418" y="222"/>
                    </a:lnTo>
                    <a:lnTo>
                      <a:pt x="1414" y="220"/>
                    </a:lnTo>
                    <a:lnTo>
                      <a:pt x="1414" y="220"/>
                    </a:lnTo>
                    <a:close/>
                    <a:moveTo>
                      <a:pt x="1370" y="792"/>
                    </a:moveTo>
                    <a:lnTo>
                      <a:pt x="1370" y="792"/>
                    </a:lnTo>
                    <a:lnTo>
                      <a:pt x="1378" y="782"/>
                    </a:lnTo>
                    <a:lnTo>
                      <a:pt x="1380" y="776"/>
                    </a:lnTo>
                    <a:lnTo>
                      <a:pt x="1378" y="774"/>
                    </a:lnTo>
                    <a:lnTo>
                      <a:pt x="1376" y="772"/>
                    </a:lnTo>
                    <a:lnTo>
                      <a:pt x="1376" y="772"/>
                    </a:lnTo>
                    <a:lnTo>
                      <a:pt x="1372" y="770"/>
                    </a:lnTo>
                    <a:lnTo>
                      <a:pt x="1372" y="770"/>
                    </a:lnTo>
                    <a:lnTo>
                      <a:pt x="1370" y="774"/>
                    </a:lnTo>
                    <a:lnTo>
                      <a:pt x="1362" y="776"/>
                    </a:lnTo>
                    <a:lnTo>
                      <a:pt x="1362" y="776"/>
                    </a:lnTo>
                    <a:lnTo>
                      <a:pt x="1354" y="780"/>
                    </a:lnTo>
                    <a:lnTo>
                      <a:pt x="1350" y="784"/>
                    </a:lnTo>
                    <a:lnTo>
                      <a:pt x="1350" y="786"/>
                    </a:lnTo>
                    <a:lnTo>
                      <a:pt x="1350" y="788"/>
                    </a:lnTo>
                    <a:lnTo>
                      <a:pt x="1356" y="792"/>
                    </a:lnTo>
                    <a:lnTo>
                      <a:pt x="1356" y="792"/>
                    </a:lnTo>
                    <a:lnTo>
                      <a:pt x="1364" y="794"/>
                    </a:lnTo>
                    <a:lnTo>
                      <a:pt x="1366" y="794"/>
                    </a:lnTo>
                    <a:lnTo>
                      <a:pt x="1370" y="792"/>
                    </a:lnTo>
                    <a:lnTo>
                      <a:pt x="1370" y="792"/>
                    </a:lnTo>
                    <a:close/>
                    <a:moveTo>
                      <a:pt x="1388" y="762"/>
                    </a:moveTo>
                    <a:lnTo>
                      <a:pt x="1388" y="762"/>
                    </a:lnTo>
                    <a:lnTo>
                      <a:pt x="1384" y="762"/>
                    </a:lnTo>
                    <a:lnTo>
                      <a:pt x="1380" y="764"/>
                    </a:lnTo>
                    <a:lnTo>
                      <a:pt x="1380" y="766"/>
                    </a:lnTo>
                    <a:lnTo>
                      <a:pt x="1380" y="770"/>
                    </a:lnTo>
                    <a:lnTo>
                      <a:pt x="1384" y="776"/>
                    </a:lnTo>
                    <a:lnTo>
                      <a:pt x="1386" y="778"/>
                    </a:lnTo>
                    <a:lnTo>
                      <a:pt x="1388" y="778"/>
                    </a:lnTo>
                    <a:lnTo>
                      <a:pt x="1388" y="778"/>
                    </a:lnTo>
                    <a:lnTo>
                      <a:pt x="1394" y="776"/>
                    </a:lnTo>
                    <a:lnTo>
                      <a:pt x="1396" y="772"/>
                    </a:lnTo>
                    <a:lnTo>
                      <a:pt x="1396" y="770"/>
                    </a:lnTo>
                    <a:lnTo>
                      <a:pt x="1396" y="766"/>
                    </a:lnTo>
                    <a:lnTo>
                      <a:pt x="1392" y="764"/>
                    </a:lnTo>
                    <a:lnTo>
                      <a:pt x="1388" y="762"/>
                    </a:lnTo>
                    <a:lnTo>
                      <a:pt x="1388" y="762"/>
                    </a:lnTo>
                    <a:close/>
                    <a:moveTo>
                      <a:pt x="1264" y="804"/>
                    </a:moveTo>
                    <a:lnTo>
                      <a:pt x="1264" y="804"/>
                    </a:lnTo>
                    <a:lnTo>
                      <a:pt x="1264" y="800"/>
                    </a:lnTo>
                    <a:lnTo>
                      <a:pt x="1262" y="798"/>
                    </a:lnTo>
                    <a:lnTo>
                      <a:pt x="1258" y="798"/>
                    </a:lnTo>
                    <a:lnTo>
                      <a:pt x="1252" y="802"/>
                    </a:lnTo>
                    <a:lnTo>
                      <a:pt x="1252" y="802"/>
                    </a:lnTo>
                    <a:lnTo>
                      <a:pt x="1248" y="804"/>
                    </a:lnTo>
                    <a:lnTo>
                      <a:pt x="1248" y="808"/>
                    </a:lnTo>
                    <a:lnTo>
                      <a:pt x="1250" y="810"/>
                    </a:lnTo>
                    <a:lnTo>
                      <a:pt x="1254" y="812"/>
                    </a:lnTo>
                    <a:lnTo>
                      <a:pt x="1254" y="812"/>
                    </a:lnTo>
                    <a:lnTo>
                      <a:pt x="1260" y="814"/>
                    </a:lnTo>
                    <a:lnTo>
                      <a:pt x="1262" y="812"/>
                    </a:lnTo>
                    <a:lnTo>
                      <a:pt x="1264" y="804"/>
                    </a:lnTo>
                    <a:lnTo>
                      <a:pt x="1264" y="804"/>
                    </a:lnTo>
                    <a:close/>
                    <a:moveTo>
                      <a:pt x="1102" y="904"/>
                    </a:moveTo>
                    <a:lnTo>
                      <a:pt x="1102" y="904"/>
                    </a:lnTo>
                    <a:lnTo>
                      <a:pt x="1102" y="908"/>
                    </a:lnTo>
                    <a:lnTo>
                      <a:pt x="1104" y="908"/>
                    </a:lnTo>
                    <a:lnTo>
                      <a:pt x="1112" y="908"/>
                    </a:lnTo>
                    <a:lnTo>
                      <a:pt x="1112" y="908"/>
                    </a:lnTo>
                    <a:lnTo>
                      <a:pt x="1114" y="906"/>
                    </a:lnTo>
                    <a:lnTo>
                      <a:pt x="1114" y="906"/>
                    </a:lnTo>
                    <a:lnTo>
                      <a:pt x="1112" y="902"/>
                    </a:lnTo>
                    <a:lnTo>
                      <a:pt x="1106" y="902"/>
                    </a:lnTo>
                    <a:lnTo>
                      <a:pt x="1104" y="902"/>
                    </a:lnTo>
                    <a:lnTo>
                      <a:pt x="1102" y="904"/>
                    </a:lnTo>
                    <a:lnTo>
                      <a:pt x="1102" y="904"/>
                    </a:lnTo>
                    <a:close/>
                    <a:moveTo>
                      <a:pt x="1116" y="898"/>
                    </a:moveTo>
                    <a:lnTo>
                      <a:pt x="1116" y="898"/>
                    </a:lnTo>
                    <a:lnTo>
                      <a:pt x="1120" y="900"/>
                    </a:lnTo>
                    <a:lnTo>
                      <a:pt x="1122" y="898"/>
                    </a:lnTo>
                    <a:lnTo>
                      <a:pt x="1124" y="896"/>
                    </a:lnTo>
                    <a:lnTo>
                      <a:pt x="1124" y="894"/>
                    </a:lnTo>
                    <a:lnTo>
                      <a:pt x="1124" y="894"/>
                    </a:lnTo>
                    <a:lnTo>
                      <a:pt x="1120" y="892"/>
                    </a:lnTo>
                    <a:lnTo>
                      <a:pt x="1116" y="894"/>
                    </a:lnTo>
                    <a:lnTo>
                      <a:pt x="1114" y="896"/>
                    </a:lnTo>
                    <a:lnTo>
                      <a:pt x="1116" y="898"/>
                    </a:lnTo>
                    <a:lnTo>
                      <a:pt x="1116" y="898"/>
                    </a:lnTo>
                    <a:close/>
                    <a:moveTo>
                      <a:pt x="1150" y="850"/>
                    </a:moveTo>
                    <a:lnTo>
                      <a:pt x="1150" y="850"/>
                    </a:lnTo>
                    <a:lnTo>
                      <a:pt x="1148" y="850"/>
                    </a:lnTo>
                    <a:lnTo>
                      <a:pt x="1148" y="848"/>
                    </a:lnTo>
                    <a:lnTo>
                      <a:pt x="1146" y="846"/>
                    </a:lnTo>
                    <a:lnTo>
                      <a:pt x="1144" y="846"/>
                    </a:lnTo>
                    <a:lnTo>
                      <a:pt x="1144" y="846"/>
                    </a:lnTo>
                    <a:lnTo>
                      <a:pt x="1142" y="848"/>
                    </a:lnTo>
                    <a:lnTo>
                      <a:pt x="1140" y="846"/>
                    </a:lnTo>
                    <a:lnTo>
                      <a:pt x="1138" y="844"/>
                    </a:lnTo>
                    <a:lnTo>
                      <a:pt x="1136" y="846"/>
                    </a:lnTo>
                    <a:lnTo>
                      <a:pt x="1136" y="846"/>
                    </a:lnTo>
                    <a:lnTo>
                      <a:pt x="1136" y="848"/>
                    </a:lnTo>
                    <a:lnTo>
                      <a:pt x="1132" y="848"/>
                    </a:lnTo>
                    <a:lnTo>
                      <a:pt x="1130" y="846"/>
                    </a:lnTo>
                    <a:lnTo>
                      <a:pt x="1130" y="850"/>
                    </a:lnTo>
                    <a:lnTo>
                      <a:pt x="1130" y="850"/>
                    </a:lnTo>
                    <a:lnTo>
                      <a:pt x="1130" y="852"/>
                    </a:lnTo>
                    <a:lnTo>
                      <a:pt x="1128" y="850"/>
                    </a:lnTo>
                    <a:lnTo>
                      <a:pt x="1124" y="850"/>
                    </a:lnTo>
                    <a:lnTo>
                      <a:pt x="1120" y="850"/>
                    </a:lnTo>
                    <a:lnTo>
                      <a:pt x="1120" y="850"/>
                    </a:lnTo>
                    <a:lnTo>
                      <a:pt x="1118" y="854"/>
                    </a:lnTo>
                    <a:lnTo>
                      <a:pt x="1120" y="856"/>
                    </a:lnTo>
                    <a:lnTo>
                      <a:pt x="1124" y="856"/>
                    </a:lnTo>
                    <a:lnTo>
                      <a:pt x="1124" y="858"/>
                    </a:lnTo>
                    <a:lnTo>
                      <a:pt x="1124" y="858"/>
                    </a:lnTo>
                    <a:lnTo>
                      <a:pt x="1120" y="860"/>
                    </a:lnTo>
                    <a:lnTo>
                      <a:pt x="1114" y="860"/>
                    </a:lnTo>
                    <a:lnTo>
                      <a:pt x="1108" y="860"/>
                    </a:lnTo>
                    <a:lnTo>
                      <a:pt x="1108" y="862"/>
                    </a:lnTo>
                    <a:lnTo>
                      <a:pt x="1110" y="862"/>
                    </a:lnTo>
                    <a:lnTo>
                      <a:pt x="1110" y="862"/>
                    </a:lnTo>
                    <a:lnTo>
                      <a:pt x="1110" y="864"/>
                    </a:lnTo>
                    <a:lnTo>
                      <a:pt x="1108" y="866"/>
                    </a:lnTo>
                    <a:lnTo>
                      <a:pt x="1106" y="866"/>
                    </a:lnTo>
                    <a:lnTo>
                      <a:pt x="1108" y="868"/>
                    </a:lnTo>
                    <a:lnTo>
                      <a:pt x="1108" y="868"/>
                    </a:lnTo>
                    <a:lnTo>
                      <a:pt x="1110" y="870"/>
                    </a:lnTo>
                    <a:lnTo>
                      <a:pt x="1108" y="870"/>
                    </a:lnTo>
                    <a:lnTo>
                      <a:pt x="1108" y="872"/>
                    </a:lnTo>
                    <a:lnTo>
                      <a:pt x="1108" y="874"/>
                    </a:lnTo>
                    <a:lnTo>
                      <a:pt x="1108" y="874"/>
                    </a:lnTo>
                    <a:lnTo>
                      <a:pt x="1108" y="876"/>
                    </a:lnTo>
                    <a:lnTo>
                      <a:pt x="1108" y="878"/>
                    </a:lnTo>
                    <a:lnTo>
                      <a:pt x="1106" y="880"/>
                    </a:lnTo>
                    <a:lnTo>
                      <a:pt x="1104" y="882"/>
                    </a:lnTo>
                    <a:lnTo>
                      <a:pt x="1108" y="884"/>
                    </a:lnTo>
                    <a:lnTo>
                      <a:pt x="1108" y="884"/>
                    </a:lnTo>
                    <a:lnTo>
                      <a:pt x="1114" y="884"/>
                    </a:lnTo>
                    <a:lnTo>
                      <a:pt x="1114" y="886"/>
                    </a:lnTo>
                    <a:lnTo>
                      <a:pt x="1114" y="888"/>
                    </a:lnTo>
                    <a:lnTo>
                      <a:pt x="1116" y="888"/>
                    </a:lnTo>
                    <a:lnTo>
                      <a:pt x="1116" y="888"/>
                    </a:lnTo>
                    <a:lnTo>
                      <a:pt x="1120" y="884"/>
                    </a:lnTo>
                    <a:lnTo>
                      <a:pt x="1122" y="880"/>
                    </a:lnTo>
                    <a:lnTo>
                      <a:pt x="1126" y="876"/>
                    </a:lnTo>
                    <a:lnTo>
                      <a:pt x="1130" y="874"/>
                    </a:lnTo>
                    <a:lnTo>
                      <a:pt x="1130" y="874"/>
                    </a:lnTo>
                    <a:lnTo>
                      <a:pt x="1132" y="876"/>
                    </a:lnTo>
                    <a:lnTo>
                      <a:pt x="1132" y="878"/>
                    </a:lnTo>
                    <a:lnTo>
                      <a:pt x="1134" y="878"/>
                    </a:lnTo>
                    <a:lnTo>
                      <a:pt x="1142" y="878"/>
                    </a:lnTo>
                    <a:lnTo>
                      <a:pt x="1142" y="878"/>
                    </a:lnTo>
                    <a:lnTo>
                      <a:pt x="1146" y="876"/>
                    </a:lnTo>
                    <a:lnTo>
                      <a:pt x="1148" y="874"/>
                    </a:lnTo>
                    <a:lnTo>
                      <a:pt x="1146" y="870"/>
                    </a:lnTo>
                    <a:lnTo>
                      <a:pt x="1146" y="870"/>
                    </a:lnTo>
                    <a:lnTo>
                      <a:pt x="1146" y="866"/>
                    </a:lnTo>
                    <a:lnTo>
                      <a:pt x="1148" y="864"/>
                    </a:lnTo>
                    <a:lnTo>
                      <a:pt x="1150" y="862"/>
                    </a:lnTo>
                    <a:lnTo>
                      <a:pt x="1150" y="860"/>
                    </a:lnTo>
                    <a:lnTo>
                      <a:pt x="1150" y="860"/>
                    </a:lnTo>
                    <a:lnTo>
                      <a:pt x="1152" y="852"/>
                    </a:lnTo>
                    <a:lnTo>
                      <a:pt x="1152" y="850"/>
                    </a:lnTo>
                    <a:lnTo>
                      <a:pt x="1150" y="850"/>
                    </a:lnTo>
                    <a:lnTo>
                      <a:pt x="1150" y="850"/>
                    </a:lnTo>
                    <a:close/>
                    <a:moveTo>
                      <a:pt x="1254" y="830"/>
                    </a:moveTo>
                    <a:lnTo>
                      <a:pt x="1254" y="830"/>
                    </a:lnTo>
                    <a:lnTo>
                      <a:pt x="1260" y="826"/>
                    </a:lnTo>
                    <a:lnTo>
                      <a:pt x="1262" y="824"/>
                    </a:lnTo>
                    <a:lnTo>
                      <a:pt x="1260" y="820"/>
                    </a:lnTo>
                    <a:lnTo>
                      <a:pt x="1260" y="820"/>
                    </a:lnTo>
                    <a:lnTo>
                      <a:pt x="1258" y="822"/>
                    </a:lnTo>
                    <a:lnTo>
                      <a:pt x="1256" y="826"/>
                    </a:lnTo>
                    <a:lnTo>
                      <a:pt x="1254" y="830"/>
                    </a:lnTo>
                    <a:lnTo>
                      <a:pt x="1254" y="830"/>
                    </a:lnTo>
                    <a:lnTo>
                      <a:pt x="1254" y="830"/>
                    </a:lnTo>
                    <a:lnTo>
                      <a:pt x="1254" y="830"/>
                    </a:lnTo>
                    <a:close/>
                    <a:moveTo>
                      <a:pt x="1226" y="818"/>
                    </a:moveTo>
                    <a:lnTo>
                      <a:pt x="1226" y="818"/>
                    </a:lnTo>
                    <a:lnTo>
                      <a:pt x="1226" y="818"/>
                    </a:lnTo>
                    <a:lnTo>
                      <a:pt x="1222" y="818"/>
                    </a:lnTo>
                    <a:lnTo>
                      <a:pt x="1218" y="820"/>
                    </a:lnTo>
                    <a:lnTo>
                      <a:pt x="1214" y="826"/>
                    </a:lnTo>
                    <a:lnTo>
                      <a:pt x="1214" y="826"/>
                    </a:lnTo>
                    <a:lnTo>
                      <a:pt x="1214" y="826"/>
                    </a:lnTo>
                    <a:lnTo>
                      <a:pt x="1216" y="826"/>
                    </a:lnTo>
                    <a:lnTo>
                      <a:pt x="1220" y="824"/>
                    </a:lnTo>
                    <a:lnTo>
                      <a:pt x="1224" y="822"/>
                    </a:lnTo>
                    <a:lnTo>
                      <a:pt x="1226" y="818"/>
                    </a:lnTo>
                    <a:lnTo>
                      <a:pt x="1226" y="818"/>
                    </a:lnTo>
                    <a:close/>
                    <a:moveTo>
                      <a:pt x="1074" y="928"/>
                    </a:moveTo>
                    <a:lnTo>
                      <a:pt x="1074" y="928"/>
                    </a:lnTo>
                    <a:lnTo>
                      <a:pt x="1074" y="930"/>
                    </a:lnTo>
                    <a:lnTo>
                      <a:pt x="1074" y="932"/>
                    </a:lnTo>
                    <a:lnTo>
                      <a:pt x="1078" y="932"/>
                    </a:lnTo>
                    <a:lnTo>
                      <a:pt x="1082" y="930"/>
                    </a:lnTo>
                    <a:lnTo>
                      <a:pt x="1084" y="926"/>
                    </a:lnTo>
                    <a:lnTo>
                      <a:pt x="1084" y="926"/>
                    </a:lnTo>
                    <a:lnTo>
                      <a:pt x="1084" y="924"/>
                    </a:lnTo>
                    <a:lnTo>
                      <a:pt x="1080" y="924"/>
                    </a:lnTo>
                    <a:lnTo>
                      <a:pt x="1076" y="924"/>
                    </a:lnTo>
                    <a:lnTo>
                      <a:pt x="1074" y="928"/>
                    </a:lnTo>
                    <a:lnTo>
                      <a:pt x="1074" y="928"/>
                    </a:lnTo>
                    <a:close/>
                    <a:moveTo>
                      <a:pt x="772" y="1274"/>
                    </a:moveTo>
                    <a:lnTo>
                      <a:pt x="772" y="1274"/>
                    </a:lnTo>
                    <a:lnTo>
                      <a:pt x="784" y="1270"/>
                    </a:lnTo>
                    <a:lnTo>
                      <a:pt x="788" y="1270"/>
                    </a:lnTo>
                    <a:lnTo>
                      <a:pt x="790" y="1268"/>
                    </a:lnTo>
                    <a:lnTo>
                      <a:pt x="790" y="1268"/>
                    </a:lnTo>
                    <a:lnTo>
                      <a:pt x="790" y="1266"/>
                    </a:lnTo>
                    <a:lnTo>
                      <a:pt x="788" y="1264"/>
                    </a:lnTo>
                    <a:lnTo>
                      <a:pt x="786" y="1264"/>
                    </a:lnTo>
                    <a:lnTo>
                      <a:pt x="784" y="1262"/>
                    </a:lnTo>
                    <a:lnTo>
                      <a:pt x="784" y="1262"/>
                    </a:lnTo>
                    <a:lnTo>
                      <a:pt x="784" y="1260"/>
                    </a:lnTo>
                    <a:lnTo>
                      <a:pt x="784" y="1260"/>
                    </a:lnTo>
                    <a:lnTo>
                      <a:pt x="778" y="1262"/>
                    </a:lnTo>
                    <a:lnTo>
                      <a:pt x="768" y="1266"/>
                    </a:lnTo>
                    <a:lnTo>
                      <a:pt x="768" y="1266"/>
                    </a:lnTo>
                    <a:lnTo>
                      <a:pt x="760" y="1268"/>
                    </a:lnTo>
                    <a:lnTo>
                      <a:pt x="758" y="1270"/>
                    </a:lnTo>
                    <a:lnTo>
                      <a:pt x="756" y="1274"/>
                    </a:lnTo>
                    <a:lnTo>
                      <a:pt x="756" y="1274"/>
                    </a:lnTo>
                    <a:lnTo>
                      <a:pt x="758" y="1276"/>
                    </a:lnTo>
                    <a:lnTo>
                      <a:pt x="760" y="1276"/>
                    </a:lnTo>
                    <a:lnTo>
                      <a:pt x="772" y="1274"/>
                    </a:lnTo>
                    <a:lnTo>
                      <a:pt x="772" y="1274"/>
                    </a:lnTo>
                    <a:close/>
                    <a:moveTo>
                      <a:pt x="776" y="1258"/>
                    </a:moveTo>
                    <a:lnTo>
                      <a:pt x="776" y="1258"/>
                    </a:lnTo>
                    <a:lnTo>
                      <a:pt x="780" y="1256"/>
                    </a:lnTo>
                    <a:lnTo>
                      <a:pt x="778" y="1252"/>
                    </a:lnTo>
                    <a:lnTo>
                      <a:pt x="776" y="1250"/>
                    </a:lnTo>
                    <a:lnTo>
                      <a:pt x="774" y="1252"/>
                    </a:lnTo>
                    <a:lnTo>
                      <a:pt x="774" y="1252"/>
                    </a:lnTo>
                    <a:lnTo>
                      <a:pt x="772" y="1254"/>
                    </a:lnTo>
                    <a:lnTo>
                      <a:pt x="764" y="1256"/>
                    </a:lnTo>
                    <a:lnTo>
                      <a:pt x="760" y="1258"/>
                    </a:lnTo>
                    <a:lnTo>
                      <a:pt x="758" y="1258"/>
                    </a:lnTo>
                    <a:lnTo>
                      <a:pt x="758" y="1260"/>
                    </a:lnTo>
                    <a:lnTo>
                      <a:pt x="758" y="1260"/>
                    </a:lnTo>
                    <a:lnTo>
                      <a:pt x="764" y="1260"/>
                    </a:lnTo>
                    <a:lnTo>
                      <a:pt x="776" y="1258"/>
                    </a:lnTo>
                    <a:lnTo>
                      <a:pt x="776" y="1258"/>
                    </a:lnTo>
                    <a:close/>
                    <a:moveTo>
                      <a:pt x="892" y="180"/>
                    </a:moveTo>
                    <a:lnTo>
                      <a:pt x="892" y="180"/>
                    </a:lnTo>
                    <a:lnTo>
                      <a:pt x="904" y="186"/>
                    </a:lnTo>
                    <a:lnTo>
                      <a:pt x="912" y="188"/>
                    </a:lnTo>
                    <a:lnTo>
                      <a:pt x="912" y="188"/>
                    </a:lnTo>
                    <a:lnTo>
                      <a:pt x="912" y="186"/>
                    </a:lnTo>
                    <a:lnTo>
                      <a:pt x="910" y="182"/>
                    </a:lnTo>
                    <a:lnTo>
                      <a:pt x="906" y="176"/>
                    </a:lnTo>
                    <a:lnTo>
                      <a:pt x="900" y="170"/>
                    </a:lnTo>
                    <a:lnTo>
                      <a:pt x="894" y="164"/>
                    </a:lnTo>
                    <a:lnTo>
                      <a:pt x="888" y="164"/>
                    </a:lnTo>
                    <a:lnTo>
                      <a:pt x="888" y="164"/>
                    </a:lnTo>
                    <a:lnTo>
                      <a:pt x="882" y="162"/>
                    </a:lnTo>
                    <a:lnTo>
                      <a:pt x="878" y="158"/>
                    </a:lnTo>
                    <a:lnTo>
                      <a:pt x="870" y="144"/>
                    </a:lnTo>
                    <a:lnTo>
                      <a:pt x="866" y="138"/>
                    </a:lnTo>
                    <a:lnTo>
                      <a:pt x="860" y="134"/>
                    </a:lnTo>
                    <a:lnTo>
                      <a:pt x="856" y="132"/>
                    </a:lnTo>
                    <a:lnTo>
                      <a:pt x="850" y="132"/>
                    </a:lnTo>
                    <a:lnTo>
                      <a:pt x="850" y="132"/>
                    </a:lnTo>
                    <a:lnTo>
                      <a:pt x="846" y="136"/>
                    </a:lnTo>
                    <a:lnTo>
                      <a:pt x="846" y="142"/>
                    </a:lnTo>
                    <a:lnTo>
                      <a:pt x="860" y="164"/>
                    </a:lnTo>
                    <a:lnTo>
                      <a:pt x="860" y="164"/>
                    </a:lnTo>
                    <a:lnTo>
                      <a:pt x="866" y="174"/>
                    </a:lnTo>
                    <a:lnTo>
                      <a:pt x="868" y="174"/>
                    </a:lnTo>
                    <a:lnTo>
                      <a:pt x="870" y="174"/>
                    </a:lnTo>
                    <a:lnTo>
                      <a:pt x="872" y="172"/>
                    </a:lnTo>
                    <a:lnTo>
                      <a:pt x="876" y="172"/>
                    </a:lnTo>
                    <a:lnTo>
                      <a:pt x="884" y="174"/>
                    </a:lnTo>
                    <a:lnTo>
                      <a:pt x="892" y="180"/>
                    </a:lnTo>
                    <a:lnTo>
                      <a:pt x="892" y="180"/>
                    </a:lnTo>
                    <a:close/>
                    <a:moveTo>
                      <a:pt x="1006" y="948"/>
                    </a:moveTo>
                    <a:lnTo>
                      <a:pt x="1006" y="948"/>
                    </a:lnTo>
                    <a:lnTo>
                      <a:pt x="1016" y="944"/>
                    </a:lnTo>
                    <a:lnTo>
                      <a:pt x="1026" y="934"/>
                    </a:lnTo>
                    <a:lnTo>
                      <a:pt x="1026" y="934"/>
                    </a:lnTo>
                    <a:lnTo>
                      <a:pt x="1030" y="932"/>
                    </a:lnTo>
                    <a:lnTo>
                      <a:pt x="1030" y="930"/>
                    </a:lnTo>
                    <a:lnTo>
                      <a:pt x="1026" y="930"/>
                    </a:lnTo>
                    <a:lnTo>
                      <a:pt x="1026" y="930"/>
                    </a:lnTo>
                    <a:lnTo>
                      <a:pt x="1018" y="930"/>
                    </a:lnTo>
                    <a:lnTo>
                      <a:pt x="1008" y="932"/>
                    </a:lnTo>
                    <a:lnTo>
                      <a:pt x="1008" y="932"/>
                    </a:lnTo>
                    <a:lnTo>
                      <a:pt x="1004" y="934"/>
                    </a:lnTo>
                    <a:lnTo>
                      <a:pt x="1006" y="936"/>
                    </a:lnTo>
                    <a:lnTo>
                      <a:pt x="1006" y="938"/>
                    </a:lnTo>
                    <a:lnTo>
                      <a:pt x="1002" y="938"/>
                    </a:lnTo>
                    <a:lnTo>
                      <a:pt x="1002" y="938"/>
                    </a:lnTo>
                    <a:lnTo>
                      <a:pt x="998" y="938"/>
                    </a:lnTo>
                    <a:lnTo>
                      <a:pt x="998" y="940"/>
                    </a:lnTo>
                    <a:lnTo>
                      <a:pt x="1000" y="942"/>
                    </a:lnTo>
                    <a:lnTo>
                      <a:pt x="998" y="946"/>
                    </a:lnTo>
                    <a:lnTo>
                      <a:pt x="998" y="946"/>
                    </a:lnTo>
                    <a:lnTo>
                      <a:pt x="996" y="948"/>
                    </a:lnTo>
                    <a:lnTo>
                      <a:pt x="996" y="948"/>
                    </a:lnTo>
                    <a:lnTo>
                      <a:pt x="1000" y="948"/>
                    </a:lnTo>
                    <a:lnTo>
                      <a:pt x="1006" y="948"/>
                    </a:lnTo>
                    <a:lnTo>
                      <a:pt x="1006" y="948"/>
                    </a:lnTo>
                    <a:close/>
                    <a:moveTo>
                      <a:pt x="1028" y="900"/>
                    </a:moveTo>
                    <a:lnTo>
                      <a:pt x="1028" y="900"/>
                    </a:lnTo>
                    <a:lnTo>
                      <a:pt x="1024" y="900"/>
                    </a:lnTo>
                    <a:lnTo>
                      <a:pt x="1022" y="902"/>
                    </a:lnTo>
                    <a:lnTo>
                      <a:pt x="1022" y="904"/>
                    </a:lnTo>
                    <a:lnTo>
                      <a:pt x="1018" y="906"/>
                    </a:lnTo>
                    <a:lnTo>
                      <a:pt x="1018" y="906"/>
                    </a:lnTo>
                    <a:lnTo>
                      <a:pt x="1016" y="904"/>
                    </a:lnTo>
                    <a:lnTo>
                      <a:pt x="1014" y="902"/>
                    </a:lnTo>
                    <a:lnTo>
                      <a:pt x="1014" y="902"/>
                    </a:lnTo>
                    <a:lnTo>
                      <a:pt x="1012" y="902"/>
                    </a:lnTo>
                    <a:lnTo>
                      <a:pt x="1012" y="902"/>
                    </a:lnTo>
                    <a:lnTo>
                      <a:pt x="1010" y="904"/>
                    </a:lnTo>
                    <a:lnTo>
                      <a:pt x="1008" y="904"/>
                    </a:lnTo>
                    <a:lnTo>
                      <a:pt x="1006" y="904"/>
                    </a:lnTo>
                    <a:lnTo>
                      <a:pt x="1004" y="906"/>
                    </a:lnTo>
                    <a:lnTo>
                      <a:pt x="1004" y="906"/>
                    </a:lnTo>
                    <a:lnTo>
                      <a:pt x="1004" y="910"/>
                    </a:lnTo>
                    <a:lnTo>
                      <a:pt x="1002" y="912"/>
                    </a:lnTo>
                    <a:lnTo>
                      <a:pt x="1002" y="914"/>
                    </a:lnTo>
                    <a:lnTo>
                      <a:pt x="1004" y="916"/>
                    </a:lnTo>
                    <a:lnTo>
                      <a:pt x="1004" y="916"/>
                    </a:lnTo>
                    <a:lnTo>
                      <a:pt x="1008" y="918"/>
                    </a:lnTo>
                    <a:lnTo>
                      <a:pt x="1012" y="916"/>
                    </a:lnTo>
                    <a:lnTo>
                      <a:pt x="1016" y="914"/>
                    </a:lnTo>
                    <a:lnTo>
                      <a:pt x="1026" y="910"/>
                    </a:lnTo>
                    <a:lnTo>
                      <a:pt x="1026" y="910"/>
                    </a:lnTo>
                    <a:lnTo>
                      <a:pt x="1030" y="910"/>
                    </a:lnTo>
                    <a:lnTo>
                      <a:pt x="1026" y="914"/>
                    </a:lnTo>
                    <a:lnTo>
                      <a:pt x="1020" y="918"/>
                    </a:lnTo>
                    <a:lnTo>
                      <a:pt x="1020" y="918"/>
                    </a:lnTo>
                    <a:lnTo>
                      <a:pt x="1020" y="920"/>
                    </a:lnTo>
                    <a:lnTo>
                      <a:pt x="1020" y="920"/>
                    </a:lnTo>
                    <a:lnTo>
                      <a:pt x="1030" y="918"/>
                    </a:lnTo>
                    <a:lnTo>
                      <a:pt x="1040" y="916"/>
                    </a:lnTo>
                    <a:lnTo>
                      <a:pt x="1040" y="916"/>
                    </a:lnTo>
                    <a:lnTo>
                      <a:pt x="1042" y="914"/>
                    </a:lnTo>
                    <a:lnTo>
                      <a:pt x="1042" y="912"/>
                    </a:lnTo>
                    <a:lnTo>
                      <a:pt x="1042" y="910"/>
                    </a:lnTo>
                    <a:lnTo>
                      <a:pt x="1040" y="906"/>
                    </a:lnTo>
                    <a:lnTo>
                      <a:pt x="1040" y="904"/>
                    </a:lnTo>
                    <a:lnTo>
                      <a:pt x="1040" y="904"/>
                    </a:lnTo>
                    <a:lnTo>
                      <a:pt x="1040" y="904"/>
                    </a:lnTo>
                    <a:lnTo>
                      <a:pt x="1042" y="902"/>
                    </a:lnTo>
                    <a:lnTo>
                      <a:pt x="1042" y="900"/>
                    </a:lnTo>
                    <a:lnTo>
                      <a:pt x="1038" y="896"/>
                    </a:lnTo>
                    <a:lnTo>
                      <a:pt x="1034" y="890"/>
                    </a:lnTo>
                    <a:lnTo>
                      <a:pt x="1032" y="890"/>
                    </a:lnTo>
                    <a:lnTo>
                      <a:pt x="1030" y="890"/>
                    </a:lnTo>
                    <a:lnTo>
                      <a:pt x="1030" y="890"/>
                    </a:lnTo>
                    <a:lnTo>
                      <a:pt x="1028" y="890"/>
                    </a:lnTo>
                    <a:lnTo>
                      <a:pt x="1028" y="892"/>
                    </a:lnTo>
                    <a:lnTo>
                      <a:pt x="1030" y="896"/>
                    </a:lnTo>
                    <a:lnTo>
                      <a:pt x="1032" y="900"/>
                    </a:lnTo>
                    <a:lnTo>
                      <a:pt x="1028" y="900"/>
                    </a:lnTo>
                    <a:lnTo>
                      <a:pt x="1028" y="900"/>
                    </a:lnTo>
                    <a:close/>
                    <a:moveTo>
                      <a:pt x="996" y="942"/>
                    </a:moveTo>
                    <a:lnTo>
                      <a:pt x="996" y="942"/>
                    </a:lnTo>
                    <a:lnTo>
                      <a:pt x="996" y="940"/>
                    </a:lnTo>
                    <a:lnTo>
                      <a:pt x="994" y="938"/>
                    </a:lnTo>
                    <a:lnTo>
                      <a:pt x="990" y="938"/>
                    </a:lnTo>
                    <a:lnTo>
                      <a:pt x="988" y="938"/>
                    </a:lnTo>
                    <a:lnTo>
                      <a:pt x="988" y="938"/>
                    </a:lnTo>
                    <a:lnTo>
                      <a:pt x="990" y="940"/>
                    </a:lnTo>
                    <a:lnTo>
                      <a:pt x="992" y="942"/>
                    </a:lnTo>
                    <a:lnTo>
                      <a:pt x="994" y="942"/>
                    </a:lnTo>
                    <a:lnTo>
                      <a:pt x="996" y="942"/>
                    </a:lnTo>
                    <a:lnTo>
                      <a:pt x="996" y="942"/>
                    </a:lnTo>
                    <a:close/>
                    <a:moveTo>
                      <a:pt x="942" y="966"/>
                    </a:moveTo>
                    <a:lnTo>
                      <a:pt x="942" y="966"/>
                    </a:lnTo>
                    <a:lnTo>
                      <a:pt x="940" y="974"/>
                    </a:lnTo>
                    <a:lnTo>
                      <a:pt x="946" y="970"/>
                    </a:lnTo>
                    <a:lnTo>
                      <a:pt x="946" y="970"/>
                    </a:lnTo>
                    <a:lnTo>
                      <a:pt x="948" y="968"/>
                    </a:lnTo>
                    <a:lnTo>
                      <a:pt x="950" y="964"/>
                    </a:lnTo>
                    <a:lnTo>
                      <a:pt x="950" y="958"/>
                    </a:lnTo>
                    <a:lnTo>
                      <a:pt x="950" y="958"/>
                    </a:lnTo>
                    <a:lnTo>
                      <a:pt x="950" y="956"/>
                    </a:lnTo>
                    <a:lnTo>
                      <a:pt x="948" y="956"/>
                    </a:lnTo>
                    <a:lnTo>
                      <a:pt x="942" y="966"/>
                    </a:lnTo>
                    <a:lnTo>
                      <a:pt x="942" y="966"/>
                    </a:lnTo>
                    <a:close/>
                    <a:moveTo>
                      <a:pt x="970" y="956"/>
                    </a:moveTo>
                    <a:lnTo>
                      <a:pt x="970" y="956"/>
                    </a:lnTo>
                    <a:lnTo>
                      <a:pt x="972" y="956"/>
                    </a:lnTo>
                    <a:lnTo>
                      <a:pt x="974" y="956"/>
                    </a:lnTo>
                    <a:lnTo>
                      <a:pt x="976" y="956"/>
                    </a:lnTo>
                    <a:lnTo>
                      <a:pt x="976" y="956"/>
                    </a:lnTo>
                    <a:lnTo>
                      <a:pt x="978" y="954"/>
                    </a:lnTo>
                    <a:lnTo>
                      <a:pt x="982" y="952"/>
                    </a:lnTo>
                    <a:lnTo>
                      <a:pt x="984" y="950"/>
                    </a:lnTo>
                    <a:lnTo>
                      <a:pt x="988" y="946"/>
                    </a:lnTo>
                    <a:lnTo>
                      <a:pt x="988" y="946"/>
                    </a:lnTo>
                    <a:lnTo>
                      <a:pt x="992" y="946"/>
                    </a:lnTo>
                    <a:lnTo>
                      <a:pt x="990" y="944"/>
                    </a:lnTo>
                    <a:lnTo>
                      <a:pt x="980" y="942"/>
                    </a:lnTo>
                    <a:lnTo>
                      <a:pt x="980" y="942"/>
                    </a:lnTo>
                    <a:lnTo>
                      <a:pt x="976" y="940"/>
                    </a:lnTo>
                    <a:lnTo>
                      <a:pt x="972" y="942"/>
                    </a:lnTo>
                    <a:lnTo>
                      <a:pt x="970" y="944"/>
                    </a:lnTo>
                    <a:lnTo>
                      <a:pt x="966" y="948"/>
                    </a:lnTo>
                    <a:lnTo>
                      <a:pt x="966" y="948"/>
                    </a:lnTo>
                    <a:lnTo>
                      <a:pt x="966" y="952"/>
                    </a:lnTo>
                    <a:lnTo>
                      <a:pt x="966" y="954"/>
                    </a:lnTo>
                    <a:lnTo>
                      <a:pt x="966" y="954"/>
                    </a:lnTo>
                    <a:lnTo>
                      <a:pt x="964" y="956"/>
                    </a:lnTo>
                    <a:lnTo>
                      <a:pt x="966" y="958"/>
                    </a:lnTo>
                    <a:lnTo>
                      <a:pt x="968" y="958"/>
                    </a:lnTo>
                    <a:lnTo>
                      <a:pt x="970" y="956"/>
                    </a:lnTo>
                    <a:lnTo>
                      <a:pt x="970" y="956"/>
                    </a:lnTo>
                    <a:close/>
                    <a:moveTo>
                      <a:pt x="958" y="954"/>
                    </a:moveTo>
                    <a:lnTo>
                      <a:pt x="958" y="954"/>
                    </a:lnTo>
                    <a:lnTo>
                      <a:pt x="958" y="956"/>
                    </a:lnTo>
                    <a:lnTo>
                      <a:pt x="956" y="956"/>
                    </a:lnTo>
                    <a:lnTo>
                      <a:pt x="954" y="956"/>
                    </a:lnTo>
                    <a:lnTo>
                      <a:pt x="954" y="960"/>
                    </a:lnTo>
                    <a:lnTo>
                      <a:pt x="954" y="960"/>
                    </a:lnTo>
                    <a:lnTo>
                      <a:pt x="956" y="962"/>
                    </a:lnTo>
                    <a:lnTo>
                      <a:pt x="956" y="962"/>
                    </a:lnTo>
                    <a:lnTo>
                      <a:pt x="962" y="958"/>
                    </a:lnTo>
                    <a:lnTo>
                      <a:pt x="962" y="958"/>
                    </a:lnTo>
                    <a:lnTo>
                      <a:pt x="964" y="954"/>
                    </a:lnTo>
                    <a:lnTo>
                      <a:pt x="962" y="950"/>
                    </a:lnTo>
                    <a:lnTo>
                      <a:pt x="960" y="950"/>
                    </a:lnTo>
                    <a:lnTo>
                      <a:pt x="958" y="954"/>
                    </a:lnTo>
                    <a:lnTo>
                      <a:pt x="958" y="954"/>
                    </a:lnTo>
                    <a:close/>
                    <a:moveTo>
                      <a:pt x="1028" y="966"/>
                    </a:moveTo>
                    <a:lnTo>
                      <a:pt x="1028" y="966"/>
                    </a:lnTo>
                    <a:lnTo>
                      <a:pt x="1032" y="966"/>
                    </a:lnTo>
                    <a:lnTo>
                      <a:pt x="1034" y="964"/>
                    </a:lnTo>
                    <a:lnTo>
                      <a:pt x="1030" y="962"/>
                    </a:lnTo>
                    <a:lnTo>
                      <a:pt x="1030" y="962"/>
                    </a:lnTo>
                    <a:lnTo>
                      <a:pt x="1028" y="962"/>
                    </a:lnTo>
                    <a:lnTo>
                      <a:pt x="1026" y="964"/>
                    </a:lnTo>
                    <a:lnTo>
                      <a:pt x="1026" y="966"/>
                    </a:lnTo>
                    <a:lnTo>
                      <a:pt x="1028" y="966"/>
                    </a:lnTo>
                    <a:lnTo>
                      <a:pt x="1028" y="966"/>
                    </a:lnTo>
                    <a:close/>
                    <a:moveTo>
                      <a:pt x="1078" y="890"/>
                    </a:moveTo>
                    <a:lnTo>
                      <a:pt x="1078" y="890"/>
                    </a:lnTo>
                    <a:lnTo>
                      <a:pt x="1080" y="892"/>
                    </a:lnTo>
                    <a:lnTo>
                      <a:pt x="1082" y="894"/>
                    </a:lnTo>
                    <a:lnTo>
                      <a:pt x="1088" y="896"/>
                    </a:lnTo>
                    <a:lnTo>
                      <a:pt x="1092" y="896"/>
                    </a:lnTo>
                    <a:lnTo>
                      <a:pt x="1092" y="896"/>
                    </a:lnTo>
                    <a:lnTo>
                      <a:pt x="1092" y="894"/>
                    </a:lnTo>
                    <a:lnTo>
                      <a:pt x="1092" y="894"/>
                    </a:lnTo>
                    <a:lnTo>
                      <a:pt x="1088" y="892"/>
                    </a:lnTo>
                    <a:lnTo>
                      <a:pt x="1082" y="890"/>
                    </a:lnTo>
                    <a:lnTo>
                      <a:pt x="1078" y="890"/>
                    </a:lnTo>
                    <a:lnTo>
                      <a:pt x="1078" y="890"/>
                    </a:lnTo>
                    <a:close/>
                    <a:moveTo>
                      <a:pt x="1054" y="890"/>
                    </a:moveTo>
                    <a:lnTo>
                      <a:pt x="1054" y="890"/>
                    </a:lnTo>
                    <a:lnTo>
                      <a:pt x="1060" y="890"/>
                    </a:lnTo>
                    <a:lnTo>
                      <a:pt x="1062" y="888"/>
                    </a:lnTo>
                    <a:lnTo>
                      <a:pt x="1068" y="878"/>
                    </a:lnTo>
                    <a:lnTo>
                      <a:pt x="1068" y="878"/>
                    </a:lnTo>
                    <a:lnTo>
                      <a:pt x="1072" y="872"/>
                    </a:lnTo>
                    <a:lnTo>
                      <a:pt x="1074" y="868"/>
                    </a:lnTo>
                    <a:lnTo>
                      <a:pt x="1072" y="868"/>
                    </a:lnTo>
                    <a:lnTo>
                      <a:pt x="1066" y="870"/>
                    </a:lnTo>
                    <a:lnTo>
                      <a:pt x="1066" y="870"/>
                    </a:lnTo>
                    <a:lnTo>
                      <a:pt x="1054" y="878"/>
                    </a:lnTo>
                    <a:lnTo>
                      <a:pt x="1050" y="882"/>
                    </a:lnTo>
                    <a:lnTo>
                      <a:pt x="1046" y="890"/>
                    </a:lnTo>
                    <a:lnTo>
                      <a:pt x="1046" y="890"/>
                    </a:lnTo>
                    <a:lnTo>
                      <a:pt x="1044" y="894"/>
                    </a:lnTo>
                    <a:lnTo>
                      <a:pt x="1044" y="896"/>
                    </a:lnTo>
                    <a:lnTo>
                      <a:pt x="1046" y="898"/>
                    </a:lnTo>
                    <a:lnTo>
                      <a:pt x="1046" y="898"/>
                    </a:lnTo>
                    <a:lnTo>
                      <a:pt x="1048" y="898"/>
                    </a:lnTo>
                    <a:lnTo>
                      <a:pt x="1048" y="894"/>
                    </a:lnTo>
                    <a:lnTo>
                      <a:pt x="1050" y="892"/>
                    </a:lnTo>
                    <a:lnTo>
                      <a:pt x="1054" y="890"/>
                    </a:lnTo>
                    <a:lnTo>
                      <a:pt x="1054" y="890"/>
                    </a:lnTo>
                    <a:close/>
                    <a:moveTo>
                      <a:pt x="752" y="1276"/>
                    </a:moveTo>
                    <a:lnTo>
                      <a:pt x="752" y="1276"/>
                    </a:lnTo>
                    <a:lnTo>
                      <a:pt x="750" y="1274"/>
                    </a:lnTo>
                    <a:lnTo>
                      <a:pt x="742" y="1274"/>
                    </a:lnTo>
                    <a:lnTo>
                      <a:pt x="738" y="1276"/>
                    </a:lnTo>
                    <a:lnTo>
                      <a:pt x="736" y="1278"/>
                    </a:lnTo>
                    <a:lnTo>
                      <a:pt x="736" y="1278"/>
                    </a:lnTo>
                    <a:lnTo>
                      <a:pt x="736" y="1278"/>
                    </a:lnTo>
                    <a:lnTo>
                      <a:pt x="742" y="1282"/>
                    </a:lnTo>
                    <a:lnTo>
                      <a:pt x="748" y="1282"/>
                    </a:lnTo>
                    <a:lnTo>
                      <a:pt x="750" y="1278"/>
                    </a:lnTo>
                    <a:lnTo>
                      <a:pt x="752" y="1276"/>
                    </a:lnTo>
                    <a:lnTo>
                      <a:pt x="752" y="1276"/>
                    </a:lnTo>
                    <a:close/>
                    <a:moveTo>
                      <a:pt x="1156" y="42"/>
                    </a:moveTo>
                    <a:lnTo>
                      <a:pt x="1156" y="42"/>
                    </a:lnTo>
                    <a:lnTo>
                      <a:pt x="1164" y="44"/>
                    </a:lnTo>
                    <a:lnTo>
                      <a:pt x="1166" y="46"/>
                    </a:lnTo>
                    <a:lnTo>
                      <a:pt x="1164" y="48"/>
                    </a:lnTo>
                    <a:lnTo>
                      <a:pt x="1162" y="48"/>
                    </a:lnTo>
                    <a:lnTo>
                      <a:pt x="1160" y="50"/>
                    </a:lnTo>
                    <a:lnTo>
                      <a:pt x="1162" y="52"/>
                    </a:lnTo>
                    <a:lnTo>
                      <a:pt x="1166" y="56"/>
                    </a:lnTo>
                    <a:lnTo>
                      <a:pt x="1176" y="62"/>
                    </a:lnTo>
                    <a:lnTo>
                      <a:pt x="1176" y="62"/>
                    </a:lnTo>
                    <a:lnTo>
                      <a:pt x="1186" y="66"/>
                    </a:lnTo>
                    <a:lnTo>
                      <a:pt x="1194" y="68"/>
                    </a:lnTo>
                    <a:lnTo>
                      <a:pt x="1204" y="68"/>
                    </a:lnTo>
                    <a:lnTo>
                      <a:pt x="1214" y="66"/>
                    </a:lnTo>
                    <a:lnTo>
                      <a:pt x="1238" y="62"/>
                    </a:lnTo>
                    <a:lnTo>
                      <a:pt x="1252" y="60"/>
                    </a:lnTo>
                    <a:lnTo>
                      <a:pt x="1270" y="58"/>
                    </a:lnTo>
                    <a:lnTo>
                      <a:pt x="1270" y="58"/>
                    </a:lnTo>
                    <a:lnTo>
                      <a:pt x="1296" y="58"/>
                    </a:lnTo>
                    <a:lnTo>
                      <a:pt x="1298" y="60"/>
                    </a:lnTo>
                    <a:lnTo>
                      <a:pt x="1294" y="62"/>
                    </a:lnTo>
                    <a:lnTo>
                      <a:pt x="1274" y="66"/>
                    </a:lnTo>
                    <a:lnTo>
                      <a:pt x="1236" y="74"/>
                    </a:lnTo>
                    <a:lnTo>
                      <a:pt x="1236" y="74"/>
                    </a:lnTo>
                    <a:lnTo>
                      <a:pt x="1220" y="78"/>
                    </a:lnTo>
                    <a:lnTo>
                      <a:pt x="1216" y="80"/>
                    </a:lnTo>
                    <a:lnTo>
                      <a:pt x="1216" y="82"/>
                    </a:lnTo>
                    <a:lnTo>
                      <a:pt x="1216" y="84"/>
                    </a:lnTo>
                    <a:lnTo>
                      <a:pt x="1220" y="86"/>
                    </a:lnTo>
                    <a:lnTo>
                      <a:pt x="1232" y="88"/>
                    </a:lnTo>
                    <a:lnTo>
                      <a:pt x="1270" y="92"/>
                    </a:lnTo>
                    <a:lnTo>
                      <a:pt x="1308" y="94"/>
                    </a:lnTo>
                    <a:lnTo>
                      <a:pt x="1308" y="94"/>
                    </a:lnTo>
                    <a:lnTo>
                      <a:pt x="1324" y="96"/>
                    </a:lnTo>
                    <a:lnTo>
                      <a:pt x="1336" y="100"/>
                    </a:lnTo>
                    <a:lnTo>
                      <a:pt x="1360" y="110"/>
                    </a:lnTo>
                    <a:lnTo>
                      <a:pt x="1370" y="114"/>
                    </a:lnTo>
                    <a:lnTo>
                      <a:pt x="1380" y="114"/>
                    </a:lnTo>
                    <a:lnTo>
                      <a:pt x="1390" y="112"/>
                    </a:lnTo>
                    <a:lnTo>
                      <a:pt x="1402" y="106"/>
                    </a:lnTo>
                    <a:lnTo>
                      <a:pt x="1402" y="106"/>
                    </a:lnTo>
                    <a:lnTo>
                      <a:pt x="1412" y="98"/>
                    </a:lnTo>
                    <a:lnTo>
                      <a:pt x="1420" y="96"/>
                    </a:lnTo>
                    <a:lnTo>
                      <a:pt x="1424" y="94"/>
                    </a:lnTo>
                    <a:lnTo>
                      <a:pt x="1430" y="96"/>
                    </a:lnTo>
                    <a:lnTo>
                      <a:pt x="1438" y="98"/>
                    </a:lnTo>
                    <a:lnTo>
                      <a:pt x="1446" y="98"/>
                    </a:lnTo>
                    <a:lnTo>
                      <a:pt x="1456" y="96"/>
                    </a:lnTo>
                    <a:lnTo>
                      <a:pt x="1456" y="96"/>
                    </a:lnTo>
                    <a:lnTo>
                      <a:pt x="1464" y="92"/>
                    </a:lnTo>
                    <a:lnTo>
                      <a:pt x="1468" y="88"/>
                    </a:lnTo>
                    <a:lnTo>
                      <a:pt x="1468" y="84"/>
                    </a:lnTo>
                    <a:lnTo>
                      <a:pt x="1468" y="80"/>
                    </a:lnTo>
                    <a:lnTo>
                      <a:pt x="1470" y="76"/>
                    </a:lnTo>
                    <a:lnTo>
                      <a:pt x="1476" y="72"/>
                    </a:lnTo>
                    <a:lnTo>
                      <a:pt x="1488" y="66"/>
                    </a:lnTo>
                    <a:lnTo>
                      <a:pt x="1506" y="58"/>
                    </a:lnTo>
                    <a:lnTo>
                      <a:pt x="1506" y="58"/>
                    </a:lnTo>
                    <a:lnTo>
                      <a:pt x="1516" y="54"/>
                    </a:lnTo>
                    <a:lnTo>
                      <a:pt x="1522" y="48"/>
                    </a:lnTo>
                    <a:lnTo>
                      <a:pt x="1520" y="42"/>
                    </a:lnTo>
                    <a:lnTo>
                      <a:pt x="1516" y="38"/>
                    </a:lnTo>
                    <a:lnTo>
                      <a:pt x="1510" y="34"/>
                    </a:lnTo>
                    <a:lnTo>
                      <a:pt x="1502" y="30"/>
                    </a:lnTo>
                    <a:lnTo>
                      <a:pt x="1492" y="28"/>
                    </a:lnTo>
                    <a:lnTo>
                      <a:pt x="1484" y="28"/>
                    </a:lnTo>
                    <a:lnTo>
                      <a:pt x="1484" y="28"/>
                    </a:lnTo>
                    <a:lnTo>
                      <a:pt x="1468" y="28"/>
                    </a:lnTo>
                    <a:lnTo>
                      <a:pt x="1450" y="24"/>
                    </a:lnTo>
                    <a:lnTo>
                      <a:pt x="1430" y="18"/>
                    </a:lnTo>
                    <a:lnTo>
                      <a:pt x="1406" y="14"/>
                    </a:lnTo>
                    <a:lnTo>
                      <a:pt x="1406" y="14"/>
                    </a:lnTo>
                    <a:lnTo>
                      <a:pt x="1394" y="12"/>
                    </a:lnTo>
                    <a:lnTo>
                      <a:pt x="1388" y="14"/>
                    </a:lnTo>
                    <a:lnTo>
                      <a:pt x="1384" y="16"/>
                    </a:lnTo>
                    <a:lnTo>
                      <a:pt x="1382" y="20"/>
                    </a:lnTo>
                    <a:lnTo>
                      <a:pt x="1378" y="28"/>
                    </a:lnTo>
                    <a:lnTo>
                      <a:pt x="1374" y="30"/>
                    </a:lnTo>
                    <a:lnTo>
                      <a:pt x="1366" y="30"/>
                    </a:lnTo>
                    <a:lnTo>
                      <a:pt x="1366" y="30"/>
                    </a:lnTo>
                    <a:lnTo>
                      <a:pt x="1360" y="28"/>
                    </a:lnTo>
                    <a:lnTo>
                      <a:pt x="1358" y="24"/>
                    </a:lnTo>
                    <a:lnTo>
                      <a:pt x="1358" y="20"/>
                    </a:lnTo>
                    <a:lnTo>
                      <a:pt x="1360" y="16"/>
                    </a:lnTo>
                    <a:lnTo>
                      <a:pt x="1362" y="10"/>
                    </a:lnTo>
                    <a:lnTo>
                      <a:pt x="1362" y="6"/>
                    </a:lnTo>
                    <a:lnTo>
                      <a:pt x="1360" y="4"/>
                    </a:lnTo>
                    <a:lnTo>
                      <a:pt x="1360" y="4"/>
                    </a:lnTo>
                    <a:lnTo>
                      <a:pt x="1350" y="0"/>
                    </a:lnTo>
                    <a:lnTo>
                      <a:pt x="1344" y="0"/>
                    </a:lnTo>
                    <a:lnTo>
                      <a:pt x="1340" y="2"/>
                    </a:lnTo>
                    <a:lnTo>
                      <a:pt x="1334" y="4"/>
                    </a:lnTo>
                    <a:lnTo>
                      <a:pt x="1332" y="8"/>
                    </a:lnTo>
                    <a:lnTo>
                      <a:pt x="1328" y="14"/>
                    </a:lnTo>
                    <a:lnTo>
                      <a:pt x="1326" y="22"/>
                    </a:lnTo>
                    <a:lnTo>
                      <a:pt x="1326" y="22"/>
                    </a:lnTo>
                    <a:lnTo>
                      <a:pt x="1324" y="36"/>
                    </a:lnTo>
                    <a:lnTo>
                      <a:pt x="1322" y="40"/>
                    </a:lnTo>
                    <a:lnTo>
                      <a:pt x="1320" y="40"/>
                    </a:lnTo>
                    <a:lnTo>
                      <a:pt x="1318" y="40"/>
                    </a:lnTo>
                    <a:lnTo>
                      <a:pt x="1314" y="36"/>
                    </a:lnTo>
                    <a:lnTo>
                      <a:pt x="1306" y="24"/>
                    </a:lnTo>
                    <a:lnTo>
                      <a:pt x="1306" y="24"/>
                    </a:lnTo>
                    <a:lnTo>
                      <a:pt x="1300" y="20"/>
                    </a:lnTo>
                    <a:lnTo>
                      <a:pt x="1296" y="18"/>
                    </a:lnTo>
                    <a:lnTo>
                      <a:pt x="1292" y="18"/>
                    </a:lnTo>
                    <a:lnTo>
                      <a:pt x="1286" y="18"/>
                    </a:lnTo>
                    <a:lnTo>
                      <a:pt x="1278" y="20"/>
                    </a:lnTo>
                    <a:lnTo>
                      <a:pt x="1268" y="18"/>
                    </a:lnTo>
                    <a:lnTo>
                      <a:pt x="1252" y="16"/>
                    </a:lnTo>
                    <a:lnTo>
                      <a:pt x="1232" y="8"/>
                    </a:lnTo>
                    <a:lnTo>
                      <a:pt x="1232" y="8"/>
                    </a:lnTo>
                    <a:lnTo>
                      <a:pt x="1216" y="2"/>
                    </a:lnTo>
                    <a:lnTo>
                      <a:pt x="1208" y="2"/>
                    </a:lnTo>
                    <a:lnTo>
                      <a:pt x="1208" y="2"/>
                    </a:lnTo>
                    <a:lnTo>
                      <a:pt x="1208" y="4"/>
                    </a:lnTo>
                    <a:lnTo>
                      <a:pt x="1212" y="10"/>
                    </a:lnTo>
                    <a:lnTo>
                      <a:pt x="1216" y="16"/>
                    </a:lnTo>
                    <a:lnTo>
                      <a:pt x="1216" y="20"/>
                    </a:lnTo>
                    <a:lnTo>
                      <a:pt x="1216" y="22"/>
                    </a:lnTo>
                    <a:lnTo>
                      <a:pt x="1212" y="22"/>
                    </a:lnTo>
                    <a:lnTo>
                      <a:pt x="1200" y="16"/>
                    </a:lnTo>
                    <a:lnTo>
                      <a:pt x="1200" y="16"/>
                    </a:lnTo>
                    <a:lnTo>
                      <a:pt x="1188" y="12"/>
                    </a:lnTo>
                    <a:lnTo>
                      <a:pt x="1182" y="12"/>
                    </a:lnTo>
                    <a:lnTo>
                      <a:pt x="1184" y="14"/>
                    </a:lnTo>
                    <a:lnTo>
                      <a:pt x="1188" y="18"/>
                    </a:lnTo>
                    <a:lnTo>
                      <a:pt x="1192" y="24"/>
                    </a:lnTo>
                    <a:lnTo>
                      <a:pt x="1194" y="28"/>
                    </a:lnTo>
                    <a:lnTo>
                      <a:pt x="1194" y="30"/>
                    </a:lnTo>
                    <a:lnTo>
                      <a:pt x="1190" y="30"/>
                    </a:lnTo>
                    <a:lnTo>
                      <a:pt x="1180" y="28"/>
                    </a:lnTo>
                    <a:lnTo>
                      <a:pt x="1180" y="28"/>
                    </a:lnTo>
                    <a:lnTo>
                      <a:pt x="1166" y="26"/>
                    </a:lnTo>
                    <a:lnTo>
                      <a:pt x="1154" y="24"/>
                    </a:lnTo>
                    <a:lnTo>
                      <a:pt x="1148" y="24"/>
                    </a:lnTo>
                    <a:lnTo>
                      <a:pt x="1142" y="26"/>
                    </a:lnTo>
                    <a:lnTo>
                      <a:pt x="1142" y="30"/>
                    </a:lnTo>
                    <a:lnTo>
                      <a:pt x="1144" y="34"/>
                    </a:lnTo>
                    <a:lnTo>
                      <a:pt x="1148" y="38"/>
                    </a:lnTo>
                    <a:lnTo>
                      <a:pt x="1156" y="42"/>
                    </a:lnTo>
                    <a:lnTo>
                      <a:pt x="1156" y="42"/>
                    </a:lnTo>
                    <a:close/>
                    <a:moveTo>
                      <a:pt x="388" y="1446"/>
                    </a:moveTo>
                    <a:lnTo>
                      <a:pt x="388" y="1446"/>
                    </a:lnTo>
                    <a:lnTo>
                      <a:pt x="384" y="1448"/>
                    </a:lnTo>
                    <a:lnTo>
                      <a:pt x="384" y="1450"/>
                    </a:lnTo>
                    <a:lnTo>
                      <a:pt x="384" y="1452"/>
                    </a:lnTo>
                    <a:lnTo>
                      <a:pt x="386" y="1456"/>
                    </a:lnTo>
                    <a:lnTo>
                      <a:pt x="386" y="1456"/>
                    </a:lnTo>
                    <a:lnTo>
                      <a:pt x="388" y="1454"/>
                    </a:lnTo>
                    <a:lnTo>
                      <a:pt x="390" y="1452"/>
                    </a:lnTo>
                    <a:lnTo>
                      <a:pt x="390" y="1448"/>
                    </a:lnTo>
                    <a:lnTo>
                      <a:pt x="388" y="1446"/>
                    </a:lnTo>
                    <a:lnTo>
                      <a:pt x="388" y="1446"/>
                    </a:lnTo>
                    <a:close/>
                    <a:moveTo>
                      <a:pt x="164" y="1358"/>
                    </a:moveTo>
                    <a:lnTo>
                      <a:pt x="164" y="1358"/>
                    </a:lnTo>
                    <a:lnTo>
                      <a:pt x="164" y="1358"/>
                    </a:lnTo>
                    <a:lnTo>
                      <a:pt x="166" y="1356"/>
                    </a:lnTo>
                    <a:lnTo>
                      <a:pt x="168" y="1358"/>
                    </a:lnTo>
                    <a:lnTo>
                      <a:pt x="168" y="1358"/>
                    </a:lnTo>
                    <a:lnTo>
                      <a:pt x="170" y="1356"/>
                    </a:lnTo>
                    <a:lnTo>
                      <a:pt x="170" y="1356"/>
                    </a:lnTo>
                    <a:lnTo>
                      <a:pt x="172" y="1354"/>
                    </a:lnTo>
                    <a:lnTo>
                      <a:pt x="170" y="1354"/>
                    </a:lnTo>
                    <a:lnTo>
                      <a:pt x="168" y="1350"/>
                    </a:lnTo>
                    <a:lnTo>
                      <a:pt x="168" y="1350"/>
                    </a:lnTo>
                    <a:lnTo>
                      <a:pt x="164" y="1346"/>
                    </a:lnTo>
                    <a:lnTo>
                      <a:pt x="164" y="1346"/>
                    </a:lnTo>
                    <a:lnTo>
                      <a:pt x="164" y="1348"/>
                    </a:lnTo>
                    <a:lnTo>
                      <a:pt x="164" y="1348"/>
                    </a:lnTo>
                    <a:lnTo>
                      <a:pt x="164" y="1350"/>
                    </a:lnTo>
                    <a:lnTo>
                      <a:pt x="164" y="1352"/>
                    </a:lnTo>
                    <a:lnTo>
                      <a:pt x="164" y="1354"/>
                    </a:lnTo>
                    <a:lnTo>
                      <a:pt x="164" y="1358"/>
                    </a:lnTo>
                    <a:lnTo>
                      <a:pt x="164" y="1358"/>
                    </a:lnTo>
                    <a:close/>
                    <a:moveTo>
                      <a:pt x="148" y="1644"/>
                    </a:moveTo>
                    <a:lnTo>
                      <a:pt x="148" y="1644"/>
                    </a:lnTo>
                    <a:lnTo>
                      <a:pt x="150" y="1642"/>
                    </a:lnTo>
                    <a:lnTo>
                      <a:pt x="150" y="1642"/>
                    </a:lnTo>
                    <a:lnTo>
                      <a:pt x="150" y="1640"/>
                    </a:lnTo>
                    <a:lnTo>
                      <a:pt x="152" y="1636"/>
                    </a:lnTo>
                    <a:lnTo>
                      <a:pt x="152" y="1636"/>
                    </a:lnTo>
                    <a:lnTo>
                      <a:pt x="156" y="1634"/>
                    </a:lnTo>
                    <a:lnTo>
                      <a:pt x="160" y="1634"/>
                    </a:lnTo>
                    <a:lnTo>
                      <a:pt x="162" y="1634"/>
                    </a:lnTo>
                    <a:lnTo>
                      <a:pt x="162" y="1632"/>
                    </a:lnTo>
                    <a:lnTo>
                      <a:pt x="162" y="1632"/>
                    </a:lnTo>
                    <a:lnTo>
                      <a:pt x="162" y="1630"/>
                    </a:lnTo>
                    <a:lnTo>
                      <a:pt x="164" y="1630"/>
                    </a:lnTo>
                    <a:lnTo>
                      <a:pt x="166" y="1628"/>
                    </a:lnTo>
                    <a:lnTo>
                      <a:pt x="166" y="1626"/>
                    </a:lnTo>
                    <a:lnTo>
                      <a:pt x="166" y="1626"/>
                    </a:lnTo>
                    <a:lnTo>
                      <a:pt x="164" y="1624"/>
                    </a:lnTo>
                    <a:lnTo>
                      <a:pt x="164" y="1624"/>
                    </a:lnTo>
                    <a:lnTo>
                      <a:pt x="166" y="1622"/>
                    </a:lnTo>
                    <a:lnTo>
                      <a:pt x="164" y="1620"/>
                    </a:lnTo>
                    <a:lnTo>
                      <a:pt x="164" y="1620"/>
                    </a:lnTo>
                    <a:lnTo>
                      <a:pt x="166" y="1618"/>
                    </a:lnTo>
                    <a:lnTo>
                      <a:pt x="168" y="1618"/>
                    </a:lnTo>
                    <a:lnTo>
                      <a:pt x="170" y="1618"/>
                    </a:lnTo>
                    <a:lnTo>
                      <a:pt x="174" y="1616"/>
                    </a:lnTo>
                    <a:lnTo>
                      <a:pt x="174" y="1616"/>
                    </a:lnTo>
                    <a:lnTo>
                      <a:pt x="176" y="1614"/>
                    </a:lnTo>
                    <a:lnTo>
                      <a:pt x="172" y="1614"/>
                    </a:lnTo>
                    <a:lnTo>
                      <a:pt x="168" y="1614"/>
                    </a:lnTo>
                    <a:lnTo>
                      <a:pt x="168" y="1614"/>
                    </a:lnTo>
                    <a:lnTo>
                      <a:pt x="168" y="1614"/>
                    </a:lnTo>
                    <a:lnTo>
                      <a:pt x="168" y="1614"/>
                    </a:lnTo>
                    <a:lnTo>
                      <a:pt x="172" y="1610"/>
                    </a:lnTo>
                    <a:lnTo>
                      <a:pt x="174" y="1606"/>
                    </a:lnTo>
                    <a:lnTo>
                      <a:pt x="174" y="1600"/>
                    </a:lnTo>
                    <a:lnTo>
                      <a:pt x="172" y="1598"/>
                    </a:lnTo>
                    <a:lnTo>
                      <a:pt x="172" y="1598"/>
                    </a:lnTo>
                    <a:lnTo>
                      <a:pt x="170" y="1598"/>
                    </a:lnTo>
                    <a:lnTo>
                      <a:pt x="164" y="1602"/>
                    </a:lnTo>
                    <a:lnTo>
                      <a:pt x="158" y="1606"/>
                    </a:lnTo>
                    <a:lnTo>
                      <a:pt x="150" y="1610"/>
                    </a:lnTo>
                    <a:lnTo>
                      <a:pt x="150" y="1610"/>
                    </a:lnTo>
                    <a:lnTo>
                      <a:pt x="148" y="1612"/>
                    </a:lnTo>
                    <a:lnTo>
                      <a:pt x="148" y="1614"/>
                    </a:lnTo>
                    <a:lnTo>
                      <a:pt x="148" y="1616"/>
                    </a:lnTo>
                    <a:lnTo>
                      <a:pt x="148" y="1620"/>
                    </a:lnTo>
                    <a:lnTo>
                      <a:pt x="148" y="1620"/>
                    </a:lnTo>
                    <a:lnTo>
                      <a:pt x="146" y="1620"/>
                    </a:lnTo>
                    <a:lnTo>
                      <a:pt x="144" y="1618"/>
                    </a:lnTo>
                    <a:lnTo>
                      <a:pt x="142" y="1616"/>
                    </a:lnTo>
                    <a:lnTo>
                      <a:pt x="140" y="1616"/>
                    </a:lnTo>
                    <a:lnTo>
                      <a:pt x="140" y="1616"/>
                    </a:lnTo>
                    <a:lnTo>
                      <a:pt x="136" y="1622"/>
                    </a:lnTo>
                    <a:lnTo>
                      <a:pt x="136" y="1624"/>
                    </a:lnTo>
                    <a:lnTo>
                      <a:pt x="138" y="1628"/>
                    </a:lnTo>
                    <a:lnTo>
                      <a:pt x="138" y="1628"/>
                    </a:lnTo>
                    <a:lnTo>
                      <a:pt x="140" y="1630"/>
                    </a:lnTo>
                    <a:lnTo>
                      <a:pt x="140" y="1630"/>
                    </a:lnTo>
                    <a:lnTo>
                      <a:pt x="138" y="1632"/>
                    </a:lnTo>
                    <a:lnTo>
                      <a:pt x="138" y="1632"/>
                    </a:lnTo>
                    <a:lnTo>
                      <a:pt x="138" y="1632"/>
                    </a:lnTo>
                    <a:lnTo>
                      <a:pt x="144" y="1636"/>
                    </a:lnTo>
                    <a:lnTo>
                      <a:pt x="144" y="1636"/>
                    </a:lnTo>
                    <a:lnTo>
                      <a:pt x="146" y="1636"/>
                    </a:lnTo>
                    <a:lnTo>
                      <a:pt x="146" y="1636"/>
                    </a:lnTo>
                    <a:lnTo>
                      <a:pt x="142" y="1638"/>
                    </a:lnTo>
                    <a:lnTo>
                      <a:pt x="138" y="1642"/>
                    </a:lnTo>
                    <a:lnTo>
                      <a:pt x="136" y="1644"/>
                    </a:lnTo>
                    <a:lnTo>
                      <a:pt x="138" y="1646"/>
                    </a:lnTo>
                    <a:lnTo>
                      <a:pt x="138" y="1646"/>
                    </a:lnTo>
                    <a:lnTo>
                      <a:pt x="140" y="1648"/>
                    </a:lnTo>
                    <a:lnTo>
                      <a:pt x="142" y="1648"/>
                    </a:lnTo>
                    <a:lnTo>
                      <a:pt x="144" y="1644"/>
                    </a:lnTo>
                    <a:lnTo>
                      <a:pt x="148" y="1644"/>
                    </a:lnTo>
                    <a:lnTo>
                      <a:pt x="148" y="1644"/>
                    </a:lnTo>
                    <a:close/>
                    <a:moveTo>
                      <a:pt x="84" y="2020"/>
                    </a:moveTo>
                    <a:lnTo>
                      <a:pt x="84" y="2020"/>
                    </a:lnTo>
                    <a:lnTo>
                      <a:pt x="88" y="2008"/>
                    </a:lnTo>
                    <a:lnTo>
                      <a:pt x="90" y="2008"/>
                    </a:lnTo>
                    <a:lnTo>
                      <a:pt x="92" y="2012"/>
                    </a:lnTo>
                    <a:lnTo>
                      <a:pt x="92" y="2012"/>
                    </a:lnTo>
                    <a:lnTo>
                      <a:pt x="94" y="2014"/>
                    </a:lnTo>
                    <a:lnTo>
                      <a:pt x="96" y="2014"/>
                    </a:lnTo>
                    <a:lnTo>
                      <a:pt x="106" y="2008"/>
                    </a:lnTo>
                    <a:lnTo>
                      <a:pt x="120" y="2000"/>
                    </a:lnTo>
                    <a:lnTo>
                      <a:pt x="126" y="1996"/>
                    </a:lnTo>
                    <a:lnTo>
                      <a:pt x="132" y="1994"/>
                    </a:lnTo>
                    <a:lnTo>
                      <a:pt x="132" y="1994"/>
                    </a:lnTo>
                    <a:lnTo>
                      <a:pt x="142" y="1992"/>
                    </a:lnTo>
                    <a:lnTo>
                      <a:pt x="148" y="1990"/>
                    </a:lnTo>
                    <a:lnTo>
                      <a:pt x="152" y="1990"/>
                    </a:lnTo>
                    <a:lnTo>
                      <a:pt x="160" y="1990"/>
                    </a:lnTo>
                    <a:lnTo>
                      <a:pt x="160" y="1990"/>
                    </a:lnTo>
                    <a:lnTo>
                      <a:pt x="166" y="1992"/>
                    </a:lnTo>
                    <a:lnTo>
                      <a:pt x="168" y="1988"/>
                    </a:lnTo>
                    <a:lnTo>
                      <a:pt x="168" y="1980"/>
                    </a:lnTo>
                    <a:lnTo>
                      <a:pt x="168" y="1974"/>
                    </a:lnTo>
                    <a:lnTo>
                      <a:pt x="172" y="1966"/>
                    </a:lnTo>
                    <a:lnTo>
                      <a:pt x="172" y="1966"/>
                    </a:lnTo>
                    <a:lnTo>
                      <a:pt x="176" y="1958"/>
                    </a:lnTo>
                    <a:lnTo>
                      <a:pt x="178" y="1950"/>
                    </a:lnTo>
                    <a:lnTo>
                      <a:pt x="180" y="1934"/>
                    </a:lnTo>
                    <a:lnTo>
                      <a:pt x="178" y="1920"/>
                    </a:lnTo>
                    <a:lnTo>
                      <a:pt x="174" y="1906"/>
                    </a:lnTo>
                    <a:lnTo>
                      <a:pt x="174" y="1906"/>
                    </a:lnTo>
                    <a:lnTo>
                      <a:pt x="168" y="1888"/>
                    </a:lnTo>
                    <a:lnTo>
                      <a:pt x="166" y="1884"/>
                    </a:lnTo>
                    <a:lnTo>
                      <a:pt x="170" y="1884"/>
                    </a:lnTo>
                    <a:lnTo>
                      <a:pt x="170" y="1884"/>
                    </a:lnTo>
                    <a:lnTo>
                      <a:pt x="172" y="1882"/>
                    </a:lnTo>
                    <a:lnTo>
                      <a:pt x="172" y="1880"/>
                    </a:lnTo>
                    <a:lnTo>
                      <a:pt x="168" y="1874"/>
                    </a:lnTo>
                    <a:lnTo>
                      <a:pt x="168" y="1874"/>
                    </a:lnTo>
                    <a:lnTo>
                      <a:pt x="172" y="1874"/>
                    </a:lnTo>
                    <a:lnTo>
                      <a:pt x="176" y="1876"/>
                    </a:lnTo>
                    <a:lnTo>
                      <a:pt x="178" y="1878"/>
                    </a:lnTo>
                    <a:lnTo>
                      <a:pt x="178" y="1878"/>
                    </a:lnTo>
                    <a:lnTo>
                      <a:pt x="180" y="1878"/>
                    </a:lnTo>
                    <a:lnTo>
                      <a:pt x="186" y="1870"/>
                    </a:lnTo>
                    <a:lnTo>
                      <a:pt x="186" y="1870"/>
                    </a:lnTo>
                    <a:lnTo>
                      <a:pt x="190" y="1866"/>
                    </a:lnTo>
                    <a:lnTo>
                      <a:pt x="194" y="1866"/>
                    </a:lnTo>
                    <a:lnTo>
                      <a:pt x="196" y="1864"/>
                    </a:lnTo>
                    <a:lnTo>
                      <a:pt x="198" y="1862"/>
                    </a:lnTo>
                    <a:lnTo>
                      <a:pt x="198" y="1862"/>
                    </a:lnTo>
                    <a:lnTo>
                      <a:pt x="196" y="1858"/>
                    </a:lnTo>
                    <a:lnTo>
                      <a:pt x="194" y="1858"/>
                    </a:lnTo>
                    <a:lnTo>
                      <a:pt x="192" y="1858"/>
                    </a:lnTo>
                    <a:lnTo>
                      <a:pt x="192" y="1858"/>
                    </a:lnTo>
                    <a:lnTo>
                      <a:pt x="192" y="1858"/>
                    </a:lnTo>
                    <a:lnTo>
                      <a:pt x="194" y="1854"/>
                    </a:lnTo>
                    <a:lnTo>
                      <a:pt x="196" y="1850"/>
                    </a:lnTo>
                    <a:lnTo>
                      <a:pt x="196" y="1848"/>
                    </a:lnTo>
                    <a:lnTo>
                      <a:pt x="196" y="1850"/>
                    </a:lnTo>
                    <a:lnTo>
                      <a:pt x="196" y="1850"/>
                    </a:lnTo>
                    <a:lnTo>
                      <a:pt x="200" y="1858"/>
                    </a:lnTo>
                    <a:lnTo>
                      <a:pt x="202" y="1858"/>
                    </a:lnTo>
                    <a:lnTo>
                      <a:pt x="204" y="1856"/>
                    </a:lnTo>
                    <a:lnTo>
                      <a:pt x="204" y="1856"/>
                    </a:lnTo>
                    <a:lnTo>
                      <a:pt x="204" y="1850"/>
                    </a:lnTo>
                    <a:lnTo>
                      <a:pt x="202" y="1844"/>
                    </a:lnTo>
                    <a:lnTo>
                      <a:pt x="198" y="1840"/>
                    </a:lnTo>
                    <a:lnTo>
                      <a:pt x="196" y="1838"/>
                    </a:lnTo>
                    <a:lnTo>
                      <a:pt x="194" y="1838"/>
                    </a:lnTo>
                    <a:lnTo>
                      <a:pt x="194" y="1838"/>
                    </a:lnTo>
                    <a:lnTo>
                      <a:pt x="186" y="1840"/>
                    </a:lnTo>
                    <a:lnTo>
                      <a:pt x="184" y="1840"/>
                    </a:lnTo>
                    <a:lnTo>
                      <a:pt x="186" y="1838"/>
                    </a:lnTo>
                    <a:lnTo>
                      <a:pt x="186" y="1838"/>
                    </a:lnTo>
                    <a:lnTo>
                      <a:pt x="192" y="1834"/>
                    </a:lnTo>
                    <a:lnTo>
                      <a:pt x="194" y="1832"/>
                    </a:lnTo>
                    <a:lnTo>
                      <a:pt x="192" y="1828"/>
                    </a:lnTo>
                    <a:lnTo>
                      <a:pt x="190" y="1828"/>
                    </a:lnTo>
                    <a:lnTo>
                      <a:pt x="190" y="1828"/>
                    </a:lnTo>
                    <a:lnTo>
                      <a:pt x="186" y="1826"/>
                    </a:lnTo>
                    <a:lnTo>
                      <a:pt x="182" y="1820"/>
                    </a:lnTo>
                    <a:lnTo>
                      <a:pt x="176" y="1808"/>
                    </a:lnTo>
                    <a:lnTo>
                      <a:pt x="176" y="1808"/>
                    </a:lnTo>
                    <a:lnTo>
                      <a:pt x="174" y="1806"/>
                    </a:lnTo>
                    <a:lnTo>
                      <a:pt x="172" y="1804"/>
                    </a:lnTo>
                    <a:lnTo>
                      <a:pt x="164" y="1806"/>
                    </a:lnTo>
                    <a:lnTo>
                      <a:pt x="156" y="1808"/>
                    </a:lnTo>
                    <a:lnTo>
                      <a:pt x="148" y="1808"/>
                    </a:lnTo>
                    <a:lnTo>
                      <a:pt x="148" y="1808"/>
                    </a:lnTo>
                    <a:lnTo>
                      <a:pt x="142" y="1810"/>
                    </a:lnTo>
                    <a:lnTo>
                      <a:pt x="140" y="1812"/>
                    </a:lnTo>
                    <a:lnTo>
                      <a:pt x="138" y="1814"/>
                    </a:lnTo>
                    <a:lnTo>
                      <a:pt x="130" y="1816"/>
                    </a:lnTo>
                    <a:lnTo>
                      <a:pt x="130" y="1816"/>
                    </a:lnTo>
                    <a:lnTo>
                      <a:pt x="126" y="1818"/>
                    </a:lnTo>
                    <a:lnTo>
                      <a:pt x="124" y="1822"/>
                    </a:lnTo>
                    <a:lnTo>
                      <a:pt x="122" y="1828"/>
                    </a:lnTo>
                    <a:lnTo>
                      <a:pt x="120" y="1834"/>
                    </a:lnTo>
                    <a:lnTo>
                      <a:pt x="116" y="1836"/>
                    </a:lnTo>
                    <a:lnTo>
                      <a:pt x="112" y="1836"/>
                    </a:lnTo>
                    <a:lnTo>
                      <a:pt x="112" y="1836"/>
                    </a:lnTo>
                    <a:lnTo>
                      <a:pt x="116" y="1836"/>
                    </a:lnTo>
                    <a:lnTo>
                      <a:pt x="120" y="1832"/>
                    </a:lnTo>
                    <a:lnTo>
                      <a:pt x="122" y="1826"/>
                    </a:lnTo>
                    <a:lnTo>
                      <a:pt x="124" y="1818"/>
                    </a:lnTo>
                    <a:lnTo>
                      <a:pt x="128" y="1816"/>
                    </a:lnTo>
                    <a:lnTo>
                      <a:pt x="132" y="1814"/>
                    </a:lnTo>
                    <a:lnTo>
                      <a:pt x="132" y="1814"/>
                    </a:lnTo>
                    <a:lnTo>
                      <a:pt x="132" y="1810"/>
                    </a:lnTo>
                    <a:lnTo>
                      <a:pt x="134" y="1808"/>
                    </a:lnTo>
                    <a:lnTo>
                      <a:pt x="138" y="1806"/>
                    </a:lnTo>
                    <a:lnTo>
                      <a:pt x="140" y="1804"/>
                    </a:lnTo>
                    <a:lnTo>
                      <a:pt x="140" y="1804"/>
                    </a:lnTo>
                    <a:lnTo>
                      <a:pt x="134" y="1798"/>
                    </a:lnTo>
                    <a:lnTo>
                      <a:pt x="134" y="1798"/>
                    </a:lnTo>
                    <a:lnTo>
                      <a:pt x="130" y="1796"/>
                    </a:lnTo>
                    <a:lnTo>
                      <a:pt x="126" y="1796"/>
                    </a:lnTo>
                    <a:lnTo>
                      <a:pt x="124" y="1798"/>
                    </a:lnTo>
                    <a:lnTo>
                      <a:pt x="122" y="1800"/>
                    </a:lnTo>
                    <a:lnTo>
                      <a:pt x="118" y="1804"/>
                    </a:lnTo>
                    <a:lnTo>
                      <a:pt x="116" y="1804"/>
                    </a:lnTo>
                    <a:lnTo>
                      <a:pt x="112" y="1804"/>
                    </a:lnTo>
                    <a:lnTo>
                      <a:pt x="112" y="1804"/>
                    </a:lnTo>
                    <a:lnTo>
                      <a:pt x="104" y="1806"/>
                    </a:lnTo>
                    <a:lnTo>
                      <a:pt x="94" y="1810"/>
                    </a:lnTo>
                    <a:lnTo>
                      <a:pt x="86" y="1816"/>
                    </a:lnTo>
                    <a:lnTo>
                      <a:pt x="84" y="1820"/>
                    </a:lnTo>
                    <a:lnTo>
                      <a:pt x="84" y="1824"/>
                    </a:lnTo>
                    <a:lnTo>
                      <a:pt x="84" y="1824"/>
                    </a:lnTo>
                    <a:lnTo>
                      <a:pt x="84" y="1828"/>
                    </a:lnTo>
                    <a:lnTo>
                      <a:pt x="82" y="1830"/>
                    </a:lnTo>
                    <a:lnTo>
                      <a:pt x="76" y="1834"/>
                    </a:lnTo>
                    <a:lnTo>
                      <a:pt x="70" y="1836"/>
                    </a:lnTo>
                    <a:lnTo>
                      <a:pt x="68" y="1838"/>
                    </a:lnTo>
                    <a:lnTo>
                      <a:pt x="68" y="1840"/>
                    </a:lnTo>
                    <a:lnTo>
                      <a:pt x="68" y="1840"/>
                    </a:lnTo>
                    <a:lnTo>
                      <a:pt x="70" y="1842"/>
                    </a:lnTo>
                    <a:lnTo>
                      <a:pt x="76" y="1842"/>
                    </a:lnTo>
                    <a:lnTo>
                      <a:pt x="86" y="1842"/>
                    </a:lnTo>
                    <a:lnTo>
                      <a:pt x="94" y="1844"/>
                    </a:lnTo>
                    <a:lnTo>
                      <a:pt x="94" y="1846"/>
                    </a:lnTo>
                    <a:lnTo>
                      <a:pt x="90" y="1848"/>
                    </a:lnTo>
                    <a:lnTo>
                      <a:pt x="90" y="1848"/>
                    </a:lnTo>
                    <a:lnTo>
                      <a:pt x="82" y="1856"/>
                    </a:lnTo>
                    <a:lnTo>
                      <a:pt x="78" y="1862"/>
                    </a:lnTo>
                    <a:lnTo>
                      <a:pt x="74" y="1866"/>
                    </a:lnTo>
                    <a:lnTo>
                      <a:pt x="70" y="1866"/>
                    </a:lnTo>
                    <a:lnTo>
                      <a:pt x="70" y="1866"/>
                    </a:lnTo>
                    <a:lnTo>
                      <a:pt x="62" y="1864"/>
                    </a:lnTo>
                    <a:lnTo>
                      <a:pt x="58" y="1866"/>
                    </a:lnTo>
                    <a:lnTo>
                      <a:pt x="54" y="1866"/>
                    </a:lnTo>
                    <a:lnTo>
                      <a:pt x="48" y="1864"/>
                    </a:lnTo>
                    <a:lnTo>
                      <a:pt x="48" y="1864"/>
                    </a:lnTo>
                    <a:lnTo>
                      <a:pt x="40" y="1860"/>
                    </a:lnTo>
                    <a:lnTo>
                      <a:pt x="30" y="1860"/>
                    </a:lnTo>
                    <a:lnTo>
                      <a:pt x="22" y="1862"/>
                    </a:lnTo>
                    <a:lnTo>
                      <a:pt x="14" y="1868"/>
                    </a:lnTo>
                    <a:lnTo>
                      <a:pt x="14" y="1868"/>
                    </a:lnTo>
                    <a:lnTo>
                      <a:pt x="14" y="1870"/>
                    </a:lnTo>
                    <a:lnTo>
                      <a:pt x="14" y="1870"/>
                    </a:lnTo>
                    <a:lnTo>
                      <a:pt x="18" y="1870"/>
                    </a:lnTo>
                    <a:lnTo>
                      <a:pt x="20" y="1870"/>
                    </a:lnTo>
                    <a:lnTo>
                      <a:pt x="20" y="1872"/>
                    </a:lnTo>
                    <a:lnTo>
                      <a:pt x="20" y="1874"/>
                    </a:lnTo>
                    <a:lnTo>
                      <a:pt x="18" y="1878"/>
                    </a:lnTo>
                    <a:lnTo>
                      <a:pt x="18" y="1878"/>
                    </a:lnTo>
                    <a:lnTo>
                      <a:pt x="16" y="1884"/>
                    </a:lnTo>
                    <a:lnTo>
                      <a:pt x="18" y="1886"/>
                    </a:lnTo>
                    <a:lnTo>
                      <a:pt x="22" y="1888"/>
                    </a:lnTo>
                    <a:lnTo>
                      <a:pt x="28" y="1888"/>
                    </a:lnTo>
                    <a:lnTo>
                      <a:pt x="38" y="1888"/>
                    </a:lnTo>
                    <a:lnTo>
                      <a:pt x="38" y="1890"/>
                    </a:lnTo>
                    <a:lnTo>
                      <a:pt x="34" y="1892"/>
                    </a:lnTo>
                    <a:lnTo>
                      <a:pt x="34" y="1892"/>
                    </a:lnTo>
                    <a:lnTo>
                      <a:pt x="24" y="1898"/>
                    </a:lnTo>
                    <a:lnTo>
                      <a:pt x="22" y="1900"/>
                    </a:lnTo>
                    <a:lnTo>
                      <a:pt x="20" y="1904"/>
                    </a:lnTo>
                    <a:lnTo>
                      <a:pt x="16" y="1908"/>
                    </a:lnTo>
                    <a:lnTo>
                      <a:pt x="16" y="1908"/>
                    </a:lnTo>
                    <a:lnTo>
                      <a:pt x="14" y="1912"/>
                    </a:lnTo>
                    <a:lnTo>
                      <a:pt x="16" y="1914"/>
                    </a:lnTo>
                    <a:lnTo>
                      <a:pt x="24" y="1922"/>
                    </a:lnTo>
                    <a:lnTo>
                      <a:pt x="36" y="1928"/>
                    </a:lnTo>
                    <a:lnTo>
                      <a:pt x="40" y="1928"/>
                    </a:lnTo>
                    <a:lnTo>
                      <a:pt x="44" y="1928"/>
                    </a:lnTo>
                    <a:lnTo>
                      <a:pt x="44" y="1928"/>
                    </a:lnTo>
                    <a:lnTo>
                      <a:pt x="52" y="1926"/>
                    </a:lnTo>
                    <a:lnTo>
                      <a:pt x="58" y="1928"/>
                    </a:lnTo>
                    <a:lnTo>
                      <a:pt x="60" y="1928"/>
                    </a:lnTo>
                    <a:lnTo>
                      <a:pt x="60" y="1930"/>
                    </a:lnTo>
                    <a:lnTo>
                      <a:pt x="50" y="1934"/>
                    </a:lnTo>
                    <a:lnTo>
                      <a:pt x="50" y="1934"/>
                    </a:lnTo>
                    <a:lnTo>
                      <a:pt x="44" y="1936"/>
                    </a:lnTo>
                    <a:lnTo>
                      <a:pt x="42" y="1938"/>
                    </a:lnTo>
                    <a:lnTo>
                      <a:pt x="42" y="1940"/>
                    </a:lnTo>
                    <a:lnTo>
                      <a:pt x="42" y="1944"/>
                    </a:lnTo>
                    <a:lnTo>
                      <a:pt x="42" y="1948"/>
                    </a:lnTo>
                    <a:lnTo>
                      <a:pt x="40" y="1952"/>
                    </a:lnTo>
                    <a:lnTo>
                      <a:pt x="36" y="1956"/>
                    </a:lnTo>
                    <a:lnTo>
                      <a:pt x="28" y="1962"/>
                    </a:lnTo>
                    <a:lnTo>
                      <a:pt x="28" y="1962"/>
                    </a:lnTo>
                    <a:lnTo>
                      <a:pt x="22" y="1966"/>
                    </a:lnTo>
                    <a:lnTo>
                      <a:pt x="22" y="1968"/>
                    </a:lnTo>
                    <a:lnTo>
                      <a:pt x="26" y="1968"/>
                    </a:lnTo>
                    <a:lnTo>
                      <a:pt x="30" y="1968"/>
                    </a:lnTo>
                    <a:lnTo>
                      <a:pt x="58" y="1960"/>
                    </a:lnTo>
                    <a:lnTo>
                      <a:pt x="58" y="1960"/>
                    </a:lnTo>
                    <a:lnTo>
                      <a:pt x="64" y="1960"/>
                    </a:lnTo>
                    <a:lnTo>
                      <a:pt x="66" y="1960"/>
                    </a:lnTo>
                    <a:lnTo>
                      <a:pt x="66" y="1962"/>
                    </a:lnTo>
                    <a:lnTo>
                      <a:pt x="66" y="1964"/>
                    </a:lnTo>
                    <a:lnTo>
                      <a:pt x="62" y="1966"/>
                    </a:lnTo>
                    <a:lnTo>
                      <a:pt x="50" y="1968"/>
                    </a:lnTo>
                    <a:lnTo>
                      <a:pt x="50" y="1968"/>
                    </a:lnTo>
                    <a:lnTo>
                      <a:pt x="36" y="1970"/>
                    </a:lnTo>
                    <a:lnTo>
                      <a:pt x="28" y="1974"/>
                    </a:lnTo>
                    <a:lnTo>
                      <a:pt x="24" y="1978"/>
                    </a:lnTo>
                    <a:lnTo>
                      <a:pt x="26" y="1982"/>
                    </a:lnTo>
                    <a:lnTo>
                      <a:pt x="26" y="1982"/>
                    </a:lnTo>
                    <a:lnTo>
                      <a:pt x="28" y="1984"/>
                    </a:lnTo>
                    <a:lnTo>
                      <a:pt x="26" y="1986"/>
                    </a:lnTo>
                    <a:lnTo>
                      <a:pt x="22" y="1984"/>
                    </a:lnTo>
                    <a:lnTo>
                      <a:pt x="14" y="1984"/>
                    </a:lnTo>
                    <a:lnTo>
                      <a:pt x="10" y="1986"/>
                    </a:lnTo>
                    <a:lnTo>
                      <a:pt x="4" y="1988"/>
                    </a:lnTo>
                    <a:lnTo>
                      <a:pt x="4" y="1988"/>
                    </a:lnTo>
                    <a:lnTo>
                      <a:pt x="0" y="1994"/>
                    </a:lnTo>
                    <a:lnTo>
                      <a:pt x="0" y="1996"/>
                    </a:lnTo>
                    <a:lnTo>
                      <a:pt x="2" y="1996"/>
                    </a:lnTo>
                    <a:lnTo>
                      <a:pt x="6" y="1996"/>
                    </a:lnTo>
                    <a:lnTo>
                      <a:pt x="10" y="1996"/>
                    </a:lnTo>
                    <a:lnTo>
                      <a:pt x="14" y="1996"/>
                    </a:lnTo>
                    <a:lnTo>
                      <a:pt x="14" y="2000"/>
                    </a:lnTo>
                    <a:lnTo>
                      <a:pt x="10" y="2004"/>
                    </a:lnTo>
                    <a:lnTo>
                      <a:pt x="10" y="2004"/>
                    </a:lnTo>
                    <a:lnTo>
                      <a:pt x="6" y="2010"/>
                    </a:lnTo>
                    <a:lnTo>
                      <a:pt x="4" y="2012"/>
                    </a:lnTo>
                    <a:lnTo>
                      <a:pt x="8" y="2014"/>
                    </a:lnTo>
                    <a:lnTo>
                      <a:pt x="12" y="2016"/>
                    </a:lnTo>
                    <a:lnTo>
                      <a:pt x="18" y="2018"/>
                    </a:lnTo>
                    <a:lnTo>
                      <a:pt x="20" y="2020"/>
                    </a:lnTo>
                    <a:lnTo>
                      <a:pt x="16" y="2024"/>
                    </a:lnTo>
                    <a:lnTo>
                      <a:pt x="16" y="2024"/>
                    </a:lnTo>
                    <a:lnTo>
                      <a:pt x="14" y="2026"/>
                    </a:lnTo>
                    <a:lnTo>
                      <a:pt x="16" y="2026"/>
                    </a:lnTo>
                    <a:lnTo>
                      <a:pt x="28" y="2022"/>
                    </a:lnTo>
                    <a:lnTo>
                      <a:pt x="36" y="2020"/>
                    </a:lnTo>
                    <a:lnTo>
                      <a:pt x="36" y="2022"/>
                    </a:lnTo>
                    <a:lnTo>
                      <a:pt x="30" y="2026"/>
                    </a:lnTo>
                    <a:lnTo>
                      <a:pt x="30" y="2026"/>
                    </a:lnTo>
                    <a:lnTo>
                      <a:pt x="28" y="2030"/>
                    </a:lnTo>
                    <a:lnTo>
                      <a:pt x="28" y="2032"/>
                    </a:lnTo>
                    <a:lnTo>
                      <a:pt x="30" y="2034"/>
                    </a:lnTo>
                    <a:lnTo>
                      <a:pt x="38" y="2034"/>
                    </a:lnTo>
                    <a:lnTo>
                      <a:pt x="48" y="2032"/>
                    </a:lnTo>
                    <a:lnTo>
                      <a:pt x="70" y="2028"/>
                    </a:lnTo>
                    <a:lnTo>
                      <a:pt x="78" y="2024"/>
                    </a:lnTo>
                    <a:lnTo>
                      <a:pt x="84" y="2020"/>
                    </a:lnTo>
                    <a:lnTo>
                      <a:pt x="84" y="2020"/>
                    </a:lnTo>
                    <a:close/>
                    <a:moveTo>
                      <a:pt x="154" y="1672"/>
                    </a:moveTo>
                    <a:lnTo>
                      <a:pt x="154" y="1672"/>
                    </a:lnTo>
                    <a:lnTo>
                      <a:pt x="156" y="1672"/>
                    </a:lnTo>
                    <a:lnTo>
                      <a:pt x="156" y="1672"/>
                    </a:lnTo>
                    <a:lnTo>
                      <a:pt x="158" y="1670"/>
                    </a:lnTo>
                    <a:lnTo>
                      <a:pt x="162" y="1672"/>
                    </a:lnTo>
                    <a:lnTo>
                      <a:pt x="162" y="1672"/>
                    </a:lnTo>
                    <a:lnTo>
                      <a:pt x="162" y="1674"/>
                    </a:lnTo>
                    <a:lnTo>
                      <a:pt x="162" y="1676"/>
                    </a:lnTo>
                    <a:lnTo>
                      <a:pt x="162" y="1678"/>
                    </a:lnTo>
                    <a:lnTo>
                      <a:pt x="164" y="1682"/>
                    </a:lnTo>
                    <a:lnTo>
                      <a:pt x="164" y="1682"/>
                    </a:lnTo>
                    <a:lnTo>
                      <a:pt x="168" y="1684"/>
                    </a:lnTo>
                    <a:lnTo>
                      <a:pt x="170" y="1684"/>
                    </a:lnTo>
                    <a:lnTo>
                      <a:pt x="174" y="1682"/>
                    </a:lnTo>
                    <a:lnTo>
                      <a:pt x="180" y="1682"/>
                    </a:lnTo>
                    <a:lnTo>
                      <a:pt x="180" y="1682"/>
                    </a:lnTo>
                    <a:lnTo>
                      <a:pt x="182" y="1684"/>
                    </a:lnTo>
                    <a:lnTo>
                      <a:pt x="182" y="1684"/>
                    </a:lnTo>
                    <a:lnTo>
                      <a:pt x="182" y="1688"/>
                    </a:lnTo>
                    <a:lnTo>
                      <a:pt x="180" y="1692"/>
                    </a:lnTo>
                    <a:lnTo>
                      <a:pt x="180" y="1694"/>
                    </a:lnTo>
                    <a:lnTo>
                      <a:pt x="180" y="1694"/>
                    </a:lnTo>
                    <a:lnTo>
                      <a:pt x="182" y="1692"/>
                    </a:lnTo>
                    <a:lnTo>
                      <a:pt x="186" y="1688"/>
                    </a:lnTo>
                    <a:lnTo>
                      <a:pt x="192" y="1678"/>
                    </a:lnTo>
                    <a:lnTo>
                      <a:pt x="192" y="1678"/>
                    </a:lnTo>
                    <a:lnTo>
                      <a:pt x="192" y="1676"/>
                    </a:lnTo>
                    <a:lnTo>
                      <a:pt x="190" y="1676"/>
                    </a:lnTo>
                    <a:lnTo>
                      <a:pt x="184" y="1678"/>
                    </a:lnTo>
                    <a:lnTo>
                      <a:pt x="180" y="1676"/>
                    </a:lnTo>
                    <a:lnTo>
                      <a:pt x="180" y="1676"/>
                    </a:lnTo>
                    <a:lnTo>
                      <a:pt x="178" y="1674"/>
                    </a:lnTo>
                    <a:lnTo>
                      <a:pt x="176" y="1672"/>
                    </a:lnTo>
                    <a:lnTo>
                      <a:pt x="174" y="1662"/>
                    </a:lnTo>
                    <a:lnTo>
                      <a:pt x="172" y="1654"/>
                    </a:lnTo>
                    <a:lnTo>
                      <a:pt x="170" y="1652"/>
                    </a:lnTo>
                    <a:lnTo>
                      <a:pt x="168" y="1650"/>
                    </a:lnTo>
                    <a:lnTo>
                      <a:pt x="168" y="1650"/>
                    </a:lnTo>
                    <a:lnTo>
                      <a:pt x="166" y="1650"/>
                    </a:lnTo>
                    <a:lnTo>
                      <a:pt x="166" y="1652"/>
                    </a:lnTo>
                    <a:lnTo>
                      <a:pt x="166" y="1656"/>
                    </a:lnTo>
                    <a:lnTo>
                      <a:pt x="166" y="1662"/>
                    </a:lnTo>
                    <a:lnTo>
                      <a:pt x="166" y="1664"/>
                    </a:lnTo>
                    <a:lnTo>
                      <a:pt x="166" y="1664"/>
                    </a:lnTo>
                    <a:lnTo>
                      <a:pt x="162" y="1664"/>
                    </a:lnTo>
                    <a:lnTo>
                      <a:pt x="160" y="1660"/>
                    </a:lnTo>
                    <a:lnTo>
                      <a:pt x="158" y="1658"/>
                    </a:lnTo>
                    <a:lnTo>
                      <a:pt x="154" y="1656"/>
                    </a:lnTo>
                    <a:lnTo>
                      <a:pt x="154" y="1656"/>
                    </a:lnTo>
                    <a:lnTo>
                      <a:pt x="154" y="1658"/>
                    </a:lnTo>
                    <a:lnTo>
                      <a:pt x="154" y="1660"/>
                    </a:lnTo>
                    <a:lnTo>
                      <a:pt x="156" y="1664"/>
                    </a:lnTo>
                    <a:lnTo>
                      <a:pt x="156" y="1664"/>
                    </a:lnTo>
                    <a:lnTo>
                      <a:pt x="154" y="1666"/>
                    </a:lnTo>
                    <a:lnTo>
                      <a:pt x="150" y="1666"/>
                    </a:lnTo>
                    <a:lnTo>
                      <a:pt x="150" y="1668"/>
                    </a:lnTo>
                    <a:lnTo>
                      <a:pt x="154" y="1672"/>
                    </a:lnTo>
                    <a:lnTo>
                      <a:pt x="154" y="1672"/>
                    </a:lnTo>
                    <a:close/>
                    <a:moveTo>
                      <a:pt x="146" y="1346"/>
                    </a:moveTo>
                    <a:lnTo>
                      <a:pt x="146" y="1346"/>
                    </a:lnTo>
                    <a:lnTo>
                      <a:pt x="142" y="1346"/>
                    </a:lnTo>
                    <a:lnTo>
                      <a:pt x="144" y="1352"/>
                    </a:lnTo>
                    <a:lnTo>
                      <a:pt x="144" y="1352"/>
                    </a:lnTo>
                    <a:lnTo>
                      <a:pt x="148" y="1358"/>
                    </a:lnTo>
                    <a:lnTo>
                      <a:pt x="154" y="1362"/>
                    </a:lnTo>
                    <a:lnTo>
                      <a:pt x="154" y="1362"/>
                    </a:lnTo>
                    <a:lnTo>
                      <a:pt x="158" y="1364"/>
                    </a:lnTo>
                    <a:lnTo>
                      <a:pt x="160" y="1364"/>
                    </a:lnTo>
                    <a:lnTo>
                      <a:pt x="162" y="1362"/>
                    </a:lnTo>
                    <a:lnTo>
                      <a:pt x="160" y="1360"/>
                    </a:lnTo>
                    <a:lnTo>
                      <a:pt x="160" y="1360"/>
                    </a:lnTo>
                    <a:lnTo>
                      <a:pt x="158" y="1358"/>
                    </a:lnTo>
                    <a:lnTo>
                      <a:pt x="160" y="1358"/>
                    </a:lnTo>
                    <a:lnTo>
                      <a:pt x="160" y="1356"/>
                    </a:lnTo>
                    <a:lnTo>
                      <a:pt x="158" y="1356"/>
                    </a:lnTo>
                    <a:lnTo>
                      <a:pt x="158" y="1356"/>
                    </a:lnTo>
                    <a:lnTo>
                      <a:pt x="154" y="1354"/>
                    </a:lnTo>
                    <a:lnTo>
                      <a:pt x="154" y="1352"/>
                    </a:lnTo>
                    <a:lnTo>
                      <a:pt x="154" y="1350"/>
                    </a:lnTo>
                    <a:lnTo>
                      <a:pt x="152" y="1350"/>
                    </a:lnTo>
                    <a:lnTo>
                      <a:pt x="152" y="1350"/>
                    </a:lnTo>
                    <a:lnTo>
                      <a:pt x="148" y="1350"/>
                    </a:lnTo>
                    <a:lnTo>
                      <a:pt x="148" y="1348"/>
                    </a:lnTo>
                    <a:lnTo>
                      <a:pt x="148" y="1346"/>
                    </a:lnTo>
                    <a:lnTo>
                      <a:pt x="146" y="1346"/>
                    </a:lnTo>
                    <a:lnTo>
                      <a:pt x="146" y="1346"/>
                    </a:lnTo>
                    <a:close/>
                    <a:moveTo>
                      <a:pt x="166" y="1740"/>
                    </a:moveTo>
                    <a:lnTo>
                      <a:pt x="166" y="1740"/>
                    </a:lnTo>
                    <a:lnTo>
                      <a:pt x="166" y="1742"/>
                    </a:lnTo>
                    <a:lnTo>
                      <a:pt x="168" y="1742"/>
                    </a:lnTo>
                    <a:lnTo>
                      <a:pt x="174" y="1740"/>
                    </a:lnTo>
                    <a:lnTo>
                      <a:pt x="188" y="1736"/>
                    </a:lnTo>
                    <a:lnTo>
                      <a:pt x="188" y="1736"/>
                    </a:lnTo>
                    <a:lnTo>
                      <a:pt x="194" y="1734"/>
                    </a:lnTo>
                    <a:lnTo>
                      <a:pt x="192" y="1732"/>
                    </a:lnTo>
                    <a:lnTo>
                      <a:pt x="190" y="1728"/>
                    </a:lnTo>
                    <a:lnTo>
                      <a:pt x="184" y="1724"/>
                    </a:lnTo>
                    <a:lnTo>
                      <a:pt x="184" y="1724"/>
                    </a:lnTo>
                    <a:lnTo>
                      <a:pt x="178" y="1722"/>
                    </a:lnTo>
                    <a:lnTo>
                      <a:pt x="176" y="1718"/>
                    </a:lnTo>
                    <a:lnTo>
                      <a:pt x="174" y="1718"/>
                    </a:lnTo>
                    <a:lnTo>
                      <a:pt x="170" y="1720"/>
                    </a:lnTo>
                    <a:lnTo>
                      <a:pt x="170" y="1720"/>
                    </a:lnTo>
                    <a:lnTo>
                      <a:pt x="168" y="1722"/>
                    </a:lnTo>
                    <a:lnTo>
                      <a:pt x="166" y="1724"/>
                    </a:lnTo>
                    <a:lnTo>
                      <a:pt x="174" y="1728"/>
                    </a:lnTo>
                    <a:lnTo>
                      <a:pt x="174" y="1728"/>
                    </a:lnTo>
                    <a:lnTo>
                      <a:pt x="176" y="1730"/>
                    </a:lnTo>
                    <a:lnTo>
                      <a:pt x="174" y="1730"/>
                    </a:lnTo>
                    <a:lnTo>
                      <a:pt x="172" y="1732"/>
                    </a:lnTo>
                    <a:lnTo>
                      <a:pt x="172" y="1734"/>
                    </a:lnTo>
                    <a:lnTo>
                      <a:pt x="172" y="1734"/>
                    </a:lnTo>
                    <a:lnTo>
                      <a:pt x="172" y="1736"/>
                    </a:lnTo>
                    <a:lnTo>
                      <a:pt x="170" y="1736"/>
                    </a:lnTo>
                    <a:lnTo>
                      <a:pt x="168" y="1738"/>
                    </a:lnTo>
                    <a:lnTo>
                      <a:pt x="166" y="1740"/>
                    </a:lnTo>
                    <a:lnTo>
                      <a:pt x="166" y="1740"/>
                    </a:lnTo>
                    <a:close/>
                    <a:moveTo>
                      <a:pt x="362" y="2084"/>
                    </a:moveTo>
                    <a:lnTo>
                      <a:pt x="362" y="2084"/>
                    </a:lnTo>
                    <a:lnTo>
                      <a:pt x="370" y="2088"/>
                    </a:lnTo>
                    <a:lnTo>
                      <a:pt x="376" y="2088"/>
                    </a:lnTo>
                    <a:lnTo>
                      <a:pt x="380" y="2086"/>
                    </a:lnTo>
                    <a:lnTo>
                      <a:pt x="378" y="2082"/>
                    </a:lnTo>
                    <a:lnTo>
                      <a:pt x="378" y="2082"/>
                    </a:lnTo>
                    <a:lnTo>
                      <a:pt x="376" y="2080"/>
                    </a:lnTo>
                    <a:lnTo>
                      <a:pt x="372" y="2078"/>
                    </a:lnTo>
                    <a:lnTo>
                      <a:pt x="366" y="2080"/>
                    </a:lnTo>
                    <a:lnTo>
                      <a:pt x="362" y="2084"/>
                    </a:lnTo>
                    <a:lnTo>
                      <a:pt x="362" y="2084"/>
                    </a:lnTo>
                    <a:close/>
                    <a:moveTo>
                      <a:pt x="174" y="1354"/>
                    </a:moveTo>
                    <a:lnTo>
                      <a:pt x="174" y="1354"/>
                    </a:lnTo>
                    <a:lnTo>
                      <a:pt x="176" y="1352"/>
                    </a:lnTo>
                    <a:lnTo>
                      <a:pt x="176" y="1350"/>
                    </a:lnTo>
                    <a:lnTo>
                      <a:pt x="174" y="1348"/>
                    </a:lnTo>
                    <a:lnTo>
                      <a:pt x="174" y="1348"/>
                    </a:lnTo>
                    <a:lnTo>
                      <a:pt x="174" y="1350"/>
                    </a:lnTo>
                    <a:lnTo>
                      <a:pt x="172" y="1350"/>
                    </a:lnTo>
                    <a:lnTo>
                      <a:pt x="172" y="1352"/>
                    </a:lnTo>
                    <a:lnTo>
                      <a:pt x="174" y="1354"/>
                    </a:lnTo>
                    <a:lnTo>
                      <a:pt x="174" y="1354"/>
                    </a:lnTo>
                    <a:close/>
                    <a:moveTo>
                      <a:pt x="168" y="1784"/>
                    </a:moveTo>
                    <a:lnTo>
                      <a:pt x="168" y="1784"/>
                    </a:lnTo>
                    <a:lnTo>
                      <a:pt x="168" y="1784"/>
                    </a:lnTo>
                    <a:lnTo>
                      <a:pt x="170" y="1784"/>
                    </a:lnTo>
                    <a:lnTo>
                      <a:pt x="176" y="1780"/>
                    </a:lnTo>
                    <a:lnTo>
                      <a:pt x="176" y="1780"/>
                    </a:lnTo>
                    <a:lnTo>
                      <a:pt x="178" y="1776"/>
                    </a:lnTo>
                    <a:lnTo>
                      <a:pt x="178" y="1772"/>
                    </a:lnTo>
                    <a:lnTo>
                      <a:pt x="176" y="1768"/>
                    </a:lnTo>
                    <a:lnTo>
                      <a:pt x="176" y="1764"/>
                    </a:lnTo>
                    <a:lnTo>
                      <a:pt x="176" y="1764"/>
                    </a:lnTo>
                    <a:lnTo>
                      <a:pt x="176" y="1762"/>
                    </a:lnTo>
                    <a:lnTo>
                      <a:pt x="174" y="1762"/>
                    </a:lnTo>
                    <a:lnTo>
                      <a:pt x="172" y="1764"/>
                    </a:lnTo>
                    <a:lnTo>
                      <a:pt x="170" y="1766"/>
                    </a:lnTo>
                    <a:lnTo>
                      <a:pt x="168" y="1766"/>
                    </a:lnTo>
                    <a:lnTo>
                      <a:pt x="168" y="1766"/>
                    </a:lnTo>
                    <a:lnTo>
                      <a:pt x="168" y="1766"/>
                    </a:lnTo>
                    <a:lnTo>
                      <a:pt x="166" y="1764"/>
                    </a:lnTo>
                    <a:lnTo>
                      <a:pt x="166" y="1766"/>
                    </a:lnTo>
                    <a:lnTo>
                      <a:pt x="162" y="1768"/>
                    </a:lnTo>
                    <a:lnTo>
                      <a:pt x="158" y="1772"/>
                    </a:lnTo>
                    <a:lnTo>
                      <a:pt x="158" y="1774"/>
                    </a:lnTo>
                    <a:lnTo>
                      <a:pt x="160" y="1776"/>
                    </a:lnTo>
                    <a:lnTo>
                      <a:pt x="160" y="1776"/>
                    </a:lnTo>
                    <a:lnTo>
                      <a:pt x="162" y="1776"/>
                    </a:lnTo>
                    <a:lnTo>
                      <a:pt x="166" y="1774"/>
                    </a:lnTo>
                    <a:lnTo>
                      <a:pt x="168" y="1774"/>
                    </a:lnTo>
                    <a:lnTo>
                      <a:pt x="170" y="1776"/>
                    </a:lnTo>
                    <a:lnTo>
                      <a:pt x="170" y="1776"/>
                    </a:lnTo>
                    <a:lnTo>
                      <a:pt x="170" y="1778"/>
                    </a:lnTo>
                    <a:lnTo>
                      <a:pt x="168" y="1780"/>
                    </a:lnTo>
                    <a:lnTo>
                      <a:pt x="166" y="1782"/>
                    </a:lnTo>
                    <a:lnTo>
                      <a:pt x="168" y="1784"/>
                    </a:lnTo>
                    <a:lnTo>
                      <a:pt x="168" y="1784"/>
                    </a:lnTo>
                    <a:close/>
                    <a:moveTo>
                      <a:pt x="190" y="1748"/>
                    </a:moveTo>
                    <a:lnTo>
                      <a:pt x="190" y="1748"/>
                    </a:lnTo>
                    <a:lnTo>
                      <a:pt x="186" y="1752"/>
                    </a:lnTo>
                    <a:lnTo>
                      <a:pt x="182" y="1756"/>
                    </a:lnTo>
                    <a:lnTo>
                      <a:pt x="178" y="1762"/>
                    </a:lnTo>
                    <a:lnTo>
                      <a:pt x="178" y="1768"/>
                    </a:lnTo>
                    <a:lnTo>
                      <a:pt x="178" y="1768"/>
                    </a:lnTo>
                    <a:lnTo>
                      <a:pt x="180" y="1768"/>
                    </a:lnTo>
                    <a:lnTo>
                      <a:pt x="182" y="1766"/>
                    </a:lnTo>
                    <a:lnTo>
                      <a:pt x="188" y="1758"/>
                    </a:lnTo>
                    <a:lnTo>
                      <a:pt x="192" y="1750"/>
                    </a:lnTo>
                    <a:lnTo>
                      <a:pt x="192" y="1748"/>
                    </a:lnTo>
                    <a:lnTo>
                      <a:pt x="190" y="1748"/>
                    </a:lnTo>
                    <a:lnTo>
                      <a:pt x="190" y="1748"/>
                    </a:lnTo>
                    <a:close/>
                    <a:moveTo>
                      <a:pt x="700" y="1324"/>
                    </a:moveTo>
                    <a:lnTo>
                      <a:pt x="700" y="1324"/>
                    </a:lnTo>
                    <a:lnTo>
                      <a:pt x="698" y="1322"/>
                    </a:lnTo>
                    <a:lnTo>
                      <a:pt x="694" y="1322"/>
                    </a:lnTo>
                    <a:lnTo>
                      <a:pt x="690" y="1324"/>
                    </a:lnTo>
                    <a:lnTo>
                      <a:pt x="690" y="1326"/>
                    </a:lnTo>
                    <a:lnTo>
                      <a:pt x="690" y="1326"/>
                    </a:lnTo>
                    <a:lnTo>
                      <a:pt x="692" y="1326"/>
                    </a:lnTo>
                    <a:lnTo>
                      <a:pt x="696" y="1326"/>
                    </a:lnTo>
                    <a:lnTo>
                      <a:pt x="700" y="1326"/>
                    </a:lnTo>
                    <a:lnTo>
                      <a:pt x="700" y="1324"/>
                    </a:lnTo>
                    <a:lnTo>
                      <a:pt x="700" y="1324"/>
                    </a:lnTo>
                    <a:lnTo>
                      <a:pt x="700" y="1324"/>
                    </a:lnTo>
                    <a:close/>
                    <a:moveTo>
                      <a:pt x="494" y="1970"/>
                    </a:moveTo>
                    <a:lnTo>
                      <a:pt x="494" y="1970"/>
                    </a:lnTo>
                    <a:lnTo>
                      <a:pt x="492" y="1962"/>
                    </a:lnTo>
                    <a:lnTo>
                      <a:pt x="486" y="1954"/>
                    </a:lnTo>
                    <a:lnTo>
                      <a:pt x="478" y="1948"/>
                    </a:lnTo>
                    <a:lnTo>
                      <a:pt x="470" y="1944"/>
                    </a:lnTo>
                    <a:lnTo>
                      <a:pt x="460" y="1942"/>
                    </a:lnTo>
                    <a:lnTo>
                      <a:pt x="452" y="1942"/>
                    </a:lnTo>
                    <a:lnTo>
                      <a:pt x="446" y="1944"/>
                    </a:lnTo>
                    <a:lnTo>
                      <a:pt x="442" y="1948"/>
                    </a:lnTo>
                    <a:lnTo>
                      <a:pt x="442" y="1948"/>
                    </a:lnTo>
                    <a:lnTo>
                      <a:pt x="438" y="1954"/>
                    </a:lnTo>
                    <a:lnTo>
                      <a:pt x="434" y="1954"/>
                    </a:lnTo>
                    <a:lnTo>
                      <a:pt x="432" y="1952"/>
                    </a:lnTo>
                    <a:lnTo>
                      <a:pt x="428" y="1950"/>
                    </a:lnTo>
                    <a:lnTo>
                      <a:pt x="428" y="1950"/>
                    </a:lnTo>
                    <a:lnTo>
                      <a:pt x="424" y="1948"/>
                    </a:lnTo>
                    <a:lnTo>
                      <a:pt x="424" y="1946"/>
                    </a:lnTo>
                    <a:lnTo>
                      <a:pt x="428" y="1942"/>
                    </a:lnTo>
                    <a:lnTo>
                      <a:pt x="434" y="1938"/>
                    </a:lnTo>
                    <a:lnTo>
                      <a:pt x="434" y="1938"/>
                    </a:lnTo>
                    <a:lnTo>
                      <a:pt x="436" y="1936"/>
                    </a:lnTo>
                    <a:lnTo>
                      <a:pt x="438" y="1932"/>
                    </a:lnTo>
                    <a:lnTo>
                      <a:pt x="434" y="1924"/>
                    </a:lnTo>
                    <a:lnTo>
                      <a:pt x="428" y="1914"/>
                    </a:lnTo>
                    <a:lnTo>
                      <a:pt x="418" y="1906"/>
                    </a:lnTo>
                    <a:lnTo>
                      <a:pt x="418" y="1906"/>
                    </a:lnTo>
                    <a:lnTo>
                      <a:pt x="410" y="1902"/>
                    </a:lnTo>
                    <a:lnTo>
                      <a:pt x="408" y="1898"/>
                    </a:lnTo>
                    <a:lnTo>
                      <a:pt x="410" y="1898"/>
                    </a:lnTo>
                    <a:lnTo>
                      <a:pt x="418" y="1902"/>
                    </a:lnTo>
                    <a:lnTo>
                      <a:pt x="418" y="1902"/>
                    </a:lnTo>
                    <a:lnTo>
                      <a:pt x="424" y="1906"/>
                    </a:lnTo>
                    <a:lnTo>
                      <a:pt x="428" y="1906"/>
                    </a:lnTo>
                    <a:lnTo>
                      <a:pt x="430" y="1904"/>
                    </a:lnTo>
                    <a:lnTo>
                      <a:pt x="428" y="1902"/>
                    </a:lnTo>
                    <a:lnTo>
                      <a:pt x="422" y="1894"/>
                    </a:lnTo>
                    <a:lnTo>
                      <a:pt x="422" y="1894"/>
                    </a:lnTo>
                    <a:lnTo>
                      <a:pt x="418" y="1888"/>
                    </a:lnTo>
                    <a:lnTo>
                      <a:pt x="416" y="1884"/>
                    </a:lnTo>
                    <a:lnTo>
                      <a:pt x="416" y="1876"/>
                    </a:lnTo>
                    <a:lnTo>
                      <a:pt x="416" y="1872"/>
                    </a:lnTo>
                    <a:lnTo>
                      <a:pt x="416" y="1870"/>
                    </a:lnTo>
                    <a:lnTo>
                      <a:pt x="412" y="1868"/>
                    </a:lnTo>
                    <a:lnTo>
                      <a:pt x="412" y="1868"/>
                    </a:lnTo>
                    <a:lnTo>
                      <a:pt x="408" y="1866"/>
                    </a:lnTo>
                    <a:lnTo>
                      <a:pt x="406" y="1864"/>
                    </a:lnTo>
                    <a:lnTo>
                      <a:pt x="404" y="1858"/>
                    </a:lnTo>
                    <a:lnTo>
                      <a:pt x="400" y="1852"/>
                    </a:lnTo>
                    <a:lnTo>
                      <a:pt x="396" y="1850"/>
                    </a:lnTo>
                    <a:lnTo>
                      <a:pt x="390" y="1848"/>
                    </a:lnTo>
                    <a:lnTo>
                      <a:pt x="390" y="1848"/>
                    </a:lnTo>
                    <a:lnTo>
                      <a:pt x="380" y="1844"/>
                    </a:lnTo>
                    <a:lnTo>
                      <a:pt x="376" y="1842"/>
                    </a:lnTo>
                    <a:lnTo>
                      <a:pt x="372" y="1836"/>
                    </a:lnTo>
                    <a:lnTo>
                      <a:pt x="366" y="1822"/>
                    </a:lnTo>
                    <a:lnTo>
                      <a:pt x="366" y="1822"/>
                    </a:lnTo>
                    <a:lnTo>
                      <a:pt x="360" y="1806"/>
                    </a:lnTo>
                    <a:lnTo>
                      <a:pt x="358" y="1794"/>
                    </a:lnTo>
                    <a:lnTo>
                      <a:pt x="356" y="1786"/>
                    </a:lnTo>
                    <a:lnTo>
                      <a:pt x="354" y="1782"/>
                    </a:lnTo>
                    <a:lnTo>
                      <a:pt x="352" y="1780"/>
                    </a:lnTo>
                    <a:lnTo>
                      <a:pt x="352" y="1780"/>
                    </a:lnTo>
                    <a:lnTo>
                      <a:pt x="346" y="1774"/>
                    </a:lnTo>
                    <a:lnTo>
                      <a:pt x="342" y="1768"/>
                    </a:lnTo>
                    <a:lnTo>
                      <a:pt x="336" y="1762"/>
                    </a:lnTo>
                    <a:lnTo>
                      <a:pt x="322" y="1756"/>
                    </a:lnTo>
                    <a:lnTo>
                      <a:pt x="322" y="1756"/>
                    </a:lnTo>
                    <a:lnTo>
                      <a:pt x="314" y="1754"/>
                    </a:lnTo>
                    <a:lnTo>
                      <a:pt x="310" y="1754"/>
                    </a:lnTo>
                    <a:lnTo>
                      <a:pt x="308" y="1754"/>
                    </a:lnTo>
                    <a:lnTo>
                      <a:pt x="306" y="1756"/>
                    </a:lnTo>
                    <a:lnTo>
                      <a:pt x="302" y="1758"/>
                    </a:lnTo>
                    <a:lnTo>
                      <a:pt x="298" y="1760"/>
                    </a:lnTo>
                    <a:lnTo>
                      <a:pt x="290" y="1758"/>
                    </a:lnTo>
                    <a:lnTo>
                      <a:pt x="290" y="1758"/>
                    </a:lnTo>
                    <a:lnTo>
                      <a:pt x="286" y="1758"/>
                    </a:lnTo>
                    <a:lnTo>
                      <a:pt x="288" y="1756"/>
                    </a:lnTo>
                    <a:lnTo>
                      <a:pt x="294" y="1754"/>
                    </a:lnTo>
                    <a:lnTo>
                      <a:pt x="300" y="1748"/>
                    </a:lnTo>
                    <a:lnTo>
                      <a:pt x="300" y="1748"/>
                    </a:lnTo>
                    <a:lnTo>
                      <a:pt x="302" y="1746"/>
                    </a:lnTo>
                    <a:lnTo>
                      <a:pt x="304" y="1746"/>
                    </a:lnTo>
                    <a:lnTo>
                      <a:pt x="308" y="1746"/>
                    </a:lnTo>
                    <a:lnTo>
                      <a:pt x="316" y="1742"/>
                    </a:lnTo>
                    <a:lnTo>
                      <a:pt x="316" y="1742"/>
                    </a:lnTo>
                    <a:lnTo>
                      <a:pt x="318" y="1742"/>
                    </a:lnTo>
                    <a:lnTo>
                      <a:pt x="318" y="1740"/>
                    </a:lnTo>
                    <a:lnTo>
                      <a:pt x="316" y="1738"/>
                    </a:lnTo>
                    <a:lnTo>
                      <a:pt x="310" y="1736"/>
                    </a:lnTo>
                    <a:lnTo>
                      <a:pt x="308" y="1734"/>
                    </a:lnTo>
                    <a:lnTo>
                      <a:pt x="308" y="1734"/>
                    </a:lnTo>
                    <a:lnTo>
                      <a:pt x="308" y="1734"/>
                    </a:lnTo>
                    <a:lnTo>
                      <a:pt x="308" y="1730"/>
                    </a:lnTo>
                    <a:lnTo>
                      <a:pt x="304" y="1728"/>
                    </a:lnTo>
                    <a:lnTo>
                      <a:pt x="304" y="1726"/>
                    </a:lnTo>
                    <a:lnTo>
                      <a:pt x="306" y="1728"/>
                    </a:lnTo>
                    <a:lnTo>
                      <a:pt x="306" y="1728"/>
                    </a:lnTo>
                    <a:lnTo>
                      <a:pt x="312" y="1728"/>
                    </a:lnTo>
                    <a:lnTo>
                      <a:pt x="314" y="1728"/>
                    </a:lnTo>
                    <a:lnTo>
                      <a:pt x="318" y="1726"/>
                    </a:lnTo>
                    <a:lnTo>
                      <a:pt x="326" y="1716"/>
                    </a:lnTo>
                    <a:lnTo>
                      <a:pt x="334" y="1696"/>
                    </a:lnTo>
                    <a:lnTo>
                      <a:pt x="334" y="1696"/>
                    </a:lnTo>
                    <a:lnTo>
                      <a:pt x="342" y="1678"/>
                    </a:lnTo>
                    <a:lnTo>
                      <a:pt x="348" y="1668"/>
                    </a:lnTo>
                    <a:lnTo>
                      <a:pt x="350" y="1664"/>
                    </a:lnTo>
                    <a:lnTo>
                      <a:pt x="348" y="1656"/>
                    </a:lnTo>
                    <a:lnTo>
                      <a:pt x="348" y="1656"/>
                    </a:lnTo>
                    <a:lnTo>
                      <a:pt x="346" y="1652"/>
                    </a:lnTo>
                    <a:lnTo>
                      <a:pt x="342" y="1650"/>
                    </a:lnTo>
                    <a:lnTo>
                      <a:pt x="332" y="1650"/>
                    </a:lnTo>
                    <a:lnTo>
                      <a:pt x="320" y="1650"/>
                    </a:lnTo>
                    <a:lnTo>
                      <a:pt x="302" y="1650"/>
                    </a:lnTo>
                    <a:lnTo>
                      <a:pt x="302" y="1650"/>
                    </a:lnTo>
                    <a:lnTo>
                      <a:pt x="286" y="1650"/>
                    </a:lnTo>
                    <a:lnTo>
                      <a:pt x="274" y="1652"/>
                    </a:lnTo>
                    <a:lnTo>
                      <a:pt x="268" y="1656"/>
                    </a:lnTo>
                    <a:lnTo>
                      <a:pt x="262" y="1658"/>
                    </a:lnTo>
                    <a:lnTo>
                      <a:pt x="262" y="1658"/>
                    </a:lnTo>
                    <a:lnTo>
                      <a:pt x="258" y="1658"/>
                    </a:lnTo>
                    <a:lnTo>
                      <a:pt x="258" y="1654"/>
                    </a:lnTo>
                    <a:lnTo>
                      <a:pt x="268" y="1644"/>
                    </a:lnTo>
                    <a:lnTo>
                      <a:pt x="268" y="1644"/>
                    </a:lnTo>
                    <a:lnTo>
                      <a:pt x="270" y="1642"/>
                    </a:lnTo>
                    <a:lnTo>
                      <a:pt x="268" y="1642"/>
                    </a:lnTo>
                    <a:lnTo>
                      <a:pt x="264" y="1642"/>
                    </a:lnTo>
                    <a:lnTo>
                      <a:pt x="258" y="1642"/>
                    </a:lnTo>
                    <a:lnTo>
                      <a:pt x="258" y="1642"/>
                    </a:lnTo>
                    <a:lnTo>
                      <a:pt x="260" y="1640"/>
                    </a:lnTo>
                    <a:lnTo>
                      <a:pt x="260" y="1640"/>
                    </a:lnTo>
                    <a:lnTo>
                      <a:pt x="270" y="1632"/>
                    </a:lnTo>
                    <a:lnTo>
                      <a:pt x="284" y="1620"/>
                    </a:lnTo>
                    <a:lnTo>
                      <a:pt x="296" y="1608"/>
                    </a:lnTo>
                    <a:lnTo>
                      <a:pt x="300" y="1604"/>
                    </a:lnTo>
                    <a:lnTo>
                      <a:pt x="300" y="1600"/>
                    </a:lnTo>
                    <a:lnTo>
                      <a:pt x="300" y="1600"/>
                    </a:lnTo>
                    <a:lnTo>
                      <a:pt x="298" y="1598"/>
                    </a:lnTo>
                    <a:lnTo>
                      <a:pt x="298" y="1596"/>
                    </a:lnTo>
                    <a:lnTo>
                      <a:pt x="300" y="1592"/>
                    </a:lnTo>
                    <a:lnTo>
                      <a:pt x="300" y="1590"/>
                    </a:lnTo>
                    <a:lnTo>
                      <a:pt x="300" y="1590"/>
                    </a:lnTo>
                    <a:lnTo>
                      <a:pt x="292" y="1588"/>
                    </a:lnTo>
                    <a:lnTo>
                      <a:pt x="292" y="1588"/>
                    </a:lnTo>
                    <a:lnTo>
                      <a:pt x="286" y="1588"/>
                    </a:lnTo>
                    <a:lnTo>
                      <a:pt x="284" y="1590"/>
                    </a:lnTo>
                    <a:lnTo>
                      <a:pt x="284" y="1592"/>
                    </a:lnTo>
                    <a:lnTo>
                      <a:pt x="280" y="1592"/>
                    </a:lnTo>
                    <a:lnTo>
                      <a:pt x="280" y="1592"/>
                    </a:lnTo>
                    <a:lnTo>
                      <a:pt x="272" y="1592"/>
                    </a:lnTo>
                    <a:lnTo>
                      <a:pt x="262" y="1594"/>
                    </a:lnTo>
                    <a:lnTo>
                      <a:pt x="254" y="1596"/>
                    </a:lnTo>
                    <a:lnTo>
                      <a:pt x="246" y="1596"/>
                    </a:lnTo>
                    <a:lnTo>
                      <a:pt x="246" y="1596"/>
                    </a:lnTo>
                    <a:lnTo>
                      <a:pt x="242" y="1594"/>
                    </a:lnTo>
                    <a:lnTo>
                      <a:pt x="238" y="1596"/>
                    </a:lnTo>
                    <a:lnTo>
                      <a:pt x="236" y="1596"/>
                    </a:lnTo>
                    <a:lnTo>
                      <a:pt x="232" y="1594"/>
                    </a:lnTo>
                    <a:lnTo>
                      <a:pt x="232" y="1594"/>
                    </a:lnTo>
                    <a:lnTo>
                      <a:pt x="226" y="1592"/>
                    </a:lnTo>
                    <a:lnTo>
                      <a:pt x="222" y="1590"/>
                    </a:lnTo>
                    <a:lnTo>
                      <a:pt x="218" y="1594"/>
                    </a:lnTo>
                    <a:lnTo>
                      <a:pt x="218" y="1600"/>
                    </a:lnTo>
                    <a:lnTo>
                      <a:pt x="218" y="1600"/>
                    </a:lnTo>
                    <a:lnTo>
                      <a:pt x="218" y="1602"/>
                    </a:lnTo>
                    <a:lnTo>
                      <a:pt x="218" y="1604"/>
                    </a:lnTo>
                    <a:lnTo>
                      <a:pt x="214" y="1606"/>
                    </a:lnTo>
                    <a:lnTo>
                      <a:pt x="212" y="1606"/>
                    </a:lnTo>
                    <a:lnTo>
                      <a:pt x="216" y="1612"/>
                    </a:lnTo>
                    <a:lnTo>
                      <a:pt x="216" y="1612"/>
                    </a:lnTo>
                    <a:lnTo>
                      <a:pt x="218" y="1616"/>
                    </a:lnTo>
                    <a:lnTo>
                      <a:pt x="218" y="1616"/>
                    </a:lnTo>
                    <a:lnTo>
                      <a:pt x="212" y="1616"/>
                    </a:lnTo>
                    <a:lnTo>
                      <a:pt x="206" y="1614"/>
                    </a:lnTo>
                    <a:lnTo>
                      <a:pt x="206" y="1614"/>
                    </a:lnTo>
                    <a:lnTo>
                      <a:pt x="206" y="1618"/>
                    </a:lnTo>
                    <a:lnTo>
                      <a:pt x="206" y="1618"/>
                    </a:lnTo>
                    <a:lnTo>
                      <a:pt x="210" y="1622"/>
                    </a:lnTo>
                    <a:lnTo>
                      <a:pt x="210" y="1624"/>
                    </a:lnTo>
                    <a:lnTo>
                      <a:pt x="210" y="1626"/>
                    </a:lnTo>
                    <a:lnTo>
                      <a:pt x="208" y="1626"/>
                    </a:lnTo>
                    <a:lnTo>
                      <a:pt x="204" y="1626"/>
                    </a:lnTo>
                    <a:lnTo>
                      <a:pt x="202" y="1626"/>
                    </a:lnTo>
                    <a:lnTo>
                      <a:pt x="204" y="1628"/>
                    </a:lnTo>
                    <a:lnTo>
                      <a:pt x="204" y="1628"/>
                    </a:lnTo>
                    <a:lnTo>
                      <a:pt x="206" y="1632"/>
                    </a:lnTo>
                    <a:lnTo>
                      <a:pt x="206" y="1636"/>
                    </a:lnTo>
                    <a:lnTo>
                      <a:pt x="206" y="1638"/>
                    </a:lnTo>
                    <a:lnTo>
                      <a:pt x="202" y="1638"/>
                    </a:lnTo>
                    <a:lnTo>
                      <a:pt x="202" y="1638"/>
                    </a:lnTo>
                    <a:lnTo>
                      <a:pt x="190" y="1638"/>
                    </a:lnTo>
                    <a:lnTo>
                      <a:pt x="188" y="1640"/>
                    </a:lnTo>
                    <a:lnTo>
                      <a:pt x="188" y="1646"/>
                    </a:lnTo>
                    <a:lnTo>
                      <a:pt x="188" y="1646"/>
                    </a:lnTo>
                    <a:lnTo>
                      <a:pt x="190" y="1650"/>
                    </a:lnTo>
                    <a:lnTo>
                      <a:pt x="190" y="1654"/>
                    </a:lnTo>
                    <a:lnTo>
                      <a:pt x="188" y="1660"/>
                    </a:lnTo>
                    <a:lnTo>
                      <a:pt x="188" y="1668"/>
                    </a:lnTo>
                    <a:lnTo>
                      <a:pt x="188" y="1668"/>
                    </a:lnTo>
                    <a:lnTo>
                      <a:pt x="188" y="1672"/>
                    </a:lnTo>
                    <a:lnTo>
                      <a:pt x="190" y="1674"/>
                    </a:lnTo>
                    <a:lnTo>
                      <a:pt x="194" y="1674"/>
                    </a:lnTo>
                    <a:lnTo>
                      <a:pt x="196" y="1676"/>
                    </a:lnTo>
                    <a:lnTo>
                      <a:pt x="194" y="1682"/>
                    </a:lnTo>
                    <a:lnTo>
                      <a:pt x="194" y="1682"/>
                    </a:lnTo>
                    <a:lnTo>
                      <a:pt x="192" y="1686"/>
                    </a:lnTo>
                    <a:lnTo>
                      <a:pt x="190" y="1690"/>
                    </a:lnTo>
                    <a:lnTo>
                      <a:pt x="188" y="1690"/>
                    </a:lnTo>
                    <a:lnTo>
                      <a:pt x="190" y="1692"/>
                    </a:lnTo>
                    <a:lnTo>
                      <a:pt x="190" y="1692"/>
                    </a:lnTo>
                    <a:lnTo>
                      <a:pt x="190" y="1694"/>
                    </a:lnTo>
                    <a:lnTo>
                      <a:pt x="190" y="1696"/>
                    </a:lnTo>
                    <a:lnTo>
                      <a:pt x="186" y="1698"/>
                    </a:lnTo>
                    <a:lnTo>
                      <a:pt x="184" y="1700"/>
                    </a:lnTo>
                    <a:lnTo>
                      <a:pt x="188" y="1702"/>
                    </a:lnTo>
                    <a:lnTo>
                      <a:pt x="188" y="1702"/>
                    </a:lnTo>
                    <a:lnTo>
                      <a:pt x="188" y="1704"/>
                    </a:lnTo>
                    <a:lnTo>
                      <a:pt x="186" y="1706"/>
                    </a:lnTo>
                    <a:lnTo>
                      <a:pt x="182" y="1708"/>
                    </a:lnTo>
                    <a:lnTo>
                      <a:pt x="178" y="1708"/>
                    </a:lnTo>
                    <a:lnTo>
                      <a:pt x="178" y="1708"/>
                    </a:lnTo>
                    <a:lnTo>
                      <a:pt x="174" y="1708"/>
                    </a:lnTo>
                    <a:lnTo>
                      <a:pt x="172" y="1710"/>
                    </a:lnTo>
                    <a:lnTo>
                      <a:pt x="172" y="1712"/>
                    </a:lnTo>
                    <a:lnTo>
                      <a:pt x="174" y="1714"/>
                    </a:lnTo>
                    <a:lnTo>
                      <a:pt x="182" y="1714"/>
                    </a:lnTo>
                    <a:lnTo>
                      <a:pt x="182" y="1714"/>
                    </a:lnTo>
                    <a:lnTo>
                      <a:pt x="190" y="1712"/>
                    </a:lnTo>
                    <a:lnTo>
                      <a:pt x="192" y="1714"/>
                    </a:lnTo>
                    <a:lnTo>
                      <a:pt x="184" y="1716"/>
                    </a:lnTo>
                    <a:lnTo>
                      <a:pt x="184" y="1716"/>
                    </a:lnTo>
                    <a:lnTo>
                      <a:pt x="180" y="1718"/>
                    </a:lnTo>
                    <a:lnTo>
                      <a:pt x="180" y="1720"/>
                    </a:lnTo>
                    <a:lnTo>
                      <a:pt x="184" y="1722"/>
                    </a:lnTo>
                    <a:lnTo>
                      <a:pt x="188" y="1722"/>
                    </a:lnTo>
                    <a:lnTo>
                      <a:pt x="188" y="1722"/>
                    </a:lnTo>
                    <a:lnTo>
                      <a:pt x="190" y="1722"/>
                    </a:lnTo>
                    <a:lnTo>
                      <a:pt x="192" y="1724"/>
                    </a:lnTo>
                    <a:lnTo>
                      <a:pt x="196" y="1724"/>
                    </a:lnTo>
                    <a:lnTo>
                      <a:pt x="200" y="1720"/>
                    </a:lnTo>
                    <a:lnTo>
                      <a:pt x="200" y="1720"/>
                    </a:lnTo>
                    <a:lnTo>
                      <a:pt x="208" y="1714"/>
                    </a:lnTo>
                    <a:lnTo>
                      <a:pt x="206" y="1720"/>
                    </a:lnTo>
                    <a:lnTo>
                      <a:pt x="206" y="1720"/>
                    </a:lnTo>
                    <a:lnTo>
                      <a:pt x="202" y="1726"/>
                    </a:lnTo>
                    <a:lnTo>
                      <a:pt x="202" y="1730"/>
                    </a:lnTo>
                    <a:lnTo>
                      <a:pt x="202" y="1734"/>
                    </a:lnTo>
                    <a:lnTo>
                      <a:pt x="198" y="1738"/>
                    </a:lnTo>
                    <a:lnTo>
                      <a:pt x="198" y="1738"/>
                    </a:lnTo>
                    <a:lnTo>
                      <a:pt x="196" y="1740"/>
                    </a:lnTo>
                    <a:lnTo>
                      <a:pt x="196" y="1744"/>
                    </a:lnTo>
                    <a:lnTo>
                      <a:pt x="198" y="1748"/>
                    </a:lnTo>
                    <a:lnTo>
                      <a:pt x="194" y="1754"/>
                    </a:lnTo>
                    <a:lnTo>
                      <a:pt x="194" y="1754"/>
                    </a:lnTo>
                    <a:lnTo>
                      <a:pt x="192" y="1758"/>
                    </a:lnTo>
                    <a:lnTo>
                      <a:pt x="192" y="1762"/>
                    </a:lnTo>
                    <a:lnTo>
                      <a:pt x="194" y="1764"/>
                    </a:lnTo>
                    <a:lnTo>
                      <a:pt x="194" y="1768"/>
                    </a:lnTo>
                    <a:lnTo>
                      <a:pt x="194" y="1768"/>
                    </a:lnTo>
                    <a:lnTo>
                      <a:pt x="194" y="1772"/>
                    </a:lnTo>
                    <a:lnTo>
                      <a:pt x="194" y="1774"/>
                    </a:lnTo>
                    <a:lnTo>
                      <a:pt x="200" y="1770"/>
                    </a:lnTo>
                    <a:lnTo>
                      <a:pt x="200" y="1770"/>
                    </a:lnTo>
                    <a:lnTo>
                      <a:pt x="198" y="1774"/>
                    </a:lnTo>
                    <a:lnTo>
                      <a:pt x="194" y="1784"/>
                    </a:lnTo>
                    <a:lnTo>
                      <a:pt x="188" y="1794"/>
                    </a:lnTo>
                    <a:lnTo>
                      <a:pt x="188" y="1800"/>
                    </a:lnTo>
                    <a:lnTo>
                      <a:pt x="192" y="1802"/>
                    </a:lnTo>
                    <a:lnTo>
                      <a:pt x="192" y="1802"/>
                    </a:lnTo>
                    <a:lnTo>
                      <a:pt x="194" y="1802"/>
                    </a:lnTo>
                    <a:lnTo>
                      <a:pt x="196" y="1800"/>
                    </a:lnTo>
                    <a:lnTo>
                      <a:pt x="198" y="1792"/>
                    </a:lnTo>
                    <a:lnTo>
                      <a:pt x="202" y="1780"/>
                    </a:lnTo>
                    <a:lnTo>
                      <a:pt x="204" y="1776"/>
                    </a:lnTo>
                    <a:lnTo>
                      <a:pt x="206" y="1772"/>
                    </a:lnTo>
                    <a:lnTo>
                      <a:pt x="206" y="1772"/>
                    </a:lnTo>
                    <a:lnTo>
                      <a:pt x="208" y="1770"/>
                    </a:lnTo>
                    <a:lnTo>
                      <a:pt x="208" y="1768"/>
                    </a:lnTo>
                    <a:lnTo>
                      <a:pt x="204" y="1764"/>
                    </a:lnTo>
                    <a:lnTo>
                      <a:pt x="202" y="1760"/>
                    </a:lnTo>
                    <a:lnTo>
                      <a:pt x="204" y="1758"/>
                    </a:lnTo>
                    <a:lnTo>
                      <a:pt x="206" y="1756"/>
                    </a:lnTo>
                    <a:lnTo>
                      <a:pt x="206" y="1756"/>
                    </a:lnTo>
                    <a:lnTo>
                      <a:pt x="210" y="1754"/>
                    </a:lnTo>
                    <a:lnTo>
                      <a:pt x="208" y="1756"/>
                    </a:lnTo>
                    <a:lnTo>
                      <a:pt x="208" y="1762"/>
                    </a:lnTo>
                    <a:lnTo>
                      <a:pt x="208" y="1764"/>
                    </a:lnTo>
                    <a:lnTo>
                      <a:pt x="210" y="1766"/>
                    </a:lnTo>
                    <a:lnTo>
                      <a:pt x="210" y="1766"/>
                    </a:lnTo>
                    <a:lnTo>
                      <a:pt x="214" y="1766"/>
                    </a:lnTo>
                    <a:lnTo>
                      <a:pt x="216" y="1764"/>
                    </a:lnTo>
                    <a:lnTo>
                      <a:pt x="216" y="1762"/>
                    </a:lnTo>
                    <a:lnTo>
                      <a:pt x="220" y="1764"/>
                    </a:lnTo>
                    <a:lnTo>
                      <a:pt x="220" y="1764"/>
                    </a:lnTo>
                    <a:lnTo>
                      <a:pt x="222" y="1764"/>
                    </a:lnTo>
                    <a:lnTo>
                      <a:pt x="222" y="1764"/>
                    </a:lnTo>
                    <a:lnTo>
                      <a:pt x="224" y="1758"/>
                    </a:lnTo>
                    <a:lnTo>
                      <a:pt x="224" y="1756"/>
                    </a:lnTo>
                    <a:lnTo>
                      <a:pt x="228" y="1756"/>
                    </a:lnTo>
                    <a:lnTo>
                      <a:pt x="232" y="1758"/>
                    </a:lnTo>
                    <a:lnTo>
                      <a:pt x="238" y="1762"/>
                    </a:lnTo>
                    <a:lnTo>
                      <a:pt x="238" y="1762"/>
                    </a:lnTo>
                    <a:lnTo>
                      <a:pt x="230" y="1764"/>
                    </a:lnTo>
                    <a:lnTo>
                      <a:pt x="224" y="1766"/>
                    </a:lnTo>
                    <a:lnTo>
                      <a:pt x="224" y="1768"/>
                    </a:lnTo>
                    <a:lnTo>
                      <a:pt x="224" y="1772"/>
                    </a:lnTo>
                    <a:lnTo>
                      <a:pt x="230" y="1780"/>
                    </a:lnTo>
                    <a:lnTo>
                      <a:pt x="230" y="1780"/>
                    </a:lnTo>
                    <a:lnTo>
                      <a:pt x="234" y="1786"/>
                    </a:lnTo>
                    <a:lnTo>
                      <a:pt x="234" y="1790"/>
                    </a:lnTo>
                    <a:lnTo>
                      <a:pt x="234" y="1794"/>
                    </a:lnTo>
                    <a:lnTo>
                      <a:pt x="230" y="1798"/>
                    </a:lnTo>
                    <a:lnTo>
                      <a:pt x="224" y="1806"/>
                    </a:lnTo>
                    <a:lnTo>
                      <a:pt x="222" y="1810"/>
                    </a:lnTo>
                    <a:lnTo>
                      <a:pt x="220" y="1816"/>
                    </a:lnTo>
                    <a:lnTo>
                      <a:pt x="220" y="1816"/>
                    </a:lnTo>
                    <a:lnTo>
                      <a:pt x="222" y="1822"/>
                    </a:lnTo>
                    <a:lnTo>
                      <a:pt x="220" y="1822"/>
                    </a:lnTo>
                    <a:lnTo>
                      <a:pt x="216" y="1818"/>
                    </a:lnTo>
                    <a:lnTo>
                      <a:pt x="216" y="1818"/>
                    </a:lnTo>
                    <a:lnTo>
                      <a:pt x="214" y="1820"/>
                    </a:lnTo>
                    <a:lnTo>
                      <a:pt x="214" y="1820"/>
                    </a:lnTo>
                    <a:lnTo>
                      <a:pt x="214" y="1822"/>
                    </a:lnTo>
                    <a:lnTo>
                      <a:pt x="214" y="1826"/>
                    </a:lnTo>
                    <a:lnTo>
                      <a:pt x="220" y="1834"/>
                    </a:lnTo>
                    <a:lnTo>
                      <a:pt x="224" y="1840"/>
                    </a:lnTo>
                    <a:lnTo>
                      <a:pt x="224" y="1838"/>
                    </a:lnTo>
                    <a:lnTo>
                      <a:pt x="224" y="1836"/>
                    </a:lnTo>
                    <a:lnTo>
                      <a:pt x="224" y="1836"/>
                    </a:lnTo>
                    <a:lnTo>
                      <a:pt x="222" y="1830"/>
                    </a:lnTo>
                    <a:lnTo>
                      <a:pt x="224" y="1828"/>
                    </a:lnTo>
                    <a:lnTo>
                      <a:pt x="224" y="1828"/>
                    </a:lnTo>
                    <a:lnTo>
                      <a:pt x="228" y="1828"/>
                    </a:lnTo>
                    <a:lnTo>
                      <a:pt x="234" y="1832"/>
                    </a:lnTo>
                    <a:lnTo>
                      <a:pt x="240" y="1838"/>
                    </a:lnTo>
                    <a:lnTo>
                      <a:pt x="240" y="1838"/>
                    </a:lnTo>
                    <a:lnTo>
                      <a:pt x="244" y="1840"/>
                    </a:lnTo>
                    <a:lnTo>
                      <a:pt x="246" y="1838"/>
                    </a:lnTo>
                    <a:lnTo>
                      <a:pt x="246" y="1834"/>
                    </a:lnTo>
                    <a:lnTo>
                      <a:pt x="246" y="1828"/>
                    </a:lnTo>
                    <a:lnTo>
                      <a:pt x="246" y="1828"/>
                    </a:lnTo>
                    <a:lnTo>
                      <a:pt x="246" y="1826"/>
                    </a:lnTo>
                    <a:lnTo>
                      <a:pt x="246" y="1828"/>
                    </a:lnTo>
                    <a:lnTo>
                      <a:pt x="252" y="1830"/>
                    </a:lnTo>
                    <a:lnTo>
                      <a:pt x="260" y="1834"/>
                    </a:lnTo>
                    <a:lnTo>
                      <a:pt x="264" y="1834"/>
                    </a:lnTo>
                    <a:lnTo>
                      <a:pt x="266" y="1830"/>
                    </a:lnTo>
                    <a:lnTo>
                      <a:pt x="266" y="1830"/>
                    </a:lnTo>
                    <a:lnTo>
                      <a:pt x="270" y="1826"/>
                    </a:lnTo>
                    <a:lnTo>
                      <a:pt x="274" y="1826"/>
                    </a:lnTo>
                    <a:lnTo>
                      <a:pt x="276" y="1828"/>
                    </a:lnTo>
                    <a:lnTo>
                      <a:pt x="278" y="1824"/>
                    </a:lnTo>
                    <a:lnTo>
                      <a:pt x="278" y="1824"/>
                    </a:lnTo>
                    <a:lnTo>
                      <a:pt x="282" y="1822"/>
                    </a:lnTo>
                    <a:lnTo>
                      <a:pt x="286" y="1820"/>
                    </a:lnTo>
                    <a:lnTo>
                      <a:pt x="292" y="1820"/>
                    </a:lnTo>
                    <a:lnTo>
                      <a:pt x="292" y="1822"/>
                    </a:lnTo>
                    <a:lnTo>
                      <a:pt x="292" y="1822"/>
                    </a:lnTo>
                    <a:lnTo>
                      <a:pt x="292" y="1822"/>
                    </a:lnTo>
                    <a:lnTo>
                      <a:pt x="288" y="1826"/>
                    </a:lnTo>
                    <a:lnTo>
                      <a:pt x="280" y="1838"/>
                    </a:lnTo>
                    <a:lnTo>
                      <a:pt x="280" y="1838"/>
                    </a:lnTo>
                    <a:lnTo>
                      <a:pt x="276" y="1844"/>
                    </a:lnTo>
                    <a:lnTo>
                      <a:pt x="276" y="1850"/>
                    </a:lnTo>
                    <a:lnTo>
                      <a:pt x="276" y="1854"/>
                    </a:lnTo>
                    <a:lnTo>
                      <a:pt x="278" y="1858"/>
                    </a:lnTo>
                    <a:lnTo>
                      <a:pt x="286" y="1866"/>
                    </a:lnTo>
                    <a:lnTo>
                      <a:pt x="292" y="1872"/>
                    </a:lnTo>
                    <a:lnTo>
                      <a:pt x="292" y="1872"/>
                    </a:lnTo>
                    <a:lnTo>
                      <a:pt x="294" y="1876"/>
                    </a:lnTo>
                    <a:lnTo>
                      <a:pt x="296" y="1874"/>
                    </a:lnTo>
                    <a:lnTo>
                      <a:pt x="300" y="1872"/>
                    </a:lnTo>
                    <a:lnTo>
                      <a:pt x="302" y="1870"/>
                    </a:lnTo>
                    <a:lnTo>
                      <a:pt x="304" y="1870"/>
                    </a:lnTo>
                    <a:lnTo>
                      <a:pt x="304" y="1870"/>
                    </a:lnTo>
                    <a:lnTo>
                      <a:pt x="308" y="1870"/>
                    </a:lnTo>
                    <a:lnTo>
                      <a:pt x="308" y="1872"/>
                    </a:lnTo>
                    <a:lnTo>
                      <a:pt x="308" y="1874"/>
                    </a:lnTo>
                    <a:lnTo>
                      <a:pt x="306" y="1878"/>
                    </a:lnTo>
                    <a:lnTo>
                      <a:pt x="306" y="1880"/>
                    </a:lnTo>
                    <a:lnTo>
                      <a:pt x="306" y="1882"/>
                    </a:lnTo>
                    <a:lnTo>
                      <a:pt x="306" y="1882"/>
                    </a:lnTo>
                    <a:lnTo>
                      <a:pt x="308" y="1882"/>
                    </a:lnTo>
                    <a:lnTo>
                      <a:pt x="306" y="1884"/>
                    </a:lnTo>
                    <a:lnTo>
                      <a:pt x="300" y="1888"/>
                    </a:lnTo>
                    <a:lnTo>
                      <a:pt x="298" y="1890"/>
                    </a:lnTo>
                    <a:lnTo>
                      <a:pt x="298" y="1892"/>
                    </a:lnTo>
                    <a:lnTo>
                      <a:pt x="298" y="1894"/>
                    </a:lnTo>
                    <a:lnTo>
                      <a:pt x="302" y="1896"/>
                    </a:lnTo>
                    <a:lnTo>
                      <a:pt x="302" y="1896"/>
                    </a:lnTo>
                    <a:lnTo>
                      <a:pt x="304" y="1898"/>
                    </a:lnTo>
                    <a:lnTo>
                      <a:pt x="304" y="1898"/>
                    </a:lnTo>
                    <a:lnTo>
                      <a:pt x="302" y="1900"/>
                    </a:lnTo>
                    <a:lnTo>
                      <a:pt x="300" y="1902"/>
                    </a:lnTo>
                    <a:lnTo>
                      <a:pt x="300" y="1906"/>
                    </a:lnTo>
                    <a:lnTo>
                      <a:pt x="300" y="1910"/>
                    </a:lnTo>
                    <a:lnTo>
                      <a:pt x="302" y="1916"/>
                    </a:lnTo>
                    <a:lnTo>
                      <a:pt x="302" y="1916"/>
                    </a:lnTo>
                    <a:lnTo>
                      <a:pt x="308" y="1924"/>
                    </a:lnTo>
                    <a:lnTo>
                      <a:pt x="304" y="1922"/>
                    </a:lnTo>
                    <a:lnTo>
                      <a:pt x="304" y="1922"/>
                    </a:lnTo>
                    <a:lnTo>
                      <a:pt x="300" y="1918"/>
                    </a:lnTo>
                    <a:lnTo>
                      <a:pt x="296" y="1916"/>
                    </a:lnTo>
                    <a:lnTo>
                      <a:pt x="294" y="1918"/>
                    </a:lnTo>
                    <a:lnTo>
                      <a:pt x="296" y="1922"/>
                    </a:lnTo>
                    <a:lnTo>
                      <a:pt x="296" y="1922"/>
                    </a:lnTo>
                    <a:lnTo>
                      <a:pt x="298" y="1926"/>
                    </a:lnTo>
                    <a:lnTo>
                      <a:pt x="294" y="1924"/>
                    </a:lnTo>
                    <a:lnTo>
                      <a:pt x="290" y="1922"/>
                    </a:lnTo>
                    <a:lnTo>
                      <a:pt x="286" y="1922"/>
                    </a:lnTo>
                    <a:lnTo>
                      <a:pt x="282" y="1922"/>
                    </a:lnTo>
                    <a:lnTo>
                      <a:pt x="282" y="1922"/>
                    </a:lnTo>
                    <a:lnTo>
                      <a:pt x="276" y="1924"/>
                    </a:lnTo>
                    <a:lnTo>
                      <a:pt x="272" y="1924"/>
                    </a:lnTo>
                    <a:lnTo>
                      <a:pt x="270" y="1922"/>
                    </a:lnTo>
                    <a:lnTo>
                      <a:pt x="266" y="1924"/>
                    </a:lnTo>
                    <a:lnTo>
                      <a:pt x="266" y="1924"/>
                    </a:lnTo>
                    <a:lnTo>
                      <a:pt x="264" y="1926"/>
                    </a:lnTo>
                    <a:lnTo>
                      <a:pt x="260" y="1926"/>
                    </a:lnTo>
                    <a:lnTo>
                      <a:pt x="256" y="1928"/>
                    </a:lnTo>
                    <a:lnTo>
                      <a:pt x="252" y="1932"/>
                    </a:lnTo>
                    <a:lnTo>
                      <a:pt x="252" y="1932"/>
                    </a:lnTo>
                    <a:lnTo>
                      <a:pt x="246" y="1940"/>
                    </a:lnTo>
                    <a:lnTo>
                      <a:pt x="240" y="1944"/>
                    </a:lnTo>
                    <a:lnTo>
                      <a:pt x="236" y="1946"/>
                    </a:lnTo>
                    <a:lnTo>
                      <a:pt x="232" y="1950"/>
                    </a:lnTo>
                    <a:lnTo>
                      <a:pt x="232" y="1950"/>
                    </a:lnTo>
                    <a:lnTo>
                      <a:pt x="230" y="1956"/>
                    </a:lnTo>
                    <a:lnTo>
                      <a:pt x="230" y="1956"/>
                    </a:lnTo>
                    <a:lnTo>
                      <a:pt x="234" y="1954"/>
                    </a:lnTo>
                    <a:lnTo>
                      <a:pt x="238" y="1954"/>
                    </a:lnTo>
                    <a:lnTo>
                      <a:pt x="238" y="1954"/>
                    </a:lnTo>
                    <a:lnTo>
                      <a:pt x="240" y="1954"/>
                    </a:lnTo>
                    <a:lnTo>
                      <a:pt x="244" y="1952"/>
                    </a:lnTo>
                    <a:lnTo>
                      <a:pt x="252" y="1948"/>
                    </a:lnTo>
                    <a:lnTo>
                      <a:pt x="256" y="1946"/>
                    </a:lnTo>
                    <a:lnTo>
                      <a:pt x="258" y="1946"/>
                    </a:lnTo>
                    <a:lnTo>
                      <a:pt x="256" y="1948"/>
                    </a:lnTo>
                    <a:lnTo>
                      <a:pt x="256" y="1948"/>
                    </a:lnTo>
                    <a:lnTo>
                      <a:pt x="256" y="1954"/>
                    </a:lnTo>
                    <a:lnTo>
                      <a:pt x="258" y="1954"/>
                    </a:lnTo>
                    <a:lnTo>
                      <a:pt x="260" y="1956"/>
                    </a:lnTo>
                    <a:lnTo>
                      <a:pt x="258" y="1960"/>
                    </a:lnTo>
                    <a:lnTo>
                      <a:pt x="258" y="1960"/>
                    </a:lnTo>
                    <a:lnTo>
                      <a:pt x="256" y="1964"/>
                    </a:lnTo>
                    <a:lnTo>
                      <a:pt x="256" y="1968"/>
                    </a:lnTo>
                    <a:lnTo>
                      <a:pt x="258" y="1974"/>
                    </a:lnTo>
                    <a:lnTo>
                      <a:pt x="258" y="1978"/>
                    </a:lnTo>
                    <a:lnTo>
                      <a:pt x="256" y="1982"/>
                    </a:lnTo>
                    <a:lnTo>
                      <a:pt x="252" y="1986"/>
                    </a:lnTo>
                    <a:lnTo>
                      <a:pt x="246" y="1990"/>
                    </a:lnTo>
                    <a:lnTo>
                      <a:pt x="246" y="1990"/>
                    </a:lnTo>
                    <a:lnTo>
                      <a:pt x="232" y="1998"/>
                    </a:lnTo>
                    <a:lnTo>
                      <a:pt x="222" y="2000"/>
                    </a:lnTo>
                    <a:lnTo>
                      <a:pt x="216" y="2000"/>
                    </a:lnTo>
                    <a:lnTo>
                      <a:pt x="210" y="2006"/>
                    </a:lnTo>
                    <a:lnTo>
                      <a:pt x="210" y="2006"/>
                    </a:lnTo>
                    <a:lnTo>
                      <a:pt x="208" y="2008"/>
                    </a:lnTo>
                    <a:lnTo>
                      <a:pt x="208" y="2010"/>
                    </a:lnTo>
                    <a:lnTo>
                      <a:pt x="212" y="2012"/>
                    </a:lnTo>
                    <a:lnTo>
                      <a:pt x="216" y="2012"/>
                    </a:lnTo>
                    <a:lnTo>
                      <a:pt x="216" y="2014"/>
                    </a:lnTo>
                    <a:lnTo>
                      <a:pt x="214" y="2016"/>
                    </a:lnTo>
                    <a:lnTo>
                      <a:pt x="214" y="2016"/>
                    </a:lnTo>
                    <a:lnTo>
                      <a:pt x="214" y="2020"/>
                    </a:lnTo>
                    <a:lnTo>
                      <a:pt x="216" y="2024"/>
                    </a:lnTo>
                    <a:lnTo>
                      <a:pt x="224" y="2024"/>
                    </a:lnTo>
                    <a:lnTo>
                      <a:pt x="232" y="2022"/>
                    </a:lnTo>
                    <a:lnTo>
                      <a:pt x="232" y="2022"/>
                    </a:lnTo>
                    <a:lnTo>
                      <a:pt x="240" y="2018"/>
                    </a:lnTo>
                    <a:lnTo>
                      <a:pt x="246" y="2018"/>
                    </a:lnTo>
                    <a:lnTo>
                      <a:pt x="250" y="2022"/>
                    </a:lnTo>
                    <a:lnTo>
                      <a:pt x="250" y="2026"/>
                    </a:lnTo>
                    <a:lnTo>
                      <a:pt x="250" y="2026"/>
                    </a:lnTo>
                    <a:lnTo>
                      <a:pt x="248" y="2028"/>
                    </a:lnTo>
                    <a:lnTo>
                      <a:pt x="250" y="2030"/>
                    </a:lnTo>
                    <a:lnTo>
                      <a:pt x="256" y="2028"/>
                    </a:lnTo>
                    <a:lnTo>
                      <a:pt x="260" y="2028"/>
                    </a:lnTo>
                    <a:lnTo>
                      <a:pt x="264" y="2028"/>
                    </a:lnTo>
                    <a:lnTo>
                      <a:pt x="270" y="2030"/>
                    </a:lnTo>
                    <a:lnTo>
                      <a:pt x="274" y="2034"/>
                    </a:lnTo>
                    <a:lnTo>
                      <a:pt x="274" y="2034"/>
                    </a:lnTo>
                    <a:lnTo>
                      <a:pt x="280" y="2038"/>
                    </a:lnTo>
                    <a:lnTo>
                      <a:pt x="284" y="2040"/>
                    </a:lnTo>
                    <a:lnTo>
                      <a:pt x="288" y="2040"/>
                    </a:lnTo>
                    <a:lnTo>
                      <a:pt x="292" y="2038"/>
                    </a:lnTo>
                    <a:lnTo>
                      <a:pt x="298" y="2032"/>
                    </a:lnTo>
                    <a:lnTo>
                      <a:pt x="302" y="2030"/>
                    </a:lnTo>
                    <a:lnTo>
                      <a:pt x="304" y="2028"/>
                    </a:lnTo>
                    <a:lnTo>
                      <a:pt x="304" y="2028"/>
                    </a:lnTo>
                    <a:lnTo>
                      <a:pt x="310" y="2026"/>
                    </a:lnTo>
                    <a:lnTo>
                      <a:pt x="314" y="2024"/>
                    </a:lnTo>
                    <a:lnTo>
                      <a:pt x="320" y="2020"/>
                    </a:lnTo>
                    <a:lnTo>
                      <a:pt x="326" y="2016"/>
                    </a:lnTo>
                    <a:lnTo>
                      <a:pt x="326" y="2016"/>
                    </a:lnTo>
                    <a:lnTo>
                      <a:pt x="322" y="2022"/>
                    </a:lnTo>
                    <a:lnTo>
                      <a:pt x="318" y="2026"/>
                    </a:lnTo>
                    <a:lnTo>
                      <a:pt x="318" y="2026"/>
                    </a:lnTo>
                    <a:lnTo>
                      <a:pt x="312" y="2032"/>
                    </a:lnTo>
                    <a:lnTo>
                      <a:pt x="306" y="2036"/>
                    </a:lnTo>
                    <a:lnTo>
                      <a:pt x="304" y="2044"/>
                    </a:lnTo>
                    <a:lnTo>
                      <a:pt x="302" y="2048"/>
                    </a:lnTo>
                    <a:lnTo>
                      <a:pt x="294" y="2050"/>
                    </a:lnTo>
                    <a:lnTo>
                      <a:pt x="294" y="2050"/>
                    </a:lnTo>
                    <a:lnTo>
                      <a:pt x="284" y="2050"/>
                    </a:lnTo>
                    <a:lnTo>
                      <a:pt x="280" y="2050"/>
                    </a:lnTo>
                    <a:lnTo>
                      <a:pt x="274" y="2048"/>
                    </a:lnTo>
                    <a:lnTo>
                      <a:pt x="262" y="2048"/>
                    </a:lnTo>
                    <a:lnTo>
                      <a:pt x="262" y="2048"/>
                    </a:lnTo>
                    <a:lnTo>
                      <a:pt x="256" y="2048"/>
                    </a:lnTo>
                    <a:lnTo>
                      <a:pt x="252" y="2050"/>
                    </a:lnTo>
                    <a:lnTo>
                      <a:pt x="252" y="2052"/>
                    </a:lnTo>
                    <a:lnTo>
                      <a:pt x="252" y="2054"/>
                    </a:lnTo>
                    <a:lnTo>
                      <a:pt x="252" y="2058"/>
                    </a:lnTo>
                    <a:lnTo>
                      <a:pt x="250" y="2058"/>
                    </a:lnTo>
                    <a:lnTo>
                      <a:pt x="246" y="2060"/>
                    </a:lnTo>
                    <a:lnTo>
                      <a:pt x="246" y="2060"/>
                    </a:lnTo>
                    <a:lnTo>
                      <a:pt x="242" y="2060"/>
                    </a:lnTo>
                    <a:lnTo>
                      <a:pt x="238" y="2062"/>
                    </a:lnTo>
                    <a:lnTo>
                      <a:pt x="238" y="2066"/>
                    </a:lnTo>
                    <a:lnTo>
                      <a:pt x="238" y="2070"/>
                    </a:lnTo>
                    <a:lnTo>
                      <a:pt x="238" y="2074"/>
                    </a:lnTo>
                    <a:lnTo>
                      <a:pt x="236" y="2076"/>
                    </a:lnTo>
                    <a:lnTo>
                      <a:pt x="236" y="2076"/>
                    </a:lnTo>
                    <a:lnTo>
                      <a:pt x="232" y="2078"/>
                    </a:lnTo>
                    <a:lnTo>
                      <a:pt x="230" y="2082"/>
                    </a:lnTo>
                    <a:lnTo>
                      <a:pt x="230" y="2084"/>
                    </a:lnTo>
                    <a:lnTo>
                      <a:pt x="226" y="2086"/>
                    </a:lnTo>
                    <a:lnTo>
                      <a:pt x="226" y="2086"/>
                    </a:lnTo>
                    <a:lnTo>
                      <a:pt x="220" y="2092"/>
                    </a:lnTo>
                    <a:lnTo>
                      <a:pt x="214" y="2100"/>
                    </a:lnTo>
                    <a:lnTo>
                      <a:pt x="210" y="2106"/>
                    </a:lnTo>
                    <a:lnTo>
                      <a:pt x="206" y="2106"/>
                    </a:lnTo>
                    <a:lnTo>
                      <a:pt x="202" y="2108"/>
                    </a:lnTo>
                    <a:lnTo>
                      <a:pt x="202" y="2108"/>
                    </a:lnTo>
                    <a:lnTo>
                      <a:pt x="198" y="2108"/>
                    </a:lnTo>
                    <a:lnTo>
                      <a:pt x="194" y="2108"/>
                    </a:lnTo>
                    <a:lnTo>
                      <a:pt x="192" y="2112"/>
                    </a:lnTo>
                    <a:lnTo>
                      <a:pt x="192" y="2114"/>
                    </a:lnTo>
                    <a:lnTo>
                      <a:pt x="192" y="2118"/>
                    </a:lnTo>
                    <a:lnTo>
                      <a:pt x="194" y="2118"/>
                    </a:lnTo>
                    <a:lnTo>
                      <a:pt x="196" y="2118"/>
                    </a:lnTo>
                    <a:lnTo>
                      <a:pt x="196" y="2118"/>
                    </a:lnTo>
                    <a:lnTo>
                      <a:pt x="200" y="2116"/>
                    </a:lnTo>
                    <a:lnTo>
                      <a:pt x="202" y="2116"/>
                    </a:lnTo>
                    <a:lnTo>
                      <a:pt x="206" y="2118"/>
                    </a:lnTo>
                    <a:lnTo>
                      <a:pt x="210" y="2122"/>
                    </a:lnTo>
                    <a:lnTo>
                      <a:pt x="212" y="2122"/>
                    </a:lnTo>
                    <a:lnTo>
                      <a:pt x="214" y="2122"/>
                    </a:lnTo>
                    <a:lnTo>
                      <a:pt x="214" y="2122"/>
                    </a:lnTo>
                    <a:lnTo>
                      <a:pt x="216" y="2120"/>
                    </a:lnTo>
                    <a:lnTo>
                      <a:pt x="216" y="2118"/>
                    </a:lnTo>
                    <a:lnTo>
                      <a:pt x="218" y="2116"/>
                    </a:lnTo>
                    <a:lnTo>
                      <a:pt x="222" y="2112"/>
                    </a:lnTo>
                    <a:lnTo>
                      <a:pt x="222" y="2112"/>
                    </a:lnTo>
                    <a:lnTo>
                      <a:pt x="226" y="2110"/>
                    </a:lnTo>
                    <a:lnTo>
                      <a:pt x="230" y="2106"/>
                    </a:lnTo>
                    <a:lnTo>
                      <a:pt x="234" y="2102"/>
                    </a:lnTo>
                    <a:lnTo>
                      <a:pt x="244" y="2100"/>
                    </a:lnTo>
                    <a:lnTo>
                      <a:pt x="244" y="2100"/>
                    </a:lnTo>
                    <a:lnTo>
                      <a:pt x="252" y="2100"/>
                    </a:lnTo>
                    <a:lnTo>
                      <a:pt x="258" y="2102"/>
                    </a:lnTo>
                    <a:lnTo>
                      <a:pt x="270" y="2108"/>
                    </a:lnTo>
                    <a:lnTo>
                      <a:pt x="270" y="2108"/>
                    </a:lnTo>
                    <a:lnTo>
                      <a:pt x="274" y="2110"/>
                    </a:lnTo>
                    <a:lnTo>
                      <a:pt x="276" y="2108"/>
                    </a:lnTo>
                    <a:lnTo>
                      <a:pt x="280" y="2098"/>
                    </a:lnTo>
                    <a:lnTo>
                      <a:pt x="282" y="2088"/>
                    </a:lnTo>
                    <a:lnTo>
                      <a:pt x="284" y="2086"/>
                    </a:lnTo>
                    <a:lnTo>
                      <a:pt x="286" y="2084"/>
                    </a:lnTo>
                    <a:lnTo>
                      <a:pt x="286" y="2084"/>
                    </a:lnTo>
                    <a:lnTo>
                      <a:pt x="288" y="2086"/>
                    </a:lnTo>
                    <a:lnTo>
                      <a:pt x="290" y="2084"/>
                    </a:lnTo>
                    <a:lnTo>
                      <a:pt x="298" y="2080"/>
                    </a:lnTo>
                    <a:lnTo>
                      <a:pt x="302" y="2078"/>
                    </a:lnTo>
                    <a:lnTo>
                      <a:pt x="306" y="2078"/>
                    </a:lnTo>
                    <a:lnTo>
                      <a:pt x="312" y="2080"/>
                    </a:lnTo>
                    <a:lnTo>
                      <a:pt x="316" y="2084"/>
                    </a:lnTo>
                    <a:lnTo>
                      <a:pt x="316" y="2084"/>
                    </a:lnTo>
                    <a:lnTo>
                      <a:pt x="322" y="2088"/>
                    </a:lnTo>
                    <a:lnTo>
                      <a:pt x="324" y="2088"/>
                    </a:lnTo>
                    <a:lnTo>
                      <a:pt x="324" y="2088"/>
                    </a:lnTo>
                    <a:lnTo>
                      <a:pt x="328" y="2086"/>
                    </a:lnTo>
                    <a:lnTo>
                      <a:pt x="330" y="2086"/>
                    </a:lnTo>
                    <a:lnTo>
                      <a:pt x="334" y="2086"/>
                    </a:lnTo>
                    <a:lnTo>
                      <a:pt x="334" y="2086"/>
                    </a:lnTo>
                    <a:lnTo>
                      <a:pt x="342" y="2086"/>
                    </a:lnTo>
                    <a:lnTo>
                      <a:pt x="344" y="2084"/>
                    </a:lnTo>
                    <a:lnTo>
                      <a:pt x="346" y="2082"/>
                    </a:lnTo>
                    <a:lnTo>
                      <a:pt x="356" y="2078"/>
                    </a:lnTo>
                    <a:lnTo>
                      <a:pt x="356" y="2078"/>
                    </a:lnTo>
                    <a:lnTo>
                      <a:pt x="366" y="2076"/>
                    </a:lnTo>
                    <a:lnTo>
                      <a:pt x="368" y="2074"/>
                    </a:lnTo>
                    <a:lnTo>
                      <a:pt x="368" y="2072"/>
                    </a:lnTo>
                    <a:lnTo>
                      <a:pt x="374" y="2074"/>
                    </a:lnTo>
                    <a:lnTo>
                      <a:pt x="374" y="2074"/>
                    </a:lnTo>
                    <a:lnTo>
                      <a:pt x="380" y="2076"/>
                    </a:lnTo>
                    <a:lnTo>
                      <a:pt x="382" y="2076"/>
                    </a:lnTo>
                    <a:lnTo>
                      <a:pt x="384" y="2074"/>
                    </a:lnTo>
                    <a:lnTo>
                      <a:pt x="386" y="2076"/>
                    </a:lnTo>
                    <a:lnTo>
                      <a:pt x="386" y="2076"/>
                    </a:lnTo>
                    <a:lnTo>
                      <a:pt x="388" y="2078"/>
                    </a:lnTo>
                    <a:lnTo>
                      <a:pt x="392" y="2078"/>
                    </a:lnTo>
                    <a:lnTo>
                      <a:pt x="400" y="2074"/>
                    </a:lnTo>
                    <a:lnTo>
                      <a:pt x="410" y="2072"/>
                    </a:lnTo>
                    <a:lnTo>
                      <a:pt x="416" y="2074"/>
                    </a:lnTo>
                    <a:lnTo>
                      <a:pt x="422" y="2074"/>
                    </a:lnTo>
                    <a:lnTo>
                      <a:pt x="422" y="2074"/>
                    </a:lnTo>
                    <a:lnTo>
                      <a:pt x="428" y="2076"/>
                    </a:lnTo>
                    <a:lnTo>
                      <a:pt x="432" y="2076"/>
                    </a:lnTo>
                    <a:lnTo>
                      <a:pt x="440" y="2074"/>
                    </a:lnTo>
                    <a:lnTo>
                      <a:pt x="448" y="2070"/>
                    </a:lnTo>
                    <a:lnTo>
                      <a:pt x="456" y="2068"/>
                    </a:lnTo>
                    <a:lnTo>
                      <a:pt x="456" y="2068"/>
                    </a:lnTo>
                    <a:lnTo>
                      <a:pt x="460" y="2068"/>
                    </a:lnTo>
                    <a:lnTo>
                      <a:pt x="462" y="2064"/>
                    </a:lnTo>
                    <a:lnTo>
                      <a:pt x="464" y="2060"/>
                    </a:lnTo>
                    <a:lnTo>
                      <a:pt x="470" y="2056"/>
                    </a:lnTo>
                    <a:lnTo>
                      <a:pt x="470" y="2056"/>
                    </a:lnTo>
                    <a:lnTo>
                      <a:pt x="478" y="2052"/>
                    </a:lnTo>
                    <a:lnTo>
                      <a:pt x="480" y="2048"/>
                    </a:lnTo>
                    <a:lnTo>
                      <a:pt x="480" y="2044"/>
                    </a:lnTo>
                    <a:lnTo>
                      <a:pt x="480" y="2040"/>
                    </a:lnTo>
                    <a:lnTo>
                      <a:pt x="480" y="2040"/>
                    </a:lnTo>
                    <a:lnTo>
                      <a:pt x="480" y="2038"/>
                    </a:lnTo>
                    <a:lnTo>
                      <a:pt x="478" y="2038"/>
                    </a:lnTo>
                    <a:lnTo>
                      <a:pt x="472" y="2038"/>
                    </a:lnTo>
                    <a:lnTo>
                      <a:pt x="462" y="2040"/>
                    </a:lnTo>
                    <a:lnTo>
                      <a:pt x="456" y="2040"/>
                    </a:lnTo>
                    <a:lnTo>
                      <a:pt x="456" y="2040"/>
                    </a:lnTo>
                    <a:lnTo>
                      <a:pt x="450" y="2038"/>
                    </a:lnTo>
                    <a:lnTo>
                      <a:pt x="448" y="2036"/>
                    </a:lnTo>
                    <a:lnTo>
                      <a:pt x="450" y="2036"/>
                    </a:lnTo>
                    <a:lnTo>
                      <a:pt x="446" y="2034"/>
                    </a:lnTo>
                    <a:lnTo>
                      <a:pt x="446" y="2034"/>
                    </a:lnTo>
                    <a:lnTo>
                      <a:pt x="444" y="2032"/>
                    </a:lnTo>
                    <a:lnTo>
                      <a:pt x="444" y="2032"/>
                    </a:lnTo>
                    <a:lnTo>
                      <a:pt x="448" y="2030"/>
                    </a:lnTo>
                    <a:lnTo>
                      <a:pt x="456" y="2030"/>
                    </a:lnTo>
                    <a:lnTo>
                      <a:pt x="458" y="2028"/>
                    </a:lnTo>
                    <a:lnTo>
                      <a:pt x="460" y="2026"/>
                    </a:lnTo>
                    <a:lnTo>
                      <a:pt x="460" y="2026"/>
                    </a:lnTo>
                    <a:lnTo>
                      <a:pt x="460" y="2020"/>
                    </a:lnTo>
                    <a:lnTo>
                      <a:pt x="458" y="2020"/>
                    </a:lnTo>
                    <a:lnTo>
                      <a:pt x="456" y="2020"/>
                    </a:lnTo>
                    <a:lnTo>
                      <a:pt x="458" y="2016"/>
                    </a:lnTo>
                    <a:lnTo>
                      <a:pt x="458" y="2016"/>
                    </a:lnTo>
                    <a:lnTo>
                      <a:pt x="462" y="2014"/>
                    </a:lnTo>
                    <a:lnTo>
                      <a:pt x="464" y="2014"/>
                    </a:lnTo>
                    <a:lnTo>
                      <a:pt x="472" y="2014"/>
                    </a:lnTo>
                    <a:lnTo>
                      <a:pt x="476" y="2014"/>
                    </a:lnTo>
                    <a:lnTo>
                      <a:pt x="476" y="2012"/>
                    </a:lnTo>
                    <a:lnTo>
                      <a:pt x="474" y="2010"/>
                    </a:lnTo>
                    <a:lnTo>
                      <a:pt x="474" y="2010"/>
                    </a:lnTo>
                    <a:lnTo>
                      <a:pt x="474" y="2008"/>
                    </a:lnTo>
                    <a:lnTo>
                      <a:pt x="474" y="2006"/>
                    </a:lnTo>
                    <a:lnTo>
                      <a:pt x="482" y="2000"/>
                    </a:lnTo>
                    <a:lnTo>
                      <a:pt x="486" y="1996"/>
                    </a:lnTo>
                    <a:lnTo>
                      <a:pt x="490" y="1990"/>
                    </a:lnTo>
                    <a:lnTo>
                      <a:pt x="494" y="1982"/>
                    </a:lnTo>
                    <a:lnTo>
                      <a:pt x="494" y="1970"/>
                    </a:lnTo>
                    <a:lnTo>
                      <a:pt x="494" y="1970"/>
                    </a:lnTo>
                    <a:close/>
                    <a:moveTo>
                      <a:pt x="662" y="1344"/>
                    </a:moveTo>
                    <a:lnTo>
                      <a:pt x="662" y="1344"/>
                    </a:lnTo>
                    <a:lnTo>
                      <a:pt x="660" y="1344"/>
                    </a:lnTo>
                    <a:lnTo>
                      <a:pt x="656" y="1346"/>
                    </a:lnTo>
                    <a:lnTo>
                      <a:pt x="656" y="1350"/>
                    </a:lnTo>
                    <a:lnTo>
                      <a:pt x="656" y="1354"/>
                    </a:lnTo>
                    <a:lnTo>
                      <a:pt x="656" y="1354"/>
                    </a:lnTo>
                    <a:lnTo>
                      <a:pt x="660" y="1354"/>
                    </a:lnTo>
                    <a:lnTo>
                      <a:pt x="662" y="1352"/>
                    </a:lnTo>
                    <a:lnTo>
                      <a:pt x="664" y="1348"/>
                    </a:lnTo>
                    <a:lnTo>
                      <a:pt x="664" y="1346"/>
                    </a:lnTo>
                    <a:lnTo>
                      <a:pt x="662" y="1344"/>
                    </a:lnTo>
                    <a:lnTo>
                      <a:pt x="662" y="1344"/>
                    </a:lnTo>
                    <a:close/>
                    <a:moveTo>
                      <a:pt x="652" y="1354"/>
                    </a:moveTo>
                    <a:lnTo>
                      <a:pt x="652" y="1354"/>
                    </a:lnTo>
                    <a:lnTo>
                      <a:pt x="650" y="1352"/>
                    </a:lnTo>
                    <a:lnTo>
                      <a:pt x="648" y="1352"/>
                    </a:lnTo>
                    <a:lnTo>
                      <a:pt x="646" y="1352"/>
                    </a:lnTo>
                    <a:lnTo>
                      <a:pt x="644" y="1356"/>
                    </a:lnTo>
                    <a:lnTo>
                      <a:pt x="644" y="1356"/>
                    </a:lnTo>
                    <a:lnTo>
                      <a:pt x="646" y="1358"/>
                    </a:lnTo>
                    <a:lnTo>
                      <a:pt x="648" y="1358"/>
                    </a:lnTo>
                    <a:lnTo>
                      <a:pt x="652" y="1356"/>
                    </a:lnTo>
                    <a:lnTo>
                      <a:pt x="652" y="1354"/>
                    </a:lnTo>
                    <a:lnTo>
                      <a:pt x="652" y="1354"/>
                    </a:lnTo>
                    <a:close/>
                    <a:moveTo>
                      <a:pt x="150" y="1398"/>
                    </a:moveTo>
                    <a:lnTo>
                      <a:pt x="150" y="1398"/>
                    </a:lnTo>
                    <a:lnTo>
                      <a:pt x="148" y="1396"/>
                    </a:lnTo>
                    <a:lnTo>
                      <a:pt x="148" y="1396"/>
                    </a:lnTo>
                    <a:lnTo>
                      <a:pt x="146" y="1394"/>
                    </a:lnTo>
                    <a:lnTo>
                      <a:pt x="146" y="1396"/>
                    </a:lnTo>
                    <a:lnTo>
                      <a:pt x="146" y="1396"/>
                    </a:lnTo>
                    <a:lnTo>
                      <a:pt x="144" y="1398"/>
                    </a:lnTo>
                    <a:lnTo>
                      <a:pt x="146" y="1402"/>
                    </a:lnTo>
                    <a:lnTo>
                      <a:pt x="152" y="1410"/>
                    </a:lnTo>
                    <a:lnTo>
                      <a:pt x="152" y="1410"/>
                    </a:lnTo>
                    <a:lnTo>
                      <a:pt x="154" y="1412"/>
                    </a:lnTo>
                    <a:lnTo>
                      <a:pt x="156" y="1412"/>
                    </a:lnTo>
                    <a:lnTo>
                      <a:pt x="158" y="1412"/>
                    </a:lnTo>
                    <a:lnTo>
                      <a:pt x="156" y="1410"/>
                    </a:lnTo>
                    <a:lnTo>
                      <a:pt x="156" y="1410"/>
                    </a:lnTo>
                    <a:lnTo>
                      <a:pt x="154" y="1404"/>
                    </a:lnTo>
                    <a:lnTo>
                      <a:pt x="154" y="1400"/>
                    </a:lnTo>
                    <a:lnTo>
                      <a:pt x="150" y="1398"/>
                    </a:lnTo>
                    <a:lnTo>
                      <a:pt x="150" y="1398"/>
                    </a:lnTo>
                    <a:close/>
                    <a:moveTo>
                      <a:pt x="732" y="1304"/>
                    </a:moveTo>
                    <a:lnTo>
                      <a:pt x="732" y="1304"/>
                    </a:lnTo>
                    <a:lnTo>
                      <a:pt x="734" y="1302"/>
                    </a:lnTo>
                    <a:lnTo>
                      <a:pt x="732" y="1300"/>
                    </a:lnTo>
                    <a:lnTo>
                      <a:pt x="730" y="1298"/>
                    </a:lnTo>
                    <a:lnTo>
                      <a:pt x="728" y="1300"/>
                    </a:lnTo>
                    <a:lnTo>
                      <a:pt x="728" y="1300"/>
                    </a:lnTo>
                    <a:lnTo>
                      <a:pt x="726" y="1302"/>
                    </a:lnTo>
                    <a:lnTo>
                      <a:pt x="724" y="1302"/>
                    </a:lnTo>
                    <a:lnTo>
                      <a:pt x="722" y="1300"/>
                    </a:lnTo>
                    <a:lnTo>
                      <a:pt x="720" y="1302"/>
                    </a:lnTo>
                    <a:lnTo>
                      <a:pt x="720" y="1302"/>
                    </a:lnTo>
                    <a:lnTo>
                      <a:pt x="720" y="1304"/>
                    </a:lnTo>
                    <a:lnTo>
                      <a:pt x="720" y="1304"/>
                    </a:lnTo>
                    <a:lnTo>
                      <a:pt x="724" y="1306"/>
                    </a:lnTo>
                    <a:lnTo>
                      <a:pt x="732" y="1304"/>
                    </a:lnTo>
                    <a:lnTo>
                      <a:pt x="732" y="1304"/>
                    </a:lnTo>
                    <a:close/>
                    <a:moveTo>
                      <a:pt x="618" y="1384"/>
                    </a:moveTo>
                    <a:lnTo>
                      <a:pt x="618" y="1384"/>
                    </a:lnTo>
                    <a:lnTo>
                      <a:pt x="622" y="1384"/>
                    </a:lnTo>
                    <a:lnTo>
                      <a:pt x="626" y="1382"/>
                    </a:lnTo>
                    <a:lnTo>
                      <a:pt x="628" y="1380"/>
                    </a:lnTo>
                    <a:lnTo>
                      <a:pt x="628" y="1378"/>
                    </a:lnTo>
                    <a:lnTo>
                      <a:pt x="628" y="1378"/>
                    </a:lnTo>
                    <a:lnTo>
                      <a:pt x="622" y="1378"/>
                    </a:lnTo>
                    <a:lnTo>
                      <a:pt x="618" y="1378"/>
                    </a:lnTo>
                    <a:lnTo>
                      <a:pt x="616" y="1380"/>
                    </a:lnTo>
                    <a:lnTo>
                      <a:pt x="618" y="1384"/>
                    </a:lnTo>
                    <a:lnTo>
                      <a:pt x="618" y="1384"/>
                    </a:lnTo>
                    <a:close/>
                    <a:moveTo>
                      <a:pt x="620" y="1456"/>
                    </a:moveTo>
                    <a:lnTo>
                      <a:pt x="620" y="1456"/>
                    </a:lnTo>
                    <a:lnTo>
                      <a:pt x="616" y="1454"/>
                    </a:lnTo>
                    <a:lnTo>
                      <a:pt x="618" y="1456"/>
                    </a:lnTo>
                    <a:lnTo>
                      <a:pt x="622" y="1462"/>
                    </a:lnTo>
                    <a:lnTo>
                      <a:pt x="624" y="1462"/>
                    </a:lnTo>
                    <a:lnTo>
                      <a:pt x="624" y="1462"/>
                    </a:lnTo>
                    <a:lnTo>
                      <a:pt x="626" y="1464"/>
                    </a:lnTo>
                    <a:lnTo>
                      <a:pt x="624" y="1462"/>
                    </a:lnTo>
                    <a:lnTo>
                      <a:pt x="622" y="1458"/>
                    </a:lnTo>
                    <a:lnTo>
                      <a:pt x="620" y="1456"/>
                    </a:lnTo>
                    <a:lnTo>
                      <a:pt x="620" y="1456"/>
                    </a:lnTo>
                    <a:close/>
                    <a:moveTo>
                      <a:pt x="630" y="1474"/>
                    </a:moveTo>
                    <a:lnTo>
                      <a:pt x="630" y="1474"/>
                    </a:lnTo>
                    <a:lnTo>
                      <a:pt x="626" y="1468"/>
                    </a:lnTo>
                    <a:lnTo>
                      <a:pt x="622" y="1466"/>
                    </a:lnTo>
                    <a:lnTo>
                      <a:pt x="622" y="1466"/>
                    </a:lnTo>
                    <a:lnTo>
                      <a:pt x="622" y="1468"/>
                    </a:lnTo>
                    <a:lnTo>
                      <a:pt x="622" y="1468"/>
                    </a:lnTo>
                    <a:lnTo>
                      <a:pt x="626" y="1474"/>
                    </a:lnTo>
                    <a:lnTo>
                      <a:pt x="628" y="1476"/>
                    </a:lnTo>
                    <a:lnTo>
                      <a:pt x="630" y="1474"/>
                    </a:lnTo>
                    <a:lnTo>
                      <a:pt x="630" y="1474"/>
                    </a:lnTo>
                    <a:close/>
                    <a:moveTo>
                      <a:pt x="624" y="1490"/>
                    </a:moveTo>
                    <a:lnTo>
                      <a:pt x="624" y="1490"/>
                    </a:lnTo>
                    <a:lnTo>
                      <a:pt x="626" y="1490"/>
                    </a:lnTo>
                    <a:lnTo>
                      <a:pt x="626" y="1490"/>
                    </a:lnTo>
                    <a:lnTo>
                      <a:pt x="626" y="1486"/>
                    </a:lnTo>
                    <a:lnTo>
                      <a:pt x="624" y="1476"/>
                    </a:lnTo>
                    <a:lnTo>
                      <a:pt x="624" y="1476"/>
                    </a:lnTo>
                    <a:lnTo>
                      <a:pt x="622" y="1474"/>
                    </a:lnTo>
                    <a:lnTo>
                      <a:pt x="622" y="1476"/>
                    </a:lnTo>
                    <a:lnTo>
                      <a:pt x="622" y="1480"/>
                    </a:lnTo>
                    <a:lnTo>
                      <a:pt x="622" y="1486"/>
                    </a:lnTo>
                    <a:lnTo>
                      <a:pt x="622" y="1490"/>
                    </a:lnTo>
                    <a:lnTo>
                      <a:pt x="624" y="1490"/>
                    </a:lnTo>
                    <a:lnTo>
                      <a:pt x="624" y="1490"/>
                    </a:lnTo>
                    <a:close/>
                    <a:moveTo>
                      <a:pt x="302" y="1578"/>
                    </a:moveTo>
                    <a:lnTo>
                      <a:pt x="302" y="1578"/>
                    </a:lnTo>
                    <a:lnTo>
                      <a:pt x="300" y="1580"/>
                    </a:lnTo>
                    <a:lnTo>
                      <a:pt x="300" y="1582"/>
                    </a:lnTo>
                    <a:lnTo>
                      <a:pt x="302" y="1582"/>
                    </a:lnTo>
                    <a:lnTo>
                      <a:pt x="304" y="1584"/>
                    </a:lnTo>
                    <a:lnTo>
                      <a:pt x="304" y="1584"/>
                    </a:lnTo>
                    <a:lnTo>
                      <a:pt x="306" y="1582"/>
                    </a:lnTo>
                    <a:lnTo>
                      <a:pt x="306" y="1580"/>
                    </a:lnTo>
                    <a:lnTo>
                      <a:pt x="304" y="1578"/>
                    </a:lnTo>
                    <a:lnTo>
                      <a:pt x="302" y="1578"/>
                    </a:lnTo>
                    <a:lnTo>
                      <a:pt x="302" y="1578"/>
                    </a:lnTo>
                    <a:close/>
                    <a:moveTo>
                      <a:pt x="160" y="1386"/>
                    </a:moveTo>
                    <a:lnTo>
                      <a:pt x="160" y="1386"/>
                    </a:lnTo>
                    <a:lnTo>
                      <a:pt x="158" y="1382"/>
                    </a:lnTo>
                    <a:lnTo>
                      <a:pt x="154" y="1378"/>
                    </a:lnTo>
                    <a:lnTo>
                      <a:pt x="150" y="1378"/>
                    </a:lnTo>
                    <a:lnTo>
                      <a:pt x="148" y="1378"/>
                    </a:lnTo>
                    <a:lnTo>
                      <a:pt x="148" y="1380"/>
                    </a:lnTo>
                    <a:lnTo>
                      <a:pt x="148" y="1380"/>
                    </a:lnTo>
                    <a:lnTo>
                      <a:pt x="148" y="1382"/>
                    </a:lnTo>
                    <a:lnTo>
                      <a:pt x="152" y="1384"/>
                    </a:lnTo>
                    <a:lnTo>
                      <a:pt x="152" y="1384"/>
                    </a:lnTo>
                    <a:lnTo>
                      <a:pt x="156" y="1386"/>
                    </a:lnTo>
                    <a:lnTo>
                      <a:pt x="160" y="1386"/>
                    </a:lnTo>
                    <a:lnTo>
                      <a:pt x="160" y="1386"/>
                    </a:lnTo>
                    <a:close/>
                    <a:moveTo>
                      <a:pt x="320" y="1546"/>
                    </a:moveTo>
                    <a:lnTo>
                      <a:pt x="320" y="1546"/>
                    </a:lnTo>
                    <a:lnTo>
                      <a:pt x="318" y="1546"/>
                    </a:lnTo>
                    <a:lnTo>
                      <a:pt x="316" y="1546"/>
                    </a:lnTo>
                    <a:lnTo>
                      <a:pt x="314" y="1548"/>
                    </a:lnTo>
                    <a:lnTo>
                      <a:pt x="312" y="1552"/>
                    </a:lnTo>
                    <a:lnTo>
                      <a:pt x="312" y="1552"/>
                    </a:lnTo>
                    <a:lnTo>
                      <a:pt x="312" y="1552"/>
                    </a:lnTo>
                    <a:lnTo>
                      <a:pt x="314" y="1552"/>
                    </a:lnTo>
                    <a:lnTo>
                      <a:pt x="318" y="1552"/>
                    </a:lnTo>
                    <a:lnTo>
                      <a:pt x="318" y="1552"/>
                    </a:lnTo>
                    <a:lnTo>
                      <a:pt x="318" y="1550"/>
                    </a:lnTo>
                    <a:lnTo>
                      <a:pt x="320" y="1548"/>
                    </a:lnTo>
                    <a:lnTo>
                      <a:pt x="322" y="1546"/>
                    </a:lnTo>
                    <a:lnTo>
                      <a:pt x="320" y="1546"/>
                    </a:lnTo>
                    <a:lnTo>
                      <a:pt x="320" y="1546"/>
                    </a:lnTo>
                    <a:close/>
                    <a:moveTo>
                      <a:pt x="354" y="1486"/>
                    </a:moveTo>
                    <a:lnTo>
                      <a:pt x="354" y="1486"/>
                    </a:lnTo>
                    <a:lnTo>
                      <a:pt x="356" y="1488"/>
                    </a:lnTo>
                    <a:lnTo>
                      <a:pt x="356" y="1490"/>
                    </a:lnTo>
                    <a:lnTo>
                      <a:pt x="358" y="1488"/>
                    </a:lnTo>
                    <a:lnTo>
                      <a:pt x="362" y="1490"/>
                    </a:lnTo>
                    <a:lnTo>
                      <a:pt x="362" y="1490"/>
                    </a:lnTo>
                    <a:lnTo>
                      <a:pt x="364" y="1492"/>
                    </a:lnTo>
                    <a:lnTo>
                      <a:pt x="364" y="1490"/>
                    </a:lnTo>
                    <a:lnTo>
                      <a:pt x="366" y="1488"/>
                    </a:lnTo>
                    <a:lnTo>
                      <a:pt x="370" y="1490"/>
                    </a:lnTo>
                    <a:lnTo>
                      <a:pt x="370" y="1490"/>
                    </a:lnTo>
                    <a:lnTo>
                      <a:pt x="372" y="1492"/>
                    </a:lnTo>
                    <a:lnTo>
                      <a:pt x="372" y="1494"/>
                    </a:lnTo>
                    <a:lnTo>
                      <a:pt x="370" y="1500"/>
                    </a:lnTo>
                    <a:lnTo>
                      <a:pt x="368" y="1506"/>
                    </a:lnTo>
                    <a:lnTo>
                      <a:pt x="368" y="1508"/>
                    </a:lnTo>
                    <a:lnTo>
                      <a:pt x="370" y="1512"/>
                    </a:lnTo>
                    <a:lnTo>
                      <a:pt x="370" y="1512"/>
                    </a:lnTo>
                    <a:lnTo>
                      <a:pt x="372" y="1512"/>
                    </a:lnTo>
                    <a:lnTo>
                      <a:pt x="372" y="1510"/>
                    </a:lnTo>
                    <a:lnTo>
                      <a:pt x="374" y="1502"/>
                    </a:lnTo>
                    <a:lnTo>
                      <a:pt x="374" y="1502"/>
                    </a:lnTo>
                    <a:lnTo>
                      <a:pt x="376" y="1496"/>
                    </a:lnTo>
                    <a:lnTo>
                      <a:pt x="374" y="1490"/>
                    </a:lnTo>
                    <a:lnTo>
                      <a:pt x="374" y="1490"/>
                    </a:lnTo>
                    <a:lnTo>
                      <a:pt x="374" y="1488"/>
                    </a:lnTo>
                    <a:lnTo>
                      <a:pt x="376" y="1484"/>
                    </a:lnTo>
                    <a:lnTo>
                      <a:pt x="380" y="1476"/>
                    </a:lnTo>
                    <a:lnTo>
                      <a:pt x="380" y="1476"/>
                    </a:lnTo>
                    <a:lnTo>
                      <a:pt x="380" y="1472"/>
                    </a:lnTo>
                    <a:lnTo>
                      <a:pt x="378" y="1474"/>
                    </a:lnTo>
                    <a:lnTo>
                      <a:pt x="376" y="1476"/>
                    </a:lnTo>
                    <a:lnTo>
                      <a:pt x="376" y="1476"/>
                    </a:lnTo>
                    <a:lnTo>
                      <a:pt x="376" y="1474"/>
                    </a:lnTo>
                    <a:lnTo>
                      <a:pt x="376" y="1474"/>
                    </a:lnTo>
                    <a:lnTo>
                      <a:pt x="376" y="1472"/>
                    </a:lnTo>
                    <a:lnTo>
                      <a:pt x="374" y="1470"/>
                    </a:lnTo>
                    <a:lnTo>
                      <a:pt x="372" y="1470"/>
                    </a:lnTo>
                    <a:lnTo>
                      <a:pt x="372" y="1472"/>
                    </a:lnTo>
                    <a:lnTo>
                      <a:pt x="372" y="1472"/>
                    </a:lnTo>
                    <a:lnTo>
                      <a:pt x="370" y="1474"/>
                    </a:lnTo>
                    <a:lnTo>
                      <a:pt x="370" y="1472"/>
                    </a:lnTo>
                    <a:lnTo>
                      <a:pt x="370" y="1462"/>
                    </a:lnTo>
                    <a:lnTo>
                      <a:pt x="370" y="1462"/>
                    </a:lnTo>
                    <a:lnTo>
                      <a:pt x="370" y="1460"/>
                    </a:lnTo>
                    <a:lnTo>
                      <a:pt x="368" y="1460"/>
                    </a:lnTo>
                    <a:lnTo>
                      <a:pt x="364" y="1464"/>
                    </a:lnTo>
                    <a:lnTo>
                      <a:pt x="358" y="1468"/>
                    </a:lnTo>
                    <a:lnTo>
                      <a:pt x="358" y="1470"/>
                    </a:lnTo>
                    <a:lnTo>
                      <a:pt x="358" y="1470"/>
                    </a:lnTo>
                    <a:lnTo>
                      <a:pt x="358" y="1470"/>
                    </a:lnTo>
                    <a:lnTo>
                      <a:pt x="364" y="1474"/>
                    </a:lnTo>
                    <a:lnTo>
                      <a:pt x="368" y="1476"/>
                    </a:lnTo>
                    <a:lnTo>
                      <a:pt x="368" y="1480"/>
                    </a:lnTo>
                    <a:lnTo>
                      <a:pt x="368" y="1480"/>
                    </a:lnTo>
                    <a:lnTo>
                      <a:pt x="366" y="1482"/>
                    </a:lnTo>
                    <a:lnTo>
                      <a:pt x="360" y="1482"/>
                    </a:lnTo>
                    <a:lnTo>
                      <a:pt x="356" y="1482"/>
                    </a:lnTo>
                    <a:lnTo>
                      <a:pt x="356" y="1484"/>
                    </a:lnTo>
                    <a:lnTo>
                      <a:pt x="354" y="1486"/>
                    </a:lnTo>
                    <a:lnTo>
                      <a:pt x="354" y="1486"/>
                    </a:lnTo>
                    <a:close/>
                    <a:moveTo>
                      <a:pt x="312" y="1560"/>
                    </a:moveTo>
                    <a:lnTo>
                      <a:pt x="312" y="1560"/>
                    </a:lnTo>
                    <a:lnTo>
                      <a:pt x="312" y="1562"/>
                    </a:lnTo>
                    <a:lnTo>
                      <a:pt x="314" y="1562"/>
                    </a:lnTo>
                    <a:lnTo>
                      <a:pt x="318" y="1560"/>
                    </a:lnTo>
                    <a:lnTo>
                      <a:pt x="318" y="1560"/>
                    </a:lnTo>
                    <a:lnTo>
                      <a:pt x="316" y="1558"/>
                    </a:lnTo>
                    <a:lnTo>
                      <a:pt x="314" y="1556"/>
                    </a:lnTo>
                    <a:lnTo>
                      <a:pt x="312" y="1560"/>
                    </a:lnTo>
                    <a:lnTo>
                      <a:pt x="312" y="1560"/>
                    </a:lnTo>
                    <a:close/>
                    <a:moveTo>
                      <a:pt x="744" y="1294"/>
                    </a:moveTo>
                    <a:lnTo>
                      <a:pt x="744" y="1294"/>
                    </a:lnTo>
                    <a:lnTo>
                      <a:pt x="746" y="1296"/>
                    </a:lnTo>
                    <a:lnTo>
                      <a:pt x="748" y="1296"/>
                    </a:lnTo>
                    <a:lnTo>
                      <a:pt x="750" y="1294"/>
                    </a:lnTo>
                    <a:lnTo>
                      <a:pt x="752" y="1292"/>
                    </a:lnTo>
                    <a:lnTo>
                      <a:pt x="752" y="1292"/>
                    </a:lnTo>
                    <a:lnTo>
                      <a:pt x="748" y="1288"/>
                    </a:lnTo>
                    <a:lnTo>
                      <a:pt x="746" y="1288"/>
                    </a:lnTo>
                    <a:lnTo>
                      <a:pt x="744" y="1290"/>
                    </a:lnTo>
                    <a:lnTo>
                      <a:pt x="744" y="1294"/>
                    </a:lnTo>
                    <a:lnTo>
                      <a:pt x="744" y="1294"/>
                    </a:lnTo>
                    <a:close/>
                    <a:moveTo>
                      <a:pt x="380" y="1462"/>
                    </a:moveTo>
                    <a:lnTo>
                      <a:pt x="380" y="1462"/>
                    </a:lnTo>
                    <a:lnTo>
                      <a:pt x="382" y="1460"/>
                    </a:lnTo>
                    <a:lnTo>
                      <a:pt x="382" y="1456"/>
                    </a:lnTo>
                    <a:lnTo>
                      <a:pt x="382" y="1454"/>
                    </a:lnTo>
                    <a:lnTo>
                      <a:pt x="380" y="1454"/>
                    </a:lnTo>
                    <a:lnTo>
                      <a:pt x="380" y="1454"/>
                    </a:lnTo>
                    <a:lnTo>
                      <a:pt x="378" y="1454"/>
                    </a:lnTo>
                    <a:lnTo>
                      <a:pt x="378" y="1456"/>
                    </a:lnTo>
                    <a:lnTo>
                      <a:pt x="376" y="1460"/>
                    </a:lnTo>
                    <a:lnTo>
                      <a:pt x="376" y="1460"/>
                    </a:lnTo>
                    <a:lnTo>
                      <a:pt x="374" y="1462"/>
                    </a:lnTo>
                    <a:lnTo>
                      <a:pt x="376" y="1468"/>
                    </a:lnTo>
                    <a:lnTo>
                      <a:pt x="376" y="1468"/>
                    </a:lnTo>
                    <a:lnTo>
                      <a:pt x="378" y="1468"/>
                    </a:lnTo>
                    <a:lnTo>
                      <a:pt x="378" y="1466"/>
                    </a:lnTo>
                    <a:lnTo>
                      <a:pt x="380" y="1464"/>
                    </a:lnTo>
                    <a:lnTo>
                      <a:pt x="380" y="1462"/>
                    </a:lnTo>
                    <a:lnTo>
                      <a:pt x="380" y="1462"/>
                    </a:lnTo>
                    <a:close/>
                    <a:moveTo>
                      <a:pt x="134" y="1090"/>
                    </a:moveTo>
                    <a:lnTo>
                      <a:pt x="134" y="1090"/>
                    </a:lnTo>
                    <a:lnTo>
                      <a:pt x="148" y="1086"/>
                    </a:lnTo>
                    <a:lnTo>
                      <a:pt x="158" y="1086"/>
                    </a:lnTo>
                    <a:lnTo>
                      <a:pt x="190" y="1088"/>
                    </a:lnTo>
                    <a:lnTo>
                      <a:pt x="190" y="1088"/>
                    </a:lnTo>
                    <a:lnTo>
                      <a:pt x="200" y="1088"/>
                    </a:lnTo>
                    <a:lnTo>
                      <a:pt x="202" y="1090"/>
                    </a:lnTo>
                    <a:lnTo>
                      <a:pt x="202" y="1092"/>
                    </a:lnTo>
                    <a:lnTo>
                      <a:pt x="198" y="1094"/>
                    </a:lnTo>
                    <a:lnTo>
                      <a:pt x="186" y="1100"/>
                    </a:lnTo>
                    <a:lnTo>
                      <a:pt x="182" y="1104"/>
                    </a:lnTo>
                    <a:lnTo>
                      <a:pt x="180" y="1108"/>
                    </a:lnTo>
                    <a:lnTo>
                      <a:pt x="180" y="1108"/>
                    </a:lnTo>
                    <a:lnTo>
                      <a:pt x="182" y="1110"/>
                    </a:lnTo>
                    <a:lnTo>
                      <a:pt x="186" y="1112"/>
                    </a:lnTo>
                    <a:lnTo>
                      <a:pt x="196" y="1112"/>
                    </a:lnTo>
                    <a:lnTo>
                      <a:pt x="204" y="1114"/>
                    </a:lnTo>
                    <a:lnTo>
                      <a:pt x="204" y="1114"/>
                    </a:lnTo>
                    <a:lnTo>
                      <a:pt x="198" y="1118"/>
                    </a:lnTo>
                    <a:lnTo>
                      <a:pt x="198" y="1118"/>
                    </a:lnTo>
                    <a:lnTo>
                      <a:pt x="190" y="1120"/>
                    </a:lnTo>
                    <a:lnTo>
                      <a:pt x="182" y="1120"/>
                    </a:lnTo>
                    <a:lnTo>
                      <a:pt x="174" y="1118"/>
                    </a:lnTo>
                    <a:lnTo>
                      <a:pt x="166" y="1116"/>
                    </a:lnTo>
                    <a:lnTo>
                      <a:pt x="162" y="1116"/>
                    </a:lnTo>
                    <a:lnTo>
                      <a:pt x="156" y="1120"/>
                    </a:lnTo>
                    <a:lnTo>
                      <a:pt x="156" y="1120"/>
                    </a:lnTo>
                    <a:lnTo>
                      <a:pt x="150" y="1122"/>
                    </a:lnTo>
                    <a:lnTo>
                      <a:pt x="144" y="1124"/>
                    </a:lnTo>
                    <a:lnTo>
                      <a:pt x="132" y="1124"/>
                    </a:lnTo>
                    <a:lnTo>
                      <a:pt x="122" y="1126"/>
                    </a:lnTo>
                    <a:lnTo>
                      <a:pt x="120" y="1130"/>
                    </a:lnTo>
                    <a:lnTo>
                      <a:pt x="120" y="1132"/>
                    </a:lnTo>
                    <a:lnTo>
                      <a:pt x="120" y="1132"/>
                    </a:lnTo>
                    <a:lnTo>
                      <a:pt x="122" y="1136"/>
                    </a:lnTo>
                    <a:lnTo>
                      <a:pt x="124" y="1138"/>
                    </a:lnTo>
                    <a:lnTo>
                      <a:pt x="134" y="1136"/>
                    </a:lnTo>
                    <a:lnTo>
                      <a:pt x="152" y="1134"/>
                    </a:lnTo>
                    <a:lnTo>
                      <a:pt x="162" y="1134"/>
                    </a:lnTo>
                    <a:lnTo>
                      <a:pt x="174" y="1136"/>
                    </a:lnTo>
                    <a:lnTo>
                      <a:pt x="174" y="1136"/>
                    </a:lnTo>
                    <a:lnTo>
                      <a:pt x="180" y="1138"/>
                    </a:lnTo>
                    <a:lnTo>
                      <a:pt x="184" y="1140"/>
                    </a:lnTo>
                    <a:lnTo>
                      <a:pt x="186" y="1142"/>
                    </a:lnTo>
                    <a:lnTo>
                      <a:pt x="186" y="1146"/>
                    </a:lnTo>
                    <a:lnTo>
                      <a:pt x="186" y="1152"/>
                    </a:lnTo>
                    <a:lnTo>
                      <a:pt x="188" y="1154"/>
                    </a:lnTo>
                    <a:lnTo>
                      <a:pt x="190" y="1156"/>
                    </a:lnTo>
                    <a:lnTo>
                      <a:pt x="190" y="1156"/>
                    </a:lnTo>
                    <a:lnTo>
                      <a:pt x="198" y="1160"/>
                    </a:lnTo>
                    <a:lnTo>
                      <a:pt x="202" y="1166"/>
                    </a:lnTo>
                    <a:lnTo>
                      <a:pt x="202" y="1174"/>
                    </a:lnTo>
                    <a:lnTo>
                      <a:pt x="198" y="1184"/>
                    </a:lnTo>
                    <a:lnTo>
                      <a:pt x="198" y="1184"/>
                    </a:lnTo>
                    <a:lnTo>
                      <a:pt x="196" y="1186"/>
                    </a:lnTo>
                    <a:lnTo>
                      <a:pt x="190" y="1186"/>
                    </a:lnTo>
                    <a:lnTo>
                      <a:pt x="180" y="1184"/>
                    </a:lnTo>
                    <a:lnTo>
                      <a:pt x="172" y="1184"/>
                    </a:lnTo>
                    <a:lnTo>
                      <a:pt x="170" y="1186"/>
                    </a:lnTo>
                    <a:lnTo>
                      <a:pt x="170" y="1190"/>
                    </a:lnTo>
                    <a:lnTo>
                      <a:pt x="170" y="1190"/>
                    </a:lnTo>
                    <a:lnTo>
                      <a:pt x="172" y="1196"/>
                    </a:lnTo>
                    <a:lnTo>
                      <a:pt x="174" y="1198"/>
                    </a:lnTo>
                    <a:lnTo>
                      <a:pt x="176" y="1200"/>
                    </a:lnTo>
                    <a:lnTo>
                      <a:pt x="182" y="1202"/>
                    </a:lnTo>
                    <a:lnTo>
                      <a:pt x="196" y="1202"/>
                    </a:lnTo>
                    <a:lnTo>
                      <a:pt x="220" y="1200"/>
                    </a:lnTo>
                    <a:lnTo>
                      <a:pt x="220" y="1200"/>
                    </a:lnTo>
                    <a:lnTo>
                      <a:pt x="232" y="1200"/>
                    </a:lnTo>
                    <a:lnTo>
                      <a:pt x="242" y="1202"/>
                    </a:lnTo>
                    <a:lnTo>
                      <a:pt x="252" y="1206"/>
                    </a:lnTo>
                    <a:lnTo>
                      <a:pt x="260" y="1208"/>
                    </a:lnTo>
                    <a:lnTo>
                      <a:pt x="274" y="1216"/>
                    </a:lnTo>
                    <a:lnTo>
                      <a:pt x="282" y="1218"/>
                    </a:lnTo>
                    <a:lnTo>
                      <a:pt x="292" y="1220"/>
                    </a:lnTo>
                    <a:lnTo>
                      <a:pt x="292" y="1220"/>
                    </a:lnTo>
                    <a:lnTo>
                      <a:pt x="300" y="1220"/>
                    </a:lnTo>
                    <a:lnTo>
                      <a:pt x="308" y="1224"/>
                    </a:lnTo>
                    <a:lnTo>
                      <a:pt x="318" y="1228"/>
                    </a:lnTo>
                    <a:lnTo>
                      <a:pt x="322" y="1230"/>
                    </a:lnTo>
                    <a:lnTo>
                      <a:pt x="328" y="1232"/>
                    </a:lnTo>
                    <a:lnTo>
                      <a:pt x="336" y="1232"/>
                    </a:lnTo>
                    <a:lnTo>
                      <a:pt x="346" y="1230"/>
                    </a:lnTo>
                    <a:lnTo>
                      <a:pt x="346" y="1230"/>
                    </a:lnTo>
                    <a:lnTo>
                      <a:pt x="356" y="1226"/>
                    </a:lnTo>
                    <a:lnTo>
                      <a:pt x="362" y="1222"/>
                    </a:lnTo>
                    <a:lnTo>
                      <a:pt x="368" y="1214"/>
                    </a:lnTo>
                    <a:lnTo>
                      <a:pt x="370" y="1210"/>
                    </a:lnTo>
                    <a:lnTo>
                      <a:pt x="374" y="1206"/>
                    </a:lnTo>
                    <a:lnTo>
                      <a:pt x="380" y="1206"/>
                    </a:lnTo>
                    <a:lnTo>
                      <a:pt x="388" y="1206"/>
                    </a:lnTo>
                    <a:lnTo>
                      <a:pt x="388" y="1206"/>
                    </a:lnTo>
                    <a:lnTo>
                      <a:pt x="396" y="1204"/>
                    </a:lnTo>
                    <a:lnTo>
                      <a:pt x="404" y="1204"/>
                    </a:lnTo>
                    <a:lnTo>
                      <a:pt x="418" y="1198"/>
                    </a:lnTo>
                    <a:lnTo>
                      <a:pt x="452" y="1176"/>
                    </a:lnTo>
                    <a:lnTo>
                      <a:pt x="452" y="1176"/>
                    </a:lnTo>
                    <a:lnTo>
                      <a:pt x="462" y="1172"/>
                    </a:lnTo>
                    <a:lnTo>
                      <a:pt x="470" y="1170"/>
                    </a:lnTo>
                    <a:lnTo>
                      <a:pt x="484" y="1168"/>
                    </a:lnTo>
                    <a:lnTo>
                      <a:pt x="488" y="1166"/>
                    </a:lnTo>
                    <a:lnTo>
                      <a:pt x="494" y="1164"/>
                    </a:lnTo>
                    <a:lnTo>
                      <a:pt x="500" y="1160"/>
                    </a:lnTo>
                    <a:lnTo>
                      <a:pt x="504" y="1154"/>
                    </a:lnTo>
                    <a:lnTo>
                      <a:pt x="504" y="1154"/>
                    </a:lnTo>
                    <a:lnTo>
                      <a:pt x="514" y="1142"/>
                    </a:lnTo>
                    <a:lnTo>
                      <a:pt x="522" y="1136"/>
                    </a:lnTo>
                    <a:lnTo>
                      <a:pt x="528" y="1134"/>
                    </a:lnTo>
                    <a:lnTo>
                      <a:pt x="534" y="1126"/>
                    </a:lnTo>
                    <a:lnTo>
                      <a:pt x="534" y="1126"/>
                    </a:lnTo>
                    <a:lnTo>
                      <a:pt x="540" y="1112"/>
                    </a:lnTo>
                    <a:lnTo>
                      <a:pt x="542" y="1104"/>
                    </a:lnTo>
                    <a:lnTo>
                      <a:pt x="542" y="1098"/>
                    </a:lnTo>
                    <a:lnTo>
                      <a:pt x="542" y="1090"/>
                    </a:lnTo>
                    <a:lnTo>
                      <a:pt x="538" y="1086"/>
                    </a:lnTo>
                    <a:lnTo>
                      <a:pt x="532" y="1082"/>
                    </a:lnTo>
                    <a:lnTo>
                      <a:pt x="526" y="1080"/>
                    </a:lnTo>
                    <a:lnTo>
                      <a:pt x="526" y="1080"/>
                    </a:lnTo>
                    <a:lnTo>
                      <a:pt x="518" y="1078"/>
                    </a:lnTo>
                    <a:lnTo>
                      <a:pt x="514" y="1076"/>
                    </a:lnTo>
                    <a:lnTo>
                      <a:pt x="510" y="1072"/>
                    </a:lnTo>
                    <a:lnTo>
                      <a:pt x="506" y="1068"/>
                    </a:lnTo>
                    <a:lnTo>
                      <a:pt x="502" y="1066"/>
                    </a:lnTo>
                    <a:lnTo>
                      <a:pt x="496" y="1068"/>
                    </a:lnTo>
                    <a:lnTo>
                      <a:pt x="496" y="1068"/>
                    </a:lnTo>
                    <a:lnTo>
                      <a:pt x="494" y="1066"/>
                    </a:lnTo>
                    <a:lnTo>
                      <a:pt x="492" y="1064"/>
                    </a:lnTo>
                    <a:lnTo>
                      <a:pt x="496" y="1058"/>
                    </a:lnTo>
                    <a:lnTo>
                      <a:pt x="496" y="1058"/>
                    </a:lnTo>
                    <a:lnTo>
                      <a:pt x="500" y="1052"/>
                    </a:lnTo>
                    <a:lnTo>
                      <a:pt x="500" y="1048"/>
                    </a:lnTo>
                    <a:lnTo>
                      <a:pt x="496" y="1046"/>
                    </a:lnTo>
                    <a:lnTo>
                      <a:pt x="492" y="1046"/>
                    </a:lnTo>
                    <a:lnTo>
                      <a:pt x="486" y="1044"/>
                    </a:lnTo>
                    <a:lnTo>
                      <a:pt x="484" y="1044"/>
                    </a:lnTo>
                    <a:lnTo>
                      <a:pt x="484" y="1040"/>
                    </a:lnTo>
                    <a:lnTo>
                      <a:pt x="488" y="1036"/>
                    </a:lnTo>
                    <a:lnTo>
                      <a:pt x="488" y="1036"/>
                    </a:lnTo>
                    <a:lnTo>
                      <a:pt x="500" y="1028"/>
                    </a:lnTo>
                    <a:lnTo>
                      <a:pt x="500" y="1024"/>
                    </a:lnTo>
                    <a:lnTo>
                      <a:pt x="500" y="1022"/>
                    </a:lnTo>
                    <a:lnTo>
                      <a:pt x="494" y="1022"/>
                    </a:lnTo>
                    <a:lnTo>
                      <a:pt x="484" y="1026"/>
                    </a:lnTo>
                    <a:lnTo>
                      <a:pt x="484" y="1026"/>
                    </a:lnTo>
                    <a:lnTo>
                      <a:pt x="474" y="1032"/>
                    </a:lnTo>
                    <a:lnTo>
                      <a:pt x="466" y="1036"/>
                    </a:lnTo>
                    <a:lnTo>
                      <a:pt x="462" y="1036"/>
                    </a:lnTo>
                    <a:lnTo>
                      <a:pt x="460" y="1034"/>
                    </a:lnTo>
                    <a:lnTo>
                      <a:pt x="456" y="1028"/>
                    </a:lnTo>
                    <a:lnTo>
                      <a:pt x="450" y="1020"/>
                    </a:lnTo>
                    <a:lnTo>
                      <a:pt x="450" y="1020"/>
                    </a:lnTo>
                    <a:lnTo>
                      <a:pt x="446" y="1016"/>
                    </a:lnTo>
                    <a:lnTo>
                      <a:pt x="442" y="1012"/>
                    </a:lnTo>
                    <a:lnTo>
                      <a:pt x="436" y="1012"/>
                    </a:lnTo>
                    <a:lnTo>
                      <a:pt x="430" y="1012"/>
                    </a:lnTo>
                    <a:lnTo>
                      <a:pt x="424" y="1014"/>
                    </a:lnTo>
                    <a:lnTo>
                      <a:pt x="420" y="1018"/>
                    </a:lnTo>
                    <a:lnTo>
                      <a:pt x="418" y="1022"/>
                    </a:lnTo>
                    <a:lnTo>
                      <a:pt x="420" y="1026"/>
                    </a:lnTo>
                    <a:lnTo>
                      <a:pt x="420" y="1026"/>
                    </a:lnTo>
                    <a:lnTo>
                      <a:pt x="424" y="1034"/>
                    </a:lnTo>
                    <a:lnTo>
                      <a:pt x="424" y="1038"/>
                    </a:lnTo>
                    <a:lnTo>
                      <a:pt x="424" y="1040"/>
                    </a:lnTo>
                    <a:lnTo>
                      <a:pt x="420" y="1042"/>
                    </a:lnTo>
                    <a:lnTo>
                      <a:pt x="418" y="1042"/>
                    </a:lnTo>
                    <a:lnTo>
                      <a:pt x="406" y="1038"/>
                    </a:lnTo>
                    <a:lnTo>
                      <a:pt x="406" y="1038"/>
                    </a:lnTo>
                    <a:lnTo>
                      <a:pt x="402" y="1036"/>
                    </a:lnTo>
                    <a:lnTo>
                      <a:pt x="396" y="1038"/>
                    </a:lnTo>
                    <a:lnTo>
                      <a:pt x="390" y="1046"/>
                    </a:lnTo>
                    <a:lnTo>
                      <a:pt x="386" y="1050"/>
                    </a:lnTo>
                    <a:lnTo>
                      <a:pt x="382" y="1052"/>
                    </a:lnTo>
                    <a:lnTo>
                      <a:pt x="378" y="1052"/>
                    </a:lnTo>
                    <a:lnTo>
                      <a:pt x="374" y="1048"/>
                    </a:lnTo>
                    <a:lnTo>
                      <a:pt x="374" y="1048"/>
                    </a:lnTo>
                    <a:lnTo>
                      <a:pt x="362" y="1038"/>
                    </a:lnTo>
                    <a:lnTo>
                      <a:pt x="358" y="1038"/>
                    </a:lnTo>
                    <a:lnTo>
                      <a:pt x="356" y="1038"/>
                    </a:lnTo>
                    <a:lnTo>
                      <a:pt x="354" y="1038"/>
                    </a:lnTo>
                    <a:lnTo>
                      <a:pt x="352" y="1042"/>
                    </a:lnTo>
                    <a:lnTo>
                      <a:pt x="352" y="1052"/>
                    </a:lnTo>
                    <a:lnTo>
                      <a:pt x="352" y="1052"/>
                    </a:lnTo>
                    <a:lnTo>
                      <a:pt x="352" y="1056"/>
                    </a:lnTo>
                    <a:lnTo>
                      <a:pt x="350" y="1058"/>
                    </a:lnTo>
                    <a:lnTo>
                      <a:pt x="350" y="1060"/>
                    </a:lnTo>
                    <a:lnTo>
                      <a:pt x="346" y="1058"/>
                    </a:lnTo>
                    <a:lnTo>
                      <a:pt x="342" y="1052"/>
                    </a:lnTo>
                    <a:lnTo>
                      <a:pt x="338" y="1042"/>
                    </a:lnTo>
                    <a:lnTo>
                      <a:pt x="338" y="1042"/>
                    </a:lnTo>
                    <a:lnTo>
                      <a:pt x="336" y="1038"/>
                    </a:lnTo>
                    <a:lnTo>
                      <a:pt x="330" y="1036"/>
                    </a:lnTo>
                    <a:lnTo>
                      <a:pt x="326" y="1036"/>
                    </a:lnTo>
                    <a:lnTo>
                      <a:pt x="320" y="1038"/>
                    </a:lnTo>
                    <a:lnTo>
                      <a:pt x="314" y="1042"/>
                    </a:lnTo>
                    <a:lnTo>
                      <a:pt x="308" y="1048"/>
                    </a:lnTo>
                    <a:lnTo>
                      <a:pt x="306" y="1054"/>
                    </a:lnTo>
                    <a:lnTo>
                      <a:pt x="306" y="1060"/>
                    </a:lnTo>
                    <a:lnTo>
                      <a:pt x="306" y="1060"/>
                    </a:lnTo>
                    <a:lnTo>
                      <a:pt x="304" y="1070"/>
                    </a:lnTo>
                    <a:lnTo>
                      <a:pt x="304" y="1072"/>
                    </a:lnTo>
                    <a:lnTo>
                      <a:pt x="302" y="1072"/>
                    </a:lnTo>
                    <a:lnTo>
                      <a:pt x="294" y="1066"/>
                    </a:lnTo>
                    <a:lnTo>
                      <a:pt x="286" y="1052"/>
                    </a:lnTo>
                    <a:lnTo>
                      <a:pt x="286" y="1052"/>
                    </a:lnTo>
                    <a:lnTo>
                      <a:pt x="280" y="1044"/>
                    </a:lnTo>
                    <a:lnTo>
                      <a:pt x="276" y="1042"/>
                    </a:lnTo>
                    <a:lnTo>
                      <a:pt x="272" y="1040"/>
                    </a:lnTo>
                    <a:lnTo>
                      <a:pt x="268" y="1042"/>
                    </a:lnTo>
                    <a:lnTo>
                      <a:pt x="266" y="1046"/>
                    </a:lnTo>
                    <a:lnTo>
                      <a:pt x="266" y="1052"/>
                    </a:lnTo>
                    <a:lnTo>
                      <a:pt x="266" y="1056"/>
                    </a:lnTo>
                    <a:lnTo>
                      <a:pt x="268" y="1062"/>
                    </a:lnTo>
                    <a:lnTo>
                      <a:pt x="268" y="1062"/>
                    </a:lnTo>
                    <a:lnTo>
                      <a:pt x="270" y="1074"/>
                    </a:lnTo>
                    <a:lnTo>
                      <a:pt x="270" y="1078"/>
                    </a:lnTo>
                    <a:lnTo>
                      <a:pt x="270" y="1080"/>
                    </a:lnTo>
                    <a:lnTo>
                      <a:pt x="266" y="1082"/>
                    </a:lnTo>
                    <a:lnTo>
                      <a:pt x="264" y="1082"/>
                    </a:lnTo>
                    <a:lnTo>
                      <a:pt x="260" y="1080"/>
                    </a:lnTo>
                    <a:lnTo>
                      <a:pt x="256" y="1074"/>
                    </a:lnTo>
                    <a:lnTo>
                      <a:pt x="256" y="1074"/>
                    </a:lnTo>
                    <a:lnTo>
                      <a:pt x="252" y="1070"/>
                    </a:lnTo>
                    <a:lnTo>
                      <a:pt x="248" y="1072"/>
                    </a:lnTo>
                    <a:lnTo>
                      <a:pt x="246" y="1076"/>
                    </a:lnTo>
                    <a:lnTo>
                      <a:pt x="242" y="1082"/>
                    </a:lnTo>
                    <a:lnTo>
                      <a:pt x="240" y="1088"/>
                    </a:lnTo>
                    <a:lnTo>
                      <a:pt x="236" y="1090"/>
                    </a:lnTo>
                    <a:lnTo>
                      <a:pt x="234" y="1092"/>
                    </a:lnTo>
                    <a:lnTo>
                      <a:pt x="232" y="1090"/>
                    </a:lnTo>
                    <a:lnTo>
                      <a:pt x="228" y="1084"/>
                    </a:lnTo>
                    <a:lnTo>
                      <a:pt x="228" y="1084"/>
                    </a:lnTo>
                    <a:lnTo>
                      <a:pt x="226" y="1076"/>
                    </a:lnTo>
                    <a:lnTo>
                      <a:pt x="226" y="1070"/>
                    </a:lnTo>
                    <a:lnTo>
                      <a:pt x="228" y="1060"/>
                    </a:lnTo>
                    <a:lnTo>
                      <a:pt x="228" y="1058"/>
                    </a:lnTo>
                    <a:lnTo>
                      <a:pt x="228" y="1054"/>
                    </a:lnTo>
                    <a:lnTo>
                      <a:pt x="224" y="1050"/>
                    </a:lnTo>
                    <a:lnTo>
                      <a:pt x="216" y="1046"/>
                    </a:lnTo>
                    <a:lnTo>
                      <a:pt x="216" y="1046"/>
                    </a:lnTo>
                    <a:lnTo>
                      <a:pt x="204" y="1036"/>
                    </a:lnTo>
                    <a:lnTo>
                      <a:pt x="200" y="1030"/>
                    </a:lnTo>
                    <a:lnTo>
                      <a:pt x="194" y="1026"/>
                    </a:lnTo>
                    <a:lnTo>
                      <a:pt x="184" y="1020"/>
                    </a:lnTo>
                    <a:lnTo>
                      <a:pt x="184" y="1020"/>
                    </a:lnTo>
                    <a:lnTo>
                      <a:pt x="174" y="1018"/>
                    </a:lnTo>
                    <a:lnTo>
                      <a:pt x="168" y="1018"/>
                    </a:lnTo>
                    <a:lnTo>
                      <a:pt x="162" y="1018"/>
                    </a:lnTo>
                    <a:lnTo>
                      <a:pt x="158" y="1020"/>
                    </a:lnTo>
                    <a:lnTo>
                      <a:pt x="154" y="1024"/>
                    </a:lnTo>
                    <a:lnTo>
                      <a:pt x="152" y="1026"/>
                    </a:lnTo>
                    <a:lnTo>
                      <a:pt x="152" y="1030"/>
                    </a:lnTo>
                    <a:lnTo>
                      <a:pt x="154" y="1032"/>
                    </a:lnTo>
                    <a:lnTo>
                      <a:pt x="154" y="1032"/>
                    </a:lnTo>
                    <a:lnTo>
                      <a:pt x="162" y="1038"/>
                    </a:lnTo>
                    <a:lnTo>
                      <a:pt x="170" y="1042"/>
                    </a:lnTo>
                    <a:lnTo>
                      <a:pt x="180" y="1048"/>
                    </a:lnTo>
                    <a:lnTo>
                      <a:pt x="186" y="1054"/>
                    </a:lnTo>
                    <a:lnTo>
                      <a:pt x="186" y="1054"/>
                    </a:lnTo>
                    <a:lnTo>
                      <a:pt x="188" y="1058"/>
                    </a:lnTo>
                    <a:lnTo>
                      <a:pt x="186" y="1058"/>
                    </a:lnTo>
                    <a:lnTo>
                      <a:pt x="178" y="1056"/>
                    </a:lnTo>
                    <a:lnTo>
                      <a:pt x="166" y="1048"/>
                    </a:lnTo>
                    <a:lnTo>
                      <a:pt x="154" y="1040"/>
                    </a:lnTo>
                    <a:lnTo>
                      <a:pt x="154" y="1040"/>
                    </a:lnTo>
                    <a:lnTo>
                      <a:pt x="148" y="1038"/>
                    </a:lnTo>
                    <a:lnTo>
                      <a:pt x="144" y="1036"/>
                    </a:lnTo>
                    <a:lnTo>
                      <a:pt x="140" y="1038"/>
                    </a:lnTo>
                    <a:lnTo>
                      <a:pt x="136" y="1040"/>
                    </a:lnTo>
                    <a:lnTo>
                      <a:pt x="130" y="1048"/>
                    </a:lnTo>
                    <a:lnTo>
                      <a:pt x="128" y="1058"/>
                    </a:lnTo>
                    <a:lnTo>
                      <a:pt x="128" y="1058"/>
                    </a:lnTo>
                    <a:lnTo>
                      <a:pt x="128" y="1064"/>
                    </a:lnTo>
                    <a:lnTo>
                      <a:pt x="126" y="1066"/>
                    </a:lnTo>
                    <a:lnTo>
                      <a:pt x="122" y="1068"/>
                    </a:lnTo>
                    <a:lnTo>
                      <a:pt x="118" y="1068"/>
                    </a:lnTo>
                    <a:lnTo>
                      <a:pt x="116" y="1070"/>
                    </a:lnTo>
                    <a:lnTo>
                      <a:pt x="116" y="1074"/>
                    </a:lnTo>
                    <a:lnTo>
                      <a:pt x="116" y="1074"/>
                    </a:lnTo>
                    <a:lnTo>
                      <a:pt x="114" y="1080"/>
                    </a:lnTo>
                    <a:lnTo>
                      <a:pt x="112" y="1080"/>
                    </a:lnTo>
                    <a:lnTo>
                      <a:pt x="106" y="1078"/>
                    </a:lnTo>
                    <a:lnTo>
                      <a:pt x="102" y="1078"/>
                    </a:lnTo>
                    <a:lnTo>
                      <a:pt x="98" y="1080"/>
                    </a:lnTo>
                    <a:lnTo>
                      <a:pt x="98" y="1080"/>
                    </a:lnTo>
                    <a:lnTo>
                      <a:pt x="96" y="1082"/>
                    </a:lnTo>
                    <a:lnTo>
                      <a:pt x="96" y="1084"/>
                    </a:lnTo>
                    <a:lnTo>
                      <a:pt x="100" y="1086"/>
                    </a:lnTo>
                    <a:lnTo>
                      <a:pt x="104" y="1090"/>
                    </a:lnTo>
                    <a:lnTo>
                      <a:pt x="118" y="1092"/>
                    </a:lnTo>
                    <a:lnTo>
                      <a:pt x="126" y="1092"/>
                    </a:lnTo>
                    <a:lnTo>
                      <a:pt x="134" y="1090"/>
                    </a:lnTo>
                    <a:lnTo>
                      <a:pt x="134" y="1090"/>
                    </a:lnTo>
                    <a:close/>
                    <a:moveTo>
                      <a:pt x="306" y="1550"/>
                    </a:moveTo>
                    <a:lnTo>
                      <a:pt x="306" y="1550"/>
                    </a:lnTo>
                    <a:lnTo>
                      <a:pt x="304" y="1546"/>
                    </a:lnTo>
                    <a:lnTo>
                      <a:pt x="302" y="1544"/>
                    </a:lnTo>
                    <a:lnTo>
                      <a:pt x="300" y="1544"/>
                    </a:lnTo>
                    <a:lnTo>
                      <a:pt x="300" y="1544"/>
                    </a:lnTo>
                    <a:lnTo>
                      <a:pt x="300" y="1546"/>
                    </a:lnTo>
                    <a:lnTo>
                      <a:pt x="302" y="1548"/>
                    </a:lnTo>
                    <a:lnTo>
                      <a:pt x="306" y="1550"/>
                    </a:lnTo>
                    <a:lnTo>
                      <a:pt x="306" y="1550"/>
                    </a:lnTo>
                    <a:close/>
                    <a:moveTo>
                      <a:pt x="294" y="1582"/>
                    </a:moveTo>
                    <a:lnTo>
                      <a:pt x="294" y="1582"/>
                    </a:lnTo>
                    <a:lnTo>
                      <a:pt x="294" y="1582"/>
                    </a:lnTo>
                    <a:lnTo>
                      <a:pt x="296" y="1580"/>
                    </a:lnTo>
                    <a:lnTo>
                      <a:pt x="294" y="1576"/>
                    </a:lnTo>
                    <a:lnTo>
                      <a:pt x="290" y="1572"/>
                    </a:lnTo>
                    <a:lnTo>
                      <a:pt x="288" y="1572"/>
                    </a:lnTo>
                    <a:lnTo>
                      <a:pt x="288" y="1572"/>
                    </a:lnTo>
                    <a:lnTo>
                      <a:pt x="286" y="1574"/>
                    </a:lnTo>
                    <a:lnTo>
                      <a:pt x="286" y="1576"/>
                    </a:lnTo>
                    <a:lnTo>
                      <a:pt x="290" y="1580"/>
                    </a:lnTo>
                    <a:lnTo>
                      <a:pt x="294" y="1582"/>
                    </a:lnTo>
                    <a:lnTo>
                      <a:pt x="294" y="1582"/>
                    </a:lnTo>
                    <a:close/>
                    <a:moveTo>
                      <a:pt x="134" y="1350"/>
                    </a:moveTo>
                    <a:lnTo>
                      <a:pt x="134" y="1350"/>
                    </a:lnTo>
                    <a:lnTo>
                      <a:pt x="134" y="1354"/>
                    </a:lnTo>
                    <a:lnTo>
                      <a:pt x="134" y="1354"/>
                    </a:lnTo>
                    <a:lnTo>
                      <a:pt x="134" y="1356"/>
                    </a:lnTo>
                    <a:lnTo>
                      <a:pt x="138" y="1360"/>
                    </a:lnTo>
                    <a:lnTo>
                      <a:pt x="138" y="1360"/>
                    </a:lnTo>
                    <a:lnTo>
                      <a:pt x="140" y="1362"/>
                    </a:lnTo>
                    <a:lnTo>
                      <a:pt x="140" y="1362"/>
                    </a:lnTo>
                    <a:lnTo>
                      <a:pt x="144" y="1364"/>
                    </a:lnTo>
                    <a:lnTo>
                      <a:pt x="150" y="1372"/>
                    </a:lnTo>
                    <a:lnTo>
                      <a:pt x="150" y="1372"/>
                    </a:lnTo>
                    <a:lnTo>
                      <a:pt x="154" y="1374"/>
                    </a:lnTo>
                    <a:lnTo>
                      <a:pt x="154" y="1374"/>
                    </a:lnTo>
                    <a:lnTo>
                      <a:pt x="154" y="1370"/>
                    </a:lnTo>
                    <a:lnTo>
                      <a:pt x="152" y="1364"/>
                    </a:lnTo>
                    <a:lnTo>
                      <a:pt x="152" y="1364"/>
                    </a:lnTo>
                    <a:lnTo>
                      <a:pt x="148" y="1360"/>
                    </a:lnTo>
                    <a:lnTo>
                      <a:pt x="146" y="1358"/>
                    </a:lnTo>
                    <a:lnTo>
                      <a:pt x="144" y="1358"/>
                    </a:lnTo>
                    <a:lnTo>
                      <a:pt x="142" y="1354"/>
                    </a:lnTo>
                    <a:lnTo>
                      <a:pt x="142" y="1354"/>
                    </a:lnTo>
                    <a:lnTo>
                      <a:pt x="140" y="1350"/>
                    </a:lnTo>
                    <a:lnTo>
                      <a:pt x="136" y="1348"/>
                    </a:lnTo>
                    <a:lnTo>
                      <a:pt x="134" y="1348"/>
                    </a:lnTo>
                    <a:lnTo>
                      <a:pt x="134" y="1350"/>
                    </a:lnTo>
                    <a:lnTo>
                      <a:pt x="134" y="1350"/>
                    </a:lnTo>
                    <a:close/>
                    <a:moveTo>
                      <a:pt x="138" y="1658"/>
                    </a:moveTo>
                    <a:lnTo>
                      <a:pt x="138" y="1658"/>
                    </a:lnTo>
                    <a:lnTo>
                      <a:pt x="140" y="1652"/>
                    </a:lnTo>
                    <a:lnTo>
                      <a:pt x="138" y="1650"/>
                    </a:lnTo>
                    <a:lnTo>
                      <a:pt x="136" y="1650"/>
                    </a:lnTo>
                    <a:lnTo>
                      <a:pt x="132" y="1652"/>
                    </a:lnTo>
                    <a:lnTo>
                      <a:pt x="132" y="1652"/>
                    </a:lnTo>
                    <a:lnTo>
                      <a:pt x="128" y="1652"/>
                    </a:lnTo>
                    <a:lnTo>
                      <a:pt x="124" y="1652"/>
                    </a:lnTo>
                    <a:lnTo>
                      <a:pt x="122" y="1654"/>
                    </a:lnTo>
                    <a:lnTo>
                      <a:pt x="122" y="1654"/>
                    </a:lnTo>
                    <a:lnTo>
                      <a:pt x="120" y="1656"/>
                    </a:lnTo>
                    <a:lnTo>
                      <a:pt x="122" y="1656"/>
                    </a:lnTo>
                    <a:lnTo>
                      <a:pt x="126" y="1660"/>
                    </a:lnTo>
                    <a:lnTo>
                      <a:pt x="134" y="1660"/>
                    </a:lnTo>
                    <a:lnTo>
                      <a:pt x="136" y="1660"/>
                    </a:lnTo>
                    <a:lnTo>
                      <a:pt x="138" y="1658"/>
                    </a:lnTo>
                    <a:lnTo>
                      <a:pt x="138" y="1658"/>
                    </a:lnTo>
                    <a:close/>
                    <a:moveTo>
                      <a:pt x="124" y="1360"/>
                    </a:moveTo>
                    <a:lnTo>
                      <a:pt x="124" y="1360"/>
                    </a:lnTo>
                    <a:lnTo>
                      <a:pt x="122" y="1360"/>
                    </a:lnTo>
                    <a:lnTo>
                      <a:pt x="124" y="1362"/>
                    </a:lnTo>
                    <a:lnTo>
                      <a:pt x="132" y="1368"/>
                    </a:lnTo>
                    <a:lnTo>
                      <a:pt x="132" y="1368"/>
                    </a:lnTo>
                    <a:lnTo>
                      <a:pt x="134" y="1370"/>
                    </a:lnTo>
                    <a:lnTo>
                      <a:pt x="138" y="1368"/>
                    </a:lnTo>
                    <a:lnTo>
                      <a:pt x="138" y="1366"/>
                    </a:lnTo>
                    <a:lnTo>
                      <a:pt x="136" y="1362"/>
                    </a:lnTo>
                    <a:lnTo>
                      <a:pt x="136" y="1362"/>
                    </a:lnTo>
                    <a:lnTo>
                      <a:pt x="132" y="1358"/>
                    </a:lnTo>
                    <a:lnTo>
                      <a:pt x="130" y="1358"/>
                    </a:lnTo>
                    <a:lnTo>
                      <a:pt x="124" y="1360"/>
                    </a:lnTo>
                    <a:lnTo>
                      <a:pt x="124" y="1360"/>
                    </a:lnTo>
                    <a:close/>
                    <a:moveTo>
                      <a:pt x="162" y="1352"/>
                    </a:moveTo>
                    <a:lnTo>
                      <a:pt x="162" y="1352"/>
                    </a:lnTo>
                    <a:lnTo>
                      <a:pt x="162" y="1348"/>
                    </a:lnTo>
                    <a:lnTo>
                      <a:pt x="160" y="1344"/>
                    </a:lnTo>
                    <a:lnTo>
                      <a:pt x="160" y="1344"/>
                    </a:lnTo>
                    <a:lnTo>
                      <a:pt x="160" y="1350"/>
                    </a:lnTo>
                    <a:lnTo>
                      <a:pt x="160" y="1352"/>
                    </a:lnTo>
                    <a:lnTo>
                      <a:pt x="162" y="1352"/>
                    </a:lnTo>
                    <a:lnTo>
                      <a:pt x="162" y="1352"/>
                    </a:lnTo>
                    <a:close/>
                    <a:moveTo>
                      <a:pt x="128" y="1670"/>
                    </a:moveTo>
                    <a:lnTo>
                      <a:pt x="128" y="1670"/>
                    </a:lnTo>
                    <a:lnTo>
                      <a:pt x="126" y="1670"/>
                    </a:lnTo>
                    <a:lnTo>
                      <a:pt x="124" y="1672"/>
                    </a:lnTo>
                    <a:lnTo>
                      <a:pt x="122" y="1678"/>
                    </a:lnTo>
                    <a:lnTo>
                      <a:pt x="124" y="1686"/>
                    </a:lnTo>
                    <a:lnTo>
                      <a:pt x="126" y="1688"/>
                    </a:lnTo>
                    <a:lnTo>
                      <a:pt x="128" y="1688"/>
                    </a:lnTo>
                    <a:lnTo>
                      <a:pt x="128" y="1688"/>
                    </a:lnTo>
                    <a:lnTo>
                      <a:pt x="130" y="1688"/>
                    </a:lnTo>
                    <a:lnTo>
                      <a:pt x="130" y="1684"/>
                    </a:lnTo>
                    <a:lnTo>
                      <a:pt x="128" y="1682"/>
                    </a:lnTo>
                    <a:lnTo>
                      <a:pt x="128" y="1680"/>
                    </a:lnTo>
                    <a:lnTo>
                      <a:pt x="128" y="1680"/>
                    </a:lnTo>
                    <a:lnTo>
                      <a:pt x="130" y="1678"/>
                    </a:lnTo>
                    <a:lnTo>
                      <a:pt x="132" y="1674"/>
                    </a:lnTo>
                    <a:lnTo>
                      <a:pt x="130" y="1672"/>
                    </a:lnTo>
                    <a:lnTo>
                      <a:pt x="128" y="1670"/>
                    </a:lnTo>
                    <a:lnTo>
                      <a:pt x="128" y="1670"/>
                    </a:lnTo>
                    <a:close/>
                    <a:moveTo>
                      <a:pt x="238" y="1920"/>
                    </a:moveTo>
                    <a:lnTo>
                      <a:pt x="238" y="1920"/>
                    </a:lnTo>
                    <a:lnTo>
                      <a:pt x="236" y="1924"/>
                    </a:lnTo>
                    <a:lnTo>
                      <a:pt x="238" y="1926"/>
                    </a:lnTo>
                    <a:lnTo>
                      <a:pt x="240" y="1930"/>
                    </a:lnTo>
                    <a:lnTo>
                      <a:pt x="246" y="1930"/>
                    </a:lnTo>
                    <a:lnTo>
                      <a:pt x="248" y="1930"/>
                    </a:lnTo>
                    <a:lnTo>
                      <a:pt x="252" y="1926"/>
                    </a:lnTo>
                    <a:lnTo>
                      <a:pt x="252" y="1926"/>
                    </a:lnTo>
                    <a:lnTo>
                      <a:pt x="252" y="1924"/>
                    </a:lnTo>
                    <a:lnTo>
                      <a:pt x="254" y="1920"/>
                    </a:lnTo>
                    <a:lnTo>
                      <a:pt x="252" y="1918"/>
                    </a:lnTo>
                    <a:lnTo>
                      <a:pt x="250" y="1916"/>
                    </a:lnTo>
                    <a:lnTo>
                      <a:pt x="248" y="1914"/>
                    </a:lnTo>
                    <a:lnTo>
                      <a:pt x="244" y="1916"/>
                    </a:lnTo>
                    <a:lnTo>
                      <a:pt x="240" y="1916"/>
                    </a:lnTo>
                    <a:lnTo>
                      <a:pt x="238" y="1920"/>
                    </a:lnTo>
                    <a:lnTo>
                      <a:pt x="238" y="1920"/>
                    </a:lnTo>
                    <a:close/>
                    <a:moveTo>
                      <a:pt x="232" y="1878"/>
                    </a:moveTo>
                    <a:lnTo>
                      <a:pt x="232" y="1878"/>
                    </a:lnTo>
                    <a:lnTo>
                      <a:pt x="236" y="1878"/>
                    </a:lnTo>
                    <a:lnTo>
                      <a:pt x="240" y="1876"/>
                    </a:lnTo>
                    <a:lnTo>
                      <a:pt x="246" y="1870"/>
                    </a:lnTo>
                    <a:lnTo>
                      <a:pt x="248" y="1862"/>
                    </a:lnTo>
                    <a:lnTo>
                      <a:pt x="246" y="1858"/>
                    </a:lnTo>
                    <a:lnTo>
                      <a:pt x="244" y="1856"/>
                    </a:lnTo>
                    <a:lnTo>
                      <a:pt x="244" y="1856"/>
                    </a:lnTo>
                    <a:lnTo>
                      <a:pt x="240" y="1858"/>
                    </a:lnTo>
                    <a:lnTo>
                      <a:pt x="234" y="1866"/>
                    </a:lnTo>
                    <a:lnTo>
                      <a:pt x="230" y="1874"/>
                    </a:lnTo>
                    <a:lnTo>
                      <a:pt x="230" y="1876"/>
                    </a:lnTo>
                    <a:lnTo>
                      <a:pt x="232" y="1878"/>
                    </a:lnTo>
                    <a:lnTo>
                      <a:pt x="232" y="1878"/>
                    </a:lnTo>
                    <a:close/>
                    <a:moveTo>
                      <a:pt x="290" y="1568"/>
                    </a:moveTo>
                    <a:lnTo>
                      <a:pt x="290" y="1568"/>
                    </a:lnTo>
                    <a:lnTo>
                      <a:pt x="294" y="1572"/>
                    </a:lnTo>
                    <a:lnTo>
                      <a:pt x="298" y="1572"/>
                    </a:lnTo>
                    <a:lnTo>
                      <a:pt x="302" y="1572"/>
                    </a:lnTo>
                    <a:lnTo>
                      <a:pt x="304" y="1572"/>
                    </a:lnTo>
                    <a:lnTo>
                      <a:pt x="304" y="1572"/>
                    </a:lnTo>
                    <a:lnTo>
                      <a:pt x="306" y="1574"/>
                    </a:lnTo>
                    <a:lnTo>
                      <a:pt x="310" y="1574"/>
                    </a:lnTo>
                    <a:lnTo>
                      <a:pt x="312" y="1572"/>
                    </a:lnTo>
                    <a:lnTo>
                      <a:pt x="312" y="1570"/>
                    </a:lnTo>
                    <a:lnTo>
                      <a:pt x="312" y="1570"/>
                    </a:lnTo>
                    <a:lnTo>
                      <a:pt x="310" y="1568"/>
                    </a:lnTo>
                    <a:lnTo>
                      <a:pt x="310" y="1570"/>
                    </a:lnTo>
                    <a:lnTo>
                      <a:pt x="308" y="1570"/>
                    </a:lnTo>
                    <a:lnTo>
                      <a:pt x="308" y="1568"/>
                    </a:lnTo>
                    <a:lnTo>
                      <a:pt x="308" y="1568"/>
                    </a:lnTo>
                    <a:lnTo>
                      <a:pt x="304" y="1566"/>
                    </a:lnTo>
                    <a:lnTo>
                      <a:pt x="302" y="1566"/>
                    </a:lnTo>
                    <a:lnTo>
                      <a:pt x="300" y="1566"/>
                    </a:lnTo>
                    <a:lnTo>
                      <a:pt x="300" y="1564"/>
                    </a:lnTo>
                    <a:lnTo>
                      <a:pt x="300" y="1564"/>
                    </a:lnTo>
                    <a:lnTo>
                      <a:pt x="302" y="1560"/>
                    </a:lnTo>
                    <a:lnTo>
                      <a:pt x="300" y="1560"/>
                    </a:lnTo>
                    <a:lnTo>
                      <a:pt x="296" y="1556"/>
                    </a:lnTo>
                    <a:lnTo>
                      <a:pt x="296" y="1556"/>
                    </a:lnTo>
                    <a:lnTo>
                      <a:pt x="292" y="1556"/>
                    </a:lnTo>
                    <a:lnTo>
                      <a:pt x="290" y="1560"/>
                    </a:lnTo>
                    <a:lnTo>
                      <a:pt x="288" y="1564"/>
                    </a:lnTo>
                    <a:lnTo>
                      <a:pt x="290" y="1568"/>
                    </a:lnTo>
                    <a:lnTo>
                      <a:pt x="290" y="1568"/>
                    </a:lnTo>
                    <a:close/>
                    <a:moveTo>
                      <a:pt x="208" y="1778"/>
                    </a:moveTo>
                    <a:lnTo>
                      <a:pt x="208" y="1778"/>
                    </a:lnTo>
                    <a:lnTo>
                      <a:pt x="206" y="1784"/>
                    </a:lnTo>
                    <a:lnTo>
                      <a:pt x="206" y="1788"/>
                    </a:lnTo>
                    <a:lnTo>
                      <a:pt x="210" y="1792"/>
                    </a:lnTo>
                    <a:lnTo>
                      <a:pt x="214" y="1792"/>
                    </a:lnTo>
                    <a:lnTo>
                      <a:pt x="214" y="1792"/>
                    </a:lnTo>
                    <a:lnTo>
                      <a:pt x="216" y="1792"/>
                    </a:lnTo>
                    <a:lnTo>
                      <a:pt x="218" y="1788"/>
                    </a:lnTo>
                    <a:lnTo>
                      <a:pt x="216" y="1782"/>
                    </a:lnTo>
                    <a:lnTo>
                      <a:pt x="212" y="1776"/>
                    </a:lnTo>
                    <a:lnTo>
                      <a:pt x="210" y="1776"/>
                    </a:lnTo>
                    <a:lnTo>
                      <a:pt x="208" y="1778"/>
                    </a:lnTo>
                    <a:lnTo>
                      <a:pt x="208" y="1778"/>
                    </a:lnTo>
                    <a:close/>
                    <a:moveTo>
                      <a:pt x="618" y="1434"/>
                    </a:moveTo>
                    <a:lnTo>
                      <a:pt x="618" y="1434"/>
                    </a:lnTo>
                    <a:lnTo>
                      <a:pt x="620" y="1434"/>
                    </a:lnTo>
                    <a:lnTo>
                      <a:pt x="622" y="1430"/>
                    </a:lnTo>
                    <a:lnTo>
                      <a:pt x="622" y="1428"/>
                    </a:lnTo>
                    <a:lnTo>
                      <a:pt x="620" y="1426"/>
                    </a:lnTo>
                    <a:lnTo>
                      <a:pt x="620" y="1426"/>
                    </a:lnTo>
                    <a:lnTo>
                      <a:pt x="616" y="1430"/>
                    </a:lnTo>
                    <a:lnTo>
                      <a:pt x="616" y="1432"/>
                    </a:lnTo>
                    <a:lnTo>
                      <a:pt x="618" y="1434"/>
                    </a:lnTo>
                    <a:lnTo>
                      <a:pt x="618" y="1434"/>
                    </a:lnTo>
                    <a:close/>
                    <a:moveTo>
                      <a:pt x="882" y="1770"/>
                    </a:moveTo>
                    <a:lnTo>
                      <a:pt x="882" y="1770"/>
                    </a:lnTo>
                    <a:lnTo>
                      <a:pt x="876" y="1774"/>
                    </a:lnTo>
                    <a:lnTo>
                      <a:pt x="870" y="1774"/>
                    </a:lnTo>
                    <a:lnTo>
                      <a:pt x="866" y="1772"/>
                    </a:lnTo>
                    <a:lnTo>
                      <a:pt x="860" y="1774"/>
                    </a:lnTo>
                    <a:lnTo>
                      <a:pt x="860" y="1774"/>
                    </a:lnTo>
                    <a:lnTo>
                      <a:pt x="860" y="1774"/>
                    </a:lnTo>
                    <a:lnTo>
                      <a:pt x="860" y="1776"/>
                    </a:lnTo>
                    <a:lnTo>
                      <a:pt x="864" y="1778"/>
                    </a:lnTo>
                    <a:lnTo>
                      <a:pt x="870" y="1782"/>
                    </a:lnTo>
                    <a:lnTo>
                      <a:pt x="870" y="1784"/>
                    </a:lnTo>
                    <a:lnTo>
                      <a:pt x="870" y="1786"/>
                    </a:lnTo>
                    <a:lnTo>
                      <a:pt x="870" y="1786"/>
                    </a:lnTo>
                    <a:lnTo>
                      <a:pt x="870" y="1788"/>
                    </a:lnTo>
                    <a:lnTo>
                      <a:pt x="872" y="1790"/>
                    </a:lnTo>
                    <a:lnTo>
                      <a:pt x="874" y="1792"/>
                    </a:lnTo>
                    <a:lnTo>
                      <a:pt x="872" y="1796"/>
                    </a:lnTo>
                    <a:lnTo>
                      <a:pt x="872" y="1796"/>
                    </a:lnTo>
                    <a:lnTo>
                      <a:pt x="870" y="1798"/>
                    </a:lnTo>
                    <a:lnTo>
                      <a:pt x="872" y="1800"/>
                    </a:lnTo>
                    <a:lnTo>
                      <a:pt x="874" y="1800"/>
                    </a:lnTo>
                    <a:lnTo>
                      <a:pt x="876" y="1804"/>
                    </a:lnTo>
                    <a:lnTo>
                      <a:pt x="876" y="1804"/>
                    </a:lnTo>
                    <a:lnTo>
                      <a:pt x="876" y="1806"/>
                    </a:lnTo>
                    <a:lnTo>
                      <a:pt x="878" y="1806"/>
                    </a:lnTo>
                    <a:lnTo>
                      <a:pt x="882" y="1806"/>
                    </a:lnTo>
                    <a:lnTo>
                      <a:pt x="886" y="1806"/>
                    </a:lnTo>
                    <a:lnTo>
                      <a:pt x="886" y="1806"/>
                    </a:lnTo>
                    <a:lnTo>
                      <a:pt x="888" y="1808"/>
                    </a:lnTo>
                    <a:lnTo>
                      <a:pt x="892" y="1806"/>
                    </a:lnTo>
                    <a:lnTo>
                      <a:pt x="894" y="1808"/>
                    </a:lnTo>
                    <a:lnTo>
                      <a:pt x="896" y="1810"/>
                    </a:lnTo>
                    <a:lnTo>
                      <a:pt x="896" y="1810"/>
                    </a:lnTo>
                    <a:lnTo>
                      <a:pt x="896" y="1814"/>
                    </a:lnTo>
                    <a:lnTo>
                      <a:pt x="894" y="1814"/>
                    </a:lnTo>
                    <a:lnTo>
                      <a:pt x="892" y="1814"/>
                    </a:lnTo>
                    <a:lnTo>
                      <a:pt x="890" y="1816"/>
                    </a:lnTo>
                    <a:lnTo>
                      <a:pt x="890" y="1816"/>
                    </a:lnTo>
                    <a:lnTo>
                      <a:pt x="892" y="1816"/>
                    </a:lnTo>
                    <a:lnTo>
                      <a:pt x="894" y="1818"/>
                    </a:lnTo>
                    <a:lnTo>
                      <a:pt x="898" y="1820"/>
                    </a:lnTo>
                    <a:lnTo>
                      <a:pt x="898" y="1822"/>
                    </a:lnTo>
                    <a:lnTo>
                      <a:pt x="898" y="1822"/>
                    </a:lnTo>
                    <a:lnTo>
                      <a:pt x="896" y="1824"/>
                    </a:lnTo>
                    <a:lnTo>
                      <a:pt x="896" y="1826"/>
                    </a:lnTo>
                    <a:lnTo>
                      <a:pt x="900" y="1832"/>
                    </a:lnTo>
                    <a:lnTo>
                      <a:pt x="900" y="1832"/>
                    </a:lnTo>
                    <a:lnTo>
                      <a:pt x="902" y="1836"/>
                    </a:lnTo>
                    <a:lnTo>
                      <a:pt x="904" y="1840"/>
                    </a:lnTo>
                    <a:lnTo>
                      <a:pt x="904" y="1844"/>
                    </a:lnTo>
                    <a:lnTo>
                      <a:pt x="906" y="1846"/>
                    </a:lnTo>
                    <a:lnTo>
                      <a:pt x="906" y="1846"/>
                    </a:lnTo>
                    <a:lnTo>
                      <a:pt x="906" y="1848"/>
                    </a:lnTo>
                    <a:lnTo>
                      <a:pt x="908" y="1848"/>
                    </a:lnTo>
                    <a:lnTo>
                      <a:pt x="908" y="1844"/>
                    </a:lnTo>
                    <a:lnTo>
                      <a:pt x="908" y="1838"/>
                    </a:lnTo>
                    <a:lnTo>
                      <a:pt x="910" y="1834"/>
                    </a:lnTo>
                    <a:lnTo>
                      <a:pt x="910" y="1834"/>
                    </a:lnTo>
                    <a:lnTo>
                      <a:pt x="912" y="1832"/>
                    </a:lnTo>
                    <a:lnTo>
                      <a:pt x="912" y="1828"/>
                    </a:lnTo>
                    <a:lnTo>
                      <a:pt x="908" y="1824"/>
                    </a:lnTo>
                    <a:lnTo>
                      <a:pt x="908" y="1824"/>
                    </a:lnTo>
                    <a:lnTo>
                      <a:pt x="902" y="1822"/>
                    </a:lnTo>
                    <a:lnTo>
                      <a:pt x="904" y="1822"/>
                    </a:lnTo>
                    <a:lnTo>
                      <a:pt x="906" y="1820"/>
                    </a:lnTo>
                    <a:lnTo>
                      <a:pt x="906" y="1820"/>
                    </a:lnTo>
                    <a:lnTo>
                      <a:pt x="910" y="1820"/>
                    </a:lnTo>
                    <a:lnTo>
                      <a:pt x="912" y="1818"/>
                    </a:lnTo>
                    <a:lnTo>
                      <a:pt x="912" y="1816"/>
                    </a:lnTo>
                    <a:lnTo>
                      <a:pt x="912" y="1812"/>
                    </a:lnTo>
                    <a:lnTo>
                      <a:pt x="912" y="1812"/>
                    </a:lnTo>
                    <a:lnTo>
                      <a:pt x="912" y="1810"/>
                    </a:lnTo>
                    <a:lnTo>
                      <a:pt x="912" y="1808"/>
                    </a:lnTo>
                    <a:lnTo>
                      <a:pt x="918" y="1804"/>
                    </a:lnTo>
                    <a:lnTo>
                      <a:pt x="918" y="1804"/>
                    </a:lnTo>
                    <a:lnTo>
                      <a:pt x="924" y="1802"/>
                    </a:lnTo>
                    <a:lnTo>
                      <a:pt x="926" y="1800"/>
                    </a:lnTo>
                    <a:lnTo>
                      <a:pt x="924" y="1798"/>
                    </a:lnTo>
                    <a:lnTo>
                      <a:pt x="918" y="1794"/>
                    </a:lnTo>
                    <a:lnTo>
                      <a:pt x="918" y="1794"/>
                    </a:lnTo>
                    <a:lnTo>
                      <a:pt x="914" y="1790"/>
                    </a:lnTo>
                    <a:lnTo>
                      <a:pt x="914" y="1788"/>
                    </a:lnTo>
                    <a:lnTo>
                      <a:pt x="916" y="1784"/>
                    </a:lnTo>
                    <a:lnTo>
                      <a:pt x="922" y="1782"/>
                    </a:lnTo>
                    <a:lnTo>
                      <a:pt x="922" y="1782"/>
                    </a:lnTo>
                    <a:lnTo>
                      <a:pt x="926" y="1782"/>
                    </a:lnTo>
                    <a:lnTo>
                      <a:pt x="928" y="1778"/>
                    </a:lnTo>
                    <a:lnTo>
                      <a:pt x="928" y="1772"/>
                    </a:lnTo>
                    <a:lnTo>
                      <a:pt x="928" y="1764"/>
                    </a:lnTo>
                    <a:lnTo>
                      <a:pt x="930" y="1758"/>
                    </a:lnTo>
                    <a:lnTo>
                      <a:pt x="930" y="1758"/>
                    </a:lnTo>
                    <a:lnTo>
                      <a:pt x="932" y="1754"/>
                    </a:lnTo>
                    <a:lnTo>
                      <a:pt x="930" y="1752"/>
                    </a:lnTo>
                    <a:lnTo>
                      <a:pt x="920" y="1750"/>
                    </a:lnTo>
                    <a:lnTo>
                      <a:pt x="920" y="1750"/>
                    </a:lnTo>
                    <a:lnTo>
                      <a:pt x="914" y="1750"/>
                    </a:lnTo>
                    <a:lnTo>
                      <a:pt x="908" y="1752"/>
                    </a:lnTo>
                    <a:lnTo>
                      <a:pt x="904" y="1756"/>
                    </a:lnTo>
                    <a:lnTo>
                      <a:pt x="902" y="1760"/>
                    </a:lnTo>
                    <a:lnTo>
                      <a:pt x="902" y="1760"/>
                    </a:lnTo>
                    <a:lnTo>
                      <a:pt x="904" y="1762"/>
                    </a:lnTo>
                    <a:lnTo>
                      <a:pt x="904" y="1764"/>
                    </a:lnTo>
                    <a:lnTo>
                      <a:pt x="900" y="1772"/>
                    </a:lnTo>
                    <a:lnTo>
                      <a:pt x="900" y="1772"/>
                    </a:lnTo>
                    <a:lnTo>
                      <a:pt x="898" y="1776"/>
                    </a:lnTo>
                    <a:lnTo>
                      <a:pt x="898" y="1776"/>
                    </a:lnTo>
                    <a:lnTo>
                      <a:pt x="896" y="1774"/>
                    </a:lnTo>
                    <a:lnTo>
                      <a:pt x="896" y="1770"/>
                    </a:lnTo>
                    <a:lnTo>
                      <a:pt x="896" y="1770"/>
                    </a:lnTo>
                    <a:lnTo>
                      <a:pt x="898" y="1762"/>
                    </a:lnTo>
                    <a:lnTo>
                      <a:pt x="896" y="1760"/>
                    </a:lnTo>
                    <a:lnTo>
                      <a:pt x="894" y="1760"/>
                    </a:lnTo>
                    <a:lnTo>
                      <a:pt x="894" y="1760"/>
                    </a:lnTo>
                    <a:lnTo>
                      <a:pt x="890" y="1760"/>
                    </a:lnTo>
                    <a:lnTo>
                      <a:pt x="884" y="1758"/>
                    </a:lnTo>
                    <a:lnTo>
                      <a:pt x="880" y="1758"/>
                    </a:lnTo>
                    <a:lnTo>
                      <a:pt x="876" y="1758"/>
                    </a:lnTo>
                    <a:lnTo>
                      <a:pt x="876" y="1758"/>
                    </a:lnTo>
                    <a:lnTo>
                      <a:pt x="876" y="1758"/>
                    </a:lnTo>
                    <a:lnTo>
                      <a:pt x="878" y="1760"/>
                    </a:lnTo>
                    <a:lnTo>
                      <a:pt x="882" y="1762"/>
                    </a:lnTo>
                    <a:lnTo>
                      <a:pt x="886" y="1764"/>
                    </a:lnTo>
                    <a:lnTo>
                      <a:pt x="884" y="1768"/>
                    </a:lnTo>
                    <a:lnTo>
                      <a:pt x="882" y="1770"/>
                    </a:lnTo>
                    <a:lnTo>
                      <a:pt x="882" y="1770"/>
                    </a:lnTo>
                    <a:close/>
                    <a:moveTo>
                      <a:pt x="850" y="1762"/>
                    </a:moveTo>
                    <a:lnTo>
                      <a:pt x="850" y="1762"/>
                    </a:lnTo>
                    <a:lnTo>
                      <a:pt x="848" y="1760"/>
                    </a:lnTo>
                    <a:lnTo>
                      <a:pt x="848" y="1760"/>
                    </a:lnTo>
                    <a:lnTo>
                      <a:pt x="846" y="1764"/>
                    </a:lnTo>
                    <a:lnTo>
                      <a:pt x="848" y="1768"/>
                    </a:lnTo>
                    <a:lnTo>
                      <a:pt x="848" y="1772"/>
                    </a:lnTo>
                    <a:lnTo>
                      <a:pt x="848" y="1772"/>
                    </a:lnTo>
                    <a:lnTo>
                      <a:pt x="850" y="1772"/>
                    </a:lnTo>
                    <a:lnTo>
                      <a:pt x="850" y="1770"/>
                    </a:lnTo>
                    <a:lnTo>
                      <a:pt x="852" y="1766"/>
                    </a:lnTo>
                    <a:lnTo>
                      <a:pt x="850" y="1762"/>
                    </a:lnTo>
                    <a:lnTo>
                      <a:pt x="850" y="1762"/>
                    </a:lnTo>
                    <a:close/>
                    <a:moveTo>
                      <a:pt x="834" y="1814"/>
                    </a:moveTo>
                    <a:lnTo>
                      <a:pt x="834" y="1814"/>
                    </a:lnTo>
                    <a:lnTo>
                      <a:pt x="846" y="1816"/>
                    </a:lnTo>
                    <a:lnTo>
                      <a:pt x="852" y="1814"/>
                    </a:lnTo>
                    <a:lnTo>
                      <a:pt x="856" y="1812"/>
                    </a:lnTo>
                    <a:lnTo>
                      <a:pt x="856" y="1812"/>
                    </a:lnTo>
                    <a:lnTo>
                      <a:pt x="858" y="1808"/>
                    </a:lnTo>
                    <a:lnTo>
                      <a:pt x="858" y="1806"/>
                    </a:lnTo>
                    <a:lnTo>
                      <a:pt x="858" y="1800"/>
                    </a:lnTo>
                    <a:lnTo>
                      <a:pt x="856" y="1794"/>
                    </a:lnTo>
                    <a:lnTo>
                      <a:pt x="856" y="1790"/>
                    </a:lnTo>
                    <a:lnTo>
                      <a:pt x="856" y="1790"/>
                    </a:lnTo>
                    <a:lnTo>
                      <a:pt x="856" y="1788"/>
                    </a:lnTo>
                    <a:lnTo>
                      <a:pt x="852" y="1784"/>
                    </a:lnTo>
                    <a:lnTo>
                      <a:pt x="850" y="1782"/>
                    </a:lnTo>
                    <a:lnTo>
                      <a:pt x="850" y="1784"/>
                    </a:lnTo>
                    <a:lnTo>
                      <a:pt x="850" y="1784"/>
                    </a:lnTo>
                    <a:lnTo>
                      <a:pt x="848" y="1786"/>
                    </a:lnTo>
                    <a:lnTo>
                      <a:pt x="848" y="1786"/>
                    </a:lnTo>
                    <a:lnTo>
                      <a:pt x="840" y="1782"/>
                    </a:lnTo>
                    <a:lnTo>
                      <a:pt x="840" y="1782"/>
                    </a:lnTo>
                    <a:lnTo>
                      <a:pt x="836" y="1782"/>
                    </a:lnTo>
                    <a:lnTo>
                      <a:pt x="830" y="1784"/>
                    </a:lnTo>
                    <a:lnTo>
                      <a:pt x="824" y="1786"/>
                    </a:lnTo>
                    <a:lnTo>
                      <a:pt x="818" y="1786"/>
                    </a:lnTo>
                    <a:lnTo>
                      <a:pt x="818" y="1786"/>
                    </a:lnTo>
                    <a:lnTo>
                      <a:pt x="816" y="1786"/>
                    </a:lnTo>
                    <a:lnTo>
                      <a:pt x="814" y="1788"/>
                    </a:lnTo>
                    <a:lnTo>
                      <a:pt x="814" y="1790"/>
                    </a:lnTo>
                    <a:lnTo>
                      <a:pt x="816" y="1792"/>
                    </a:lnTo>
                    <a:lnTo>
                      <a:pt x="816" y="1792"/>
                    </a:lnTo>
                    <a:lnTo>
                      <a:pt x="820" y="1798"/>
                    </a:lnTo>
                    <a:lnTo>
                      <a:pt x="824" y="1806"/>
                    </a:lnTo>
                    <a:lnTo>
                      <a:pt x="824" y="1806"/>
                    </a:lnTo>
                    <a:lnTo>
                      <a:pt x="824" y="1810"/>
                    </a:lnTo>
                    <a:lnTo>
                      <a:pt x="826" y="1808"/>
                    </a:lnTo>
                    <a:lnTo>
                      <a:pt x="828" y="1808"/>
                    </a:lnTo>
                    <a:lnTo>
                      <a:pt x="830" y="1808"/>
                    </a:lnTo>
                    <a:lnTo>
                      <a:pt x="830" y="1808"/>
                    </a:lnTo>
                    <a:lnTo>
                      <a:pt x="830" y="1810"/>
                    </a:lnTo>
                    <a:lnTo>
                      <a:pt x="830" y="1812"/>
                    </a:lnTo>
                    <a:lnTo>
                      <a:pt x="830" y="1814"/>
                    </a:lnTo>
                    <a:lnTo>
                      <a:pt x="834" y="1814"/>
                    </a:lnTo>
                    <a:lnTo>
                      <a:pt x="834" y="1814"/>
                    </a:lnTo>
                    <a:close/>
                    <a:moveTo>
                      <a:pt x="898" y="1832"/>
                    </a:moveTo>
                    <a:lnTo>
                      <a:pt x="898" y="1832"/>
                    </a:lnTo>
                    <a:lnTo>
                      <a:pt x="894" y="1826"/>
                    </a:lnTo>
                    <a:lnTo>
                      <a:pt x="892" y="1826"/>
                    </a:lnTo>
                    <a:lnTo>
                      <a:pt x="890" y="1828"/>
                    </a:lnTo>
                    <a:lnTo>
                      <a:pt x="890" y="1828"/>
                    </a:lnTo>
                    <a:lnTo>
                      <a:pt x="890" y="1830"/>
                    </a:lnTo>
                    <a:lnTo>
                      <a:pt x="888" y="1830"/>
                    </a:lnTo>
                    <a:lnTo>
                      <a:pt x="878" y="1824"/>
                    </a:lnTo>
                    <a:lnTo>
                      <a:pt x="878" y="1824"/>
                    </a:lnTo>
                    <a:lnTo>
                      <a:pt x="872" y="1822"/>
                    </a:lnTo>
                    <a:lnTo>
                      <a:pt x="868" y="1822"/>
                    </a:lnTo>
                    <a:lnTo>
                      <a:pt x="866" y="1826"/>
                    </a:lnTo>
                    <a:lnTo>
                      <a:pt x="866" y="1830"/>
                    </a:lnTo>
                    <a:lnTo>
                      <a:pt x="866" y="1830"/>
                    </a:lnTo>
                    <a:lnTo>
                      <a:pt x="870" y="1834"/>
                    </a:lnTo>
                    <a:lnTo>
                      <a:pt x="876" y="1838"/>
                    </a:lnTo>
                    <a:lnTo>
                      <a:pt x="886" y="1840"/>
                    </a:lnTo>
                    <a:lnTo>
                      <a:pt x="894" y="1842"/>
                    </a:lnTo>
                    <a:lnTo>
                      <a:pt x="894" y="1842"/>
                    </a:lnTo>
                    <a:lnTo>
                      <a:pt x="898" y="1842"/>
                    </a:lnTo>
                    <a:lnTo>
                      <a:pt x="900" y="1840"/>
                    </a:lnTo>
                    <a:lnTo>
                      <a:pt x="898" y="1832"/>
                    </a:lnTo>
                    <a:lnTo>
                      <a:pt x="898" y="1832"/>
                    </a:lnTo>
                    <a:close/>
                    <a:moveTo>
                      <a:pt x="914" y="1822"/>
                    </a:moveTo>
                    <a:lnTo>
                      <a:pt x="914" y="1822"/>
                    </a:lnTo>
                    <a:lnTo>
                      <a:pt x="912" y="1824"/>
                    </a:lnTo>
                    <a:lnTo>
                      <a:pt x="914" y="1826"/>
                    </a:lnTo>
                    <a:lnTo>
                      <a:pt x="918" y="1824"/>
                    </a:lnTo>
                    <a:lnTo>
                      <a:pt x="924" y="1820"/>
                    </a:lnTo>
                    <a:lnTo>
                      <a:pt x="926" y="1820"/>
                    </a:lnTo>
                    <a:lnTo>
                      <a:pt x="926" y="1818"/>
                    </a:lnTo>
                    <a:lnTo>
                      <a:pt x="926" y="1818"/>
                    </a:lnTo>
                    <a:lnTo>
                      <a:pt x="922" y="1816"/>
                    </a:lnTo>
                    <a:lnTo>
                      <a:pt x="918" y="1816"/>
                    </a:lnTo>
                    <a:lnTo>
                      <a:pt x="914" y="1822"/>
                    </a:lnTo>
                    <a:lnTo>
                      <a:pt x="914" y="1822"/>
                    </a:lnTo>
                    <a:close/>
                    <a:moveTo>
                      <a:pt x="868" y="1848"/>
                    </a:moveTo>
                    <a:lnTo>
                      <a:pt x="868" y="1848"/>
                    </a:lnTo>
                    <a:lnTo>
                      <a:pt x="866" y="1850"/>
                    </a:lnTo>
                    <a:lnTo>
                      <a:pt x="868" y="1852"/>
                    </a:lnTo>
                    <a:lnTo>
                      <a:pt x="872" y="1854"/>
                    </a:lnTo>
                    <a:lnTo>
                      <a:pt x="876" y="1854"/>
                    </a:lnTo>
                    <a:lnTo>
                      <a:pt x="880" y="1854"/>
                    </a:lnTo>
                    <a:lnTo>
                      <a:pt x="880" y="1854"/>
                    </a:lnTo>
                    <a:lnTo>
                      <a:pt x="878" y="1852"/>
                    </a:lnTo>
                    <a:lnTo>
                      <a:pt x="876" y="1848"/>
                    </a:lnTo>
                    <a:lnTo>
                      <a:pt x="872" y="1848"/>
                    </a:lnTo>
                    <a:lnTo>
                      <a:pt x="868" y="1848"/>
                    </a:lnTo>
                    <a:lnTo>
                      <a:pt x="868" y="1848"/>
                    </a:lnTo>
                    <a:close/>
                    <a:moveTo>
                      <a:pt x="1030" y="1820"/>
                    </a:moveTo>
                    <a:lnTo>
                      <a:pt x="1030" y="1820"/>
                    </a:lnTo>
                    <a:lnTo>
                      <a:pt x="1032" y="1818"/>
                    </a:lnTo>
                    <a:lnTo>
                      <a:pt x="1034" y="1814"/>
                    </a:lnTo>
                    <a:lnTo>
                      <a:pt x="1032" y="1810"/>
                    </a:lnTo>
                    <a:lnTo>
                      <a:pt x="1030" y="1808"/>
                    </a:lnTo>
                    <a:lnTo>
                      <a:pt x="1022" y="1802"/>
                    </a:lnTo>
                    <a:lnTo>
                      <a:pt x="1018" y="1800"/>
                    </a:lnTo>
                    <a:lnTo>
                      <a:pt x="1016" y="1802"/>
                    </a:lnTo>
                    <a:lnTo>
                      <a:pt x="1016" y="1802"/>
                    </a:lnTo>
                    <a:lnTo>
                      <a:pt x="1014" y="1806"/>
                    </a:lnTo>
                    <a:lnTo>
                      <a:pt x="1016" y="1812"/>
                    </a:lnTo>
                    <a:lnTo>
                      <a:pt x="1022" y="1818"/>
                    </a:lnTo>
                    <a:lnTo>
                      <a:pt x="1026" y="1820"/>
                    </a:lnTo>
                    <a:lnTo>
                      <a:pt x="1030" y="1820"/>
                    </a:lnTo>
                    <a:lnTo>
                      <a:pt x="1030" y="1820"/>
                    </a:lnTo>
                    <a:close/>
                    <a:moveTo>
                      <a:pt x="952" y="1846"/>
                    </a:moveTo>
                    <a:lnTo>
                      <a:pt x="952" y="1846"/>
                    </a:lnTo>
                    <a:lnTo>
                      <a:pt x="952" y="1848"/>
                    </a:lnTo>
                    <a:lnTo>
                      <a:pt x="954" y="1850"/>
                    </a:lnTo>
                    <a:lnTo>
                      <a:pt x="954" y="1854"/>
                    </a:lnTo>
                    <a:lnTo>
                      <a:pt x="954" y="1856"/>
                    </a:lnTo>
                    <a:lnTo>
                      <a:pt x="954" y="1856"/>
                    </a:lnTo>
                    <a:lnTo>
                      <a:pt x="952" y="1858"/>
                    </a:lnTo>
                    <a:lnTo>
                      <a:pt x="952" y="1860"/>
                    </a:lnTo>
                    <a:lnTo>
                      <a:pt x="960" y="1866"/>
                    </a:lnTo>
                    <a:lnTo>
                      <a:pt x="960" y="1866"/>
                    </a:lnTo>
                    <a:lnTo>
                      <a:pt x="962" y="1866"/>
                    </a:lnTo>
                    <a:lnTo>
                      <a:pt x="964" y="1866"/>
                    </a:lnTo>
                    <a:lnTo>
                      <a:pt x="964" y="1866"/>
                    </a:lnTo>
                    <a:lnTo>
                      <a:pt x="964" y="1864"/>
                    </a:lnTo>
                    <a:lnTo>
                      <a:pt x="964" y="1864"/>
                    </a:lnTo>
                    <a:lnTo>
                      <a:pt x="964" y="1862"/>
                    </a:lnTo>
                    <a:lnTo>
                      <a:pt x="966" y="1860"/>
                    </a:lnTo>
                    <a:lnTo>
                      <a:pt x="968" y="1858"/>
                    </a:lnTo>
                    <a:lnTo>
                      <a:pt x="972" y="1862"/>
                    </a:lnTo>
                    <a:lnTo>
                      <a:pt x="972" y="1862"/>
                    </a:lnTo>
                    <a:lnTo>
                      <a:pt x="976" y="1864"/>
                    </a:lnTo>
                    <a:lnTo>
                      <a:pt x="976" y="1862"/>
                    </a:lnTo>
                    <a:lnTo>
                      <a:pt x="976" y="1860"/>
                    </a:lnTo>
                    <a:lnTo>
                      <a:pt x="972" y="1858"/>
                    </a:lnTo>
                    <a:lnTo>
                      <a:pt x="972" y="1858"/>
                    </a:lnTo>
                    <a:lnTo>
                      <a:pt x="972" y="1856"/>
                    </a:lnTo>
                    <a:lnTo>
                      <a:pt x="972" y="1854"/>
                    </a:lnTo>
                    <a:lnTo>
                      <a:pt x="974" y="1850"/>
                    </a:lnTo>
                    <a:lnTo>
                      <a:pt x="974" y="1846"/>
                    </a:lnTo>
                    <a:lnTo>
                      <a:pt x="972" y="1846"/>
                    </a:lnTo>
                    <a:lnTo>
                      <a:pt x="970" y="1844"/>
                    </a:lnTo>
                    <a:lnTo>
                      <a:pt x="970" y="1844"/>
                    </a:lnTo>
                    <a:lnTo>
                      <a:pt x="966" y="1842"/>
                    </a:lnTo>
                    <a:lnTo>
                      <a:pt x="964" y="1840"/>
                    </a:lnTo>
                    <a:lnTo>
                      <a:pt x="960" y="1838"/>
                    </a:lnTo>
                    <a:lnTo>
                      <a:pt x="956" y="1840"/>
                    </a:lnTo>
                    <a:lnTo>
                      <a:pt x="956" y="1840"/>
                    </a:lnTo>
                    <a:lnTo>
                      <a:pt x="954" y="1842"/>
                    </a:lnTo>
                    <a:lnTo>
                      <a:pt x="954" y="1842"/>
                    </a:lnTo>
                    <a:lnTo>
                      <a:pt x="958" y="1844"/>
                    </a:lnTo>
                    <a:lnTo>
                      <a:pt x="964" y="1846"/>
                    </a:lnTo>
                    <a:lnTo>
                      <a:pt x="966" y="1848"/>
                    </a:lnTo>
                    <a:lnTo>
                      <a:pt x="966" y="1848"/>
                    </a:lnTo>
                    <a:lnTo>
                      <a:pt x="964" y="1850"/>
                    </a:lnTo>
                    <a:lnTo>
                      <a:pt x="960" y="1850"/>
                    </a:lnTo>
                    <a:lnTo>
                      <a:pt x="952" y="1846"/>
                    </a:lnTo>
                    <a:lnTo>
                      <a:pt x="952" y="1846"/>
                    </a:lnTo>
                    <a:close/>
                    <a:moveTo>
                      <a:pt x="862" y="1678"/>
                    </a:moveTo>
                    <a:lnTo>
                      <a:pt x="862" y="1678"/>
                    </a:lnTo>
                    <a:lnTo>
                      <a:pt x="862" y="1678"/>
                    </a:lnTo>
                    <a:lnTo>
                      <a:pt x="864" y="1678"/>
                    </a:lnTo>
                    <a:lnTo>
                      <a:pt x="868" y="1678"/>
                    </a:lnTo>
                    <a:lnTo>
                      <a:pt x="872" y="1674"/>
                    </a:lnTo>
                    <a:lnTo>
                      <a:pt x="872" y="1674"/>
                    </a:lnTo>
                    <a:lnTo>
                      <a:pt x="872" y="1674"/>
                    </a:lnTo>
                    <a:lnTo>
                      <a:pt x="872" y="1672"/>
                    </a:lnTo>
                    <a:lnTo>
                      <a:pt x="868" y="1672"/>
                    </a:lnTo>
                    <a:lnTo>
                      <a:pt x="864" y="1674"/>
                    </a:lnTo>
                    <a:lnTo>
                      <a:pt x="862" y="1678"/>
                    </a:lnTo>
                    <a:lnTo>
                      <a:pt x="862" y="1678"/>
                    </a:lnTo>
                    <a:close/>
                    <a:moveTo>
                      <a:pt x="860" y="1816"/>
                    </a:moveTo>
                    <a:lnTo>
                      <a:pt x="860" y="1816"/>
                    </a:lnTo>
                    <a:lnTo>
                      <a:pt x="860" y="1814"/>
                    </a:lnTo>
                    <a:lnTo>
                      <a:pt x="860" y="1812"/>
                    </a:lnTo>
                    <a:lnTo>
                      <a:pt x="858" y="1814"/>
                    </a:lnTo>
                    <a:lnTo>
                      <a:pt x="856" y="1818"/>
                    </a:lnTo>
                    <a:lnTo>
                      <a:pt x="856" y="1818"/>
                    </a:lnTo>
                    <a:lnTo>
                      <a:pt x="850" y="1826"/>
                    </a:lnTo>
                    <a:lnTo>
                      <a:pt x="848" y="1830"/>
                    </a:lnTo>
                    <a:lnTo>
                      <a:pt x="848" y="1834"/>
                    </a:lnTo>
                    <a:lnTo>
                      <a:pt x="848" y="1834"/>
                    </a:lnTo>
                    <a:lnTo>
                      <a:pt x="850" y="1836"/>
                    </a:lnTo>
                    <a:lnTo>
                      <a:pt x="852" y="1836"/>
                    </a:lnTo>
                    <a:lnTo>
                      <a:pt x="854" y="1830"/>
                    </a:lnTo>
                    <a:lnTo>
                      <a:pt x="860" y="1816"/>
                    </a:lnTo>
                    <a:lnTo>
                      <a:pt x="860" y="1816"/>
                    </a:lnTo>
                    <a:close/>
                    <a:moveTo>
                      <a:pt x="1100" y="2508"/>
                    </a:moveTo>
                    <a:lnTo>
                      <a:pt x="1100" y="2508"/>
                    </a:lnTo>
                    <a:lnTo>
                      <a:pt x="1102" y="2508"/>
                    </a:lnTo>
                    <a:lnTo>
                      <a:pt x="1100" y="2506"/>
                    </a:lnTo>
                    <a:lnTo>
                      <a:pt x="1094" y="2504"/>
                    </a:lnTo>
                    <a:lnTo>
                      <a:pt x="1086" y="2504"/>
                    </a:lnTo>
                    <a:lnTo>
                      <a:pt x="1084" y="2504"/>
                    </a:lnTo>
                    <a:lnTo>
                      <a:pt x="1084" y="2506"/>
                    </a:lnTo>
                    <a:lnTo>
                      <a:pt x="1084" y="2506"/>
                    </a:lnTo>
                    <a:lnTo>
                      <a:pt x="1086" y="2508"/>
                    </a:lnTo>
                    <a:lnTo>
                      <a:pt x="1092" y="2510"/>
                    </a:lnTo>
                    <a:lnTo>
                      <a:pt x="1096" y="2510"/>
                    </a:lnTo>
                    <a:lnTo>
                      <a:pt x="1100" y="2508"/>
                    </a:lnTo>
                    <a:lnTo>
                      <a:pt x="1100" y="2508"/>
                    </a:lnTo>
                    <a:close/>
                    <a:moveTo>
                      <a:pt x="1092" y="2518"/>
                    </a:moveTo>
                    <a:lnTo>
                      <a:pt x="1092" y="2518"/>
                    </a:lnTo>
                    <a:lnTo>
                      <a:pt x="1108" y="2520"/>
                    </a:lnTo>
                    <a:lnTo>
                      <a:pt x="1110" y="2518"/>
                    </a:lnTo>
                    <a:lnTo>
                      <a:pt x="1108" y="2516"/>
                    </a:lnTo>
                    <a:lnTo>
                      <a:pt x="1108" y="2516"/>
                    </a:lnTo>
                    <a:lnTo>
                      <a:pt x="1100" y="2514"/>
                    </a:lnTo>
                    <a:lnTo>
                      <a:pt x="1086" y="2514"/>
                    </a:lnTo>
                    <a:lnTo>
                      <a:pt x="1086" y="2514"/>
                    </a:lnTo>
                    <a:lnTo>
                      <a:pt x="1084" y="2514"/>
                    </a:lnTo>
                    <a:lnTo>
                      <a:pt x="1082" y="2516"/>
                    </a:lnTo>
                    <a:lnTo>
                      <a:pt x="1092" y="2518"/>
                    </a:lnTo>
                    <a:lnTo>
                      <a:pt x="1092" y="2518"/>
                    </a:lnTo>
                    <a:close/>
                    <a:moveTo>
                      <a:pt x="1108" y="1672"/>
                    </a:moveTo>
                    <a:lnTo>
                      <a:pt x="1108" y="1672"/>
                    </a:lnTo>
                    <a:lnTo>
                      <a:pt x="1106" y="1672"/>
                    </a:lnTo>
                    <a:lnTo>
                      <a:pt x="1104" y="1674"/>
                    </a:lnTo>
                    <a:lnTo>
                      <a:pt x="1102" y="1682"/>
                    </a:lnTo>
                    <a:lnTo>
                      <a:pt x="1100" y="1692"/>
                    </a:lnTo>
                    <a:lnTo>
                      <a:pt x="1094" y="1700"/>
                    </a:lnTo>
                    <a:lnTo>
                      <a:pt x="1094" y="1700"/>
                    </a:lnTo>
                    <a:lnTo>
                      <a:pt x="1090" y="1710"/>
                    </a:lnTo>
                    <a:lnTo>
                      <a:pt x="1086" y="1722"/>
                    </a:lnTo>
                    <a:lnTo>
                      <a:pt x="1084" y="1734"/>
                    </a:lnTo>
                    <a:lnTo>
                      <a:pt x="1084" y="1740"/>
                    </a:lnTo>
                    <a:lnTo>
                      <a:pt x="1086" y="1744"/>
                    </a:lnTo>
                    <a:lnTo>
                      <a:pt x="1086" y="1744"/>
                    </a:lnTo>
                    <a:lnTo>
                      <a:pt x="1090" y="1734"/>
                    </a:lnTo>
                    <a:lnTo>
                      <a:pt x="1100" y="1708"/>
                    </a:lnTo>
                    <a:lnTo>
                      <a:pt x="1108" y="1684"/>
                    </a:lnTo>
                    <a:lnTo>
                      <a:pt x="1110" y="1676"/>
                    </a:lnTo>
                    <a:lnTo>
                      <a:pt x="1110" y="1674"/>
                    </a:lnTo>
                    <a:lnTo>
                      <a:pt x="1108" y="1672"/>
                    </a:lnTo>
                    <a:lnTo>
                      <a:pt x="1108" y="1672"/>
                    </a:lnTo>
                    <a:close/>
                    <a:moveTo>
                      <a:pt x="1804" y="2938"/>
                    </a:moveTo>
                    <a:lnTo>
                      <a:pt x="1804" y="2938"/>
                    </a:lnTo>
                    <a:lnTo>
                      <a:pt x="1810" y="2932"/>
                    </a:lnTo>
                    <a:lnTo>
                      <a:pt x="1812" y="2928"/>
                    </a:lnTo>
                    <a:lnTo>
                      <a:pt x="1812" y="2928"/>
                    </a:lnTo>
                    <a:lnTo>
                      <a:pt x="1808" y="2930"/>
                    </a:lnTo>
                    <a:lnTo>
                      <a:pt x="1808" y="2930"/>
                    </a:lnTo>
                    <a:lnTo>
                      <a:pt x="1800" y="2934"/>
                    </a:lnTo>
                    <a:lnTo>
                      <a:pt x="1790" y="2940"/>
                    </a:lnTo>
                    <a:lnTo>
                      <a:pt x="1776" y="2946"/>
                    </a:lnTo>
                    <a:lnTo>
                      <a:pt x="1768" y="2946"/>
                    </a:lnTo>
                    <a:lnTo>
                      <a:pt x="1760" y="2944"/>
                    </a:lnTo>
                    <a:lnTo>
                      <a:pt x="1760" y="2944"/>
                    </a:lnTo>
                    <a:lnTo>
                      <a:pt x="1754" y="2944"/>
                    </a:lnTo>
                    <a:lnTo>
                      <a:pt x="1750" y="2944"/>
                    </a:lnTo>
                    <a:lnTo>
                      <a:pt x="1748" y="2946"/>
                    </a:lnTo>
                    <a:lnTo>
                      <a:pt x="1748" y="2948"/>
                    </a:lnTo>
                    <a:lnTo>
                      <a:pt x="1748" y="2954"/>
                    </a:lnTo>
                    <a:lnTo>
                      <a:pt x="1746" y="2954"/>
                    </a:lnTo>
                    <a:lnTo>
                      <a:pt x="1742" y="2954"/>
                    </a:lnTo>
                    <a:lnTo>
                      <a:pt x="1742" y="2954"/>
                    </a:lnTo>
                    <a:lnTo>
                      <a:pt x="1736" y="2954"/>
                    </a:lnTo>
                    <a:lnTo>
                      <a:pt x="1732" y="2958"/>
                    </a:lnTo>
                    <a:lnTo>
                      <a:pt x="1730" y="2960"/>
                    </a:lnTo>
                    <a:lnTo>
                      <a:pt x="1726" y="2960"/>
                    </a:lnTo>
                    <a:lnTo>
                      <a:pt x="1726" y="2960"/>
                    </a:lnTo>
                    <a:lnTo>
                      <a:pt x="1722" y="2960"/>
                    </a:lnTo>
                    <a:lnTo>
                      <a:pt x="1722" y="2962"/>
                    </a:lnTo>
                    <a:lnTo>
                      <a:pt x="1726" y="2974"/>
                    </a:lnTo>
                    <a:lnTo>
                      <a:pt x="1726" y="2974"/>
                    </a:lnTo>
                    <a:lnTo>
                      <a:pt x="1728" y="2978"/>
                    </a:lnTo>
                    <a:lnTo>
                      <a:pt x="1732" y="2980"/>
                    </a:lnTo>
                    <a:lnTo>
                      <a:pt x="1736" y="2982"/>
                    </a:lnTo>
                    <a:lnTo>
                      <a:pt x="1742" y="2982"/>
                    </a:lnTo>
                    <a:lnTo>
                      <a:pt x="1742" y="2982"/>
                    </a:lnTo>
                    <a:lnTo>
                      <a:pt x="1748" y="2982"/>
                    </a:lnTo>
                    <a:lnTo>
                      <a:pt x="1750" y="2984"/>
                    </a:lnTo>
                    <a:lnTo>
                      <a:pt x="1752" y="2986"/>
                    </a:lnTo>
                    <a:lnTo>
                      <a:pt x="1754" y="2984"/>
                    </a:lnTo>
                    <a:lnTo>
                      <a:pt x="1754" y="2984"/>
                    </a:lnTo>
                    <a:lnTo>
                      <a:pt x="1754" y="2982"/>
                    </a:lnTo>
                    <a:lnTo>
                      <a:pt x="1756" y="2980"/>
                    </a:lnTo>
                    <a:lnTo>
                      <a:pt x="1764" y="2978"/>
                    </a:lnTo>
                    <a:lnTo>
                      <a:pt x="1770" y="2976"/>
                    </a:lnTo>
                    <a:lnTo>
                      <a:pt x="1774" y="2974"/>
                    </a:lnTo>
                    <a:lnTo>
                      <a:pt x="1776" y="2970"/>
                    </a:lnTo>
                    <a:lnTo>
                      <a:pt x="1776" y="2970"/>
                    </a:lnTo>
                    <a:lnTo>
                      <a:pt x="1780" y="2966"/>
                    </a:lnTo>
                    <a:lnTo>
                      <a:pt x="1782" y="2964"/>
                    </a:lnTo>
                    <a:lnTo>
                      <a:pt x="1790" y="2964"/>
                    </a:lnTo>
                    <a:lnTo>
                      <a:pt x="1794" y="2964"/>
                    </a:lnTo>
                    <a:lnTo>
                      <a:pt x="1796" y="2962"/>
                    </a:lnTo>
                    <a:lnTo>
                      <a:pt x="1794" y="2960"/>
                    </a:lnTo>
                    <a:lnTo>
                      <a:pt x="1794" y="2960"/>
                    </a:lnTo>
                    <a:lnTo>
                      <a:pt x="1790" y="2954"/>
                    </a:lnTo>
                    <a:lnTo>
                      <a:pt x="1790" y="2950"/>
                    </a:lnTo>
                    <a:lnTo>
                      <a:pt x="1796" y="2944"/>
                    </a:lnTo>
                    <a:lnTo>
                      <a:pt x="1804" y="2938"/>
                    </a:lnTo>
                    <a:lnTo>
                      <a:pt x="1804" y="2938"/>
                    </a:lnTo>
                    <a:close/>
                    <a:moveTo>
                      <a:pt x="1538" y="2902"/>
                    </a:moveTo>
                    <a:lnTo>
                      <a:pt x="1538" y="2902"/>
                    </a:lnTo>
                    <a:lnTo>
                      <a:pt x="1540" y="2906"/>
                    </a:lnTo>
                    <a:lnTo>
                      <a:pt x="1538" y="2910"/>
                    </a:lnTo>
                    <a:lnTo>
                      <a:pt x="1538" y="2914"/>
                    </a:lnTo>
                    <a:lnTo>
                      <a:pt x="1542" y="2918"/>
                    </a:lnTo>
                    <a:lnTo>
                      <a:pt x="1542" y="2918"/>
                    </a:lnTo>
                    <a:lnTo>
                      <a:pt x="1544" y="2918"/>
                    </a:lnTo>
                    <a:lnTo>
                      <a:pt x="1548" y="2914"/>
                    </a:lnTo>
                    <a:lnTo>
                      <a:pt x="1554" y="2904"/>
                    </a:lnTo>
                    <a:lnTo>
                      <a:pt x="1558" y="2894"/>
                    </a:lnTo>
                    <a:lnTo>
                      <a:pt x="1560" y="2888"/>
                    </a:lnTo>
                    <a:lnTo>
                      <a:pt x="1560" y="2886"/>
                    </a:lnTo>
                    <a:lnTo>
                      <a:pt x="1560" y="2886"/>
                    </a:lnTo>
                    <a:lnTo>
                      <a:pt x="1558" y="2886"/>
                    </a:lnTo>
                    <a:lnTo>
                      <a:pt x="1554" y="2886"/>
                    </a:lnTo>
                    <a:lnTo>
                      <a:pt x="1546" y="2892"/>
                    </a:lnTo>
                    <a:lnTo>
                      <a:pt x="1540" y="2898"/>
                    </a:lnTo>
                    <a:lnTo>
                      <a:pt x="1538" y="2900"/>
                    </a:lnTo>
                    <a:lnTo>
                      <a:pt x="1538" y="2902"/>
                    </a:lnTo>
                    <a:lnTo>
                      <a:pt x="1538" y="2902"/>
                    </a:lnTo>
                    <a:close/>
                    <a:moveTo>
                      <a:pt x="644" y="1508"/>
                    </a:moveTo>
                    <a:lnTo>
                      <a:pt x="644" y="1508"/>
                    </a:lnTo>
                    <a:lnTo>
                      <a:pt x="646" y="1510"/>
                    </a:lnTo>
                    <a:lnTo>
                      <a:pt x="648" y="1508"/>
                    </a:lnTo>
                    <a:lnTo>
                      <a:pt x="650" y="1500"/>
                    </a:lnTo>
                    <a:lnTo>
                      <a:pt x="650" y="1500"/>
                    </a:lnTo>
                    <a:lnTo>
                      <a:pt x="650" y="1498"/>
                    </a:lnTo>
                    <a:lnTo>
                      <a:pt x="650" y="1498"/>
                    </a:lnTo>
                    <a:lnTo>
                      <a:pt x="646" y="1498"/>
                    </a:lnTo>
                    <a:lnTo>
                      <a:pt x="640" y="1500"/>
                    </a:lnTo>
                    <a:lnTo>
                      <a:pt x="636" y="1504"/>
                    </a:lnTo>
                    <a:lnTo>
                      <a:pt x="636" y="1504"/>
                    </a:lnTo>
                    <a:lnTo>
                      <a:pt x="634" y="1510"/>
                    </a:lnTo>
                    <a:lnTo>
                      <a:pt x="636" y="1514"/>
                    </a:lnTo>
                    <a:lnTo>
                      <a:pt x="638" y="1516"/>
                    </a:lnTo>
                    <a:lnTo>
                      <a:pt x="642" y="1518"/>
                    </a:lnTo>
                    <a:lnTo>
                      <a:pt x="642" y="1518"/>
                    </a:lnTo>
                    <a:lnTo>
                      <a:pt x="644" y="1516"/>
                    </a:lnTo>
                    <a:lnTo>
                      <a:pt x="644" y="1514"/>
                    </a:lnTo>
                    <a:lnTo>
                      <a:pt x="642" y="1508"/>
                    </a:lnTo>
                    <a:lnTo>
                      <a:pt x="642" y="1508"/>
                    </a:lnTo>
                    <a:lnTo>
                      <a:pt x="640" y="1506"/>
                    </a:lnTo>
                    <a:lnTo>
                      <a:pt x="640" y="1506"/>
                    </a:lnTo>
                    <a:lnTo>
                      <a:pt x="644" y="1508"/>
                    </a:lnTo>
                    <a:lnTo>
                      <a:pt x="644" y="1508"/>
                    </a:lnTo>
                    <a:close/>
                    <a:moveTo>
                      <a:pt x="632" y="1558"/>
                    </a:moveTo>
                    <a:lnTo>
                      <a:pt x="632" y="1558"/>
                    </a:lnTo>
                    <a:lnTo>
                      <a:pt x="632" y="1558"/>
                    </a:lnTo>
                    <a:lnTo>
                      <a:pt x="634" y="1556"/>
                    </a:lnTo>
                    <a:lnTo>
                      <a:pt x="634" y="1554"/>
                    </a:lnTo>
                    <a:lnTo>
                      <a:pt x="634" y="1548"/>
                    </a:lnTo>
                    <a:lnTo>
                      <a:pt x="630" y="1544"/>
                    </a:lnTo>
                    <a:lnTo>
                      <a:pt x="630" y="1544"/>
                    </a:lnTo>
                    <a:lnTo>
                      <a:pt x="630" y="1546"/>
                    </a:lnTo>
                    <a:lnTo>
                      <a:pt x="630" y="1546"/>
                    </a:lnTo>
                    <a:lnTo>
                      <a:pt x="630" y="1554"/>
                    </a:lnTo>
                    <a:lnTo>
                      <a:pt x="630" y="1558"/>
                    </a:lnTo>
                    <a:lnTo>
                      <a:pt x="632" y="1558"/>
                    </a:lnTo>
                    <a:lnTo>
                      <a:pt x="632" y="1558"/>
                    </a:lnTo>
                    <a:close/>
                    <a:moveTo>
                      <a:pt x="628" y="1528"/>
                    </a:moveTo>
                    <a:lnTo>
                      <a:pt x="628" y="1528"/>
                    </a:lnTo>
                    <a:lnTo>
                      <a:pt x="628" y="1528"/>
                    </a:lnTo>
                    <a:lnTo>
                      <a:pt x="630" y="1528"/>
                    </a:lnTo>
                    <a:lnTo>
                      <a:pt x="630" y="1526"/>
                    </a:lnTo>
                    <a:lnTo>
                      <a:pt x="632" y="1522"/>
                    </a:lnTo>
                    <a:lnTo>
                      <a:pt x="632" y="1520"/>
                    </a:lnTo>
                    <a:lnTo>
                      <a:pt x="632" y="1520"/>
                    </a:lnTo>
                    <a:lnTo>
                      <a:pt x="634" y="1520"/>
                    </a:lnTo>
                    <a:lnTo>
                      <a:pt x="634" y="1522"/>
                    </a:lnTo>
                    <a:lnTo>
                      <a:pt x="636" y="1522"/>
                    </a:lnTo>
                    <a:lnTo>
                      <a:pt x="638" y="1522"/>
                    </a:lnTo>
                    <a:lnTo>
                      <a:pt x="638" y="1522"/>
                    </a:lnTo>
                    <a:lnTo>
                      <a:pt x="638" y="1520"/>
                    </a:lnTo>
                    <a:lnTo>
                      <a:pt x="636" y="1518"/>
                    </a:lnTo>
                    <a:lnTo>
                      <a:pt x="632" y="1514"/>
                    </a:lnTo>
                    <a:lnTo>
                      <a:pt x="632" y="1514"/>
                    </a:lnTo>
                    <a:lnTo>
                      <a:pt x="628" y="1512"/>
                    </a:lnTo>
                    <a:lnTo>
                      <a:pt x="628" y="1516"/>
                    </a:lnTo>
                    <a:lnTo>
                      <a:pt x="628" y="1528"/>
                    </a:lnTo>
                    <a:lnTo>
                      <a:pt x="628" y="1528"/>
                    </a:lnTo>
                    <a:close/>
                    <a:moveTo>
                      <a:pt x="1186" y="1636"/>
                    </a:moveTo>
                    <a:lnTo>
                      <a:pt x="1186" y="1636"/>
                    </a:lnTo>
                    <a:lnTo>
                      <a:pt x="1180" y="1640"/>
                    </a:lnTo>
                    <a:lnTo>
                      <a:pt x="1176" y="1638"/>
                    </a:lnTo>
                    <a:lnTo>
                      <a:pt x="1174" y="1638"/>
                    </a:lnTo>
                    <a:lnTo>
                      <a:pt x="1164" y="1646"/>
                    </a:lnTo>
                    <a:lnTo>
                      <a:pt x="1164" y="1646"/>
                    </a:lnTo>
                    <a:lnTo>
                      <a:pt x="1156" y="1656"/>
                    </a:lnTo>
                    <a:lnTo>
                      <a:pt x="1150" y="1666"/>
                    </a:lnTo>
                    <a:lnTo>
                      <a:pt x="1150" y="1676"/>
                    </a:lnTo>
                    <a:lnTo>
                      <a:pt x="1154" y="1682"/>
                    </a:lnTo>
                    <a:lnTo>
                      <a:pt x="1154" y="1682"/>
                    </a:lnTo>
                    <a:lnTo>
                      <a:pt x="1154" y="1686"/>
                    </a:lnTo>
                    <a:lnTo>
                      <a:pt x="1154" y="1690"/>
                    </a:lnTo>
                    <a:lnTo>
                      <a:pt x="1154" y="1696"/>
                    </a:lnTo>
                    <a:lnTo>
                      <a:pt x="1154" y="1700"/>
                    </a:lnTo>
                    <a:lnTo>
                      <a:pt x="1154" y="1700"/>
                    </a:lnTo>
                    <a:lnTo>
                      <a:pt x="1158" y="1700"/>
                    </a:lnTo>
                    <a:lnTo>
                      <a:pt x="1158" y="1700"/>
                    </a:lnTo>
                    <a:lnTo>
                      <a:pt x="1162" y="1696"/>
                    </a:lnTo>
                    <a:lnTo>
                      <a:pt x="1166" y="1690"/>
                    </a:lnTo>
                    <a:lnTo>
                      <a:pt x="1170" y="1682"/>
                    </a:lnTo>
                    <a:lnTo>
                      <a:pt x="1178" y="1674"/>
                    </a:lnTo>
                    <a:lnTo>
                      <a:pt x="1178" y="1674"/>
                    </a:lnTo>
                    <a:lnTo>
                      <a:pt x="1182" y="1670"/>
                    </a:lnTo>
                    <a:lnTo>
                      <a:pt x="1184" y="1666"/>
                    </a:lnTo>
                    <a:lnTo>
                      <a:pt x="1182" y="1662"/>
                    </a:lnTo>
                    <a:lnTo>
                      <a:pt x="1180" y="1658"/>
                    </a:lnTo>
                    <a:lnTo>
                      <a:pt x="1180" y="1656"/>
                    </a:lnTo>
                    <a:lnTo>
                      <a:pt x="1182" y="1652"/>
                    </a:lnTo>
                    <a:lnTo>
                      <a:pt x="1186" y="1646"/>
                    </a:lnTo>
                    <a:lnTo>
                      <a:pt x="1186" y="1646"/>
                    </a:lnTo>
                    <a:lnTo>
                      <a:pt x="1194" y="1638"/>
                    </a:lnTo>
                    <a:lnTo>
                      <a:pt x="1198" y="1632"/>
                    </a:lnTo>
                    <a:lnTo>
                      <a:pt x="1196" y="1630"/>
                    </a:lnTo>
                    <a:lnTo>
                      <a:pt x="1194" y="1632"/>
                    </a:lnTo>
                    <a:lnTo>
                      <a:pt x="1186" y="1636"/>
                    </a:lnTo>
                    <a:lnTo>
                      <a:pt x="1186" y="1636"/>
                    </a:lnTo>
                    <a:close/>
                    <a:moveTo>
                      <a:pt x="1058" y="962"/>
                    </a:moveTo>
                    <a:lnTo>
                      <a:pt x="1058" y="962"/>
                    </a:lnTo>
                    <a:lnTo>
                      <a:pt x="1050" y="960"/>
                    </a:lnTo>
                    <a:lnTo>
                      <a:pt x="1048" y="962"/>
                    </a:lnTo>
                    <a:lnTo>
                      <a:pt x="1046" y="964"/>
                    </a:lnTo>
                    <a:lnTo>
                      <a:pt x="1046" y="964"/>
                    </a:lnTo>
                    <a:lnTo>
                      <a:pt x="1048" y="964"/>
                    </a:lnTo>
                    <a:lnTo>
                      <a:pt x="1054" y="964"/>
                    </a:lnTo>
                    <a:lnTo>
                      <a:pt x="1058" y="962"/>
                    </a:lnTo>
                    <a:lnTo>
                      <a:pt x="1058" y="962"/>
                    </a:lnTo>
                    <a:lnTo>
                      <a:pt x="1058" y="962"/>
                    </a:lnTo>
                    <a:lnTo>
                      <a:pt x="1058" y="962"/>
                    </a:lnTo>
                    <a:close/>
                    <a:moveTo>
                      <a:pt x="1366" y="1568"/>
                    </a:moveTo>
                    <a:lnTo>
                      <a:pt x="1366" y="1568"/>
                    </a:lnTo>
                    <a:lnTo>
                      <a:pt x="1364" y="1566"/>
                    </a:lnTo>
                    <a:lnTo>
                      <a:pt x="1360" y="1564"/>
                    </a:lnTo>
                    <a:lnTo>
                      <a:pt x="1356" y="1564"/>
                    </a:lnTo>
                    <a:lnTo>
                      <a:pt x="1354" y="1566"/>
                    </a:lnTo>
                    <a:lnTo>
                      <a:pt x="1354" y="1566"/>
                    </a:lnTo>
                    <a:lnTo>
                      <a:pt x="1356" y="1568"/>
                    </a:lnTo>
                    <a:lnTo>
                      <a:pt x="1360" y="1570"/>
                    </a:lnTo>
                    <a:lnTo>
                      <a:pt x="1364" y="1570"/>
                    </a:lnTo>
                    <a:lnTo>
                      <a:pt x="1366" y="1568"/>
                    </a:lnTo>
                    <a:lnTo>
                      <a:pt x="1366" y="1568"/>
                    </a:lnTo>
                    <a:close/>
                    <a:moveTo>
                      <a:pt x="1332" y="1588"/>
                    </a:moveTo>
                    <a:lnTo>
                      <a:pt x="1332" y="1588"/>
                    </a:lnTo>
                    <a:lnTo>
                      <a:pt x="1336" y="1586"/>
                    </a:lnTo>
                    <a:lnTo>
                      <a:pt x="1338" y="1584"/>
                    </a:lnTo>
                    <a:lnTo>
                      <a:pt x="1338" y="1582"/>
                    </a:lnTo>
                    <a:lnTo>
                      <a:pt x="1342" y="1580"/>
                    </a:lnTo>
                    <a:lnTo>
                      <a:pt x="1342" y="1580"/>
                    </a:lnTo>
                    <a:lnTo>
                      <a:pt x="1344" y="1582"/>
                    </a:lnTo>
                    <a:lnTo>
                      <a:pt x="1346" y="1580"/>
                    </a:lnTo>
                    <a:lnTo>
                      <a:pt x="1346" y="1578"/>
                    </a:lnTo>
                    <a:lnTo>
                      <a:pt x="1348" y="1578"/>
                    </a:lnTo>
                    <a:lnTo>
                      <a:pt x="1348" y="1578"/>
                    </a:lnTo>
                    <a:lnTo>
                      <a:pt x="1350" y="1578"/>
                    </a:lnTo>
                    <a:lnTo>
                      <a:pt x="1352" y="1576"/>
                    </a:lnTo>
                    <a:lnTo>
                      <a:pt x="1350" y="1574"/>
                    </a:lnTo>
                    <a:lnTo>
                      <a:pt x="1346" y="1570"/>
                    </a:lnTo>
                    <a:lnTo>
                      <a:pt x="1346" y="1570"/>
                    </a:lnTo>
                    <a:lnTo>
                      <a:pt x="1336" y="1562"/>
                    </a:lnTo>
                    <a:lnTo>
                      <a:pt x="1334" y="1562"/>
                    </a:lnTo>
                    <a:lnTo>
                      <a:pt x="1330" y="1566"/>
                    </a:lnTo>
                    <a:lnTo>
                      <a:pt x="1330" y="1566"/>
                    </a:lnTo>
                    <a:lnTo>
                      <a:pt x="1326" y="1568"/>
                    </a:lnTo>
                    <a:lnTo>
                      <a:pt x="1320" y="1570"/>
                    </a:lnTo>
                    <a:lnTo>
                      <a:pt x="1316" y="1570"/>
                    </a:lnTo>
                    <a:lnTo>
                      <a:pt x="1312" y="1570"/>
                    </a:lnTo>
                    <a:lnTo>
                      <a:pt x="1312" y="1570"/>
                    </a:lnTo>
                    <a:lnTo>
                      <a:pt x="1310" y="1572"/>
                    </a:lnTo>
                    <a:lnTo>
                      <a:pt x="1312" y="1574"/>
                    </a:lnTo>
                    <a:lnTo>
                      <a:pt x="1322" y="1574"/>
                    </a:lnTo>
                    <a:lnTo>
                      <a:pt x="1322" y="1574"/>
                    </a:lnTo>
                    <a:lnTo>
                      <a:pt x="1324" y="1574"/>
                    </a:lnTo>
                    <a:lnTo>
                      <a:pt x="1326" y="1576"/>
                    </a:lnTo>
                    <a:lnTo>
                      <a:pt x="1326" y="1580"/>
                    </a:lnTo>
                    <a:lnTo>
                      <a:pt x="1328" y="1584"/>
                    </a:lnTo>
                    <a:lnTo>
                      <a:pt x="1330" y="1586"/>
                    </a:lnTo>
                    <a:lnTo>
                      <a:pt x="1332" y="1588"/>
                    </a:lnTo>
                    <a:lnTo>
                      <a:pt x="1332" y="1588"/>
                    </a:lnTo>
                    <a:close/>
                    <a:moveTo>
                      <a:pt x="1306" y="1608"/>
                    </a:moveTo>
                    <a:lnTo>
                      <a:pt x="1306" y="1608"/>
                    </a:lnTo>
                    <a:lnTo>
                      <a:pt x="1304" y="1610"/>
                    </a:lnTo>
                    <a:lnTo>
                      <a:pt x="1302" y="1612"/>
                    </a:lnTo>
                    <a:lnTo>
                      <a:pt x="1304" y="1616"/>
                    </a:lnTo>
                    <a:lnTo>
                      <a:pt x="1310" y="1618"/>
                    </a:lnTo>
                    <a:lnTo>
                      <a:pt x="1310" y="1618"/>
                    </a:lnTo>
                    <a:lnTo>
                      <a:pt x="1316" y="1622"/>
                    </a:lnTo>
                    <a:lnTo>
                      <a:pt x="1316" y="1624"/>
                    </a:lnTo>
                    <a:lnTo>
                      <a:pt x="1312" y="1628"/>
                    </a:lnTo>
                    <a:lnTo>
                      <a:pt x="1312" y="1628"/>
                    </a:lnTo>
                    <a:lnTo>
                      <a:pt x="1308" y="1630"/>
                    </a:lnTo>
                    <a:lnTo>
                      <a:pt x="1308" y="1634"/>
                    </a:lnTo>
                    <a:lnTo>
                      <a:pt x="1308" y="1636"/>
                    </a:lnTo>
                    <a:lnTo>
                      <a:pt x="1314" y="1636"/>
                    </a:lnTo>
                    <a:lnTo>
                      <a:pt x="1314" y="1636"/>
                    </a:lnTo>
                    <a:lnTo>
                      <a:pt x="1316" y="1634"/>
                    </a:lnTo>
                    <a:lnTo>
                      <a:pt x="1318" y="1630"/>
                    </a:lnTo>
                    <a:lnTo>
                      <a:pt x="1318" y="1630"/>
                    </a:lnTo>
                    <a:lnTo>
                      <a:pt x="1322" y="1620"/>
                    </a:lnTo>
                    <a:lnTo>
                      <a:pt x="1326" y="1618"/>
                    </a:lnTo>
                    <a:lnTo>
                      <a:pt x="1328" y="1616"/>
                    </a:lnTo>
                    <a:lnTo>
                      <a:pt x="1330" y="1616"/>
                    </a:lnTo>
                    <a:lnTo>
                      <a:pt x="1330" y="1616"/>
                    </a:lnTo>
                    <a:lnTo>
                      <a:pt x="1334" y="1618"/>
                    </a:lnTo>
                    <a:lnTo>
                      <a:pt x="1340" y="1614"/>
                    </a:lnTo>
                    <a:lnTo>
                      <a:pt x="1348" y="1610"/>
                    </a:lnTo>
                    <a:lnTo>
                      <a:pt x="1352" y="1604"/>
                    </a:lnTo>
                    <a:lnTo>
                      <a:pt x="1352" y="1604"/>
                    </a:lnTo>
                    <a:lnTo>
                      <a:pt x="1356" y="1602"/>
                    </a:lnTo>
                    <a:lnTo>
                      <a:pt x="1358" y="1602"/>
                    </a:lnTo>
                    <a:lnTo>
                      <a:pt x="1358" y="1604"/>
                    </a:lnTo>
                    <a:lnTo>
                      <a:pt x="1362" y="1604"/>
                    </a:lnTo>
                    <a:lnTo>
                      <a:pt x="1362" y="1604"/>
                    </a:lnTo>
                    <a:lnTo>
                      <a:pt x="1364" y="1602"/>
                    </a:lnTo>
                    <a:lnTo>
                      <a:pt x="1362" y="1602"/>
                    </a:lnTo>
                    <a:lnTo>
                      <a:pt x="1354" y="1596"/>
                    </a:lnTo>
                    <a:lnTo>
                      <a:pt x="1354" y="1596"/>
                    </a:lnTo>
                    <a:lnTo>
                      <a:pt x="1348" y="1594"/>
                    </a:lnTo>
                    <a:lnTo>
                      <a:pt x="1342" y="1594"/>
                    </a:lnTo>
                    <a:lnTo>
                      <a:pt x="1338" y="1594"/>
                    </a:lnTo>
                    <a:lnTo>
                      <a:pt x="1334" y="1592"/>
                    </a:lnTo>
                    <a:lnTo>
                      <a:pt x="1334" y="1592"/>
                    </a:lnTo>
                    <a:lnTo>
                      <a:pt x="1330" y="1590"/>
                    </a:lnTo>
                    <a:lnTo>
                      <a:pt x="1324" y="1592"/>
                    </a:lnTo>
                    <a:lnTo>
                      <a:pt x="1318" y="1594"/>
                    </a:lnTo>
                    <a:lnTo>
                      <a:pt x="1314" y="1600"/>
                    </a:lnTo>
                    <a:lnTo>
                      <a:pt x="1314" y="1600"/>
                    </a:lnTo>
                    <a:lnTo>
                      <a:pt x="1312" y="1602"/>
                    </a:lnTo>
                    <a:lnTo>
                      <a:pt x="1310" y="1602"/>
                    </a:lnTo>
                    <a:lnTo>
                      <a:pt x="1308" y="1598"/>
                    </a:lnTo>
                    <a:lnTo>
                      <a:pt x="1304" y="1598"/>
                    </a:lnTo>
                    <a:lnTo>
                      <a:pt x="1304" y="1598"/>
                    </a:lnTo>
                    <a:lnTo>
                      <a:pt x="1304" y="1598"/>
                    </a:lnTo>
                    <a:lnTo>
                      <a:pt x="1304" y="1600"/>
                    </a:lnTo>
                    <a:lnTo>
                      <a:pt x="1306" y="1604"/>
                    </a:lnTo>
                    <a:lnTo>
                      <a:pt x="1308" y="1606"/>
                    </a:lnTo>
                    <a:lnTo>
                      <a:pt x="1308" y="1608"/>
                    </a:lnTo>
                    <a:lnTo>
                      <a:pt x="1306" y="1608"/>
                    </a:lnTo>
                    <a:lnTo>
                      <a:pt x="1306" y="1608"/>
                    </a:lnTo>
                    <a:close/>
                    <a:moveTo>
                      <a:pt x="1364" y="1596"/>
                    </a:moveTo>
                    <a:lnTo>
                      <a:pt x="1364" y="1596"/>
                    </a:lnTo>
                    <a:lnTo>
                      <a:pt x="1364" y="1592"/>
                    </a:lnTo>
                    <a:lnTo>
                      <a:pt x="1360" y="1590"/>
                    </a:lnTo>
                    <a:lnTo>
                      <a:pt x="1356" y="1588"/>
                    </a:lnTo>
                    <a:lnTo>
                      <a:pt x="1354" y="1588"/>
                    </a:lnTo>
                    <a:lnTo>
                      <a:pt x="1354" y="1588"/>
                    </a:lnTo>
                    <a:lnTo>
                      <a:pt x="1354" y="1592"/>
                    </a:lnTo>
                    <a:lnTo>
                      <a:pt x="1356" y="1596"/>
                    </a:lnTo>
                    <a:lnTo>
                      <a:pt x="1360" y="1598"/>
                    </a:lnTo>
                    <a:lnTo>
                      <a:pt x="1364" y="1596"/>
                    </a:lnTo>
                    <a:lnTo>
                      <a:pt x="1364" y="1596"/>
                    </a:lnTo>
                    <a:close/>
                    <a:moveTo>
                      <a:pt x="1102" y="2532"/>
                    </a:moveTo>
                    <a:lnTo>
                      <a:pt x="1102" y="2532"/>
                    </a:lnTo>
                    <a:lnTo>
                      <a:pt x="1110" y="2530"/>
                    </a:lnTo>
                    <a:lnTo>
                      <a:pt x="1112" y="2530"/>
                    </a:lnTo>
                    <a:lnTo>
                      <a:pt x="1110" y="2528"/>
                    </a:lnTo>
                    <a:lnTo>
                      <a:pt x="1110" y="2528"/>
                    </a:lnTo>
                    <a:lnTo>
                      <a:pt x="1098" y="2526"/>
                    </a:lnTo>
                    <a:lnTo>
                      <a:pt x="1092" y="2528"/>
                    </a:lnTo>
                    <a:lnTo>
                      <a:pt x="1092" y="2528"/>
                    </a:lnTo>
                    <a:lnTo>
                      <a:pt x="1094" y="2530"/>
                    </a:lnTo>
                    <a:lnTo>
                      <a:pt x="1094" y="2530"/>
                    </a:lnTo>
                    <a:lnTo>
                      <a:pt x="1096" y="2532"/>
                    </a:lnTo>
                    <a:lnTo>
                      <a:pt x="1102" y="2532"/>
                    </a:lnTo>
                    <a:lnTo>
                      <a:pt x="1102" y="2532"/>
                    </a:lnTo>
                    <a:close/>
                    <a:moveTo>
                      <a:pt x="470" y="2754"/>
                    </a:moveTo>
                    <a:lnTo>
                      <a:pt x="470" y="2754"/>
                    </a:lnTo>
                    <a:lnTo>
                      <a:pt x="472" y="2756"/>
                    </a:lnTo>
                    <a:lnTo>
                      <a:pt x="476" y="2756"/>
                    </a:lnTo>
                    <a:lnTo>
                      <a:pt x="482" y="2752"/>
                    </a:lnTo>
                    <a:lnTo>
                      <a:pt x="486" y="2746"/>
                    </a:lnTo>
                    <a:lnTo>
                      <a:pt x="486" y="2744"/>
                    </a:lnTo>
                    <a:lnTo>
                      <a:pt x="484" y="2740"/>
                    </a:lnTo>
                    <a:lnTo>
                      <a:pt x="484" y="2740"/>
                    </a:lnTo>
                    <a:lnTo>
                      <a:pt x="482" y="2740"/>
                    </a:lnTo>
                    <a:lnTo>
                      <a:pt x="480" y="2740"/>
                    </a:lnTo>
                    <a:lnTo>
                      <a:pt x="474" y="2744"/>
                    </a:lnTo>
                    <a:lnTo>
                      <a:pt x="470" y="2750"/>
                    </a:lnTo>
                    <a:lnTo>
                      <a:pt x="470" y="2752"/>
                    </a:lnTo>
                    <a:lnTo>
                      <a:pt x="470" y="2754"/>
                    </a:lnTo>
                    <a:lnTo>
                      <a:pt x="470" y="2754"/>
                    </a:lnTo>
                    <a:close/>
                    <a:moveTo>
                      <a:pt x="808" y="2632"/>
                    </a:moveTo>
                    <a:lnTo>
                      <a:pt x="808" y="2632"/>
                    </a:lnTo>
                    <a:lnTo>
                      <a:pt x="804" y="2628"/>
                    </a:lnTo>
                    <a:lnTo>
                      <a:pt x="802" y="2626"/>
                    </a:lnTo>
                    <a:lnTo>
                      <a:pt x="798" y="2624"/>
                    </a:lnTo>
                    <a:lnTo>
                      <a:pt x="794" y="2626"/>
                    </a:lnTo>
                    <a:lnTo>
                      <a:pt x="790" y="2628"/>
                    </a:lnTo>
                    <a:lnTo>
                      <a:pt x="776" y="2638"/>
                    </a:lnTo>
                    <a:lnTo>
                      <a:pt x="776" y="2638"/>
                    </a:lnTo>
                    <a:lnTo>
                      <a:pt x="768" y="2644"/>
                    </a:lnTo>
                    <a:lnTo>
                      <a:pt x="762" y="2646"/>
                    </a:lnTo>
                    <a:lnTo>
                      <a:pt x="758" y="2644"/>
                    </a:lnTo>
                    <a:lnTo>
                      <a:pt x="756" y="2642"/>
                    </a:lnTo>
                    <a:lnTo>
                      <a:pt x="752" y="2640"/>
                    </a:lnTo>
                    <a:lnTo>
                      <a:pt x="752" y="2640"/>
                    </a:lnTo>
                    <a:lnTo>
                      <a:pt x="750" y="2650"/>
                    </a:lnTo>
                    <a:lnTo>
                      <a:pt x="750" y="2650"/>
                    </a:lnTo>
                    <a:lnTo>
                      <a:pt x="752" y="2654"/>
                    </a:lnTo>
                    <a:lnTo>
                      <a:pt x="752" y="2658"/>
                    </a:lnTo>
                    <a:lnTo>
                      <a:pt x="756" y="2664"/>
                    </a:lnTo>
                    <a:lnTo>
                      <a:pt x="760" y="2672"/>
                    </a:lnTo>
                    <a:lnTo>
                      <a:pt x="762" y="2678"/>
                    </a:lnTo>
                    <a:lnTo>
                      <a:pt x="762" y="2686"/>
                    </a:lnTo>
                    <a:lnTo>
                      <a:pt x="762" y="2686"/>
                    </a:lnTo>
                    <a:lnTo>
                      <a:pt x="762" y="2694"/>
                    </a:lnTo>
                    <a:lnTo>
                      <a:pt x="764" y="2698"/>
                    </a:lnTo>
                    <a:lnTo>
                      <a:pt x="764" y="2702"/>
                    </a:lnTo>
                    <a:lnTo>
                      <a:pt x="762" y="2714"/>
                    </a:lnTo>
                    <a:lnTo>
                      <a:pt x="762" y="2714"/>
                    </a:lnTo>
                    <a:lnTo>
                      <a:pt x="760" y="2728"/>
                    </a:lnTo>
                    <a:lnTo>
                      <a:pt x="764" y="2742"/>
                    </a:lnTo>
                    <a:lnTo>
                      <a:pt x="766" y="2746"/>
                    </a:lnTo>
                    <a:lnTo>
                      <a:pt x="770" y="2750"/>
                    </a:lnTo>
                    <a:lnTo>
                      <a:pt x="774" y="2752"/>
                    </a:lnTo>
                    <a:lnTo>
                      <a:pt x="778" y="2752"/>
                    </a:lnTo>
                    <a:lnTo>
                      <a:pt x="778" y="2752"/>
                    </a:lnTo>
                    <a:lnTo>
                      <a:pt x="782" y="2752"/>
                    </a:lnTo>
                    <a:lnTo>
                      <a:pt x="784" y="2748"/>
                    </a:lnTo>
                    <a:lnTo>
                      <a:pt x="788" y="2742"/>
                    </a:lnTo>
                    <a:lnTo>
                      <a:pt x="790" y="2738"/>
                    </a:lnTo>
                    <a:lnTo>
                      <a:pt x="792" y="2736"/>
                    </a:lnTo>
                    <a:lnTo>
                      <a:pt x="796" y="2738"/>
                    </a:lnTo>
                    <a:lnTo>
                      <a:pt x="796" y="2738"/>
                    </a:lnTo>
                    <a:lnTo>
                      <a:pt x="802" y="2740"/>
                    </a:lnTo>
                    <a:lnTo>
                      <a:pt x="806" y="2740"/>
                    </a:lnTo>
                    <a:lnTo>
                      <a:pt x="808" y="2736"/>
                    </a:lnTo>
                    <a:lnTo>
                      <a:pt x="810" y="2726"/>
                    </a:lnTo>
                    <a:lnTo>
                      <a:pt x="814" y="2708"/>
                    </a:lnTo>
                    <a:lnTo>
                      <a:pt x="814" y="2708"/>
                    </a:lnTo>
                    <a:lnTo>
                      <a:pt x="816" y="2698"/>
                    </a:lnTo>
                    <a:lnTo>
                      <a:pt x="814" y="2690"/>
                    </a:lnTo>
                    <a:lnTo>
                      <a:pt x="812" y="2682"/>
                    </a:lnTo>
                    <a:lnTo>
                      <a:pt x="810" y="2678"/>
                    </a:lnTo>
                    <a:lnTo>
                      <a:pt x="814" y="2672"/>
                    </a:lnTo>
                    <a:lnTo>
                      <a:pt x="814" y="2672"/>
                    </a:lnTo>
                    <a:lnTo>
                      <a:pt x="818" y="2668"/>
                    </a:lnTo>
                    <a:lnTo>
                      <a:pt x="818" y="2662"/>
                    </a:lnTo>
                    <a:lnTo>
                      <a:pt x="818" y="2652"/>
                    </a:lnTo>
                    <a:lnTo>
                      <a:pt x="814" y="2642"/>
                    </a:lnTo>
                    <a:lnTo>
                      <a:pt x="808" y="2632"/>
                    </a:lnTo>
                    <a:lnTo>
                      <a:pt x="808" y="2632"/>
                    </a:lnTo>
                    <a:close/>
                    <a:moveTo>
                      <a:pt x="576" y="2694"/>
                    </a:moveTo>
                    <a:lnTo>
                      <a:pt x="576" y="2694"/>
                    </a:lnTo>
                    <a:lnTo>
                      <a:pt x="578" y="2696"/>
                    </a:lnTo>
                    <a:lnTo>
                      <a:pt x="580" y="2696"/>
                    </a:lnTo>
                    <a:lnTo>
                      <a:pt x="584" y="2696"/>
                    </a:lnTo>
                    <a:lnTo>
                      <a:pt x="588" y="2698"/>
                    </a:lnTo>
                    <a:lnTo>
                      <a:pt x="588" y="2698"/>
                    </a:lnTo>
                    <a:lnTo>
                      <a:pt x="592" y="2702"/>
                    </a:lnTo>
                    <a:lnTo>
                      <a:pt x="594" y="2700"/>
                    </a:lnTo>
                    <a:lnTo>
                      <a:pt x="596" y="2698"/>
                    </a:lnTo>
                    <a:lnTo>
                      <a:pt x="594" y="2692"/>
                    </a:lnTo>
                    <a:lnTo>
                      <a:pt x="594" y="2692"/>
                    </a:lnTo>
                    <a:lnTo>
                      <a:pt x="594" y="2690"/>
                    </a:lnTo>
                    <a:lnTo>
                      <a:pt x="590" y="2688"/>
                    </a:lnTo>
                    <a:lnTo>
                      <a:pt x="584" y="2686"/>
                    </a:lnTo>
                    <a:lnTo>
                      <a:pt x="578" y="2688"/>
                    </a:lnTo>
                    <a:lnTo>
                      <a:pt x="576" y="2690"/>
                    </a:lnTo>
                    <a:lnTo>
                      <a:pt x="576" y="2694"/>
                    </a:lnTo>
                    <a:lnTo>
                      <a:pt x="576" y="2694"/>
                    </a:lnTo>
                    <a:close/>
                    <a:moveTo>
                      <a:pt x="1022" y="2792"/>
                    </a:moveTo>
                    <a:lnTo>
                      <a:pt x="1022" y="2792"/>
                    </a:lnTo>
                    <a:lnTo>
                      <a:pt x="1016" y="2792"/>
                    </a:lnTo>
                    <a:lnTo>
                      <a:pt x="1010" y="2794"/>
                    </a:lnTo>
                    <a:lnTo>
                      <a:pt x="998" y="2800"/>
                    </a:lnTo>
                    <a:lnTo>
                      <a:pt x="990" y="2802"/>
                    </a:lnTo>
                    <a:lnTo>
                      <a:pt x="982" y="2802"/>
                    </a:lnTo>
                    <a:lnTo>
                      <a:pt x="974" y="2800"/>
                    </a:lnTo>
                    <a:lnTo>
                      <a:pt x="966" y="2796"/>
                    </a:lnTo>
                    <a:lnTo>
                      <a:pt x="966" y="2796"/>
                    </a:lnTo>
                    <a:lnTo>
                      <a:pt x="960" y="2790"/>
                    </a:lnTo>
                    <a:lnTo>
                      <a:pt x="954" y="2790"/>
                    </a:lnTo>
                    <a:lnTo>
                      <a:pt x="950" y="2792"/>
                    </a:lnTo>
                    <a:lnTo>
                      <a:pt x="948" y="2794"/>
                    </a:lnTo>
                    <a:lnTo>
                      <a:pt x="944" y="2800"/>
                    </a:lnTo>
                    <a:lnTo>
                      <a:pt x="942" y="2800"/>
                    </a:lnTo>
                    <a:lnTo>
                      <a:pt x="938" y="2794"/>
                    </a:lnTo>
                    <a:lnTo>
                      <a:pt x="938" y="2794"/>
                    </a:lnTo>
                    <a:lnTo>
                      <a:pt x="936" y="2794"/>
                    </a:lnTo>
                    <a:lnTo>
                      <a:pt x="934" y="2792"/>
                    </a:lnTo>
                    <a:lnTo>
                      <a:pt x="930" y="2796"/>
                    </a:lnTo>
                    <a:lnTo>
                      <a:pt x="926" y="2802"/>
                    </a:lnTo>
                    <a:lnTo>
                      <a:pt x="924" y="2814"/>
                    </a:lnTo>
                    <a:lnTo>
                      <a:pt x="924" y="2814"/>
                    </a:lnTo>
                    <a:lnTo>
                      <a:pt x="926" y="2820"/>
                    </a:lnTo>
                    <a:lnTo>
                      <a:pt x="930" y="2822"/>
                    </a:lnTo>
                    <a:lnTo>
                      <a:pt x="944" y="2828"/>
                    </a:lnTo>
                    <a:lnTo>
                      <a:pt x="944" y="2828"/>
                    </a:lnTo>
                    <a:lnTo>
                      <a:pt x="954" y="2832"/>
                    </a:lnTo>
                    <a:lnTo>
                      <a:pt x="966" y="2840"/>
                    </a:lnTo>
                    <a:lnTo>
                      <a:pt x="976" y="2848"/>
                    </a:lnTo>
                    <a:lnTo>
                      <a:pt x="982" y="2850"/>
                    </a:lnTo>
                    <a:lnTo>
                      <a:pt x="986" y="2850"/>
                    </a:lnTo>
                    <a:lnTo>
                      <a:pt x="986" y="2850"/>
                    </a:lnTo>
                    <a:lnTo>
                      <a:pt x="994" y="2852"/>
                    </a:lnTo>
                    <a:lnTo>
                      <a:pt x="1000" y="2858"/>
                    </a:lnTo>
                    <a:lnTo>
                      <a:pt x="1008" y="2864"/>
                    </a:lnTo>
                    <a:lnTo>
                      <a:pt x="1016" y="2870"/>
                    </a:lnTo>
                    <a:lnTo>
                      <a:pt x="1016" y="2870"/>
                    </a:lnTo>
                    <a:lnTo>
                      <a:pt x="1030" y="2874"/>
                    </a:lnTo>
                    <a:lnTo>
                      <a:pt x="1032" y="2874"/>
                    </a:lnTo>
                    <a:lnTo>
                      <a:pt x="1032" y="2870"/>
                    </a:lnTo>
                    <a:lnTo>
                      <a:pt x="1032" y="2870"/>
                    </a:lnTo>
                    <a:lnTo>
                      <a:pt x="1034" y="2862"/>
                    </a:lnTo>
                    <a:lnTo>
                      <a:pt x="1036" y="2852"/>
                    </a:lnTo>
                    <a:lnTo>
                      <a:pt x="1036" y="2844"/>
                    </a:lnTo>
                    <a:lnTo>
                      <a:pt x="1034" y="2840"/>
                    </a:lnTo>
                    <a:lnTo>
                      <a:pt x="1032" y="2838"/>
                    </a:lnTo>
                    <a:lnTo>
                      <a:pt x="1032" y="2838"/>
                    </a:lnTo>
                    <a:lnTo>
                      <a:pt x="1030" y="2834"/>
                    </a:lnTo>
                    <a:lnTo>
                      <a:pt x="1030" y="2828"/>
                    </a:lnTo>
                    <a:lnTo>
                      <a:pt x="1036" y="2814"/>
                    </a:lnTo>
                    <a:lnTo>
                      <a:pt x="1050" y="2788"/>
                    </a:lnTo>
                    <a:lnTo>
                      <a:pt x="1050" y="2788"/>
                    </a:lnTo>
                    <a:lnTo>
                      <a:pt x="1052" y="2786"/>
                    </a:lnTo>
                    <a:lnTo>
                      <a:pt x="1050" y="2784"/>
                    </a:lnTo>
                    <a:lnTo>
                      <a:pt x="1042" y="2788"/>
                    </a:lnTo>
                    <a:lnTo>
                      <a:pt x="1032" y="2792"/>
                    </a:lnTo>
                    <a:lnTo>
                      <a:pt x="1026" y="2792"/>
                    </a:lnTo>
                    <a:lnTo>
                      <a:pt x="1022" y="2792"/>
                    </a:lnTo>
                    <a:lnTo>
                      <a:pt x="1022" y="2792"/>
                    </a:lnTo>
                    <a:close/>
                    <a:moveTo>
                      <a:pt x="802" y="2526"/>
                    </a:moveTo>
                    <a:lnTo>
                      <a:pt x="802" y="2526"/>
                    </a:lnTo>
                    <a:lnTo>
                      <a:pt x="800" y="2524"/>
                    </a:lnTo>
                    <a:lnTo>
                      <a:pt x="800" y="2526"/>
                    </a:lnTo>
                    <a:lnTo>
                      <a:pt x="798" y="2534"/>
                    </a:lnTo>
                    <a:lnTo>
                      <a:pt x="798" y="2540"/>
                    </a:lnTo>
                    <a:lnTo>
                      <a:pt x="798" y="2542"/>
                    </a:lnTo>
                    <a:lnTo>
                      <a:pt x="794" y="2542"/>
                    </a:lnTo>
                    <a:lnTo>
                      <a:pt x="794" y="2542"/>
                    </a:lnTo>
                    <a:lnTo>
                      <a:pt x="790" y="2542"/>
                    </a:lnTo>
                    <a:lnTo>
                      <a:pt x="788" y="2542"/>
                    </a:lnTo>
                    <a:lnTo>
                      <a:pt x="782" y="2546"/>
                    </a:lnTo>
                    <a:lnTo>
                      <a:pt x="778" y="2548"/>
                    </a:lnTo>
                    <a:lnTo>
                      <a:pt x="774" y="2550"/>
                    </a:lnTo>
                    <a:lnTo>
                      <a:pt x="774" y="2550"/>
                    </a:lnTo>
                    <a:lnTo>
                      <a:pt x="772" y="2550"/>
                    </a:lnTo>
                    <a:lnTo>
                      <a:pt x="772" y="2554"/>
                    </a:lnTo>
                    <a:lnTo>
                      <a:pt x="770" y="2568"/>
                    </a:lnTo>
                    <a:lnTo>
                      <a:pt x="770" y="2580"/>
                    </a:lnTo>
                    <a:lnTo>
                      <a:pt x="770" y="2584"/>
                    </a:lnTo>
                    <a:lnTo>
                      <a:pt x="772" y="2586"/>
                    </a:lnTo>
                    <a:lnTo>
                      <a:pt x="772" y="2586"/>
                    </a:lnTo>
                    <a:lnTo>
                      <a:pt x="776" y="2586"/>
                    </a:lnTo>
                    <a:lnTo>
                      <a:pt x="776" y="2588"/>
                    </a:lnTo>
                    <a:lnTo>
                      <a:pt x="774" y="2592"/>
                    </a:lnTo>
                    <a:lnTo>
                      <a:pt x="774" y="2592"/>
                    </a:lnTo>
                    <a:lnTo>
                      <a:pt x="772" y="2594"/>
                    </a:lnTo>
                    <a:lnTo>
                      <a:pt x="772" y="2596"/>
                    </a:lnTo>
                    <a:lnTo>
                      <a:pt x="778" y="2596"/>
                    </a:lnTo>
                    <a:lnTo>
                      <a:pt x="778" y="2596"/>
                    </a:lnTo>
                    <a:lnTo>
                      <a:pt x="780" y="2598"/>
                    </a:lnTo>
                    <a:lnTo>
                      <a:pt x="780" y="2598"/>
                    </a:lnTo>
                    <a:lnTo>
                      <a:pt x="778" y="2602"/>
                    </a:lnTo>
                    <a:lnTo>
                      <a:pt x="776" y="2604"/>
                    </a:lnTo>
                    <a:lnTo>
                      <a:pt x="776" y="2606"/>
                    </a:lnTo>
                    <a:lnTo>
                      <a:pt x="778" y="2608"/>
                    </a:lnTo>
                    <a:lnTo>
                      <a:pt x="778" y="2608"/>
                    </a:lnTo>
                    <a:lnTo>
                      <a:pt x="786" y="2612"/>
                    </a:lnTo>
                    <a:lnTo>
                      <a:pt x="788" y="2614"/>
                    </a:lnTo>
                    <a:lnTo>
                      <a:pt x="790" y="2616"/>
                    </a:lnTo>
                    <a:lnTo>
                      <a:pt x="792" y="2616"/>
                    </a:lnTo>
                    <a:lnTo>
                      <a:pt x="792" y="2616"/>
                    </a:lnTo>
                    <a:lnTo>
                      <a:pt x="794" y="2616"/>
                    </a:lnTo>
                    <a:lnTo>
                      <a:pt x="794" y="2612"/>
                    </a:lnTo>
                    <a:lnTo>
                      <a:pt x="794" y="2610"/>
                    </a:lnTo>
                    <a:lnTo>
                      <a:pt x="796" y="2606"/>
                    </a:lnTo>
                    <a:lnTo>
                      <a:pt x="796" y="2606"/>
                    </a:lnTo>
                    <a:lnTo>
                      <a:pt x="800" y="2604"/>
                    </a:lnTo>
                    <a:lnTo>
                      <a:pt x="800" y="2600"/>
                    </a:lnTo>
                    <a:lnTo>
                      <a:pt x="802" y="2588"/>
                    </a:lnTo>
                    <a:lnTo>
                      <a:pt x="802" y="2588"/>
                    </a:lnTo>
                    <a:lnTo>
                      <a:pt x="802" y="2582"/>
                    </a:lnTo>
                    <a:lnTo>
                      <a:pt x="804" y="2578"/>
                    </a:lnTo>
                    <a:lnTo>
                      <a:pt x="808" y="2574"/>
                    </a:lnTo>
                    <a:lnTo>
                      <a:pt x="808" y="2562"/>
                    </a:lnTo>
                    <a:lnTo>
                      <a:pt x="808" y="2562"/>
                    </a:lnTo>
                    <a:lnTo>
                      <a:pt x="806" y="2552"/>
                    </a:lnTo>
                    <a:lnTo>
                      <a:pt x="804" y="2546"/>
                    </a:lnTo>
                    <a:lnTo>
                      <a:pt x="804" y="2544"/>
                    </a:lnTo>
                    <a:lnTo>
                      <a:pt x="804" y="2540"/>
                    </a:lnTo>
                    <a:lnTo>
                      <a:pt x="804" y="2540"/>
                    </a:lnTo>
                    <a:lnTo>
                      <a:pt x="804" y="2530"/>
                    </a:lnTo>
                    <a:lnTo>
                      <a:pt x="804" y="2528"/>
                    </a:lnTo>
                    <a:lnTo>
                      <a:pt x="802" y="2526"/>
                    </a:lnTo>
                    <a:lnTo>
                      <a:pt x="802" y="2526"/>
                    </a:lnTo>
                    <a:close/>
                    <a:moveTo>
                      <a:pt x="550" y="2700"/>
                    </a:moveTo>
                    <a:lnTo>
                      <a:pt x="550" y="2700"/>
                    </a:lnTo>
                    <a:lnTo>
                      <a:pt x="548" y="2696"/>
                    </a:lnTo>
                    <a:lnTo>
                      <a:pt x="544" y="2696"/>
                    </a:lnTo>
                    <a:lnTo>
                      <a:pt x="538" y="2698"/>
                    </a:lnTo>
                    <a:lnTo>
                      <a:pt x="532" y="2702"/>
                    </a:lnTo>
                    <a:lnTo>
                      <a:pt x="520" y="2712"/>
                    </a:lnTo>
                    <a:lnTo>
                      <a:pt x="518" y="2716"/>
                    </a:lnTo>
                    <a:lnTo>
                      <a:pt x="520" y="2718"/>
                    </a:lnTo>
                    <a:lnTo>
                      <a:pt x="520" y="2718"/>
                    </a:lnTo>
                    <a:lnTo>
                      <a:pt x="520" y="2720"/>
                    </a:lnTo>
                    <a:lnTo>
                      <a:pt x="526" y="2718"/>
                    </a:lnTo>
                    <a:lnTo>
                      <a:pt x="526" y="2718"/>
                    </a:lnTo>
                    <a:lnTo>
                      <a:pt x="530" y="2718"/>
                    </a:lnTo>
                    <a:lnTo>
                      <a:pt x="532" y="2720"/>
                    </a:lnTo>
                    <a:lnTo>
                      <a:pt x="536" y="2726"/>
                    </a:lnTo>
                    <a:lnTo>
                      <a:pt x="542" y="2730"/>
                    </a:lnTo>
                    <a:lnTo>
                      <a:pt x="542" y="2730"/>
                    </a:lnTo>
                    <a:lnTo>
                      <a:pt x="546" y="2732"/>
                    </a:lnTo>
                    <a:lnTo>
                      <a:pt x="548" y="2732"/>
                    </a:lnTo>
                    <a:lnTo>
                      <a:pt x="554" y="2726"/>
                    </a:lnTo>
                    <a:lnTo>
                      <a:pt x="562" y="2708"/>
                    </a:lnTo>
                    <a:lnTo>
                      <a:pt x="562" y="2708"/>
                    </a:lnTo>
                    <a:lnTo>
                      <a:pt x="564" y="2706"/>
                    </a:lnTo>
                    <a:lnTo>
                      <a:pt x="564" y="2704"/>
                    </a:lnTo>
                    <a:lnTo>
                      <a:pt x="558" y="2704"/>
                    </a:lnTo>
                    <a:lnTo>
                      <a:pt x="552" y="2706"/>
                    </a:lnTo>
                    <a:lnTo>
                      <a:pt x="550" y="2704"/>
                    </a:lnTo>
                    <a:lnTo>
                      <a:pt x="550" y="2700"/>
                    </a:lnTo>
                    <a:lnTo>
                      <a:pt x="550" y="2700"/>
                    </a:lnTo>
                    <a:close/>
                    <a:moveTo>
                      <a:pt x="1254" y="2806"/>
                    </a:moveTo>
                    <a:lnTo>
                      <a:pt x="1254" y="2806"/>
                    </a:lnTo>
                    <a:lnTo>
                      <a:pt x="1252" y="2810"/>
                    </a:lnTo>
                    <a:lnTo>
                      <a:pt x="1254" y="2814"/>
                    </a:lnTo>
                    <a:lnTo>
                      <a:pt x="1260" y="2818"/>
                    </a:lnTo>
                    <a:lnTo>
                      <a:pt x="1264" y="2820"/>
                    </a:lnTo>
                    <a:lnTo>
                      <a:pt x="1264" y="2820"/>
                    </a:lnTo>
                    <a:lnTo>
                      <a:pt x="1266" y="2818"/>
                    </a:lnTo>
                    <a:lnTo>
                      <a:pt x="1266" y="2816"/>
                    </a:lnTo>
                    <a:lnTo>
                      <a:pt x="1264" y="2812"/>
                    </a:lnTo>
                    <a:lnTo>
                      <a:pt x="1258" y="2808"/>
                    </a:lnTo>
                    <a:lnTo>
                      <a:pt x="1254" y="2806"/>
                    </a:lnTo>
                    <a:lnTo>
                      <a:pt x="1254" y="2806"/>
                    </a:lnTo>
                    <a:close/>
                    <a:moveTo>
                      <a:pt x="1410" y="2874"/>
                    </a:moveTo>
                    <a:lnTo>
                      <a:pt x="1410" y="2874"/>
                    </a:lnTo>
                    <a:lnTo>
                      <a:pt x="1412" y="2870"/>
                    </a:lnTo>
                    <a:lnTo>
                      <a:pt x="1410" y="2868"/>
                    </a:lnTo>
                    <a:lnTo>
                      <a:pt x="1408" y="2868"/>
                    </a:lnTo>
                    <a:lnTo>
                      <a:pt x="1402" y="2870"/>
                    </a:lnTo>
                    <a:lnTo>
                      <a:pt x="1402" y="2872"/>
                    </a:lnTo>
                    <a:lnTo>
                      <a:pt x="1402" y="2872"/>
                    </a:lnTo>
                    <a:lnTo>
                      <a:pt x="1400" y="2874"/>
                    </a:lnTo>
                    <a:lnTo>
                      <a:pt x="1402" y="2876"/>
                    </a:lnTo>
                    <a:lnTo>
                      <a:pt x="1406" y="2876"/>
                    </a:lnTo>
                    <a:lnTo>
                      <a:pt x="1410" y="2874"/>
                    </a:lnTo>
                    <a:lnTo>
                      <a:pt x="1410" y="2874"/>
                    </a:lnTo>
                    <a:close/>
                    <a:moveTo>
                      <a:pt x="1214" y="2706"/>
                    </a:moveTo>
                    <a:lnTo>
                      <a:pt x="1214" y="2706"/>
                    </a:lnTo>
                    <a:lnTo>
                      <a:pt x="1214" y="2712"/>
                    </a:lnTo>
                    <a:lnTo>
                      <a:pt x="1218" y="2718"/>
                    </a:lnTo>
                    <a:lnTo>
                      <a:pt x="1224" y="2722"/>
                    </a:lnTo>
                    <a:lnTo>
                      <a:pt x="1230" y="2726"/>
                    </a:lnTo>
                    <a:lnTo>
                      <a:pt x="1230" y="2726"/>
                    </a:lnTo>
                    <a:lnTo>
                      <a:pt x="1232" y="2726"/>
                    </a:lnTo>
                    <a:lnTo>
                      <a:pt x="1230" y="2724"/>
                    </a:lnTo>
                    <a:lnTo>
                      <a:pt x="1228" y="2720"/>
                    </a:lnTo>
                    <a:lnTo>
                      <a:pt x="1224" y="2714"/>
                    </a:lnTo>
                    <a:lnTo>
                      <a:pt x="1222" y="2708"/>
                    </a:lnTo>
                    <a:lnTo>
                      <a:pt x="1222" y="2708"/>
                    </a:lnTo>
                    <a:lnTo>
                      <a:pt x="1222" y="2704"/>
                    </a:lnTo>
                    <a:lnTo>
                      <a:pt x="1218" y="2702"/>
                    </a:lnTo>
                    <a:lnTo>
                      <a:pt x="1216" y="2702"/>
                    </a:lnTo>
                    <a:lnTo>
                      <a:pt x="1214" y="2706"/>
                    </a:lnTo>
                    <a:lnTo>
                      <a:pt x="1214" y="2706"/>
                    </a:lnTo>
                    <a:close/>
                    <a:moveTo>
                      <a:pt x="1468" y="2954"/>
                    </a:moveTo>
                    <a:lnTo>
                      <a:pt x="1468" y="2954"/>
                    </a:lnTo>
                    <a:lnTo>
                      <a:pt x="1464" y="2956"/>
                    </a:lnTo>
                    <a:lnTo>
                      <a:pt x="1462" y="2956"/>
                    </a:lnTo>
                    <a:lnTo>
                      <a:pt x="1460" y="2952"/>
                    </a:lnTo>
                    <a:lnTo>
                      <a:pt x="1460" y="2948"/>
                    </a:lnTo>
                    <a:lnTo>
                      <a:pt x="1456" y="2946"/>
                    </a:lnTo>
                    <a:lnTo>
                      <a:pt x="1452" y="2946"/>
                    </a:lnTo>
                    <a:lnTo>
                      <a:pt x="1452" y="2946"/>
                    </a:lnTo>
                    <a:lnTo>
                      <a:pt x="1446" y="2948"/>
                    </a:lnTo>
                    <a:lnTo>
                      <a:pt x="1442" y="2946"/>
                    </a:lnTo>
                    <a:lnTo>
                      <a:pt x="1434" y="2944"/>
                    </a:lnTo>
                    <a:lnTo>
                      <a:pt x="1424" y="2942"/>
                    </a:lnTo>
                    <a:lnTo>
                      <a:pt x="1418" y="2942"/>
                    </a:lnTo>
                    <a:lnTo>
                      <a:pt x="1410" y="2944"/>
                    </a:lnTo>
                    <a:lnTo>
                      <a:pt x="1410" y="2944"/>
                    </a:lnTo>
                    <a:lnTo>
                      <a:pt x="1406" y="2944"/>
                    </a:lnTo>
                    <a:lnTo>
                      <a:pt x="1402" y="2942"/>
                    </a:lnTo>
                    <a:lnTo>
                      <a:pt x="1398" y="2938"/>
                    </a:lnTo>
                    <a:lnTo>
                      <a:pt x="1396" y="2934"/>
                    </a:lnTo>
                    <a:lnTo>
                      <a:pt x="1394" y="2932"/>
                    </a:lnTo>
                    <a:lnTo>
                      <a:pt x="1392" y="2934"/>
                    </a:lnTo>
                    <a:lnTo>
                      <a:pt x="1392" y="2934"/>
                    </a:lnTo>
                    <a:lnTo>
                      <a:pt x="1390" y="2934"/>
                    </a:lnTo>
                    <a:lnTo>
                      <a:pt x="1386" y="2934"/>
                    </a:lnTo>
                    <a:lnTo>
                      <a:pt x="1382" y="2932"/>
                    </a:lnTo>
                    <a:lnTo>
                      <a:pt x="1380" y="2928"/>
                    </a:lnTo>
                    <a:lnTo>
                      <a:pt x="1378" y="2928"/>
                    </a:lnTo>
                    <a:lnTo>
                      <a:pt x="1378" y="2930"/>
                    </a:lnTo>
                    <a:lnTo>
                      <a:pt x="1378" y="2930"/>
                    </a:lnTo>
                    <a:lnTo>
                      <a:pt x="1376" y="2934"/>
                    </a:lnTo>
                    <a:lnTo>
                      <a:pt x="1374" y="2936"/>
                    </a:lnTo>
                    <a:lnTo>
                      <a:pt x="1372" y="2938"/>
                    </a:lnTo>
                    <a:lnTo>
                      <a:pt x="1372" y="2946"/>
                    </a:lnTo>
                    <a:lnTo>
                      <a:pt x="1372" y="2946"/>
                    </a:lnTo>
                    <a:lnTo>
                      <a:pt x="1372" y="2950"/>
                    </a:lnTo>
                    <a:lnTo>
                      <a:pt x="1376" y="2952"/>
                    </a:lnTo>
                    <a:lnTo>
                      <a:pt x="1388" y="2952"/>
                    </a:lnTo>
                    <a:lnTo>
                      <a:pt x="1402" y="2954"/>
                    </a:lnTo>
                    <a:lnTo>
                      <a:pt x="1410" y="2958"/>
                    </a:lnTo>
                    <a:lnTo>
                      <a:pt x="1418" y="2962"/>
                    </a:lnTo>
                    <a:lnTo>
                      <a:pt x="1418" y="2962"/>
                    </a:lnTo>
                    <a:lnTo>
                      <a:pt x="1422" y="2964"/>
                    </a:lnTo>
                    <a:lnTo>
                      <a:pt x="1428" y="2966"/>
                    </a:lnTo>
                    <a:lnTo>
                      <a:pt x="1440" y="2966"/>
                    </a:lnTo>
                    <a:lnTo>
                      <a:pt x="1452" y="2964"/>
                    </a:lnTo>
                    <a:lnTo>
                      <a:pt x="1468" y="2964"/>
                    </a:lnTo>
                    <a:lnTo>
                      <a:pt x="1468" y="2964"/>
                    </a:lnTo>
                    <a:lnTo>
                      <a:pt x="1476" y="2962"/>
                    </a:lnTo>
                    <a:lnTo>
                      <a:pt x="1480" y="2960"/>
                    </a:lnTo>
                    <a:lnTo>
                      <a:pt x="1482" y="2958"/>
                    </a:lnTo>
                    <a:lnTo>
                      <a:pt x="1484" y="2954"/>
                    </a:lnTo>
                    <a:lnTo>
                      <a:pt x="1482" y="2952"/>
                    </a:lnTo>
                    <a:lnTo>
                      <a:pt x="1478" y="2950"/>
                    </a:lnTo>
                    <a:lnTo>
                      <a:pt x="1474" y="2950"/>
                    </a:lnTo>
                    <a:lnTo>
                      <a:pt x="1468" y="2954"/>
                    </a:lnTo>
                    <a:lnTo>
                      <a:pt x="1468" y="2954"/>
                    </a:lnTo>
                    <a:close/>
                    <a:moveTo>
                      <a:pt x="1518" y="2942"/>
                    </a:moveTo>
                    <a:lnTo>
                      <a:pt x="1518" y="2942"/>
                    </a:lnTo>
                    <a:lnTo>
                      <a:pt x="1520" y="2940"/>
                    </a:lnTo>
                    <a:lnTo>
                      <a:pt x="1520" y="2938"/>
                    </a:lnTo>
                    <a:lnTo>
                      <a:pt x="1518" y="2926"/>
                    </a:lnTo>
                    <a:lnTo>
                      <a:pt x="1518" y="2926"/>
                    </a:lnTo>
                    <a:lnTo>
                      <a:pt x="1516" y="2924"/>
                    </a:lnTo>
                    <a:lnTo>
                      <a:pt x="1516" y="2926"/>
                    </a:lnTo>
                    <a:lnTo>
                      <a:pt x="1514" y="2932"/>
                    </a:lnTo>
                    <a:lnTo>
                      <a:pt x="1514" y="2938"/>
                    </a:lnTo>
                    <a:lnTo>
                      <a:pt x="1516" y="2940"/>
                    </a:lnTo>
                    <a:lnTo>
                      <a:pt x="1518" y="2942"/>
                    </a:lnTo>
                    <a:lnTo>
                      <a:pt x="1518" y="2942"/>
                    </a:lnTo>
                    <a:close/>
                    <a:moveTo>
                      <a:pt x="1252" y="2768"/>
                    </a:moveTo>
                    <a:lnTo>
                      <a:pt x="1252" y="2768"/>
                    </a:lnTo>
                    <a:lnTo>
                      <a:pt x="1254" y="2768"/>
                    </a:lnTo>
                    <a:lnTo>
                      <a:pt x="1256" y="2766"/>
                    </a:lnTo>
                    <a:lnTo>
                      <a:pt x="1256" y="2764"/>
                    </a:lnTo>
                    <a:lnTo>
                      <a:pt x="1254" y="2760"/>
                    </a:lnTo>
                    <a:lnTo>
                      <a:pt x="1254" y="2760"/>
                    </a:lnTo>
                    <a:lnTo>
                      <a:pt x="1254" y="2758"/>
                    </a:lnTo>
                    <a:lnTo>
                      <a:pt x="1252" y="2758"/>
                    </a:lnTo>
                    <a:lnTo>
                      <a:pt x="1250" y="2762"/>
                    </a:lnTo>
                    <a:lnTo>
                      <a:pt x="1248" y="2766"/>
                    </a:lnTo>
                    <a:lnTo>
                      <a:pt x="1250" y="2768"/>
                    </a:lnTo>
                    <a:lnTo>
                      <a:pt x="1252" y="2768"/>
                    </a:lnTo>
                    <a:lnTo>
                      <a:pt x="1252" y="2768"/>
                    </a:lnTo>
                    <a:close/>
                    <a:moveTo>
                      <a:pt x="1256" y="2790"/>
                    </a:moveTo>
                    <a:lnTo>
                      <a:pt x="1256" y="2790"/>
                    </a:lnTo>
                    <a:lnTo>
                      <a:pt x="1254" y="2786"/>
                    </a:lnTo>
                    <a:lnTo>
                      <a:pt x="1252" y="2782"/>
                    </a:lnTo>
                    <a:lnTo>
                      <a:pt x="1252" y="2780"/>
                    </a:lnTo>
                    <a:lnTo>
                      <a:pt x="1250" y="2780"/>
                    </a:lnTo>
                    <a:lnTo>
                      <a:pt x="1250" y="2780"/>
                    </a:lnTo>
                    <a:lnTo>
                      <a:pt x="1248" y="2782"/>
                    </a:lnTo>
                    <a:lnTo>
                      <a:pt x="1244" y="2782"/>
                    </a:lnTo>
                    <a:lnTo>
                      <a:pt x="1242" y="2784"/>
                    </a:lnTo>
                    <a:lnTo>
                      <a:pt x="1242" y="2790"/>
                    </a:lnTo>
                    <a:lnTo>
                      <a:pt x="1242" y="2790"/>
                    </a:lnTo>
                    <a:lnTo>
                      <a:pt x="1244" y="2794"/>
                    </a:lnTo>
                    <a:lnTo>
                      <a:pt x="1246" y="2794"/>
                    </a:lnTo>
                    <a:lnTo>
                      <a:pt x="1250" y="2794"/>
                    </a:lnTo>
                    <a:lnTo>
                      <a:pt x="1256" y="2796"/>
                    </a:lnTo>
                    <a:lnTo>
                      <a:pt x="1256" y="2796"/>
                    </a:lnTo>
                    <a:lnTo>
                      <a:pt x="1260" y="2798"/>
                    </a:lnTo>
                    <a:lnTo>
                      <a:pt x="1260" y="2798"/>
                    </a:lnTo>
                    <a:lnTo>
                      <a:pt x="1260" y="2794"/>
                    </a:lnTo>
                    <a:lnTo>
                      <a:pt x="1256" y="2790"/>
                    </a:lnTo>
                    <a:lnTo>
                      <a:pt x="1256" y="2790"/>
                    </a:lnTo>
                    <a:close/>
                    <a:moveTo>
                      <a:pt x="1348" y="2902"/>
                    </a:moveTo>
                    <a:lnTo>
                      <a:pt x="1348" y="2902"/>
                    </a:lnTo>
                    <a:lnTo>
                      <a:pt x="1352" y="2904"/>
                    </a:lnTo>
                    <a:lnTo>
                      <a:pt x="1352" y="2902"/>
                    </a:lnTo>
                    <a:lnTo>
                      <a:pt x="1352" y="2898"/>
                    </a:lnTo>
                    <a:lnTo>
                      <a:pt x="1350" y="2892"/>
                    </a:lnTo>
                    <a:lnTo>
                      <a:pt x="1350" y="2892"/>
                    </a:lnTo>
                    <a:lnTo>
                      <a:pt x="1346" y="2890"/>
                    </a:lnTo>
                    <a:lnTo>
                      <a:pt x="1344" y="2892"/>
                    </a:lnTo>
                    <a:lnTo>
                      <a:pt x="1346" y="2896"/>
                    </a:lnTo>
                    <a:lnTo>
                      <a:pt x="1348" y="2902"/>
                    </a:lnTo>
                    <a:lnTo>
                      <a:pt x="1348" y="2902"/>
                    </a:lnTo>
                    <a:close/>
                    <a:moveTo>
                      <a:pt x="1448" y="2860"/>
                    </a:moveTo>
                    <a:lnTo>
                      <a:pt x="1448" y="2860"/>
                    </a:lnTo>
                    <a:lnTo>
                      <a:pt x="1450" y="2860"/>
                    </a:lnTo>
                    <a:lnTo>
                      <a:pt x="1452" y="2860"/>
                    </a:lnTo>
                    <a:lnTo>
                      <a:pt x="1454" y="2854"/>
                    </a:lnTo>
                    <a:lnTo>
                      <a:pt x="1452" y="2848"/>
                    </a:lnTo>
                    <a:lnTo>
                      <a:pt x="1452" y="2846"/>
                    </a:lnTo>
                    <a:lnTo>
                      <a:pt x="1448" y="2846"/>
                    </a:lnTo>
                    <a:lnTo>
                      <a:pt x="1448" y="2846"/>
                    </a:lnTo>
                    <a:lnTo>
                      <a:pt x="1446" y="2850"/>
                    </a:lnTo>
                    <a:lnTo>
                      <a:pt x="1444" y="2852"/>
                    </a:lnTo>
                    <a:lnTo>
                      <a:pt x="1446" y="2856"/>
                    </a:lnTo>
                    <a:lnTo>
                      <a:pt x="1448" y="2860"/>
                    </a:lnTo>
                    <a:lnTo>
                      <a:pt x="1448" y="2860"/>
                    </a:lnTo>
                    <a:close/>
                    <a:moveTo>
                      <a:pt x="1440" y="2848"/>
                    </a:moveTo>
                    <a:lnTo>
                      <a:pt x="1440" y="2848"/>
                    </a:lnTo>
                    <a:lnTo>
                      <a:pt x="1438" y="2848"/>
                    </a:lnTo>
                    <a:lnTo>
                      <a:pt x="1434" y="2850"/>
                    </a:lnTo>
                    <a:lnTo>
                      <a:pt x="1434" y="2854"/>
                    </a:lnTo>
                    <a:lnTo>
                      <a:pt x="1436" y="2856"/>
                    </a:lnTo>
                    <a:lnTo>
                      <a:pt x="1436" y="2856"/>
                    </a:lnTo>
                    <a:lnTo>
                      <a:pt x="1438" y="2856"/>
                    </a:lnTo>
                    <a:lnTo>
                      <a:pt x="1440" y="2854"/>
                    </a:lnTo>
                    <a:lnTo>
                      <a:pt x="1440" y="2850"/>
                    </a:lnTo>
                    <a:lnTo>
                      <a:pt x="1440" y="2848"/>
                    </a:lnTo>
                    <a:lnTo>
                      <a:pt x="1440" y="2848"/>
                    </a:lnTo>
                    <a:close/>
                    <a:moveTo>
                      <a:pt x="2822" y="3608"/>
                    </a:moveTo>
                    <a:lnTo>
                      <a:pt x="2822" y="3608"/>
                    </a:lnTo>
                    <a:lnTo>
                      <a:pt x="2818" y="3606"/>
                    </a:lnTo>
                    <a:lnTo>
                      <a:pt x="2814" y="3598"/>
                    </a:lnTo>
                    <a:lnTo>
                      <a:pt x="2802" y="3578"/>
                    </a:lnTo>
                    <a:lnTo>
                      <a:pt x="2798" y="3570"/>
                    </a:lnTo>
                    <a:lnTo>
                      <a:pt x="2792" y="3562"/>
                    </a:lnTo>
                    <a:lnTo>
                      <a:pt x="2786" y="3558"/>
                    </a:lnTo>
                    <a:lnTo>
                      <a:pt x="2782" y="3556"/>
                    </a:lnTo>
                    <a:lnTo>
                      <a:pt x="2780" y="3558"/>
                    </a:lnTo>
                    <a:lnTo>
                      <a:pt x="2780" y="3558"/>
                    </a:lnTo>
                    <a:lnTo>
                      <a:pt x="2776" y="3558"/>
                    </a:lnTo>
                    <a:lnTo>
                      <a:pt x="2774" y="3558"/>
                    </a:lnTo>
                    <a:lnTo>
                      <a:pt x="2768" y="3554"/>
                    </a:lnTo>
                    <a:lnTo>
                      <a:pt x="2762" y="3550"/>
                    </a:lnTo>
                    <a:lnTo>
                      <a:pt x="2756" y="3548"/>
                    </a:lnTo>
                    <a:lnTo>
                      <a:pt x="2746" y="3546"/>
                    </a:lnTo>
                    <a:lnTo>
                      <a:pt x="2746" y="3546"/>
                    </a:lnTo>
                    <a:lnTo>
                      <a:pt x="2738" y="3544"/>
                    </a:lnTo>
                    <a:lnTo>
                      <a:pt x="2728" y="3540"/>
                    </a:lnTo>
                    <a:lnTo>
                      <a:pt x="2720" y="3532"/>
                    </a:lnTo>
                    <a:lnTo>
                      <a:pt x="2712" y="3524"/>
                    </a:lnTo>
                    <a:lnTo>
                      <a:pt x="2706" y="3516"/>
                    </a:lnTo>
                    <a:lnTo>
                      <a:pt x="2700" y="3506"/>
                    </a:lnTo>
                    <a:lnTo>
                      <a:pt x="2696" y="3496"/>
                    </a:lnTo>
                    <a:lnTo>
                      <a:pt x="2694" y="3488"/>
                    </a:lnTo>
                    <a:lnTo>
                      <a:pt x="2694" y="3488"/>
                    </a:lnTo>
                    <a:lnTo>
                      <a:pt x="2694" y="3464"/>
                    </a:lnTo>
                    <a:lnTo>
                      <a:pt x="2694" y="3458"/>
                    </a:lnTo>
                    <a:lnTo>
                      <a:pt x="2692" y="3454"/>
                    </a:lnTo>
                    <a:lnTo>
                      <a:pt x="2692" y="3454"/>
                    </a:lnTo>
                    <a:lnTo>
                      <a:pt x="2692" y="3448"/>
                    </a:lnTo>
                    <a:lnTo>
                      <a:pt x="2694" y="3442"/>
                    </a:lnTo>
                    <a:lnTo>
                      <a:pt x="2696" y="3438"/>
                    </a:lnTo>
                    <a:lnTo>
                      <a:pt x="2696" y="3434"/>
                    </a:lnTo>
                    <a:lnTo>
                      <a:pt x="2696" y="3434"/>
                    </a:lnTo>
                    <a:lnTo>
                      <a:pt x="2696" y="3430"/>
                    </a:lnTo>
                    <a:lnTo>
                      <a:pt x="2698" y="3422"/>
                    </a:lnTo>
                    <a:lnTo>
                      <a:pt x="2700" y="3418"/>
                    </a:lnTo>
                    <a:lnTo>
                      <a:pt x="2698" y="3416"/>
                    </a:lnTo>
                    <a:lnTo>
                      <a:pt x="2696" y="3414"/>
                    </a:lnTo>
                    <a:lnTo>
                      <a:pt x="2696" y="3414"/>
                    </a:lnTo>
                    <a:lnTo>
                      <a:pt x="2694" y="3416"/>
                    </a:lnTo>
                    <a:lnTo>
                      <a:pt x="2692" y="3416"/>
                    </a:lnTo>
                    <a:lnTo>
                      <a:pt x="2692" y="3420"/>
                    </a:lnTo>
                    <a:lnTo>
                      <a:pt x="2694" y="3424"/>
                    </a:lnTo>
                    <a:lnTo>
                      <a:pt x="2692" y="3424"/>
                    </a:lnTo>
                    <a:lnTo>
                      <a:pt x="2692" y="3424"/>
                    </a:lnTo>
                    <a:lnTo>
                      <a:pt x="2692" y="3424"/>
                    </a:lnTo>
                    <a:lnTo>
                      <a:pt x="2688" y="3422"/>
                    </a:lnTo>
                    <a:lnTo>
                      <a:pt x="2686" y="3422"/>
                    </a:lnTo>
                    <a:lnTo>
                      <a:pt x="2684" y="3432"/>
                    </a:lnTo>
                    <a:lnTo>
                      <a:pt x="2684" y="3432"/>
                    </a:lnTo>
                    <a:lnTo>
                      <a:pt x="2680" y="3444"/>
                    </a:lnTo>
                    <a:lnTo>
                      <a:pt x="2678" y="3444"/>
                    </a:lnTo>
                    <a:lnTo>
                      <a:pt x="2678" y="3444"/>
                    </a:lnTo>
                    <a:lnTo>
                      <a:pt x="2676" y="3444"/>
                    </a:lnTo>
                    <a:lnTo>
                      <a:pt x="2674" y="3444"/>
                    </a:lnTo>
                    <a:lnTo>
                      <a:pt x="2670" y="3452"/>
                    </a:lnTo>
                    <a:lnTo>
                      <a:pt x="2670" y="3452"/>
                    </a:lnTo>
                    <a:lnTo>
                      <a:pt x="2666" y="3458"/>
                    </a:lnTo>
                    <a:lnTo>
                      <a:pt x="2660" y="3462"/>
                    </a:lnTo>
                    <a:lnTo>
                      <a:pt x="2654" y="3468"/>
                    </a:lnTo>
                    <a:lnTo>
                      <a:pt x="2646" y="3476"/>
                    </a:lnTo>
                    <a:lnTo>
                      <a:pt x="2646" y="3476"/>
                    </a:lnTo>
                    <a:lnTo>
                      <a:pt x="2638" y="3488"/>
                    </a:lnTo>
                    <a:lnTo>
                      <a:pt x="2628" y="3496"/>
                    </a:lnTo>
                    <a:lnTo>
                      <a:pt x="2614" y="3508"/>
                    </a:lnTo>
                    <a:lnTo>
                      <a:pt x="2614" y="3508"/>
                    </a:lnTo>
                    <a:lnTo>
                      <a:pt x="2616" y="3510"/>
                    </a:lnTo>
                    <a:lnTo>
                      <a:pt x="2618" y="3512"/>
                    </a:lnTo>
                    <a:lnTo>
                      <a:pt x="2618" y="3516"/>
                    </a:lnTo>
                    <a:lnTo>
                      <a:pt x="2614" y="3524"/>
                    </a:lnTo>
                    <a:lnTo>
                      <a:pt x="2614" y="3524"/>
                    </a:lnTo>
                    <a:lnTo>
                      <a:pt x="2606" y="3530"/>
                    </a:lnTo>
                    <a:lnTo>
                      <a:pt x="2598" y="3532"/>
                    </a:lnTo>
                    <a:lnTo>
                      <a:pt x="2588" y="3534"/>
                    </a:lnTo>
                    <a:lnTo>
                      <a:pt x="2578" y="3532"/>
                    </a:lnTo>
                    <a:lnTo>
                      <a:pt x="2558" y="3528"/>
                    </a:lnTo>
                    <a:lnTo>
                      <a:pt x="2546" y="3528"/>
                    </a:lnTo>
                    <a:lnTo>
                      <a:pt x="2538" y="3532"/>
                    </a:lnTo>
                    <a:lnTo>
                      <a:pt x="2538" y="3532"/>
                    </a:lnTo>
                    <a:lnTo>
                      <a:pt x="2522" y="3538"/>
                    </a:lnTo>
                    <a:lnTo>
                      <a:pt x="2514" y="3538"/>
                    </a:lnTo>
                    <a:lnTo>
                      <a:pt x="2512" y="3538"/>
                    </a:lnTo>
                    <a:lnTo>
                      <a:pt x="2510" y="3536"/>
                    </a:lnTo>
                    <a:lnTo>
                      <a:pt x="2510" y="3528"/>
                    </a:lnTo>
                    <a:lnTo>
                      <a:pt x="2510" y="3528"/>
                    </a:lnTo>
                    <a:lnTo>
                      <a:pt x="2510" y="3522"/>
                    </a:lnTo>
                    <a:lnTo>
                      <a:pt x="2506" y="3522"/>
                    </a:lnTo>
                    <a:lnTo>
                      <a:pt x="2502" y="3522"/>
                    </a:lnTo>
                    <a:lnTo>
                      <a:pt x="2496" y="3522"/>
                    </a:lnTo>
                    <a:lnTo>
                      <a:pt x="2496" y="3522"/>
                    </a:lnTo>
                    <a:lnTo>
                      <a:pt x="2492" y="3520"/>
                    </a:lnTo>
                    <a:lnTo>
                      <a:pt x="2490" y="3518"/>
                    </a:lnTo>
                    <a:lnTo>
                      <a:pt x="2492" y="3514"/>
                    </a:lnTo>
                    <a:lnTo>
                      <a:pt x="2496" y="3510"/>
                    </a:lnTo>
                    <a:lnTo>
                      <a:pt x="2496" y="3506"/>
                    </a:lnTo>
                    <a:lnTo>
                      <a:pt x="2496" y="3506"/>
                    </a:lnTo>
                    <a:lnTo>
                      <a:pt x="2496" y="3506"/>
                    </a:lnTo>
                    <a:lnTo>
                      <a:pt x="2492" y="3508"/>
                    </a:lnTo>
                    <a:lnTo>
                      <a:pt x="2490" y="3508"/>
                    </a:lnTo>
                    <a:lnTo>
                      <a:pt x="2488" y="3508"/>
                    </a:lnTo>
                    <a:lnTo>
                      <a:pt x="2488" y="3508"/>
                    </a:lnTo>
                    <a:lnTo>
                      <a:pt x="2486" y="3506"/>
                    </a:lnTo>
                    <a:lnTo>
                      <a:pt x="2488" y="3504"/>
                    </a:lnTo>
                    <a:lnTo>
                      <a:pt x="2490" y="3504"/>
                    </a:lnTo>
                    <a:lnTo>
                      <a:pt x="2490" y="3504"/>
                    </a:lnTo>
                    <a:lnTo>
                      <a:pt x="2494" y="3504"/>
                    </a:lnTo>
                    <a:lnTo>
                      <a:pt x="2496" y="3502"/>
                    </a:lnTo>
                    <a:lnTo>
                      <a:pt x="2498" y="3496"/>
                    </a:lnTo>
                    <a:lnTo>
                      <a:pt x="2502" y="3480"/>
                    </a:lnTo>
                    <a:lnTo>
                      <a:pt x="2502" y="3480"/>
                    </a:lnTo>
                    <a:lnTo>
                      <a:pt x="2502" y="3474"/>
                    </a:lnTo>
                    <a:lnTo>
                      <a:pt x="2500" y="3468"/>
                    </a:lnTo>
                    <a:lnTo>
                      <a:pt x="2496" y="3462"/>
                    </a:lnTo>
                    <a:lnTo>
                      <a:pt x="2496" y="3458"/>
                    </a:lnTo>
                    <a:lnTo>
                      <a:pt x="2498" y="3454"/>
                    </a:lnTo>
                    <a:lnTo>
                      <a:pt x="2498" y="3454"/>
                    </a:lnTo>
                    <a:lnTo>
                      <a:pt x="2500" y="3448"/>
                    </a:lnTo>
                    <a:lnTo>
                      <a:pt x="2498" y="3440"/>
                    </a:lnTo>
                    <a:lnTo>
                      <a:pt x="2494" y="3434"/>
                    </a:lnTo>
                    <a:lnTo>
                      <a:pt x="2490" y="3428"/>
                    </a:lnTo>
                    <a:lnTo>
                      <a:pt x="2490" y="3428"/>
                    </a:lnTo>
                    <a:lnTo>
                      <a:pt x="2486" y="3426"/>
                    </a:lnTo>
                    <a:lnTo>
                      <a:pt x="2484" y="3426"/>
                    </a:lnTo>
                    <a:lnTo>
                      <a:pt x="2480" y="3430"/>
                    </a:lnTo>
                    <a:lnTo>
                      <a:pt x="2476" y="3444"/>
                    </a:lnTo>
                    <a:lnTo>
                      <a:pt x="2476" y="3444"/>
                    </a:lnTo>
                    <a:lnTo>
                      <a:pt x="2470" y="3456"/>
                    </a:lnTo>
                    <a:lnTo>
                      <a:pt x="2470" y="3466"/>
                    </a:lnTo>
                    <a:lnTo>
                      <a:pt x="2468" y="3498"/>
                    </a:lnTo>
                    <a:lnTo>
                      <a:pt x="2468" y="3498"/>
                    </a:lnTo>
                    <a:lnTo>
                      <a:pt x="2464" y="3486"/>
                    </a:lnTo>
                    <a:lnTo>
                      <a:pt x="2460" y="3478"/>
                    </a:lnTo>
                    <a:lnTo>
                      <a:pt x="2458" y="3468"/>
                    </a:lnTo>
                    <a:lnTo>
                      <a:pt x="2452" y="3462"/>
                    </a:lnTo>
                    <a:lnTo>
                      <a:pt x="2452" y="3462"/>
                    </a:lnTo>
                    <a:lnTo>
                      <a:pt x="2448" y="3456"/>
                    </a:lnTo>
                    <a:lnTo>
                      <a:pt x="2448" y="3454"/>
                    </a:lnTo>
                    <a:lnTo>
                      <a:pt x="2448" y="3450"/>
                    </a:lnTo>
                    <a:lnTo>
                      <a:pt x="2444" y="3444"/>
                    </a:lnTo>
                    <a:lnTo>
                      <a:pt x="2444" y="3444"/>
                    </a:lnTo>
                    <a:lnTo>
                      <a:pt x="2442" y="3438"/>
                    </a:lnTo>
                    <a:lnTo>
                      <a:pt x="2442" y="3434"/>
                    </a:lnTo>
                    <a:lnTo>
                      <a:pt x="2442" y="3428"/>
                    </a:lnTo>
                    <a:lnTo>
                      <a:pt x="2444" y="3420"/>
                    </a:lnTo>
                    <a:lnTo>
                      <a:pt x="2442" y="3414"/>
                    </a:lnTo>
                    <a:lnTo>
                      <a:pt x="2440" y="3408"/>
                    </a:lnTo>
                    <a:lnTo>
                      <a:pt x="2440" y="3408"/>
                    </a:lnTo>
                    <a:lnTo>
                      <a:pt x="2438" y="3402"/>
                    </a:lnTo>
                    <a:lnTo>
                      <a:pt x="2438" y="3400"/>
                    </a:lnTo>
                    <a:lnTo>
                      <a:pt x="2442" y="3400"/>
                    </a:lnTo>
                    <a:lnTo>
                      <a:pt x="2442" y="3400"/>
                    </a:lnTo>
                    <a:lnTo>
                      <a:pt x="2444" y="3404"/>
                    </a:lnTo>
                    <a:lnTo>
                      <a:pt x="2444" y="3404"/>
                    </a:lnTo>
                    <a:lnTo>
                      <a:pt x="2444" y="3404"/>
                    </a:lnTo>
                    <a:lnTo>
                      <a:pt x="2448" y="3404"/>
                    </a:lnTo>
                    <a:lnTo>
                      <a:pt x="2448" y="3406"/>
                    </a:lnTo>
                    <a:lnTo>
                      <a:pt x="2446" y="3408"/>
                    </a:lnTo>
                    <a:lnTo>
                      <a:pt x="2446" y="3408"/>
                    </a:lnTo>
                    <a:lnTo>
                      <a:pt x="2444" y="3410"/>
                    </a:lnTo>
                    <a:lnTo>
                      <a:pt x="2448" y="3410"/>
                    </a:lnTo>
                    <a:lnTo>
                      <a:pt x="2448" y="3410"/>
                    </a:lnTo>
                    <a:lnTo>
                      <a:pt x="2450" y="3412"/>
                    </a:lnTo>
                    <a:lnTo>
                      <a:pt x="2448" y="3414"/>
                    </a:lnTo>
                    <a:lnTo>
                      <a:pt x="2448" y="3414"/>
                    </a:lnTo>
                    <a:lnTo>
                      <a:pt x="2450" y="3416"/>
                    </a:lnTo>
                    <a:lnTo>
                      <a:pt x="2450" y="3416"/>
                    </a:lnTo>
                    <a:lnTo>
                      <a:pt x="2454" y="3420"/>
                    </a:lnTo>
                    <a:lnTo>
                      <a:pt x="2456" y="3422"/>
                    </a:lnTo>
                    <a:lnTo>
                      <a:pt x="2458" y="3422"/>
                    </a:lnTo>
                    <a:lnTo>
                      <a:pt x="2458" y="3422"/>
                    </a:lnTo>
                    <a:lnTo>
                      <a:pt x="2458" y="3422"/>
                    </a:lnTo>
                    <a:lnTo>
                      <a:pt x="2460" y="3422"/>
                    </a:lnTo>
                    <a:lnTo>
                      <a:pt x="2460" y="3420"/>
                    </a:lnTo>
                    <a:lnTo>
                      <a:pt x="2460" y="3418"/>
                    </a:lnTo>
                    <a:lnTo>
                      <a:pt x="2462" y="3416"/>
                    </a:lnTo>
                    <a:lnTo>
                      <a:pt x="2462" y="3416"/>
                    </a:lnTo>
                    <a:lnTo>
                      <a:pt x="2464" y="3412"/>
                    </a:lnTo>
                    <a:lnTo>
                      <a:pt x="2466" y="3406"/>
                    </a:lnTo>
                    <a:lnTo>
                      <a:pt x="2466" y="3406"/>
                    </a:lnTo>
                    <a:lnTo>
                      <a:pt x="2466" y="3402"/>
                    </a:lnTo>
                    <a:lnTo>
                      <a:pt x="2468" y="3400"/>
                    </a:lnTo>
                    <a:lnTo>
                      <a:pt x="2468" y="3400"/>
                    </a:lnTo>
                    <a:lnTo>
                      <a:pt x="2468" y="3402"/>
                    </a:lnTo>
                    <a:lnTo>
                      <a:pt x="2468" y="3402"/>
                    </a:lnTo>
                    <a:lnTo>
                      <a:pt x="2474" y="3404"/>
                    </a:lnTo>
                    <a:lnTo>
                      <a:pt x="2476" y="3404"/>
                    </a:lnTo>
                    <a:lnTo>
                      <a:pt x="2476" y="3404"/>
                    </a:lnTo>
                    <a:lnTo>
                      <a:pt x="2476" y="3402"/>
                    </a:lnTo>
                    <a:lnTo>
                      <a:pt x="2478" y="3402"/>
                    </a:lnTo>
                    <a:lnTo>
                      <a:pt x="2478" y="3402"/>
                    </a:lnTo>
                    <a:lnTo>
                      <a:pt x="2480" y="3400"/>
                    </a:lnTo>
                    <a:lnTo>
                      <a:pt x="2480" y="3398"/>
                    </a:lnTo>
                    <a:lnTo>
                      <a:pt x="2480" y="3398"/>
                    </a:lnTo>
                    <a:lnTo>
                      <a:pt x="2482" y="3396"/>
                    </a:lnTo>
                    <a:lnTo>
                      <a:pt x="2482" y="3394"/>
                    </a:lnTo>
                    <a:lnTo>
                      <a:pt x="2482" y="3392"/>
                    </a:lnTo>
                    <a:lnTo>
                      <a:pt x="2482" y="3392"/>
                    </a:lnTo>
                    <a:lnTo>
                      <a:pt x="2482" y="3388"/>
                    </a:lnTo>
                    <a:lnTo>
                      <a:pt x="2480" y="3386"/>
                    </a:lnTo>
                    <a:lnTo>
                      <a:pt x="2480" y="3386"/>
                    </a:lnTo>
                    <a:lnTo>
                      <a:pt x="2482" y="3384"/>
                    </a:lnTo>
                    <a:lnTo>
                      <a:pt x="2480" y="3384"/>
                    </a:lnTo>
                    <a:lnTo>
                      <a:pt x="2480" y="3384"/>
                    </a:lnTo>
                    <a:lnTo>
                      <a:pt x="2478" y="3384"/>
                    </a:lnTo>
                    <a:lnTo>
                      <a:pt x="2478" y="3386"/>
                    </a:lnTo>
                    <a:lnTo>
                      <a:pt x="2478" y="3386"/>
                    </a:lnTo>
                    <a:lnTo>
                      <a:pt x="2476" y="3388"/>
                    </a:lnTo>
                    <a:lnTo>
                      <a:pt x="2476" y="3388"/>
                    </a:lnTo>
                    <a:lnTo>
                      <a:pt x="2472" y="3388"/>
                    </a:lnTo>
                    <a:lnTo>
                      <a:pt x="2470" y="3388"/>
                    </a:lnTo>
                    <a:lnTo>
                      <a:pt x="2470" y="3388"/>
                    </a:lnTo>
                    <a:lnTo>
                      <a:pt x="2468" y="3382"/>
                    </a:lnTo>
                    <a:lnTo>
                      <a:pt x="2466" y="3378"/>
                    </a:lnTo>
                    <a:lnTo>
                      <a:pt x="2466" y="3378"/>
                    </a:lnTo>
                    <a:lnTo>
                      <a:pt x="2468" y="3374"/>
                    </a:lnTo>
                    <a:lnTo>
                      <a:pt x="2468" y="3372"/>
                    </a:lnTo>
                    <a:lnTo>
                      <a:pt x="2466" y="3370"/>
                    </a:lnTo>
                    <a:lnTo>
                      <a:pt x="2466" y="3370"/>
                    </a:lnTo>
                    <a:lnTo>
                      <a:pt x="2464" y="3370"/>
                    </a:lnTo>
                    <a:lnTo>
                      <a:pt x="2464" y="3370"/>
                    </a:lnTo>
                    <a:lnTo>
                      <a:pt x="2464" y="3374"/>
                    </a:lnTo>
                    <a:lnTo>
                      <a:pt x="2462" y="3378"/>
                    </a:lnTo>
                    <a:lnTo>
                      <a:pt x="2462" y="3380"/>
                    </a:lnTo>
                    <a:lnTo>
                      <a:pt x="2460" y="3380"/>
                    </a:lnTo>
                    <a:lnTo>
                      <a:pt x="2460" y="3380"/>
                    </a:lnTo>
                    <a:lnTo>
                      <a:pt x="2456" y="3380"/>
                    </a:lnTo>
                    <a:lnTo>
                      <a:pt x="2452" y="3382"/>
                    </a:lnTo>
                    <a:lnTo>
                      <a:pt x="2450" y="3384"/>
                    </a:lnTo>
                    <a:lnTo>
                      <a:pt x="2446" y="3384"/>
                    </a:lnTo>
                    <a:lnTo>
                      <a:pt x="2446" y="3384"/>
                    </a:lnTo>
                    <a:lnTo>
                      <a:pt x="2444" y="3384"/>
                    </a:lnTo>
                    <a:lnTo>
                      <a:pt x="2444" y="3388"/>
                    </a:lnTo>
                    <a:lnTo>
                      <a:pt x="2442" y="3394"/>
                    </a:lnTo>
                    <a:lnTo>
                      <a:pt x="2442" y="3394"/>
                    </a:lnTo>
                    <a:lnTo>
                      <a:pt x="2434" y="3388"/>
                    </a:lnTo>
                    <a:lnTo>
                      <a:pt x="2422" y="3378"/>
                    </a:lnTo>
                    <a:lnTo>
                      <a:pt x="2414" y="3368"/>
                    </a:lnTo>
                    <a:lnTo>
                      <a:pt x="2410" y="3364"/>
                    </a:lnTo>
                    <a:lnTo>
                      <a:pt x="2410" y="3358"/>
                    </a:lnTo>
                    <a:lnTo>
                      <a:pt x="2410" y="3358"/>
                    </a:lnTo>
                    <a:lnTo>
                      <a:pt x="2410" y="3354"/>
                    </a:lnTo>
                    <a:lnTo>
                      <a:pt x="2408" y="3352"/>
                    </a:lnTo>
                    <a:lnTo>
                      <a:pt x="2402" y="3350"/>
                    </a:lnTo>
                    <a:lnTo>
                      <a:pt x="2394" y="3350"/>
                    </a:lnTo>
                    <a:lnTo>
                      <a:pt x="2392" y="3348"/>
                    </a:lnTo>
                    <a:lnTo>
                      <a:pt x="2392" y="3344"/>
                    </a:lnTo>
                    <a:lnTo>
                      <a:pt x="2392" y="3344"/>
                    </a:lnTo>
                    <a:lnTo>
                      <a:pt x="2390" y="3338"/>
                    </a:lnTo>
                    <a:lnTo>
                      <a:pt x="2386" y="3330"/>
                    </a:lnTo>
                    <a:lnTo>
                      <a:pt x="2382" y="3320"/>
                    </a:lnTo>
                    <a:lnTo>
                      <a:pt x="2376" y="3302"/>
                    </a:lnTo>
                    <a:lnTo>
                      <a:pt x="2376" y="3302"/>
                    </a:lnTo>
                    <a:lnTo>
                      <a:pt x="2370" y="3290"/>
                    </a:lnTo>
                    <a:lnTo>
                      <a:pt x="2366" y="3284"/>
                    </a:lnTo>
                    <a:lnTo>
                      <a:pt x="2364" y="3280"/>
                    </a:lnTo>
                    <a:lnTo>
                      <a:pt x="2362" y="3270"/>
                    </a:lnTo>
                    <a:lnTo>
                      <a:pt x="2362" y="3270"/>
                    </a:lnTo>
                    <a:lnTo>
                      <a:pt x="2360" y="3266"/>
                    </a:lnTo>
                    <a:lnTo>
                      <a:pt x="2358" y="3264"/>
                    </a:lnTo>
                    <a:lnTo>
                      <a:pt x="2352" y="3262"/>
                    </a:lnTo>
                    <a:lnTo>
                      <a:pt x="2346" y="3260"/>
                    </a:lnTo>
                    <a:lnTo>
                      <a:pt x="2346" y="3258"/>
                    </a:lnTo>
                    <a:lnTo>
                      <a:pt x="2346" y="3254"/>
                    </a:lnTo>
                    <a:lnTo>
                      <a:pt x="2346" y="3254"/>
                    </a:lnTo>
                    <a:lnTo>
                      <a:pt x="2350" y="3250"/>
                    </a:lnTo>
                    <a:lnTo>
                      <a:pt x="2354" y="3248"/>
                    </a:lnTo>
                    <a:lnTo>
                      <a:pt x="2360" y="3250"/>
                    </a:lnTo>
                    <a:lnTo>
                      <a:pt x="2362" y="3248"/>
                    </a:lnTo>
                    <a:lnTo>
                      <a:pt x="2362" y="3246"/>
                    </a:lnTo>
                    <a:lnTo>
                      <a:pt x="2354" y="3228"/>
                    </a:lnTo>
                    <a:lnTo>
                      <a:pt x="2354" y="3228"/>
                    </a:lnTo>
                    <a:lnTo>
                      <a:pt x="2354" y="3224"/>
                    </a:lnTo>
                    <a:lnTo>
                      <a:pt x="2356" y="3224"/>
                    </a:lnTo>
                    <a:lnTo>
                      <a:pt x="2364" y="3226"/>
                    </a:lnTo>
                    <a:lnTo>
                      <a:pt x="2372" y="3230"/>
                    </a:lnTo>
                    <a:lnTo>
                      <a:pt x="2376" y="3232"/>
                    </a:lnTo>
                    <a:lnTo>
                      <a:pt x="2378" y="3230"/>
                    </a:lnTo>
                    <a:lnTo>
                      <a:pt x="2378" y="3230"/>
                    </a:lnTo>
                    <a:lnTo>
                      <a:pt x="2384" y="3226"/>
                    </a:lnTo>
                    <a:lnTo>
                      <a:pt x="2390" y="3226"/>
                    </a:lnTo>
                    <a:lnTo>
                      <a:pt x="2392" y="3224"/>
                    </a:lnTo>
                    <a:lnTo>
                      <a:pt x="2394" y="3216"/>
                    </a:lnTo>
                    <a:lnTo>
                      <a:pt x="2394" y="3216"/>
                    </a:lnTo>
                    <a:lnTo>
                      <a:pt x="2396" y="3212"/>
                    </a:lnTo>
                    <a:lnTo>
                      <a:pt x="2398" y="3212"/>
                    </a:lnTo>
                    <a:lnTo>
                      <a:pt x="2406" y="3218"/>
                    </a:lnTo>
                    <a:lnTo>
                      <a:pt x="2412" y="3222"/>
                    </a:lnTo>
                    <a:lnTo>
                      <a:pt x="2416" y="3224"/>
                    </a:lnTo>
                    <a:lnTo>
                      <a:pt x="2424" y="3224"/>
                    </a:lnTo>
                    <a:lnTo>
                      <a:pt x="2430" y="3222"/>
                    </a:lnTo>
                    <a:lnTo>
                      <a:pt x="2430" y="3222"/>
                    </a:lnTo>
                    <a:lnTo>
                      <a:pt x="2436" y="3218"/>
                    </a:lnTo>
                    <a:lnTo>
                      <a:pt x="2438" y="3218"/>
                    </a:lnTo>
                    <a:lnTo>
                      <a:pt x="2440" y="3220"/>
                    </a:lnTo>
                    <a:lnTo>
                      <a:pt x="2442" y="3222"/>
                    </a:lnTo>
                    <a:lnTo>
                      <a:pt x="2444" y="3232"/>
                    </a:lnTo>
                    <a:lnTo>
                      <a:pt x="2448" y="3238"/>
                    </a:lnTo>
                    <a:lnTo>
                      <a:pt x="2452" y="3244"/>
                    </a:lnTo>
                    <a:lnTo>
                      <a:pt x="2452" y="3220"/>
                    </a:lnTo>
                    <a:lnTo>
                      <a:pt x="2414" y="3146"/>
                    </a:lnTo>
                    <a:lnTo>
                      <a:pt x="2378" y="3050"/>
                    </a:lnTo>
                    <a:lnTo>
                      <a:pt x="2372" y="3006"/>
                    </a:lnTo>
                    <a:lnTo>
                      <a:pt x="2378" y="2910"/>
                    </a:lnTo>
                    <a:lnTo>
                      <a:pt x="2378" y="2868"/>
                    </a:lnTo>
                    <a:lnTo>
                      <a:pt x="2392" y="2778"/>
                    </a:lnTo>
                    <a:lnTo>
                      <a:pt x="2392" y="2778"/>
                    </a:lnTo>
                    <a:lnTo>
                      <a:pt x="2386" y="2780"/>
                    </a:lnTo>
                    <a:lnTo>
                      <a:pt x="2382" y="2780"/>
                    </a:lnTo>
                    <a:lnTo>
                      <a:pt x="2380" y="2778"/>
                    </a:lnTo>
                    <a:lnTo>
                      <a:pt x="2380" y="2776"/>
                    </a:lnTo>
                    <a:lnTo>
                      <a:pt x="2378" y="2770"/>
                    </a:lnTo>
                    <a:lnTo>
                      <a:pt x="2376" y="2768"/>
                    </a:lnTo>
                    <a:lnTo>
                      <a:pt x="2374" y="2768"/>
                    </a:lnTo>
                    <a:lnTo>
                      <a:pt x="2374" y="2768"/>
                    </a:lnTo>
                    <a:lnTo>
                      <a:pt x="2376" y="2768"/>
                    </a:lnTo>
                    <a:lnTo>
                      <a:pt x="2378" y="2770"/>
                    </a:lnTo>
                    <a:lnTo>
                      <a:pt x="2380" y="2776"/>
                    </a:lnTo>
                    <a:lnTo>
                      <a:pt x="2380" y="2778"/>
                    </a:lnTo>
                    <a:lnTo>
                      <a:pt x="2382" y="2780"/>
                    </a:lnTo>
                    <a:lnTo>
                      <a:pt x="2386" y="2780"/>
                    </a:lnTo>
                    <a:lnTo>
                      <a:pt x="2392" y="2778"/>
                    </a:lnTo>
                    <a:lnTo>
                      <a:pt x="2392" y="2778"/>
                    </a:lnTo>
                    <a:lnTo>
                      <a:pt x="2390" y="2764"/>
                    </a:lnTo>
                    <a:lnTo>
                      <a:pt x="2394" y="2746"/>
                    </a:lnTo>
                    <a:lnTo>
                      <a:pt x="2390" y="2726"/>
                    </a:lnTo>
                    <a:lnTo>
                      <a:pt x="2386" y="2674"/>
                    </a:lnTo>
                    <a:lnTo>
                      <a:pt x="2384" y="2658"/>
                    </a:lnTo>
                    <a:lnTo>
                      <a:pt x="2386" y="2626"/>
                    </a:lnTo>
                    <a:lnTo>
                      <a:pt x="2360" y="2586"/>
                    </a:lnTo>
                    <a:lnTo>
                      <a:pt x="2336" y="2534"/>
                    </a:lnTo>
                    <a:lnTo>
                      <a:pt x="2284" y="2470"/>
                    </a:lnTo>
                    <a:lnTo>
                      <a:pt x="2274" y="2434"/>
                    </a:lnTo>
                    <a:lnTo>
                      <a:pt x="2302" y="2390"/>
                    </a:lnTo>
                    <a:lnTo>
                      <a:pt x="2334" y="2368"/>
                    </a:lnTo>
                    <a:lnTo>
                      <a:pt x="2352" y="2336"/>
                    </a:lnTo>
                    <a:lnTo>
                      <a:pt x="2346" y="2304"/>
                    </a:lnTo>
                    <a:lnTo>
                      <a:pt x="2318" y="2270"/>
                    </a:lnTo>
                    <a:lnTo>
                      <a:pt x="2280" y="2246"/>
                    </a:lnTo>
                    <a:lnTo>
                      <a:pt x="2264" y="2186"/>
                    </a:lnTo>
                    <a:lnTo>
                      <a:pt x="2274" y="2140"/>
                    </a:lnTo>
                    <a:lnTo>
                      <a:pt x="2274" y="2140"/>
                    </a:lnTo>
                    <a:lnTo>
                      <a:pt x="2288" y="2090"/>
                    </a:lnTo>
                    <a:lnTo>
                      <a:pt x="2288" y="2090"/>
                    </a:lnTo>
                    <a:lnTo>
                      <a:pt x="2290" y="2086"/>
                    </a:lnTo>
                    <a:lnTo>
                      <a:pt x="2296" y="2086"/>
                    </a:lnTo>
                    <a:lnTo>
                      <a:pt x="2308" y="2088"/>
                    </a:lnTo>
                    <a:lnTo>
                      <a:pt x="2328" y="2096"/>
                    </a:lnTo>
                    <a:lnTo>
                      <a:pt x="2370" y="2082"/>
                    </a:lnTo>
                    <a:lnTo>
                      <a:pt x="2376" y="2058"/>
                    </a:lnTo>
                    <a:lnTo>
                      <a:pt x="2440" y="2024"/>
                    </a:lnTo>
                    <a:lnTo>
                      <a:pt x="2384" y="1780"/>
                    </a:lnTo>
                    <a:lnTo>
                      <a:pt x="2264" y="1588"/>
                    </a:lnTo>
                    <a:lnTo>
                      <a:pt x="2204" y="1444"/>
                    </a:lnTo>
                    <a:lnTo>
                      <a:pt x="2204" y="1264"/>
                    </a:lnTo>
                    <a:lnTo>
                      <a:pt x="2204" y="1264"/>
                    </a:lnTo>
                    <a:lnTo>
                      <a:pt x="2212" y="1228"/>
                    </a:lnTo>
                    <a:lnTo>
                      <a:pt x="2224" y="1194"/>
                    </a:lnTo>
                    <a:lnTo>
                      <a:pt x="2232" y="1174"/>
                    </a:lnTo>
                    <a:lnTo>
                      <a:pt x="2240" y="1156"/>
                    </a:lnTo>
                    <a:lnTo>
                      <a:pt x="2240" y="1156"/>
                    </a:lnTo>
                    <a:lnTo>
                      <a:pt x="2248" y="1138"/>
                    </a:lnTo>
                    <a:lnTo>
                      <a:pt x="2258" y="1112"/>
                    </a:lnTo>
                    <a:lnTo>
                      <a:pt x="2282" y="1046"/>
                    </a:lnTo>
                    <a:lnTo>
                      <a:pt x="2282" y="1046"/>
                    </a:lnTo>
                    <a:lnTo>
                      <a:pt x="2276" y="1048"/>
                    </a:lnTo>
                    <a:lnTo>
                      <a:pt x="2274" y="1046"/>
                    </a:lnTo>
                    <a:lnTo>
                      <a:pt x="2270" y="1038"/>
                    </a:lnTo>
                    <a:lnTo>
                      <a:pt x="2266" y="1032"/>
                    </a:lnTo>
                    <a:lnTo>
                      <a:pt x="2262" y="1026"/>
                    </a:lnTo>
                    <a:lnTo>
                      <a:pt x="2256" y="1018"/>
                    </a:lnTo>
                    <a:lnTo>
                      <a:pt x="2246" y="1014"/>
                    </a:lnTo>
                    <a:lnTo>
                      <a:pt x="2246" y="1014"/>
                    </a:lnTo>
                    <a:lnTo>
                      <a:pt x="2236" y="1006"/>
                    </a:lnTo>
                    <a:lnTo>
                      <a:pt x="2234" y="1004"/>
                    </a:lnTo>
                    <a:lnTo>
                      <a:pt x="2232" y="1000"/>
                    </a:lnTo>
                    <a:lnTo>
                      <a:pt x="2234" y="998"/>
                    </a:lnTo>
                    <a:lnTo>
                      <a:pt x="2234" y="994"/>
                    </a:lnTo>
                    <a:lnTo>
                      <a:pt x="2242" y="988"/>
                    </a:lnTo>
                    <a:lnTo>
                      <a:pt x="2250" y="982"/>
                    </a:lnTo>
                    <a:lnTo>
                      <a:pt x="2262" y="978"/>
                    </a:lnTo>
                    <a:lnTo>
                      <a:pt x="2274" y="974"/>
                    </a:lnTo>
                    <a:lnTo>
                      <a:pt x="2286" y="974"/>
                    </a:lnTo>
                    <a:lnTo>
                      <a:pt x="2286" y="974"/>
                    </a:lnTo>
                    <a:lnTo>
                      <a:pt x="2292" y="974"/>
                    </a:lnTo>
                    <a:lnTo>
                      <a:pt x="2296" y="972"/>
                    </a:lnTo>
                    <a:lnTo>
                      <a:pt x="2298" y="968"/>
                    </a:lnTo>
                    <a:lnTo>
                      <a:pt x="2300" y="966"/>
                    </a:lnTo>
                    <a:lnTo>
                      <a:pt x="2298" y="956"/>
                    </a:lnTo>
                    <a:lnTo>
                      <a:pt x="2294" y="946"/>
                    </a:lnTo>
                    <a:lnTo>
                      <a:pt x="2284" y="936"/>
                    </a:lnTo>
                    <a:lnTo>
                      <a:pt x="2272" y="928"/>
                    </a:lnTo>
                    <a:lnTo>
                      <a:pt x="2258" y="922"/>
                    </a:lnTo>
                    <a:lnTo>
                      <a:pt x="2250" y="922"/>
                    </a:lnTo>
                    <a:lnTo>
                      <a:pt x="2242" y="920"/>
                    </a:lnTo>
                    <a:lnTo>
                      <a:pt x="2242" y="920"/>
                    </a:lnTo>
                    <a:lnTo>
                      <a:pt x="2224" y="920"/>
                    </a:lnTo>
                    <a:lnTo>
                      <a:pt x="2208" y="918"/>
                    </a:lnTo>
                    <a:lnTo>
                      <a:pt x="2182" y="912"/>
                    </a:lnTo>
                    <a:lnTo>
                      <a:pt x="2174" y="912"/>
                    </a:lnTo>
                    <a:lnTo>
                      <a:pt x="2172" y="912"/>
                    </a:lnTo>
                    <a:lnTo>
                      <a:pt x="2172" y="914"/>
                    </a:lnTo>
                    <a:lnTo>
                      <a:pt x="2174" y="918"/>
                    </a:lnTo>
                    <a:lnTo>
                      <a:pt x="2186" y="928"/>
                    </a:lnTo>
                    <a:lnTo>
                      <a:pt x="2186" y="928"/>
                    </a:lnTo>
                    <a:lnTo>
                      <a:pt x="2192" y="934"/>
                    </a:lnTo>
                    <a:lnTo>
                      <a:pt x="2196" y="942"/>
                    </a:lnTo>
                    <a:lnTo>
                      <a:pt x="2198" y="948"/>
                    </a:lnTo>
                    <a:lnTo>
                      <a:pt x="2200" y="954"/>
                    </a:lnTo>
                    <a:lnTo>
                      <a:pt x="2196" y="966"/>
                    </a:lnTo>
                    <a:lnTo>
                      <a:pt x="2192" y="978"/>
                    </a:lnTo>
                    <a:lnTo>
                      <a:pt x="2188" y="990"/>
                    </a:lnTo>
                    <a:lnTo>
                      <a:pt x="2186" y="1000"/>
                    </a:lnTo>
                    <a:lnTo>
                      <a:pt x="2186" y="1006"/>
                    </a:lnTo>
                    <a:lnTo>
                      <a:pt x="2188" y="1012"/>
                    </a:lnTo>
                    <a:lnTo>
                      <a:pt x="2194" y="1016"/>
                    </a:lnTo>
                    <a:lnTo>
                      <a:pt x="2200" y="1022"/>
                    </a:lnTo>
                    <a:lnTo>
                      <a:pt x="2200" y="1022"/>
                    </a:lnTo>
                    <a:lnTo>
                      <a:pt x="2212" y="1032"/>
                    </a:lnTo>
                    <a:lnTo>
                      <a:pt x="2216" y="1036"/>
                    </a:lnTo>
                    <a:lnTo>
                      <a:pt x="2218" y="1040"/>
                    </a:lnTo>
                    <a:lnTo>
                      <a:pt x="2216" y="1046"/>
                    </a:lnTo>
                    <a:lnTo>
                      <a:pt x="2214" y="1054"/>
                    </a:lnTo>
                    <a:lnTo>
                      <a:pt x="2208" y="1062"/>
                    </a:lnTo>
                    <a:lnTo>
                      <a:pt x="2204" y="1072"/>
                    </a:lnTo>
                    <a:lnTo>
                      <a:pt x="2200" y="1084"/>
                    </a:lnTo>
                    <a:lnTo>
                      <a:pt x="2202" y="1098"/>
                    </a:lnTo>
                    <a:lnTo>
                      <a:pt x="2202" y="1098"/>
                    </a:lnTo>
                    <a:lnTo>
                      <a:pt x="2202" y="1106"/>
                    </a:lnTo>
                    <a:lnTo>
                      <a:pt x="2202" y="1106"/>
                    </a:lnTo>
                    <a:lnTo>
                      <a:pt x="2200" y="1104"/>
                    </a:lnTo>
                    <a:lnTo>
                      <a:pt x="2192" y="1096"/>
                    </a:lnTo>
                    <a:lnTo>
                      <a:pt x="2180" y="1084"/>
                    </a:lnTo>
                    <a:lnTo>
                      <a:pt x="2166" y="1072"/>
                    </a:lnTo>
                    <a:lnTo>
                      <a:pt x="2156" y="1068"/>
                    </a:lnTo>
                    <a:lnTo>
                      <a:pt x="2148" y="1066"/>
                    </a:lnTo>
                    <a:lnTo>
                      <a:pt x="2136" y="1064"/>
                    </a:lnTo>
                    <a:lnTo>
                      <a:pt x="2126" y="1066"/>
                    </a:lnTo>
                    <a:lnTo>
                      <a:pt x="2114" y="1070"/>
                    </a:lnTo>
                    <a:lnTo>
                      <a:pt x="2102" y="1076"/>
                    </a:lnTo>
                    <a:lnTo>
                      <a:pt x="2102" y="1076"/>
                    </a:lnTo>
                    <a:lnTo>
                      <a:pt x="2078" y="1092"/>
                    </a:lnTo>
                    <a:lnTo>
                      <a:pt x="2056" y="1104"/>
                    </a:lnTo>
                    <a:lnTo>
                      <a:pt x="2040" y="1114"/>
                    </a:lnTo>
                    <a:lnTo>
                      <a:pt x="2028" y="1122"/>
                    </a:lnTo>
                    <a:lnTo>
                      <a:pt x="2022" y="1130"/>
                    </a:lnTo>
                    <a:lnTo>
                      <a:pt x="2020" y="1134"/>
                    </a:lnTo>
                    <a:lnTo>
                      <a:pt x="2022" y="1140"/>
                    </a:lnTo>
                    <a:lnTo>
                      <a:pt x="2026" y="1150"/>
                    </a:lnTo>
                    <a:lnTo>
                      <a:pt x="2040" y="1166"/>
                    </a:lnTo>
                    <a:lnTo>
                      <a:pt x="2040" y="1166"/>
                    </a:lnTo>
                    <a:lnTo>
                      <a:pt x="2052" y="1180"/>
                    </a:lnTo>
                    <a:lnTo>
                      <a:pt x="2054" y="1186"/>
                    </a:lnTo>
                    <a:lnTo>
                      <a:pt x="2054" y="1192"/>
                    </a:lnTo>
                    <a:lnTo>
                      <a:pt x="2054" y="1196"/>
                    </a:lnTo>
                    <a:lnTo>
                      <a:pt x="2050" y="1198"/>
                    </a:lnTo>
                    <a:lnTo>
                      <a:pt x="2046" y="1200"/>
                    </a:lnTo>
                    <a:lnTo>
                      <a:pt x="2040" y="1202"/>
                    </a:lnTo>
                    <a:lnTo>
                      <a:pt x="2026" y="1202"/>
                    </a:lnTo>
                    <a:lnTo>
                      <a:pt x="2006" y="1198"/>
                    </a:lnTo>
                    <a:lnTo>
                      <a:pt x="1984" y="1190"/>
                    </a:lnTo>
                    <a:lnTo>
                      <a:pt x="1958" y="1180"/>
                    </a:lnTo>
                    <a:lnTo>
                      <a:pt x="1958" y="1180"/>
                    </a:lnTo>
                    <a:lnTo>
                      <a:pt x="1934" y="1170"/>
                    </a:lnTo>
                    <a:lnTo>
                      <a:pt x="1916" y="1164"/>
                    </a:lnTo>
                    <a:lnTo>
                      <a:pt x="1900" y="1162"/>
                    </a:lnTo>
                    <a:lnTo>
                      <a:pt x="1892" y="1164"/>
                    </a:lnTo>
                    <a:lnTo>
                      <a:pt x="1888" y="1166"/>
                    </a:lnTo>
                    <a:lnTo>
                      <a:pt x="1886" y="1170"/>
                    </a:lnTo>
                    <a:lnTo>
                      <a:pt x="1886" y="1176"/>
                    </a:lnTo>
                    <a:lnTo>
                      <a:pt x="1892" y="1186"/>
                    </a:lnTo>
                    <a:lnTo>
                      <a:pt x="1900" y="1196"/>
                    </a:lnTo>
                    <a:lnTo>
                      <a:pt x="1900" y="1196"/>
                    </a:lnTo>
                    <a:lnTo>
                      <a:pt x="1912" y="1206"/>
                    </a:lnTo>
                    <a:lnTo>
                      <a:pt x="1924" y="1214"/>
                    </a:lnTo>
                    <a:lnTo>
                      <a:pt x="1946" y="1222"/>
                    </a:lnTo>
                    <a:lnTo>
                      <a:pt x="1954" y="1226"/>
                    </a:lnTo>
                    <a:lnTo>
                      <a:pt x="1956" y="1228"/>
                    </a:lnTo>
                    <a:lnTo>
                      <a:pt x="1956" y="1232"/>
                    </a:lnTo>
                    <a:lnTo>
                      <a:pt x="1952" y="1238"/>
                    </a:lnTo>
                    <a:lnTo>
                      <a:pt x="1940" y="1246"/>
                    </a:lnTo>
                    <a:lnTo>
                      <a:pt x="1940" y="1246"/>
                    </a:lnTo>
                    <a:lnTo>
                      <a:pt x="1926" y="1252"/>
                    </a:lnTo>
                    <a:lnTo>
                      <a:pt x="1920" y="1252"/>
                    </a:lnTo>
                    <a:lnTo>
                      <a:pt x="1916" y="1252"/>
                    </a:lnTo>
                    <a:lnTo>
                      <a:pt x="1908" y="1248"/>
                    </a:lnTo>
                    <a:lnTo>
                      <a:pt x="1902" y="1240"/>
                    </a:lnTo>
                    <a:lnTo>
                      <a:pt x="1894" y="1232"/>
                    </a:lnTo>
                    <a:lnTo>
                      <a:pt x="1886" y="1224"/>
                    </a:lnTo>
                    <a:lnTo>
                      <a:pt x="1874" y="1216"/>
                    </a:lnTo>
                    <a:lnTo>
                      <a:pt x="1868" y="1212"/>
                    </a:lnTo>
                    <a:lnTo>
                      <a:pt x="1858" y="1210"/>
                    </a:lnTo>
                    <a:lnTo>
                      <a:pt x="1858" y="1210"/>
                    </a:lnTo>
                    <a:lnTo>
                      <a:pt x="1844" y="1206"/>
                    </a:lnTo>
                    <a:lnTo>
                      <a:pt x="1836" y="1202"/>
                    </a:lnTo>
                    <a:lnTo>
                      <a:pt x="1832" y="1196"/>
                    </a:lnTo>
                    <a:lnTo>
                      <a:pt x="1832" y="1188"/>
                    </a:lnTo>
                    <a:lnTo>
                      <a:pt x="1832" y="1182"/>
                    </a:lnTo>
                    <a:lnTo>
                      <a:pt x="1830" y="1174"/>
                    </a:lnTo>
                    <a:lnTo>
                      <a:pt x="1826" y="1164"/>
                    </a:lnTo>
                    <a:lnTo>
                      <a:pt x="1818" y="1156"/>
                    </a:lnTo>
                    <a:lnTo>
                      <a:pt x="1818" y="1156"/>
                    </a:lnTo>
                    <a:lnTo>
                      <a:pt x="1814" y="1152"/>
                    </a:lnTo>
                    <a:lnTo>
                      <a:pt x="1812" y="1148"/>
                    </a:lnTo>
                    <a:lnTo>
                      <a:pt x="1812" y="1144"/>
                    </a:lnTo>
                    <a:lnTo>
                      <a:pt x="1812" y="1140"/>
                    </a:lnTo>
                    <a:lnTo>
                      <a:pt x="1816" y="1134"/>
                    </a:lnTo>
                    <a:lnTo>
                      <a:pt x="1822" y="1128"/>
                    </a:lnTo>
                    <a:lnTo>
                      <a:pt x="1826" y="1122"/>
                    </a:lnTo>
                    <a:lnTo>
                      <a:pt x="1830" y="1114"/>
                    </a:lnTo>
                    <a:lnTo>
                      <a:pt x="1828" y="1110"/>
                    </a:lnTo>
                    <a:lnTo>
                      <a:pt x="1826" y="1106"/>
                    </a:lnTo>
                    <a:lnTo>
                      <a:pt x="1822" y="1100"/>
                    </a:lnTo>
                    <a:lnTo>
                      <a:pt x="1816" y="1096"/>
                    </a:lnTo>
                    <a:lnTo>
                      <a:pt x="1816" y="1096"/>
                    </a:lnTo>
                    <a:lnTo>
                      <a:pt x="1800" y="1084"/>
                    </a:lnTo>
                    <a:lnTo>
                      <a:pt x="1784" y="1076"/>
                    </a:lnTo>
                    <a:lnTo>
                      <a:pt x="1758" y="1060"/>
                    </a:lnTo>
                    <a:lnTo>
                      <a:pt x="1746" y="1054"/>
                    </a:lnTo>
                    <a:lnTo>
                      <a:pt x="1738" y="1046"/>
                    </a:lnTo>
                    <a:lnTo>
                      <a:pt x="1730" y="1036"/>
                    </a:lnTo>
                    <a:lnTo>
                      <a:pt x="1726" y="1026"/>
                    </a:lnTo>
                    <a:lnTo>
                      <a:pt x="1726" y="1026"/>
                    </a:lnTo>
                    <a:lnTo>
                      <a:pt x="1724" y="1018"/>
                    </a:lnTo>
                    <a:lnTo>
                      <a:pt x="1726" y="1016"/>
                    </a:lnTo>
                    <a:lnTo>
                      <a:pt x="1736" y="1026"/>
                    </a:lnTo>
                    <a:lnTo>
                      <a:pt x="1746" y="1036"/>
                    </a:lnTo>
                    <a:lnTo>
                      <a:pt x="1762" y="1044"/>
                    </a:lnTo>
                    <a:lnTo>
                      <a:pt x="1782" y="1054"/>
                    </a:lnTo>
                    <a:lnTo>
                      <a:pt x="1808" y="1060"/>
                    </a:lnTo>
                    <a:lnTo>
                      <a:pt x="1808" y="1060"/>
                    </a:lnTo>
                    <a:lnTo>
                      <a:pt x="1836" y="1066"/>
                    </a:lnTo>
                    <a:lnTo>
                      <a:pt x="1864" y="1074"/>
                    </a:lnTo>
                    <a:lnTo>
                      <a:pt x="1920" y="1092"/>
                    </a:lnTo>
                    <a:lnTo>
                      <a:pt x="1948" y="1098"/>
                    </a:lnTo>
                    <a:lnTo>
                      <a:pt x="1962" y="1100"/>
                    </a:lnTo>
                    <a:lnTo>
                      <a:pt x="1976" y="1100"/>
                    </a:lnTo>
                    <a:lnTo>
                      <a:pt x="1990" y="1098"/>
                    </a:lnTo>
                    <a:lnTo>
                      <a:pt x="2002" y="1096"/>
                    </a:lnTo>
                    <a:lnTo>
                      <a:pt x="2016" y="1092"/>
                    </a:lnTo>
                    <a:lnTo>
                      <a:pt x="2030" y="1084"/>
                    </a:lnTo>
                    <a:lnTo>
                      <a:pt x="2030" y="1084"/>
                    </a:lnTo>
                    <a:lnTo>
                      <a:pt x="2052" y="1070"/>
                    </a:lnTo>
                    <a:lnTo>
                      <a:pt x="2072" y="1056"/>
                    </a:lnTo>
                    <a:lnTo>
                      <a:pt x="2084" y="1042"/>
                    </a:lnTo>
                    <a:lnTo>
                      <a:pt x="2090" y="1036"/>
                    </a:lnTo>
                    <a:lnTo>
                      <a:pt x="2092" y="1030"/>
                    </a:lnTo>
                    <a:lnTo>
                      <a:pt x="2094" y="1022"/>
                    </a:lnTo>
                    <a:lnTo>
                      <a:pt x="2092" y="1016"/>
                    </a:lnTo>
                    <a:lnTo>
                      <a:pt x="2090" y="1010"/>
                    </a:lnTo>
                    <a:lnTo>
                      <a:pt x="2086" y="1002"/>
                    </a:lnTo>
                    <a:lnTo>
                      <a:pt x="2080" y="994"/>
                    </a:lnTo>
                    <a:lnTo>
                      <a:pt x="2072" y="988"/>
                    </a:lnTo>
                    <a:lnTo>
                      <a:pt x="2050" y="970"/>
                    </a:lnTo>
                    <a:lnTo>
                      <a:pt x="2050" y="970"/>
                    </a:lnTo>
                    <a:lnTo>
                      <a:pt x="2010" y="946"/>
                    </a:lnTo>
                    <a:lnTo>
                      <a:pt x="1982" y="934"/>
                    </a:lnTo>
                    <a:lnTo>
                      <a:pt x="1954" y="920"/>
                    </a:lnTo>
                    <a:lnTo>
                      <a:pt x="1910" y="896"/>
                    </a:lnTo>
                    <a:lnTo>
                      <a:pt x="1910" y="896"/>
                    </a:lnTo>
                    <a:lnTo>
                      <a:pt x="1884" y="882"/>
                    </a:lnTo>
                    <a:lnTo>
                      <a:pt x="1868" y="874"/>
                    </a:lnTo>
                    <a:lnTo>
                      <a:pt x="1854" y="870"/>
                    </a:lnTo>
                    <a:lnTo>
                      <a:pt x="1844" y="870"/>
                    </a:lnTo>
                    <a:lnTo>
                      <a:pt x="1834" y="872"/>
                    </a:lnTo>
                    <a:lnTo>
                      <a:pt x="1822" y="872"/>
                    </a:lnTo>
                    <a:lnTo>
                      <a:pt x="1808" y="870"/>
                    </a:lnTo>
                    <a:lnTo>
                      <a:pt x="1786" y="866"/>
                    </a:lnTo>
                    <a:lnTo>
                      <a:pt x="1786" y="866"/>
                    </a:lnTo>
                    <a:lnTo>
                      <a:pt x="1768" y="858"/>
                    </a:lnTo>
                    <a:lnTo>
                      <a:pt x="1758" y="852"/>
                    </a:lnTo>
                    <a:lnTo>
                      <a:pt x="1756" y="850"/>
                    </a:lnTo>
                    <a:lnTo>
                      <a:pt x="1756" y="846"/>
                    </a:lnTo>
                    <a:lnTo>
                      <a:pt x="1758" y="844"/>
                    </a:lnTo>
                    <a:lnTo>
                      <a:pt x="1758" y="840"/>
                    </a:lnTo>
                    <a:lnTo>
                      <a:pt x="1752" y="834"/>
                    </a:lnTo>
                    <a:lnTo>
                      <a:pt x="1740" y="828"/>
                    </a:lnTo>
                    <a:lnTo>
                      <a:pt x="1740" y="828"/>
                    </a:lnTo>
                    <a:lnTo>
                      <a:pt x="1726" y="824"/>
                    </a:lnTo>
                    <a:lnTo>
                      <a:pt x="1718" y="824"/>
                    </a:lnTo>
                    <a:lnTo>
                      <a:pt x="1712" y="826"/>
                    </a:lnTo>
                    <a:lnTo>
                      <a:pt x="1710" y="830"/>
                    </a:lnTo>
                    <a:lnTo>
                      <a:pt x="1706" y="834"/>
                    </a:lnTo>
                    <a:lnTo>
                      <a:pt x="1698" y="838"/>
                    </a:lnTo>
                    <a:lnTo>
                      <a:pt x="1686" y="838"/>
                    </a:lnTo>
                    <a:lnTo>
                      <a:pt x="1666" y="834"/>
                    </a:lnTo>
                    <a:lnTo>
                      <a:pt x="1666" y="834"/>
                    </a:lnTo>
                    <a:lnTo>
                      <a:pt x="1658" y="832"/>
                    </a:lnTo>
                    <a:lnTo>
                      <a:pt x="1652" y="832"/>
                    </a:lnTo>
                    <a:lnTo>
                      <a:pt x="1648" y="832"/>
                    </a:lnTo>
                    <a:lnTo>
                      <a:pt x="1644" y="828"/>
                    </a:lnTo>
                    <a:lnTo>
                      <a:pt x="1644" y="828"/>
                    </a:lnTo>
                    <a:lnTo>
                      <a:pt x="1640" y="828"/>
                    </a:lnTo>
                    <a:lnTo>
                      <a:pt x="1638" y="830"/>
                    </a:lnTo>
                    <a:lnTo>
                      <a:pt x="1636" y="834"/>
                    </a:lnTo>
                    <a:lnTo>
                      <a:pt x="1630" y="836"/>
                    </a:lnTo>
                    <a:lnTo>
                      <a:pt x="1630" y="836"/>
                    </a:lnTo>
                    <a:lnTo>
                      <a:pt x="1620" y="838"/>
                    </a:lnTo>
                    <a:lnTo>
                      <a:pt x="1618" y="838"/>
                    </a:lnTo>
                    <a:lnTo>
                      <a:pt x="1618" y="834"/>
                    </a:lnTo>
                    <a:lnTo>
                      <a:pt x="1618" y="834"/>
                    </a:lnTo>
                    <a:lnTo>
                      <a:pt x="1622" y="830"/>
                    </a:lnTo>
                    <a:lnTo>
                      <a:pt x="1622" y="826"/>
                    </a:lnTo>
                    <a:lnTo>
                      <a:pt x="1620" y="822"/>
                    </a:lnTo>
                    <a:lnTo>
                      <a:pt x="1618" y="820"/>
                    </a:lnTo>
                    <a:lnTo>
                      <a:pt x="1614" y="818"/>
                    </a:lnTo>
                    <a:lnTo>
                      <a:pt x="1608" y="818"/>
                    </a:lnTo>
                    <a:lnTo>
                      <a:pt x="1608" y="818"/>
                    </a:lnTo>
                    <a:lnTo>
                      <a:pt x="1598" y="816"/>
                    </a:lnTo>
                    <a:lnTo>
                      <a:pt x="1590" y="814"/>
                    </a:lnTo>
                    <a:lnTo>
                      <a:pt x="1586" y="812"/>
                    </a:lnTo>
                    <a:lnTo>
                      <a:pt x="1580" y="810"/>
                    </a:lnTo>
                    <a:lnTo>
                      <a:pt x="1580" y="810"/>
                    </a:lnTo>
                    <a:lnTo>
                      <a:pt x="1576" y="810"/>
                    </a:lnTo>
                    <a:lnTo>
                      <a:pt x="1580" y="808"/>
                    </a:lnTo>
                    <a:lnTo>
                      <a:pt x="1592" y="808"/>
                    </a:lnTo>
                    <a:lnTo>
                      <a:pt x="1612" y="812"/>
                    </a:lnTo>
                    <a:lnTo>
                      <a:pt x="1612" y="812"/>
                    </a:lnTo>
                    <a:lnTo>
                      <a:pt x="1624" y="812"/>
                    </a:lnTo>
                    <a:lnTo>
                      <a:pt x="1634" y="812"/>
                    </a:lnTo>
                    <a:lnTo>
                      <a:pt x="1640" y="810"/>
                    </a:lnTo>
                    <a:lnTo>
                      <a:pt x="1646" y="808"/>
                    </a:lnTo>
                    <a:lnTo>
                      <a:pt x="1654" y="800"/>
                    </a:lnTo>
                    <a:lnTo>
                      <a:pt x="1658" y="800"/>
                    </a:lnTo>
                    <a:lnTo>
                      <a:pt x="1662" y="800"/>
                    </a:lnTo>
                    <a:lnTo>
                      <a:pt x="1662" y="800"/>
                    </a:lnTo>
                    <a:lnTo>
                      <a:pt x="1668" y="800"/>
                    </a:lnTo>
                    <a:lnTo>
                      <a:pt x="1672" y="798"/>
                    </a:lnTo>
                    <a:lnTo>
                      <a:pt x="1674" y="796"/>
                    </a:lnTo>
                    <a:lnTo>
                      <a:pt x="1676" y="794"/>
                    </a:lnTo>
                    <a:lnTo>
                      <a:pt x="1676" y="790"/>
                    </a:lnTo>
                    <a:lnTo>
                      <a:pt x="1674" y="788"/>
                    </a:lnTo>
                    <a:lnTo>
                      <a:pt x="1672" y="786"/>
                    </a:lnTo>
                    <a:lnTo>
                      <a:pt x="1668" y="786"/>
                    </a:lnTo>
                    <a:lnTo>
                      <a:pt x="1668" y="786"/>
                    </a:lnTo>
                    <a:lnTo>
                      <a:pt x="1660" y="786"/>
                    </a:lnTo>
                    <a:lnTo>
                      <a:pt x="1658" y="782"/>
                    </a:lnTo>
                    <a:lnTo>
                      <a:pt x="1656" y="780"/>
                    </a:lnTo>
                    <a:lnTo>
                      <a:pt x="1650" y="778"/>
                    </a:lnTo>
                    <a:lnTo>
                      <a:pt x="1650" y="778"/>
                    </a:lnTo>
                    <a:lnTo>
                      <a:pt x="1648" y="776"/>
                    </a:lnTo>
                    <a:lnTo>
                      <a:pt x="1644" y="774"/>
                    </a:lnTo>
                    <a:lnTo>
                      <a:pt x="1640" y="770"/>
                    </a:lnTo>
                    <a:lnTo>
                      <a:pt x="1636" y="766"/>
                    </a:lnTo>
                    <a:lnTo>
                      <a:pt x="1634" y="766"/>
                    </a:lnTo>
                    <a:lnTo>
                      <a:pt x="1630" y="768"/>
                    </a:lnTo>
                    <a:lnTo>
                      <a:pt x="1630" y="768"/>
                    </a:lnTo>
                    <a:lnTo>
                      <a:pt x="1624" y="768"/>
                    </a:lnTo>
                    <a:lnTo>
                      <a:pt x="1624" y="766"/>
                    </a:lnTo>
                    <a:lnTo>
                      <a:pt x="1620" y="764"/>
                    </a:lnTo>
                    <a:lnTo>
                      <a:pt x="1614" y="766"/>
                    </a:lnTo>
                    <a:lnTo>
                      <a:pt x="1614" y="766"/>
                    </a:lnTo>
                    <a:lnTo>
                      <a:pt x="1606" y="768"/>
                    </a:lnTo>
                    <a:lnTo>
                      <a:pt x="1606" y="764"/>
                    </a:lnTo>
                    <a:lnTo>
                      <a:pt x="1606" y="762"/>
                    </a:lnTo>
                    <a:lnTo>
                      <a:pt x="1606" y="760"/>
                    </a:lnTo>
                    <a:lnTo>
                      <a:pt x="1602" y="758"/>
                    </a:lnTo>
                    <a:lnTo>
                      <a:pt x="1596" y="756"/>
                    </a:lnTo>
                    <a:lnTo>
                      <a:pt x="1596" y="756"/>
                    </a:lnTo>
                    <a:lnTo>
                      <a:pt x="1588" y="754"/>
                    </a:lnTo>
                    <a:lnTo>
                      <a:pt x="1582" y="754"/>
                    </a:lnTo>
                    <a:lnTo>
                      <a:pt x="1578" y="758"/>
                    </a:lnTo>
                    <a:lnTo>
                      <a:pt x="1574" y="760"/>
                    </a:lnTo>
                    <a:lnTo>
                      <a:pt x="1572" y="766"/>
                    </a:lnTo>
                    <a:lnTo>
                      <a:pt x="1570" y="770"/>
                    </a:lnTo>
                    <a:lnTo>
                      <a:pt x="1570" y="780"/>
                    </a:lnTo>
                    <a:lnTo>
                      <a:pt x="1570" y="780"/>
                    </a:lnTo>
                    <a:lnTo>
                      <a:pt x="1572" y="786"/>
                    </a:lnTo>
                    <a:lnTo>
                      <a:pt x="1568" y="786"/>
                    </a:lnTo>
                    <a:lnTo>
                      <a:pt x="1564" y="782"/>
                    </a:lnTo>
                    <a:lnTo>
                      <a:pt x="1560" y="782"/>
                    </a:lnTo>
                    <a:lnTo>
                      <a:pt x="1558" y="782"/>
                    </a:lnTo>
                    <a:lnTo>
                      <a:pt x="1558" y="782"/>
                    </a:lnTo>
                    <a:lnTo>
                      <a:pt x="1550" y="784"/>
                    </a:lnTo>
                    <a:lnTo>
                      <a:pt x="1548" y="784"/>
                    </a:lnTo>
                    <a:lnTo>
                      <a:pt x="1548" y="782"/>
                    </a:lnTo>
                    <a:lnTo>
                      <a:pt x="1554" y="778"/>
                    </a:lnTo>
                    <a:lnTo>
                      <a:pt x="1554" y="778"/>
                    </a:lnTo>
                    <a:lnTo>
                      <a:pt x="1560" y="772"/>
                    </a:lnTo>
                    <a:lnTo>
                      <a:pt x="1564" y="768"/>
                    </a:lnTo>
                    <a:lnTo>
                      <a:pt x="1564" y="766"/>
                    </a:lnTo>
                    <a:lnTo>
                      <a:pt x="1562" y="766"/>
                    </a:lnTo>
                    <a:lnTo>
                      <a:pt x="1562" y="766"/>
                    </a:lnTo>
                    <a:lnTo>
                      <a:pt x="1556" y="766"/>
                    </a:lnTo>
                    <a:lnTo>
                      <a:pt x="1554" y="766"/>
                    </a:lnTo>
                    <a:lnTo>
                      <a:pt x="1554" y="762"/>
                    </a:lnTo>
                    <a:lnTo>
                      <a:pt x="1554" y="762"/>
                    </a:lnTo>
                    <a:lnTo>
                      <a:pt x="1558" y="758"/>
                    </a:lnTo>
                    <a:lnTo>
                      <a:pt x="1564" y="756"/>
                    </a:lnTo>
                    <a:lnTo>
                      <a:pt x="1572" y="752"/>
                    </a:lnTo>
                    <a:lnTo>
                      <a:pt x="1574" y="750"/>
                    </a:lnTo>
                    <a:lnTo>
                      <a:pt x="1574" y="748"/>
                    </a:lnTo>
                    <a:lnTo>
                      <a:pt x="1574" y="748"/>
                    </a:lnTo>
                    <a:lnTo>
                      <a:pt x="1572" y="746"/>
                    </a:lnTo>
                    <a:lnTo>
                      <a:pt x="1570" y="746"/>
                    </a:lnTo>
                    <a:lnTo>
                      <a:pt x="1566" y="746"/>
                    </a:lnTo>
                    <a:lnTo>
                      <a:pt x="1562" y="746"/>
                    </a:lnTo>
                    <a:lnTo>
                      <a:pt x="1560" y="746"/>
                    </a:lnTo>
                    <a:lnTo>
                      <a:pt x="1560" y="742"/>
                    </a:lnTo>
                    <a:lnTo>
                      <a:pt x="1560" y="742"/>
                    </a:lnTo>
                    <a:lnTo>
                      <a:pt x="1560" y="740"/>
                    </a:lnTo>
                    <a:lnTo>
                      <a:pt x="1558" y="740"/>
                    </a:lnTo>
                    <a:lnTo>
                      <a:pt x="1554" y="740"/>
                    </a:lnTo>
                    <a:lnTo>
                      <a:pt x="1548" y="742"/>
                    </a:lnTo>
                    <a:lnTo>
                      <a:pt x="1544" y="742"/>
                    </a:lnTo>
                    <a:lnTo>
                      <a:pt x="1540" y="740"/>
                    </a:lnTo>
                    <a:lnTo>
                      <a:pt x="1540" y="740"/>
                    </a:lnTo>
                    <a:lnTo>
                      <a:pt x="1538" y="738"/>
                    </a:lnTo>
                    <a:lnTo>
                      <a:pt x="1536" y="738"/>
                    </a:lnTo>
                    <a:lnTo>
                      <a:pt x="1534" y="740"/>
                    </a:lnTo>
                    <a:lnTo>
                      <a:pt x="1532" y="744"/>
                    </a:lnTo>
                    <a:lnTo>
                      <a:pt x="1530" y="744"/>
                    </a:lnTo>
                    <a:lnTo>
                      <a:pt x="1528" y="744"/>
                    </a:lnTo>
                    <a:lnTo>
                      <a:pt x="1528" y="744"/>
                    </a:lnTo>
                    <a:lnTo>
                      <a:pt x="1524" y="742"/>
                    </a:lnTo>
                    <a:lnTo>
                      <a:pt x="1522" y="744"/>
                    </a:lnTo>
                    <a:lnTo>
                      <a:pt x="1518" y="746"/>
                    </a:lnTo>
                    <a:lnTo>
                      <a:pt x="1518" y="750"/>
                    </a:lnTo>
                    <a:lnTo>
                      <a:pt x="1518" y="752"/>
                    </a:lnTo>
                    <a:lnTo>
                      <a:pt x="1520" y="752"/>
                    </a:lnTo>
                    <a:lnTo>
                      <a:pt x="1524" y="754"/>
                    </a:lnTo>
                    <a:lnTo>
                      <a:pt x="1524" y="754"/>
                    </a:lnTo>
                    <a:lnTo>
                      <a:pt x="1530" y="754"/>
                    </a:lnTo>
                    <a:lnTo>
                      <a:pt x="1528" y="756"/>
                    </a:lnTo>
                    <a:lnTo>
                      <a:pt x="1522" y="760"/>
                    </a:lnTo>
                    <a:lnTo>
                      <a:pt x="1522" y="760"/>
                    </a:lnTo>
                    <a:lnTo>
                      <a:pt x="1522" y="762"/>
                    </a:lnTo>
                    <a:lnTo>
                      <a:pt x="1520" y="764"/>
                    </a:lnTo>
                    <a:lnTo>
                      <a:pt x="1516" y="766"/>
                    </a:lnTo>
                    <a:lnTo>
                      <a:pt x="1516" y="768"/>
                    </a:lnTo>
                    <a:lnTo>
                      <a:pt x="1516" y="768"/>
                    </a:lnTo>
                    <a:lnTo>
                      <a:pt x="1514" y="772"/>
                    </a:lnTo>
                    <a:lnTo>
                      <a:pt x="1512" y="772"/>
                    </a:lnTo>
                    <a:lnTo>
                      <a:pt x="1510" y="774"/>
                    </a:lnTo>
                    <a:lnTo>
                      <a:pt x="1510" y="780"/>
                    </a:lnTo>
                    <a:lnTo>
                      <a:pt x="1510" y="780"/>
                    </a:lnTo>
                    <a:lnTo>
                      <a:pt x="1510" y="782"/>
                    </a:lnTo>
                    <a:lnTo>
                      <a:pt x="1510" y="784"/>
                    </a:lnTo>
                    <a:lnTo>
                      <a:pt x="1504" y="786"/>
                    </a:lnTo>
                    <a:lnTo>
                      <a:pt x="1496" y="790"/>
                    </a:lnTo>
                    <a:lnTo>
                      <a:pt x="1496" y="790"/>
                    </a:lnTo>
                    <a:lnTo>
                      <a:pt x="1492" y="792"/>
                    </a:lnTo>
                    <a:lnTo>
                      <a:pt x="1490" y="790"/>
                    </a:lnTo>
                    <a:lnTo>
                      <a:pt x="1492" y="784"/>
                    </a:lnTo>
                    <a:lnTo>
                      <a:pt x="1494" y="776"/>
                    </a:lnTo>
                    <a:lnTo>
                      <a:pt x="1496" y="770"/>
                    </a:lnTo>
                    <a:lnTo>
                      <a:pt x="1496" y="770"/>
                    </a:lnTo>
                    <a:lnTo>
                      <a:pt x="1496" y="766"/>
                    </a:lnTo>
                    <a:lnTo>
                      <a:pt x="1498" y="760"/>
                    </a:lnTo>
                    <a:lnTo>
                      <a:pt x="1500" y="754"/>
                    </a:lnTo>
                    <a:lnTo>
                      <a:pt x="1498" y="750"/>
                    </a:lnTo>
                    <a:lnTo>
                      <a:pt x="1498" y="750"/>
                    </a:lnTo>
                    <a:lnTo>
                      <a:pt x="1498" y="750"/>
                    </a:lnTo>
                    <a:lnTo>
                      <a:pt x="1494" y="750"/>
                    </a:lnTo>
                    <a:lnTo>
                      <a:pt x="1490" y="752"/>
                    </a:lnTo>
                    <a:lnTo>
                      <a:pt x="1480" y="762"/>
                    </a:lnTo>
                    <a:lnTo>
                      <a:pt x="1456" y="784"/>
                    </a:lnTo>
                    <a:lnTo>
                      <a:pt x="1456" y="784"/>
                    </a:lnTo>
                    <a:lnTo>
                      <a:pt x="1450" y="790"/>
                    </a:lnTo>
                    <a:lnTo>
                      <a:pt x="1450" y="794"/>
                    </a:lnTo>
                    <a:lnTo>
                      <a:pt x="1450" y="798"/>
                    </a:lnTo>
                    <a:lnTo>
                      <a:pt x="1446" y="804"/>
                    </a:lnTo>
                    <a:lnTo>
                      <a:pt x="1446" y="804"/>
                    </a:lnTo>
                    <a:lnTo>
                      <a:pt x="1440" y="810"/>
                    </a:lnTo>
                    <a:lnTo>
                      <a:pt x="1436" y="810"/>
                    </a:lnTo>
                    <a:lnTo>
                      <a:pt x="1434" y="810"/>
                    </a:lnTo>
                    <a:lnTo>
                      <a:pt x="1432" y="810"/>
                    </a:lnTo>
                    <a:lnTo>
                      <a:pt x="1432" y="810"/>
                    </a:lnTo>
                    <a:lnTo>
                      <a:pt x="1428" y="812"/>
                    </a:lnTo>
                    <a:lnTo>
                      <a:pt x="1426" y="812"/>
                    </a:lnTo>
                    <a:lnTo>
                      <a:pt x="1428" y="808"/>
                    </a:lnTo>
                    <a:lnTo>
                      <a:pt x="1432" y="802"/>
                    </a:lnTo>
                    <a:lnTo>
                      <a:pt x="1432" y="802"/>
                    </a:lnTo>
                    <a:lnTo>
                      <a:pt x="1436" y="798"/>
                    </a:lnTo>
                    <a:lnTo>
                      <a:pt x="1436" y="794"/>
                    </a:lnTo>
                    <a:lnTo>
                      <a:pt x="1436" y="792"/>
                    </a:lnTo>
                    <a:lnTo>
                      <a:pt x="1438" y="790"/>
                    </a:lnTo>
                    <a:lnTo>
                      <a:pt x="1438" y="790"/>
                    </a:lnTo>
                    <a:lnTo>
                      <a:pt x="1442" y="784"/>
                    </a:lnTo>
                    <a:lnTo>
                      <a:pt x="1440" y="782"/>
                    </a:lnTo>
                    <a:lnTo>
                      <a:pt x="1440" y="782"/>
                    </a:lnTo>
                    <a:lnTo>
                      <a:pt x="1440" y="778"/>
                    </a:lnTo>
                    <a:lnTo>
                      <a:pt x="1448" y="770"/>
                    </a:lnTo>
                    <a:lnTo>
                      <a:pt x="1448" y="770"/>
                    </a:lnTo>
                    <a:lnTo>
                      <a:pt x="1466" y="756"/>
                    </a:lnTo>
                    <a:lnTo>
                      <a:pt x="1466" y="754"/>
                    </a:lnTo>
                    <a:lnTo>
                      <a:pt x="1466" y="754"/>
                    </a:lnTo>
                    <a:lnTo>
                      <a:pt x="1458" y="754"/>
                    </a:lnTo>
                    <a:lnTo>
                      <a:pt x="1458" y="754"/>
                    </a:lnTo>
                    <a:lnTo>
                      <a:pt x="1454" y="752"/>
                    </a:lnTo>
                    <a:lnTo>
                      <a:pt x="1450" y="752"/>
                    </a:lnTo>
                    <a:lnTo>
                      <a:pt x="1446" y="748"/>
                    </a:lnTo>
                    <a:lnTo>
                      <a:pt x="1446" y="746"/>
                    </a:lnTo>
                    <a:lnTo>
                      <a:pt x="1444" y="752"/>
                    </a:lnTo>
                    <a:lnTo>
                      <a:pt x="1444" y="752"/>
                    </a:lnTo>
                    <a:lnTo>
                      <a:pt x="1442" y="758"/>
                    </a:lnTo>
                    <a:lnTo>
                      <a:pt x="1442" y="760"/>
                    </a:lnTo>
                    <a:lnTo>
                      <a:pt x="1440" y="758"/>
                    </a:lnTo>
                    <a:lnTo>
                      <a:pt x="1438" y="754"/>
                    </a:lnTo>
                    <a:lnTo>
                      <a:pt x="1434" y="750"/>
                    </a:lnTo>
                    <a:lnTo>
                      <a:pt x="1434" y="750"/>
                    </a:lnTo>
                    <a:lnTo>
                      <a:pt x="1430" y="748"/>
                    </a:lnTo>
                    <a:lnTo>
                      <a:pt x="1426" y="750"/>
                    </a:lnTo>
                    <a:lnTo>
                      <a:pt x="1424" y="750"/>
                    </a:lnTo>
                    <a:lnTo>
                      <a:pt x="1420" y="748"/>
                    </a:lnTo>
                    <a:lnTo>
                      <a:pt x="1420" y="748"/>
                    </a:lnTo>
                    <a:lnTo>
                      <a:pt x="1418" y="746"/>
                    </a:lnTo>
                    <a:lnTo>
                      <a:pt x="1414" y="746"/>
                    </a:lnTo>
                    <a:lnTo>
                      <a:pt x="1412" y="748"/>
                    </a:lnTo>
                    <a:lnTo>
                      <a:pt x="1414" y="752"/>
                    </a:lnTo>
                    <a:lnTo>
                      <a:pt x="1414" y="752"/>
                    </a:lnTo>
                    <a:lnTo>
                      <a:pt x="1416" y="754"/>
                    </a:lnTo>
                    <a:lnTo>
                      <a:pt x="1416" y="758"/>
                    </a:lnTo>
                    <a:lnTo>
                      <a:pt x="1414" y="760"/>
                    </a:lnTo>
                    <a:lnTo>
                      <a:pt x="1408" y="758"/>
                    </a:lnTo>
                    <a:lnTo>
                      <a:pt x="1408" y="758"/>
                    </a:lnTo>
                    <a:lnTo>
                      <a:pt x="1402" y="754"/>
                    </a:lnTo>
                    <a:lnTo>
                      <a:pt x="1400" y="756"/>
                    </a:lnTo>
                    <a:lnTo>
                      <a:pt x="1402" y="760"/>
                    </a:lnTo>
                    <a:lnTo>
                      <a:pt x="1410" y="764"/>
                    </a:lnTo>
                    <a:lnTo>
                      <a:pt x="1410" y="764"/>
                    </a:lnTo>
                    <a:lnTo>
                      <a:pt x="1418" y="768"/>
                    </a:lnTo>
                    <a:lnTo>
                      <a:pt x="1422" y="770"/>
                    </a:lnTo>
                    <a:lnTo>
                      <a:pt x="1418" y="772"/>
                    </a:lnTo>
                    <a:lnTo>
                      <a:pt x="1410" y="770"/>
                    </a:lnTo>
                    <a:lnTo>
                      <a:pt x="1410" y="770"/>
                    </a:lnTo>
                    <a:lnTo>
                      <a:pt x="1404" y="768"/>
                    </a:lnTo>
                    <a:lnTo>
                      <a:pt x="1402" y="768"/>
                    </a:lnTo>
                    <a:lnTo>
                      <a:pt x="1402" y="770"/>
                    </a:lnTo>
                    <a:lnTo>
                      <a:pt x="1400" y="774"/>
                    </a:lnTo>
                    <a:lnTo>
                      <a:pt x="1396" y="778"/>
                    </a:lnTo>
                    <a:lnTo>
                      <a:pt x="1388" y="782"/>
                    </a:lnTo>
                    <a:lnTo>
                      <a:pt x="1388" y="782"/>
                    </a:lnTo>
                    <a:lnTo>
                      <a:pt x="1376" y="790"/>
                    </a:lnTo>
                    <a:lnTo>
                      <a:pt x="1372" y="792"/>
                    </a:lnTo>
                    <a:lnTo>
                      <a:pt x="1372" y="794"/>
                    </a:lnTo>
                    <a:lnTo>
                      <a:pt x="1366" y="798"/>
                    </a:lnTo>
                    <a:lnTo>
                      <a:pt x="1366" y="798"/>
                    </a:lnTo>
                    <a:lnTo>
                      <a:pt x="1362" y="800"/>
                    </a:lnTo>
                    <a:lnTo>
                      <a:pt x="1360" y="802"/>
                    </a:lnTo>
                    <a:lnTo>
                      <a:pt x="1360" y="804"/>
                    </a:lnTo>
                    <a:lnTo>
                      <a:pt x="1360" y="804"/>
                    </a:lnTo>
                    <a:lnTo>
                      <a:pt x="1362" y="808"/>
                    </a:lnTo>
                    <a:lnTo>
                      <a:pt x="1362" y="808"/>
                    </a:lnTo>
                    <a:lnTo>
                      <a:pt x="1360" y="810"/>
                    </a:lnTo>
                    <a:lnTo>
                      <a:pt x="1360" y="810"/>
                    </a:lnTo>
                    <a:lnTo>
                      <a:pt x="1358" y="810"/>
                    </a:lnTo>
                    <a:lnTo>
                      <a:pt x="1358" y="812"/>
                    </a:lnTo>
                    <a:lnTo>
                      <a:pt x="1362" y="816"/>
                    </a:lnTo>
                    <a:lnTo>
                      <a:pt x="1368" y="818"/>
                    </a:lnTo>
                    <a:lnTo>
                      <a:pt x="1370" y="818"/>
                    </a:lnTo>
                    <a:lnTo>
                      <a:pt x="1368" y="818"/>
                    </a:lnTo>
                    <a:lnTo>
                      <a:pt x="1368" y="818"/>
                    </a:lnTo>
                    <a:lnTo>
                      <a:pt x="1362" y="818"/>
                    </a:lnTo>
                    <a:lnTo>
                      <a:pt x="1356" y="818"/>
                    </a:lnTo>
                    <a:lnTo>
                      <a:pt x="1350" y="816"/>
                    </a:lnTo>
                    <a:lnTo>
                      <a:pt x="1350" y="814"/>
                    </a:lnTo>
                    <a:lnTo>
                      <a:pt x="1350" y="810"/>
                    </a:lnTo>
                    <a:lnTo>
                      <a:pt x="1350" y="810"/>
                    </a:lnTo>
                    <a:lnTo>
                      <a:pt x="1350" y="806"/>
                    </a:lnTo>
                    <a:lnTo>
                      <a:pt x="1350" y="804"/>
                    </a:lnTo>
                    <a:lnTo>
                      <a:pt x="1342" y="802"/>
                    </a:lnTo>
                    <a:lnTo>
                      <a:pt x="1334" y="800"/>
                    </a:lnTo>
                    <a:lnTo>
                      <a:pt x="1326" y="800"/>
                    </a:lnTo>
                    <a:lnTo>
                      <a:pt x="1326" y="800"/>
                    </a:lnTo>
                    <a:lnTo>
                      <a:pt x="1324" y="798"/>
                    </a:lnTo>
                    <a:lnTo>
                      <a:pt x="1322" y="798"/>
                    </a:lnTo>
                    <a:lnTo>
                      <a:pt x="1320" y="796"/>
                    </a:lnTo>
                    <a:lnTo>
                      <a:pt x="1318" y="798"/>
                    </a:lnTo>
                    <a:lnTo>
                      <a:pt x="1318" y="798"/>
                    </a:lnTo>
                    <a:lnTo>
                      <a:pt x="1312" y="796"/>
                    </a:lnTo>
                    <a:lnTo>
                      <a:pt x="1308" y="794"/>
                    </a:lnTo>
                    <a:lnTo>
                      <a:pt x="1306" y="794"/>
                    </a:lnTo>
                    <a:lnTo>
                      <a:pt x="1306" y="796"/>
                    </a:lnTo>
                    <a:lnTo>
                      <a:pt x="1304" y="802"/>
                    </a:lnTo>
                    <a:lnTo>
                      <a:pt x="1304" y="802"/>
                    </a:lnTo>
                    <a:lnTo>
                      <a:pt x="1302" y="808"/>
                    </a:lnTo>
                    <a:lnTo>
                      <a:pt x="1300" y="802"/>
                    </a:lnTo>
                    <a:lnTo>
                      <a:pt x="1298" y="800"/>
                    </a:lnTo>
                    <a:lnTo>
                      <a:pt x="1294" y="796"/>
                    </a:lnTo>
                    <a:lnTo>
                      <a:pt x="1290" y="796"/>
                    </a:lnTo>
                    <a:lnTo>
                      <a:pt x="1284" y="798"/>
                    </a:lnTo>
                    <a:lnTo>
                      <a:pt x="1284" y="798"/>
                    </a:lnTo>
                    <a:lnTo>
                      <a:pt x="1278" y="802"/>
                    </a:lnTo>
                    <a:lnTo>
                      <a:pt x="1280" y="804"/>
                    </a:lnTo>
                    <a:lnTo>
                      <a:pt x="1280" y="804"/>
                    </a:lnTo>
                    <a:lnTo>
                      <a:pt x="1286" y="806"/>
                    </a:lnTo>
                    <a:lnTo>
                      <a:pt x="1288" y="808"/>
                    </a:lnTo>
                    <a:lnTo>
                      <a:pt x="1288" y="808"/>
                    </a:lnTo>
                    <a:lnTo>
                      <a:pt x="1288" y="808"/>
                    </a:lnTo>
                    <a:lnTo>
                      <a:pt x="1290" y="810"/>
                    </a:lnTo>
                    <a:lnTo>
                      <a:pt x="1294" y="812"/>
                    </a:lnTo>
                    <a:lnTo>
                      <a:pt x="1298" y="812"/>
                    </a:lnTo>
                    <a:lnTo>
                      <a:pt x="1302" y="814"/>
                    </a:lnTo>
                    <a:lnTo>
                      <a:pt x="1302" y="814"/>
                    </a:lnTo>
                    <a:lnTo>
                      <a:pt x="1304" y="816"/>
                    </a:lnTo>
                    <a:lnTo>
                      <a:pt x="1308" y="816"/>
                    </a:lnTo>
                    <a:lnTo>
                      <a:pt x="1310" y="818"/>
                    </a:lnTo>
                    <a:lnTo>
                      <a:pt x="1308" y="820"/>
                    </a:lnTo>
                    <a:lnTo>
                      <a:pt x="1308" y="820"/>
                    </a:lnTo>
                    <a:lnTo>
                      <a:pt x="1306" y="822"/>
                    </a:lnTo>
                    <a:lnTo>
                      <a:pt x="1306" y="824"/>
                    </a:lnTo>
                    <a:lnTo>
                      <a:pt x="1312" y="832"/>
                    </a:lnTo>
                    <a:lnTo>
                      <a:pt x="1312" y="832"/>
                    </a:lnTo>
                    <a:lnTo>
                      <a:pt x="1314" y="836"/>
                    </a:lnTo>
                    <a:lnTo>
                      <a:pt x="1312" y="836"/>
                    </a:lnTo>
                    <a:lnTo>
                      <a:pt x="1296" y="824"/>
                    </a:lnTo>
                    <a:lnTo>
                      <a:pt x="1296" y="824"/>
                    </a:lnTo>
                    <a:lnTo>
                      <a:pt x="1286" y="818"/>
                    </a:lnTo>
                    <a:lnTo>
                      <a:pt x="1280" y="816"/>
                    </a:lnTo>
                    <a:lnTo>
                      <a:pt x="1278" y="818"/>
                    </a:lnTo>
                    <a:lnTo>
                      <a:pt x="1278" y="822"/>
                    </a:lnTo>
                    <a:lnTo>
                      <a:pt x="1278" y="822"/>
                    </a:lnTo>
                    <a:lnTo>
                      <a:pt x="1280" y="822"/>
                    </a:lnTo>
                    <a:lnTo>
                      <a:pt x="1280" y="824"/>
                    </a:lnTo>
                    <a:lnTo>
                      <a:pt x="1276" y="826"/>
                    </a:lnTo>
                    <a:lnTo>
                      <a:pt x="1274" y="826"/>
                    </a:lnTo>
                    <a:lnTo>
                      <a:pt x="1272" y="826"/>
                    </a:lnTo>
                    <a:lnTo>
                      <a:pt x="1272" y="824"/>
                    </a:lnTo>
                    <a:lnTo>
                      <a:pt x="1272" y="824"/>
                    </a:lnTo>
                    <a:lnTo>
                      <a:pt x="1274" y="822"/>
                    </a:lnTo>
                    <a:lnTo>
                      <a:pt x="1272" y="822"/>
                    </a:lnTo>
                    <a:lnTo>
                      <a:pt x="1266" y="824"/>
                    </a:lnTo>
                    <a:lnTo>
                      <a:pt x="1252" y="834"/>
                    </a:lnTo>
                    <a:lnTo>
                      <a:pt x="1252" y="834"/>
                    </a:lnTo>
                    <a:lnTo>
                      <a:pt x="1252" y="836"/>
                    </a:lnTo>
                    <a:lnTo>
                      <a:pt x="1250" y="838"/>
                    </a:lnTo>
                    <a:lnTo>
                      <a:pt x="1248" y="846"/>
                    </a:lnTo>
                    <a:lnTo>
                      <a:pt x="1246" y="850"/>
                    </a:lnTo>
                    <a:lnTo>
                      <a:pt x="1244" y="856"/>
                    </a:lnTo>
                    <a:lnTo>
                      <a:pt x="1238" y="862"/>
                    </a:lnTo>
                    <a:lnTo>
                      <a:pt x="1228" y="868"/>
                    </a:lnTo>
                    <a:lnTo>
                      <a:pt x="1228" y="868"/>
                    </a:lnTo>
                    <a:lnTo>
                      <a:pt x="1238" y="856"/>
                    </a:lnTo>
                    <a:lnTo>
                      <a:pt x="1242" y="844"/>
                    </a:lnTo>
                    <a:lnTo>
                      <a:pt x="1244" y="832"/>
                    </a:lnTo>
                    <a:lnTo>
                      <a:pt x="1244" y="824"/>
                    </a:lnTo>
                    <a:lnTo>
                      <a:pt x="1244" y="824"/>
                    </a:lnTo>
                    <a:lnTo>
                      <a:pt x="1242" y="820"/>
                    </a:lnTo>
                    <a:lnTo>
                      <a:pt x="1240" y="822"/>
                    </a:lnTo>
                    <a:lnTo>
                      <a:pt x="1238" y="824"/>
                    </a:lnTo>
                    <a:lnTo>
                      <a:pt x="1236" y="826"/>
                    </a:lnTo>
                    <a:lnTo>
                      <a:pt x="1236" y="824"/>
                    </a:lnTo>
                    <a:lnTo>
                      <a:pt x="1236" y="824"/>
                    </a:lnTo>
                    <a:lnTo>
                      <a:pt x="1232" y="822"/>
                    </a:lnTo>
                    <a:lnTo>
                      <a:pt x="1230" y="822"/>
                    </a:lnTo>
                    <a:lnTo>
                      <a:pt x="1224" y="834"/>
                    </a:lnTo>
                    <a:lnTo>
                      <a:pt x="1224" y="834"/>
                    </a:lnTo>
                    <a:lnTo>
                      <a:pt x="1222" y="840"/>
                    </a:lnTo>
                    <a:lnTo>
                      <a:pt x="1222" y="842"/>
                    </a:lnTo>
                    <a:lnTo>
                      <a:pt x="1222" y="844"/>
                    </a:lnTo>
                    <a:lnTo>
                      <a:pt x="1220" y="846"/>
                    </a:lnTo>
                    <a:lnTo>
                      <a:pt x="1220" y="846"/>
                    </a:lnTo>
                    <a:lnTo>
                      <a:pt x="1216" y="848"/>
                    </a:lnTo>
                    <a:lnTo>
                      <a:pt x="1214" y="848"/>
                    </a:lnTo>
                    <a:lnTo>
                      <a:pt x="1214" y="846"/>
                    </a:lnTo>
                    <a:lnTo>
                      <a:pt x="1216" y="840"/>
                    </a:lnTo>
                    <a:lnTo>
                      <a:pt x="1216" y="840"/>
                    </a:lnTo>
                    <a:lnTo>
                      <a:pt x="1218" y="836"/>
                    </a:lnTo>
                    <a:lnTo>
                      <a:pt x="1216" y="832"/>
                    </a:lnTo>
                    <a:lnTo>
                      <a:pt x="1214" y="830"/>
                    </a:lnTo>
                    <a:lnTo>
                      <a:pt x="1212" y="830"/>
                    </a:lnTo>
                    <a:lnTo>
                      <a:pt x="1204" y="832"/>
                    </a:lnTo>
                    <a:lnTo>
                      <a:pt x="1198" y="836"/>
                    </a:lnTo>
                    <a:lnTo>
                      <a:pt x="1198" y="836"/>
                    </a:lnTo>
                    <a:lnTo>
                      <a:pt x="1186" y="844"/>
                    </a:lnTo>
                    <a:lnTo>
                      <a:pt x="1184" y="846"/>
                    </a:lnTo>
                    <a:lnTo>
                      <a:pt x="1184" y="846"/>
                    </a:lnTo>
                    <a:lnTo>
                      <a:pt x="1188" y="848"/>
                    </a:lnTo>
                    <a:lnTo>
                      <a:pt x="1188" y="850"/>
                    </a:lnTo>
                    <a:lnTo>
                      <a:pt x="1188" y="854"/>
                    </a:lnTo>
                    <a:lnTo>
                      <a:pt x="1188" y="854"/>
                    </a:lnTo>
                    <a:lnTo>
                      <a:pt x="1188" y="856"/>
                    </a:lnTo>
                    <a:lnTo>
                      <a:pt x="1190" y="858"/>
                    </a:lnTo>
                    <a:lnTo>
                      <a:pt x="1196" y="860"/>
                    </a:lnTo>
                    <a:lnTo>
                      <a:pt x="1200" y="862"/>
                    </a:lnTo>
                    <a:lnTo>
                      <a:pt x="1204" y="864"/>
                    </a:lnTo>
                    <a:lnTo>
                      <a:pt x="1208" y="868"/>
                    </a:lnTo>
                    <a:lnTo>
                      <a:pt x="1210" y="876"/>
                    </a:lnTo>
                    <a:lnTo>
                      <a:pt x="1210" y="876"/>
                    </a:lnTo>
                    <a:lnTo>
                      <a:pt x="1200" y="872"/>
                    </a:lnTo>
                    <a:lnTo>
                      <a:pt x="1198" y="870"/>
                    </a:lnTo>
                    <a:lnTo>
                      <a:pt x="1200" y="868"/>
                    </a:lnTo>
                    <a:lnTo>
                      <a:pt x="1202" y="868"/>
                    </a:lnTo>
                    <a:lnTo>
                      <a:pt x="1196" y="864"/>
                    </a:lnTo>
                    <a:lnTo>
                      <a:pt x="1196" y="864"/>
                    </a:lnTo>
                    <a:lnTo>
                      <a:pt x="1190" y="862"/>
                    </a:lnTo>
                    <a:lnTo>
                      <a:pt x="1186" y="860"/>
                    </a:lnTo>
                    <a:lnTo>
                      <a:pt x="1182" y="854"/>
                    </a:lnTo>
                    <a:lnTo>
                      <a:pt x="1180" y="852"/>
                    </a:lnTo>
                    <a:lnTo>
                      <a:pt x="1174" y="852"/>
                    </a:lnTo>
                    <a:lnTo>
                      <a:pt x="1174" y="852"/>
                    </a:lnTo>
                    <a:lnTo>
                      <a:pt x="1166" y="854"/>
                    </a:lnTo>
                    <a:lnTo>
                      <a:pt x="1166" y="854"/>
                    </a:lnTo>
                    <a:lnTo>
                      <a:pt x="1166" y="856"/>
                    </a:lnTo>
                    <a:lnTo>
                      <a:pt x="1174" y="862"/>
                    </a:lnTo>
                    <a:lnTo>
                      <a:pt x="1174" y="862"/>
                    </a:lnTo>
                    <a:lnTo>
                      <a:pt x="1178" y="866"/>
                    </a:lnTo>
                    <a:lnTo>
                      <a:pt x="1176" y="868"/>
                    </a:lnTo>
                    <a:lnTo>
                      <a:pt x="1172" y="868"/>
                    </a:lnTo>
                    <a:lnTo>
                      <a:pt x="1168" y="862"/>
                    </a:lnTo>
                    <a:lnTo>
                      <a:pt x="1168" y="862"/>
                    </a:lnTo>
                    <a:lnTo>
                      <a:pt x="1158" y="854"/>
                    </a:lnTo>
                    <a:lnTo>
                      <a:pt x="1154" y="854"/>
                    </a:lnTo>
                    <a:lnTo>
                      <a:pt x="1154" y="854"/>
                    </a:lnTo>
                    <a:lnTo>
                      <a:pt x="1154" y="858"/>
                    </a:lnTo>
                    <a:lnTo>
                      <a:pt x="1154" y="858"/>
                    </a:lnTo>
                    <a:lnTo>
                      <a:pt x="1154" y="860"/>
                    </a:lnTo>
                    <a:lnTo>
                      <a:pt x="1154" y="862"/>
                    </a:lnTo>
                    <a:lnTo>
                      <a:pt x="1152" y="864"/>
                    </a:lnTo>
                    <a:lnTo>
                      <a:pt x="1150" y="868"/>
                    </a:lnTo>
                    <a:lnTo>
                      <a:pt x="1150" y="872"/>
                    </a:lnTo>
                    <a:lnTo>
                      <a:pt x="1150" y="872"/>
                    </a:lnTo>
                    <a:lnTo>
                      <a:pt x="1152" y="876"/>
                    </a:lnTo>
                    <a:lnTo>
                      <a:pt x="1152" y="878"/>
                    </a:lnTo>
                    <a:lnTo>
                      <a:pt x="1146" y="880"/>
                    </a:lnTo>
                    <a:lnTo>
                      <a:pt x="1138" y="884"/>
                    </a:lnTo>
                    <a:lnTo>
                      <a:pt x="1134" y="886"/>
                    </a:lnTo>
                    <a:lnTo>
                      <a:pt x="1130" y="888"/>
                    </a:lnTo>
                    <a:lnTo>
                      <a:pt x="1130" y="888"/>
                    </a:lnTo>
                    <a:lnTo>
                      <a:pt x="1128" y="892"/>
                    </a:lnTo>
                    <a:lnTo>
                      <a:pt x="1128" y="894"/>
                    </a:lnTo>
                    <a:lnTo>
                      <a:pt x="1134" y="896"/>
                    </a:lnTo>
                    <a:lnTo>
                      <a:pt x="1138" y="898"/>
                    </a:lnTo>
                    <a:lnTo>
                      <a:pt x="1132" y="900"/>
                    </a:lnTo>
                    <a:lnTo>
                      <a:pt x="1132" y="900"/>
                    </a:lnTo>
                    <a:lnTo>
                      <a:pt x="1122" y="902"/>
                    </a:lnTo>
                    <a:lnTo>
                      <a:pt x="1120" y="906"/>
                    </a:lnTo>
                    <a:lnTo>
                      <a:pt x="1118" y="908"/>
                    </a:lnTo>
                    <a:lnTo>
                      <a:pt x="1114" y="912"/>
                    </a:lnTo>
                    <a:lnTo>
                      <a:pt x="1114" y="912"/>
                    </a:lnTo>
                    <a:lnTo>
                      <a:pt x="1108" y="912"/>
                    </a:lnTo>
                    <a:lnTo>
                      <a:pt x="1102" y="912"/>
                    </a:lnTo>
                    <a:lnTo>
                      <a:pt x="1096" y="916"/>
                    </a:lnTo>
                    <a:lnTo>
                      <a:pt x="1090" y="924"/>
                    </a:lnTo>
                    <a:lnTo>
                      <a:pt x="1090" y="924"/>
                    </a:lnTo>
                    <a:lnTo>
                      <a:pt x="1088" y="928"/>
                    </a:lnTo>
                    <a:lnTo>
                      <a:pt x="1088" y="930"/>
                    </a:lnTo>
                    <a:lnTo>
                      <a:pt x="1092" y="930"/>
                    </a:lnTo>
                    <a:lnTo>
                      <a:pt x="1096" y="928"/>
                    </a:lnTo>
                    <a:lnTo>
                      <a:pt x="1106" y="926"/>
                    </a:lnTo>
                    <a:lnTo>
                      <a:pt x="1108" y="926"/>
                    </a:lnTo>
                    <a:lnTo>
                      <a:pt x="1108" y="926"/>
                    </a:lnTo>
                    <a:lnTo>
                      <a:pt x="1108" y="926"/>
                    </a:lnTo>
                    <a:lnTo>
                      <a:pt x="1108" y="930"/>
                    </a:lnTo>
                    <a:lnTo>
                      <a:pt x="1112" y="930"/>
                    </a:lnTo>
                    <a:lnTo>
                      <a:pt x="1124" y="924"/>
                    </a:lnTo>
                    <a:lnTo>
                      <a:pt x="1124" y="924"/>
                    </a:lnTo>
                    <a:lnTo>
                      <a:pt x="1128" y="924"/>
                    </a:lnTo>
                    <a:lnTo>
                      <a:pt x="1130" y="924"/>
                    </a:lnTo>
                    <a:lnTo>
                      <a:pt x="1128" y="928"/>
                    </a:lnTo>
                    <a:lnTo>
                      <a:pt x="1120" y="932"/>
                    </a:lnTo>
                    <a:lnTo>
                      <a:pt x="1110" y="936"/>
                    </a:lnTo>
                    <a:lnTo>
                      <a:pt x="1110" y="936"/>
                    </a:lnTo>
                    <a:lnTo>
                      <a:pt x="1102" y="936"/>
                    </a:lnTo>
                    <a:lnTo>
                      <a:pt x="1100" y="936"/>
                    </a:lnTo>
                    <a:lnTo>
                      <a:pt x="1096" y="934"/>
                    </a:lnTo>
                    <a:lnTo>
                      <a:pt x="1088" y="934"/>
                    </a:lnTo>
                    <a:lnTo>
                      <a:pt x="1088" y="934"/>
                    </a:lnTo>
                    <a:lnTo>
                      <a:pt x="1078" y="936"/>
                    </a:lnTo>
                    <a:lnTo>
                      <a:pt x="1072" y="938"/>
                    </a:lnTo>
                    <a:lnTo>
                      <a:pt x="1070" y="940"/>
                    </a:lnTo>
                    <a:lnTo>
                      <a:pt x="1074" y="942"/>
                    </a:lnTo>
                    <a:lnTo>
                      <a:pt x="1074" y="942"/>
                    </a:lnTo>
                    <a:lnTo>
                      <a:pt x="1076" y="944"/>
                    </a:lnTo>
                    <a:lnTo>
                      <a:pt x="1076" y="946"/>
                    </a:lnTo>
                    <a:lnTo>
                      <a:pt x="1076" y="946"/>
                    </a:lnTo>
                    <a:lnTo>
                      <a:pt x="1080" y="948"/>
                    </a:lnTo>
                    <a:lnTo>
                      <a:pt x="1080" y="948"/>
                    </a:lnTo>
                    <a:lnTo>
                      <a:pt x="1086" y="948"/>
                    </a:lnTo>
                    <a:lnTo>
                      <a:pt x="1084" y="952"/>
                    </a:lnTo>
                    <a:lnTo>
                      <a:pt x="1080" y="958"/>
                    </a:lnTo>
                    <a:lnTo>
                      <a:pt x="1078" y="960"/>
                    </a:lnTo>
                    <a:lnTo>
                      <a:pt x="1076" y="964"/>
                    </a:lnTo>
                    <a:lnTo>
                      <a:pt x="1076" y="964"/>
                    </a:lnTo>
                    <a:lnTo>
                      <a:pt x="1076" y="968"/>
                    </a:lnTo>
                    <a:lnTo>
                      <a:pt x="1074" y="966"/>
                    </a:lnTo>
                    <a:lnTo>
                      <a:pt x="1070" y="960"/>
                    </a:lnTo>
                    <a:lnTo>
                      <a:pt x="1070" y="954"/>
                    </a:lnTo>
                    <a:lnTo>
                      <a:pt x="1070" y="954"/>
                    </a:lnTo>
                    <a:lnTo>
                      <a:pt x="1070" y="948"/>
                    </a:lnTo>
                    <a:lnTo>
                      <a:pt x="1068" y="944"/>
                    </a:lnTo>
                    <a:lnTo>
                      <a:pt x="1066" y="944"/>
                    </a:lnTo>
                    <a:lnTo>
                      <a:pt x="1064" y="948"/>
                    </a:lnTo>
                    <a:lnTo>
                      <a:pt x="1064" y="948"/>
                    </a:lnTo>
                    <a:lnTo>
                      <a:pt x="1060" y="954"/>
                    </a:lnTo>
                    <a:lnTo>
                      <a:pt x="1058" y="954"/>
                    </a:lnTo>
                    <a:lnTo>
                      <a:pt x="1056" y="954"/>
                    </a:lnTo>
                    <a:lnTo>
                      <a:pt x="1056" y="952"/>
                    </a:lnTo>
                    <a:lnTo>
                      <a:pt x="1056" y="952"/>
                    </a:lnTo>
                    <a:lnTo>
                      <a:pt x="1052" y="950"/>
                    </a:lnTo>
                    <a:lnTo>
                      <a:pt x="1046" y="952"/>
                    </a:lnTo>
                    <a:lnTo>
                      <a:pt x="1042" y="956"/>
                    </a:lnTo>
                    <a:lnTo>
                      <a:pt x="1040" y="956"/>
                    </a:lnTo>
                    <a:lnTo>
                      <a:pt x="1040" y="958"/>
                    </a:lnTo>
                    <a:lnTo>
                      <a:pt x="1040" y="958"/>
                    </a:lnTo>
                    <a:lnTo>
                      <a:pt x="1042" y="960"/>
                    </a:lnTo>
                    <a:lnTo>
                      <a:pt x="1044" y="960"/>
                    </a:lnTo>
                    <a:lnTo>
                      <a:pt x="1048" y="958"/>
                    </a:lnTo>
                    <a:lnTo>
                      <a:pt x="1054" y="958"/>
                    </a:lnTo>
                    <a:lnTo>
                      <a:pt x="1054" y="958"/>
                    </a:lnTo>
                    <a:lnTo>
                      <a:pt x="1062" y="960"/>
                    </a:lnTo>
                    <a:lnTo>
                      <a:pt x="1064" y="962"/>
                    </a:lnTo>
                    <a:lnTo>
                      <a:pt x="1064" y="964"/>
                    </a:lnTo>
                    <a:lnTo>
                      <a:pt x="1060" y="966"/>
                    </a:lnTo>
                    <a:lnTo>
                      <a:pt x="1060" y="966"/>
                    </a:lnTo>
                    <a:lnTo>
                      <a:pt x="1050" y="966"/>
                    </a:lnTo>
                    <a:lnTo>
                      <a:pt x="1032" y="970"/>
                    </a:lnTo>
                    <a:lnTo>
                      <a:pt x="1020" y="974"/>
                    </a:lnTo>
                    <a:lnTo>
                      <a:pt x="1018" y="976"/>
                    </a:lnTo>
                    <a:lnTo>
                      <a:pt x="1020" y="978"/>
                    </a:lnTo>
                    <a:lnTo>
                      <a:pt x="1020" y="978"/>
                    </a:lnTo>
                    <a:lnTo>
                      <a:pt x="1022" y="980"/>
                    </a:lnTo>
                    <a:lnTo>
                      <a:pt x="1022" y="980"/>
                    </a:lnTo>
                    <a:lnTo>
                      <a:pt x="1018" y="984"/>
                    </a:lnTo>
                    <a:lnTo>
                      <a:pt x="1016" y="986"/>
                    </a:lnTo>
                    <a:lnTo>
                      <a:pt x="1020" y="988"/>
                    </a:lnTo>
                    <a:lnTo>
                      <a:pt x="1020" y="988"/>
                    </a:lnTo>
                    <a:lnTo>
                      <a:pt x="1026" y="988"/>
                    </a:lnTo>
                    <a:lnTo>
                      <a:pt x="1030" y="986"/>
                    </a:lnTo>
                    <a:lnTo>
                      <a:pt x="1036" y="980"/>
                    </a:lnTo>
                    <a:lnTo>
                      <a:pt x="1042" y="976"/>
                    </a:lnTo>
                    <a:lnTo>
                      <a:pt x="1046" y="976"/>
                    </a:lnTo>
                    <a:lnTo>
                      <a:pt x="1052" y="976"/>
                    </a:lnTo>
                    <a:lnTo>
                      <a:pt x="1052" y="976"/>
                    </a:lnTo>
                    <a:lnTo>
                      <a:pt x="1060" y="980"/>
                    </a:lnTo>
                    <a:lnTo>
                      <a:pt x="1058" y="980"/>
                    </a:lnTo>
                    <a:lnTo>
                      <a:pt x="1050" y="980"/>
                    </a:lnTo>
                    <a:lnTo>
                      <a:pt x="1040" y="982"/>
                    </a:lnTo>
                    <a:lnTo>
                      <a:pt x="1040" y="982"/>
                    </a:lnTo>
                    <a:lnTo>
                      <a:pt x="1034" y="986"/>
                    </a:lnTo>
                    <a:lnTo>
                      <a:pt x="1034" y="988"/>
                    </a:lnTo>
                    <a:lnTo>
                      <a:pt x="1036" y="990"/>
                    </a:lnTo>
                    <a:lnTo>
                      <a:pt x="1034" y="990"/>
                    </a:lnTo>
                    <a:lnTo>
                      <a:pt x="1026" y="992"/>
                    </a:lnTo>
                    <a:lnTo>
                      <a:pt x="1026" y="992"/>
                    </a:lnTo>
                    <a:lnTo>
                      <a:pt x="1016" y="996"/>
                    </a:lnTo>
                    <a:lnTo>
                      <a:pt x="1016" y="996"/>
                    </a:lnTo>
                    <a:lnTo>
                      <a:pt x="1016" y="998"/>
                    </a:lnTo>
                    <a:lnTo>
                      <a:pt x="1020" y="1002"/>
                    </a:lnTo>
                    <a:lnTo>
                      <a:pt x="1022" y="1002"/>
                    </a:lnTo>
                    <a:lnTo>
                      <a:pt x="1022" y="1004"/>
                    </a:lnTo>
                    <a:lnTo>
                      <a:pt x="1022" y="1004"/>
                    </a:lnTo>
                    <a:lnTo>
                      <a:pt x="1020" y="1006"/>
                    </a:lnTo>
                    <a:lnTo>
                      <a:pt x="1016" y="1004"/>
                    </a:lnTo>
                    <a:lnTo>
                      <a:pt x="1014" y="1002"/>
                    </a:lnTo>
                    <a:lnTo>
                      <a:pt x="1010" y="1004"/>
                    </a:lnTo>
                    <a:lnTo>
                      <a:pt x="1010" y="1004"/>
                    </a:lnTo>
                    <a:lnTo>
                      <a:pt x="1004" y="1012"/>
                    </a:lnTo>
                    <a:lnTo>
                      <a:pt x="1004" y="1012"/>
                    </a:lnTo>
                    <a:lnTo>
                      <a:pt x="1008" y="1014"/>
                    </a:lnTo>
                    <a:lnTo>
                      <a:pt x="1008" y="1014"/>
                    </a:lnTo>
                    <a:lnTo>
                      <a:pt x="1012" y="1014"/>
                    </a:lnTo>
                    <a:lnTo>
                      <a:pt x="1016" y="1012"/>
                    </a:lnTo>
                    <a:lnTo>
                      <a:pt x="1024" y="1012"/>
                    </a:lnTo>
                    <a:lnTo>
                      <a:pt x="1036" y="1012"/>
                    </a:lnTo>
                    <a:lnTo>
                      <a:pt x="1036" y="1012"/>
                    </a:lnTo>
                    <a:lnTo>
                      <a:pt x="1050" y="1016"/>
                    </a:lnTo>
                    <a:lnTo>
                      <a:pt x="1048" y="1016"/>
                    </a:lnTo>
                    <a:lnTo>
                      <a:pt x="1046" y="1018"/>
                    </a:lnTo>
                    <a:lnTo>
                      <a:pt x="1046" y="1022"/>
                    </a:lnTo>
                    <a:lnTo>
                      <a:pt x="1046" y="1022"/>
                    </a:lnTo>
                    <a:lnTo>
                      <a:pt x="1046" y="1024"/>
                    </a:lnTo>
                    <a:lnTo>
                      <a:pt x="1044" y="1022"/>
                    </a:lnTo>
                    <a:lnTo>
                      <a:pt x="1038" y="1018"/>
                    </a:lnTo>
                    <a:lnTo>
                      <a:pt x="1034" y="1016"/>
                    </a:lnTo>
                    <a:lnTo>
                      <a:pt x="1028" y="1016"/>
                    </a:lnTo>
                    <a:lnTo>
                      <a:pt x="1028" y="1016"/>
                    </a:lnTo>
                    <a:lnTo>
                      <a:pt x="1020" y="1016"/>
                    </a:lnTo>
                    <a:lnTo>
                      <a:pt x="1014" y="1018"/>
                    </a:lnTo>
                    <a:lnTo>
                      <a:pt x="1008" y="1020"/>
                    </a:lnTo>
                    <a:lnTo>
                      <a:pt x="1002" y="1020"/>
                    </a:lnTo>
                    <a:lnTo>
                      <a:pt x="1002" y="1020"/>
                    </a:lnTo>
                    <a:lnTo>
                      <a:pt x="998" y="1020"/>
                    </a:lnTo>
                    <a:lnTo>
                      <a:pt x="996" y="1020"/>
                    </a:lnTo>
                    <a:lnTo>
                      <a:pt x="994" y="1022"/>
                    </a:lnTo>
                    <a:lnTo>
                      <a:pt x="990" y="1022"/>
                    </a:lnTo>
                    <a:lnTo>
                      <a:pt x="990" y="1022"/>
                    </a:lnTo>
                    <a:lnTo>
                      <a:pt x="988" y="1024"/>
                    </a:lnTo>
                    <a:lnTo>
                      <a:pt x="988" y="1026"/>
                    </a:lnTo>
                    <a:lnTo>
                      <a:pt x="988" y="1028"/>
                    </a:lnTo>
                    <a:lnTo>
                      <a:pt x="988" y="1030"/>
                    </a:lnTo>
                    <a:lnTo>
                      <a:pt x="986" y="1032"/>
                    </a:lnTo>
                    <a:lnTo>
                      <a:pt x="982" y="1034"/>
                    </a:lnTo>
                    <a:lnTo>
                      <a:pt x="976" y="1034"/>
                    </a:lnTo>
                    <a:lnTo>
                      <a:pt x="976" y="1034"/>
                    </a:lnTo>
                    <a:lnTo>
                      <a:pt x="968" y="1036"/>
                    </a:lnTo>
                    <a:lnTo>
                      <a:pt x="970" y="1038"/>
                    </a:lnTo>
                    <a:lnTo>
                      <a:pt x="974" y="1042"/>
                    </a:lnTo>
                    <a:lnTo>
                      <a:pt x="974" y="1044"/>
                    </a:lnTo>
                    <a:lnTo>
                      <a:pt x="972" y="1046"/>
                    </a:lnTo>
                    <a:lnTo>
                      <a:pt x="972" y="1046"/>
                    </a:lnTo>
                    <a:lnTo>
                      <a:pt x="966" y="1050"/>
                    </a:lnTo>
                    <a:lnTo>
                      <a:pt x="964" y="1050"/>
                    </a:lnTo>
                    <a:lnTo>
                      <a:pt x="962" y="1050"/>
                    </a:lnTo>
                    <a:lnTo>
                      <a:pt x="956" y="1052"/>
                    </a:lnTo>
                    <a:lnTo>
                      <a:pt x="956" y="1052"/>
                    </a:lnTo>
                    <a:lnTo>
                      <a:pt x="954" y="1056"/>
                    </a:lnTo>
                    <a:lnTo>
                      <a:pt x="956" y="1058"/>
                    </a:lnTo>
                    <a:lnTo>
                      <a:pt x="958" y="1058"/>
                    </a:lnTo>
                    <a:lnTo>
                      <a:pt x="958" y="1060"/>
                    </a:lnTo>
                    <a:lnTo>
                      <a:pt x="958" y="1060"/>
                    </a:lnTo>
                    <a:lnTo>
                      <a:pt x="954" y="1062"/>
                    </a:lnTo>
                    <a:lnTo>
                      <a:pt x="954" y="1064"/>
                    </a:lnTo>
                    <a:lnTo>
                      <a:pt x="956" y="1066"/>
                    </a:lnTo>
                    <a:lnTo>
                      <a:pt x="954" y="1064"/>
                    </a:lnTo>
                    <a:lnTo>
                      <a:pt x="954" y="1064"/>
                    </a:lnTo>
                    <a:lnTo>
                      <a:pt x="950" y="1064"/>
                    </a:lnTo>
                    <a:lnTo>
                      <a:pt x="946" y="1064"/>
                    </a:lnTo>
                    <a:lnTo>
                      <a:pt x="946" y="1066"/>
                    </a:lnTo>
                    <a:lnTo>
                      <a:pt x="948" y="1068"/>
                    </a:lnTo>
                    <a:lnTo>
                      <a:pt x="948" y="1068"/>
                    </a:lnTo>
                    <a:lnTo>
                      <a:pt x="950" y="1070"/>
                    </a:lnTo>
                    <a:lnTo>
                      <a:pt x="950" y="1072"/>
                    </a:lnTo>
                    <a:lnTo>
                      <a:pt x="948" y="1076"/>
                    </a:lnTo>
                    <a:lnTo>
                      <a:pt x="948" y="1080"/>
                    </a:lnTo>
                    <a:lnTo>
                      <a:pt x="954" y="1080"/>
                    </a:lnTo>
                    <a:lnTo>
                      <a:pt x="954" y="1080"/>
                    </a:lnTo>
                    <a:lnTo>
                      <a:pt x="958" y="1080"/>
                    </a:lnTo>
                    <a:lnTo>
                      <a:pt x="954" y="1082"/>
                    </a:lnTo>
                    <a:lnTo>
                      <a:pt x="948" y="1084"/>
                    </a:lnTo>
                    <a:lnTo>
                      <a:pt x="946" y="1086"/>
                    </a:lnTo>
                    <a:lnTo>
                      <a:pt x="946" y="1086"/>
                    </a:lnTo>
                    <a:lnTo>
                      <a:pt x="946" y="1086"/>
                    </a:lnTo>
                    <a:lnTo>
                      <a:pt x="954" y="1086"/>
                    </a:lnTo>
                    <a:lnTo>
                      <a:pt x="964" y="1084"/>
                    </a:lnTo>
                    <a:lnTo>
                      <a:pt x="988" y="1078"/>
                    </a:lnTo>
                    <a:lnTo>
                      <a:pt x="988" y="1078"/>
                    </a:lnTo>
                    <a:lnTo>
                      <a:pt x="994" y="1078"/>
                    </a:lnTo>
                    <a:lnTo>
                      <a:pt x="990" y="1080"/>
                    </a:lnTo>
                    <a:lnTo>
                      <a:pt x="982" y="1084"/>
                    </a:lnTo>
                    <a:lnTo>
                      <a:pt x="972" y="1086"/>
                    </a:lnTo>
                    <a:lnTo>
                      <a:pt x="972" y="1086"/>
                    </a:lnTo>
                    <a:lnTo>
                      <a:pt x="954" y="1090"/>
                    </a:lnTo>
                    <a:lnTo>
                      <a:pt x="946" y="1092"/>
                    </a:lnTo>
                    <a:lnTo>
                      <a:pt x="936" y="1094"/>
                    </a:lnTo>
                    <a:lnTo>
                      <a:pt x="936" y="1094"/>
                    </a:lnTo>
                    <a:lnTo>
                      <a:pt x="932" y="1096"/>
                    </a:lnTo>
                    <a:lnTo>
                      <a:pt x="936" y="1096"/>
                    </a:lnTo>
                    <a:lnTo>
                      <a:pt x="942" y="1098"/>
                    </a:lnTo>
                    <a:lnTo>
                      <a:pt x="944" y="1098"/>
                    </a:lnTo>
                    <a:lnTo>
                      <a:pt x="946" y="1100"/>
                    </a:lnTo>
                    <a:lnTo>
                      <a:pt x="946" y="1100"/>
                    </a:lnTo>
                    <a:lnTo>
                      <a:pt x="944" y="1104"/>
                    </a:lnTo>
                    <a:lnTo>
                      <a:pt x="940" y="1106"/>
                    </a:lnTo>
                    <a:lnTo>
                      <a:pt x="934" y="1108"/>
                    </a:lnTo>
                    <a:lnTo>
                      <a:pt x="932" y="1114"/>
                    </a:lnTo>
                    <a:lnTo>
                      <a:pt x="932" y="1114"/>
                    </a:lnTo>
                    <a:lnTo>
                      <a:pt x="930" y="1118"/>
                    </a:lnTo>
                    <a:lnTo>
                      <a:pt x="928" y="1120"/>
                    </a:lnTo>
                    <a:lnTo>
                      <a:pt x="924" y="1122"/>
                    </a:lnTo>
                    <a:lnTo>
                      <a:pt x="920" y="1122"/>
                    </a:lnTo>
                    <a:lnTo>
                      <a:pt x="920" y="1128"/>
                    </a:lnTo>
                    <a:lnTo>
                      <a:pt x="920" y="1128"/>
                    </a:lnTo>
                    <a:lnTo>
                      <a:pt x="922" y="1132"/>
                    </a:lnTo>
                    <a:lnTo>
                      <a:pt x="924" y="1134"/>
                    </a:lnTo>
                    <a:lnTo>
                      <a:pt x="926" y="1134"/>
                    </a:lnTo>
                    <a:lnTo>
                      <a:pt x="928" y="1138"/>
                    </a:lnTo>
                    <a:lnTo>
                      <a:pt x="928" y="1138"/>
                    </a:lnTo>
                    <a:lnTo>
                      <a:pt x="928" y="1140"/>
                    </a:lnTo>
                    <a:lnTo>
                      <a:pt x="928" y="1142"/>
                    </a:lnTo>
                    <a:lnTo>
                      <a:pt x="922" y="1146"/>
                    </a:lnTo>
                    <a:lnTo>
                      <a:pt x="918" y="1150"/>
                    </a:lnTo>
                    <a:lnTo>
                      <a:pt x="918" y="1152"/>
                    </a:lnTo>
                    <a:lnTo>
                      <a:pt x="920" y="1152"/>
                    </a:lnTo>
                    <a:lnTo>
                      <a:pt x="920" y="1152"/>
                    </a:lnTo>
                    <a:lnTo>
                      <a:pt x="922" y="1156"/>
                    </a:lnTo>
                    <a:lnTo>
                      <a:pt x="922" y="1160"/>
                    </a:lnTo>
                    <a:lnTo>
                      <a:pt x="918" y="1164"/>
                    </a:lnTo>
                    <a:lnTo>
                      <a:pt x="910" y="1166"/>
                    </a:lnTo>
                    <a:lnTo>
                      <a:pt x="910" y="1166"/>
                    </a:lnTo>
                    <a:lnTo>
                      <a:pt x="904" y="1168"/>
                    </a:lnTo>
                    <a:lnTo>
                      <a:pt x="900" y="1168"/>
                    </a:lnTo>
                    <a:lnTo>
                      <a:pt x="898" y="1170"/>
                    </a:lnTo>
                    <a:lnTo>
                      <a:pt x="892" y="1172"/>
                    </a:lnTo>
                    <a:lnTo>
                      <a:pt x="892" y="1172"/>
                    </a:lnTo>
                    <a:lnTo>
                      <a:pt x="888" y="1174"/>
                    </a:lnTo>
                    <a:lnTo>
                      <a:pt x="884" y="1174"/>
                    </a:lnTo>
                    <a:lnTo>
                      <a:pt x="880" y="1176"/>
                    </a:lnTo>
                    <a:lnTo>
                      <a:pt x="876" y="1176"/>
                    </a:lnTo>
                    <a:lnTo>
                      <a:pt x="876" y="1176"/>
                    </a:lnTo>
                    <a:lnTo>
                      <a:pt x="866" y="1176"/>
                    </a:lnTo>
                    <a:lnTo>
                      <a:pt x="862" y="1176"/>
                    </a:lnTo>
                    <a:lnTo>
                      <a:pt x="860" y="1178"/>
                    </a:lnTo>
                    <a:lnTo>
                      <a:pt x="860" y="1178"/>
                    </a:lnTo>
                    <a:lnTo>
                      <a:pt x="860" y="1180"/>
                    </a:lnTo>
                    <a:lnTo>
                      <a:pt x="864" y="1180"/>
                    </a:lnTo>
                    <a:lnTo>
                      <a:pt x="868" y="1180"/>
                    </a:lnTo>
                    <a:lnTo>
                      <a:pt x="876" y="1180"/>
                    </a:lnTo>
                    <a:lnTo>
                      <a:pt x="876" y="1180"/>
                    </a:lnTo>
                    <a:lnTo>
                      <a:pt x="878" y="1182"/>
                    </a:lnTo>
                    <a:lnTo>
                      <a:pt x="880" y="1184"/>
                    </a:lnTo>
                    <a:lnTo>
                      <a:pt x="878" y="1186"/>
                    </a:lnTo>
                    <a:lnTo>
                      <a:pt x="878" y="1188"/>
                    </a:lnTo>
                    <a:lnTo>
                      <a:pt x="878" y="1188"/>
                    </a:lnTo>
                    <a:lnTo>
                      <a:pt x="886" y="1184"/>
                    </a:lnTo>
                    <a:lnTo>
                      <a:pt x="886" y="1184"/>
                    </a:lnTo>
                    <a:lnTo>
                      <a:pt x="892" y="1182"/>
                    </a:lnTo>
                    <a:lnTo>
                      <a:pt x="892" y="1184"/>
                    </a:lnTo>
                    <a:lnTo>
                      <a:pt x="890" y="1186"/>
                    </a:lnTo>
                    <a:lnTo>
                      <a:pt x="886" y="1190"/>
                    </a:lnTo>
                    <a:lnTo>
                      <a:pt x="886" y="1190"/>
                    </a:lnTo>
                    <a:lnTo>
                      <a:pt x="884" y="1190"/>
                    </a:lnTo>
                    <a:lnTo>
                      <a:pt x="882" y="1192"/>
                    </a:lnTo>
                    <a:lnTo>
                      <a:pt x="886" y="1194"/>
                    </a:lnTo>
                    <a:lnTo>
                      <a:pt x="890" y="1196"/>
                    </a:lnTo>
                    <a:lnTo>
                      <a:pt x="890" y="1198"/>
                    </a:lnTo>
                    <a:lnTo>
                      <a:pt x="890" y="1200"/>
                    </a:lnTo>
                    <a:lnTo>
                      <a:pt x="890" y="1200"/>
                    </a:lnTo>
                    <a:lnTo>
                      <a:pt x="886" y="1204"/>
                    </a:lnTo>
                    <a:lnTo>
                      <a:pt x="886" y="1206"/>
                    </a:lnTo>
                    <a:lnTo>
                      <a:pt x="884" y="1208"/>
                    </a:lnTo>
                    <a:lnTo>
                      <a:pt x="878" y="1208"/>
                    </a:lnTo>
                    <a:lnTo>
                      <a:pt x="878" y="1208"/>
                    </a:lnTo>
                    <a:lnTo>
                      <a:pt x="874" y="1208"/>
                    </a:lnTo>
                    <a:lnTo>
                      <a:pt x="872" y="1208"/>
                    </a:lnTo>
                    <a:lnTo>
                      <a:pt x="870" y="1204"/>
                    </a:lnTo>
                    <a:lnTo>
                      <a:pt x="868" y="1198"/>
                    </a:lnTo>
                    <a:lnTo>
                      <a:pt x="866" y="1198"/>
                    </a:lnTo>
                    <a:lnTo>
                      <a:pt x="864" y="1198"/>
                    </a:lnTo>
                    <a:lnTo>
                      <a:pt x="864" y="1198"/>
                    </a:lnTo>
                    <a:lnTo>
                      <a:pt x="862" y="1198"/>
                    </a:lnTo>
                    <a:lnTo>
                      <a:pt x="862" y="1200"/>
                    </a:lnTo>
                    <a:lnTo>
                      <a:pt x="862" y="1202"/>
                    </a:lnTo>
                    <a:lnTo>
                      <a:pt x="860" y="1204"/>
                    </a:lnTo>
                    <a:lnTo>
                      <a:pt x="860" y="1204"/>
                    </a:lnTo>
                    <a:lnTo>
                      <a:pt x="852" y="1204"/>
                    </a:lnTo>
                    <a:lnTo>
                      <a:pt x="848" y="1208"/>
                    </a:lnTo>
                    <a:lnTo>
                      <a:pt x="846" y="1210"/>
                    </a:lnTo>
                    <a:lnTo>
                      <a:pt x="846" y="1214"/>
                    </a:lnTo>
                    <a:lnTo>
                      <a:pt x="846" y="1214"/>
                    </a:lnTo>
                    <a:lnTo>
                      <a:pt x="846" y="1216"/>
                    </a:lnTo>
                    <a:lnTo>
                      <a:pt x="844" y="1218"/>
                    </a:lnTo>
                    <a:lnTo>
                      <a:pt x="840" y="1220"/>
                    </a:lnTo>
                    <a:lnTo>
                      <a:pt x="834" y="1222"/>
                    </a:lnTo>
                    <a:lnTo>
                      <a:pt x="832" y="1224"/>
                    </a:lnTo>
                    <a:lnTo>
                      <a:pt x="830" y="1228"/>
                    </a:lnTo>
                    <a:lnTo>
                      <a:pt x="830" y="1228"/>
                    </a:lnTo>
                    <a:lnTo>
                      <a:pt x="828" y="1234"/>
                    </a:lnTo>
                    <a:lnTo>
                      <a:pt x="824" y="1240"/>
                    </a:lnTo>
                    <a:lnTo>
                      <a:pt x="818" y="1246"/>
                    </a:lnTo>
                    <a:lnTo>
                      <a:pt x="812" y="1250"/>
                    </a:lnTo>
                    <a:lnTo>
                      <a:pt x="808" y="1252"/>
                    </a:lnTo>
                    <a:lnTo>
                      <a:pt x="806" y="1256"/>
                    </a:lnTo>
                    <a:lnTo>
                      <a:pt x="806" y="1256"/>
                    </a:lnTo>
                    <a:lnTo>
                      <a:pt x="806" y="1258"/>
                    </a:lnTo>
                    <a:lnTo>
                      <a:pt x="806" y="1260"/>
                    </a:lnTo>
                    <a:lnTo>
                      <a:pt x="810" y="1260"/>
                    </a:lnTo>
                    <a:lnTo>
                      <a:pt x="816" y="1258"/>
                    </a:lnTo>
                    <a:lnTo>
                      <a:pt x="816" y="1258"/>
                    </a:lnTo>
                    <a:lnTo>
                      <a:pt x="818" y="1258"/>
                    </a:lnTo>
                    <a:lnTo>
                      <a:pt x="818" y="1258"/>
                    </a:lnTo>
                    <a:lnTo>
                      <a:pt x="818" y="1262"/>
                    </a:lnTo>
                    <a:lnTo>
                      <a:pt x="820" y="1262"/>
                    </a:lnTo>
                    <a:lnTo>
                      <a:pt x="822" y="1264"/>
                    </a:lnTo>
                    <a:lnTo>
                      <a:pt x="822" y="1268"/>
                    </a:lnTo>
                    <a:lnTo>
                      <a:pt x="822" y="1268"/>
                    </a:lnTo>
                    <a:lnTo>
                      <a:pt x="824" y="1270"/>
                    </a:lnTo>
                    <a:lnTo>
                      <a:pt x="826" y="1270"/>
                    </a:lnTo>
                    <a:lnTo>
                      <a:pt x="834" y="1270"/>
                    </a:lnTo>
                    <a:lnTo>
                      <a:pt x="848" y="1264"/>
                    </a:lnTo>
                    <a:lnTo>
                      <a:pt x="862" y="1254"/>
                    </a:lnTo>
                    <a:lnTo>
                      <a:pt x="862" y="1254"/>
                    </a:lnTo>
                    <a:lnTo>
                      <a:pt x="868" y="1250"/>
                    </a:lnTo>
                    <a:lnTo>
                      <a:pt x="868" y="1246"/>
                    </a:lnTo>
                    <a:lnTo>
                      <a:pt x="868" y="1246"/>
                    </a:lnTo>
                    <a:lnTo>
                      <a:pt x="864" y="1244"/>
                    </a:lnTo>
                    <a:lnTo>
                      <a:pt x="858" y="1244"/>
                    </a:lnTo>
                    <a:lnTo>
                      <a:pt x="858" y="1244"/>
                    </a:lnTo>
                    <a:lnTo>
                      <a:pt x="862" y="1242"/>
                    </a:lnTo>
                    <a:lnTo>
                      <a:pt x="862" y="1242"/>
                    </a:lnTo>
                    <a:lnTo>
                      <a:pt x="870" y="1238"/>
                    </a:lnTo>
                    <a:lnTo>
                      <a:pt x="874" y="1236"/>
                    </a:lnTo>
                    <a:lnTo>
                      <a:pt x="876" y="1234"/>
                    </a:lnTo>
                    <a:lnTo>
                      <a:pt x="880" y="1236"/>
                    </a:lnTo>
                    <a:lnTo>
                      <a:pt x="880" y="1236"/>
                    </a:lnTo>
                    <a:lnTo>
                      <a:pt x="884" y="1236"/>
                    </a:lnTo>
                    <a:lnTo>
                      <a:pt x="884" y="1238"/>
                    </a:lnTo>
                    <a:lnTo>
                      <a:pt x="878" y="1240"/>
                    </a:lnTo>
                    <a:lnTo>
                      <a:pt x="874" y="1242"/>
                    </a:lnTo>
                    <a:lnTo>
                      <a:pt x="872" y="1244"/>
                    </a:lnTo>
                    <a:lnTo>
                      <a:pt x="874" y="1246"/>
                    </a:lnTo>
                    <a:lnTo>
                      <a:pt x="880" y="1248"/>
                    </a:lnTo>
                    <a:lnTo>
                      <a:pt x="880" y="1248"/>
                    </a:lnTo>
                    <a:lnTo>
                      <a:pt x="884" y="1250"/>
                    </a:lnTo>
                    <a:lnTo>
                      <a:pt x="880" y="1254"/>
                    </a:lnTo>
                    <a:lnTo>
                      <a:pt x="860" y="1262"/>
                    </a:lnTo>
                    <a:lnTo>
                      <a:pt x="860" y="1262"/>
                    </a:lnTo>
                    <a:lnTo>
                      <a:pt x="854" y="1266"/>
                    </a:lnTo>
                    <a:lnTo>
                      <a:pt x="854" y="1266"/>
                    </a:lnTo>
                    <a:lnTo>
                      <a:pt x="854" y="1266"/>
                    </a:lnTo>
                    <a:lnTo>
                      <a:pt x="858" y="1268"/>
                    </a:lnTo>
                    <a:lnTo>
                      <a:pt x="858" y="1268"/>
                    </a:lnTo>
                    <a:lnTo>
                      <a:pt x="856" y="1268"/>
                    </a:lnTo>
                    <a:lnTo>
                      <a:pt x="856" y="1268"/>
                    </a:lnTo>
                    <a:lnTo>
                      <a:pt x="856" y="1270"/>
                    </a:lnTo>
                    <a:lnTo>
                      <a:pt x="856" y="1272"/>
                    </a:lnTo>
                    <a:lnTo>
                      <a:pt x="858" y="1272"/>
                    </a:lnTo>
                    <a:lnTo>
                      <a:pt x="862" y="1274"/>
                    </a:lnTo>
                    <a:lnTo>
                      <a:pt x="860" y="1276"/>
                    </a:lnTo>
                    <a:lnTo>
                      <a:pt x="860" y="1276"/>
                    </a:lnTo>
                    <a:lnTo>
                      <a:pt x="856" y="1276"/>
                    </a:lnTo>
                    <a:lnTo>
                      <a:pt x="852" y="1276"/>
                    </a:lnTo>
                    <a:lnTo>
                      <a:pt x="844" y="1276"/>
                    </a:lnTo>
                    <a:lnTo>
                      <a:pt x="836" y="1276"/>
                    </a:lnTo>
                    <a:lnTo>
                      <a:pt x="830" y="1276"/>
                    </a:lnTo>
                    <a:lnTo>
                      <a:pt x="826" y="1280"/>
                    </a:lnTo>
                    <a:lnTo>
                      <a:pt x="826" y="1280"/>
                    </a:lnTo>
                    <a:lnTo>
                      <a:pt x="822" y="1282"/>
                    </a:lnTo>
                    <a:lnTo>
                      <a:pt x="822" y="1282"/>
                    </a:lnTo>
                    <a:lnTo>
                      <a:pt x="822" y="1276"/>
                    </a:lnTo>
                    <a:lnTo>
                      <a:pt x="818" y="1268"/>
                    </a:lnTo>
                    <a:lnTo>
                      <a:pt x="818" y="1268"/>
                    </a:lnTo>
                    <a:lnTo>
                      <a:pt x="814" y="1262"/>
                    </a:lnTo>
                    <a:lnTo>
                      <a:pt x="810" y="1262"/>
                    </a:lnTo>
                    <a:lnTo>
                      <a:pt x="806" y="1266"/>
                    </a:lnTo>
                    <a:lnTo>
                      <a:pt x="798" y="1268"/>
                    </a:lnTo>
                    <a:lnTo>
                      <a:pt x="798" y="1268"/>
                    </a:lnTo>
                    <a:lnTo>
                      <a:pt x="796" y="1268"/>
                    </a:lnTo>
                    <a:lnTo>
                      <a:pt x="794" y="1270"/>
                    </a:lnTo>
                    <a:lnTo>
                      <a:pt x="792" y="1274"/>
                    </a:lnTo>
                    <a:lnTo>
                      <a:pt x="792" y="1276"/>
                    </a:lnTo>
                    <a:lnTo>
                      <a:pt x="790" y="1274"/>
                    </a:lnTo>
                    <a:lnTo>
                      <a:pt x="790" y="1274"/>
                    </a:lnTo>
                    <a:lnTo>
                      <a:pt x="784" y="1274"/>
                    </a:lnTo>
                    <a:lnTo>
                      <a:pt x="778" y="1274"/>
                    </a:lnTo>
                    <a:lnTo>
                      <a:pt x="762" y="1280"/>
                    </a:lnTo>
                    <a:lnTo>
                      <a:pt x="762" y="1280"/>
                    </a:lnTo>
                    <a:lnTo>
                      <a:pt x="760" y="1282"/>
                    </a:lnTo>
                    <a:lnTo>
                      <a:pt x="760" y="1284"/>
                    </a:lnTo>
                    <a:lnTo>
                      <a:pt x="766" y="1288"/>
                    </a:lnTo>
                    <a:lnTo>
                      <a:pt x="768" y="1290"/>
                    </a:lnTo>
                    <a:lnTo>
                      <a:pt x="768" y="1292"/>
                    </a:lnTo>
                    <a:lnTo>
                      <a:pt x="766" y="1294"/>
                    </a:lnTo>
                    <a:lnTo>
                      <a:pt x="760" y="1294"/>
                    </a:lnTo>
                    <a:lnTo>
                      <a:pt x="760" y="1294"/>
                    </a:lnTo>
                    <a:lnTo>
                      <a:pt x="754" y="1296"/>
                    </a:lnTo>
                    <a:lnTo>
                      <a:pt x="752" y="1298"/>
                    </a:lnTo>
                    <a:lnTo>
                      <a:pt x="752" y="1298"/>
                    </a:lnTo>
                    <a:lnTo>
                      <a:pt x="752" y="1300"/>
                    </a:lnTo>
                    <a:lnTo>
                      <a:pt x="756" y="1302"/>
                    </a:lnTo>
                    <a:lnTo>
                      <a:pt x="746" y="1300"/>
                    </a:lnTo>
                    <a:lnTo>
                      <a:pt x="746" y="1300"/>
                    </a:lnTo>
                    <a:lnTo>
                      <a:pt x="738" y="1298"/>
                    </a:lnTo>
                    <a:lnTo>
                      <a:pt x="742" y="1300"/>
                    </a:lnTo>
                    <a:lnTo>
                      <a:pt x="744" y="1304"/>
                    </a:lnTo>
                    <a:lnTo>
                      <a:pt x="744" y="1306"/>
                    </a:lnTo>
                    <a:lnTo>
                      <a:pt x="740" y="1308"/>
                    </a:lnTo>
                    <a:lnTo>
                      <a:pt x="740" y="1308"/>
                    </a:lnTo>
                    <a:lnTo>
                      <a:pt x="728" y="1308"/>
                    </a:lnTo>
                    <a:lnTo>
                      <a:pt x="716" y="1308"/>
                    </a:lnTo>
                    <a:lnTo>
                      <a:pt x="708" y="1306"/>
                    </a:lnTo>
                    <a:lnTo>
                      <a:pt x="704" y="1308"/>
                    </a:lnTo>
                    <a:lnTo>
                      <a:pt x="704" y="1308"/>
                    </a:lnTo>
                    <a:lnTo>
                      <a:pt x="702" y="1310"/>
                    </a:lnTo>
                    <a:lnTo>
                      <a:pt x="702" y="1316"/>
                    </a:lnTo>
                    <a:lnTo>
                      <a:pt x="704" y="1318"/>
                    </a:lnTo>
                    <a:lnTo>
                      <a:pt x="708" y="1320"/>
                    </a:lnTo>
                    <a:lnTo>
                      <a:pt x="712" y="1320"/>
                    </a:lnTo>
                    <a:lnTo>
                      <a:pt x="718" y="1320"/>
                    </a:lnTo>
                    <a:lnTo>
                      <a:pt x="718" y="1320"/>
                    </a:lnTo>
                    <a:lnTo>
                      <a:pt x="726" y="1318"/>
                    </a:lnTo>
                    <a:lnTo>
                      <a:pt x="724" y="1320"/>
                    </a:lnTo>
                    <a:lnTo>
                      <a:pt x="720" y="1324"/>
                    </a:lnTo>
                    <a:lnTo>
                      <a:pt x="720" y="1328"/>
                    </a:lnTo>
                    <a:lnTo>
                      <a:pt x="722" y="1332"/>
                    </a:lnTo>
                    <a:lnTo>
                      <a:pt x="722" y="1332"/>
                    </a:lnTo>
                    <a:lnTo>
                      <a:pt x="724" y="1334"/>
                    </a:lnTo>
                    <a:lnTo>
                      <a:pt x="718" y="1332"/>
                    </a:lnTo>
                    <a:lnTo>
                      <a:pt x="704" y="1328"/>
                    </a:lnTo>
                    <a:lnTo>
                      <a:pt x="696" y="1328"/>
                    </a:lnTo>
                    <a:lnTo>
                      <a:pt x="686" y="1330"/>
                    </a:lnTo>
                    <a:lnTo>
                      <a:pt x="686" y="1330"/>
                    </a:lnTo>
                    <a:lnTo>
                      <a:pt x="678" y="1334"/>
                    </a:lnTo>
                    <a:lnTo>
                      <a:pt x="676" y="1336"/>
                    </a:lnTo>
                    <a:lnTo>
                      <a:pt x="678" y="1336"/>
                    </a:lnTo>
                    <a:lnTo>
                      <a:pt x="682" y="1338"/>
                    </a:lnTo>
                    <a:lnTo>
                      <a:pt x="694" y="1340"/>
                    </a:lnTo>
                    <a:lnTo>
                      <a:pt x="698" y="1342"/>
                    </a:lnTo>
                    <a:lnTo>
                      <a:pt x="702" y="1344"/>
                    </a:lnTo>
                    <a:lnTo>
                      <a:pt x="702" y="1344"/>
                    </a:lnTo>
                    <a:lnTo>
                      <a:pt x="704" y="1348"/>
                    </a:lnTo>
                    <a:lnTo>
                      <a:pt x="700" y="1346"/>
                    </a:lnTo>
                    <a:lnTo>
                      <a:pt x="696" y="1344"/>
                    </a:lnTo>
                    <a:lnTo>
                      <a:pt x="692" y="1344"/>
                    </a:lnTo>
                    <a:lnTo>
                      <a:pt x="684" y="1344"/>
                    </a:lnTo>
                    <a:lnTo>
                      <a:pt x="676" y="1346"/>
                    </a:lnTo>
                    <a:lnTo>
                      <a:pt x="676" y="1346"/>
                    </a:lnTo>
                    <a:lnTo>
                      <a:pt x="668" y="1350"/>
                    </a:lnTo>
                    <a:lnTo>
                      <a:pt x="664" y="1354"/>
                    </a:lnTo>
                    <a:lnTo>
                      <a:pt x="662" y="1356"/>
                    </a:lnTo>
                    <a:lnTo>
                      <a:pt x="662" y="1358"/>
                    </a:lnTo>
                    <a:lnTo>
                      <a:pt x="664" y="1358"/>
                    </a:lnTo>
                    <a:lnTo>
                      <a:pt x="658" y="1358"/>
                    </a:lnTo>
                    <a:lnTo>
                      <a:pt x="658" y="1358"/>
                    </a:lnTo>
                    <a:lnTo>
                      <a:pt x="654" y="1358"/>
                    </a:lnTo>
                    <a:lnTo>
                      <a:pt x="652" y="1358"/>
                    </a:lnTo>
                    <a:lnTo>
                      <a:pt x="652" y="1360"/>
                    </a:lnTo>
                    <a:lnTo>
                      <a:pt x="654" y="1362"/>
                    </a:lnTo>
                    <a:lnTo>
                      <a:pt x="652" y="1364"/>
                    </a:lnTo>
                    <a:lnTo>
                      <a:pt x="646" y="1362"/>
                    </a:lnTo>
                    <a:lnTo>
                      <a:pt x="646" y="1362"/>
                    </a:lnTo>
                    <a:lnTo>
                      <a:pt x="628" y="1360"/>
                    </a:lnTo>
                    <a:lnTo>
                      <a:pt x="628" y="1360"/>
                    </a:lnTo>
                    <a:lnTo>
                      <a:pt x="628" y="1362"/>
                    </a:lnTo>
                    <a:lnTo>
                      <a:pt x="632" y="1366"/>
                    </a:lnTo>
                    <a:lnTo>
                      <a:pt x="632" y="1366"/>
                    </a:lnTo>
                    <a:lnTo>
                      <a:pt x="632" y="1368"/>
                    </a:lnTo>
                    <a:lnTo>
                      <a:pt x="632" y="1368"/>
                    </a:lnTo>
                    <a:lnTo>
                      <a:pt x="626" y="1370"/>
                    </a:lnTo>
                    <a:lnTo>
                      <a:pt x="622" y="1370"/>
                    </a:lnTo>
                    <a:lnTo>
                      <a:pt x="622" y="1370"/>
                    </a:lnTo>
                    <a:lnTo>
                      <a:pt x="624" y="1372"/>
                    </a:lnTo>
                    <a:lnTo>
                      <a:pt x="624" y="1372"/>
                    </a:lnTo>
                    <a:lnTo>
                      <a:pt x="628" y="1374"/>
                    </a:lnTo>
                    <a:lnTo>
                      <a:pt x="632" y="1376"/>
                    </a:lnTo>
                    <a:lnTo>
                      <a:pt x="644" y="1376"/>
                    </a:lnTo>
                    <a:lnTo>
                      <a:pt x="660" y="1378"/>
                    </a:lnTo>
                    <a:lnTo>
                      <a:pt x="666" y="1378"/>
                    </a:lnTo>
                    <a:lnTo>
                      <a:pt x="674" y="1382"/>
                    </a:lnTo>
                    <a:lnTo>
                      <a:pt x="674" y="1382"/>
                    </a:lnTo>
                    <a:lnTo>
                      <a:pt x="682" y="1386"/>
                    </a:lnTo>
                    <a:lnTo>
                      <a:pt x="680" y="1386"/>
                    </a:lnTo>
                    <a:lnTo>
                      <a:pt x="672" y="1384"/>
                    </a:lnTo>
                    <a:lnTo>
                      <a:pt x="668" y="1384"/>
                    </a:lnTo>
                    <a:lnTo>
                      <a:pt x="664" y="1386"/>
                    </a:lnTo>
                    <a:lnTo>
                      <a:pt x="664" y="1386"/>
                    </a:lnTo>
                    <a:lnTo>
                      <a:pt x="662" y="1386"/>
                    </a:lnTo>
                    <a:lnTo>
                      <a:pt x="660" y="1386"/>
                    </a:lnTo>
                    <a:lnTo>
                      <a:pt x="654" y="1382"/>
                    </a:lnTo>
                    <a:lnTo>
                      <a:pt x="648" y="1380"/>
                    </a:lnTo>
                    <a:lnTo>
                      <a:pt x="644" y="1378"/>
                    </a:lnTo>
                    <a:lnTo>
                      <a:pt x="638" y="1380"/>
                    </a:lnTo>
                    <a:lnTo>
                      <a:pt x="630" y="1384"/>
                    </a:lnTo>
                    <a:lnTo>
                      <a:pt x="630" y="1384"/>
                    </a:lnTo>
                    <a:lnTo>
                      <a:pt x="624" y="1390"/>
                    </a:lnTo>
                    <a:lnTo>
                      <a:pt x="622" y="1394"/>
                    </a:lnTo>
                    <a:lnTo>
                      <a:pt x="624" y="1396"/>
                    </a:lnTo>
                    <a:lnTo>
                      <a:pt x="626" y="1398"/>
                    </a:lnTo>
                    <a:lnTo>
                      <a:pt x="632" y="1404"/>
                    </a:lnTo>
                    <a:lnTo>
                      <a:pt x="632" y="1404"/>
                    </a:lnTo>
                    <a:lnTo>
                      <a:pt x="628" y="1406"/>
                    </a:lnTo>
                    <a:lnTo>
                      <a:pt x="628" y="1406"/>
                    </a:lnTo>
                    <a:lnTo>
                      <a:pt x="622" y="1410"/>
                    </a:lnTo>
                    <a:lnTo>
                      <a:pt x="622" y="1412"/>
                    </a:lnTo>
                    <a:lnTo>
                      <a:pt x="624" y="1412"/>
                    </a:lnTo>
                    <a:lnTo>
                      <a:pt x="628" y="1416"/>
                    </a:lnTo>
                    <a:lnTo>
                      <a:pt x="628" y="1416"/>
                    </a:lnTo>
                    <a:lnTo>
                      <a:pt x="626" y="1418"/>
                    </a:lnTo>
                    <a:lnTo>
                      <a:pt x="626" y="1418"/>
                    </a:lnTo>
                    <a:lnTo>
                      <a:pt x="626" y="1420"/>
                    </a:lnTo>
                    <a:lnTo>
                      <a:pt x="624" y="1424"/>
                    </a:lnTo>
                    <a:lnTo>
                      <a:pt x="626" y="1426"/>
                    </a:lnTo>
                    <a:lnTo>
                      <a:pt x="628" y="1428"/>
                    </a:lnTo>
                    <a:lnTo>
                      <a:pt x="632" y="1430"/>
                    </a:lnTo>
                    <a:lnTo>
                      <a:pt x="636" y="1430"/>
                    </a:lnTo>
                    <a:lnTo>
                      <a:pt x="642" y="1430"/>
                    </a:lnTo>
                    <a:lnTo>
                      <a:pt x="648" y="1428"/>
                    </a:lnTo>
                    <a:lnTo>
                      <a:pt x="648" y="1428"/>
                    </a:lnTo>
                    <a:lnTo>
                      <a:pt x="654" y="1424"/>
                    </a:lnTo>
                    <a:lnTo>
                      <a:pt x="660" y="1424"/>
                    </a:lnTo>
                    <a:lnTo>
                      <a:pt x="670" y="1426"/>
                    </a:lnTo>
                    <a:lnTo>
                      <a:pt x="678" y="1428"/>
                    </a:lnTo>
                    <a:lnTo>
                      <a:pt x="680" y="1426"/>
                    </a:lnTo>
                    <a:lnTo>
                      <a:pt x="684" y="1422"/>
                    </a:lnTo>
                    <a:lnTo>
                      <a:pt x="684" y="1422"/>
                    </a:lnTo>
                    <a:lnTo>
                      <a:pt x="686" y="1420"/>
                    </a:lnTo>
                    <a:lnTo>
                      <a:pt x="688" y="1418"/>
                    </a:lnTo>
                    <a:lnTo>
                      <a:pt x="692" y="1420"/>
                    </a:lnTo>
                    <a:lnTo>
                      <a:pt x="700" y="1424"/>
                    </a:lnTo>
                    <a:lnTo>
                      <a:pt x="704" y="1426"/>
                    </a:lnTo>
                    <a:lnTo>
                      <a:pt x="710" y="1426"/>
                    </a:lnTo>
                    <a:lnTo>
                      <a:pt x="710" y="1426"/>
                    </a:lnTo>
                    <a:lnTo>
                      <a:pt x="720" y="1424"/>
                    </a:lnTo>
                    <a:lnTo>
                      <a:pt x="726" y="1424"/>
                    </a:lnTo>
                    <a:lnTo>
                      <a:pt x="726" y="1426"/>
                    </a:lnTo>
                    <a:lnTo>
                      <a:pt x="724" y="1426"/>
                    </a:lnTo>
                    <a:lnTo>
                      <a:pt x="716" y="1430"/>
                    </a:lnTo>
                    <a:lnTo>
                      <a:pt x="716" y="1430"/>
                    </a:lnTo>
                    <a:lnTo>
                      <a:pt x="710" y="1432"/>
                    </a:lnTo>
                    <a:lnTo>
                      <a:pt x="708" y="1434"/>
                    </a:lnTo>
                    <a:lnTo>
                      <a:pt x="708" y="1436"/>
                    </a:lnTo>
                    <a:lnTo>
                      <a:pt x="708" y="1438"/>
                    </a:lnTo>
                    <a:lnTo>
                      <a:pt x="708" y="1440"/>
                    </a:lnTo>
                    <a:lnTo>
                      <a:pt x="700" y="1434"/>
                    </a:lnTo>
                    <a:lnTo>
                      <a:pt x="700" y="1434"/>
                    </a:lnTo>
                    <a:lnTo>
                      <a:pt x="694" y="1428"/>
                    </a:lnTo>
                    <a:lnTo>
                      <a:pt x="690" y="1428"/>
                    </a:lnTo>
                    <a:lnTo>
                      <a:pt x="688" y="1428"/>
                    </a:lnTo>
                    <a:lnTo>
                      <a:pt x="686" y="1430"/>
                    </a:lnTo>
                    <a:lnTo>
                      <a:pt x="682" y="1434"/>
                    </a:lnTo>
                    <a:lnTo>
                      <a:pt x="680" y="1434"/>
                    </a:lnTo>
                    <a:lnTo>
                      <a:pt x="676" y="1432"/>
                    </a:lnTo>
                    <a:lnTo>
                      <a:pt x="676" y="1432"/>
                    </a:lnTo>
                    <a:lnTo>
                      <a:pt x="672" y="1430"/>
                    </a:lnTo>
                    <a:lnTo>
                      <a:pt x="666" y="1430"/>
                    </a:lnTo>
                    <a:lnTo>
                      <a:pt x="656" y="1432"/>
                    </a:lnTo>
                    <a:lnTo>
                      <a:pt x="646" y="1436"/>
                    </a:lnTo>
                    <a:lnTo>
                      <a:pt x="640" y="1436"/>
                    </a:lnTo>
                    <a:lnTo>
                      <a:pt x="636" y="1436"/>
                    </a:lnTo>
                    <a:lnTo>
                      <a:pt x="636" y="1436"/>
                    </a:lnTo>
                    <a:lnTo>
                      <a:pt x="626" y="1434"/>
                    </a:lnTo>
                    <a:lnTo>
                      <a:pt x="624" y="1436"/>
                    </a:lnTo>
                    <a:lnTo>
                      <a:pt x="626" y="1442"/>
                    </a:lnTo>
                    <a:lnTo>
                      <a:pt x="626" y="1442"/>
                    </a:lnTo>
                    <a:lnTo>
                      <a:pt x="626" y="1446"/>
                    </a:lnTo>
                    <a:lnTo>
                      <a:pt x="626" y="1448"/>
                    </a:lnTo>
                    <a:lnTo>
                      <a:pt x="632" y="1448"/>
                    </a:lnTo>
                    <a:lnTo>
                      <a:pt x="636" y="1448"/>
                    </a:lnTo>
                    <a:lnTo>
                      <a:pt x="636" y="1450"/>
                    </a:lnTo>
                    <a:lnTo>
                      <a:pt x="638" y="1454"/>
                    </a:lnTo>
                    <a:lnTo>
                      <a:pt x="638" y="1454"/>
                    </a:lnTo>
                    <a:lnTo>
                      <a:pt x="636" y="1456"/>
                    </a:lnTo>
                    <a:lnTo>
                      <a:pt x="636" y="1456"/>
                    </a:lnTo>
                    <a:lnTo>
                      <a:pt x="630" y="1454"/>
                    </a:lnTo>
                    <a:lnTo>
                      <a:pt x="626" y="1454"/>
                    </a:lnTo>
                    <a:lnTo>
                      <a:pt x="624" y="1454"/>
                    </a:lnTo>
                    <a:lnTo>
                      <a:pt x="626" y="1458"/>
                    </a:lnTo>
                    <a:lnTo>
                      <a:pt x="626" y="1458"/>
                    </a:lnTo>
                    <a:lnTo>
                      <a:pt x="628" y="1460"/>
                    </a:lnTo>
                    <a:lnTo>
                      <a:pt x="630" y="1462"/>
                    </a:lnTo>
                    <a:lnTo>
                      <a:pt x="634" y="1462"/>
                    </a:lnTo>
                    <a:lnTo>
                      <a:pt x="638" y="1462"/>
                    </a:lnTo>
                    <a:lnTo>
                      <a:pt x="640" y="1464"/>
                    </a:lnTo>
                    <a:lnTo>
                      <a:pt x="638" y="1468"/>
                    </a:lnTo>
                    <a:lnTo>
                      <a:pt x="638" y="1468"/>
                    </a:lnTo>
                    <a:lnTo>
                      <a:pt x="638" y="1472"/>
                    </a:lnTo>
                    <a:lnTo>
                      <a:pt x="636" y="1476"/>
                    </a:lnTo>
                    <a:lnTo>
                      <a:pt x="630" y="1478"/>
                    </a:lnTo>
                    <a:lnTo>
                      <a:pt x="626" y="1480"/>
                    </a:lnTo>
                    <a:lnTo>
                      <a:pt x="626" y="1480"/>
                    </a:lnTo>
                    <a:lnTo>
                      <a:pt x="626" y="1482"/>
                    </a:lnTo>
                    <a:lnTo>
                      <a:pt x="626" y="1482"/>
                    </a:lnTo>
                    <a:lnTo>
                      <a:pt x="636" y="1490"/>
                    </a:lnTo>
                    <a:lnTo>
                      <a:pt x="638" y="1492"/>
                    </a:lnTo>
                    <a:lnTo>
                      <a:pt x="642" y="1490"/>
                    </a:lnTo>
                    <a:lnTo>
                      <a:pt x="642" y="1490"/>
                    </a:lnTo>
                    <a:lnTo>
                      <a:pt x="646" y="1488"/>
                    </a:lnTo>
                    <a:lnTo>
                      <a:pt x="646" y="1488"/>
                    </a:lnTo>
                    <a:lnTo>
                      <a:pt x="648" y="1490"/>
                    </a:lnTo>
                    <a:lnTo>
                      <a:pt x="650" y="1494"/>
                    </a:lnTo>
                    <a:lnTo>
                      <a:pt x="650" y="1494"/>
                    </a:lnTo>
                    <a:lnTo>
                      <a:pt x="652" y="1492"/>
                    </a:lnTo>
                    <a:lnTo>
                      <a:pt x="652" y="1492"/>
                    </a:lnTo>
                    <a:lnTo>
                      <a:pt x="654" y="1492"/>
                    </a:lnTo>
                    <a:lnTo>
                      <a:pt x="654" y="1492"/>
                    </a:lnTo>
                    <a:lnTo>
                      <a:pt x="654" y="1496"/>
                    </a:lnTo>
                    <a:lnTo>
                      <a:pt x="654" y="1500"/>
                    </a:lnTo>
                    <a:lnTo>
                      <a:pt x="654" y="1502"/>
                    </a:lnTo>
                    <a:lnTo>
                      <a:pt x="656" y="1502"/>
                    </a:lnTo>
                    <a:lnTo>
                      <a:pt x="656" y="1502"/>
                    </a:lnTo>
                    <a:lnTo>
                      <a:pt x="658" y="1502"/>
                    </a:lnTo>
                    <a:lnTo>
                      <a:pt x="658" y="1500"/>
                    </a:lnTo>
                    <a:lnTo>
                      <a:pt x="660" y="1494"/>
                    </a:lnTo>
                    <a:lnTo>
                      <a:pt x="662" y="1488"/>
                    </a:lnTo>
                    <a:lnTo>
                      <a:pt x="662" y="1486"/>
                    </a:lnTo>
                    <a:lnTo>
                      <a:pt x="666" y="1486"/>
                    </a:lnTo>
                    <a:lnTo>
                      <a:pt x="666" y="1486"/>
                    </a:lnTo>
                    <a:lnTo>
                      <a:pt x="668" y="1486"/>
                    </a:lnTo>
                    <a:lnTo>
                      <a:pt x="670" y="1488"/>
                    </a:lnTo>
                    <a:lnTo>
                      <a:pt x="666" y="1496"/>
                    </a:lnTo>
                    <a:lnTo>
                      <a:pt x="660" y="1504"/>
                    </a:lnTo>
                    <a:lnTo>
                      <a:pt x="654" y="1508"/>
                    </a:lnTo>
                    <a:lnTo>
                      <a:pt x="654" y="1508"/>
                    </a:lnTo>
                    <a:lnTo>
                      <a:pt x="652" y="1510"/>
                    </a:lnTo>
                    <a:lnTo>
                      <a:pt x="650" y="1512"/>
                    </a:lnTo>
                    <a:lnTo>
                      <a:pt x="654" y="1514"/>
                    </a:lnTo>
                    <a:lnTo>
                      <a:pt x="658" y="1518"/>
                    </a:lnTo>
                    <a:lnTo>
                      <a:pt x="658" y="1520"/>
                    </a:lnTo>
                    <a:lnTo>
                      <a:pt x="656" y="1522"/>
                    </a:lnTo>
                    <a:lnTo>
                      <a:pt x="656" y="1522"/>
                    </a:lnTo>
                    <a:lnTo>
                      <a:pt x="650" y="1524"/>
                    </a:lnTo>
                    <a:lnTo>
                      <a:pt x="648" y="1522"/>
                    </a:lnTo>
                    <a:lnTo>
                      <a:pt x="644" y="1522"/>
                    </a:lnTo>
                    <a:lnTo>
                      <a:pt x="636" y="1526"/>
                    </a:lnTo>
                    <a:lnTo>
                      <a:pt x="636" y="1526"/>
                    </a:lnTo>
                    <a:lnTo>
                      <a:pt x="632" y="1530"/>
                    </a:lnTo>
                    <a:lnTo>
                      <a:pt x="632" y="1536"/>
                    </a:lnTo>
                    <a:lnTo>
                      <a:pt x="632" y="1540"/>
                    </a:lnTo>
                    <a:lnTo>
                      <a:pt x="634" y="1544"/>
                    </a:lnTo>
                    <a:lnTo>
                      <a:pt x="640" y="1548"/>
                    </a:lnTo>
                    <a:lnTo>
                      <a:pt x="644" y="1548"/>
                    </a:lnTo>
                    <a:lnTo>
                      <a:pt x="646" y="1548"/>
                    </a:lnTo>
                    <a:lnTo>
                      <a:pt x="646" y="1548"/>
                    </a:lnTo>
                    <a:lnTo>
                      <a:pt x="646" y="1546"/>
                    </a:lnTo>
                    <a:lnTo>
                      <a:pt x="648" y="1546"/>
                    </a:lnTo>
                    <a:lnTo>
                      <a:pt x="650" y="1546"/>
                    </a:lnTo>
                    <a:lnTo>
                      <a:pt x="654" y="1548"/>
                    </a:lnTo>
                    <a:lnTo>
                      <a:pt x="656" y="1544"/>
                    </a:lnTo>
                    <a:lnTo>
                      <a:pt x="656" y="1544"/>
                    </a:lnTo>
                    <a:lnTo>
                      <a:pt x="658" y="1542"/>
                    </a:lnTo>
                    <a:lnTo>
                      <a:pt x="660" y="1540"/>
                    </a:lnTo>
                    <a:lnTo>
                      <a:pt x="664" y="1542"/>
                    </a:lnTo>
                    <a:lnTo>
                      <a:pt x="666" y="1544"/>
                    </a:lnTo>
                    <a:lnTo>
                      <a:pt x="664" y="1548"/>
                    </a:lnTo>
                    <a:lnTo>
                      <a:pt x="662" y="1548"/>
                    </a:lnTo>
                    <a:lnTo>
                      <a:pt x="662" y="1548"/>
                    </a:lnTo>
                    <a:lnTo>
                      <a:pt x="660" y="1550"/>
                    </a:lnTo>
                    <a:lnTo>
                      <a:pt x="660" y="1552"/>
                    </a:lnTo>
                    <a:lnTo>
                      <a:pt x="662" y="1554"/>
                    </a:lnTo>
                    <a:lnTo>
                      <a:pt x="664" y="1556"/>
                    </a:lnTo>
                    <a:lnTo>
                      <a:pt x="662" y="1558"/>
                    </a:lnTo>
                    <a:lnTo>
                      <a:pt x="662" y="1558"/>
                    </a:lnTo>
                    <a:lnTo>
                      <a:pt x="660" y="1560"/>
                    </a:lnTo>
                    <a:lnTo>
                      <a:pt x="660" y="1562"/>
                    </a:lnTo>
                    <a:lnTo>
                      <a:pt x="662" y="1564"/>
                    </a:lnTo>
                    <a:lnTo>
                      <a:pt x="662" y="1568"/>
                    </a:lnTo>
                    <a:lnTo>
                      <a:pt x="662" y="1568"/>
                    </a:lnTo>
                    <a:lnTo>
                      <a:pt x="658" y="1570"/>
                    </a:lnTo>
                    <a:lnTo>
                      <a:pt x="658" y="1570"/>
                    </a:lnTo>
                    <a:lnTo>
                      <a:pt x="654" y="1572"/>
                    </a:lnTo>
                    <a:lnTo>
                      <a:pt x="652" y="1570"/>
                    </a:lnTo>
                    <a:lnTo>
                      <a:pt x="648" y="1568"/>
                    </a:lnTo>
                    <a:lnTo>
                      <a:pt x="646" y="1566"/>
                    </a:lnTo>
                    <a:lnTo>
                      <a:pt x="646" y="1566"/>
                    </a:lnTo>
                    <a:lnTo>
                      <a:pt x="644" y="1576"/>
                    </a:lnTo>
                    <a:lnTo>
                      <a:pt x="644" y="1576"/>
                    </a:lnTo>
                    <a:lnTo>
                      <a:pt x="642" y="1586"/>
                    </a:lnTo>
                    <a:lnTo>
                      <a:pt x="646" y="1592"/>
                    </a:lnTo>
                    <a:lnTo>
                      <a:pt x="646" y="1592"/>
                    </a:lnTo>
                    <a:lnTo>
                      <a:pt x="652" y="1598"/>
                    </a:lnTo>
                    <a:lnTo>
                      <a:pt x="658" y="1600"/>
                    </a:lnTo>
                    <a:lnTo>
                      <a:pt x="662" y="1600"/>
                    </a:lnTo>
                    <a:lnTo>
                      <a:pt x="664" y="1604"/>
                    </a:lnTo>
                    <a:lnTo>
                      <a:pt x="664" y="1604"/>
                    </a:lnTo>
                    <a:lnTo>
                      <a:pt x="668" y="1608"/>
                    </a:lnTo>
                    <a:lnTo>
                      <a:pt x="674" y="1612"/>
                    </a:lnTo>
                    <a:lnTo>
                      <a:pt x="688" y="1616"/>
                    </a:lnTo>
                    <a:lnTo>
                      <a:pt x="688" y="1616"/>
                    </a:lnTo>
                    <a:lnTo>
                      <a:pt x="690" y="1618"/>
                    </a:lnTo>
                    <a:lnTo>
                      <a:pt x="688" y="1620"/>
                    </a:lnTo>
                    <a:lnTo>
                      <a:pt x="688" y="1624"/>
                    </a:lnTo>
                    <a:lnTo>
                      <a:pt x="688" y="1624"/>
                    </a:lnTo>
                    <a:lnTo>
                      <a:pt x="690" y="1626"/>
                    </a:lnTo>
                    <a:lnTo>
                      <a:pt x="690" y="1626"/>
                    </a:lnTo>
                    <a:lnTo>
                      <a:pt x="692" y="1628"/>
                    </a:lnTo>
                    <a:lnTo>
                      <a:pt x="694" y="1628"/>
                    </a:lnTo>
                    <a:lnTo>
                      <a:pt x="696" y="1626"/>
                    </a:lnTo>
                    <a:lnTo>
                      <a:pt x="700" y="1626"/>
                    </a:lnTo>
                    <a:lnTo>
                      <a:pt x="700" y="1626"/>
                    </a:lnTo>
                    <a:lnTo>
                      <a:pt x="704" y="1630"/>
                    </a:lnTo>
                    <a:lnTo>
                      <a:pt x="706" y="1632"/>
                    </a:lnTo>
                    <a:lnTo>
                      <a:pt x="706" y="1632"/>
                    </a:lnTo>
                    <a:lnTo>
                      <a:pt x="710" y="1630"/>
                    </a:lnTo>
                    <a:lnTo>
                      <a:pt x="710" y="1630"/>
                    </a:lnTo>
                    <a:lnTo>
                      <a:pt x="720" y="1628"/>
                    </a:lnTo>
                    <a:lnTo>
                      <a:pt x="734" y="1628"/>
                    </a:lnTo>
                    <a:lnTo>
                      <a:pt x="746" y="1626"/>
                    </a:lnTo>
                    <a:lnTo>
                      <a:pt x="752" y="1624"/>
                    </a:lnTo>
                    <a:lnTo>
                      <a:pt x="756" y="1620"/>
                    </a:lnTo>
                    <a:lnTo>
                      <a:pt x="756" y="1620"/>
                    </a:lnTo>
                    <a:lnTo>
                      <a:pt x="760" y="1618"/>
                    </a:lnTo>
                    <a:lnTo>
                      <a:pt x="766" y="1614"/>
                    </a:lnTo>
                    <a:lnTo>
                      <a:pt x="774" y="1608"/>
                    </a:lnTo>
                    <a:lnTo>
                      <a:pt x="780" y="1600"/>
                    </a:lnTo>
                    <a:lnTo>
                      <a:pt x="780" y="1600"/>
                    </a:lnTo>
                    <a:lnTo>
                      <a:pt x="782" y="1596"/>
                    </a:lnTo>
                    <a:lnTo>
                      <a:pt x="784" y="1594"/>
                    </a:lnTo>
                    <a:lnTo>
                      <a:pt x="790" y="1592"/>
                    </a:lnTo>
                    <a:lnTo>
                      <a:pt x="792" y="1592"/>
                    </a:lnTo>
                    <a:lnTo>
                      <a:pt x="794" y="1588"/>
                    </a:lnTo>
                    <a:lnTo>
                      <a:pt x="794" y="1588"/>
                    </a:lnTo>
                    <a:lnTo>
                      <a:pt x="794" y="1586"/>
                    </a:lnTo>
                    <a:lnTo>
                      <a:pt x="796" y="1586"/>
                    </a:lnTo>
                    <a:lnTo>
                      <a:pt x="800" y="1584"/>
                    </a:lnTo>
                    <a:lnTo>
                      <a:pt x="804" y="1582"/>
                    </a:lnTo>
                    <a:lnTo>
                      <a:pt x="804" y="1582"/>
                    </a:lnTo>
                    <a:lnTo>
                      <a:pt x="800" y="1578"/>
                    </a:lnTo>
                    <a:lnTo>
                      <a:pt x="800" y="1578"/>
                    </a:lnTo>
                    <a:lnTo>
                      <a:pt x="798" y="1576"/>
                    </a:lnTo>
                    <a:lnTo>
                      <a:pt x="798" y="1576"/>
                    </a:lnTo>
                    <a:lnTo>
                      <a:pt x="802" y="1574"/>
                    </a:lnTo>
                    <a:lnTo>
                      <a:pt x="810" y="1572"/>
                    </a:lnTo>
                    <a:lnTo>
                      <a:pt x="812" y="1570"/>
                    </a:lnTo>
                    <a:lnTo>
                      <a:pt x="812" y="1566"/>
                    </a:lnTo>
                    <a:lnTo>
                      <a:pt x="812" y="1566"/>
                    </a:lnTo>
                    <a:lnTo>
                      <a:pt x="812" y="1562"/>
                    </a:lnTo>
                    <a:lnTo>
                      <a:pt x="816" y="1564"/>
                    </a:lnTo>
                    <a:lnTo>
                      <a:pt x="820" y="1568"/>
                    </a:lnTo>
                    <a:lnTo>
                      <a:pt x="822" y="1570"/>
                    </a:lnTo>
                    <a:lnTo>
                      <a:pt x="824" y="1568"/>
                    </a:lnTo>
                    <a:lnTo>
                      <a:pt x="824" y="1568"/>
                    </a:lnTo>
                    <a:lnTo>
                      <a:pt x="828" y="1566"/>
                    </a:lnTo>
                    <a:lnTo>
                      <a:pt x="834" y="1566"/>
                    </a:lnTo>
                    <a:lnTo>
                      <a:pt x="838" y="1564"/>
                    </a:lnTo>
                    <a:lnTo>
                      <a:pt x="838" y="1558"/>
                    </a:lnTo>
                    <a:lnTo>
                      <a:pt x="838" y="1558"/>
                    </a:lnTo>
                    <a:lnTo>
                      <a:pt x="838" y="1554"/>
                    </a:lnTo>
                    <a:lnTo>
                      <a:pt x="840" y="1552"/>
                    </a:lnTo>
                    <a:lnTo>
                      <a:pt x="844" y="1550"/>
                    </a:lnTo>
                    <a:lnTo>
                      <a:pt x="846" y="1548"/>
                    </a:lnTo>
                    <a:lnTo>
                      <a:pt x="846" y="1548"/>
                    </a:lnTo>
                    <a:lnTo>
                      <a:pt x="842" y="1540"/>
                    </a:lnTo>
                    <a:lnTo>
                      <a:pt x="842" y="1540"/>
                    </a:lnTo>
                    <a:lnTo>
                      <a:pt x="840" y="1536"/>
                    </a:lnTo>
                    <a:lnTo>
                      <a:pt x="838" y="1532"/>
                    </a:lnTo>
                    <a:lnTo>
                      <a:pt x="840" y="1528"/>
                    </a:lnTo>
                    <a:lnTo>
                      <a:pt x="844" y="1532"/>
                    </a:lnTo>
                    <a:lnTo>
                      <a:pt x="844" y="1532"/>
                    </a:lnTo>
                    <a:lnTo>
                      <a:pt x="846" y="1534"/>
                    </a:lnTo>
                    <a:lnTo>
                      <a:pt x="848" y="1534"/>
                    </a:lnTo>
                    <a:lnTo>
                      <a:pt x="850" y="1530"/>
                    </a:lnTo>
                    <a:lnTo>
                      <a:pt x="850" y="1528"/>
                    </a:lnTo>
                    <a:lnTo>
                      <a:pt x="852" y="1530"/>
                    </a:lnTo>
                    <a:lnTo>
                      <a:pt x="852" y="1530"/>
                    </a:lnTo>
                    <a:lnTo>
                      <a:pt x="852" y="1536"/>
                    </a:lnTo>
                    <a:lnTo>
                      <a:pt x="850" y="1538"/>
                    </a:lnTo>
                    <a:lnTo>
                      <a:pt x="850" y="1540"/>
                    </a:lnTo>
                    <a:lnTo>
                      <a:pt x="852" y="1542"/>
                    </a:lnTo>
                    <a:lnTo>
                      <a:pt x="852" y="1542"/>
                    </a:lnTo>
                    <a:lnTo>
                      <a:pt x="854" y="1548"/>
                    </a:lnTo>
                    <a:lnTo>
                      <a:pt x="854" y="1552"/>
                    </a:lnTo>
                    <a:lnTo>
                      <a:pt x="856" y="1554"/>
                    </a:lnTo>
                    <a:lnTo>
                      <a:pt x="862" y="1556"/>
                    </a:lnTo>
                    <a:lnTo>
                      <a:pt x="862" y="1556"/>
                    </a:lnTo>
                    <a:lnTo>
                      <a:pt x="866" y="1556"/>
                    </a:lnTo>
                    <a:lnTo>
                      <a:pt x="866" y="1558"/>
                    </a:lnTo>
                    <a:lnTo>
                      <a:pt x="868" y="1558"/>
                    </a:lnTo>
                    <a:lnTo>
                      <a:pt x="876" y="1560"/>
                    </a:lnTo>
                    <a:lnTo>
                      <a:pt x="876" y="1560"/>
                    </a:lnTo>
                    <a:lnTo>
                      <a:pt x="874" y="1564"/>
                    </a:lnTo>
                    <a:lnTo>
                      <a:pt x="872" y="1566"/>
                    </a:lnTo>
                    <a:lnTo>
                      <a:pt x="872" y="1570"/>
                    </a:lnTo>
                    <a:lnTo>
                      <a:pt x="874" y="1576"/>
                    </a:lnTo>
                    <a:lnTo>
                      <a:pt x="874" y="1576"/>
                    </a:lnTo>
                    <a:lnTo>
                      <a:pt x="876" y="1584"/>
                    </a:lnTo>
                    <a:lnTo>
                      <a:pt x="876" y="1594"/>
                    </a:lnTo>
                    <a:lnTo>
                      <a:pt x="876" y="1602"/>
                    </a:lnTo>
                    <a:lnTo>
                      <a:pt x="876" y="1608"/>
                    </a:lnTo>
                    <a:lnTo>
                      <a:pt x="878" y="1612"/>
                    </a:lnTo>
                    <a:lnTo>
                      <a:pt x="878" y="1612"/>
                    </a:lnTo>
                    <a:lnTo>
                      <a:pt x="882" y="1616"/>
                    </a:lnTo>
                    <a:lnTo>
                      <a:pt x="886" y="1616"/>
                    </a:lnTo>
                    <a:lnTo>
                      <a:pt x="890" y="1614"/>
                    </a:lnTo>
                    <a:lnTo>
                      <a:pt x="896" y="1610"/>
                    </a:lnTo>
                    <a:lnTo>
                      <a:pt x="898" y="1612"/>
                    </a:lnTo>
                    <a:lnTo>
                      <a:pt x="900" y="1614"/>
                    </a:lnTo>
                    <a:lnTo>
                      <a:pt x="900" y="1614"/>
                    </a:lnTo>
                    <a:lnTo>
                      <a:pt x="902" y="1618"/>
                    </a:lnTo>
                    <a:lnTo>
                      <a:pt x="902" y="1622"/>
                    </a:lnTo>
                    <a:lnTo>
                      <a:pt x="900" y="1628"/>
                    </a:lnTo>
                    <a:lnTo>
                      <a:pt x="896" y="1638"/>
                    </a:lnTo>
                    <a:lnTo>
                      <a:pt x="898" y="1644"/>
                    </a:lnTo>
                    <a:lnTo>
                      <a:pt x="900" y="1652"/>
                    </a:lnTo>
                    <a:lnTo>
                      <a:pt x="900" y="1652"/>
                    </a:lnTo>
                    <a:lnTo>
                      <a:pt x="906" y="1672"/>
                    </a:lnTo>
                    <a:lnTo>
                      <a:pt x="916" y="1694"/>
                    </a:lnTo>
                    <a:lnTo>
                      <a:pt x="928" y="1710"/>
                    </a:lnTo>
                    <a:lnTo>
                      <a:pt x="932" y="1716"/>
                    </a:lnTo>
                    <a:lnTo>
                      <a:pt x="936" y="1716"/>
                    </a:lnTo>
                    <a:lnTo>
                      <a:pt x="936" y="1716"/>
                    </a:lnTo>
                    <a:lnTo>
                      <a:pt x="942" y="1716"/>
                    </a:lnTo>
                    <a:lnTo>
                      <a:pt x="944" y="1718"/>
                    </a:lnTo>
                    <a:lnTo>
                      <a:pt x="944" y="1720"/>
                    </a:lnTo>
                    <a:lnTo>
                      <a:pt x="942" y="1726"/>
                    </a:lnTo>
                    <a:lnTo>
                      <a:pt x="934" y="1728"/>
                    </a:lnTo>
                    <a:lnTo>
                      <a:pt x="934" y="1728"/>
                    </a:lnTo>
                    <a:lnTo>
                      <a:pt x="932" y="1730"/>
                    </a:lnTo>
                    <a:lnTo>
                      <a:pt x="934" y="1732"/>
                    </a:lnTo>
                    <a:lnTo>
                      <a:pt x="936" y="1738"/>
                    </a:lnTo>
                    <a:lnTo>
                      <a:pt x="938" y="1742"/>
                    </a:lnTo>
                    <a:lnTo>
                      <a:pt x="932" y="1740"/>
                    </a:lnTo>
                    <a:lnTo>
                      <a:pt x="932" y="1740"/>
                    </a:lnTo>
                    <a:lnTo>
                      <a:pt x="926" y="1740"/>
                    </a:lnTo>
                    <a:lnTo>
                      <a:pt x="926" y="1740"/>
                    </a:lnTo>
                    <a:lnTo>
                      <a:pt x="934" y="1752"/>
                    </a:lnTo>
                    <a:lnTo>
                      <a:pt x="940" y="1760"/>
                    </a:lnTo>
                    <a:lnTo>
                      <a:pt x="944" y="1768"/>
                    </a:lnTo>
                    <a:lnTo>
                      <a:pt x="946" y="1778"/>
                    </a:lnTo>
                    <a:lnTo>
                      <a:pt x="946" y="1782"/>
                    </a:lnTo>
                    <a:lnTo>
                      <a:pt x="944" y="1786"/>
                    </a:lnTo>
                    <a:lnTo>
                      <a:pt x="944" y="1786"/>
                    </a:lnTo>
                    <a:lnTo>
                      <a:pt x="940" y="1792"/>
                    </a:lnTo>
                    <a:lnTo>
                      <a:pt x="942" y="1796"/>
                    </a:lnTo>
                    <a:lnTo>
                      <a:pt x="946" y="1798"/>
                    </a:lnTo>
                    <a:lnTo>
                      <a:pt x="954" y="1798"/>
                    </a:lnTo>
                    <a:lnTo>
                      <a:pt x="972" y="1796"/>
                    </a:lnTo>
                    <a:lnTo>
                      <a:pt x="982" y="1794"/>
                    </a:lnTo>
                    <a:lnTo>
                      <a:pt x="990" y="1794"/>
                    </a:lnTo>
                    <a:lnTo>
                      <a:pt x="990" y="1794"/>
                    </a:lnTo>
                    <a:lnTo>
                      <a:pt x="996" y="1794"/>
                    </a:lnTo>
                    <a:lnTo>
                      <a:pt x="998" y="1788"/>
                    </a:lnTo>
                    <a:lnTo>
                      <a:pt x="1000" y="1774"/>
                    </a:lnTo>
                    <a:lnTo>
                      <a:pt x="1000" y="1768"/>
                    </a:lnTo>
                    <a:lnTo>
                      <a:pt x="1002" y="1760"/>
                    </a:lnTo>
                    <a:lnTo>
                      <a:pt x="1004" y="1756"/>
                    </a:lnTo>
                    <a:lnTo>
                      <a:pt x="1010" y="1756"/>
                    </a:lnTo>
                    <a:lnTo>
                      <a:pt x="1010" y="1756"/>
                    </a:lnTo>
                    <a:lnTo>
                      <a:pt x="1018" y="1756"/>
                    </a:lnTo>
                    <a:lnTo>
                      <a:pt x="1018" y="1754"/>
                    </a:lnTo>
                    <a:lnTo>
                      <a:pt x="1018" y="1752"/>
                    </a:lnTo>
                    <a:lnTo>
                      <a:pt x="1020" y="1750"/>
                    </a:lnTo>
                    <a:lnTo>
                      <a:pt x="1024" y="1748"/>
                    </a:lnTo>
                    <a:lnTo>
                      <a:pt x="1034" y="1746"/>
                    </a:lnTo>
                    <a:lnTo>
                      <a:pt x="1034" y="1746"/>
                    </a:lnTo>
                    <a:lnTo>
                      <a:pt x="1042" y="1746"/>
                    </a:lnTo>
                    <a:lnTo>
                      <a:pt x="1050" y="1746"/>
                    </a:lnTo>
                    <a:lnTo>
                      <a:pt x="1058" y="1750"/>
                    </a:lnTo>
                    <a:lnTo>
                      <a:pt x="1062" y="1750"/>
                    </a:lnTo>
                    <a:lnTo>
                      <a:pt x="1064" y="1750"/>
                    </a:lnTo>
                    <a:lnTo>
                      <a:pt x="1070" y="1736"/>
                    </a:lnTo>
                    <a:lnTo>
                      <a:pt x="1070" y="1736"/>
                    </a:lnTo>
                    <a:lnTo>
                      <a:pt x="1076" y="1720"/>
                    </a:lnTo>
                    <a:lnTo>
                      <a:pt x="1082" y="1708"/>
                    </a:lnTo>
                    <a:lnTo>
                      <a:pt x="1086" y="1700"/>
                    </a:lnTo>
                    <a:lnTo>
                      <a:pt x="1088" y="1692"/>
                    </a:lnTo>
                    <a:lnTo>
                      <a:pt x="1088" y="1692"/>
                    </a:lnTo>
                    <a:lnTo>
                      <a:pt x="1088" y="1684"/>
                    </a:lnTo>
                    <a:lnTo>
                      <a:pt x="1090" y="1676"/>
                    </a:lnTo>
                    <a:lnTo>
                      <a:pt x="1092" y="1666"/>
                    </a:lnTo>
                    <a:lnTo>
                      <a:pt x="1092" y="1658"/>
                    </a:lnTo>
                    <a:lnTo>
                      <a:pt x="1092" y="1658"/>
                    </a:lnTo>
                    <a:lnTo>
                      <a:pt x="1090" y="1654"/>
                    </a:lnTo>
                    <a:lnTo>
                      <a:pt x="1092" y="1650"/>
                    </a:lnTo>
                    <a:lnTo>
                      <a:pt x="1094" y="1644"/>
                    </a:lnTo>
                    <a:lnTo>
                      <a:pt x="1098" y="1638"/>
                    </a:lnTo>
                    <a:lnTo>
                      <a:pt x="1098" y="1634"/>
                    </a:lnTo>
                    <a:lnTo>
                      <a:pt x="1098" y="1632"/>
                    </a:lnTo>
                    <a:lnTo>
                      <a:pt x="1098" y="1632"/>
                    </a:lnTo>
                    <a:lnTo>
                      <a:pt x="1096" y="1626"/>
                    </a:lnTo>
                    <a:lnTo>
                      <a:pt x="1098" y="1622"/>
                    </a:lnTo>
                    <a:lnTo>
                      <a:pt x="1100" y="1618"/>
                    </a:lnTo>
                    <a:lnTo>
                      <a:pt x="1098" y="1610"/>
                    </a:lnTo>
                    <a:lnTo>
                      <a:pt x="1098" y="1610"/>
                    </a:lnTo>
                    <a:lnTo>
                      <a:pt x="1096" y="1606"/>
                    </a:lnTo>
                    <a:lnTo>
                      <a:pt x="1096" y="1604"/>
                    </a:lnTo>
                    <a:lnTo>
                      <a:pt x="1098" y="1604"/>
                    </a:lnTo>
                    <a:lnTo>
                      <a:pt x="1100" y="1602"/>
                    </a:lnTo>
                    <a:lnTo>
                      <a:pt x="1102" y="1600"/>
                    </a:lnTo>
                    <a:lnTo>
                      <a:pt x="1100" y="1598"/>
                    </a:lnTo>
                    <a:lnTo>
                      <a:pt x="1100" y="1598"/>
                    </a:lnTo>
                    <a:lnTo>
                      <a:pt x="1100" y="1596"/>
                    </a:lnTo>
                    <a:lnTo>
                      <a:pt x="1102" y="1592"/>
                    </a:lnTo>
                    <a:lnTo>
                      <a:pt x="1112" y="1588"/>
                    </a:lnTo>
                    <a:lnTo>
                      <a:pt x="1124" y="1582"/>
                    </a:lnTo>
                    <a:lnTo>
                      <a:pt x="1130" y="1578"/>
                    </a:lnTo>
                    <a:lnTo>
                      <a:pt x="1132" y="1574"/>
                    </a:lnTo>
                    <a:lnTo>
                      <a:pt x="1132" y="1574"/>
                    </a:lnTo>
                    <a:lnTo>
                      <a:pt x="1134" y="1570"/>
                    </a:lnTo>
                    <a:lnTo>
                      <a:pt x="1134" y="1568"/>
                    </a:lnTo>
                    <a:lnTo>
                      <a:pt x="1138" y="1572"/>
                    </a:lnTo>
                    <a:lnTo>
                      <a:pt x="1142" y="1576"/>
                    </a:lnTo>
                    <a:lnTo>
                      <a:pt x="1144" y="1574"/>
                    </a:lnTo>
                    <a:lnTo>
                      <a:pt x="1146" y="1572"/>
                    </a:lnTo>
                    <a:lnTo>
                      <a:pt x="1146" y="1572"/>
                    </a:lnTo>
                    <a:lnTo>
                      <a:pt x="1152" y="1566"/>
                    </a:lnTo>
                    <a:lnTo>
                      <a:pt x="1158" y="1562"/>
                    </a:lnTo>
                    <a:lnTo>
                      <a:pt x="1164" y="1560"/>
                    </a:lnTo>
                    <a:lnTo>
                      <a:pt x="1164" y="1558"/>
                    </a:lnTo>
                    <a:lnTo>
                      <a:pt x="1164" y="1556"/>
                    </a:lnTo>
                    <a:lnTo>
                      <a:pt x="1164" y="1556"/>
                    </a:lnTo>
                    <a:lnTo>
                      <a:pt x="1164" y="1556"/>
                    </a:lnTo>
                    <a:lnTo>
                      <a:pt x="1166" y="1554"/>
                    </a:lnTo>
                    <a:lnTo>
                      <a:pt x="1170" y="1552"/>
                    </a:lnTo>
                    <a:lnTo>
                      <a:pt x="1172" y="1550"/>
                    </a:lnTo>
                    <a:lnTo>
                      <a:pt x="1172" y="1548"/>
                    </a:lnTo>
                    <a:lnTo>
                      <a:pt x="1172" y="1546"/>
                    </a:lnTo>
                    <a:lnTo>
                      <a:pt x="1170" y="1542"/>
                    </a:lnTo>
                    <a:lnTo>
                      <a:pt x="1170" y="1542"/>
                    </a:lnTo>
                    <a:lnTo>
                      <a:pt x="1168" y="1540"/>
                    </a:lnTo>
                    <a:lnTo>
                      <a:pt x="1164" y="1540"/>
                    </a:lnTo>
                    <a:lnTo>
                      <a:pt x="1152" y="1546"/>
                    </a:lnTo>
                    <a:lnTo>
                      <a:pt x="1144" y="1550"/>
                    </a:lnTo>
                    <a:lnTo>
                      <a:pt x="1136" y="1550"/>
                    </a:lnTo>
                    <a:lnTo>
                      <a:pt x="1128" y="1550"/>
                    </a:lnTo>
                    <a:lnTo>
                      <a:pt x="1122" y="1546"/>
                    </a:lnTo>
                    <a:lnTo>
                      <a:pt x="1122" y="1546"/>
                    </a:lnTo>
                    <a:lnTo>
                      <a:pt x="1112" y="1540"/>
                    </a:lnTo>
                    <a:lnTo>
                      <a:pt x="1104" y="1538"/>
                    </a:lnTo>
                    <a:lnTo>
                      <a:pt x="1094" y="1538"/>
                    </a:lnTo>
                    <a:lnTo>
                      <a:pt x="1086" y="1538"/>
                    </a:lnTo>
                    <a:lnTo>
                      <a:pt x="1076" y="1538"/>
                    </a:lnTo>
                    <a:lnTo>
                      <a:pt x="1084" y="1534"/>
                    </a:lnTo>
                    <a:lnTo>
                      <a:pt x="1084" y="1534"/>
                    </a:lnTo>
                    <a:lnTo>
                      <a:pt x="1092" y="1530"/>
                    </a:lnTo>
                    <a:lnTo>
                      <a:pt x="1098" y="1530"/>
                    </a:lnTo>
                    <a:lnTo>
                      <a:pt x="1110" y="1530"/>
                    </a:lnTo>
                    <a:lnTo>
                      <a:pt x="1118" y="1534"/>
                    </a:lnTo>
                    <a:lnTo>
                      <a:pt x="1122" y="1534"/>
                    </a:lnTo>
                    <a:lnTo>
                      <a:pt x="1124" y="1532"/>
                    </a:lnTo>
                    <a:lnTo>
                      <a:pt x="1124" y="1532"/>
                    </a:lnTo>
                    <a:lnTo>
                      <a:pt x="1126" y="1532"/>
                    </a:lnTo>
                    <a:lnTo>
                      <a:pt x="1128" y="1532"/>
                    </a:lnTo>
                    <a:lnTo>
                      <a:pt x="1134" y="1538"/>
                    </a:lnTo>
                    <a:lnTo>
                      <a:pt x="1142" y="1544"/>
                    </a:lnTo>
                    <a:lnTo>
                      <a:pt x="1146" y="1544"/>
                    </a:lnTo>
                    <a:lnTo>
                      <a:pt x="1150" y="1542"/>
                    </a:lnTo>
                    <a:lnTo>
                      <a:pt x="1150" y="1542"/>
                    </a:lnTo>
                    <a:lnTo>
                      <a:pt x="1178" y="1528"/>
                    </a:lnTo>
                    <a:lnTo>
                      <a:pt x="1190" y="1518"/>
                    </a:lnTo>
                    <a:lnTo>
                      <a:pt x="1192" y="1516"/>
                    </a:lnTo>
                    <a:lnTo>
                      <a:pt x="1192" y="1512"/>
                    </a:lnTo>
                    <a:lnTo>
                      <a:pt x="1192" y="1512"/>
                    </a:lnTo>
                    <a:lnTo>
                      <a:pt x="1184" y="1500"/>
                    </a:lnTo>
                    <a:lnTo>
                      <a:pt x="1178" y="1496"/>
                    </a:lnTo>
                    <a:lnTo>
                      <a:pt x="1172" y="1496"/>
                    </a:lnTo>
                    <a:lnTo>
                      <a:pt x="1172" y="1496"/>
                    </a:lnTo>
                    <a:lnTo>
                      <a:pt x="1168" y="1496"/>
                    </a:lnTo>
                    <a:lnTo>
                      <a:pt x="1168" y="1494"/>
                    </a:lnTo>
                    <a:lnTo>
                      <a:pt x="1168" y="1490"/>
                    </a:lnTo>
                    <a:lnTo>
                      <a:pt x="1170" y="1484"/>
                    </a:lnTo>
                    <a:lnTo>
                      <a:pt x="1168" y="1482"/>
                    </a:lnTo>
                    <a:lnTo>
                      <a:pt x="1164" y="1480"/>
                    </a:lnTo>
                    <a:lnTo>
                      <a:pt x="1164" y="1480"/>
                    </a:lnTo>
                    <a:lnTo>
                      <a:pt x="1158" y="1476"/>
                    </a:lnTo>
                    <a:lnTo>
                      <a:pt x="1154" y="1472"/>
                    </a:lnTo>
                    <a:lnTo>
                      <a:pt x="1148" y="1468"/>
                    </a:lnTo>
                    <a:lnTo>
                      <a:pt x="1144" y="1466"/>
                    </a:lnTo>
                    <a:lnTo>
                      <a:pt x="1138" y="1468"/>
                    </a:lnTo>
                    <a:lnTo>
                      <a:pt x="1138" y="1468"/>
                    </a:lnTo>
                    <a:lnTo>
                      <a:pt x="1132" y="1468"/>
                    </a:lnTo>
                    <a:lnTo>
                      <a:pt x="1132" y="1466"/>
                    </a:lnTo>
                    <a:lnTo>
                      <a:pt x="1132" y="1462"/>
                    </a:lnTo>
                    <a:lnTo>
                      <a:pt x="1130" y="1462"/>
                    </a:lnTo>
                    <a:lnTo>
                      <a:pt x="1126" y="1460"/>
                    </a:lnTo>
                    <a:lnTo>
                      <a:pt x="1126" y="1460"/>
                    </a:lnTo>
                    <a:lnTo>
                      <a:pt x="1124" y="1460"/>
                    </a:lnTo>
                    <a:lnTo>
                      <a:pt x="1122" y="1458"/>
                    </a:lnTo>
                    <a:lnTo>
                      <a:pt x="1118" y="1450"/>
                    </a:lnTo>
                    <a:lnTo>
                      <a:pt x="1116" y="1440"/>
                    </a:lnTo>
                    <a:lnTo>
                      <a:pt x="1116" y="1428"/>
                    </a:lnTo>
                    <a:lnTo>
                      <a:pt x="1116" y="1416"/>
                    </a:lnTo>
                    <a:lnTo>
                      <a:pt x="1116" y="1406"/>
                    </a:lnTo>
                    <a:lnTo>
                      <a:pt x="1120" y="1398"/>
                    </a:lnTo>
                    <a:lnTo>
                      <a:pt x="1120" y="1396"/>
                    </a:lnTo>
                    <a:lnTo>
                      <a:pt x="1124" y="1396"/>
                    </a:lnTo>
                    <a:lnTo>
                      <a:pt x="1124" y="1396"/>
                    </a:lnTo>
                    <a:lnTo>
                      <a:pt x="1126" y="1394"/>
                    </a:lnTo>
                    <a:lnTo>
                      <a:pt x="1128" y="1392"/>
                    </a:lnTo>
                    <a:lnTo>
                      <a:pt x="1126" y="1386"/>
                    </a:lnTo>
                    <a:lnTo>
                      <a:pt x="1126" y="1374"/>
                    </a:lnTo>
                    <a:lnTo>
                      <a:pt x="1126" y="1368"/>
                    </a:lnTo>
                    <a:lnTo>
                      <a:pt x="1128" y="1360"/>
                    </a:lnTo>
                    <a:lnTo>
                      <a:pt x="1128" y="1360"/>
                    </a:lnTo>
                    <a:lnTo>
                      <a:pt x="1132" y="1356"/>
                    </a:lnTo>
                    <a:lnTo>
                      <a:pt x="1132" y="1352"/>
                    </a:lnTo>
                    <a:lnTo>
                      <a:pt x="1130" y="1352"/>
                    </a:lnTo>
                    <a:lnTo>
                      <a:pt x="1128" y="1350"/>
                    </a:lnTo>
                    <a:lnTo>
                      <a:pt x="1124" y="1350"/>
                    </a:lnTo>
                    <a:lnTo>
                      <a:pt x="1122" y="1348"/>
                    </a:lnTo>
                    <a:lnTo>
                      <a:pt x="1122" y="1342"/>
                    </a:lnTo>
                    <a:lnTo>
                      <a:pt x="1122" y="1342"/>
                    </a:lnTo>
                    <a:lnTo>
                      <a:pt x="1122" y="1336"/>
                    </a:lnTo>
                    <a:lnTo>
                      <a:pt x="1124" y="1338"/>
                    </a:lnTo>
                    <a:lnTo>
                      <a:pt x="1130" y="1340"/>
                    </a:lnTo>
                    <a:lnTo>
                      <a:pt x="1136" y="1340"/>
                    </a:lnTo>
                    <a:lnTo>
                      <a:pt x="1142" y="1338"/>
                    </a:lnTo>
                    <a:lnTo>
                      <a:pt x="1142" y="1338"/>
                    </a:lnTo>
                    <a:lnTo>
                      <a:pt x="1148" y="1334"/>
                    </a:lnTo>
                    <a:lnTo>
                      <a:pt x="1148" y="1332"/>
                    </a:lnTo>
                    <a:lnTo>
                      <a:pt x="1148" y="1330"/>
                    </a:lnTo>
                    <a:lnTo>
                      <a:pt x="1146" y="1326"/>
                    </a:lnTo>
                    <a:lnTo>
                      <a:pt x="1144" y="1324"/>
                    </a:lnTo>
                    <a:lnTo>
                      <a:pt x="1142" y="1322"/>
                    </a:lnTo>
                    <a:lnTo>
                      <a:pt x="1144" y="1322"/>
                    </a:lnTo>
                    <a:lnTo>
                      <a:pt x="1152" y="1320"/>
                    </a:lnTo>
                    <a:lnTo>
                      <a:pt x="1152" y="1320"/>
                    </a:lnTo>
                    <a:lnTo>
                      <a:pt x="1160" y="1318"/>
                    </a:lnTo>
                    <a:lnTo>
                      <a:pt x="1166" y="1312"/>
                    </a:lnTo>
                    <a:lnTo>
                      <a:pt x="1170" y="1308"/>
                    </a:lnTo>
                    <a:lnTo>
                      <a:pt x="1172" y="1302"/>
                    </a:lnTo>
                    <a:lnTo>
                      <a:pt x="1178" y="1294"/>
                    </a:lnTo>
                    <a:lnTo>
                      <a:pt x="1180" y="1292"/>
                    </a:lnTo>
                    <a:lnTo>
                      <a:pt x="1186" y="1292"/>
                    </a:lnTo>
                    <a:lnTo>
                      <a:pt x="1186" y="1292"/>
                    </a:lnTo>
                    <a:lnTo>
                      <a:pt x="1190" y="1294"/>
                    </a:lnTo>
                    <a:lnTo>
                      <a:pt x="1194" y="1292"/>
                    </a:lnTo>
                    <a:lnTo>
                      <a:pt x="1196" y="1286"/>
                    </a:lnTo>
                    <a:lnTo>
                      <a:pt x="1200" y="1278"/>
                    </a:lnTo>
                    <a:lnTo>
                      <a:pt x="1204" y="1274"/>
                    </a:lnTo>
                    <a:lnTo>
                      <a:pt x="1208" y="1274"/>
                    </a:lnTo>
                    <a:lnTo>
                      <a:pt x="1208" y="1274"/>
                    </a:lnTo>
                    <a:lnTo>
                      <a:pt x="1214" y="1274"/>
                    </a:lnTo>
                    <a:lnTo>
                      <a:pt x="1218" y="1274"/>
                    </a:lnTo>
                    <a:lnTo>
                      <a:pt x="1222" y="1268"/>
                    </a:lnTo>
                    <a:lnTo>
                      <a:pt x="1226" y="1264"/>
                    </a:lnTo>
                    <a:lnTo>
                      <a:pt x="1228" y="1264"/>
                    </a:lnTo>
                    <a:lnTo>
                      <a:pt x="1232" y="1264"/>
                    </a:lnTo>
                    <a:lnTo>
                      <a:pt x="1232" y="1264"/>
                    </a:lnTo>
                    <a:lnTo>
                      <a:pt x="1236" y="1264"/>
                    </a:lnTo>
                    <a:lnTo>
                      <a:pt x="1238" y="1264"/>
                    </a:lnTo>
                    <a:lnTo>
                      <a:pt x="1240" y="1260"/>
                    </a:lnTo>
                    <a:lnTo>
                      <a:pt x="1244" y="1254"/>
                    </a:lnTo>
                    <a:lnTo>
                      <a:pt x="1246" y="1254"/>
                    </a:lnTo>
                    <a:lnTo>
                      <a:pt x="1250" y="1254"/>
                    </a:lnTo>
                    <a:lnTo>
                      <a:pt x="1250" y="1254"/>
                    </a:lnTo>
                    <a:lnTo>
                      <a:pt x="1254" y="1252"/>
                    </a:lnTo>
                    <a:lnTo>
                      <a:pt x="1258" y="1250"/>
                    </a:lnTo>
                    <a:lnTo>
                      <a:pt x="1262" y="1240"/>
                    </a:lnTo>
                    <a:lnTo>
                      <a:pt x="1268" y="1226"/>
                    </a:lnTo>
                    <a:lnTo>
                      <a:pt x="1274" y="1220"/>
                    </a:lnTo>
                    <a:lnTo>
                      <a:pt x="1284" y="1214"/>
                    </a:lnTo>
                    <a:lnTo>
                      <a:pt x="1284" y="1214"/>
                    </a:lnTo>
                    <a:lnTo>
                      <a:pt x="1290" y="1208"/>
                    </a:lnTo>
                    <a:lnTo>
                      <a:pt x="1292" y="1206"/>
                    </a:lnTo>
                    <a:lnTo>
                      <a:pt x="1292" y="1204"/>
                    </a:lnTo>
                    <a:lnTo>
                      <a:pt x="1290" y="1202"/>
                    </a:lnTo>
                    <a:lnTo>
                      <a:pt x="1284" y="1198"/>
                    </a:lnTo>
                    <a:lnTo>
                      <a:pt x="1280" y="1194"/>
                    </a:lnTo>
                    <a:lnTo>
                      <a:pt x="1276" y="1190"/>
                    </a:lnTo>
                    <a:lnTo>
                      <a:pt x="1276" y="1190"/>
                    </a:lnTo>
                    <a:lnTo>
                      <a:pt x="1276" y="1184"/>
                    </a:lnTo>
                    <a:lnTo>
                      <a:pt x="1276" y="1180"/>
                    </a:lnTo>
                    <a:lnTo>
                      <a:pt x="1282" y="1174"/>
                    </a:lnTo>
                    <a:lnTo>
                      <a:pt x="1288" y="1168"/>
                    </a:lnTo>
                    <a:lnTo>
                      <a:pt x="1290" y="1164"/>
                    </a:lnTo>
                    <a:lnTo>
                      <a:pt x="1292" y="1156"/>
                    </a:lnTo>
                    <a:lnTo>
                      <a:pt x="1292" y="1156"/>
                    </a:lnTo>
                    <a:lnTo>
                      <a:pt x="1292" y="1150"/>
                    </a:lnTo>
                    <a:lnTo>
                      <a:pt x="1294" y="1146"/>
                    </a:lnTo>
                    <a:lnTo>
                      <a:pt x="1298" y="1144"/>
                    </a:lnTo>
                    <a:lnTo>
                      <a:pt x="1300" y="1144"/>
                    </a:lnTo>
                    <a:lnTo>
                      <a:pt x="1306" y="1142"/>
                    </a:lnTo>
                    <a:lnTo>
                      <a:pt x="1310" y="1140"/>
                    </a:lnTo>
                    <a:lnTo>
                      <a:pt x="1310" y="1138"/>
                    </a:lnTo>
                    <a:lnTo>
                      <a:pt x="1310" y="1138"/>
                    </a:lnTo>
                    <a:lnTo>
                      <a:pt x="1314" y="1132"/>
                    </a:lnTo>
                    <a:lnTo>
                      <a:pt x="1320" y="1126"/>
                    </a:lnTo>
                    <a:lnTo>
                      <a:pt x="1338" y="1114"/>
                    </a:lnTo>
                    <a:lnTo>
                      <a:pt x="1338" y="1114"/>
                    </a:lnTo>
                    <a:lnTo>
                      <a:pt x="1340" y="1112"/>
                    </a:lnTo>
                    <a:lnTo>
                      <a:pt x="1344" y="1112"/>
                    </a:lnTo>
                    <a:lnTo>
                      <a:pt x="1346" y="1116"/>
                    </a:lnTo>
                    <a:lnTo>
                      <a:pt x="1348" y="1118"/>
                    </a:lnTo>
                    <a:lnTo>
                      <a:pt x="1350" y="1120"/>
                    </a:lnTo>
                    <a:lnTo>
                      <a:pt x="1354" y="1120"/>
                    </a:lnTo>
                    <a:lnTo>
                      <a:pt x="1358" y="1118"/>
                    </a:lnTo>
                    <a:lnTo>
                      <a:pt x="1358" y="1118"/>
                    </a:lnTo>
                    <a:lnTo>
                      <a:pt x="1364" y="1116"/>
                    </a:lnTo>
                    <a:lnTo>
                      <a:pt x="1368" y="1116"/>
                    </a:lnTo>
                    <a:lnTo>
                      <a:pt x="1378" y="1116"/>
                    </a:lnTo>
                    <a:lnTo>
                      <a:pt x="1386" y="1116"/>
                    </a:lnTo>
                    <a:lnTo>
                      <a:pt x="1392" y="1116"/>
                    </a:lnTo>
                    <a:lnTo>
                      <a:pt x="1396" y="1114"/>
                    </a:lnTo>
                    <a:lnTo>
                      <a:pt x="1396" y="1114"/>
                    </a:lnTo>
                    <a:lnTo>
                      <a:pt x="1408" y="1116"/>
                    </a:lnTo>
                    <a:lnTo>
                      <a:pt x="1414" y="1120"/>
                    </a:lnTo>
                    <a:lnTo>
                      <a:pt x="1418" y="1124"/>
                    </a:lnTo>
                    <a:lnTo>
                      <a:pt x="1428" y="1126"/>
                    </a:lnTo>
                    <a:lnTo>
                      <a:pt x="1428" y="1126"/>
                    </a:lnTo>
                    <a:lnTo>
                      <a:pt x="1438" y="1130"/>
                    </a:lnTo>
                    <a:lnTo>
                      <a:pt x="1440" y="1134"/>
                    </a:lnTo>
                    <a:lnTo>
                      <a:pt x="1442" y="1136"/>
                    </a:lnTo>
                    <a:lnTo>
                      <a:pt x="1442" y="1144"/>
                    </a:lnTo>
                    <a:lnTo>
                      <a:pt x="1440" y="1154"/>
                    </a:lnTo>
                    <a:lnTo>
                      <a:pt x="1440" y="1154"/>
                    </a:lnTo>
                    <a:lnTo>
                      <a:pt x="1440" y="1162"/>
                    </a:lnTo>
                    <a:lnTo>
                      <a:pt x="1442" y="1166"/>
                    </a:lnTo>
                    <a:lnTo>
                      <a:pt x="1446" y="1168"/>
                    </a:lnTo>
                    <a:lnTo>
                      <a:pt x="1444" y="1174"/>
                    </a:lnTo>
                    <a:lnTo>
                      <a:pt x="1444" y="1174"/>
                    </a:lnTo>
                    <a:lnTo>
                      <a:pt x="1442" y="1176"/>
                    </a:lnTo>
                    <a:lnTo>
                      <a:pt x="1440" y="1176"/>
                    </a:lnTo>
                    <a:lnTo>
                      <a:pt x="1434" y="1176"/>
                    </a:lnTo>
                    <a:lnTo>
                      <a:pt x="1422" y="1178"/>
                    </a:lnTo>
                    <a:lnTo>
                      <a:pt x="1422" y="1178"/>
                    </a:lnTo>
                    <a:lnTo>
                      <a:pt x="1416" y="1180"/>
                    </a:lnTo>
                    <a:lnTo>
                      <a:pt x="1412" y="1184"/>
                    </a:lnTo>
                    <a:lnTo>
                      <a:pt x="1406" y="1196"/>
                    </a:lnTo>
                    <a:lnTo>
                      <a:pt x="1398" y="1208"/>
                    </a:lnTo>
                    <a:lnTo>
                      <a:pt x="1390" y="1216"/>
                    </a:lnTo>
                    <a:lnTo>
                      <a:pt x="1382" y="1222"/>
                    </a:lnTo>
                    <a:lnTo>
                      <a:pt x="1382" y="1222"/>
                    </a:lnTo>
                    <a:lnTo>
                      <a:pt x="1372" y="1228"/>
                    </a:lnTo>
                    <a:lnTo>
                      <a:pt x="1368" y="1232"/>
                    </a:lnTo>
                    <a:lnTo>
                      <a:pt x="1366" y="1236"/>
                    </a:lnTo>
                    <a:lnTo>
                      <a:pt x="1366" y="1238"/>
                    </a:lnTo>
                    <a:lnTo>
                      <a:pt x="1366" y="1242"/>
                    </a:lnTo>
                    <a:lnTo>
                      <a:pt x="1358" y="1244"/>
                    </a:lnTo>
                    <a:lnTo>
                      <a:pt x="1358" y="1244"/>
                    </a:lnTo>
                    <a:lnTo>
                      <a:pt x="1354" y="1246"/>
                    </a:lnTo>
                    <a:lnTo>
                      <a:pt x="1350" y="1248"/>
                    </a:lnTo>
                    <a:lnTo>
                      <a:pt x="1346" y="1254"/>
                    </a:lnTo>
                    <a:lnTo>
                      <a:pt x="1344" y="1258"/>
                    </a:lnTo>
                    <a:lnTo>
                      <a:pt x="1342" y="1260"/>
                    </a:lnTo>
                    <a:lnTo>
                      <a:pt x="1338" y="1260"/>
                    </a:lnTo>
                    <a:lnTo>
                      <a:pt x="1338" y="1260"/>
                    </a:lnTo>
                    <a:lnTo>
                      <a:pt x="1334" y="1260"/>
                    </a:lnTo>
                    <a:lnTo>
                      <a:pt x="1332" y="1260"/>
                    </a:lnTo>
                    <a:lnTo>
                      <a:pt x="1328" y="1264"/>
                    </a:lnTo>
                    <a:lnTo>
                      <a:pt x="1326" y="1268"/>
                    </a:lnTo>
                    <a:lnTo>
                      <a:pt x="1324" y="1270"/>
                    </a:lnTo>
                    <a:lnTo>
                      <a:pt x="1322" y="1270"/>
                    </a:lnTo>
                    <a:lnTo>
                      <a:pt x="1322" y="1270"/>
                    </a:lnTo>
                    <a:lnTo>
                      <a:pt x="1320" y="1272"/>
                    </a:lnTo>
                    <a:lnTo>
                      <a:pt x="1318" y="1272"/>
                    </a:lnTo>
                    <a:lnTo>
                      <a:pt x="1318" y="1278"/>
                    </a:lnTo>
                    <a:lnTo>
                      <a:pt x="1318" y="1286"/>
                    </a:lnTo>
                    <a:lnTo>
                      <a:pt x="1318" y="1288"/>
                    </a:lnTo>
                    <a:lnTo>
                      <a:pt x="1314" y="1292"/>
                    </a:lnTo>
                    <a:lnTo>
                      <a:pt x="1314" y="1292"/>
                    </a:lnTo>
                    <a:lnTo>
                      <a:pt x="1310" y="1294"/>
                    </a:lnTo>
                    <a:lnTo>
                      <a:pt x="1308" y="1294"/>
                    </a:lnTo>
                    <a:lnTo>
                      <a:pt x="1300" y="1292"/>
                    </a:lnTo>
                    <a:lnTo>
                      <a:pt x="1294" y="1290"/>
                    </a:lnTo>
                    <a:lnTo>
                      <a:pt x="1292" y="1292"/>
                    </a:lnTo>
                    <a:lnTo>
                      <a:pt x="1290" y="1296"/>
                    </a:lnTo>
                    <a:lnTo>
                      <a:pt x="1290" y="1296"/>
                    </a:lnTo>
                    <a:lnTo>
                      <a:pt x="1290" y="1300"/>
                    </a:lnTo>
                    <a:lnTo>
                      <a:pt x="1286" y="1304"/>
                    </a:lnTo>
                    <a:lnTo>
                      <a:pt x="1278" y="1314"/>
                    </a:lnTo>
                    <a:lnTo>
                      <a:pt x="1276" y="1322"/>
                    </a:lnTo>
                    <a:lnTo>
                      <a:pt x="1274" y="1328"/>
                    </a:lnTo>
                    <a:lnTo>
                      <a:pt x="1274" y="1338"/>
                    </a:lnTo>
                    <a:lnTo>
                      <a:pt x="1278" y="1346"/>
                    </a:lnTo>
                    <a:lnTo>
                      <a:pt x="1278" y="1346"/>
                    </a:lnTo>
                    <a:lnTo>
                      <a:pt x="1282" y="1354"/>
                    </a:lnTo>
                    <a:lnTo>
                      <a:pt x="1282" y="1360"/>
                    </a:lnTo>
                    <a:lnTo>
                      <a:pt x="1282" y="1364"/>
                    </a:lnTo>
                    <a:lnTo>
                      <a:pt x="1280" y="1366"/>
                    </a:lnTo>
                    <a:lnTo>
                      <a:pt x="1278" y="1368"/>
                    </a:lnTo>
                    <a:lnTo>
                      <a:pt x="1278" y="1372"/>
                    </a:lnTo>
                    <a:lnTo>
                      <a:pt x="1280" y="1378"/>
                    </a:lnTo>
                    <a:lnTo>
                      <a:pt x="1288" y="1388"/>
                    </a:lnTo>
                    <a:lnTo>
                      <a:pt x="1288" y="1388"/>
                    </a:lnTo>
                    <a:lnTo>
                      <a:pt x="1292" y="1394"/>
                    </a:lnTo>
                    <a:lnTo>
                      <a:pt x="1294" y="1396"/>
                    </a:lnTo>
                    <a:lnTo>
                      <a:pt x="1294" y="1398"/>
                    </a:lnTo>
                    <a:lnTo>
                      <a:pt x="1292" y="1400"/>
                    </a:lnTo>
                    <a:lnTo>
                      <a:pt x="1288" y="1402"/>
                    </a:lnTo>
                    <a:lnTo>
                      <a:pt x="1286" y="1404"/>
                    </a:lnTo>
                    <a:lnTo>
                      <a:pt x="1286" y="1406"/>
                    </a:lnTo>
                    <a:lnTo>
                      <a:pt x="1286" y="1406"/>
                    </a:lnTo>
                    <a:lnTo>
                      <a:pt x="1288" y="1416"/>
                    </a:lnTo>
                    <a:lnTo>
                      <a:pt x="1288" y="1424"/>
                    </a:lnTo>
                    <a:lnTo>
                      <a:pt x="1282" y="1444"/>
                    </a:lnTo>
                    <a:lnTo>
                      <a:pt x="1282" y="1444"/>
                    </a:lnTo>
                    <a:lnTo>
                      <a:pt x="1280" y="1456"/>
                    </a:lnTo>
                    <a:lnTo>
                      <a:pt x="1280" y="1462"/>
                    </a:lnTo>
                    <a:lnTo>
                      <a:pt x="1282" y="1464"/>
                    </a:lnTo>
                    <a:lnTo>
                      <a:pt x="1286" y="1466"/>
                    </a:lnTo>
                    <a:lnTo>
                      <a:pt x="1298" y="1470"/>
                    </a:lnTo>
                    <a:lnTo>
                      <a:pt x="1298" y="1470"/>
                    </a:lnTo>
                    <a:lnTo>
                      <a:pt x="1322" y="1476"/>
                    </a:lnTo>
                    <a:lnTo>
                      <a:pt x="1328" y="1478"/>
                    </a:lnTo>
                    <a:lnTo>
                      <a:pt x="1330" y="1480"/>
                    </a:lnTo>
                    <a:lnTo>
                      <a:pt x="1328" y="1484"/>
                    </a:lnTo>
                    <a:lnTo>
                      <a:pt x="1328" y="1484"/>
                    </a:lnTo>
                    <a:lnTo>
                      <a:pt x="1328" y="1492"/>
                    </a:lnTo>
                    <a:lnTo>
                      <a:pt x="1328" y="1500"/>
                    </a:lnTo>
                    <a:lnTo>
                      <a:pt x="1330" y="1504"/>
                    </a:lnTo>
                    <a:lnTo>
                      <a:pt x="1334" y="1504"/>
                    </a:lnTo>
                    <a:lnTo>
                      <a:pt x="1336" y="1504"/>
                    </a:lnTo>
                    <a:lnTo>
                      <a:pt x="1340" y="1500"/>
                    </a:lnTo>
                    <a:lnTo>
                      <a:pt x="1340" y="1500"/>
                    </a:lnTo>
                    <a:lnTo>
                      <a:pt x="1346" y="1494"/>
                    </a:lnTo>
                    <a:lnTo>
                      <a:pt x="1352" y="1494"/>
                    </a:lnTo>
                    <a:lnTo>
                      <a:pt x="1354" y="1496"/>
                    </a:lnTo>
                    <a:lnTo>
                      <a:pt x="1354" y="1498"/>
                    </a:lnTo>
                    <a:lnTo>
                      <a:pt x="1354" y="1500"/>
                    </a:lnTo>
                    <a:lnTo>
                      <a:pt x="1352" y="1506"/>
                    </a:lnTo>
                    <a:lnTo>
                      <a:pt x="1352" y="1506"/>
                    </a:lnTo>
                    <a:lnTo>
                      <a:pt x="1346" y="1512"/>
                    </a:lnTo>
                    <a:lnTo>
                      <a:pt x="1346" y="1516"/>
                    </a:lnTo>
                    <a:lnTo>
                      <a:pt x="1352" y="1514"/>
                    </a:lnTo>
                    <a:lnTo>
                      <a:pt x="1366" y="1508"/>
                    </a:lnTo>
                    <a:lnTo>
                      <a:pt x="1366" y="1508"/>
                    </a:lnTo>
                    <a:lnTo>
                      <a:pt x="1376" y="1504"/>
                    </a:lnTo>
                    <a:lnTo>
                      <a:pt x="1390" y="1504"/>
                    </a:lnTo>
                    <a:lnTo>
                      <a:pt x="1408" y="1500"/>
                    </a:lnTo>
                    <a:lnTo>
                      <a:pt x="1436" y="1488"/>
                    </a:lnTo>
                    <a:lnTo>
                      <a:pt x="1436" y="1488"/>
                    </a:lnTo>
                    <a:lnTo>
                      <a:pt x="1448" y="1484"/>
                    </a:lnTo>
                    <a:lnTo>
                      <a:pt x="1454" y="1484"/>
                    </a:lnTo>
                    <a:lnTo>
                      <a:pt x="1458" y="1484"/>
                    </a:lnTo>
                    <a:lnTo>
                      <a:pt x="1462" y="1484"/>
                    </a:lnTo>
                    <a:lnTo>
                      <a:pt x="1466" y="1486"/>
                    </a:lnTo>
                    <a:lnTo>
                      <a:pt x="1470" y="1482"/>
                    </a:lnTo>
                    <a:lnTo>
                      <a:pt x="1470" y="1482"/>
                    </a:lnTo>
                    <a:lnTo>
                      <a:pt x="1476" y="1476"/>
                    </a:lnTo>
                    <a:lnTo>
                      <a:pt x="1478" y="1476"/>
                    </a:lnTo>
                    <a:lnTo>
                      <a:pt x="1484" y="1478"/>
                    </a:lnTo>
                    <a:lnTo>
                      <a:pt x="1490" y="1476"/>
                    </a:lnTo>
                    <a:lnTo>
                      <a:pt x="1498" y="1474"/>
                    </a:lnTo>
                    <a:lnTo>
                      <a:pt x="1498" y="1474"/>
                    </a:lnTo>
                    <a:lnTo>
                      <a:pt x="1506" y="1472"/>
                    </a:lnTo>
                    <a:lnTo>
                      <a:pt x="1512" y="1470"/>
                    </a:lnTo>
                    <a:lnTo>
                      <a:pt x="1522" y="1470"/>
                    </a:lnTo>
                    <a:lnTo>
                      <a:pt x="1532" y="1470"/>
                    </a:lnTo>
                    <a:lnTo>
                      <a:pt x="1538" y="1470"/>
                    </a:lnTo>
                    <a:lnTo>
                      <a:pt x="1546" y="1466"/>
                    </a:lnTo>
                    <a:lnTo>
                      <a:pt x="1546" y="1466"/>
                    </a:lnTo>
                    <a:lnTo>
                      <a:pt x="1550" y="1468"/>
                    </a:lnTo>
                    <a:lnTo>
                      <a:pt x="1556" y="1468"/>
                    </a:lnTo>
                    <a:lnTo>
                      <a:pt x="1566" y="1462"/>
                    </a:lnTo>
                    <a:lnTo>
                      <a:pt x="1574" y="1456"/>
                    </a:lnTo>
                    <a:lnTo>
                      <a:pt x="1578" y="1454"/>
                    </a:lnTo>
                    <a:lnTo>
                      <a:pt x="1580" y="1456"/>
                    </a:lnTo>
                    <a:lnTo>
                      <a:pt x="1580" y="1456"/>
                    </a:lnTo>
                    <a:lnTo>
                      <a:pt x="1582" y="1458"/>
                    </a:lnTo>
                    <a:lnTo>
                      <a:pt x="1578" y="1458"/>
                    </a:lnTo>
                    <a:lnTo>
                      <a:pt x="1576" y="1462"/>
                    </a:lnTo>
                    <a:lnTo>
                      <a:pt x="1578" y="1466"/>
                    </a:lnTo>
                    <a:lnTo>
                      <a:pt x="1578" y="1466"/>
                    </a:lnTo>
                    <a:lnTo>
                      <a:pt x="1580" y="1470"/>
                    </a:lnTo>
                    <a:lnTo>
                      <a:pt x="1578" y="1472"/>
                    </a:lnTo>
                    <a:lnTo>
                      <a:pt x="1572" y="1470"/>
                    </a:lnTo>
                    <a:lnTo>
                      <a:pt x="1568" y="1468"/>
                    </a:lnTo>
                    <a:lnTo>
                      <a:pt x="1572" y="1474"/>
                    </a:lnTo>
                    <a:lnTo>
                      <a:pt x="1572" y="1474"/>
                    </a:lnTo>
                    <a:lnTo>
                      <a:pt x="1578" y="1480"/>
                    </a:lnTo>
                    <a:lnTo>
                      <a:pt x="1582" y="1480"/>
                    </a:lnTo>
                    <a:lnTo>
                      <a:pt x="1584" y="1482"/>
                    </a:lnTo>
                    <a:lnTo>
                      <a:pt x="1588" y="1486"/>
                    </a:lnTo>
                    <a:lnTo>
                      <a:pt x="1588" y="1486"/>
                    </a:lnTo>
                    <a:lnTo>
                      <a:pt x="1592" y="1490"/>
                    </a:lnTo>
                    <a:lnTo>
                      <a:pt x="1596" y="1490"/>
                    </a:lnTo>
                    <a:lnTo>
                      <a:pt x="1608" y="1490"/>
                    </a:lnTo>
                    <a:lnTo>
                      <a:pt x="1618" y="1490"/>
                    </a:lnTo>
                    <a:lnTo>
                      <a:pt x="1622" y="1492"/>
                    </a:lnTo>
                    <a:lnTo>
                      <a:pt x="1626" y="1494"/>
                    </a:lnTo>
                    <a:lnTo>
                      <a:pt x="1626" y="1494"/>
                    </a:lnTo>
                    <a:lnTo>
                      <a:pt x="1628" y="1498"/>
                    </a:lnTo>
                    <a:lnTo>
                      <a:pt x="1632" y="1500"/>
                    </a:lnTo>
                    <a:lnTo>
                      <a:pt x="1638" y="1502"/>
                    </a:lnTo>
                    <a:lnTo>
                      <a:pt x="1642" y="1504"/>
                    </a:lnTo>
                    <a:lnTo>
                      <a:pt x="1642" y="1504"/>
                    </a:lnTo>
                    <a:lnTo>
                      <a:pt x="1642" y="1508"/>
                    </a:lnTo>
                    <a:lnTo>
                      <a:pt x="1642" y="1508"/>
                    </a:lnTo>
                    <a:lnTo>
                      <a:pt x="1638" y="1510"/>
                    </a:lnTo>
                    <a:lnTo>
                      <a:pt x="1634" y="1510"/>
                    </a:lnTo>
                    <a:lnTo>
                      <a:pt x="1610" y="1504"/>
                    </a:lnTo>
                    <a:lnTo>
                      <a:pt x="1610" y="1504"/>
                    </a:lnTo>
                    <a:lnTo>
                      <a:pt x="1602" y="1502"/>
                    </a:lnTo>
                    <a:lnTo>
                      <a:pt x="1596" y="1504"/>
                    </a:lnTo>
                    <a:lnTo>
                      <a:pt x="1594" y="1506"/>
                    </a:lnTo>
                    <a:lnTo>
                      <a:pt x="1592" y="1510"/>
                    </a:lnTo>
                    <a:lnTo>
                      <a:pt x="1590" y="1512"/>
                    </a:lnTo>
                    <a:lnTo>
                      <a:pt x="1588" y="1516"/>
                    </a:lnTo>
                    <a:lnTo>
                      <a:pt x="1584" y="1516"/>
                    </a:lnTo>
                    <a:lnTo>
                      <a:pt x="1578" y="1514"/>
                    </a:lnTo>
                    <a:lnTo>
                      <a:pt x="1578" y="1514"/>
                    </a:lnTo>
                    <a:lnTo>
                      <a:pt x="1574" y="1512"/>
                    </a:lnTo>
                    <a:lnTo>
                      <a:pt x="1570" y="1514"/>
                    </a:lnTo>
                    <a:lnTo>
                      <a:pt x="1568" y="1516"/>
                    </a:lnTo>
                    <a:lnTo>
                      <a:pt x="1568" y="1518"/>
                    </a:lnTo>
                    <a:lnTo>
                      <a:pt x="1568" y="1522"/>
                    </a:lnTo>
                    <a:lnTo>
                      <a:pt x="1568" y="1524"/>
                    </a:lnTo>
                    <a:lnTo>
                      <a:pt x="1564" y="1524"/>
                    </a:lnTo>
                    <a:lnTo>
                      <a:pt x="1560" y="1520"/>
                    </a:lnTo>
                    <a:lnTo>
                      <a:pt x="1560" y="1520"/>
                    </a:lnTo>
                    <a:lnTo>
                      <a:pt x="1556" y="1518"/>
                    </a:lnTo>
                    <a:lnTo>
                      <a:pt x="1552" y="1516"/>
                    </a:lnTo>
                    <a:lnTo>
                      <a:pt x="1552" y="1518"/>
                    </a:lnTo>
                    <a:lnTo>
                      <a:pt x="1552" y="1520"/>
                    </a:lnTo>
                    <a:lnTo>
                      <a:pt x="1554" y="1530"/>
                    </a:lnTo>
                    <a:lnTo>
                      <a:pt x="1554" y="1534"/>
                    </a:lnTo>
                    <a:lnTo>
                      <a:pt x="1552" y="1536"/>
                    </a:lnTo>
                    <a:lnTo>
                      <a:pt x="1552" y="1536"/>
                    </a:lnTo>
                    <a:lnTo>
                      <a:pt x="1540" y="1540"/>
                    </a:lnTo>
                    <a:lnTo>
                      <a:pt x="1530" y="1542"/>
                    </a:lnTo>
                    <a:lnTo>
                      <a:pt x="1518" y="1540"/>
                    </a:lnTo>
                    <a:lnTo>
                      <a:pt x="1508" y="1536"/>
                    </a:lnTo>
                    <a:lnTo>
                      <a:pt x="1508" y="1536"/>
                    </a:lnTo>
                    <a:lnTo>
                      <a:pt x="1498" y="1532"/>
                    </a:lnTo>
                    <a:lnTo>
                      <a:pt x="1488" y="1530"/>
                    </a:lnTo>
                    <a:lnTo>
                      <a:pt x="1476" y="1528"/>
                    </a:lnTo>
                    <a:lnTo>
                      <a:pt x="1460" y="1526"/>
                    </a:lnTo>
                    <a:lnTo>
                      <a:pt x="1460" y="1526"/>
                    </a:lnTo>
                    <a:lnTo>
                      <a:pt x="1454" y="1524"/>
                    </a:lnTo>
                    <a:lnTo>
                      <a:pt x="1450" y="1524"/>
                    </a:lnTo>
                    <a:lnTo>
                      <a:pt x="1448" y="1526"/>
                    </a:lnTo>
                    <a:lnTo>
                      <a:pt x="1448" y="1528"/>
                    </a:lnTo>
                    <a:lnTo>
                      <a:pt x="1446" y="1532"/>
                    </a:lnTo>
                    <a:lnTo>
                      <a:pt x="1442" y="1534"/>
                    </a:lnTo>
                    <a:lnTo>
                      <a:pt x="1436" y="1534"/>
                    </a:lnTo>
                    <a:lnTo>
                      <a:pt x="1436" y="1534"/>
                    </a:lnTo>
                    <a:lnTo>
                      <a:pt x="1422" y="1534"/>
                    </a:lnTo>
                    <a:lnTo>
                      <a:pt x="1408" y="1534"/>
                    </a:lnTo>
                    <a:lnTo>
                      <a:pt x="1398" y="1538"/>
                    </a:lnTo>
                    <a:lnTo>
                      <a:pt x="1394" y="1542"/>
                    </a:lnTo>
                    <a:lnTo>
                      <a:pt x="1392" y="1544"/>
                    </a:lnTo>
                    <a:lnTo>
                      <a:pt x="1392" y="1544"/>
                    </a:lnTo>
                    <a:lnTo>
                      <a:pt x="1390" y="1548"/>
                    </a:lnTo>
                    <a:lnTo>
                      <a:pt x="1388" y="1550"/>
                    </a:lnTo>
                    <a:lnTo>
                      <a:pt x="1380" y="1552"/>
                    </a:lnTo>
                    <a:lnTo>
                      <a:pt x="1374" y="1554"/>
                    </a:lnTo>
                    <a:lnTo>
                      <a:pt x="1372" y="1558"/>
                    </a:lnTo>
                    <a:lnTo>
                      <a:pt x="1370" y="1562"/>
                    </a:lnTo>
                    <a:lnTo>
                      <a:pt x="1370" y="1562"/>
                    </a:lnTo>
                    <a:lnTo>
                      <a:pt x="1368" y="1572"/>
                    </a:lnTo>
                    <a:lnTo>
                      <a:pt x="1368" y="1580"/>
                    </a:lnTo>
                    <a:lnTo>
                      <a:pt x="1370" y="1588"/>
                    </a:lnTo>
                    <a:lnTo>
                      <a:pt x="1372" y="1594"/>
                    </a:lnTo>
                    <a:lnTo>
                      <a:pt x="1372" y="1594"/>
                    </a:lnTo>
                    <a:lnTo>
                      <a:pt x="1378" y="1604"/>
                    </a:lnTo>
                    <a:lnTo>
                      <a:pt x="1382" y="1610"/>
                    </a:lnTo>
                    <a:lnTo>
                      <a:pt x="1386" y="1614"/>
                    </a:lnTo>
                    <a:lnTo>
                      <a:pt x="1390" y="1614"/>
                    </a:lnTo>
                    <a:lnTo>
                      <a:pt x="1396" y="1614"/>
                    </a:lnTo>
                    <a:lnTo>
                      <a:pt x="1402" y="1610"/>
                    </a:lnTo>
                    <a:lnTo>
                      <a:pt x="1402" y="1610"/>
                    </a:lnTo>
                    <a:lnTo>
                      <a:pt x="1410" y="1606"/>
                    </a:lnTo>
                    <a:lnTo>
                      <a:pt x="1410" y="1608"/>
                    </a:lnTo>
                    <a:lnTo>
                      <a:pt x="1410" y="1610"/>
                    </a:lnTo>
                    <a:lnTo>
                      <a:pt x="1402" y="1640"/>
                    </a:lnTo>
                    <a:lnTo>
                      <a:pt x="1402" y="1640"/>
                    </a:lnTo>
                    <a:lnTo>
                      <a:pt x="1402" y="1646"/>
                    </a:lnTo>
                    <a:lnTo>
                      <a:pt x="1404" y="1654"/>
                    </a:lnTo>
                    <a:lnTo>
                      <a:pt x="1406" y="1668"/>
                    </a:lnTo>
                    <a:lnTo>
                      <a:pt x="1408" y="1676"/>
                    </a:lnTo>
                    <a:lnTo>
                      <a:pt x="1406" y="1682"/>
                    </a:lnTo>
                    <a:lnTo>
                      <a:pt x="1402" y="1686"/>
                    </a:lnTo>
                    <a:lnTo>
                      <a:pt x="1392" y="1692"/>
                    </a:lnTo>
                    <a:lnTo>
                      <a:pt x="1392" y="1692"/>
                    </a:lnTo>
                    <a:lnTo>
                      <a:pt x="1380" y="1694"/>
                    </a:lnTo>
                    <a:lnTo>
                      <a:pt x="1370" y="1694"/>
                    </a:lnTo>
                    <a:lnTo>
                      <a:pt x="1364" y="1690"/>
                    </a:lnTo>
                    <a:lnTo>
                      <a:pt x="1360" y="1684"/>
                    </a:lnTo>
                    <a:lnTo>
                      <a:pt x="1354" y="1672"/>
                    </a:lnTo>
                    <a:lnTo>
                      <a:pt x="1348" y="1666"/>
                    </a:lnTo>
                    <a:lnTo>
                      <a:pt x="1342" y="1662"/>
                    </a:lnTo>
                    <a:lnTo>
                      <a:pt x="1342" y="1662"/>
                    </a:lnTo>
                    <a:lnTo>
                      <a:pt x="1336" y="1660"/>
                    </a:lnTo>
                    <a:lnTo>
                      <a:pt x="1334" y="1656"/>
                    </a:lnTo>
                    <a:lnTo>
                      <a:pt x="1332" y="1652"/>
                    </a:lnTo>
                    <a:lnTo>
                      <a:pt x="1332" y="1650"/>
                    </a:lnTo>
                    <a:lnTo>
                      <a:pt x="1332" y="1648"/>
                    </a:lnTo>
                    <a:lnTo>
                      <a:pt x="1332" y="1648"/>
                    </a:lnTo>
                    <a:lnTo>
                      <a:pt x="1324" y="1648"/>
                    </a:lnTo>
                    <a:lnTo>
                      <a:pt x="1324" y="1648"/>
                    </a:lnTo>
                    <a:lnTo>
                      <a:pt x="1302" y="1656"/>
                    </a:lnTo>
                    <a:lnTo>
                      <a:pt x="1294" y="1660"/>
                    </a:lnTo>
                    <a:lnTo>
                      <a:pt x="1292" y="1664"/>
                    </a:lnTo>
                    <a:lnTo>
                      <a:pt x="1292" y="1664"/>
                    </a:lnTo>
                    <a:lnTo>
                      <a:pt x="1286" y="1674"/>
                    </a:lnTo>
                    <a:lnTo>
                      <a:pt x="1284" y="1678"/>
                    </a:lnTo>
                    <a:lnTo>
                      <a:pt x="1286" y="1684"/>
                    </a:lnTo>
                    <a:lnTo>
                      <a:pt x="1286" y="1684"/>
                    </a:lnTo>
                    <a:lnTo>
                      <a:pt x="1286" y="1688"/>
                    </a:lnTo>
                    <a:lnTo>
                      <a:pt x="1286" y="1690"/>
                    </a:lnTo>
                    <a:lnTo>
                      <a:pt x="1280" y="1694"/>
                    </a:lnTo>
                    <a:lnTo>
                      <a:pt x="1274" y="1700"/>
                    </a:lnTo>
                    <a:lnTo>
                      <a:pt x="1272" y="1704"/>
                    </a:lnTo>
                    <a:lnTo>
                      <a:pt x="1270" y="1710"/>
                    </a:lnTo>
                    <a:lnTo>
                      <a:pt x="1270" y="1710"/>
                    </a:lnTo>
                    <a:lnTo>
                      <a:pt x="1266" y="1720"/>
                    </a:lnTo>
                    <a:lnTo>
                      <a:pt x="1266" y="1732"/>
                    </a:lnTo>
                    <a:lnTo>
                      <a:pt x="1268" y="1752"/>
                    </a:lnTo>
                    <a:lnTo>
                      <a:pt x="1268" y="1752"/>
                    </a:lnTo>
                    <a:lnTo>
                      <a:pt x="1268" y="1766"/>
                    </a:lnTo>
                    <a:lnTo>
                      <a:pt x="1270" y="1772"/>
                    </a:lnTo>
                    <a:lnTo>
                      <a:pt x="1274" y="1776"/>
                    </a:lnTo>
                    <a:lnTo>
                      <a:pt x="1274" y="1776"/>
                    </a:lnTo>
                    <a:lnTo>
                      <a:pt x="1278" y="1782"/>
                    </a:lnTo>
                    <a:lnTo>
                      <a:pt x="1280" y="1790"/>
                    </a:lnTo>
                    <a:lnTo>
                      <a:pt x="1280" y="1804"/>
                    </a:lnTo>
                    <a:lnTo>
                      <a:pt x="1280" y="1804"/>
                    </a:lnTo>
                    <a:lnTo>
                      <a:pt x="1278" y="1806"/>
                    </a:lnTo>
                    <a:lnTo>
                      <a:pt x="1278" y="1806"/>
                    </a:lnTo>
                    <a:lnTo>
                      <a:pt x="1276" y="1808"/>
                    </a:lnTo>
                    <a:lnTo>
                      <a:pt x="1276" y="1816"/>
                    </a:lnTo>
                    <a:lnTo>
                      <a:pt x="1276" y="1816"/>
                    </a:lnTo>
                    <a:lnTo>
                      <a:pt x="1278" y="1818"/>
                    </a:lnTo>
                    <a:lnTo>
                      <a:pt x="1276" y="1822"/>
                    </a:lnTo>
                    <a:lnTo>
                      <a:pt x="1270" y="1824"/>
                    </a:lnTo>
                    <a:lnTo>
                      <a:pt x="1264" y="1826"/>
                    </a:lnTo>
                    <a:lnTo>
                      <a:pt x="1258" y="1824"/>
                    </a:lnTo>
                    <a:lnTo>
                      <a:pt x="1258" y="1824"/>
                    </a:lnTo>
                    <a:lnTo>
                      <a:pt x="1256" y="1824"/>
                    </a:lnTo>
                    <a:lnTo>
                      <a:pt x="1256" y="1822"/>
                    </a:lnTo>
                    <a:lnTo>
                      <a:pt x="1258" y="1816"/>
                    </a:lnTo>
                    <a:lnTo>
                      <a:pt x="1268" y="1804"/>
                    </a:lnTo>
                    <a:lnTo>
                      <a:pt x="1268" y="1804"/>
                    </a:lnTo>
                    <a:lnTo>
                      <a:pt x="1270" y="1800"/>
                    </a:lnTo>
                    <a:lnTo>
                      <a:pt x="1268" y="1800"/>
                    </a:lnTo>
                    <a:lnTo>
                      <a:pt x="1256" y="1814"/>
                    </a:lnTo>
                    <a:lnTo>
                      <a:pt x="1256" y="1814"/>
                    </a:lnTo>
                    <a:lnTo>
                      <a:pt x="1248" y="1820"/>
                    </a:lnTo>
                    <a:lnTo>
                      <a:pt x="1246" y="1822"/>
                    </a:lnTo>
                    <a:lnTo>
                      <a:pt x="1240" y="1820"/>
                    </a:lnTo>
                    <a:lnTo>
                      <a:pt x="1232" y="1820"/>
                    </a:lnTo>
                    <a:lnTo>
                      <a:pt x="1232" y="1820"/>
                    </a:lnTo>
                    <a:lnTo>
                      <a:pt x="1226" y="1822"/>
                    </a:lnTo>
                    <a:lnTo>
                      <a:pt x="1224" y="1824"/>
                    </a:lnTo>
                    <a:lnTo>
                      <a:pt x="1224" y="1830"/>
                    </a:lnTo>
                    <a:lnTo>
                      <a:pt x="1224" y="1836"/>
                    </a:lnTo>
                    <a:lnTo>
                      <a:pt x="1224" y="1840"/>
                    </a:lnTo>
                    <a:lnTo>
                      <a:pt x="1220" y="1846"/>
                    </a:lnTo>
                    <a:lnTo>
                      <a:pt x="1214" y="1852"/>
                    </a:lnTo>
                    <a:lnTo>
                      <a:pt x="1214" y="1852"/>
                    </a:lnTo>
                    <a:lnTo>
                      <a:pt x="1202" y="1858"/>
                    </a:lnTo>
                    <a:lnTo>
                      <a:pt x="1188" y="1860"/>
                    </a:lnTo>
                    <a:lnTo>
                      <a:pt x="1182" y="1858"/>
                    </a:lnTo>
                    <a:lnTo>
                      <a:pt x="1176" y="1856"/>
                    </a:lnTo>
                    <a:lnTo>
                      <a:pt x="1172" y="1854"/>
                    </a:lnTo>
                    <a:lnTo>
                      <a:pt x="1170" y="1848"/>
                    </a:lnTo>
                    <a:lnTo>
                      <a:pt x="1170" y="1848"/>
                    </a:lnTo>
                    <a:lnTo>
                      <a:pt x="1166" y="1836"/>
                    </a:lnTo>
                    <a:lnTo>
                      <a:pt x="1166" y="1836"/>
                    </a:lnTo>
                    <a:lnTo>
                      <a:pt x="1172" y="1840"/>
                    </a:lnTo>
                    <a:lnTo>
                      <a:pt x="1172" y="1840"/>
                    </a:lnTo>
                    <a:lnTo>
                      <a:pt x="1180" y="1844"/>
                    </a:lnTo>
                    <a:lnTo>
                      <a:pt x="1184" y="1844"/>
                    </a:lnTo>
                    <a:lnTo>
                      <a:pt x="1184" y="1842"/>
                    </a:lnTo>
                    <a:lnTo>
                      <a:pt x="1180" y="1840"/>
                    </a:lnTo>
                    <a:lnTo>
                      <a:pt x="1180" y="1840"/>
                    </a:lnTo>
                    <a:lnTo>
                      <a:pt x="1168" y="1832"/>
                    </a:lnTo>
                    <a:lnTo>
                      <a:pt x="1160" y="1828"/>
                    </a:lnTo>
                    <a:lnTo>
                      <a:pt x="1152" y="1828"/>
                    </a:lnTo>
                    <a:lnTo>
                      <a:pt x="1136" y="1832"/>
                    </a:lnTo>
                    <a:lnTo>
                      <a:pt x="1136" y="1832"/>
                    </a:lnTo>
                    <a:lnTo>
                      <a:pt x="1118" y="1836"/>
                    </a:lnTo>
                    <a:lnTo>
                      <a:pt x="1112" y="1838"/>
                    </a:lnTo>
                    <a:lnTo>
                      <a:pt x="1110" y="1840"/>
                    </a:lnTo>
                    <a:lnTo>
                      <a:pt x="1098" y="1844"/>
                    </a:lnTo>
                    <a:lnTo>
                      <a:pt x="1098" y="1844"/>
                    </a:lnTo>
                    <a:lnTo>
                      <a:pt x="1090" y="1848"/>
                    </a:lnTo>
                    <a:lnTo>
                      <a:pt x="1086" y="1850"/>
                    </a:lnTo>
                    <a:lnTo>
                      <a:pt x="1082" y="1856"/>
                    </a:lnTo>
                    <a:lnTo>
                      <a:pt x="1080" y="1858"/>
                    </a:lnTo>
                    <a:lnTo>
                      <a:pt x="1074" y="1862"/>
                    </a:lnTo>
                    <a:lnTo>
                      <a:pt x="1066" y="1864"/>
                    </a:lnTo>
                    <a:lnTo>
                      <a:pt x="1054" y="1868"/>
                    </a:lnTo>
                    <a:lnTo>
                      <a:pt x="1054" y="1868"/>
                    </a:lnTo>
                    <a:lnTo>
                      <a:pt x="1034" y="1874"/>
                    </a:lnTo>
                    <a:lnTo>
                      <a:pt x="1020" y="1880"/>
                    </a:lnTo>
                    <a:lnTo>
                      <a:pt x="1008" y="1884"/>
                    </a:lnTo>
                    <a:lnTo>
                      <a:pt x="1002" y="1884"/>
                    </a:lnTo>
                    <a:lnTo>
                      <a:pt x="996" y="1884"/>
                    </a:lnTo>
                    <a:lnTo>
                      <a:pt x="996" y="1884"/>
                    </a:lnTo>
                    <a:lnTo>
                      <a:pt x="992" y="1882"/>
                    </a:lnTo>
                    <a:lnTo>
                      <a:pt x="986" y="1878"/>
                    </a:lnTo>
                    <a:lnTo>
                      <a:pt x="980" y="1870"/>
                    </a:lnTo>
                    <a:lnTo>
                      <a:pt x="980" y="1870"/>
                    </a:lnTo>
                    <a:lnTo>
                      <a:pt x="978" y="1870"/>
                    </a:lnTo>
                    <a:lnTo>
                      <a:pt x="978" y="1870"/>
                    </a:lnTo>
                    <a:lnTo>
                      <a:pt x="980" y="1874"/>
                    </a:lnTo>
                    <a:lnTo>
                      <a:pt x="984" y="1884"/>
                    </a:lnTo>
                    <a:lnTo>
                      <a:pt x="984" y="1884"/>
                    </a:lnTo>
                    <a:lnTo>
                      <a:pt x="984" y="1886"/>
                    </a:lnTo>
                    <a:lnTo>
                      <a:pt x="984" y="1888"/>
                    </a:lnTo>
                    <a:lnTo>
                      <a:pt x="982" y="1888"/>
                    </a:lnTo>
                    <a:lnTo>
                      <a:pt x="982" y="1890"/>
                    </a:lnTo>
                    <a:lnTo>
                      <a:pt x="982" y="1890"/>
                    </a:lnTo>
                    <a:lnTo>
                      <a:pt x="984" y="1890"/>
                    </a:lnTo>
                    <a:lnTo>
                      <a:pt x="988" y="1890"/>
                    </a:lnTo>
                    <a:lnTo>
                      <a:pt x="992" y="1888"/>
                    </a:lnTo>
                    <a:lnTo>
                      <a:pt x="996" y="1890"/>
                    </a:lnTo>
                    <a:lnTo>
                      <a:pt x="996" y="1890"/>
                    </a:lnTo>
                    <a:lnTo>
                      <a:pt x="998" y="1892"/>
                    </a:lnTo>
                    <a:lnTo>
                      <a:pt x="1002" y="1892"/>
                    </a:lnTo>
                    <a:lnTo>
                      <a:pt x="1004" y="1890"/>
                    </a:lnTo>
                    <a:lnTo>
                      <a:pt x="1008" y="1890"/>
                    </a:lnTo>
                    <a:lnTo>
                      <a:pt x="1008" y="1890"/>
                    </a:lnTo>
                    <a:lnTo>
                      <a:pt x="1010" y="1894"/>
                    </a:lnTo>
                    <a:lnTo>
                      <a:pt x="1010" y="1900"/>
                    </a:lnTo>
                    <a:lnTo>
                      <a:pt x="1010" y="1900"/>
                    </a:lnTo>
                    <a:lnTo>
                      <a:pt x="1010" y="1902"/>
                    </a:lnTo>
                    <a:lnTo>
                      <a:pt x="1008" y="1902"/>
                    </a:lnTo>
                    <a:lnTo>
                      <a:pt x="1004" y="1900"/>
                    </a:lnTo>
                    <a:lnTo>
                      <a:pt x="998" y="1898"/>
                    </a:lnTo>
                    <a:lnTo>
                      <a:pt x="998" y="1898"/>
                    </a:lnTo>
                    <a:lnTo>
                      <a:pt x="996" y="1898"/>
                    </a:lnTo>
                    <a:lnTo>
                      <a:pt x="996" y="1898"/>
                    </a:lnTo>
                    <a:lnTo>
                      <a:pt x="986" y="1896"/>
                    </a:lnTo>
                    <a:lnTo>
                      <a:pt x="980" y="1892"/>
                    </a:lnTo>
                    <a:lnTo>
                      <a:pt x="980" y="1890"/>
                    </a:lnTo>
                    <a:lnTo>
                      <a:pt x="980" y="1886"/>
                    </a:lnTo>
                    <a:lnTo>
                      <a:pt x="980" y="1886"/>
                    </a:lnTo>
                    <a:lnTo>
                      <a:pt x="980" y="1884"/>
                    </a:lnTo>
                    <a:lnTo>
                      <a:pt x="978" y="1882"/>
                    </a:lnTo>
                    <a:lnTo>
                      <a:pt x="976" y="1878"/>
                    </a:lnTo>
                    <a:lnTo>
                      <a:pt x="976" y="1872"/>
                    </a:lnTo>
                    <a:lnTo>
                      <a:pt x="976" y="1872"/>
                    </a:lnTo>
                    <a:lnTo>
                      <a:pt x="976" y="1870"/>
                    </a:lnTo>
                    <a:lnTo>
                      <a:pt x="974" y="1870"/>
                    </a:lnTo>
                    <a:lnTo>
                      <a:pt x="970" y="1872"/>
                    </a:lnTo>
                    <a:lnTo>
                      <a:pt x="962" y="1872"/>
                    </a:lnTo>
                    <a:lnTo>
                      <a:pt x="958" y="1870"/>
                    </a:lnTo>
                    <a:lnTo>
                      <a:pt x="954" y="1868"/>
                    </a:lnTo>
                    <a:lnTo>
                      <a:pt x="954" y="1868"/>
                    </a:lnTo>
                    <a:lnTo>
                      <a:pt x="950" y="1860"/>
                    </a:lnTo>
                    <a:lnTo>
                      <a:pt x="948" y="1856"/>
                    </a:lnTo>
                    <a:lnTo>
                      <a:pt x="946" y="1854"/>
                    </a:lnTo>
                    <a:lnTo>
                      <a:pt x="944" y="1854"/>
                    </a:lnTo>
                    <a:lnTo>
                      <a:pt x="944" y="1854"/>
                    </a:lnTo>
                    <a:lnTo>
                      <a:pt x="938" y="1854"/>
                    </a:lnTo>
                    <a:lnTo>
                      <a:pt x="932" y="1852"/>
                    </a:lnTo>
                    <a:lnTo>
                      <a:pt x="930" y="1850"/>
                    </a:lnTo>
                    <a:lnTo>
                      <a:pt x="926" y="1850"/>
                    </a:lnTo>
                    <a:lnTo>
                      <a:pt x="926" y="1850"/>
                    </a:lnTo>
                    <a:lnTo>
                      <a:pt x="924" y="1854"/>
                    </a:lnTo>
                    <a:lnTo>
                      <a:pt x="920" y="1862"/>
                    </a:lnTo>
                    <a:lnTo>
                      <a:pt x="912" y="1868"/>
                    </a:lnTo>
                    <a:lnTo>
                      <a:pt x="908" y="1870"/>
                    </a:lnTo>
                    <a:lnTo>
                      <a:pt x="900" y="1870"/>
                    </a:lnTo>
                    <a:lnTo>
                      <a:pt x="900" y="1870"/>
                    </a:lnTo>
                    <a:lnTo>
                      <a:pt x="894" y="1872"/>
                    </a:lnTo>
                    <a:lnTo>
                      <a:pt x="890" y="1874"/>
                    </a:lnTo>
                    <a:lnTo>
                      <a:pt x="886" y="1880"/>
                    </a:lnTo>
                    <a:lnTo>
                      <a:pt x="884" y="1884"/>
                    </a:lnTo>
                    <a:lnTo>
                      <a:pt x="882" y="1884"/>
                    </a:lnTo>
                    <a:lnTo>
                      <a:pt x="878" y="1882"/>
                    </a:lnTo>
                    <a:lnTo>
                      <a:pt x="878" y="1882"/>
                    </a:lnTo>
                    <a:lnTo>
                      <a:pt x="874" y="1880"/>
                    </a:lnTo>
                    <a:lnTo>
                      <a:pt x="870" y="1880"/>
                    </a:lnTo>
                    <a:lnTo>
                      <a:pt x="864" y="1882"/>
                    </a:lnTo>
                    <a:lnTo>
                      <a:pt x="860" y="1882"/>
                    </a:lnTo>
                    <a:lnTo>
                      <a:pt x="858" y="1882"/>
                    </a:lnTo>
                    <a:lnTo>
                      <a:pt x="856" y="1880"/>
                    </a:lnTo>
                    <a:lnTo>
                      <a:pt x="856" y="1880"/>
                    </a:lnTo>
                    <a:lnTo>
                      <a:pt x="856" y="1878"/>
                    </a:lnTo>
                    <a:lnTo>
                      <a:pt x="858" y="1876"/>
                    </a:lnTo>
                    <a:lnTo>
                      <a:pt x="864" y="1872"/>
                    </a:lnTo>
                    <a:lnTo>
                      <a:pt x="870" y="1870"/>
                    </a:lnTo>
                    <a:lnTo>
                      <a:pt x="870" y="1868"/>
                    </a:lnTo>
                    <a:lnTo>
                      <a:pt x="870" y="1864"/>
                    </a:lnTo>
                    <a:lnTo>
                      <a:pt x="870" y="1864"/>
                    </a:lnTo>
                    <a:lnTo>
                      <a:pt x="870" y="1862"/>
                    </a:lnTo>
                    <a:lnTo>
                      <a:pt x="870" y="1858"/>
                    </a:lnTo>
                    <a:lnTo>
                      <a:pt x="870" y="1856"/>
                    </a:lnTo>
                    <a:lnTo>
                      <a:pt x="870" y="1856"/>
                    </a:lnTo>
                    <a:lnTo>
                      <a:pt x="862" y="1858"/>
                    </a:lnTo>
                    <a:lnTo>
                      <a:pt x="862" y="1858"/>
                    </a:lnTo>
                    <a:lnTo>
                      <a:pt x="856" y="1860"/>
                    </a:lnTo>
                    <a:lnTo>
                      <a:pt x="852" y="1860"/>
                    </a:lnTo>
                    <a:lnTo>
                      <a:pt x="848" y="1860"/>
                    </a:lnTo>
                    <a:lnTo>
                      <a:pt x="846" y="1858"/>
                    </a:lnTo>
                    <a:lnTo>
                      <a:pt x="842" y="1854"/>
                    </a:lnTo>
                    <a:lnTo>
                      <a:pt x="840" y="1854"/>
                    </a:lnTo>
                    <a:lnTo>
                      <a:pt x="838" y="1854"/>
                    </a:lnTo>
                    <a:lnTo>
                      <a:pt x="838" y="1854"/>
                    </a:lnTo>
                    <a:lnTo>
                      <a:pt x="834" y="1856"/>
                    </a:lnTo>
                    <a:lnTo>
                      <a:pt x="832" y="1854"/>
                    </a:lnTo>
                    <a:lnTo>
                      <a:pt x="830" y="1852"/>
                    </a:lnTo>
                    <a:lnTo>
                      <a:pt x="826" y="1850"/>
                    </a:lnTo>
                    <a:lnTo>
                      <a:pt x="826" y="1850"/>
                    </a:lnTo>
                    <a:lnTo>
                      <a:pt x="822" y="1850"/>
                    </a:lnTo>
                    <a:lnTo>
                      <a:pt x="824" y="1848"/>
                    </a:lnTo>
                    <a:lnTo>
                      <a:pt x="826" y="1844"/>
                    </a:lnTo>
                    <a:lnTo>
                      <a:pt x="828" y="1842"/>
                    </a:lnTo>
                    <a:lnTo>
                      <a:pt x="826" y="1838"/>
                    </a:lnTo>
                    <a:lnTo>
                      <a:pt x="826" y="1838"/>
                    </a:lnTo>
                    <a:lnTo>
                      <a:pt x="824" y="1834"/>
                    </a:lnTo>
                    <a:lnTo>
                      <a:pt x="822" y="1832"/>
                    </a:lnTo>
                    <a:lnTo>
                      <a:pt x="820" y="1834"/>
                    </a:lnTo>
                    <a:lnTo>
                      <a:pt x="816" y="1832"/>
                    </a:lnTo>
                    <a:lnTo>
                      <a:pt x="816" y="1832"/>
                    </a:lnTo>
                    <a:lnTo>
                      <a:pt x="812" y="1830"/>
                    </a:lnTo>
                    <a:lnTo>
                      <a:pt x="808" y="1830"/>
                    </a:lnTo>
                    <a:lnTo>
                      <a:pt x="806" y="1832"/>
                    </a:lnTo>
                    <a:lnTo>
                      <a:pt x="802" y="1830"/>
                    </a:lnTo>
                    <a:lnTo>
                      <a:pt x="802" y="1830"/>
                    </a:lnTo>
                    <a:lnTo>
                      <a:pt x="808" y="1826"/>
                    </a:lnTo>
                    <a:lnTo>
                      <a:pt x="810" y="1824"/>
                    </a:lnTo>
                    <a:lnTo>
                      <a:pt x="810" y="1826"/>
                    </a:lnTo>
                    <a:lnTo>
                      <a:pt x="812" y="1828"/>
                    </a:lnTo>
                    <a:lnTo>
                      <a:pt x="812" y="1828"/>
                    </a:lnTo>
                    <a:lnTo>
                      <a:pt x="816" y="1828"/>
                    </a:lnTo>
                    <a:lnTo>
                      <a:pt x="818" y="1826"/>
                    </a:lnTo>
                    <a:lnTo>
                      <a:pt x="820" y="1826"/>
                    </a:lnTo>
                    <a:lnTo>
                      <a:pt x="820" y="1826"/>
                    </a:lnTo>
                    <a:lnTo>
                      <a:pt x="820" y="1826"/>
                    </a:lnTo>
                    <a:lnTo>
                      <a:pt x="824" y="1828"/>
                    </a:lnTo>
                    <a:lnTo>
                      <a:pt x="826" y="1826"/>
                    </a:lnTo>
                    <a:lnTo>
                      <a:pt x="828" y="1824"/>
                    </a:lnTo>
                    <a:lnTo>
                      <a:pt x="828" y="1822"/>
                    </a:lnTo>
                    <a:lnTo>
                      <a:pt x="822" y="1818"/>
                    </a:lnTo>
                    <a:lnTo>
                      <a:pt x="822" y="1818"/>
                    </a:lnTo>
                    <a:lnTo>
                      <a:pt x="816" y="1814"/>
                    </a:lnTo>
                    <a:lnTo>
                      <a:pt x="812" y="1816"/>
                    </a:lnTo>
                    <a:lnTo>
                      <a:pt x="810" y="1818"/>
                    </a:lnTo>
                    <a:lnTo>
                      <a:pt x="806" y="1814"/>
                    </a:lnTo>
                    <a:lnTo>
                      <a:pt x="806" y="1814"/>
                    </a:lnTo>
                    <a:lnTo>
                      <a:pt x="806" y="1812"/>
                    </a:lnTo>
                    <a:lnTo>
                      <a:pt x="806" y="1810"/>
                    </a:lnTo>
                    <a:lnTo>
                      <a:pt x="810" y="1808"/>
                    </a:lnTo>
                    <a:lnTo>
                      <a:pt x="812" y="1804"/>
                    </a:lnTo>
                    <a:lnTo>
                      <a:pt x="814" y="1804"/>
                    </a:lnTo>
                    <a:lnTo>
                      <a:pt x="812" y="1802"/>
                    </a:lnTo>
                    <a:lnTo>
                      <a:pt x="812" y="1802"/>
                    </a:lnTo>
                    <a:lnTo>
                      <a:pt x="810" y="1798"/>
                    </a:lnTo>
                    <a:lnTo>
                      <a:pt x="810" y="1794"/>
                    </a:lnTo>
                    <a:lnTo>
                      <a:pt x="810" y="1792"/>
                    </a:lnTo>
                    <a:lnTo>
                      <a:pt x="808" y="1790"/>
                    </a:lnTo>
                    <a:lnTo>
                      <a:pt x="808" y="1790"/>
                    </a:lnTo>
                    <a:lnTo>
                      <a:pt x="808" y="1788"/>
                    </a:lnTo>
                    <a:lnTo>
                      <a:pt x="808" y="1786"/>
                    </a:lnTo>
                    <a:lnTo>
                      <a:pt x="814" y="1784"/>
                    </a:lnTo>
                    <a:lnTo>
                      <a:pt x="818" y="1782"/>
                    </a:lnTo>
                    <a:lnTo>
                      <a:pt x="818" y="1780"/>
                    </a:lnTo>
                    <a:lnTo>
                      <a:pt x="818" y="1780"/>
                    </a:lnTo>
                    <a:lnTo>
                      <a:pt x="818" y="1780"/>
                    </a:lnTo>
                    <a:lnTo>
                      <a:pt x="818" y="1778"/>
                    </a:lnTo>
                    <a:lnTo>
                      <a:pt x="818" y="1776"/>
                    </a:lnTo>
                    <a:lnTo>
                      <a:pt x="822" y="1776"/>
                    </a:lnTo>
                    <a:lnTo>
                      <a:pt x="826" y="1774"/>
                    </a:lnTo>
                    <a:lnTo>
                      <a:pt x="826" y="1772"/>
                    </a:lnTo>
                    <a:lnTo>
                      <a:pt x="824" y="1768"/>
                    </a:lnTo>
                    <a:lnTo>
                      <a:pt x="824" y="1768"/>
                    </a:lnTo>
                    <a:lnTo>
                      <a:pt x="820" y="1764"/>
                    </a:lnTo>
                    <a:lnTo>
                      <a:pt x="824" y="1766"/>
                    </a:lnTo>
                    <a:lnTo>
                      <a:pt x="828" y="1768"/>
                    </a:lnTo>
                    <a:lnTo>
                      <a:pt x="832" y="1768"/>
                    </a:lnTo>
                    <a:lnTo>
                      <a:pt x="834" y="1766"/>
                    </a:lnTo>
                    <a:lnTo>
                      <a:pt x="834" y="1766"/>
                    </a:lnTo>
                    <a:lnTo>
                      <a:pt x="834" y="1764"/>
                    </a:lnTo>
                    <a:lnTo>
                      <a:pt x="834" y="1760"/>
                    </a:lnTo>
                    <a:lnTo>
                      <a:pt x="834" y="1750"/>
                    </a:lnTo>
                    <a:lnTo>
                      <a:pt x="836" y="1742"/>
                    </a:lnTo>
                    <a:lnTo>
                      <a:pt x="836" y="1740"/>
                    </a:lnTo>
                    <a:lnTo>
                      <a:pt x="840" y="1738"/>
                    </a:lnTo>
                    <a:lnTo>
                      <a:pt x="840" y="1738"/>
                    </a:lnTo>
                    <a:lnTo>
                      <a:pt x="844" y="1738"/>
                    </a:lnTo>
                    <a:lnTo>
                      <a:pt x="844" y="1742"/>
                    </a:lnTo>
                    <a:lnTo>
                      <a:pt x="842" y="1744"/>
                    </a:lnTo>
                    <a:lnTo>
                      <a:pt x="842" y="1746"/>
                    </a:lnTo>
                    <a:lnTo>
                      <a:pt x="844" y="1748"/>
                    </a:lnTo>
                    <a:lnTo>
                      <a:pt x="844" y="1748"/>
                    </a:lnTo>
                    <a:lnTo>
                      <a:pt x="848" y="1750"/>
                    </a:lnTo>
                    <a:lnTo>
                      <a:pt x="848" y="1748"/>
                    </a:lnTo>
                    <a:lnTo>
                      <a:pt x="850" y="1746"/>
                    </a:lnTo>
                    <a:lnTo>
                      <a:pt x="852" y="1746"/>
                    </a:lnTo>
                    <a:lnTo>
                      <a:pt x="852" y="1746"/>
                    </a:lnTo>
                    <a:lnTo>
                      <a:pt x="854" y="1748"/>
                    </a:lnTo>
                    <a:lnTo>
                      <a:pt x="856" y="1746"/>
                    </a:lnTo>
                    <a:lnTo>
                      <a:pt x="858" y="1744"/>
                    </a:lnTo>
                    <a:lnTo>
                      <a:pt x="864" y="1732"/>
                    </a:lnTo>
                    <a:lnTo>
                      <a:pt x="864" y="1732"/>
                    </a:lnTo>
                    <a:lnTo>
                      <a:pt x="864" y="1730"/>
                    </a:lnTo>
                    <a:lnTo>
                      <a:pt x="864" y="1728"/>
                    </a:lnTo>
                    <a:lnTo>
                      <a:pt x="858" y="1726"/>
                    </a:lnTo>
                    <a:lnTo>
                      <a:pt x="844" y="1724"/>
                    </a:lnTo>
                    <a:lnTo>
                      <a:pt x="844" y="1724"/>
                    </a:lnTo>
                    <a:lnTo>
                      <a:pt x="840" y="1722"/>
                    </a:lnTo>
                    <a:lnTo>
                      <a:pt x="838" y="1722"/>
                    </a:lnTo>
                    <a:lnTo>
                      <a:pt x="838" y="1722"/>
                    </a:lnTo>
                    <a:lnTo>
                      <a:pt x="840" y="1718"/>
                    </a:lnTo>
                    <a:lnTo>
                      <a:pt x="840" y="1718"/>
                    </a:lnTo>
                    <a:lnTo>
                      <a:pt x="842" y="1714"/>
                    </a:lnTo>
                    <a:lnTo>
                      <a:pt x="840" y="1710"/>
                    </a:lnTo>
                    <a:lnTo>
                      <a:pt x="838" y="1706"/>
                    </a:lnTo>
                    <a:lnTo>
                      <a:pt x="838" y="1700"/>
                    </a:lnTo>
                    <a:lnTo>
                      <a:pt x="838" y="1700"/>
                    </a:lnTo>
                    <a:lnTo>
                      <a:pt x="840" y="1690"/>
                    </a:lnTo>
                    <a:lnTo>
                      <a:pt x="842" y="1686"/>
                    </a:lnTo>
                    <a:lnTo>
                      <a:pt x="844" y="1684"/>
                    </a:lnTo>
                    <a:lnTo>
                      <a:pt x="844" y="1684"/>
                    </a:lnTo>
                    <a:lnTo>
                      <a:pt x="846" y="1680"/>
                    </a:lnTo>
                    <a:lnTo>
                      <a:pt x="848" y="1676"/>
                    </a:lnTo>
                    <a:lnTo>
                      <a:pt x="848" y="1670"/>
                    </a:lnTo>
                    <a:lnTo>
                      <a:pt x="846" y="1662"/>
                    </a:lnTo>
                    <a:lnTo>
                      <a:pt x="846" y="1662"/>
                    </a:lnTo>
                    <a:lnTo>
                      <a:pt x="844" y="1658"/>
                    </a:lnTo>
                    <a:lnTo>
                      <a:pt x="844" y="1656"/>
                    </a:lnTo>
                    <a:lnTo>
                      <a:pt x="846" y="1652"/>
                    </a:lnTo>
                    <a:lnTo>
                      <a:pt x="850" y="1648"/>
                    </a:lnTo>
                    <a:lnTo>
                      <a:pt x="850" y="1648"/>
                    </a:lnTo>
                    <a:lnTo>
                      <a:pt x="850" y="1646"/>
                    </a:lnTo>
                    <a:lnTo>
                      <a:pt x="850" y="1646"/>
                    </a:lnTo>
                    <a:lnTo>
                      <a:pt x="846" y="1646"/>
                    </a:lnTo>
                    <a:lnTo>
                      <a:pt x="844" y="1650"/>
                    </a:lnTo>
                    <a:lnTo>
                      <a:pt x="838" y="1654"/>
                    </a:lnTo>
                    <a:lnTo>
                      <a:pt x="830" y="1656"/>
                    </a:lnTo>
                    <a:lnTo>
                      <a:pt x="830" y="1656"/>
                    </a:lnTo>
                    <a:lnTo>
                      <a:pt x="824" y="1658"/>
                    </a:lnTo>
                    <a:lnTo>
                      <a:pt x="822" y="1660"/>
                    </a:lnTo>
                    <a:lnTo>
                      <a:pt x="814" y="1672"/>
                    </a:lnTo>
                    <a:lnTo>
                      <a:pt x="810" y="1676"/>
                    </a:lnTo>
                    <a:lnTo>
                      <a:pt x="804" y="1680"/>
                    </a:lnTo>
                    <a:lnTo>
                      <a:pt x="796" y="1684"/>
                    </a:lnTo>
                    <a:lnTo>
                      <a:pt x="786" y="1686"/>
                    </a:lnTo>
                    <a:lnTo>
                      <a:pt x="786" y="1686"/>
                    </a:lnTo>
                    <a:lnTo>
                      <a:pt x="776" y="1686"/>
                    </a:lnTo>
                    <a:lnTo>
                      <a:pt x="768" y="1690"/>
                    </a:lnTo>
                    <a:lnTo>
                      <a:pt x="762" y="1694"/>
                    </a:lnTo>
                    <a:lnTo>
                      <a:pt x="758" y="1700"/>
                    </a:lnTo>
                    <a:lnTo>
                      <a:pt x="754" y="1708"/>
                    </a:lnTo>
                    <a:lnTo>
                      <a:pt x="752" y="1718"/>
                    </a:lnTo>
                    <a:lnTo>
                      <a:pt x="748" y="1736"/>
                    </a:lnTo>
                    <a:lnTo>
                      <a:pt x="748" y="1736"/>
                    </a:lnTo>
                    <a:lnTo>
                      <a:pt x="748" y="1752"/>
                    </a:lnTo>
                    <a:lnTo>
                      <a:pt x="750" y="1762"/>
                    </a:lnTo>
                    <a:lnTo>
                      <a:pt x="752" y="1770"/>
                    </a:lnTo>
                    <a:lnTo>
                      <a:pt x="750" y="1778"/>
                    </a:lnTo>
                    <a:lnTo>
                      <a:pt x="750" y="1778"/>
                    </a:lnTo>
                    <a:lnTo>
                      <a:pt x="746" y="1784"/>
                    </a:lnTo>
                    <a:lnTo>
                      <a:pt x="748" y="1786"/>
                    </a:lnTo>
                    <a:lnTo>
                      <a:pt x="750" y="1786"/>
                    </a:lnTo>
                    <a:lnTo>
                      <a:pt x="754" y="1790"/>
                    </a:lnTo>
                    <a:lnTo>
                      <a:pt x="754" y="1790"/>
                    </a:lnTo>
                    <a:lnTo>
                      <a:pt x="758" y="1792"/>
                    </a:lnTo>
                    <a:lnTo>
                      <a:pt x="758" y="1790"/>
                    </a:lnTo>
                    <a:lnTo>
                      <a:pt x="758" y="1788"/>
                    </a:lnTo>
                    <a:lnTo>
                      <a:pt x="762" y="1790"/>
                    </a:lnTo>
                    <a:lnTo>
                      <a:pt x="762" y="1790"/>
                    </a:lnTo>
                    <a:lnTo>
                      <a:pt x="764" y="1792"/>
                    </a:lnTo>
                    <a:lnTo>
                      <a:pt x="768" y="1792"/>
                    </a:lnTo>
                    <a:lnTo>
                      <a:pt x="772" y="1796"/>
                    </a:lnTo>
                    <a:lnTo>
                      <a:pt x="772" y="1804"/>
                    </a:lnTo>
                    <a:lnTo>
                      <a:pt x="772" y="1804"/>
                    </a:lnTo>
                    <a:lnTo>
                      <a:pt x="770" y="1810"/>
                    </a:lnTo>
                    <a:lnTo>
                      <a:pt x="768" y="1808"/>
                    </a:lnTo>
                    <a:lnTo>
                      <a:pt x="766" y="1806"/>
                    </a:lnTo>
                    <a:lnTo>
                      <a:pt x="764" y="1806"/>
                    </a:lnTo>
                    <a:lnTo>
                      <a:pt x="764" y="1810"/>
                    </a:lnTo>
                    <a:lnTo>
                      <a:pt x="764" y="1810"/>
                    </a:lnTo>
                    <a:lnTo>
                      <a:pt x="764" y="1814"/>
                    </a:lnTo>
                    <a:lnTo>
                      <a:pt x="764" y="1814"/>
                    </a:lnTo>
                    <a:lnTo>
                      <a:pt x="768" y="1812"/>
                    </a:lnTo>
                    <a:lnTo>
                      <a:pt x="770" y="1812"/>
                    </a:lnTo>
                    <a:lnTo>
                      <a:pt x="770" y="1814"/>
                    </a:lnTo>
                    <a:lnTo>
                      <a:pt x="770" y="1826"/>
                    </a:lnTo>
                    <a:lnTo>
                      <a:pt x="770" y="1826"/>
                    </a:lnTo>
                    <a:lnTo>
                      <a:pt x="770" y="1830"/>
                    </a:lnTo>
                    <a:lnTo>
                      <a:pt x="774" y="1836"/>
                    </a:lnTo>
                    <a:lnTo>
                      <a:pt x="784" y="1848"/>
                    </a:lnTo>
                    <a:lnTo>
                      <a:pt x="784" y="1848"/>
                    </a:lnTo>
                    <a:lnTo>
                      <a:pt x="786" y="1850"/>
                    </a:lnTo>
                    <a:lnTo>
                      <a:pt x="786" y="1852"/>
                    </a:lnTo>
                    <a:lnTo>
                      <a:pt x="782" y="1854"/>
                    </a:lnTo>
                    <a:lnTo>
                      <a:pt x="774" y="1856"/>
                    </a:lnTo>
                    <a:lnTo>
                      <a:pt x="772" y="1858"/>
                    </a:lnTo>
                    <a:lnTo>
                      <a:pt x="770" y="1860"/>
                    </a:lnTo>
                    <a:lnTo>
                      <a:pt x="770" y="1860"/>
                    </a:lnTo>
                    <a:lnTo>
                      <a:pt x="770" y="1864"/>
                    </a:lnTo>
                    <a:lnTo>
                      <a:pt x="770" y="1864"/>
                    </a:lnTo>
                    <a:lnTo>
                      <a:pt x="776" y="1864"/>
                    </a:lnTo>
                    <a:lnTo>
                      <a:pt x="780" y="1862"/>
                    </a:lnTo>
                    <a:lnTo>
                      <a:pt x="780" y="1864"/>
                    </a:lnTo>
                    <a:lnTo>
                      <a:pt x="778" y="1866"/>
                    </a:lnTo>
                    <a:lnTo>
                      <a:pt x="778" y="1866"/>
                    </a:lnTo>
                    <a:lnTo>
                      <a:pt x="778" y="1870"/>
                    </a:lnTo>
                    <a:lnTo>
                      <a:pt x="778" y="1872"/>
                    </a:lnTo>
                    <a:lnTo>
                      <a:pt x="782" y="1874"/>
                    </a:lnTo>
                    <a:lnTo>
                      <a:pt x="786" y="1876"/>
                    </a:lnTo>
                    <a:lnTo>
                      <a:pt x="786" y="1876"/>
                    </a:lnTo>
                    <a:lnTo>
                      <a:pt x="784" y="1878"/>
                    </a:lnTo>
                    <a:lnTo>
                      <a:pt x="784" y="1878"/>
                    </a:lnTo>
                    <a:lnTo>
                      <a:pt x="780" y="1880"/>
                    </a:lnTo>
                    <a:lnTo>
                      <a:pt x="780" y="1882"/>
                    </a:lnTo>
                    <a:lnTo>
                      <a:pt x="782" y="1886"/>
                    </a:lnTo>
                    <a:lnTo>
                      <a:pt x="790" y="1886"/>
                    </a:lnTo>
                    <a:lnTo>
                      <a:pt x="790" y="1886"/>
                    </a:lnTo>
                    <a:lnTo>
                      <a:pt x="798" y="1890"/>
                    </a:lnTo>
                    <a:lnTo>
                      <a:pt x="804" y="1894"/>
                    </a:lnTo>
                    <a:lnTo>
                      <a:pt x="804" y="1898"/>
                    </a:lnTo>
                    <a:lnTo>
                      <a:pt x="800" y="1896"/>
                    </a:lnTo>
                    <a:lnTo>
                      <a:pt x="800" y="1896"/>
                    </a:lnTo>
                    <a:lnTo>
                      <a:pt x="794" y="1892"/>
                    </a:lnTo>
                    <a:lnTo>
                      <a:pt x="786" y="1890"/>
                    </a:lnTo>
                    <a:lnTo>
                      <a:pt x="780" y="1890"/>
                    </a:lnTo>
                    <a:lnTo>
                      <a:pt x="772" y="1888"/>
                    </a:lnTo>
                    <a:lnTo>
                      <a:pt x="772" y="1888"/>
                    </a:lnTo>
                    <a:lnTo>
                      <a:pt x="770" y="1888"/>
                    </a:lnTo>
                    <a:lnTo>
                      <a:pt x="768" y="1890"/>
                    </a:lnTo>
                    <a:lnTo>
                      <a:pt x="768" y="1900"/>
                    </a:lnTo>
                    <a:lnTo>
                      <a:pt x="770" y="1910"/>
                    </a:lnTo>
                    <a:lnTo>
                      <a:pt x="768" y="1916"/>
                    </a:lnTo>
                    <a:lnTo>
                      <a:pt x="766" y="1918"/>
                    </a:lnTo>
                    <a:lnTo>
                      <a:pt x="766" y="1918"/>
                    </a:lnTo>
                    <a:lnTo>
                      <a:pt x="764" y="1920"/>
                    </a:lnTo>
                    <a:lnTo>
                      <a:pt x="764" y="1918"/>
                    </a:lnTo>
                    <a:lnTo>
                      <a:pt x="764" y="1914"/>
                    </a:lnTo>
                    <a:lnTo>
                      <a:pt x="764" y="1908"/>
                    </a:lnTo>
                    <a:lnTo>
                      <a:pt x="764" y="1906"/>
                    </a:lnTo>
                    <a:lnTo>
                      <a:pt x="762" y="1904"/>
                    </a:lnTo>
                    <a:lnTo>
                      <a:pt x="762" y="1904"/>
                    </a:lnTo>
                    <a:lnTo>
                      <a:pt x="758" y="1904"/>
                    </a:lnTo>
                    <a:lnTo>
                      <a:pt x="756" y="1906"/>
                    </a:lnTo>
                    <a:lnTo>
                      <a:pt x="756" y="1912"/>
                    </a:lnTo>
                    <a:lnTo>
                      <a:pt x="754" y="1916"/>
                    </a:lnTo>
                    <a:lnTo>
                      <a:pt x="754" y="1916"/>
                    </a:lnTo>
                    <a:lnTo>
                      <a:pt x="750" y="1914"/>
                    </a:lnTo>
                    <a:lnTo>
                      <a:pt x="750" y="1914"/>
                    </a:lnTo>
                    <a:lnTo>
                      <a:pt x="748" y="1912"/>
                    </a:lnTo>
                    <a:lnTo>
                      <a:pt x="748" y="1910"/>
                    </a:lnTo>
                    <a:lnTo>
                      <a:pt x="750" y="1904"/>
                    </a:lnTo>
                    <a:lnTo>
                      <a:pt x="748" y="1902"/>
                    </a:lnTo>
                    <a:lnTo>
                      <a:pt x="746" y="1900"/>
                    </a:lnTo>
                    <a:lnTo>
                      <a:pt x="742" y="1898"/>
                    </a:lnTo>
                    <a:lnTo>
                      <a:pt x="734" y="1898"/>
                    </a:lnTo>
                    <a:lnTo>
                      <a:pt x="734" y="1898"/>
                    </a:lnTo>
                    <a:lnTo>
                      <a:pt x="720" y="1898"/>
                    </a:lnTo>
                    <a:lnTo>
                      <a:pt x="714" y="1900"/>
                    </a:lnTo>
                    <a:lnTo>
                      <a:pt x="710" y="1906"/>
                    </a:lnTo>
                    <a:lnTo>
                      <a:pt x="708" y="1914"/>
                    </a:lnTo>
                    <a:lnTo>
                      <a:pt x="708" y="1914"/>
                    </a:lnTo>
                    <a:lnTo>
                      <a:pt x="706" y="1916"/>
                    </a:lnTo>
                    <a:lnTo>
                      <a:pt x="706" y="1920"/>
                    </a:lnTo>
                    <a:lnTo>
                      <a:pt x="710" y="1922"/>
                    </a:lnTo>
                    <a:lnTo>
                      <a:pt x="714" y="1922"/>
                    </a:lnTo>
                    <a:lnTo>
                      <a:pt x="714" y="1924"/>
                    </a:lnTo>
                    <a:lnTo>
                      <a:pt x="712" y="1926"/>
                    </a:lnTo>
                    <a:lnTo>
                      <a:pt x="712" y="1926"/>
                    </a:lnTo>
                    <a:lnTo>
                      <a:pt x="708" y="1926"/>
                    </a:lnTo>
                    <a:lnTo>
                      <a:pt x="706" y="1926"/>
                    </a:lnTo>
                    <a:lnTo>
                      <a:pt x="700" y="1918"/>
                    </a:lnTo>
                    <a:lnTo>
                      <a:pt x="700" y="1918"/>
                    </a:lnTo>
                    <a:lnTo>
                      <a:pt x="696" y="1914"/>
                    </a:lnTo>
                    <a:lnTo>
                      <a:pt x="688" y="1914"/>
                    </a:lnTo>
                    <a:lnTo>
                      <a:pt x="664" y="1918"/>
                    </a:lnTo>
                    <a:lnTo>
                      <a:pt x="664" y="1918"/>
                    </a:lnTo>
                    <a:lnTo>
                      <a:pt x="654" y="1920"/>
                    </a:lnTo>
                    <a:lnTo>
                      <a:pt x="646" y="1924"/>
                    </a:lnTo>
                    <a:lnTo>
                      <a:pt x="640" y="1926"/>
                    </a:lnTo>
                    <a:lnTo>
                      <a:pt x="636" y="1930"/>
                    </a:lnTo>
                    <a:lnTo>
                      <a:pt x="634" y="1934"/>
                    </a:lnTo>
                    <a:lnTo>
                      <a:pt x="634" y="1938"/>
                    </a:lnTo>
                    <a:lnTo>
                      <a:pt x="634" y="1940"/>
                    </a:lnTo>
                    <a:lnTo>
                      <a:pt x="636" y="1940"/>
                    </a:lnTo>
                    <a:lnTo>
                      <a:pt x="636" y="1940"/>
                    </a:lnTo>
                    <a:lnTo>
                      <a:pt x="638" y="1940"/>
                    </a:lnTo>
                    <a:lnTo>
                      <a:pt x="640" y="1942"/>
                    </a:lnTo>
                    <a:lnTo>
                      <a:pt x="640" y="1946"/>
                    </a:lnTo>
                    <a:lnTo>
                      <a:pt x="640" y="1950"/>
                    </a:lnTo>
                    <a:lnTo>
                      <a:pt x="642" y="1950"/>
                    </a:lnTo>
                    <a:lnTo>
                      <a:pt x="644" y="1952"/>
                    </a:lnTo>
                    <a:lnTo>
                      <a:pt x="644" y="1952"/>
                    </a:lnTo>
                    <a:lnTo>
                      <a:pt x="646" y="1952"/>
                    </a:lnTo>
                    <a:lnTo>
                      <a:pt x="646" y="1954"/>
                    </a:lnTo>
                    <a:lnTo>
                      <a:pt x="646" y="1958"/>
                    </a:lnTo>
                    <a:lnTo>
                      <a:pt x="646" y="1962"/>
                    </a:lnTo>
                    <a:lnTo>
                      <a:pt x="648" y="1964"/>
                    </a:lnTo>
                    <a:lnTo>
                      <a:pt x="650" y="1966"/>
                    </a:lnTo>
                    <a:lnTo>
                      <a:pt x="650" y="1966"/>
                    </a:lnTo>
                    <a:lnTo>
                      <a:pt x="654" y="1968"/>
                    </a:lnTo>
                    <a:lnTo>
                      <a:pt x="656" y="1972"/>
                    </a:lnTo>
                    <a:lnTo>
                      <a:pt x="654" y="1976"/>
                    </a:lnTo>
                    <a:lnTo>
                      <a:pt x="652" y="1980"/>
                    </a:lnTo>
                    <a:lnTo>
                      <a:pt x="648" y="1984"/>
                    </a:lnTo>
                    <a:lnTo>
                      <a:pt x="644" y="1986"/>
                    </a:lnTo>
                    <a:lnTo>
                      <a:pt x="638" y="1988"/>
                    </a:lnTo>
                    <a:lnTo>
                      <a:pt x="634" y="1986"/>
                    </a:lnTo>
                    <a:lnTo>
                      <a:pt x="634" y="1986"/>
                    </a:lnTo>
                    <a:lnTo>
                      <a:pt x="628" y="1980"/>
                    </a:lnTo>
                    <a:lnTo>
                      <a:pt x="624" y="1974"/>
                    </a:lnTo>
                    <a:lnTo>
                      <a:pt x="624" y="1970"/>
                    </a:lnTo>
                    <a:lnTo>
                      <a:pt x="624" y="1968"/>
                    </a:lnTo>
                    <a:lnTo>
                      <a:pt x="626" y="1966"/>
                    </a:lnTo>
                    <a:lnTo>
                      <a:pt x="630" y="1964"/>
                    </a:lnTo>
                    <a:lnTo>
                      <a:pt x="630" y="1964"/>
                    </a:lnTo>
                    <a:lnTo>
                      <a:pt x="634" y="1960"/>
                    </a:lnTo>
                    <a:lnTo>
                      <a:pt x="632" y="1958"/>
                    </a:lnTo>
                    <a:lnTo>
                      <a:pt x="628" y="1956"/>
                    </a:lnTo>
                    <a:lnTo>
                      <a:pt x="626" y="1952"/>
                    </a:lnTo>
                    <a:lnTo>
                      <a:pt x="626" y="1952"/>
                    </a:lnTo>
                    <a:lnTo>
                      <a:pt x="626" y="1946"/>
                    </a:lnTo>
                    <a:lnTo>
                      <a:pt x="630" y="1942"/>
                    </a:lnTo>
                    <a:lnTo>
                      <a:pt x="630" y="1940"/>
                    </a:lnTo>
                    <a:lnTo>
                      <a:pt x="628" y="1940"/>
                    </a:lnTo>
                    <a:lnTo>
                      <a:pt x="618" y="1946"/>
                    </a:lnTo>
                    <a:lnTo>
                      <a:pt x="618" y="1946"/>
                    </a:lnTo>
                    <a:lnTo>
                      <a:pt x="614" y="1944"/>
                    </a:lnTo>
                    <a:lnTo>
                      <a:pt x="612" y="1946"/>
                    </a:lnTo>
                    <a:lnTo>
                      <a:pt x="610" y="1954"/>
                    </a:lnTo>
                    <a:lnTo>
                      <a:pt x="606" y="1968"/>
                    </a:lnTo>
                    <a:lnTo>
                      <a:pt x="604" y="1978"/>
                    </a:lnTo>
                    <a:lnTo>
                      <a:pt x="600" y="1986"/>
                    </a:lnTo>
                    <a:lnTo>
                      <a:pt x="600" y="1986"/>
                    </a:lnTo>
                    <a:lnTo>
                      <a:pt x="592" y="2000"/>
                    </a:lnTo>
                    <a:lnTo>
                      <a:pt x="588" y="2004"/>
                    </a:lnTo>
                    <a:lnTo>
                      <a:pt x="586" y="2004"/>
                    </a:lnTo>
                    <a:lnTo>
                      <a:pt x="586" y="2008"/>
                    </a:lnTo>
                    <a:lnTo>
                      <a:pt x="586" y="2008"/>
                    </a:lnTo>
                    <a:lnTo>
                      <a:pt x="586" y="2010"/>
                    </a:lnTo>
                    <a:lnTo>
                      <a:pt x="584" y="2012"/>
                    </a:lnTo>
                    <a:lnTo>
                      <a:pt x="578" y="2014"/>
                    </a:lnTo>
                    <a:lnTo>
                      <a:pt x="572" y="2016"/>
                    </a:lnTo>
                    <a:lnTo>
                      <a:pt x="570" y="2018"/>
                    </a:lnTo>
                    <a:lnTo>
                      <a:pt x="572" y="2020"/>
                    </a:lnTo>
                    <a:lnTo>
                      <a:pt x="572" y="2020"/>
                    </a:lnTo>
                    <a:lnTo>
                      <a:pt x="578" y="2024"/>
                    </a:lnTo>
                    <a:lnTo>
                      <a:pt x="586" y="2024"/>
                    </a:lnTo>
                    <a:lnTo>
                      <a:pt x="590" y="2026"/>
                    </a:lnTo>
                    <a:lnTo>
                      <a:pt x="584" y="2030"/>
                    </a:lnTo>
                    <a:lnTo>
                      <a:pt x="584" y="2030"/>
                    </a:lnTo>
                    <a:lnTo>
                      <a:pt x="570" y="2026"/>
                    </a:lnTo>
                    <a:lnTo>
                      <a:pt x="564" y="2026"/>
                    </a:lnTo>
                    <a:lnTo>
                      <a:pt x="562" y="2028"/>
                    </a:lnTo>
                    <a:lnTo>
                      <a:pt x="562" y="2028"/>
                    </a:lnTo>
                    <a:lnTo>
                      <a:pt x="562" y="2030"/>
                    </a:lnTo>
                    <a:lnTo>
                      <a:pt x="562" y="2032"/>
                    </a:lnTo>
                    <a:lnTo>
                      <a:pt x="568" y="2034"/>
                    </a:lnTo>
                    <a:lnTo>
                      <a:pt x="574" y="2036"/>
                    </a:lnTo>
                    <a:lnTo>
                      <a:pt x="580" y="2036"/>
                    </a:lnTo>
                    <a:lnTo>
                      <a:pt x="580" y="2036"/>
                    </a:lnTo>
                    <a:lnTo>
                      <a:pt x="586" y="2036"/>
                    </a:lnTo>
                    <a:lnTo>
                      <a:pt x="588" y="2036"/>
                    </a:lnTo>
                    <a:lnTo>
                      <a:pt x="588" y="2038"/>
                    </a:lnTo>
                    <a:lnTo>
                      <a:pt x="588" y="2040"/>
                    </a:lnTo>
                    <a:lnTo>
                      <a:pt x="588" y="2040"/>
                    </a:lnTo>
                    <a:lnTo>
                      <a:pt x="580" y="2042"/>
                    </a:lnTo>
                    <a:lnTo>
                      <a:pt x="576" y="2042"/>
                    </a:lnTo>
                    <a:lnTo>
                      <a:pt x="572" y="2042"/>
                    </a:lnTo>
                    <a:lnTo>
                      <a:pt x="572" y="2042"/>
                    </a:lnTo>
                    <a:lnTo>
                      <a:pt x="566" y="2038"/>
                    </a:lnTo>
                    <a:lnTo>
                      <a:pt x="564" y="2038"/>
                    </a:lnTo>
                    <a:lnTo>
                      <a:pt x="558" y="2040"/>
                    </a:lnTo>
                    <a:lnTo>
                      <a:pt x="558" y="2040"/>
                    </a:lnTo>
                    <a:lnTo>
                      <a:pt x="550" y="2044"/>
                    </a:lnTo>
                    <a:lnTo>
                      <a:pt x="540" y="2048"/>
                    </a:lnTo>
                    <a:lnTo>
                      <a:pt x="532" y="2054"/>
                    </a:lnTo>
                    <a:lnTo>
                      <a:pt x="524" y="2058"/>
                    </a:lnTo>
                    <a:lnTo>
                      <a:pt x="524" y="2058"/>
                    </a:lnTo>
                    <a:lnTo>
                      <a:pt x="504" y="2060"/>
                    </a:lnTo>
                    <a:lnTo>
                      <a:pt x="492" y="2064"/>
                    </a:lnTo>
                    <a:lnTo>
                      <a:pt x="488" y="2068"/>
                    </a:lnTo>
                    <a:lnTo>
                      <a:pt x="486" y="2070"/>
                    </a:lnTo>
                    <a:lnTo>
                      <a:pt x="484" y="2074"/>
                    </a:lnTo>
                    <a:lnTo>
                      <a:pt x="484" y="2078"/>
                    </a:lnTo>
                    <a:lnTo>
                      <a:pt x="484" y="2078"/>
                    </a:lnTo>
                    <a:lnTo>
                      <a:pt x="486" y="2086"/>
                    </a:lnTo>
                    <a:lnTo>
                      <a:pt x="484" y="2090"/>
                    </a:lnTo>
                    <a:lnTo>
                      <a:pt x="484" y="2094"/>
                    </a:lnTo>
                    <a:lnTo>
                      <a:pt x="486" y="2098"/>
                    </a:lnTo>
                    <a:lnTo>
                      <a:pt x="486" y="2098"/>
                    </a:lnTo>
                    <a:lnTo>
                      <a:pt x="486" y="2100"/>
                    </a:lnTo>
                    <a:lnTo>
                      <a:pt x="484" y="2100"/>
                    </a:lnTo>
                    <a:lnTo>
                      <a:pt x="484" y="2102"/>
                    </a:lnTo>
                    <a:lnTo>
                      <a:pt x="486" y="2106"/>
                    </a:lnTo>
                    <a:lnTo>
                      <a:pt x="486" y="2106"/>
                    </a:lnTo>
                    <a:lnTo>
                      <a:pt x="488" y="2108"/>
                    </a:lnTo>
                    <a:lnTo>
                      <a:pt x="486" y="2110"/>
                    </a:lnTo>
                    <a:lnTo>
                      <a:pt x="482" y="2112"/>
                    </a:lnTo>
                    <a:lnTo>
                      <a:pt x="480" y="2114"/>
                    </a:lnTo>
                    <a:lnTo>
                      <a:pt x="480" y="2114"/>
                    </a:lnTo>
                    <a:lnTo>
                      <a:pt x="478" y="2118"/>
                    </a:lnTo>
                    <a:lnTo>
                      <a:pt x="472" y="2120"/>
                    </a:lnTo>
                    <a:lnTo>
                      <a:pt x="444" y="2132"/>
                    </a:lnTo>
                    <a:lnTo>
                      <a:pt x="444" y="2132"/>
                    </a:lnTo>
                    <a:lnTo>
                      <a:pt x="434" y="2136"/>
                    </a:lnTo>
                    <a:lnTo>
                      <a:pt x="428" y="2140"/>
                    </a:lnTo>
                    <a:lnTo>
                      <a:pt x="426" y="2144"/>
                    </a:lnTo>
                    <a:lnTo>
                      <a:pt x="426" y="2146"/>
                    </a:lnTo>
                    <a:lnTo>
                      <a:pt x="426" y="2150"/>
                    </a:lnTo>
                    <a:lnTo>
                      <a:pt x="428" y="2152"/>
                    </a:lnTo>
                    <a:lnTo>
                      <a:pt x="432" y="2154"/>
                    </a:lnTo>
                    <a:lnTo>
                      <a:pt x="432" y="2154"/>
                    </a:lnTo>
                    <a:lnTo>
                      <a:pt x="434" y="2154"/>
                    </a:lnTo>
                    <a:lnTo>
                      <a:pt x="432" y="2156"/>
                    </a:lnTo>
                    <a:lnTo>
                      <a:pt x="420" y="2162"/>
                    </a:lnTo>
                    <a:lnTo>
                      <a:pt x="420" y="2162"/>
                    </a:lnTo>
                    <a:lnTo>
                      <a:pt x="416" y="2164"/>
                    </a:lnTo>
                    <a:lnTo>
                      <a:pt x="412" y="2164"/>
                    </a:lnTo>
                    <a:lnTo>
                      <a:pt x="402" y="2162"/>
                    </a:lnTo>
                    <a:lnTo>
                      <a:pt x="392" y="2158"/>
                    </a:lnTo>
                    <a:lnTo>
                      <a:pt x="384" y="2158"/>
                    </a:lnTo>
                    <a:lnTo>
                      <a:pt x="376" y="2160"/>
                    </a:lnTo>
                    <a:lnTo>
                      <a:pt x="376" y="2160"/>
                    </a:lnTo>
                    <a:lnTo>
                      <a:pt x="374" y="2160"/>
                    </a:lnTo>
                    <a:lnTo>
                      <a:pt x="372" y="2156"/>
                    </a:lnTo>
                    <a:lnTo>
                      <a:pt x="372" y="2148"/>
                    </a:lnTo>
                    <a:lnTo>
                      <a:pt x="370" y="2142"/>
                    </a:lnTo>
                    <a:lnTo>
                      <a:pt x="368" y="2140"/>
                    </a:lnTo>
                    <a:lnTo>
                      <a:pt x="364" y="2140"/>
                    </a:lnTo>
                    <a:lnTo>
                      <a:pt x="364" y="2140"/>
                    </a:lnTo>
                    <a:lnTo>
                      <a:pt x="356" y="2140"/>
                    </a:lnTo>
                    <a:lnTo>
                      <a:pt x="348" y="2140"/>
                    </a:lnTo>
                    <a:lnTo>
                      <a:pt x="346" y="2138"/>
                    </a:lnTo>
                    <a:lnTo>
                      <a:pt x="346" y="2142"/>
                    </a:lnTo>
                    <a:lnTo>
                      <a:pt x="346" y="2142"/>
                    </a:lnTo>
                    <a:lnTo>
                      <a:pt x="348" y="2148"/>
                    </a:lnTo>
                    <a:lnTo>
                      <a:pt x="348" y="2152"/>
                    </a:lnTo>
                    <a:lnTo>
                      <a:pt x="348" y="2156"/>
                    </a:lnTo>
                    <a:lnTo>
                      <a:pt x="352" y="2160"/>
                    </a:lnTo>
                    <a:lnTo>
                      <a:pt x="352" y="2160"/>
                    </a:lnTo>
                    <a:lnTo>
                      <a:pt x="356" y="2164"/>
                    </a:lnTo>
                    <a:lnTo>
                      <a:pt x="358" y="2172"/>
                    </a:lnTo>
                    <a:lnTo>
                      <a:pt x="360" y="2180"/>
                    </a:lnTo>
                    <a:lnTo>
                      <a:pt x="360" y="2188"/>
                    </a:lnTo>
                    <a:lnTo>
                      <a:pt x="360" y="2188"/>
                    </a:lnTo>
                    <a:lnTo>
                      <a:pt x="360" y="2192"/>
                    </a:lnTo>
                    <a:lnTo>
                      <a:pt x="360" y="2194"/>
                    </a:lnTo>
                    <a:lnTo>
                      <a:pt x="362" y="2200"/>
                    </a:lnTo>
                    <a:lnTo>
                      <a:pt x="364" y="2202"/>
                    </a:lnTo>
                    <a:lnTo>
                      <a:pt x="358" y="2204"/>
                    </a:lnTo>
                    <a:lnTo>
                      <a:pt x="358" y="2204"/>
                    </a:lnTo>
                    <a:lnTo>
                      <a:pt x="352" y="2204"/>
                    </a:lnTo>
                    <a:lnTo>
                      <a:pt x="350" y="2202"/>
                    </a:lnTo>
                    <a:lnTo>
                      <a:pt x="348" y="2198"/>
                    </a:lnTo>
                    <a:lnTo>
                      <a:pt x="346" y="2198"/>
                    </a:lnTo>
                    <a:lnTo>
                      <a:pt x="346" y="2198"/>
                    </a:lnTo>
                    <a:lnTo>
                      <a:pt x="344" y="2198"/>
                    </a:lnTo>
                    <a:lnTo>
                      <a:pt x="344" y="2200"/>
                    </a:lnTo>
                    <a:lnTo>
                      <a:pt x="342" y="2202"/>
                    </a:lnTo>
                    <a:lnTo>
                      <a:pt x="338" y="2202"/>
                    </a:lnTo>
                    <a:lnTo>
                      <a:pt x="338" y="2202"/>
                    </a:lnTo>
                    <a:lnTo>
                      <a:pt x="334" y="2202"/>
                    </a:lnTo>
                    <a:lnTo>
                      <a:pt x="332" y="2200"/>
                    </a:lnTo>
                    <a:lnTo>
                      <a:pt x="330" y="2198"/>
                    </a:lnTo>
                    <a:lnTo>
                      <a:pt x="326" y="2200"/>
                    </a:lnTo>
                    <a:lnTo>
                      <a:pt x="326" y="2200"/>
                    </a:lnTo>
                    <a:lnTo>
                      <a:pt x="318" y="2206"/>
                    </a:lnTo>
                    <a:lnTo>
                      <a:pt x="314" y="2208"/>
                    </a:lnTo>
                    <a:lnTo>
                      <a:pt x="310" y="2206"/>
                    </a:lnTo>
                    <a:lnTo>
                      <a:pt x="310" y="2206"/>
                    </a:lnTo>
                    <a:lnTo>
                      <a:pt x="302" y="2192"/>
                    </a:lnTo>
                    <a:lnTo>
                      <a:pt x="298" y="2186"/>
                    </a:lnTo>
                    <a:lnTo>
                      <a:pt x="296" y="2186"/>
                    </a:lnTo>
                    <a:lnTo>
                      <a:pt x="292" y="2188"/>
                    </a:lnTo>
                    <a:lnTo>
                      <a:pt x="292" y="2188"/>
                    </a:lnTo>
                    <a:lnTo>
                      <a:pt x="286" y="2190"/>
                    </a:lnTo>
                    <a:lnTo>
                      <a:pt x="282" y="2190"/>
                    </a:lnTo>
                    <a:lnTo>
                      <a:pt x="280" y="2190"/>
                    </a:lnTo>
                    <a:lnTo>
                      <a:pt x="278" y="2194"/>
                    </a:lnTo>
                    <a:lnTo>
                      <a:pt x="278" y="2194"/>
                    </a:lnTo>
                    <a:lnTo>
                      <a:pt x="278" y="2198"/>
                    </a:lnTo>
                    <a:lnTo>
                      <a:pt x="276" y="2200"/>
                    </a:lnTo>
                    <a:lnTo>
                      <a:pt x="270" y="2200"/>
                    </a:lnTo>
                    <a:lnTo>
                      <a:pt x="264" y="2198"/>
                    </a:lnTo>
                    <a:lnTo>
                      <a:pt x="264" y="2198"/>
                    </a:lnTo>
                    <a:lnTo>
                      <a:pt x="260" y="2196"/>
                    </a:lnTo>
                    <a:lnTo>
                      <a:pt x="260" y="2196"/>
                    </a:lnTo>
                    <a:lnTo>
                      <a:pt x="258" y="2198"/>
                    </a:lnTo>
                    <a:lnTo>
                      <a:pt x="250" y="2200"/>
                    </a:lnTo>
                    <a:lnTo>
                      <a:pt x="250" y="2200"/>
                    </a:lnTo>
                    <a:lnTo>
                      <a:pt x="240" y="2202"/>
                    </a:lnTo>
                    <a:lnTo>
                      <a:pt x="234" y="2206"/>
                    </a:lnTo>
                    <a:lnTo>
                      <a:pt x="230" y="2212"/>
                    </a:lnTo>
                    <a:lnTo>
                      <a:pt x="230" y="2216"/>
                    </a:lnTo>
                    <a:lnTo>
                      <a:pt x="230" y="2216"/>
                    </a:lnTo>
                    <a:lnTo>
                      <a:pt x="232" y="2218"/>
                    </a:lnTo>
                    <a:lnTo>
                      <a:pt x="236" y="2218"/>
                    </a:lnTo>
                    <a:lnTo>
                      <a:pt x="240" y="2218"/>
                    </a:lnTo>
                    <a:lnTo>
                      <a:pt x="244" y="2218"/>
                    </a:lnTo>
                    <a:lnTo>
                      <a:pt x="244" y="2218"/>
                    </a:lnTo>
                    <a:lnTo>
                      <a:pt x="246" y="2220"/>
                    </a:lnTo>
                    <a:lnTo>
                      <a:pt x="242" y="2220"/>
                    </a:lnTo>
                    <a:lnTo>
                      <a:pt x="238" y="2222"/>
                    </a:lnTo>
                    <a:lnTo>
                      <a:pt x="238" y="2224"/>
                    </a:lnTo>
                    <a:lnTo>
                      <a:pt x="236" y="2226"/>
                    </a:lnTo>
                    <a:lnTo>
                      <a:pt x="236" y="2226"/>
                    </a:lnTo>
                    <a:lnTo>
                      <a:pt x="238" y="2228"/>
                    </a:lnTo>
                    <a:lnTo>
                      <a:pt x="242" y="2228"/>
                    </a:lnTo>
                    <a:lnTo>
                      <a:pt x="246" y="2228"/>
                    </a:lnTo>
                    <a:lnTo>
                      <a:pt x="250" y="2230"/>
                    </a:lnTo>
                    <a:lnTo>
                      <a:pt x="250" y="2230"/>
                    </a:lnTo>
                    <a:lnTo>
                      <a:pt x="250" y="2230"/>
                    </a:lnTo>
                    <a:lnTo>
                      <a:pt x="246" y="2232"/>
                    </a:lnTo>
                    <a:lnTo>
                      <a:pt x="240" y="2234"/>
                    </a:lnTo>
                    <a:lnTo>
                      <a:pt x="234" y="2234"/>
                    </a:lnTo>
                    <a:lnTo>
                      <a:pt x="234" y="2236"/>
                    </a:lnTo>
                    <a:lnTo>
                      <a:pt x="236" y="2238"/>
                    </a:lnTo>
                    <a:lnTo>
                      <a:pt x="236" y="2238"/>
                    </a:lnTo>
                    <a:lnTo>
                      <a:pt x="242" y="2244"/>
                    </a:lnTo>
                    <a:lnTo>
                      <a:pt x="244" y="2248"/>
                    </a:lnTo>
                    <a:lnTo>
                      <a:pt x="248" y="2250"/>
                    </a:lnTo>
                    <a:lnTo>
                      <a:pt x="252" y="2250"/>
                    </a:lnTo>
                    <a:lnTo>
                      <a:pt x="252" y="2250"/>
                    </a:lnTo>
                    <a:lnTo>
                      <a:pt x="258" y="2248"/>
                    </a:lnTo>
                    <a:lnTo>
                      <a:pt x="264" y="2248"/>
                    </a:lnTo>
                    <a:lnTo>
                      <a:pt x="280" y="2254"/>
                    </a:lnTo>
                    <a:lnTo>
                      <a:pt x="280" y="2254"/>
                    </a:lnTo>
                    <a:lnTo>
                      <a:pt x="286" y="2258"/>
                    </a:lnTo>
                    <a:lnTo>
                      <a:pt x="292" y="2260"/>
                    </a:lnTo>
                    <a:lnTo>
                      <a:pt x="296" y="2262"/>
                    </a:lnTo>
                    <a:lnTo>
                      <a:pt x="302" y="2262"/>
                    </a:lnTo>
                    <a:lnTo>
                      <a:pt x="302" y="2262"/>
                    </a:lnTo>
                    <a:lnTo>
                      <a:pt x="306" y="2262"/>
                    </a:lnTo>
                    <a:lnTo>
                      <a:pt x="306" y="2266"/>
                    </a:lnTo>
                    <a:lnTo>
                      <a:pt x="306" y="2268"/>
                    </a:lnTo>
                    <a:lnTo>
                      <a:pt x="314" y="2268"/>
                    </a:lnTo>
                    <a:lnTo>
                      <a:pt x="314" y="2268"/>
                    </a:lnTo>
                    <a:lnTo>
                      <a:pt x="318" y="2268"/>
                    </a:lnTo>
                    <a:lnTo>
                      <a:pt x="322" y="2268"/>
                    </a:lnTo>
                    <a:lnTo>
                      <a:pt x="324" y="2270"/>
                    </a:lnTo>
                    <a:lnTo>
                      <a:pt x="322" y="2272"/>
                    </a:lnTo>
                    <a:lnTo>
                      <a:pt x="322" y="2272"/>
                    </a:lnTo>
                    <a:lnTo>
                      <a:pt x="320" y="2276"/>
                    </a:lnTo>
                    <a:lnTo>
                      <a:pt x="320" y="2280"/>
                    </a:lnTo>
                    <a:lnTo>
                      <a:pt x="322" y="2282"/>
                    </a:lnTo>
                    <a:lnTo>
                      <a:pt x="330" y="2282"/>
                    </a:lnTo>
                    <a:lnTo>
                      <a:pt x="330" y="2282"/>
                    </a:lnTo>
                    <a:lnTo>
                      <a:pt x="334" y="2282"/>
                    </a:lnTo>
                    <a:lnTo>
                      <a:pt x="334" y="2286"/>
                    </a:lnTo>
                    <a:lnTo>
                      <a:pt x="332" y="2290"/>
                    </a:lnTo>
                    <a:lnTo>
                      <a:pt x="334" y="2290"/>
                    </a:lnTo>
                    <a:lnTo>
                      <a:pt x="336" y="2292"/>
                    </a:lnTo>
                    <a:lnTo>
                      <a:pt x="336" y="2292"/>
                    </a:lnTo>
                    <a:lnTo>
                      <a:pt x="340" y="2292"/>
                    </a:lnTo>
                    <a:lnTo>
                      <a:pt x="342" y="2294"/>
                    </a:lnTo>
                    <a:lnTo>
                      <a:pt x="342" y="2298"/>
                    </a:lnTo>
                    <a:lnTo>
                      <a:pt x="338" y="2300"/>
                    </a:lnTo>
                    <a:lnTo>
                      <a:pt x="338" y="2300"/>
                    </a:lnTo>
                    <a:lnTo>
                      <a:pt x="336" y="2302"/>
                    </a:lnTo>
                    <a:lnTo>
                      <a:pt x="336" y="2306"/>
                    </a:lnTo>
                    <a:lnTo>
                      <a:pt x="340" y="2314"/>
                    </a:lnTo>
                    <a:lnTo>
                      <a:pt x="348" y="2324"/>
                    </a:lnTo>
                    <a:lnTo>
                      <a:pt x="358" y="2332"/>
                    </a:lnTo>
                    <a:lnTo>
                      <a:pt x="358" y="2332"/>
                    </a:lnTo>
                    <a:lnTo>
                      <a:pt x="368" y="2336"/>
                    </a:lnTo>
                    <a:lnTo>
                      <a:pt x="374" y="2338"/>
                    </a:lnTo>
                    <a:lnTo>
                      <a:pt x="376" y="2338"/>
                    </a:lnTo>
                    <a:lnTo>
                      <a:pt x="374" y="2342"/>
                    </a:lnTo>
                    <a:lnTo>
                      <a:pt x="374" y="2342"/>
                    </a:lnTo>
                    <a:lnTo>
                      <a:pt x="374" y="2346"/>
                    </a:lnTo>
                    <a:lnTo>
                      <a:pt x="376" y="2348"/>
                    </a:lnTo>
                    <a:lnTo>
                      <a:pt x="378" y="2352"/>
                    </a:lnTo>
                    <a:lnTo>
                      <a:pt x="378" y="2360"/>
                    </a:lnTo>
                    <a:lnTo>
                      <a:pt x="378" y="2360"/>
                    </a:lnTo>
                    <a:lnTo>
                      <a:pt x="376" y="2364"/>
                    </a:lnTo>
                    <a:lnTo>
                      <a:pt x="374" y="2366"/>
                    </a:lnTo>
                    <a:lnTo>
                      <a:pt x="370" y="2368"/>
                    </a:lnTo>
                    <a:lnTo>
                      <a:pt x="370" y="2370"/>
                    </a:lnTo>
                    <a:lnTo>
                      <a:pt x="370" y="2370"/>
                    </a:lnTo>
                    <a:lnTo>
                      <a:pt x="378" y="2376"/>
                    </a:lnTo>
                    <a:lnTo>
                      <a:pt x="378" y="2376"/>
                    </a:lnTo>
                    <a:lnTo>
                      <a:pt x="388" y="2382"/>
                    </a:lnTo>
                    <a:lnTo>
                      <a:pt x="392" y="2388"/>
                    </a:lnTo>
                    <a:lnTo>
                      <a:pt x="394" y="2396"/>
                    </a:lnTo>
                    <a:lnTo>
                      <a:pt x="394" y="2402"/>
                    </a:lnTo>
                    <a:lnTo>
                      <a:pt x="394" y="2402"/>
                    </a:lnTo>
                    <a:lnTo>
                      <a:pt x="394" y="2404"/>
                    </a:lnTo>
                    <a:lnTo>
                      <a:pt x="392" y="2398"/>
                    </a:lnTo>
                    <a:lnTo>
                      <a:pt x="388" y="2388"/>
                    </a:lnTo>
                    <a:lnTo>
                      <a:pt x="384" y="2384"/>
                    </a:lnTo>
                    <a:lnTo>
                      <a:pt x="380" y="2382"/>
                    </a:lnTo>
                    <a:lnTo>
                      <a:pt x="380" y="2382"/>
                    </a:lnTo>
                    <a:lnTo>
                      <a:pt x="378" y="2390"/>
                    </a:lnTo>
                    <a:lnTo>
                      <a:pt x="372" y="2410"/>
                    </a:lnTo>
                    <a:lnTo>
                      <a:pt x="372" y="2410"/>
                    </a:lnTo>
                    <a:lnTo>
                      <a:pt x="370" y="2426"/>
                    </a:lnTo>
                    <a:lnTo>
                      <a:pt x="372" y="2428"/>
                    </a:lnTo>
                    <a:lnTo>
                      <a:pt x="374" y="2426"/>
                    </a:lnTo>
                    <a:lnTo>
                      <a:pt x="374" y="2426"/>
                    </a:lnTo>
                    <a:lnTo>
                      <a:pt x="376" y="2426"/>
                    </a:lnTo>
                    <a:lnTo>
                      <a:pt x="378" y="2426"/>
                    </a:lnTo>
                    <a:lnTo>
                      <a:pt x="378" y="2430"/>
                    </a:lnTo>
                    <a:lnTo>
                      <a:pt x="376" y="2432"/>
                    </a:lnTo>
                    <a:lnTo>
                      <a:pt x="376" y="2432"/>
                    </a:lnTo>
                    <a:lnTo>
                      <a:pt x="374" y="2432"/>
                    </a:lnTo>
                    <a:lnTo>
                      <a:pt x="372" y="2436"/>
                    </a:lnTo>
                    <a:lnTo>
                      <a:pt x="370" y="2460"/>
                    </a:lnTo>
                    <a:lnTo>
                      <a:pt x="370" y="2460"/>
                    </a:lnTo>
                    <a:lnTo>
                      <a:pt x="366" y="2480"/>
                    </a:lnTo>
                    <a:lnTo>
                      <a:pt x="362" y="2492"/>
                    </a:lnTo>
                    <a:lnTo>
                      <a:pt x="358" y="2500"/>
                    </a:lnTo>
                    <a:lnTo>
                      <a:pt x="352" y="2502"/>
                    </a:lnTo>
                    <a:lnTo>
                      <a:pt x="352" y="2502"/>
                    </a:lnTo>
                    <a:lnTo>
                      <a:pt x="342" y="2506"/>
                    </a:lnTo>
                    <a:lnTo>
                      <a:pt x="334" y="2506"/>
                    </a:lnTo>
                    <a:lnTo>
                      <a:pt x="326" y="2504"/>
                    </a:lnTo>
                    <a:lnTo>
                      <a:pt x="326" y="2504"/>
                    </a:lnTo>
                    <a:lnTo>
                      <a:pt x="314" y="2500"/>
                    </a:lnTo>
                    <a:lnTo>
                      <a:pt x="308" y="2500"/>
                    </a:lnTo>
                    <a:lnTo>
                      <a:pt x="300" y="2502"/>
                    </a:lnTo>
                    <a:lnTo>
                      <a:pt x="286" y="2498"/>
                    </a:lnTo>
                    <a:lnTo>
                      <a:pt x="286" y="2498"/>
                    </a:lnTo>
                    <a:lnTo>
                      <a:pt x="278" y="2496"/>
                    </a:lnTo>
                    <a:lnTo>
                      <a:pt x="270" y="2496"/>
                    </a:lnTo>
                    <a:lnTo>
                      <a:pt x="252" y="2498"/>
                    </a:lnTo>
                    <a:lnTo>
                      <a:pt x="232" y="2498"/>
                    </a:lnTo>
                    <a:lnTo>
                      <a:pt x="220" y="2498"/>
                    </a:lnTo>
                    <a:lnTo>
                      <a:pt x="206" y="2494"/>
                    </a:lnTo>
                    <a:lnTo>
                      <a:pt x="206" y="2494"/>
                    </a:lnTo>
                    <a:lnTo>
                      <a:pt x="192" y="2490"/>
                    </a:lnTo>
                    <a:lnTo>
                      <a:pt x="182" y="2490"/>
                    </a:lnTo>
                    <a:lnTo>
                      <a:pt x="172" y="2492"/>
                    </a:lnTo>
                    <a:lnTo>
                      <a:pt x="154" y="2492"/>
                    </a:lnTo>
                    <a:lnTo>
                      <a:pt x="154" y="2492"/>
                    </a:lnTo>
                    <a:lnTo>
                      <a:pt x="142" y="2492"/>
                    </a:lnTo>
                    <a:lnTo>
                      <a:pt x="134" y="2490"/>
                    </a:lnTo>
                    <a:lnTo>
                      <a:pt x="120" y="2486"/>
                    </a:lnTo>
                    <a:lnTo>
                      <a:pt x="110" y="2482"/>
                    </a:lnTo>
                    <a:lnTo>
                      <a:pt x="104" y="2484"/>
                    </a:lnTo>
                    <a:lnTo>
                      <a:pt x="98" y="2486"/>
                    </a:lnTo>
                    <a:lnTo>
                      <a:pt x="98" y="2486"/>
                    </a:lnTo>
                    <a:lnTo>
                      <a:pt x="92" y="2490"/>
                    </a:lnTo>
                    <a:lnTo>
                      <a:pt x="88" y="2492"/>
                    </a:lnTo>
                    <a:lnTo>
                      <a:pt x="86" y="2500"/>
                    </a:lnTo>
                    <a:lnTo>
                      <a:pt x="86" y="2504"/>
                    </a:lnTo>
                    <a:lnTo>
                      <a:pt x="82" y="2506"/>
                    </a:lnTo>
                    <a:lnTo>
                      <a:pt x="78" y="2506"/>
                    </a:lnTo>
                    <a:lnTo>
                      <a:pt x="78" y="2506"/>
                    </a:lnTo>
                    <a:lnTo>
                      <a:pt x="72" y="2506"/>
                    </a:lnTo>
                    <a:lnTo>
                      <a:pt x="66" y="2508"/>
                    </a:lnTo>
                    <a:lnTo>
                      <a:pt x="54" y="2516"/>
                    </a:lnTo>
                    <a:lnTo>
                      <a:pt x="50" y="2520"/>
                    </a:lnTo>
                    <a:lnTo>
                      <a:pt x="48" y="2524"/>
                    </a:lnTo>
                    <a:lnTo>
                      <a:pt x="48" y="2528"/>
                    </a:lnTo>
                    <a:lnTo>
                      <a:pt x="50" y="2530"/>
                    </a:lnTo>
                    <a:lnTo>
                      <a:pt x="50" y="2530"/>
                    </a:lnTo>
                    <a:lnTo>
                      <a:pt x="54" y="2534"/>
                    </a:lnTo>
                    <a:lnTo>
                      <a:pt x="56" y="2540"/>
                    </a:lnTo>
                    <a:lnTo>
                      <a:pt x="58" y="2546"/>
                    </a:lnTo>
                    <a:lnTo>
                      <a:pt x="60" y="2552"/>
                    </a:lnTo>
                    <a:lnTo>
                      <a:pt x="60" y="2552"/>
                    </a:lnTo>
                    <a:lnTo>
                      <a:pt x="64" y="2560"/>
                    </a:lnTo>
                    <a:lnTo>
                      <a:pt x="64" y="2570"/>
                    </a:lnTo>
                    <a:lnTo>
                      <a:pt x="64" y="2578"/>
                    </a:lnTo>
                    <a:lnTo>
                      <a:pt x="66" y="2588"/>
                    </a:lnTo>
                    <a:lnTo>
                      <a:pt x="66" y="2588"/>
                    </a:lnTo>
                    <a:lnTo>
                      <a:pt x="64" y="2594"/>
                    </a:lnTo>
                    <a:lnTo>
                      <a:pt x="66" y="2596"/>
                    </a:lnTo>
                    <a:lnTo>
                      <a:pt x="68" y="2600"/>
                    </a:lnTo>
                    <a:lnTo>
                      <a:pt x="66" y="2602"/>
                    </a:lnTo>
                    <a:lnTo>
                      <a:pt x="66" y="2602"/>
                    </a:lnTo>
                    <a:lnTo>
                      <a:pt x="66" y="2606"/>
                    </a:lnTo>
                    <a:lnTo>
                      <a:pt x="66" y="2612"/>
                    </a:lnTo>
                    <a:lnTo>
                      <a:pt x="74" y="2628"/>
                    </a:lnTo>
                    <a:lnTo>
                      <a:pt x="74" y="2628"/>
                    </a:lnTo>
                    <a:lnTo>
                      <a:pt x="74" y="2632"/>
                    </a:lnTo>
                    <a:lnTo>
                      <a:pt x="74" y="2640"/>
                    </a:lnTo>
                    <a:lnTo>
                      <a:pt x="70" y="2654"/>
                    </a:lnTo>
                    <a:lnTo>
                      <a:pt x="66" y="2670"/>
                    </a:lnTo>
                    <a:lnTo>
                      <a:pt x="64" y="2680"/>
                    </a:lnTo>
                    <a:lnTo>
                      <a:pt x="64" y="2680"/>
                    </a:lnTo>
                    <a:lnTo>
                      <a:pt x="66" y="2684"/>
                    </a:lnTo>
                    <a:lnTo>
                      <a:pt x="64" y="2688"/>
                    </a:lnTo>
                    <a:lnTo>
                      <a:pt x="60" y="2694"/>
                    </a:lnTo>
                    <a:lnTo>
                      <a:pt x="56" y="2708"/>
                    </a:lnTo>
                    <a:lnTo>
                      <a:pt x="56" y="2708"/>
                    </a:lnTo>
                    <a:lnTo>
                      <a:pt x="54" y="2716"/>
                    </a:lnTo>
                    <a:lnTo>
                      <a:pt x="50" y="2720"/>
                    </a:lnTo>
                    <a:lnTo>
                      <a:pt x="46" y="2724"/>
                    </a:lnTo>
                    <a:lnTo>
                      <a:pt x="44" y="2726"/>
                    </a:lnTo>
                    <a:lnTo>
                      <a:pt x="44" y="2730"/>
                    </a:lnTo>
                    <a:lnTo>
                      <a:pt x="44" y="2730"/>
                    </a:lnTo>
                    <a:lnTo>
                      <a:pt x="44" y="2734"/>
                    </a:lnTo>
                    <a:lnTo>
                      <a:pt x="44" y="2740"/>
                    </a:lnTo>
                    <a:lnTo>
                      <a:pt x="40" y="2750"/>
                    </a:lnTo>
                    <a:lnTo>
                      <a:pt x="38" y="2756"/>
                    </a:lnTo>
                    <a:lnTo>
                      <a:pt x="38" y="2760"/>
                    </a:lnTo>
                    <a:lnTo>
                      <a:pt x="40" y="2762"/>
                    </a:lnTo>
                    <a:lnTo>
                      <a:pt x="44" y="2764"/>
                    </a:lnTo>
                    <a:lnTo>
                      <a:pt x="44" y="2764"/>
                    </a:lnTo>
                    <a:lnTo>
                      <a:pt x="52" y="2764"/>
                    </a:lnTo>
                    <a:lnTo>
                      <a:pt x="52" y="2764"/>
                    </a:lnTo>
                    <a:lnTo>
                      <a:pt x="52" y="2764"/>
                    </a:lnTo>
                    <a:lnTo>
                      <a:pt x="50" y="2766"/>
                    </a:lnTo>
                    <a:lnTo>
                      <a:pt x="50" y="2770"/>
                    </a:lnTo>
                    <a:lnTo>
                      <a:pt x="50" y="2770"/>
                    </a:lnTo>
                    <a:lnTo>
                      <a:pt x="50" y="2772"/>
                    </a:lnTo>
                    <a:lnTo>
                      <a:pt x="50" y="2776"/>
                    </a:lnTo>
                    <a:lnTo>
                      <a:pt x="50" y="2778"/>
                    </a:lnTo>
                    <a:lnTo>
                      <a:pt x="52" y="2778"/>
                    </a:lnTo>
                    <a:lnTo>
                      <a:pt x="52" y="2778"/>
                    </a:lnTo>
                    <a:lnTo>
                      <a:pt x="58" y="2776"/>
                    </a:lnTo>
                    <a:lnTo>
                      <a:pt x="64" y="2778"/>
                    </a:lnTo>
                    <a:lnTo>
                      <a:pt x="66" y="2780"/>
                    </a:lnTo>
                    <a:lnTo>
                      <a:pt x="66" y="2782"/>
                    </a:lnTo>
                    <a:lnTo>
                      <a:pt x="68" y="2788"/>
                    </a:lnTo>
                    <a:lnTo>
                      <a:pt x="66" y="2794"/>
                    </a:lnTo>
                    <a:lnTo>
                      <a:pt x="66" y="2794"/>
                    </a:lnTo>
                    <a:lnTo>
                      <a:pt x="64" y="2804"/>
                    </a:lnTo>
                    <a:lnTo>
                      <a:pt x="66" y="2810"/>
                    </a:lnTo>
                    <a:lnTo>
                      <a:pt x="66" y="2820"/>
                    </a:lnTo>
                    <a:lnTo>
                      <a:pt x="62" y="2842"/>
                    </a:lnTo>
                    <a:lnTo>
                      <a:pt x="62" y="2842"/>
                    </a:lnTo>
                    <a:lnTo>
                      <a:pt x="60" y="2856"/>
                    </a:lnTo>
                    <a:lnTo>
                      <a:pt x="62" y="2856"/>
                    </a:lnTo>
                    <a:lnTo>
                      <a:pt x="64" y="2856"/>
                    </a:lnTo>
                    <a:lnTo>
                      <a:pt x="64" y="2856"/>
                    </a:lnTo>
                    <a:lnTo>
                      <a:pt x="68" y="2852"/>
                    </a:lnTo>
                    <a:lnTo>
                      <a:pt x="72" y="2850"/>
                    </a:lnTo>
                    <a:lnTo>
                      <a:pt x="80" y="2850"/>
                    </a:lnTo>
                    <a:lnTo>
                      <a:pt x="92" y="2854"/>
                    </a:lnTo>
                    <a:lnTo>
                      <a:pt x="92" y="2854"/>
                    </a:lnTo>
                    <a:lnTo>
                      <a:pt x="104" y="2858"/>
                    </a:lnTo>
                    <a:lnTo>
                      <a:pt x="110" y="2856"/>
                    </a:lnTo>
                    <a:lnTo>
                      <a:pt x="114" y="2852"/>
                    </a:lnTo>
                    <a:lnTo>
                      <a:pt x="124" y="2846"/>
                    </a:lnTo>
                    <a:lnTo>
                      <a:pt x="124" y="2846"/>
                    </a:lnTo>
                    <a:lnTo>
                      <a:pt x="130" y="2844"/>
                    </a:lnTo>
                    <a:lnTo>
                      <a:pt x="136" y="2844"/>
                    </a:lnTo>
                    <a:lnTo>
                      <a:pt x="142" y="2846"/>
                    </a:lnTo>
                    <a:lnTo>
                      <a:pt x="148" y="2850"/>
                    </a:lnTo>
                    <a:lnTo>
                      <a:pt x="158" y="2858"/>
                    </a:lnTo>
                    <a:lnTo>
                      <a:pt x="160" y="2862"/>
                    </a:lnTo>
                    <a:lnTo>
                      <a:pt x="162" y="2866"/>
                    </a:lnTo>
                    <a:lnTo>
                      <a:pt x="162" y="2866"/>
                    </a:lnTo>
                    <a:lnTo>
                      <a:pt x="162" y="2874"/>
                    </a:lnTo>
                    <a:lnTo>
                      <a:pt x="166" y="2882"/>
                    </a:lnTo>
                    <a:lnTo>
                      <a:pt x="174" y="2892"/>
                    </a:lnTo>
                    <a:lnTo>
                      <a:pt x="182" y="2902"/>
                    </a:lnTo>
                    <a:lnTo>
                      <a:pt x="182" y="2902"/>
                    </a:lnTo>
                    <a:lnTo>
                      <a:pt x="190" y="2908"/>
                    </a:lnTo>
                    <a:lnTo>
                      <a:pt x="196" y="2910"/>
                    </a:lnTo>
                    <a:lnTo>
                      <a:pt x="198" y="2910"/>
                    </a:lnTo>
                    <a:lnTo>
                      <a:pt x="202" y="2906"/>
                    </a:lnTo>
                    <a:lnTo>
                      <a:pt x="202" y="2906"/>
                    </a:lnTo>
                    <a:lnTo>
                      <a:pt x="206" y="2902"/>
                    </a:lnTo>
                    <a:lnTo>
                      <a:pt x="208" y="2898"/>
                    </a:lnTo>
                    <a:lnTo>
                      <a:pt x="212" y="2892"/>
                    </a:lnTo>
                    <a:lnTo>
                      <a:pt x="212" y="2892"/>
                    </a:lnTo>
                    <a:lnTo>
                      <a:pt x="214" y="2888"/>
                    </a:lnTo>
                    <a:lnTo>
                      <a:pt x="218" y="2886"/>
                    </a:lnTo>
                    <a:lnTo>
                      <a:pt x="228" y="2884"/>
                    </a:lnTo>
                    <a:lnTo>
                      <a:pt x="236" y="2884"/>
                    </a:lnTo>
                    <a:lnTo>
                      <a:pt x="238" y="2882"/>
                    </a:lnTo>
                    <a:lnTo>
                      <a:pt x="240" y="2880"/>
                    </a:lnTo>
                    <a:lnTo>
                      <a:pt x="240" y="2880"/>
                    </a:lnTo>
                    <a:lnTo>
                      <a:pt x="246" y="2874"/>
                    </a:lnTo>
                    <a:lnTo>
                      <a:pt x="254" y="2868"/>
                    </a:lnTo>
                    <a:lnTo>
                      <a:pt x="264" y="2868"/>
                    </a:lnTo>
                    <a:lnTo>
                      <a:pt x="270" y="2868"/>
                    </a:lnTo>
                    <a:lnTo>
                      <a:pt x="276" y="2870"/>
                    </a:lnTo>
                    <a:lnTo>
                      <a:pt x="276" y="2870"/>
                    </a:lnTo>
                    <a:lnTo>
                      <a:pt x="284" y="2872"/>
                    </a:lnTo>
                    <a:lnTo>
                      <a:pt x="292" y="2874"/>
                    </a:lnTo>
                    <a:lnTo>
                      <a:pt x="310" y="2870"/>
                    </a:lnTo>
                    <a:lnTo>
                      <a:pt x="322" y="2868"/>
                    </a:lnTo>
                    <a:lnTo>
                      <a:pt x="328" y="2866"/>
                    </a:lnTo>
                    <a:lnTo>
                      <a:pt x="332" y="2868"/>
                    </a:lnTo>
                    <a:lnTo>
                      <a:pt x="332" y="2868"/>
                    </a:lnTo>
                    <a:lnTo>
                      <a:pt x="336" y="2870"/>
                    </a:lnTo>
                    <a:lnTo>
                      <a:pt x="340" y="2866"/>
                    </a:lnTo>
                    <a:lnTo>
                      <a:pt x="346" y="2852"/>
                    </a:lnTo>
                    <a:lnTo>
                      <a:pt x="350" y="2844"/>
                    </a:lnTo>
                    <a:lnTo>
                      <a:pt x="356" y="2836"/>
                    </a:lnTo>
                    <a:lnTo>
                      <a:pt x="364" y="2830"/>
                    </a:lnTo>
                    <a:lnTo>
                      <a:pt x="374" y="2828"/>
                    </a:lnTo>
                    <a:lnTo>
                      <a:pt x="374" y="2828"/>
                    </a:lnTo>
                    <a:lnTo>
                      <a:pt x="390" y="2826"/>
                    </a:lnTo>
                    <a:lnTo>
                      <a:pt x="392" y="2824"/>
                    </a:lnTo>
                    <a:lnTo>
                      <a:pt x="390" y="2818"/>
                    </a:lnTo>
                    <a:lnTo>
                      <a:pt x="390" y="2818"/>
                    </a:lnTo>
                    <a:lnTo>
                      <a:pt x="392" y="2808"/>
                    </a:lnTo>
                    <a:lnTo>
                      <a:pt x="396" y="2798"/>
                    </a:lnTo>
                    <a:lnTo>
                      <a:pt x="402" y="2788"/>
                    </a:lnTo>
                    <a:lnTo>
                      <a:pt x="410" y="2780"/>
                    </a:lnTo>
                    <a:lnTo>
                      <a:pt x="424" y="2768"/>
                    </a:lnTo>
                    <a:lnTo>
                      <a:pt x="428" y="2764"/>
                    </a:lnTo>
                    <a:lnTo>
                      <a:pt x="430" y="2760"/>
                    </a:lnTo>
                    <a:lnTo>
                      <a:pt x="430" y="2760"/>
                    </a:lnTo>
                    <a:lnTo>
                      <a:pt x="428" y="2756"/>
                    </a:lnTo>
                    <a:lnTo>
                      <a:pt x="422" y="2752"/>
                    </a:lnTo>
                    <a:lnTo>
                      <a:pt x="416" y="2746"/>
                    </a:lnTo>
                    <a:lnTo>
                      <a:pt x="412" y="2740"/>
                    </a:lnTo>
                    <a:lnTo>
                      <a:pt x="410" y="2734"/>
                    </a:lnTo>
                    <a:lnTo>
                      <a:pt x="410" y="2734"/>
                    </a:lnTo>
                    <a:lnTo>
                      <a:pt x="410" y="2724"/>
                    </a:lnTo>
                    <a:lnTo>
                      <a:pt x="412" y="2714"/>
                    </a:lnTo>
                    <a:lnTo>
                      <a:pt x="418" y="2702"/>
                    </a:lnTo>
                    <a:lnTo>
                      <a:pt x="424" y="2690"/>
                    </a:lnTo>
                    <a:lnTo>
                      <a:pt x="438" y="2670"/>
                    </a:lnTo>
                    <a:lnTo>
                      <a:pt x="446" y="2664"/>
                    </a:lnTo>
                    <a:lnTo>
                      <a:pt x="450" y="2660"/>
                    </a:lnTo>
                    <a:lnTo>
                      <a:pt x="450" y="2660"/>
                    </a:lnTo>
                    <a:lnTo>
                      <a:pt x="460" y="2656"/>
                    </a:lnTo>
                    <a:lnTo>
                      <a:pt x="460" y="2654"/>
                    </a:lnTo>
                    <a:lnTo>
                      <a:pt x="460" y="2652"/>
                    </a:lnTo>
                    <a:lnTo>
                      <a:pt x="454" y="2648"/>
                    </a:lnTo>
                    <a:lnTo>
                      <a:pt x="454" y="2646"/>
                    </a:lnTo>
                    <a:lnTo>
                      <a:pt x="454" y="2642"/>
                    </a:lnTo>
                    <a:lnTo>
                      <a:pt x="454" y="2642"/>
                    </a:lnTo>
                    <a:lnTo>
                      <a:pt x="458" y="2638"/>
                    </a:lnTo>
                    <a:lnTo>
                      <a:pt x="466" y="2634"/>
                    </a:lnTo>
                    <a:lnTo>
                      <a:pt x="484" y="2628"/>
                    </a:lnTo>
                    <a:lnTo>
                      <a:pt x="502" y="2624"/>
                    </a:lnTo>
                    <a:lnTo>
                      <a:pt x="508" y="2620"/>
                    </a:lnTo>
                    <a:lnTo>
                      <a:pt x="510" y="2616"/>
                    </a:lnTo>
                    <a:lnTo>
                      <a:pt x="510" y="2616"/>
                    </a:lnTo>
                    <a:lnTo>
                      <a:pt x="514" y="2612"/>
                    </a:lnTo>
                    <a:lnTo>
                      <a:pt x="520" y="2608"/>
                    </a:lnTo>
                    <a:lnTo>
                      <a:pt x="536" y="2600"/>
                    </a:lnTo>
                    <a:lnTo>
                      <a:pt x="544" y="2596"/>
                    </a:lnTo>
                    <a:lnTo>
                      <a:pt x="550" y="2590"/>
                    </a:lnTo>
                    <a:lnTo>
                      <a:pt x="552" y="2584"/>
                    </a:lnTo>
                    <a:lnTo>
                      <a:pt x="552" y="2580"/>
                    </a:lnTo>
                    <a:lnTo>
                      <a:pt x="550" y="2576"/>
                    </a:lnTo>
                    <a:lnTo>
                      <a:pt x="550" y="2576"/>
                    </a:lnTo>
                    <a:lnTo>
                      <a:pt x="550" y="2572"/>
                    </a:lnTo>
                    <a:lnTo>
                      <a:pt x="550" y="2570"/>
                    </a:lnTo>
                    <a:lnTo>
                      <a:pt x="554" y="2566"/>
                    </a:lnTo>
                    <a:lnTo>
                      <a:pt x="556" y="2566"/>
                    </a:lnTo>
                    <a:lnTo>
                      <a:pt x="556" y="2562"/>
                    </a:lnTo>
                    <a:lnTo>
                      <a:pt x="554" y="2560"/>
                    </a:lnTo>
                    <a:lnTo>
                      <a:pt x="548" y="2554"/>
                    </a:lnTo>
                    <a:lnTo>
                      <a:pt x="548" y="2554"/>
                    </a:lnTo>
                    <a:lnTo>
                      <a:pt x="548" y="2542"/>
                    </a:lnTo>
                    <a:lnTo>
                      <a:pt x="548" y="2536"/>
                    </a:lnTo>
                    <a:lnTo>
                      <a:pt x="548" y="2532"/>
                    </a:lnTo>
                    <a:lnTo>
                      <a:pt x="548" y="2524"/>
                    </a:lnTo>
                    <a:lnTo>
                      <a:pt x="548" y="2524"/>
                    </a:lnTo>
                    <a:lnTo>
                      <a:pt x="548" y="2518"/>
                    </a:lnTo>
                    <a:lnTo>
                      <a:pt x="550" y="2514"/>
                    </a:lnTo>
                    <a:lnTo>
                      <a:pt x="556" y="2510"/>
                    </a:lnTo>
                    <a:lnTo>
                      <a:pt x="564" y="2508"/>
                    </a:lnTo>
                    <a:lnTo>
                      <a:pt x="572" y="2502"/>
                    </a:lnTo>
                    <a:lnTo>
                      <a:pt x="572" y="2502"/>
                    </a:lnTo>
                    <a:lnTo>
                      <a:pt x="584" y="2494"/>
                    </a:lnTo>
                    <a:lnTo>
                      <a:pt x="586" y="2494"/>
                    </a:lnTo>
                    <a:lnTo>
                      <a:pt x="588" y="2494"/>
                    </a:lnTo>
                    <a:lnTo>
                      <a:pt x="590" y="2498"/>
                    </a:lnTo>
                    <a:lnTo>
                      <a:pt x="592" y="2500"/>
                    </a:lnTo>
                    <a:lnTo>
                      <a:pt x="598" y="2502"/>
                    </a:lnTo>
                    <a:lnTo>
                      <a:pt x="598" y="2502"/>
                    </a:lnTo>
                    <a:lnTo>
                      <a:pt x="604" y="2502"/>
                    </a:lnTo>
                    <a:lnTo>
                      <a:pt x="608" y="2504"/>
                    </a:lnTo>
                    <a:lnTo>
                      <a:pt x="610" y="2506"/>
                    </a:lnTo>
                    <a:lnTo>
                      <a:pt x="616" y="2506"/>
                    </a:lnTo>
                    <a:lnTo>
                      <a:pt x="616" y="2506"/>
                    </a:lnTo>
                    <a:lnTo>
                      <a:pt x="626" y="2504"/>
                    </a:lnTo>
                    <a:lnTo>
                      <a:pt x="630" y="2504"/>
                    </a:lnTo>
                    <a:lnTo>
                      <a:pt x="634" y="2506"/>
                    </a:lnTo>
                    <a:lnTo>
                      <a:pt x="640" y="2512"/>
                    </a:lnTo>
                    <a:lnTo>
                      <a:pt x="640" y="2512"/>
                    </a:lnTo>
                    <a:lnTo>
                      <a:pt x="644" y="2516"/>
                    </a:lnTo>
                    <a:lnTo>
                      <a:pt x="646" y="2516"/>
                    </a:lnTo>
                    <a:lnTo>
                      <a:pt x="650" y="2514"/>
                    </a:lnTo>
                    <a:lnTo>
                      <a:pt x="654" y="2516"/>
                    </a:lnTo>
                    <a:lnTo>
                      <a:pt x="656" y="2518"/>
                    </a:lnTo>
                    <a:lnTo>
                      <a:pt x="656" y="2518"/>
                    </a:lnTo>
                    <a:lnTo>
                      <a:pt x="660" y="2520"/>
                    </a:lnTo>
                    <a:lnTo>
                      <a:pt x="664" y="2520"/>
                    </a:lnTo>
                    <a:lnTo>
                      <a:pt x="678" y="2518"/>
                    </a:lnTo>
                    <a:lnTo>
                      <a:pt x="690" y="2512"/>
                    </a:lnTo>
                    <a:lnTo>
                      <a:pt x="692" y="2508"/>
                    </a:lnTo>
                    <a:lnTo>
                      <a:pt x="694" y="2506"/>
                    </a:lnTo>
                    <a:lnTo>
                      <a:pt x="694" y="2506"/>
                    </a:lnTo>
                    <a:lnTo>
                      <a:pt x="694" y="2502"/>
                    </a:lnTo>
                    <a:lnTo>
                      <a:pt x="696" y="2500"/>
                    </a:lnTo>
                    <a:lnTo>
                      <a:pt x="704" y="2494"/>
                    </a:lnTo>
                    <a:lnTo>
                      <a:pt x="726" y="2482"/>
                    </a:lnTo>
                    <a:lnTo>
                      <a:pt x="726" y="2482"/>
                    </a:lnTo>
                    <a:lnTo>
                      <a:pt x="738" y="2476"/>
                    </a:lnTo>
                    <a:lnTo>
                      <a:pt x="748" y="2472"/>
                    </a:lnTo>
                    <a:lnTo>
                      <a:pt x="754" y="2466"/>
                    </a:lnTo>
                    <a:lnTo>
                      <a:pt x="758" y="2462"/>
                    </a:lnTo>
                    <a:lnTo>
                      <a:pt x="762" y="2452"/>
                    </a:lnTo>
                    <a:lnTo>
                      <a:pt x="766" y="2448"/>
                    </a:lnTo>
                    <a:lnTo>
                      <a:pt x="774" y="2444"/>
                    </a:lnTo>
                    <a:lnTo>
                      <a:pt x="774" y="2444"/>
                    </a:lnTo>
                    <a:lnTo>
                      <a:pt x="780" y="2444"/>
                    </a:lnTo>
                    <a:lnTo>
                      <a:pt x="786" y="2444"/>
                    </a:lnTo>
                    <a:lnTo>
                      <a:pt x="792" y="2448"/>
                    </a:lnTo>
                    <a:lnTo>
                      <a:pt x="798" y="2454"/>
                    </a:lnTo>
                    <a:lnTo>
                      <a:pt x="808" y="2462"/>
                    </a:lnTo>
                    <a:lnTo>
                      <a:pt x="814" y="2466"/>
                    </a:lnTo>
                    <a:lnTo>
                      <a:pt x="820" y="2466"/>
                    </a:lnTo>
                    <a:lnTo>
                      <a:pt x="820" y="2466"/>
                    </a:lnTo>
                    <a:lnTo>
                      <a:pt x="826" y="2466"/>
                    </a:lnTo>
                    <a:lnTo>
                      <a:pt x="830" y="2468"/>
                    </a:lnTo>
                    <a:lnTo>
                      <a:pt x="832" y="2474"/>
                    </a:lnTo>
                    <a:lnTo>
                      <a:pt x="834" y="2480"/>
                    </a:lnTo>
                    <a:lnTo>
                      <a:pt x="836" y="2494"/>
                    </a:lnTo>
                    <a:lnTo>
                      <a:pt x="838" y="2500"/>
                    </a:lnTo>
                    <a:lnTo>
                      <a:pt x="842" y="2504"/>
                    </a:lnTo>
                    <a:lnTo>
                      <a:pt x="842" y="2504"/>
                    </a:lnTo>
                    <a:lnTo>
                      <a:pt x="844" y="2508"/>
                    </a:lnTo>
                    <a:lnTo>
                      <a:pt x="846" y="2512"/>
                    </a:lnTo>
                    <a:lnTo>
                      <a:pt x="846" y="2518"/>
                    </a:lnTo>
                    <a:lnTo>
                      <a:pt x="846" y="2522"/>
                    </a:lnTo>
                    <a:lnTo>
                      <a:pt x="846" y="2526"/>
                    </a:lnTo>
                    <a:lnTo>
                      <a:pt x="848" y="2530"/>
                    </a:lnTo>
                    <a:lnTo>
                      <a:pt x="854" y="2536"/>
                    </a:lnTo>
                    <a:lnTo>
                      <a:pt x="854" y="2536"/>
                    </a:lnTo>
                    <a:lnTo>
                      <a:pt x="870" y="2546"/>
                    </a:lnTo>
                    <a:lnTo>
                      <a:pt x="872" y="2550"/>
                    </a:lnTo>
                    <a:lnTo>
                      <a:pt x="872" y="2556"/>
                    </a:lnTo>
                    <a:lnTo>
                      <a:pt x="872" y="2556"/>
                    </a:lnTo>
                    <a:lnTo>
                      <a:pt x="872" y="2560"/>
                    </a:lnTo>
                    <a:lnTo>
                      <a:pt x="874" y="2562"/>
                    </a:lnTo>
                    <a:lnTo>
                      <a:pt x="882" y="2564"/>
                    </a:lnTo>
                    <a:lnTo>
                      <a:pt x="890" y="2566"/>
                    </a:lnTo>
                    <a:lnTo>
                      <a:pt x="894" y="2570"/>
                    </a:lnTo>
                    <a:lnTo>
                      <a:pt x="898" y="2576"/>
                    </a:lnTo>
                    <a:lnTo>
                      <a:pt x="898" y="2576"/>
                    </a:lnTo>
                    <a:lnTo>
                      <a:pt x="902" y="2584"/>
                    </a:lnTo>
                    <a:lnTo>
                      <a:pt x="906" y="2586"/>
                    </a:lnTo>
                    <a:lnTo>
                      <a:pt x="910" y="2588"/>
                    </a:lnTo>
                    <a:lnTo>
                      <a:pt x="920" y="2598"/>
                    </a:lnTo>
                    <a:lnTo>
                      <a:pt x="920" y="2598"/>
                    </a:lnTo>
                    <a:lnTo>
                      <a:pt x="932" y="2612"/>
                    </a:lnTo>
                    <a:lnTo>
                      <a:pt x="944" y="2620"/>
                    </a:lnTo>
                    <a:lnTo>
                      <a:pt x="956" y="2624"/>
                    </a:lnTo>
                    <a:lnTo>
                      <a:pt x="970" y="2624"/>
                    </a:lnTo>
                    <a:lnTo>
                      <a:pt x="970" y="2624"/>
                    </a:lnTo>
                    <a:lnTo>
                      <a:pt x="974" y="2626"/>
                    </a:lnTo>
                    <a:lnTo>
                      <a:pt x="978" y="2628"/>
                    </a:lnTo>
                    <a:lnTo>
                      <a:pt x="982" y="2638"/>
                    </a:lnTo>
                    <a:lnTo>
                      <a:pt x="988" y="2646"/>
                    </a:lnTo>
                    <a:lnTo>
                      <a:pt x="990" y="2650"/>
                    </a:lnTo>
                    <a:lnTo>
                      <a:pt x="996" y="2650"/>
                    </a:lnTo>
                    <a:lnTo>
                      <a:pt x="996" y="2650"/>
                    </a:lnTo>
                    <a:lnTo>
                      <a:pt x="1002" y="2650"/>
                    </a:lnTo>
                    <a:lnTo>
                      <a:pt x="1004" y="2650"/>
                    </a:lnTo>
                    <a:lnTo>
                      <a:pt x="1004" y="2656"/>
                    </a:lnTo>
                    <a:lnTo>
                      <a:pt x="1002" y="2658"/>
                    </a:lnTo>
                    <a:lnTo>
                      <a:pt x="1004" y="2658"/>
                    </a:lnTo>
                    <a:lnTo>
                      <a:pt x="1006" y="2660"/>
                    </a:lnTo>
                    <a:lnTo>
                      <a:pt x="1012" y="2658"/>
                    </a:lnTo>
                    <a:lnTo>
                      <a:pt x="1012" y="2658"/>
                    </a:lnTo>
                    <a:lnTo>
                      <a:pt x="1018" y="2658"/>
                    </a:lnTo>
                    <a:lnTo>
                      <a:pt x="1020" y="2660"/>
                    </a:lnTo>
                    <a:lnTo>
                      <a:pt x="1022" y="2662"/>
                    </a:lnTo>
                    <a:lnTo>
                      <a:pt x="1022" y="2666"/>
                    </a:lnTo>
                    <a:lnTo>
                      <a:pt x="1022" y="2674"/>
                    </a:lnTo>
                    <a:lnTo>
                      <a:pt x="1024" y="2680"/>
                    </a:lnTo>
                    <a:lnTo>
                      <a:pt x="1030" y="2684"/>
                    </a:lnTo>
                    <a:lnTo>
                      <a:pt x="1030" y="2684"/>
                    </a:lnTo>
                    <a:lnTo>
                      <a:pt x="1040" y="2690"/>
                    </a:lnTo>
                    <a:lnTo>
                      <a:pt x="1050" y="2694"/>
                    </a:lnTo>
                    <a:lnTo>
                      <a:pt x="1054" y="2698"/>
                    </a:lnTo>
                    <a:lnTo>
                      <a:pt x="1058" y="2702"/>
                    </a:lnTo>
                    <a:lnTo>
                      <a:pt x="1062" y="2710"/>
                    </a:lnTo>
                    <a:lnTo>
                      <a:pt x="1066" y="2720"/>
                    </a:lnTo>
                    <a:lnTo>
                      <a:pt x="1066" y="2720"/>
                    </a:lnTo>
                    <a:lnTo>
                      <a:pt x="1070" y="2740"/>
                    </a:lnTo>
                    <a:lnTo>
                      <a:pt x="1072" y="2752"/>
                    </a:lnTo>
                    <a:lnTo>
                      <a:pt x="1072" y="2758"/>
                    </a:lnTo>
                    <a:lnTo>
                      <a:pt x="1066" y="2762"/>
                    </a:lnTo>
                    <a:lnTo>
                      <a:pt x="1066" y="2762"/>
                    </a:lnTo>
                    <a:lnTo>
                      <a:pt x="1064" y="2768"/>
                    </a:lnTo>
                    <a:lnTo>
                      <a:pt x="1064" y="2772"/>
                    </a:lnTo>
                    <a:lnTo>
                      <a:pt x="1062" y="2776"/>
                    </a:lnTo>
                    <a:lnTo>
                      <a:pt x="1060" y="2784"/>
                    </a:lnTo>
                    <a:lnTo>
                      <a:pt x="1060" y="2784"/>
                    </a:lnTo>
                    <a:lnTo>
                      <a:pt x="1054" y="2790"/>
                    </a:lnTo>
                    <a:lnTo>
                      <a:pt x="1052" y="2796"/>
                    </a:lnTo>
                    <a:lnTo>
                      <a:pt x="1054" y="2802"/>
                    </a:lnTo>
                    <a:lnTo>
                      <a:pt x="1058" y="2806"/>
                    </a:lnTo>
                    <a:lnTo>
                      <a:pt x="1058" y="2806"/>
                    </a:lnTo>
                    <a:lnTo>
                      <a:pt x="1064" y="2808"/>
                    </a:lnTo>
                    <a:lnTo>
                      <a:pt x="1068" y="2808"/>
                    </a:lnTo>
                    <a:lnTo>
                      <a:pt x="1070" y="2806"/>
                    </a:lnTo>
                    <a:lnTo>
                      <a:pt x="1072" y="2804"/>
                    </a:lnTo>
                    <a:lnTo>
                      <a:pt x="1076" y="2794"/>
                    </a:lnTo>
                    <a:lnTo>
                      <a:pt x="1084" y="2784"/>
                    </a:lnTo>
                    <a:lnTo>
                      <a:pt x="1084" y="2784"/>
                    </a:lnTo>
                    <a:lnTo>
                      <a:pt x="1088" y="2780"/>
                    </a:lnTo>
                    <a:lnTo>
                      <a:pt x="1090" y="2776"/>
                    </a:lnTo>
                    <a:lnTo>
                      <a:pt x="1092" y="2768"/>
                    </a:lnTo>
                    <a:lnTo>
                      <a:pt x="1096" y="2760"/>
                    </a:lnTo>
                    <a:lnTo>
                      <a:pt x="1098" y="2756"/>
                    </a:lnTo>
                    <a:lnTo>
                      <a:pt x="1104" y="2752"/>
                    </a:lnTo>
                    <a:lnTo>
                      <a:pt x="1104" y="2752"/>
                    </a:lnTo>
                    <a:lnTo>
                      <a:pt x="1110" y="2748"/>
                    </a:lnTo>
                    <a:lnTo>
                      <a:pt x="1114" y="2742"/>
                    </a:lnTo>
                    <a:lnTo>
                      <a:pt x="1116" y="2738"/>
                    </a:lnTo>
                    <a:lnTo>
                      <a:pt x="1114" y="2732"/>
                    </a:lnTo>
                    <a:lnTo>
                      <a:pt x="1112" y="2726"/>
                    </a:lnTo>
                    <a:lnTo>
                      <a:pt x="1108" y="2722"/>
                    </a:lnTo>
                    <a:lnTo>
                      <a:pt x="1104" y="2718"/>
                    </a:lnTo>
                    <a:lnTo>
                      <a:pt x="1098" y="2716"/>
                    </a:lnTo>
                    <a:lnTo>
                      <a:pt x="1098" y="2716"/>
                    </a:lnTo>
                    <a:lnTo>
                      <a:pt x="1090" y="2712"/>
                    </a:lnTo>
                    <a:lnTo>
                      <a:pt x="1086" y="2708"/>
                    </a:lnTo>
                    <a:lnTo>
                      <a:pt x="1086" y="2704"/>
                    </a:lnTo>
                    <a:lnTo>
                      <a:pt x="1090" y="2698"/>
                    </a:lnTo>
                    <a:lnTo>
                      <a:pt x="1090" y="2698"/>
                    </a:lnTo>
                    <a:lnTo>
                      <a:pt x="1092" y="2692"/>
                    </a:lnTo>
                    <a:lnTo>
                      <a:pt x="1094" y="2684"/>
                    </a:lnTo>
                    <a:lnTo>
                      <a:pt x="1096" y="2676"/>
                    </a:lnTo>
                    <a:lnTo>
                      <a:pt x="1100" y="2672"/>
                    </a:lnTo>
                    <a:lnTo>
                      <a:pt x="1104" y="2670"/>
                    </a:lnTo>
                    <a:lnTo>
                      <a:pt x="1104" y="2670"/>
                    </a:lnTo>
                    <a:lnTo>
                      <a:pt x="1112" y="2666"/>
                    </a:lnTo>
                    <a:lnTo>
                      <a:pt x="1116" y="2668"/>
                    </a:lnTo>
                    <a:lnTo>
                      <a:pt x="1124" y="2670"/>
                    </a:lnTo>
                    <a:lnTo>
                      <a:pt x="1134" y="2672"/>
                    </a:lnTo>
                    <a:lnTo>
                      <a:pt x="1134" y="2672"/>
                    </a:lnTo>
                    <a:lnTo>
                      <a:pt x="1140" y="2674"/>
                    </a:lnTo>
                    <a:lnTo>
                      <a:pt x="1144" y="2678"/>
                    </a:lnTo>
                    <a:lnTo>
                      <a:pt x="1148" y="2688"/>
                    </a:lnTo>
                    <a:lnTo>
                      <a:pt x="1150" y="2696"/>
                    </a:lnTo>
                    <a:lnTo>
                      <a:pt x="1154" y="2700"/>
                    </a:lnTo>
                    <a:lnTo>
                      <a:pt x="1158" y="2702"/>
                    </a:lnTo>
                    <a:lnTo>
                      <a:pt x="1158" y="2702"/>
                    </a:lnTo>
                    <a:lnTo>
                      <a:pt x="1166" y="2702"/>
                    </a:lnTo>
                    <a:lnTo>
                      <a:pt x="1166" y="2702"/>
                    </a:lnTo>
                    <a:lnTo>
                      <a:pt x="1166" y="2700"/>
                    </a:lnTo>
                    <a:lnTo>
                      <a:pt x="1166" y="2696"/>
                    </a:lnTo>
                    <a:lnTo>
                      <a:pt x="1168" y="2688"/>
                    </a:lnTo>
                    <a:lnTo>
                      <a:pt x="1168" y="2688"/>
                    </a:lnTo>
                    <a:lnTo>
                      <a:pt x="1168" y="2684"/>
                    </a:lnTo>
                    <a:lnTo>
                      <a:pt x="1168" y="2678"/>
                    </a:lnTo>
                    <a:lnTo>
                      <a:pt x="1166" y="2674"/>
                    </a:lnTo>
                    <a:lnTo>
                      <a:pt x="1162" y="2670"/>
                    </a:lnTo>
                    <a:lnTo>
                      <a:pt x="1152" y="2662"/>
                    </a:lnTo>
                    <a:lnTo>
                      <a:pt x="1142" y="2654"/>
                    </a:lnTo>
                    <a:lnTo>
                      <a:pt x="1142" y="2654"/>
                    </a:lnTo>
                    <a:lnTo>
                      <a:pt x="1126" y="2646"/>
                    </a:lnTo>
                    <a:lnTo>
                      <a:pt x="1120" y="2642"/>
                    </a:lnTo>
                    <a:lnTo>
                      <a:pt x="1114" y="2636"/>
                    </a:lnTo>
                    <a:lnTo>
                      <a:pt x="1114" y="2636"/>
                    </a:lnTo>
                    <a:lnTo>
                      <a:pt x="1110" y="2632"/>
                    </a:lnTo>
                    <a:lnTo>
                      <a:pt x="1102" y="2628"/>
                    </a:lnTo>
                    <a:lnTo>
                      <a:pt x="1082" y="2620"/>
                    </a:lnTo>
                    <a:lnTo>
                      <a:pt x="1074" y="2616"/>
                    </a:lnTo>
                    <a:lnTo>
                      <a:pt x="1068" y="2610"/>
                    </a:lnTo>
                    <a:lnTo>
                      <a:pt x="1066" y="2606"/>
                    </a:lnTo>
                    <a:lnTo>
                      <a:pt x="1066" y="2602"/>
                    </a:lnTo>
                    <a:lnTo>
                      <a:pt x="1070" y="2600"/>
                    </a:lnTo>
                    <a:lnTo>
                      <a:pt x="1070" y="2600"/>
                    </a:lnTo>
                    <a:lnTo>
                      <a:pt x="1074" y="2594"/>
                    </a:lnTo>
                    <a:lnTo>
                      <a:pt x="1076" y="2592"/>
                    </a:lnTo>
                    <a:lnTo>
                      <a:pt x="1074" y="2590"/>
                    </a:lnTo>
                    <a:lnTo>
                      <a:pt x="1068" y="2588"/>
                    </a:lnTo>
                    <a:lnTo>
                      <a:pt x="1060" y="2586"/>
                    </a:lnTo>
                    <a:lnTo>
                      <a:pt x="1036" y="2584"/>
                    </a:lnTo>
                    <a:lnTo>
                      <a:pt x="1026" y="2580"/>
                    </a:lnTo>
                    <a:lnTo>
                      <a:pt x="1016" y="2576"/>
                    </a:lnTo>
                    <a:lnTo>
                      <a:pt x="1016" y="2576"/>
                    </a:lnTo>
                    <a:lnTo>
                      <a:pt x="1002" y="2560"/>
                    </a:lnTo>
                    <a:lnTo>
                      <a:pt x="990" y="2544"/>
                    </a:lnTo>
                    <a:lnTo>
                      <a:pt x="984" y="2530"/>
                    </a:lnTo>
                    <a:lnTo>
                      <a:pt x="978" y="2518"/>
                    </a:lnTo>
                    <a:lnTo>
                      <a:pt x="974" y="2498"/>
                    </a:lnTo>
                    <a:lnTo>
                      <a:pt x="970" y="2492"/>
                    </a:lnTo>
                    <a:lnTo>
                      <a:pt x="966" y="2490"/>
                    </a:lnTo>
                    <a:lnTo>
                      <a:pt x="966" y="2490"/>
                    </a:lnTo>
                    <a:lnTo>
                      <a:pt x="958" y="2488"/>
                    </a:lnTo>
                    <a:lnTo>
                      <a:pt x="950" y="2484"/>
                    </a:lnTo>
                    <a:lnTo>
                      <a:pt x="944" y="2476"/>
                    </a:lnTo>
                    <a:lnTo>
                      <a:pt x="934" y="2468"/>
                    </a:lnTo>
                    <a:lnTo>
                      <a:pt x="934" y="2468"/>
                    </a:lnTo>
                    <a:lnTo>
                      <a:pt x="928" y="2462"/>
                    </a:lnTo>
                    <a:lnTo>
                      <a:pt x="922" y="2456"/>
                    </a:lnTo>
                    <a:lnTo>
                      <a:pt x="920" y="2448"/>
                    </a:lnTo>
                    <a:lnTo>
                      <a:pt x="918" y="2442"/>
                    </a:lnTo>
                    <a:lnTo>
                      <a:pt x="916" y="2434"/>
                    </a:lnTo>
                    <a:lnTo>
                      <a:pt x="918" y="2428"/>
                    </a:lnTo>
                    <a:lnTo>
                      <a:pt x="920" y="2424"/>
                    </a:lnTo>
                    <a:lnTo>
                      <a:pt x="922" y="2422"/>
                    </a:lnTo>
                    <a:lnTo>
                      <a:pt x="922" y="2422"/>
                    </a:lnTo>
                    <a:lnTo>
                      <a:pt x="926" y="2420"/>
                    </a:lnTo>
                    <a:lnTo>
                      <a:pt x="928" y="2418"/>
                    </a:lnTo>
                    <a:lnTo>
                      <a:pt x="926" y="2414"/>
                    </a:lnTo>
                    <a:lnTo>
                      <a:pt x="918" y="2400"/>
                    </a:lnTo>
                    <a:lnTo>
                      <a:pt x="918" y="2400"/>
                    </a:lnTo>
                    <a:lnTo>
                      <a:pt x="914" y="2394"/>
                    </a:lnTo>
                    <a:lnTo>
                      <a:pt x="916" y="2388"/>
                    </a:lnTo>
                    <a:lnTo>
                      <a:pt x="920" y="2384"/>
                    </a:lnTo>
                    <a:lnTo>
                      <a:pt x="924" y="2386"/>
                    </a:lnTo>
                    <a:lnTo>
                      <a:pt x="924" y="2386"/>
                    </a:lnTo>
                    <a:lnTo>
                      <a:pt x="926" y="2388"/>
                    </a:lnTo>
                    <a:lnTo>
                      <a:pt x="930" y="2388"/>
                    </a:lnTo>
                    <a:lnTo>
                      <a:pt x="934" y="2384"/>
                    </a:lnTo>
                    <a:lnTo>
                      <a:pt x="940" y="2378"/>
                    </a:lnTo>
                    <a:lnTo>
                      <a:pt x="950" y="2372"/>
                    </a:lnTo>
                    <a:lnTo>
                      <a:pt x="950" y="2372"/>
                    </a:lnTo>
                    <a:lnTo>
                      <a:pt x="956" y="2370"/>
                    </a:lnTo>
                    <a:lnTo>
                      <a:pt x="958" y="2372"/>
                    </a:lnTo>
                    <a:lnTo>
                      <a:pt x="960" y="2374"/>
                    </a:lnTo>
                    <a:lnTo>
                      <a:pt x="966" y="2374"/>
                    </a:lnTo>
                    <a:lnTo>
                      <a:pt x="966" y="2374"/>
                    </a:lnTo>
                    <a:lnTo>
                      <a:pt x="972" y="2372"/>
                    </a:lnTo>
                    <a:lnTo>
                      <a:pt x="974" y="2374"/>
                    </a:lnTo>
                    <a:lnTo>
                      <a:pt x="974" y="2378"/>
                    </a:lnTo>
                    <a:lnTo>
                      <a:pt x="974" y="2378"/>
                    </a:lnTo>
                    <a:lnTo>
                      <a:pt x="974" y="2380"/>
                    </a:lnTo>
                    <a:lnTo>
                      <a:pt x="972" y="2382"/>
                    </a:lnTo>
                    <a:lnTo>
                      <a:pt x="970" y="2382"/>
                    </a:lnTo>
                    <a:lnTo>
                      <a:pt x="968" y="2384"/>
                    </a:lnTo>
                    <a:lnTo>
                      <a:pt x="968" y="2384"/>
                    </a:lnTo>
                    <a:lnTo>
                      <a:pt x="968" y="2386"/>
                    </a:lnTo>
                    <a:lnTo>
                      <a:pt x="968" y="2386"/>
                    </a:lnTo>
                    <a:lnTo>
                      <a:pt x="970" y="2398"/>
                    </a:lnTo>
                    <a:lnTo>
                      <a:pt x="976" y="2414"/>
                    </a:lnTo>
                    <a:lnTo>
                      <a:pt x="982" y="2426"/>
                    </a:lnTo>
                    <a:lnTo>
                      <a:pt x="986" y="2428"/>
                    </a:lnTo>
                    <a:lnTo>
                      <a:pt x="988" y="2424"/>
                    </a:lnTo>
                    <a:lnTo>
                      <a:pt x="988" y="2424"/>
                    </a:lnTo>
                    <a:lnTo>
                      <a:pt x="994" y="2402"/>
                    </a:lnTo>
                    <a:lnTo>
                      <a:pt x="996" y="2398"/>
                    </a:lnTo>
                    <a:lnTo>
                      <a:pt x="1000" y="2394"/>
                    </a:lnTo>
                    <a:lnTo>
                      <a:pt x="1004" y="2394"/>
                    </a:lnTo>
                    <a:lnTo>
                      <a:pt x="1008" y="2398"/>
                    </a:lnTo>
                    <a:lnTo>
                      <a:pt x="1008" y="2398"/>
                    </a:lnTo>
                    <a:lnTo>
                      <a:pt x="1016" y="2404"/>
                    </a:lnTo>
                    <a:lnTo>
                      <a:pt x="1020" y="2410"/>
                    </a:lnTo>
                    <a:lnTo>
                      <a:pt x="1022" y="2414"/>
                    </a:lnTo>
                    <a:lnTo>
                      <a:pt x="1022" y="2420"/>
                    </a:lnTo>
                    <a:lnTo>
                      <a:pt x="1024" y="2428"/>
                    </a:lnTo>
                    <a:lnTo>
                      <a:pt x="1026" y="2434"/>
                    </a:lnTo>
                    <a:lnTo>
                      <a:pt x="1030" y="2440"/>
                    </a:lnTo>
                    <a:lnTo>
                      <a:pt x="1030" y="2440"/>
                    </a:lnTo>
                    <a:lnTo>
                      <a:pt x="1034" y="2446"/>
                    </a:lnTo>
                    <a:lnTo>
                      <a:pt x="1036" y="2450"/>
                    </a:lnTo>
                    <a:lnTo>
                      <a:pt x="1036" y="2452"/>
                    </a:lnTo>
                    <a:lnTo>
                      <a:pt x="1034" y="2454"/>
                    </a:lnTo>
                    <a:lnTo>
                      <a:pt x="1034" y="2456"/>
                    </a:lnTo>
                    <a:lnTo>
                      <a:pt x="1034" y="2460"/>
                    </a:lnTo>
                    <a:lnTo>
                      <a:pt x="1038" y="2464"/>
                    </a:lnTo>
                    <a:lnTo>
                      <a:pt x="1046" y="2472"/>
                    </a:lnTo>
                    <a:lnTo>
                      <a:pt x="1046" y="2472"/>
                    </a:lnTo>
                    <a:lnTo>
                      <a:pt x="1056" y="2480"/>
                    </a:lnTo>
                    <a:lnTo>
                      <a:pt x="1062" y="2486"/>
                    </a:lnTo>
                    <a:lnTo>
                      <a:pt x="1066" y="2494"/>
                    </a:lnTo>
                    <a:lnTo>
                      <a:pt x="1066" y="2496"/>
                    </a:lnTo>
                    <a:lnTo>
                      <a:pt x="1068" y="2496"/>
                    </a:lnTo>
                    <a:lnTo>
                      <a:pt x="1076" y="2496"/>
                    </a:lnTo>
                    <a:lnTo>
                      <a:pt x="1076" y="2496"/>
                    </a:lnTo>
                    <a:lnTo>
                      <a:pt x="1084" y="2496"/>
                    </a:lnTo>
                    <a:lnTo>
                      <a:pt x="1090" y="2498"/>
                    </a:lnTo>
                    <a:lnTo>
                      <a:pt x="1102" y="2504"/>
                    </a:lnTo>
                    <a:lnTo>
                      <a:pt x="1114" y="2516"/>
                    </a:lnTo>
                    <a:lnTo>
                      <a:pt x="1128" y="2528"/>
                    </a:lnTo>
                    <a:lnTo>
                      <a:pt x="1128" y="2528"/>
                    </a:lnTo>
                    <a:lnTo>
                      <a:pt x="1114" y="2524"/>
                    </a:lnTo>
                    <a:lnTo>
                      <a:pt x="1110" y="2524"/>
                    </a:lnTo>
                    <a:lnTo>
                      <a:pt x="1110" y="2526"/>
                    </a:lnTo>
                    <a:lnTo>
                      <a:pt x="1116" y="2530"/>
                    </a:lnTo>
                    <a:lnTo>
                      <a:pt x="1134" y="2536"/>
                    </a:lnTo>
                    <a:lnTo>
                      <a:pt x="1134" y="2536"/>
                    </a:lnTo>
                    <a:lnTo>
                      <a:pt x="1144" y="2540"/>
                    </a:lnTo>
                    <a:lnTo>
                      <a:pt x="1152" y="2544"/>
                    </a:lnTo>
                    <a:lnTo>
                      <a:pt x="1160" y="2552"/>
                    </a:lnTo>
                    <a:lnTo>
                      <a:pt x="1162" y="2558"/>
                    </a:lnTo>
                    <a:lnTo>
                      <a:pt x="1164" y="2560"/>
                    </a:lnTo>
                    <a:lnTo>
                      <a:pt x="1166" y="2560"/>
                    </a:lnTo>
                    <a:lnTo>
                      <a:pt x="1166" y="2560"/>
                    </a:lnTo>
                    <a:lnTo>
                      <a:pt x="1174" y="2560"/>
                    </a:lnTo>
                    <a:lnTo>
                      <a:pt x="1176" y="2562"/>
                    </a:lnTo>
                    <a:lnTo>
                      <a:pt x="1176" y="2562"/>
                    </a:lnTo>
                    <a:lnTo>
                      <a:pt x="1184" y="2566"/>
                    </a:lnTo>
                    <a:lnTo>
                      <a:pt x="1188" y="2568"/>
                    </a:lnTo>
                    <a:lnTo>
                      <a:pt x="1190" y="2574"/>
                    </a:lnTo>
                    <a:lnTo>
                      <a:pt x="1190" y="2574"/>
                    </a:lnTo>
                    <a:lnTo>
                      <a:pt x="1190" y="2582"/>
                    </a:lnTo>
                    <a:lnTo>
                      <a:pt x="1192" y="2584"/>
                    </a:lnTo>
                    <a:lnTo>
                      <a:pt x="1196" y="2586"/>
                    </a:lnTo>
                    <a:lnTo>
                      <a:pt x="1204" y="2588"/>
                    </a:lnTo>
                    <a:lnTo>
                      <a:pt x="1204" y="2588"/>
                    </a:lnTo>
                    <a:lnTo>
                      <a:pt x="1208" y="2590"/>
                    </a:lnTo>
                    <a:lnTo>
                      <a:pt x="1208" y="2596"/>
                    </a:lnTo>
                    <a:lnTo>
                      <a:pt x="1208" y="2610"/>
                    </a:lnTo>
                    <a:lnTo>
                      <a:pt x="1206" y="2626"/>
                    </a:lnTo>
                    <a:lnTo>
                      <a:pt x="1206" y="2632"/>
                    </a:lnTo>
                    <a:lnTo>
                      <a:pt x="1206" y="2636"/>
                    </a:lnTo>
                    <a:lnTo>
                      <a:pt x="1206" y="2636"/>
                    </a:lnTo>
                    <a:lnTo>
                      <a:pt x="1206" y="2638"/>
                    </a:lnTo>
                    <a:lnTo>
                      <a:pt x="1206" y="2640"/>
                    </a:lnTo>
                    <a:lnTo>
                      <a:pt x="1204" y="2646"/>
                    </a:lnTo>
                    <a:lnTo>
                      <a:pt x="1200" y="2652"/>
                    </a:lnTo>
                    <a:lnTo>
                      <a:pt x="1200" y="2656"/>
                    </a:lnTo>
                    <a:lnTo>
                      <a:pt x="1202" y="2662"/>
                    </a:lnTo>
                    <a:lnTo>
                      <a:pt x="1202" y="2662"/>
                    </a:lnTo>
                    <a:lnTo>
                      <a:pt x="1202" y="2666"/>
                    </a:lnTo>
                    <a:lnTo>
                      <a:pt x="1202" y="2670"/>
                    </a:lnTo>
                    <a:lnTo>
                      <a:pt x="1202" y="2672"/>
                    </a:lnTo>
                    <a:lnTo>
                      <a:pt x="1200" y="2674"/>
                    </a:lnTo>
                    <a:lnTo>
                      <a:pt x="1202" y="2674"/>
                    </a:lnTo>
                    <a:lnTo>
                      <a:pt x="1208" y="2680"/>
                    </a:lnTo>
                    <a:lnTo>
                      <a:pt x="1208" y="2680"/>
                    </a:lnTo>
                    <a:lnTo>
                      <a:pt x="1216" y="2686"/>
                    </a:lnTo>
                    <a:lnTo>
                      <a:pt x="1222" y="2690"/>
                    </a:lnTo>
                    <a:lnTo>
                      <a:pt x="1224" y="2696"/>
                    </a:lnTo>
                    <a:lnTo>
                      <a:pt x="1224" y="2700"/>
                    </a:lnTo>
                    <a:lnTo>
                      <a:pt x="1226" y="2706"/>
                    </a:lnTo>
                    <a:lnTo>
                      <a:pt x="1228" y="2708"/>
                    </a:lnTo>
                    <a:lnTo>
                      <a:pt x="1230" y="2710"/>
                    </a:lnTo>
                    <a:lnTo>
                      <a:pt x="1230" y="2710"/>
                    </a:lnTo>
                    <a:lnTo>
                      <a:pt x="1240" y="2726"/>
                    </a:lnTo>
                    <a:lnTo>
                      <a:pt x="1246" y="2736"/>
                    </a:lnTo>
                    <a:lnTo>
                      <a:pt x="1250" y="2740"/>
                    </a:lnTo>
                    <a:lnTo>
                      <a:pt x="1254" y="2744"/>
                    </a:lnTo>
                    <a:lnTo>
                      <a:pt x="1254" y="2744"/>
                    </a:lnTo>
                    <a:lnTo>
                      <a:pt x="1258" y="2748"/>
                    </a:lnTo>
                    <a:lnTo>
                      <a:pt x="1260" y="2748"/>
                    </a:lnTo>
                    <a:lnTo>
                      <a:pt x="1260" y="2746"/>
                    </a:lnTo>
                    <a:lnTo>
                      <a:pt x="1262" y="2746"/>
                    </a:lnTo>
                    <a:lnTo>
                      <a:pt x="1266" y="2746"/>
                    </a:lnTo>
                    <a:lnTo>
                      <a:pt x="1272" y="2750"/>
                    </a:lnTo>
                    <a:lnTo>
                      <a:pt x="1272" y="2750"/>
                    </a:lnTo>
                    <a:lnTo>
                      <a:pt x="1274" y="2752"/>
                    </a:lnTo>
                    <a:lnTo>
                      <a:pt x="1274" y="2752"/>
                    </a:lnTo>
                    <a:lnTo>
                      <a:pt x="1266" y="2754"/>
                    </a:lnTo>
                    <a:lnTo>
                      <a:pt x="1258" y="2754"/>
                    </a:lnTo>
                    <a:lnTo>
                      <a:pt x="1258" y="2758"/>
                    </a:lnTo>
                    <a:lnTo>
                      <a:pt x="1260" y="2762"/>
                    </a:lnTo>
                    <a:lnTo>
                      <a:pt x="1260" y="2762"/>
                    </a:lnTo>
                    <a:lnTo>
                      <a:pt x="1268" y="2772"/>
                    </a:lnTo>
                    <a:lnTo>
                      <a:pt x="1272" y="2780"/>
                    </a:lnTo>
                    <a:lnTo>
                      <a:pt x="1274" y="2786"/>
                    </a:lnTo>
                    <a:lnTo>
                      <a:pt x="1276" y="2786"/>
                    </a:lnTo>
                    <a:lnTo>
                      <a:pt x="1280" y="2784"/>
                    </a:lnTo>
                    <a:lnTo>
                      <a:pt x="1280" y="2784"/>
                    </a:lnTo>
                    <a:lnTo>
                      <a:pt x="1284" y="2780"/>
                    </a:lnTo>
                    <a:lnTo>
                      <a:pt x="1286" y="2782"/>
                    </a:lnTo>
                    <a:lnTo>
                      <a:pt x="1290" y="2782"/>
                    </a:lnTo>
                    <a:lnTo>
                      <a:pt x="1300" y="2782"/>
                    </a:lnTo>
                    <a:lnTo>
                      <a:pt x="1300" y="2782"/>
                    </a:lnTo>
                    <a:lnTo>
                      <a:pt x="1312" y="2780"/>
                    </a:lnTo>
                    <a:lnTo>
                      <a:pt x="1316" y="2782"/>
                    </a:lnTo>
                    <a:lnTo>
                      <a:pt x="1318" y="2784"/>
                    </a:lnTo>
                    <a:lnTo>
                      <a:pt x="1324" y="2784"/>
                    </a:lnTo>
                    <a:lnTo>
                      <a:pt x="1324" y="2784"/>
                    </a:lnTo>
                    <a:lnTo>
                      <a:pt x="1330" y="2782"/>
                    </a:lnTo>
                    <a:lnTo>
                      <a:pt x="1336" y="2786"/>
                    </a:lnTo>
                    <a:lnTo>
                      <a:pt x="1342" y="2790"/>
                    </a:lnTo>
                    <a:lnTo>
                      <a:pt x="1348" y="2790"/>
                    </a:lnTo>
                    <a:lnTo>
                      <a:pt x="1348" y="2790"/>
                    </a:lnTo>
                    <a:lnTo>
                      <a:pt x="1354" y="2790"/>
                    </a:lnTo>
                    <a:lnTo>
                      <a:pt x="1358" y="2792"/>
                    </a:lnTo>
                    <a:lnTo>
                      <a:pt x="1358" y="2794"/>
                    </a:lnTo>
                    <a:lnTo>
                      <a:pt x="1358" y="2796"/>
                    </a:lnTo>
                    <a:lnTo>
                      <a:pt x="1350" y="2800"/>
                    </a:lnTo>
                    <a:lnTo>
                      <a:pt x="1350" y="2800"/>
                    </a:lnTo>
                    <a:lnTo>
                      <a:pt x="1342" y="2802"/>
                    </a:lnTo>
                    <a:lnTo>
                      <a:pt x="1336" y="2800"/>
                    </a:lnTo>
                    <a:lnTo>
                      <a:pt x="1322" y="2792"/>
                    </a:lnTo>
                    <a:lnTo>
                      <a:pt x="1322" y="2792"/>
                    </a:lnTo>
                    <a:lnTo>
                      <a:pt x="1312" y="2788"/>
                    </a:lnTo>
                    <a:lnTo>
                      <a:pt x="1306" y="2786"/>
                    </a:lnTo>
                    <a:lnTo>
                      <a:pt x="1302" y="2786"/>
                    </a:lnTo>
                    <a:lnTo>
                      <a:pt x="1298" y="2792"/>
                    </a:lnTo>
                    <a:lnTo>
                      <a:pt x="1298" y="2792"/>
                    </a:lnTo>
                    <a:lnTo>
                      <a:pt x="1296" y="2794"/>
                    </a:lnTo>
                    <a:lnTo>
                      <a:pt x="1292" y="2794"/>
                    </a:lnTo>
                    <a:lnTo>
                      <a:pt x="1288" y="2792"/>
                    </a:lnTo>
                    <a:lnTo>
                      <a:pt x="1282" y="2792"/>
                    </a:lnTo>
                    <a:lnTo>
                      <a:pt x="1282" y="2794"/>
                    </a:lnTo>
                    <a:lnTo>
                      <a:pt x="1280" y="2798"/>
                    </a:lnTo>
                    <a:lnTo>
                      <a:pt x="1280" y="2798"/>
                    </a:lnTo>
                    <a:lnTo>
                      <a:pt x="1280" y="2802"/>
                    </a:lnTo>
                    <a:lnTo>
                      <a:pt x="1278" y="2804"/>
                    </a:lnTo>
                    <a:lnTo>
                      <a:pt x="1274" y="2808"/>
                    </a:lnTo>
                    <a:lnTo>
                      <a:pt x="1272" y="2808"/>
                    </a:lnTo>
                    <a:lnTo>
                      <a:pt x="1276" y="2812"/>
                    </a:lnTo>
                    <a:lnTo>
                      <a:pt x="1276" y="2812"/>
                    </a:lnTo>
                    <a:lnTo>
                      <a:pt x="1280" y="2816"/>
                    </a:lnTo>
                    <a:lnTo>
                      <a:pt x="1280" y="2820"/>
                    </a:lnTo>
                    <a:lnTo>
                      <a:pt x="1280" y="2824"/>
                    </a:lnTo>
                    <a:lnTo>
                      <a:pt x="1286" y="2824"/>
                    </a:lnTo>
                    <a:lnTo>
                      <a:pt x="1286" y="2824"/>
                    </a:lnTo>
                    <a:lnTo>
                      <a:pt x="1288" y="2824"/>
                    </a:lnTo>
                    <a:lnTo>
                      <a:pt x="1292" y="2826"/>
                    </a:lnTo>
                    <a:lnTo>
                      <a:pt x="1294" y="2832"/>
                    </a:lnTo>
                    <a:lnTo>
                      <a:pt x="1294" y="2838"/>
                    </a:lnTo>
                    <a:lnTo>
                      <a:pt x="1292" y="2844"/>
                    </a:lnTo>
                    <a:lnTo>
                      <a:pt x="1292" y="2844"/>
                    </a:lnTo>
                    <a:lnTo>
                      <a:pt x="1292" y="2848"/>
                    </a:lnTo>
                    <a:lnTo>
                      <a:pt x="1292" y="2854"/>
                    </a:lnTo>
                    <a:lnTo>
                      <a:pt x="1298" y="2864"/>
                    </a:lnTo>
                    <a:lnTo>
                      <a:pt x="1300" y="2866"/>
                    </a:lnTo>
                    <a:lnTo>
                      <a:pt x="1304" y="2868"/>
                    </a:lnTo>
                    <a:lnTo>
                      <a:pt x="1306" y="2866"/>
                    </a:lnTo>
                    <a:lnTo>
                      <a:pt x="1308" y="2862"/>
                    </a:lnTo>
                    <a:lnTo>
                      <a:pt x="1308" y="2862"/>
                    </a:lnTo>
                    <a:lnTo>
                      <a:pt x="1308" y="2856"/>
                    </a:lnTo>
                    <a:lnTo>
                      <a:pt x="1310" y="2854"/>
                    </a:lnTo>
                    <a:lnTo>
                      <a:pt x="1314" y="2854"/>
                    </a:lnTo>
                    <a:lnTo>
                      <a:pt x="1316" y="2856"/>
                    </a:lnTo>
                    <a:lnTo>
                      <a:pt x="1320" y="2866"/>
                    </a:lnTo>
                    <a:lnTo>
                      <a:pt x="1322" y="2880"/>
                    </a:lnTo>
                    <a:lnTo>
                      <a:pt x="1322" y="2880"/>
                    </a:lnTo>
                    <a:lnTo>
                      <a:pt x="1324" y="2888"/>
                    </a:lnTo>
                    <a:lnTo>
                      <a:pt x="1326" y="2888"/>
                    </a:lnTo>
                    <a:lnTo>
                      <a:pt x="1328" y="2888"/>
                    </a:lnTo>
                    <a:lnTo>
                      <a:pt x="1330" y="2882"/>
                    </a:lnTo>
                    <a:lnTo>
                      <a:pt x="1332" y="2874"/>
                    </a:lnTo>
                    <a:lnTo>
                      <a:pt x="1332" y="2874"/>
                    </a:lnTo>
                    <a:lnTo>
                      <a:pt x="1334" y="2866"/>
                    </a:lnTo>
                    <a:lnTo>
                      <a:pt x="1336" y="2866"/>
                    </a:lnTo>
                    <a:lnTo>
                      <a:pt x="1338" y="2868"/>
                    </a:lnTo>
                    <a:lnTo>
                      <a:pt x="1342" y="2872"/>
                    </a:lnTo>
                    <a:lnTo>
                      <a:pt x="1348" y="2882"/>
                    </a:lnTo>
                    <a:lnTo>
                      <a:pt x="1350" y="2886"/>
                    </a:lnTo>
                    <a:lnTo>
                      <a:pt x="1354" y="2888"/>
                    </a:lnTo>
                    <a:lnTo>
                      <a:pt x="1354" y="2888"/>
                    </a:lnTo>
                    <a:lnTo>
                      <a:pt x="1356" y="2886"/>
                    </a:lnTo>
                    <a:lnTo>
                      <a:pt x="1356" y="2884"/>
                    </a:lnTo>
                    <a:lnTo>
                      <a:pt x="1356" y="2876"/>
                    </a:lnTo>
                    <a:lnTo>
                      <a:pt x="1348" y="2854"/>
                    </a:lnTo>
                    <a:lnTo>
                      <a:pt x="1340" y="2834"/>
                    </a:lnTo>
                    <a:lnTo>
                      <a:pt x="1338" y="2828"/>
                    </a:lnTo>
                    <a:lnTo>
                      <a:pt x="1338" y="2826"/>
                    </a:lnTo>
                    <a:lnTo>
                      <a:pt x="1340" y="2824"/>
                    </a:lnTo>
                    <a:lnTo>
                      <a:pt x="1340" y="2824"/>
                    </a:lnTo>
                    <a:lnTo>
                      <a:pt x="1346" y="2826"/>
                    </a:lnTo>
                    <a:lnTo>
                      <a:pt x="1350" y="2828"/>
                    </a:lnTo>
                    <a:lnTo>
                      <a:pt x="1352" y="2832"/>
                    </a:lnTo>
                    <a:lnTo>
                      <a:pt x="1354" y="2838"/>
                    </a:lnTo>
                    <a:lnTo>
                      <a:pt x="1354" y="2838"/>
                    </a:lnTo>
                    <a:lnTo>
                      <a:pt x="1356" y="2840"/>
                    </a:lnTo>
                    <a:lnTo>
                      <a:pt x="1358" y="2840"/>
                    </a:lnTo>
                    <a:lnTo>
                      <a:pt x="1368" y="2836"/>
                    </a:lnTo>
                    <a:lnTo>
                      <a:pt x="1368" y="2836"/>
                    </a:lnTo>
                    <a:lnTo>
                      <a:pt x="1370" y="2834"/>
                    </a:lnTo>
                    <a:lnTo>
                      <a:pt x="1372" y="2832"/>
                    </a:lnTo>
                    <a:lnTo>
                      <a:pt x="1370" y="2828"/>
                    </a:lnTo>
                    <a:lnTo>
                      <a:pt x="1366" y="2824"/>
                    </a:lnTo>
                    <a:lnTo>
                      <a:pt x="1360" y="2822"/>
                    </a:lnTo>
                    <a:lnTo>
                      <a:pt x="1360" y="2822"/>
                    </a:lnTo>
                    <a:lnTo>
                      <a:pt x="1356" y="2822"/>
                    </a:lnTo>
                    <a:lnTo>
                      <a:pt x="1356" y="2820"/>
                    </a:lnTo>
                    <a:lnTo>
                      <a:pt x="1356" y="2816"/>
                    </a:lnTo>
                    <a:lnTo>
                      <a:pt x="1354" y="2812"/>
                    </a:lnTo>
                    <a:lnTo>
                      <a:pt x="1354" y="2812"/>
                    </a:lnTo>
                    <a:lnTo>
                      <a:pt x="1352" y="2810"/>
                    </a:lnTo>
                    <a:lnTo>
                      <a:pt x="1354" y="2808"/>
                    </a:lnTo>
                    <a:lnTo>
                      <a:pt x="1360" y="2802"/>
                    </a:lnTo>
                    <a:lnTo>
                      <a:pt x="1368" y="2800"/>
                    </a:lnTo>
                    <a:lnTo>
                      <a:pt x="1370" y="2800"/>
                    </a:lnTo>
                    <a:lnTo>
                      <a:pt x="1374" y="2802"/>
                    </a:lnTo>
                    <a:lnTo>
                      <a:pt x="1374" y="2802"/>
                    </a:lnTo>
                    <a:lnTo>
                      <a:pt x="1382" y="2816"/>
                    </a:lnTo>
                    <a:lnTo>
                      <a:pt x="1388" y="2820"/>
                    </a:lnTo>
                    <a:lnTo>
                      <a:pt x="1390" y="2820"/>
                    </a:lnTo>
                    <a:lnTo>
                      <a:pt x="1392" y="2820"/>
                    </a:lnTo>
                    <a:lnTo>
                      <a:pt x="1392" y="2820"/>
                    </a:lnTo>
                    <a:lnTo>
                      <a:pt x="1394" y="2818"/>
                    </a:lnTo>
                    <a:lnTo>
                      <a:pt x="1394" y="2816"/>
                    </a:lnTo>
                    <a:lnTo>
                      <a:pt x="1394" y="2810"/>
                    </a:lnTo>
                    <a:lnTo>
                      <a:pt x="1392" y="2804"/>
                    </a:lnTo>
                    <a:lnTo>
                      <a:pt x="1392" y="2796"/>
                    </a:lnTo>
                    <a:lnTo>
                      <a:pt x="1392" y="2796"/>
                    </a:lnTo>
                    <a:lnTo>
                      <a:pt x="1392" y="2794"/>
                    </a:lnTo>
                    <a:lnTo>
                      <a:pt x="1390" y="2790"/>
                    </a:lnTo>
                    <a:lnTo>
                      <a:pt x="1386" y="2788"/>
                    </a:lnTo>
                    <a:lnTo>
                      <a:pt x="1378" y="2784"/>
                    </a:lnTo>
                    <a:lnTo>
                      <a:pt x="1376" y="2782"/>
                    </a:lnTo>
                    <a:lnTo>
                      <a:pt x="1374" y="2780"/>
                    </a:lnTo>
                    <a:lnTo>
                      <a:pt x="1374" y="2780"/>
                    </a:lnTo>
                    <a:lnTo>
                      <a:pt x="1370" y="2774"/>
                    </a:lnTo>
                    <a:lnTo>
                      <a:pt x="1366" y="2774"/>
                    </a:lnTo>
                    <a:lnTo>
                      <a:pt x="1364" y="2772"/>
                    </a:lnTo>
                    <a:lnTo>
                      <a:pt x="1360" y="2768"/>
                    </a:lnTo>
                    <a:lnTo>
                      <a:pt x="1360" y="2768"/>
                    </a:lnTo>
                    <a:lnTo>
                      <a:pt x="1358" y="2764"/>
                    </a:lnTo>
                    <a:lnTo>
                      <a:pt x="1352" y="2762"/>
                    </a:lnTo>
                    <a:lnTo>
                      <a:pt x="1340" y="2758"/>
                    </a:lnTo>
                    <a:lnTo>
                      <a:pt x="1332" y="2754"/>
                    </a:lnTo>
                    <a:lnTo>
                      <a:pt x="1332" y="2752"/>
                    </a:lnTo>
                    <a:lnTo>
                      <a:pt x="1338" y="2752"/>
                    </a:lnTo>
                    <a:lnTo>
                      <a:pt x="1338" y="2752"/>
                    </a:lnTo>
                    <a:lnTo>
                      <a:pt x="1346" y="2750"/>
                    </a:lnTo>
                    <a:lnTo>
                      <a:pt x="1348" y="2746"/>
                    </a:lnTo>
                    <a:lnTo>
                      <a:pt x="1348" y="2744"/>
                    </a:lnTo>
                    <a:lnTo>
                      <a:pt x="1346" y="2740"/>
                    </a:lnTo>
                    <a:lnTo>
                      <a:pt x="1344" y="2732"/>
                    </a:lnTo>
                    <a:lnTo>
                      <a:pt x="1344" y="2730"/>
                    </a:lnTo>
                    <a:lnTo>
                      <a:pt x="1348" y="2730"/>
                    </a:lnTo>
                    <a:lnTo>
                      <a:pt x="1348" y="2730"/>
                    </a:lnTo>
                    <a:lnTo>
                      <a:pt x="1352" y="2730"/>
                    </a:lnTo>
                    <a:lnTo>
                      <a:pt x="1354" y="2732"/>
                    </a:lnTo>
                    <a:lnTo>
                      <a:pt x="1354" y="2738"/>
                    </a:lnTo>
                    <a:lnTo>
                      <a:pt x="1354" y="2742"/>
                    </a:lnTo>
                    <a:lnTo>
                      <a:pt x="1356" y="2742"/>
                    </a:lnTo>
                    <a:lnTo>
                      <a:pt x="1358" y="2742"/>
                    </a:lnTo>
                    <a:lnTo>
                      <a:pt x="1358" y="2742"/>
                    </a:lnTo>
                    <a:lnTo>
                      <a:pt x="1360" y="2738"/>
                    </a:lnTo>
                    <a:lnTo>
                      <a:pt x="1360" y="2736"/>
                    </a:lnTo>
                    <a:lnTo>
                      <a:pt x="1360" y="2728"/>
                    </a:lnTo>
                    <a:lnTo>
                      <a:pt x="1354" y="2720"/>
                    </a:lnTo>
                    <a:lnTo>
                      <a:pt x="1348" y="2710"/>
                    </a:lnTo>
                    <a:lnTo>
                      <a:pt x="1340" y="2702"/>
                    </a:lnTo>
                    <a:lnTo>
                      <a:pt x="1334" y="2692"/>
                    </a:lnTo>
                    <a:lnTo>
                      <a:pt x="1330" y="2682"/>
                    </a:lnTo>
                    <a:lnTo>
                      <a:pt x="1330" y="2678"/>
                    </a:lnTo>
                    <a:lnTo>
                      <a:pt x="1332" y="2674"/>
                    </a:lnTo>
                    <a:lnTo>
                      <a:pt x="1332" y="2674"/>
                    </a:lnTo>
                    <a:lnTo>
                      <a:pt x="1336" y="2666"/>
                    </a:lnTo>
                    <a:lnTo>
                      <a:pt x="1340" y="2660"/>
                    </a:lnTo>
                    <a:lnTo>
                      <a:pt x="1344" y="2660"/>
                    </a:lnTo>
                    <a:lnTo>
                      <a:pt x="1346" y="2660"/>
                    </a:lnTo>
                    <a:lnTo>
                      <a:pt x="1346" y="2662"/>
                    </a:lnTo>
                    <a:lnTo>
                      <a:pt x="1346" y="2668"/>
                    </a:lnTo>
                    <a:lnTo>
                      <a:pt x="1346" y="2668"/>
                    </a:lnTo>
                    <a:lnTo>
                      <a:pt x="1346" y="2670"/>
                    </a:lnTo>
                    <a:lnTo>
                      <a:pt x="1346" y="2672"/>
                    </a:lnTo>
                    <a:lnTo>
                      <a:pt x="1352" y="2674"/>
                    </a:lnTo>
                    <a:lnTo>
                      <a:pt x="1358" y="2676"/>
                    </a:lnTo>
                    <a:lnTo>
                      <a:pt x="1360" y="2680"/>
                    </a:lnTo>
                    <a:lnTo>
                      <a:pt x="1362" y="2686"/>
                    </a:lnTo>
                    <a:lnTo>
                      <a:pt x="1362" y="2686"/>
                    </a:lnTo>
                    <a:lnTo>
                      <a:pt x="1362" y="2690"/>
                    </a:lnTo>
                    <a:lnTo>
                      <a:pt x="1366" y="2694"/>
                    </a:lnTo>
                    <a:lnTo>
                      <a:pt x="1372" y="2696"/>
                    </a:lnTo>
                    <a:lnTo>
                      <a:pt x="1374" y="2696"/>
                    </a:lnTo>
                    <a:lnTo>
                      <a:pt x="1376" y="2696"/>
                    </a:lnTo>
                    <a:lnTo>
                      <a:pt x="1376" y="2694"/>
                    </a:lnTo>
                    <a:lnTo>
                      <a:pt x="1374" y="2690"/>
                    </a:lnTo>
                    <a:lnTo>
                      <a:pt x="1374" y="2690"/>
                    </a:lnTo>
                    <a:lnTo>
                      <a:pt x="1368" y="2684"/>
                    </a:lnTo>
                    <a:lnTo>
                      <a:pt x="1368" y="2678"/>
                    </a:lnTo>
                    <a:lnTo>
                      <a:pt x="1368" y="2678"/>
                    </a:lnTo>
                    <a:lnTo>
                      <a:pt x="1370" y="2678"/>
                    </a:lnTo>
                    <a:lnTo>
                      <a:pt x="1378" y="2684"/>
                    </a:lnTo>
                    <a:lnTo>
                      <a:pt x="1378" y="2684"/>
                    </a:lnTo>
                    <a:lnTo>
                      <a:pt x="1386" y="2692"/>
                    </a:lnTo>
                    <a:lnTo>
                      <a:pt x="1390" y="2694"/>
                    </a:lnTo>
                    <a:lnTo>
                      <a:pt x="1392" y="2694"/>
                    </a:lnTo>
                    <a:lnTo>
                      <a:pt x="1390" y="2692"/>
                    </a:lnTo>
                    <a:lnTo>
                      <a:pt x="1386" y="2684"/>
                    </a:lnTo>
                    <a:lnTo>
                      <a:pt x="1386" y="2684"/>
                    </a:lnTo>
                    <a:lnTo>
                      <a:pt x="1380" y="2676"/>
                    </a:lnTo>
                    <a:lnTo>
                      <a:pt x="1380" y="2674"/>
                    </a:lnTo>
                    <a:lnTo>
                      <a:pt x="1382" y="2674"/>
                    </a:lnTo>
                    <a:lnTo>
                      <a:pt x="1394" y="2680"/>
                    </a:lnTo>
                    <a:lnTo>
                      <a:pt x="1394" y="2680"/>
                    </a:lnTo>
                    <a:lnTo>
                      <a:pt x="1402" y="2684"/>
                    </a:lnTo>
                    <a:lnTo>
                      <a:pt x="1406" y="2684"/>
                    </a:lnTo>
                    <a:lnTo>
                      <a:pt x="1404" y="2682"/>
                    </a:lnTo>
                    <a:lnTo>
                      <a:pt x="1400" y="2676"/>
                    </a:lnTo>
                    <a:lnTo>
                      <a:pt x="1400" y="2676"/>
                    </a:lnTo>
                    <a:lnTo>
                      <a:pt x="1392" y="2670"/>
                    </a:lnTo>
                    <a:lnTo>
                      <a:pt x="1386" y="2668"/>
                    </a:lnTo>
                    <a:lnTo>
                      <a:pt x="1384" y="2668"/>
                    </a:lnTo>
                    <a:lnTo>
                      <a:pt x="1384" y="2664"/>
                    </a:lnTo>
                    <a:lnTo>
                      <a:pt x="1384" y="2664"/>
                    </a:lnTo>
                    <a:lnTo>
                      <a:pt x="1384" y="2662"/>
                    </a:lnTo>
                    <a:lnTo>
                      <a:pt x="1384" y="2660"/>
                    </a:lnTo>
                    <a:lnTo>
                      <a:pt x="1380" y="2656"/>
                    </a:lnTo>
                    <a:lnTo>
                      <a:pt x="1380" y="2656"/>
                    </a:lnTo>
                    <a:lnTo>
                      <a:pt x="1380" y="2654"/>
                    </a:lnTo>
                    <a:lnTo>
                      <a:pt x="1388" y="2652"/>
                    </a:lnTo>
                    <a:lnTo>
                      <a:pt x="1388" y="2652"/>
                    </a:lnTo>
                    <a:lnTo>
                      <a:pt x="1392" y="2652"/>
                    </a:lnTo>
                    <a:lnTo>
                      <a:pt x="1398" y="2650"/>
                    </a:lnTo>
                    <a:lnTo>
                      <a:pt x="1404" y="2644"/>
                    </a:lnTo>
                    <a:lnTo>
                      <a:pt x="1408" y="2642"/>
                    </a:lnTo>
                    <a:lnTo>
                      <a:pt x="1412" y="2640"/>
                    </a:lnTo>
                    <a:lnTo>
                      <a:pt x="1418" y="2642"/>
                    </a:lnTo>
                    <a:lnTo>
                      <a:pt x="1418" y="2642"/>
                    </a:lnTo>
                    <a:lnTo>
                      <a:pt x="1422" y="2644"/>
                    </a:lnTo>
                    <a:lnTo>
                      <a:pt x="1426" y="2644"/>
                    </a:lnTo>
                    <a:lnTo>
                      <a:pt x="1430" y="2640"/>
                    </a:lnTo>
                    <a:lnTo>
                      <a:pt x="1436" y="2638"/>
                    </a:lnTo>
                    <a:lnTo>
                      <a:pt x="1438" y="2638"/>
                    </a:lnTo>
                    <a:lnTo>
                      <a:pt x="1444" y="2640"/>
                    </a:lnTo>
                    <a:lnTo>
                      <a:pt x="1444" y="2640"/>
                    </a:lnTo>
                    <a:lnTo>
                      <a:pt x="1450" y="2644"/>
                    </a:lnTo>
                    <a:lnTo>
                      <a:pt x="1454" y="2644"/>
                    </a:lnTo>
                    <a:lnTo>
                      <a:pt x="1464" y="2644"/>
                    </a:lnTo>
                    <a:lnTo>
                      <a:pt x="1470" y="2644"/>
                    </a:lnTo>
                    <a:lnTo>
                      <a:pt x="1472" y="2646"/>
                    </a:lnTo>
                    <a:lnTo>
                      <a:pt x="1472" y="2650"/>
                    </a:lnTo>
                    <a:lnTo>
                      <a:pt x="1472" y="2650"/>
                    </a:lnTo>
                    <a:lnTo>
                      <a:pt x="1474" y="2656"/>
                    </a:lnTo>
                    <a:lnTo>
                      <a:pt x="1480" y="2660"/>
                    </a:lnTo>
                    <a:lnTo>
                      <a:pt x="1486" y="2660"/>
                    </a:lnTo>
                    <a:lnTo>
                      <a:pt x="1492" y="2658"/>
                    </a:lnTo>
                    <a:lnTo>
                      <a:pt x="1504" y="2656"/>
                    </a:lnTo>
                    <a:lnTo>
                      <a:pt x="1504" y="2658"/>
                    </a:lnTo>
                    <a:lnTo>
                      <a:pt x="1502" y="2660"/>
                    </a:lnTo>
                    <a:lnTo>
                      <a:pt x="1502" y="2660"/>
                    </a:lnTo>
                    <a:lnTo>
                      <a:pt x="1484" y="2668"/>
                    </a:lnTo>
                    <a:lnTo>
                      <a:pt x="1480" y="2672"/>
                    </a:lnTo>
                    <a:lnTo>
                      <a:pt x="1478" y="2680"/>
                    </a:lnTo>
                    <a:lnTo>
                      <a:pt x="1478" y="2680"/>
                    </a:lnTo>
                    <a:lnTo>
                      <a:pt x="1480" y="2684"/>
                    </a:lnTo>
                    <a:lnTo>
                      <a:pt x="1482" y="2682"/>
                    </a:lnTo>
                    <a:lnTo>
                      <a:pt x="1494" y="2670"/>
                    </a:lnTo>
                    <a:lnTo>
                      <a:pt x="1494" y="2670"/>
                    </a:lnTo>
                    <a:lnTo>
                      <a:pt x="1506" y="2662"/>
                    </a:lnTo>
                    <a:lnTo>
                      <a:pt x="1514" y="2658"/>
                    </a:lnTo>
                    <a:lnTo>
                      <a:pt x="1522" y="2654"/>
                    </a:lnTo>
                    <a:lnTo>
                      <a:pt x="1528" y="2646"/>
                    </a:lnTo>
                    <a:lnTo>
                      <a:pt x="1528" y="2646"/>
                    </a:lnTo>
                    <a:lnTo>
                      <a:pt x="1532" y="2638"/>
                    </a:lnTo>
                    <a:lnTo>
                      <a:pt x="1536" y="2636"/>
                    </a:lnTo>
                    <a:lnTo>
                      <a:pt x="1538" y="2634"/>
                    </a:lnTo>
                    <a:lnTo>
                      <a:pt x="1540" y="2636"/>
                    </a:lnTo>
                    <a:lnTo>
                      <a:pt x="1544" y="2640"/>
                    </a:lnTo>
                    <a:lnTo>
                      <a:pt x="1548" y="2640"/>
                    </a:lnTo>
                    <a:lnTo>
                      <a:pt x="1552" y="2638"/>
                    </a:lnTo>
                    <a:lnTo>
                      <a:pt x="1552" y="2638"/>
                    </a:lnTo>
                    <a:lnTo>
                      <a:pt x="1556" y="2634"/>
                    </a:lnTo>
                    <a:lnTo>
                      <a:pt x="1562" y="2634"/>
                    </a:lnTo>
                    <a:lnTo>
                      <a:pt x="1572" y="2638"/>
                    </a:lnTo>
                    <a:lnTo>
                      <a:pt x="1580" y="2638"/>
                    </a:lnTo>
                    <a:lnTo>
                      <a:pt x="1586" y="2638"/>
                    </a:lnTo>
                    <a:lnTo>
                      <a:pt x="1590" y="2634"/>
                    </a:lnTo>
                    <a:lnTo>
                      <a:pt x="1590" y="2634"/>
                    </a:lnTo>
                    <a:lnTo>
                      <a:pt x="1594" y="2626"/>
                    </a:lnTo>
                    <a:lnTo>
                      <a:pt x="1594" y="2624"/>
                    </a:lnTo>
                    <a:lnTo>
                      <a:pt x="1592" y="2624"/>
                    </a:lnTo>
                    <a:lnTo>
                      <a:pt x="1584" y="2622"/>
                    </a:lnTo>
                    <a:lnTo>
                      <a:pt x="1572" y="2616"/>
                    </a:lnTo>
                    <a:lnTo>
                      <a:pt x="1572" y="2616"/>
                    </a:lnTo>
                    <a:lnTo>
                      <a:pt x="1560" y="2608"/>
                    </a:lnTo>
                    <a:lnTo>
                      <a:pt x="1554" y="2600"/>
                    </a:lnTo>
                    <a:lnTo>
                      <a:pt x="1552" y="2592"/>
                    </a:lnTo>
                    <a:lnTo>
                      <a:pt x="1552" y="2582"/>
                    </a:lnTo>
                    <a:lnTo>
                      <a:pt x="1552" y="2582"/>
                    </a:lnTo>
                    <a:lnTo>
                      <a:pt x="1552" y="2578"/>
                    </a:lnTo>
                    <a:lnTo>
                      <a:pt x="1550" y="2576"/>
                    </a:lnTo>
                    <a:lnTo>
                      <a:pt x="1546" y="2572"/>
                    </a:lnTo>
                    <a:lnTo>
                      <a:pt x="1542" y="2570"/>
                    </a:lnTo>
                    <a:lnTo>
                      <a:pt x="1540" y="2568"/>
                    </a:lnTo>
                    <a:lnTo>
                      <a:pt x="1540" y="2564"/>
                    </a:lnTo>
                    <a:lnTo>
                      <a:pt x="1540" y="2564"/>
                    </a:lnTo>
                    <a:lnTo>
                      <a:pt x="1540" y="2560"/>
                    </a:lnTo>
                    <a:lnTo>
                      <a:pt x="1538" y="2558"/>
                    </a:lnTo>
                    <a:lnTo>
                      <a:pt x="1530" y="2556"/>
                    </a:lnTo>
                    <a:lnTo>
                      <a:pt x="1528" y="2556"/>
                    </a:lnTo>
                    <a:lnTo>
                      <a:pt x="1528" y="2554"/>
                    </a:lnTo>
                    <a:lnTo>
                      <a:pt x="1536" y="2546"/>
                    </a:lnTo>
                    <a:lnTo>
                      <a:pt x="1536" y="2546"/>
                    </a:lnTo>
                    <a:lnTo>
                      <a:pt x="1542" y="2542"/>
                    </a:lnTo>
                    <a:lnTo>
                      <a:pt x="1546" y="2538"/>
                    </a:lnTo>
                    <a:lnTo>
                      <a:pt x="1546" y="2534"/>
                    </a:lnTo>
                    <a:lnTo>
                      <a:pt x="1546" y="2530"/>
                    </a:lnTo>
                    <a:lnTo>
                      <a:pt x="1546" y="2522"/>
                    </a:lnTo>
                    <a:lnTo>
                      <a:pt x="1546" y="2516"/>
                    </a:lnTo>
                    <a:lnTo>
                      <a:pt x="1550" y="2510"/>
                    </a:lnTo>
                    <a:lnTo>
                      <a:pt x="1550" y="2510"/>
                    </a:lnTo>
                    <a:lnTo>
                      <a:pt x="1554" y="2504"/>
                    </a:lnTo>
                    <a:lnTo>
                      <a:pt x="1560" y="2502"/>
                    </a:lnTo>
                    <a:lnTo>
                      <a:pt x="1566" y="2504"/>
                    </a:lnTo>
                    <a:lnTo>
                      <a:pt x="1570" y="2504"/>
                    </a:lnTo>
                    <a:lnTo>
                      <a:pt x="1572" y="2502"/>
                    </a:lnTo>
                    <a:lnTo>
                      <a:pt x="1574" y="2496"/>
                    </a:lnTo>
                    <a:lnTo>
                      <a:pt x="1574" y="2484"/>
                    </a:lnTo>
                    <a:lnTo>
                      <a:pt x="1574" y="2484"/>
                    </a:lnTo>
                    <a:lnTo>
                      <a:pt x="1578" y="2458"/>
                    </a:lnTo>
                    <a:lnTo>
                      <a:pt x="1580" y="2448"/>
                    </a:lnTo>
                    <a:lnTo>
                      <a:pt x="1584" y="2440"/>
                    </a:lnTo>
                    <a:lnTo>
                      <a:pt x="1588" y="2434"/>
                    </a:lnTo>
                    <a:lnTo>
                      <a:pt x="1594" y="2428"/>
                    </a:lnTo>
                    <a:lnTo>
                      <a:pt x="1600" y="2426"/>
                    </a:lnTo>
                    <a:lnTo>
                      <a:pt x="1608" y="2422"/>
                    </a:lnTo>
                    <a:lnTo>
                      <a:pt x="1608" y="2422"/>
                    </a:lnTo>
                    <a:lnTo>
                      <a:pt x="1614" y="2418"/>
                    </a:lnTo>
                    <a:lnTo>
                      <a:pt x="1618" y="2414"/>
                    </a:lnTo>
                    <a:lnTo>
                      <a:pt x="1620" y="2406"/>
                    </a:lnTo>
                    <a:lnTo>
                      <a:pt x="1620" y="2398"/>
                    </a:lnTo>
                    <a:lnTo>
                      <a:pt x="1620" y="2398"/>
                    </a:lnTo>
                    <a:lnTo>
                      <a:pt x="1620" y="2390"/>
                    </a:lnTo>
                    <a:lnTo>
                      <a:pt x="1620" y="2386"/>
                    </a:lnTo>
                    <a:lnTo>
                      <a:pt x="1618" y="2384"/>
                    </a:lnTo>
                    <a:lnTo>
                      <a:pt x="1616" y="2378"/>
                    </a:lnTo>
                    <a:lnTo>
                      <a:pt x="1616" y="2378"/>
                    </a:lnTo>
                    <a:lnTo>
                      <a:pt x="1616" y="2372"/>
                    </a:lnTo>
                    <a:lnTo>
                      <a:pt x="1620" y="2372"/>
                    </a:lnTo>
                    <a:lnTo>
                      <a:pt x="1626" y="2372"/>
                    </a:lnTo>
                    <a:lnTo>
                      <a:pt x="1630" y="2370"/>
                    </a:lnTo>
                    <a:lnTo>
                      <a:pt x="1636" y="2366"/>
                    </a:lnTo>
                    <a:lnTo>
                      <a:pt x="1636" y="2366"/>
                    </a:lnTo>
                    <a:lnTo>
                      <a:pt x="1646" y="2358"/>
                    </a:lnTo>
                    <a:lnTo>
                      <a:pt x="1654" y="2348"/>
                    </a:lnTo>
                    <a:lnTo>
                      <a:pt x="1660" y="2340"/>
                    </a:lnTo>
                    <a:lnTo>
                      <a:pt x="1662" y="2330"/>
                    </a:lnTo>
                    <a:lnTo>
                      <a:pt x="1662" y="2330"/>
                    </a:lnTo>
                    <a:lnTo>
                      <a:pt x="1662" y="2326"/>
                    </a:lnTo>
                    <a:lnTo>
                      <a:pt x="1664" y="2324"/>
                    </a:lnTo>
                    <a:lnTo>
                      <a:pt x="1668" y="2322"/>
                    </a:lnTo>
                    <a:lnTo>
                      <a:pt x="1672" y="2320"/>
                    </a:lnTo>
                    <a:lnTo>
                      <a:pt x="1682" y="2320"/>
                    </a:lnTo>
                    <a:lnTo>
                      <a:pt x="1690" y="2318"/>
                    </a:lnTo>
                    <a:lnTo>
                      <a:pt x="1690" y="2318"/>
                    </a:lnTo>
                    <a:lnTo>
                      <a:pt x="1698" y="2318"/>
                    </a:lnTo>
                    <a:lnTo>
                      <a:pt x="1702" y="2318"/>
                    </a:lnTo>
                    <a:lnTo>
                      <a:pt x="1704" y="2318"/>
                    </a:lnTo>
                    <a:lnTo>
                      <a:pt x="1706" y="2312"/>
                    </a:lnTo>
                    <a:lnTo>
                      <a:pt x="1706" y="2312"/>
                    </a:lnTo>
                    <a:lnTo>
                      <a:pt x="1708" y="2296"/>
                    </a:lnTo>
                    <a:lnTo>
                      <a:pt x="1708" y="2294"/>
                    </a:lnTo>
                    <a:lnTo>
                      <a:pt x="1710" y="2298"/>
                    </a:lnTo>
                    <a:lnTo>
                      <a:pt x="1710" y="2298"/>
                    </a:lnTo>
                    <a:lnTo>
                      <a:pt x="1712" y="2308"/>
                    </a:lnTo>
                    <a:lnTo>
                      <a:pt x="1712" y="2316"/>
                    </a:lnTo>
                    <a:lnTo>
                      <a:pt x="1714" y="2320"/>
                    </a:lnTo>
                    <a:lnTo>
                      <a:pt x="1718" y="2322"/>
                    </a:lnTo>
                    <a:lnTo>
                      <a:pt x="1724" y="2322"/>
                    </a:lnTo>
                    <a:lnTo>
                      <a:pt x="1732" y="2322"/>
                    </a:lnTo>
                    <a:lnTo>
                      <a:pt x="1732" y="2322"/>
                    </a:lnTo>
                    <a:lnTo>
                      <a:pt x="1726" y="2324"/>
                    </a:lnTo>
                    <a:lnTo>
                      <a:pt x="1720" y="2326"/>
                    </a:lnTo>
                    <a:lnTo>
                      <a:pt x="1708" y="2324"/>
                    </a:lnTo>
                    <a:lnTo>
                      <a:pt x="1700" y="2322"/>
                    </a:lnTo>
                    <a:lnTo>
                      <a:pt x="1696" y="2322"/>
                    </a:lnTo>
                    <a:lnTo>
                      <a:pt x="1696" y="2324"/>
                    </a:lnTo>
                    <a:lnTo>
                      <a:pt x="1696" y="2324"/>
                    </a:lnTo>
                    <a:lnTo>
                      <a:pt x="1696" y="2326"/>
                    </a:lnTo>
                    <a:lnTo>
                      <a:pt x="1700" y="2330"/>
                    </a:lnTo>
                    <a:lnTo>
                      <a:pt x="1708" y="2336"/>
                    </a:lnTo>
                    <a:lnTo>
                      <a:pt x="1718" y="2342"/>
                    </a:lnTo>
                    <a:lnTo>
                      <a:pt x="1722" y="2346"/>
                    </a:lnTo>
                    <a:lnTo>
                      <a:pt x="1722" y="2348"/>
                    </a:lnTo>
                    <a:lnTo>
                      <a:pt x="1722" y="2348"/>
                    </a:lnTo>
                    <a:lnTo>
                      <a:pt x="1724" y="2350"/>
                    </a:lnTo>
                    <a:lnTo>
                      <a:pt x="1728" y="2350"/>
                    </a:lnTo>
                    <a:lnTo>
                      <a:pt x="1740" y="2350"/>
                    </a:lnTo>
                    <a:lnTo>
                      <a:pt x="1754" y="2348"/>
                    </a:lnTo>
                    <a:lnTo>
                      <a:pt x="1760" y="2348"/>
                    </a:lnTo>
                    <a:lnTo>
                      <a:pt x="1764" y="2350"/>
                    </a:lnTo>
                    <a:lnTo>
                      <a:pt x="1764" y="2350"/>
                    </a:lnTo>
                    <a:lnTo>
                      <a:pt x="1766" y="2352"/>
                    </a:lnTo>
                    <a:lnTo>
                      <a:pt x="1768" y="2352"/>
                    </a:lnTo>
                    <a:lnTo>
                      <a:pt x="1772" y="2350"/>
                    </a:lnTo>
                    <a:lnTo>
                      <a:pt x="1776" y="2350"/>
                    </a:lnTo>
                    <a:lnTo>
                      <a:pt x="1780" y="2356"/>
                    </a:lnTo>
                    <a:lnTo>
                      <a:pt x="1780" y="2356"/>
                    </a:lnTo>
                    <a:lnTo>
                      <a:pt x="1780" y="2358"/>
                    </a:lnTo>
                    <a:lnTo>
                      <a:pt x="1778" y="2360"/>
                    </a:lnTo>
                    <a:lnTo>
                      <a:pt x="1774" y="2364"/>
                    </a:lnTo>
                    <a:lnTo>
                      <a:pt x="1756" y="2374"/>
                    </a:lnTo>
                    <a:lnTo>
                      <a:pt x="1738" y="2382"/>
                    </a:lnTo>
                    <a:lnTo>
                      <a:pt x="1732" y="2386"/>
                    </a:lnTo>
                    <a:lnTo>
                      <a:pt x="1732" y="2388"/>
                    </a:lnTo>
                    <a:lnTo>
                      <a:pt x="1732" y="2390"/>
                    </a:lnTo>
                    <a:lnTo>
                      <a:pt x="1732" y="2390"/>
                    </a:lnTo>
                    <a:lnTo>
                      <a:pt x="1736" y="2392"/>
                    </a:lnTo>
                    <a:lnTo>
                      <a:pt x="1742" y="2394"/>
                    </a:lnTo>
                    <a:lnTo>
                      <a:pt x="1756" y="2398"/>
                    </a:lnTo>
                    <a:lnTo>
                      <a:pt x="1762" y="2400"/>
                    </a:lnTo>
                    <a:lnTo>
                      <a:pt x="1768" y="2404"/>
                    </a:lnTo>
                    <a:lnTo>
                      <a:pt x="1772" y="2410"/>
                    </a:lnTo>
                    <a:lnTo>
                      <a:pt x="1774" y="2416"/>
                    </a:lnTo>
                    <a:lnTo>
                      <a:pt x="1774" y="2416"/>
                    </a:lnTo>
                    <a:lnTo>
                      <a:pt x="1774" y="2424"/>
                    </a:lnTo>
                    <a:lnTo>
                      <a:pt x="1772" y="2428"/>
                    </a:lnTo>
                    <a:lnTo>
                      <a:pt x="1768" y="2432"/>
                    </a:lnTo>
                    <a:lnTo>
                      <a:pt x="1766" y="2434"/>
                    </a:lnTo>
                    <a:lnTo>
                      <a:pt x="1768" y="2434"/>
                    </a:lnTo>
                    <a:lnTo>
                      <a:pt x="1774" y="2442"/>
                    </a:lnTo>
                    <a:lnTo>
                      <a:pt x="1774" y="2442"/>
                    </a:lnTo>
                    <a:lnTo>
                      <a:pt x="1780" y="2446"/>
                    </a:lnTo>
                    <a:lnTo>
                      <a:pt x="1788" y="2448"/>
                    </a:lnTo>
                    <a:lnTo>
                      <a:pt x="1794" y="2446"/>
                    </a:lnTo>
                    <a:lnTo>
                      <a:pt x="1800" y="2442"/>
                    </a:lnTo>
                    <a:lnTo>
                      <a:pt x="1810" y="2432"/>
                    </a:lnTo>
                    <a:lnTo>
                      <a:pt x="1822" y="2422"/>
                    </a:lnTo>
                    <a:lnTo>
                      <a:pt x="1822" y="2422"/>
                    </a:lnTo>
                    <a:lnTo>
                      <a:pt x="1826" y="2420"/>
                    </a:lnTo>
                    <a:lnTo>
                      <a:pt x="1830" y="2420"/>
                    </a:lnTo>
                    <a:lnTo>
                      <a:pt x="1832" y="2422"/>
                    </a:lnTo>
                    <a:lnTo>
                      <a:pt x="1836" y="2422"/>
                    </a:lnTo>
                    <a:lnTo>
                      <a:pt x="1844" y="2416"/>
                    </a:lnTo>
                    <a:lnTo>
                      <a:pt x="1844" y="2416"/>
                    </a:lnTo>
                    <a:lnTo>
                      <a:pt x="1850" y="2410"/>
                    </a:lnTo>
                    <a:lnTo>
                      <a:pt x="1856" y="2408"/>
                    </a:lnTo>
                    <a:lnTo>
                      <a:pt x="1860" y="2408"/>
                    </a:lnTo>
                    <a:lnTo>
                      <a:pt x="1862" y="2408"/>
                    </a:lnTo>
                    <a:lnTo>
                      <a:pt x="1870" y="2412"/>
                    </a:lnTo>
                    <a:lnTo>
                      <a:pt x="1876" y="2414"/>
                    </a:lnTo>
                    <a:lnTo>
                      <a:pt x="1882" y="2412"/>
                    </a:lnTo>
                    <a:lnTo>
                      <a:pt x="1882" y="2412"/>
                    </a:lnTo>
                    <a:lnTo>
                      <a:pt x="1892" y="2408"/>
                    </a:lnTo>
                    <a:lnTo>
                      <a:pt x="1894" y="2406"/>
                    </a:lnTo>
                    <a:lnTo>
                      <a:pt x="1892" y="2404"/>
                    </a:lnTo>
                    <a:lnTo>
                      <a:pt x="1892" y="2400"/>
                    </a:lnTo>
                    <a:lnTo>
                      <a:pt x="1892" y="2398"/>
                    </a:lnTo>
                    <a:lnTo>
                      <a:pt x="1894" y="2394"/>
                    </a:lnTo>
                    <a:lnTo>
                      <a:pt x="1894" y="2394"/>
                    </a:lnTo>
                    <a:lnTo>
                      <a:pt x="1896" y="2390"/>
                    </a:lnTo>
                    <a:lnTo>
                      <a:pt x="1894" y="2386"/>
                    </a:lnTo>
                    <a:lnTo>
                      <a:pt x="1886" y="2384"/>
                    </a:lnTo>
                    <a:lnTo>
                      <a:pt x="1874" y="2386"/>
                    </a:lnTo>
                    <a:lnTo>
                      <a:pt x="1874" y="2386"/>
                    </a:lnTo>
                    <a:lnTo>
                      <a:pt x="1868" y="2388"/>
                    </a:lnTo>
                    <a:lnTo>
                      <a:pt x="1862" y="2392"/>
                    </a:lnTo>
                    <a:lnTo>
                      <a:pt x="1854" y="2396"/>
                    </a:lnTo>
                    <a:lnTo>
                      <a:pt x="1852" y="2396"/>
                    </a:lnTo>
                    <a:lnTo>
                      <a:pt x="1848" y="2392"/>
                    </a:lnTo>
                    <a:lnTo>
                      <a:pt x="1842" y="2386"/>
                    </a:lnTo>
                    <a:lnTo>
                      <a:pt x="1836" y="2376"/>
                    </a:lnTo>
                    <a:lnTo>
                      <a:pt x="1836" y="2376"/>
                    </a:lnTo>
                    <a:lnTo>
                      <a:pt x="1826" y="2358"/>
                    </a:lnTo>
                    <a:lnTo>
                      <a:pt x="1824" y="2348"/>
                    </a:lnTo>
                    <a:lnTo>
                      <a:pt x="1824" y="2346"/>
                    </a:lnTo>
                    <a:lnTo>
                      <a:pt x="1824" y="2344"/>
                    </a:lnTo>
                    <a:lnTo>
                      <a:pt x="1830" y="2342"/>
                    </a:lnTo>
                    <a:lnTo>
                      <a:pt x="1830" y="2342"/>
                    </a:lnTo>
                    <a:lnTo>
                      <a:pt x="1836" y="2340"/>
                    </a:lnTo>
                    <a:lnTo>
                      <a:pt x="1838" y="2340"/>
                    </a:lnTo>
                    <a:lnTo>
                      <a:pt x="1838" y="2342"/>
                    </a:lnTo>
                    <a:lnTo>
                      <a:pt x="1838" y="2344"/>
                    </a:lnTo>
                    <a:lnTo>
                      <a:pt x="1838" y="2348"/>
                    </a:lnTo>
                    <a:lnTo>
                      <a:pt x="1838" y="2348"/>
                    </a:lnTo>
                    <a:lnTo>
                      <a:pt x="1842" y="2346"/>
                    </a:lnTo>
                    <a:lnTo>
                      <a:pt x="1842" y="2346"/>
                    </a:lnTo>
                    <a:lnTo>
                      <a:pt x="1852" y="2336"/>
                    </a:lnTo>
                    <a:lnTo>
                      <a:pt x="1862" y="2326"/>
                    </a:lnTo>
                    <a:lnTo>
                      <a:pt x="1872" y="2318"/>
                    </a:lnTo>
                    <a:lnTo>
                      <a:pt x="1876" y="2316"/>
                    </a:lnTo>
                    <a:lnTo>
                      <a:pt x="1880" y="2316"/>
                    </a:lnTo>
                    <a:lnTo>
                      <a:pt x="1880" y="2316"/>
                    </a:lnTo>
                    <a:lnTo>
                      <a:pt x="1886" y="2318"/>
                    </a:lnTo>
                    <a:lnTo>
                      <a:pt x="1896" y="2316"/>
                    </a:lnTo>
                    <a:lnTo>
                      <a:pt x="1906" y="2312"/>
                    </a:lnTo>
                    <a:lnTo>
                      <a:pt x="1916" y="2308"/>
                    </a:lnTo>
                    <a:lnTo>
                      <a:pt x="1934" y="2296"/>
                    </a:lnTo>
                    <a:lnTo>
                      <a:pt x="1944" y="2292"/>
                    </a:lnTo>
                    <a:lnTo>
                      <a:pt x="1944" y="2292"/>
                    </a:lnTo>
                    <a:lnTo>
                      <a:pt x="1952" y="2292"/>
                    </a:lnTo>
                    <a:lnTo>
                      <a:pt x="1956" y="2294"/>
                    </a:lnTo>
                    <a:lnTo>
                      <a:pt x="1960" y="2296"/>
                    </a:lnTo>
                    <a:lnTo>
                      <a:pt x="1964" y="2294"/>
                    </a:lnTo>
                    <a:lnTo>
                      <a:pt x="1964" y="2294"/>
                    </a:lnTo>
                    <a:lnTo>
                      <a:pt x="1972" y="2288"/>
                    </a:lnTo>
                    <a:lnTo>
                      <a:pt x="1976" y="2288"/>
                    </a:lnTo>
                    <a:lnTo>
                      <a:pt x="1976" y="2288"/>
                    </a:lnTo>
                    <a:lnTo>
                      <a:pt x="1980" y="2290"/>
                    </a:lnTo>
                    <a:lnTo>
                      <a:pt x="1986" y="2288"/>
                    </a:lnTo>
                    <a:lnTo>
                      <a:pt x="1992" y="2286"/>
                    </a:lnTo>
                    <a:lnTo>
                      <a:pt x="1992" y="2286"/>
                    </a:lnTo>
                    <a:lnTo>
                      <a:pt x="1998" y="2284"/>
                    </a:lnTo>
                    <a:lnTo>
                      <a:pt x="2002" y="2284"/>
                    </a:lnTo>
                    <a:lnTo>
                      <a:pt x="2004" y="2286"/>
                    </a:lnTo>
                    <a:lnTo>
                      <a:pt x="2004" y="2288"/>
                    </a:lnTo>
                    <a:lnTo>
                      <a:pt x="2004" y="2290"/>
                    </a:lnTo>
                    <a:lnTo>
                      <a:pt x="2000" y="2294"/>
                    </a:lnTo>
                    <a:lnTo>
                      <a:pt x="1996" y="2298"/>
                    </a:lnTo>
                    <a:lnTo>
                      <a:pt x="1988" y="2300"/>
                    </a:lnTo>
                    <a:lnTo>
                      <a:pt x="1988" y="2300"/>
                    </a:lnTo>
                    <a:lnTo>
                      <a:pt x="1980" y="2302"/>
                    </a:lnTo>
                    <a:lnTo>
                      <a:pt x="1974" y="2306"/>
                    </a:lnTo>
                    <a:lnTo>
                      <a:pt x="1968" y="2312"/>
                    </a:lnTo>
                    <a:lnTo>
                      <a:pt x="1962" y="2316"/>
                    </a:lnTo>
                    <a:lnTo>
                      <a:pt x="1948" y="2318"/>
                    </a:lnTo>
                    <a:lnTo>
                      <a:pt x="1948" y="2318"/>
                    </a:lnTo>
                    <a:lnTo>
                      <a:pt x="1944" y="2318"/>
                    </a:lnTo>
                    <a:lnTo>
                      <a:pt x="1944" y="2320"/>
                    </a:lnTo>
                    <a:lnTo>
                      <a:pt x="1944" y="2324"/>
                    </a:lnTo>
                    <a:lnTo>
                      <a:pt x="1946" y="2326"/>
                    </a:lnTo>
                    <a:lnTo>
                      <a:pt x="1952" y="2332"/>
                    </a:lnTo>
                    <a:lnTo>
                      <a:pt x="1956" y="2334"/>
                    </a:lnTo>
                    <a:lnTo>
                      <a:pt x="1958" y="2334"/>
                    </a:lnTo>
                    <a:lnTo>
                      <a:pt x="1958" y="2334"/>
                    </a:lnTo>
                    <a:lnTo>
                      <a:pt x="1962" y="2334"/>
                    </a:lnTo>
                    <a:lnTo>
                      <a:pt x="1968" y="2338"/>
                    </a:lnTo>
                    <a:lnTo>
                      <a:pt x="1974" y="2344"/>
                    </a:lnTo>
                    <a:lnTo>
                      <a:pt x="1978" y="2352"/>
                    </a:lnTo>
                    <a:lnTo>
                      <a:pt x="1976" y="2354"/>
                    </a:lnTo>
                    <a:lnTo>
                      <a:pt x="1972" y="2352"/>
                    </a:lnTo>
                    <a:lnTo>
                      <a:pt x="1972" y="2352"/>
                    </a:lnTo>
                    <a:lnTo>
                      <a:pt x="1964" y="2350"/>
                    </a:lnTo>
                    <a:lnTo>
                      <a:pt x="1958" y="2350"/>
                    </a:lnTo>
                    <a:lnTo>
                      <a:pt x="1952" y="2354"/>
                    </a:lnTo>
                    <a:lnTo>
                      <a:pt x="1948" y="2362"/>
                    </a:lnTo>
                    <a:lnTo>
                      <a:pt x="1948" y="2362"/>
                    </a:lnTo>
                    <a:lnTo>
                      <a:pt x="1942" y="2376"/>
                    </a:lnTo>
                    <a:lnTo>
                      <a:pt x="1940" y="2382"/>
                    </a:lnTo>
                    <a:lnTo>
                      <a:pt x="1942" y="2388"/>
                    </a:lnTo>
                    <a:lnTo>
                      <a:pt x="1942" y="2388"/>
                    </a:lnTo>
                    <a:lnTo>
                      <a:pt x="1944" y="2396"/>
                    </a:lnTo>
                    <a:lnTo>
                      <a:pt x="1942" y="2396"/>
                    </a:lnTo>
                    <a:lnTo>
                      <a:pt x="1940" y="2396"/>
                    </a:lnTo>
                    <a:lnTo>
                      <a:pt x="1934" y="2394"/>
                    </a:lnTo>
                    <a:lnTo>
                      <a:pt x="1930" y="2392"/>
                    </a:lnTo>
                    <a:lnTo>
                      <a:pt x="1926" y="2394"/>
                    </a:lnTo>
                    <a:lnTo>
                      <a:pt x="1926" y="2394"/>
                    </a:lnTo>
                    <a:lnTo>
                      <a:pt x="1922" y="2394"/>
                    </a:lnTo>
                    <a:lnTo>
                      <a:pt x="1918" y="2392"/>
                    </a:lnTo>
                    <a:lnTo>
                      <a:pt x="1910" y="2390"/>
                    </a:lnTo>
                    <a:lnTo>
                      <a:pt x="1904" y="2388"/>
                    </a:lnTo>
                    <a:lnTo>
                      <a:pt x="1904" y="2390"/>
                    </a:lnTo>
                    <a:lnTo>
                      <a:pt x="1904" y="2392"/>
                    </a:lnTo>
                    <a:lnTo>
                      <a:pt x="1904" y="2392"/>
                    </a:lnTo>
                    <a:lnTo>
                      <a:pt x="1904" y="2396"/>
                    </a:lnTo>
                    <a:lnTo>
                      <a:pt x="1904" y="2398"/>
                    </a:lnTo>
                    <a:lnTo>
                      <a:pt x="1900" y="2402"/>
                    </a:lnTo>
                    <a:lnTo>
                      <a:pt x="1900" y="2404"/>
                    </a:lnTo>
                    <a:lnTo>
                      <a:pt x="1900" y="2404"/>
                    </a:lnTo>
                    <a:lnTo>
                      <a:pt x="1912" y="2410"/>
                    </a:lnTo>
                    <a:lnTo>
                      <a:pt x="1912" y="2410"/>
                    </a:lnTo>
                    <a:lnTo>
                      <a:pt x="1918" y="2414"/>
                    </a:lnTo>
                    <a:lnTo>
                      <a:pt x="1924" y="2418"/>
                    </a:lnTo>
                    <a:lnTo>
                      <a:pt x="1928" y="2424"/>
                    </a:lnTo>
                    <a:lnTo>
                      <a:pt x="1934" y="2430"/>
                    </a:lnTo>
                    <a:lnTo>
                      <a:pt x="1938" y="2432"/>
                    </a:lnTo>
                    <a:lnTo>
                      <a:pt x="1944" y="2434"/>
                    </a:lnTo>
                    <a:lnTo>
                      <a:pt x="1944" y="2434"/>
                    </a:lnTo>
                    <a:lnTo>
                      <a:pt x="1950" y="2434"/>
                    </a:lnTo>
                    <a:lnTo>
                      <a:pt x="1954" y="2436"/>
                    </a:lnTo>
                    <a:lnTo>
                      <a:pt x="1956" y="2440"/>
                    </a:lnTo>
                    <a:lnTo>
                      <a:pt x="1958" y="2442"/>
                    </a:lnTo>
                    <a:lnTo>
                      <a:pt x="1960" y="2446"/>
                    </a:lnTo>
                    <a:lnTo>
                      <a:pt x="1966" y="2448"/>
                    </a:lnTo>
                    <a:lnTo>
                      <a:pt x="1976" y="2452"/>
                    </a:lnTo>
                    <a:lnTo>
                      <a:pt x="1976" y="2452"/>
                    </a:lnTo>
                    <a:lnTo>
                      <a:pt x="1990" y="2456"/>
                    </a:lnTo>
                    <a:lnTo>
                      <a:pt x="1994" y="2458"/>
                    </a:lnTo>
                    <a:lnTo>
                      <a:pt x="1996" y="2462"/>
                    </a:lnTo>
                    <a:lnTo>
                      <a:pt x="2006" y="2474"/>
                    </a:lnTo>
                    <a:lnTo>
                      <a:pt x="2034" y="2504"/>
                    </a:lnTo>
                    <a:lnTo>
                      <a:pt x="2034" y="2504"/>
                    </a:lnTo>
                    <a:lnTo>
                      <a:pt x="2042" y="2510"/>
                    </a:lnTo>
                    <a:lnTo>
                      <a:pt x="2050" y="2516"/>
                    </a:lnTo>
                    <a:lnTo>
                      <a:pt x="2062" y="2520"/>
                    </a:lnTo>
                    <a:lnTo>
                      <a:pt x="2070" y="2522"/>
                    </a:lnTo>
                    <a:lnTo>
                      <a:pt x="2074" y="2526"/>
                    </a:lnTo>
                    <a:lnTo>
                      <a:pt x="2076" y="2530"/>
                    </a:lnTo>
                    <a:lnTo>
                      <a:pt x="2076" y="2530"/>
                    </a:lnTo>
                    <a:lnTo>
                      <a:pt x="2080" y="2534"/>
                    </a:lnTo>
                    <a:lnTo>
                      <a:pt x="2082" y="2538"/>
                    </a:lnTo>
                    <a:lnTo>
                      <a:pt x="2088" y="2538"/>
                    </a:lnTo>
                    <a:lnTo>
                      <a:pt x="2092" y="2540"/>
                    </a:lnTo>
                    <a:lnTo>
                      <a:pt x="2094" y="2544"/>
                    </a:lnTo>
                    <a:lnTo>
                      <a:pt x="2098" y="2552"/>
                    </a:lnTo>
                    <a:lnTo>
                      <a:pt x="2100" y="2562"/>
                    </a:lnTo>
                    <a:lnTo>
                      <a:pt x="2100" y="2562"/>
                    </a:lnTo>
                    <a:lnTo>
                      <a:pt x="2104" y="2584"/>
                    </a:lnTo>
                    <a:lnTo>
                      <a:pt x="2104" y="2598"/>
                    </a:lnTo>
                    <a:lnTo>
                      <a:pt x="2100" y="2606"/>
                    </a:lnTo>
                    <a:lnTo>
                      <a:pt x="2096" y="2610"/>
                    </a:lnTo>
                    <a:lnTo>
                      <a:pt x="2096" y="2610"/>
                    </a:lnTo>
                    <a:lnTo>
                      <a:pt x="2086" y="2618"/>
                    </a:lnTo>
                    <a:lnTo>
                      <a:pt x="2066" y="2630"/>
                    </a:lnTo>
                    <a:lnTo>
                      <a:pt x="2054" y="2636"/>
                    </a:lnTo>
                    <a:lnTo>
                      <a:pt x="2044" y="2640"/>
                    </a:lnTo>
                    <a:lnTo>
                      <a:pt x="2032" y="2638"/>
                    </a:lnTo>
                    <a:lnTo>
                      <a:pt x="2028" y="2638"/>
                    </a:lnTo>
                    <a:lnTo>
                      <a:pt x="2024" y="2634"/>
                    </a:lnTo>
                    <a:lnTo>
                      <a:pt x="2024" y="2634"/>
                    </a:lnTo>
                    <a:lnTo>
                      <a:pt x="2014" y="2630"/>
                    </a:lnTo>
                    <a:lnTo>
                      <a:pt x="2006" y="2630"/>
                    </a:lnTo>
                    <a:lnTo>
                      <a:pt x="1996" y="2632"/>
                    </a:lnTo>
                    <a:lnTo>
                      <a:pt x="1986" y="2636"/>
                    </a:lnTo>
                    <a:lnTo>
                      <a:pt x="1976" y="2640"/>
                    </a:lnTo>
                    <a:lnTo>
                      <a:pt x="1968" y="2642"/>
                    </a:lnTo>
                    <a:lnTo>
                      <a:pt x="1960" y="2642"/>
                    </a:lnTo>
                    <a:lnTo>
                      <a:pt x="1956" y="2640"/>
                    </a:lnTo>
                    <a:lnTo>
                      <a:pt x="1952" y="2636"/>
                    </a:lnTo>
                    <a:lnTo>
                      <a:pt x="1952" y="2636"/>
                    </a:lnTo>
                    <a:lnTo>
                      <a:pt x="1942" y="2630"/>
                    </a:lnTo>
                    <a:lnTo>
                      <a:pt x="1940" y="2630"/>
                    </a:lnTo>
                    <a:lnTo>
                      <a:pt x="1940" y="2630"/>
                    </a:lnTo>
                    <a:lnTo>
                      <a:pt x="1938" y="2632"/>
                    </a:lnTo>
                    <a:lnTo>
                      <a:pt x="1936" y="2634"/>
                    </a:lnTo>
                    <a:lnTo>
                      <a:pt x="1932" y="2634"/>
                    </a:lnTo>
                    <a:lnTo>
                      <a:pt x="1924" y="2630"/>
                    </a:lnTo>
                    <a:lnTo>
                      <a:pt x="1924" y="2630"/>
                    </a:lnTo>
                    <a:lnTo>
                      <a:pt x="1918" y="2626"/>
                    </a:lnTo>
                    <a:lnTo>
                      <a:pt x="1914" y="2622"/>
                    </a:lnTo>
                    <a:lnTo>
                      <a:pt x="1910" y="2618"/>
                    </a:lnTo>
                    <a:lnTo>
                      <a:pt x="1908" y="2616"/>
                    </a:lnTo>
                    <a:lnTo>
                      <a:pt x="1906" y="2616"/>
                    </a:lnTo>
                    <a:lnTo>
                      <a:pt x="1896" y="2620"/>
                    </a:lnTo>
                    <a:lnTo>
                      <a:pt x="1896" y="2620"/>
                    </a:lnTo>
                    <a:lnTo>
                      <a:pt x="1890" y="2620"/>
                    </a:lnTo>
                    <a:lnTo>
                      <a:pt x="1886" y="2618"/>
                    </a:lnTo>
                    <a:lnTo>
                      <a:pt x="1884" y="2614"/>
                    </a:lnTo>
                    <a:lnTo>
                      <a:pt x="1882" y="2608"/>
                    </a:lnTo>
                    <a:lnTo>
                      <a:pt x="1880" y="2602"/>
                    </a:lnTo>
                    <a:lnTo>
                      <a:pt x="1876" y="2598"/>
                    </a:lnTo>
                    <a:lnTo>
                      <a:pt x="1870" y="2596"/>
                    </a:lnTo>
                    <a:lnTo>
                      <a:pt x="1860" y="2598"/>
                    </a:lnTo>
                    <a:lnTo>
                      <a:pt x="1860" y="2598"/>
                    </a:lnTo>
                    <a:lnTo>
                      <a:pt x="1850" y="2600"/>
                    </a:lnTo>
                    <a:lnTo>
                      <a:pt x="1844" y="2596"/>
                    </a:lnTo>
                    <a:lnTo>
                      <a:pt x="1842" y="2592"/>
                    </a:lnTo>
                    <a:lnTo>
                      <a:pt x="1840" y="2586"/>
                    </a:lnTo>
                    <a:lnTo>
                      <a:pt x="1840" y="2582"/>
                    </a:lnTo>
                    <a:lnTo>
                      <a:pt x="1838" y="2578"/>
                    </a:lnTo>
                    <a:lnTo>
                      <a:pt x="1836" y="2576"/>
                    </a:lnTo>
                    <a:lnTo>
                      <a:pt x="1830" y="2580"/>
                    </a:lnTo>
                    <a:lnTo>
                      <a:pt x="1830" y="2580"/>
                    </a:lnTo>
                    <a:lnTo>
                      <a:pt x="1822" y="2582"/>
                    </a:lnTo>
                    <a:lnTo>
                      <a:pt x="1814" y="2584"/>
                    </a:lnTo>
                    <a:lnTo>
                      <a:pt x="1798" y="2582"/>
                    </a:lnTo>
                    <a:lnTo>
                      <a:pt x="1788" y="2580"/>
                    </a:lnTo>
                    <a:lnTo>
                      <a:pt x="1778" y="2580"/>
                    </a:lnTo>
                    <a:lnTo>
                      <a:pt x="1766" y="2582"/>
                    </a:lnTo>
                    <a:lnTo>
                      <a:pt x="1752" y="2586"/>
                    </a:lnTo>
                    <a:lnTo>
                      <a:pt x="1752" y="2586"/>
                    </a:lnTo>
                    <a:lnTo>
                      <a:pt x="1724" y="2596"/>
                    </a:lnTo>
                    <a:lnTo>
                      <a:pt x="1706" y="2608"/>
                    </a:lnTo>
                    <a:lnTo>
                      <a:pt x="1694" y="2618"/>
                    </a:lnTo>
                    <a:lnTo>
                      <a:pt x="1688" y="2624"/>
                    </a:lnTo>
                    <a:lnTo>
                      <a:pt x="1688" y="2624"/>
                    </a:lnTo>
                    <a:lnTo>
                      <a:pt x="1684" y="2630"/>
                    </a:lnTo>
                    <a:lnTo>
                      <a:pt x="1678" y="2632"/>
                    </a:lnTo>
                    <a:lnTo>
                      <a:pt x="1668" y="2632"/>
                    </a:lnTo>
                    <a:lnTo>
                      <a:pt x="1656" y="2628"/>
                    </a:lnTo>
                    <a:lnTo>
                      <a:pt x="1656" y="2628"/>
                    </a:lnTo>
                    <a:lnTo>
                      <a:pt x="1646" y="2626"/>
                    </a:lnTo>
                    <a:lnTo>
                      <a:pt x="1638" y="2626"/>
                    </a:lnTo>
                    <a:lnTo>
                      <a:pt x="1630" y="2628"/>
                    </a:lnTo>
                    <a:lnTo>
                      <a:pt x="1618" y="2628"/>
                    </a:lnTo>
                    <a:lnTo>
                      <a:pt x="1618" y="2628"/>
                    </a:lnTo>
                    <a:lnTo>
                      <a:pt x="1608" y="2624"/>
                    </a:lnTo>
                    <a:lnTo>
                      <a:pt x="1602" y="2626"/>
                    </a:lnTo>
                    <a:lnTo>
                      <a:pt x="1598" y="2628"/>
                    </a:lnTo>
                    <a:lnTo>
                      <a:pt x="1596" y="2634"/>
                    </a:lnTo>
                    <a:lnTo>
                      <a:pt x="1596" y="2634"/>
                    </a:lnTo>
                    <a:lnTo>
                      <a:pt x="1594" y="2638"/>
                    </a:lnTo>
                    <a:lnTo>
                      <a:pt x="1596" y="2640"/>
                    </a:lnTo>
                    <a:lnTo>
                      <a:pt x="1600" y="2642"/>
                    </a:lnTo>
                    <a:lnTo>
                      <a:pt x="1604" y="2646"/>
                    </a:lnTo>
                    <a:lnTo>
                      <a:pt x="1604" y="2646"/>
                    </a:lnTo>
                    <a:lnTo>
                      <a:pt x="1608" y="2650"/>
                    </a:lnTo>
                    <a:lnTo>
                      <a:pt x="1612" y="2650"/>
                    </a:lnTo>
                    <a:lnTo>
                      <a:pt x="1620" y="2652"/>
                    </a:lnTo>
                    <a:lnTo>
                      <a:pt x="1622" y="2652"/>
                    </a:lnTo>
                    <a:lnTo>
                      <a:pt x="1620" y="2652"/>
                    </a:lnTo>
                    <a:lnTo>
                      <a:pt x="1606" y="2656"/>
                    </a:lnTo>
                    <a:lnTo>
                      <a:pt x="1606" y="2656"/>
                    </a:lnTo>
                    <a:lnTo>
                      <a:pt x="1584" y="2660"/>
                    </a:lnTo>
                    <a:lnTo>
                      <a:pt x="1584" y="2662"/>
                    </a:lnTo>
                    <a:lnTo>
                      <a:pt x="1584" y="2664"/>
                    </a:lnTo>
                    <a:lnTo>
                      <a:pt x="1592" y="2666"/>
                    </a:lnTo>
                    <a:lnTo>
                      <a:pt x="1594" y="2668"/>
                    </a:lnTo>
                    <a:lnTo>
                      <a:pt x="1594" y="2672"/>
                    </a:lnTo>
                    <a:lnTo>
                      <a:pt x="1594" y="2672"/>
                    </a:lnTo>
                    <a:lnTo>
                      <a:pt x="1586" y="2674"/>
                    </a:lnTo>
                    <a:lnTo>
                      <a:pt x="1570" y="2674"/>
                    </a:lnTo>
                    <a:lnTo>
                      <a:pt x="1558" y="2672"/>
                    </a:lnTo>
                    <a:lnTo>
                      <a:pt x="1554" y="2670"/>
                    </a:lnTo>
                    <a:lnTo>
                      <a:pt x="1552" y="2666"/>
                    </a:lnTo>
                    <a:lnTo>
                      <a:pt x="1552" y="2666"/>
                    </a:lnTo>
                    <a:lnTo>
                      <a:pt x="1552" y="2664"/>
                    </a:lnTo>
                    <a:lnTo>
                      <a:pt x="1550" y="2662"/>
                    </a:lnTo>
                    <a:lnTo>
                      <a:pt x="1544" y="2662"/>
                    </a:lnTo>
                    <a:lnTo>
                      <a:pt x="1538" y="2666"/>
                    </a:lnTo>
                    <a:lnTo>
                      <a:pt x="1536" y="2668"/>
                    </a:lnTo>
                    <a:lnTo>
                      <a:pt x="1538" y="2670"/>
                    </a:lnTo>
                    <a:lnTo>
                      <a:pt x="1538" y="2670"/>
                    </a:lnTo>
                    <a:lnTo>
                      <a:pt x="1540" y="2672"/>
                    </a:lnTo>
                    <a:lnTo>
                      <a:pt x="1540" y="2674"/>
                    </a:lnTo>
                    <a:lnTo>
                      <a:pt x="1536" y="2676"/>
                    </a:lnTo>
                    <a:lnTo>
                      <a:pt x="1530" y="2676"/>
                    </a:lnTo>
                    <a:lnTo>
                      <a:pt x="1528" y="2674"/>
                    </a:lnTo>
                    <a:lnTo>
                      <a:pt x="1526" y="2672"/>
                    </a:lnTo>
                    <a:lnTo>
                      <a:pt x="1526" y="2672"/>
                    </a:lnTo>
                    <a:lnTo>
                      <a:pt x="1524" y="2670"/>
                    </a:lnTo>
                    <a:lnTo>
                      <a:pt x="1520" y="2668"/>
                    </a:lnTo>
                    <a:lnTo>
                      <a:pt x="1516" y="2666"/>
                    </a:lnTo>
                    <a:lnTo>
                      <a:pt x="1510" y="2668"/>
                    </a:lnTo>
                    <a:lnTo>
                      <a:pt x="1506" y="2670"/>
                    </a:lnTo>
                    <a:lnTo>
                      <a:pt x="1500" y="2672"/>
                    </a:lnTo>
                    <a:lnTo>
                      <a:pt x="1494" y="2678"/>
                    </a:lnTo>
                    <a:lnTo>
                      <a:pt x="1488" y="2686"/>
                    </a:lnTo>
                    <a:lnTo>
                      <a:pt x="1488" y="2686"/>
                    </a:lnTo>
                    <a:lnTo>
                      <a:pt x="1482" y="2692"/>
                    </a:lnTo>
                    <a:lnTo>
                      <a:pt x="1480" y="2694"/>
                    </a:lnTo>
                    <a:lnTo>
                      <a:pt x="1478" y="2696"/>
                    </a:lnTo>
                    <a:lnTo>
                      <a:pt x="1476" y="2706"/>
                    </a:lnTo>
                    <a:lnTo>
                      <a:pt x="1476" y="2706"/>
                    </a:lnTo>
                    <a:lnTo>
                      <a:pt x="1474" y="2716"/>
                    </a:lnTo>
                    <a:lnTo>
                      <a:pt x="1474" y="2718"/>
                    </a:lnTo>
                    <a:lnTo>
                      <a:pt x="1476" y="2720"/>
                    </a:lnTo>
                    <a:lnTo>
                      <a:pt x="1482" y="2720"/>
                    </a:lnTo>
                    <a:lnTo>
                      <a:pt x="1496" y="2716"/>
                    </a:lnTo>
                    <a:lnTo>
                      <a:pt x="1496" y="2716"/>
                    </a:lnTo>
                    <a:lnTo>
                      <a:pt x="1504" y="2716"/>
                    </a:lnTo>
                    <a:lnTo>
                      <a:pt x="1506" y="2716"/>
                    </a:lnTo>
                    <a:lnTo>
                      <a:pt x="1506" y="2718"/>
                    </a:lnTo>
                    <a:lnTo>
                      <a:pt x="1504" y="2720"/>
                    </a:lnTo>
                    <a:lnTo>
                      <a:pt x="1500" y="2728"/>
                    </a:lnTo>
                    <a:lnTo>
                      <a:pt x="1498" y="2732"/>
                    </a:lnTo>
                    <a:lnTo>
                      <a:pt x="1502" y="2734"/>
                    </a:lnTo>
                    <a:lnTo>
                      <a:pt x="1502" y="2734"/>
                    </a:lnTo>
                    <a:lnTo>
                      <a:pt x="1504" y="2738"/>
                    </a:lnTo>
                    <a:lnTo>
                      <a:pt x="1504" y="2740"/>
                    </a:lnTo>
                    <a:lnTo>
                      <a:pt x="1502" y="2746"/>
                    </a:lnTo>
                    <a:lnTo>
                      <a:pt x="1502" y="2750"/>
                    </a:lnTo>
                    <a:lnTo>
                      <a:pt x="1504" y="2752"/>
                    </a:lnTo>
                    <a:lnTo>
                      <a:pt x="1506" y="2752"/>
                    </a:lnTo>
                    <a:lnTo>
                      <a:pt x="1506" y="2752"/>
                    </a:lnTo>
                    <a:lnTo>
                      <a:pt x="1510" y="2754"/>
                    </a:lnTo>
                    <a:lnTo>
                      <a:pt x="1510" y="2756"/>
                    </a:lnTo>
                    <a:lnTo>
                      <a:pt x="1504" y="2760"/>
                    </a:lnTo>
                    <a:lnTo>
                      <a:pt x="1498" y="2766"/>
                    </a:lnTo>
                    <a:lnTo>
                      <a:pt x="1498" y="2768"/>
                    </a:lnTo>
                    <a:lnTo>
                      <a:pt x="1502" y="2770"/>
                    </a:lnTo>
                    <a:lnTo>
                      <a:pt x="1502" y="2770"/>
                    </a:lnTo>
                    <a:lnTo>
                      <a:pt x="1508" y="2774"/>
                    </a:lnTo>
                    <a:lnTo>
                      <a:pt x="1510" y="2778"/>
                    </a:lnTo>
                    <a:lnTo>
                      <a:pt x="1510" y="2780"/>
                    </a:lnTo>
                    <a:lnTo>
                      <a:pt x="1508" y="2782"/>
                    </a:lnTo>
                    <a:lnTo>
                      <a:pt x="1504" y="2782"/>
                    </a:lnTo>
                    <a:lnTo>
                      <a:pt x="1500" y="2782"/>
                    </a:lnTo>
                    <a:lnTo>
                      <a:pt x="1496" y="2780"/>
                    </a:lnTo>
                    <a:lnTo>
                      <a:pt x="1494" y="2774"/>
                    </a:lnTo>
                    <a:lnTo>
                      <a:pt x="1494" y="2774"/>
                    </a:lnTo>
                    <a:lnTo>
                      <a:pt x="1492" y="2768"/>
                    </a:lnTo>
                    <a:lnTo>
                      <a:pt x="1488" y="2768"/>
                    </a:lnTo>
                    <a:lnTo>
                      <a:pt x="1486" y="2768"/>
                    </a:lnTo>
                    <a:lnTo>
                      <a:pt x="1486" y="2772"/>
                    </a:lnTo>
                    <a:lnTo>
                      <a:pt x="1484" y="2782"/>
                    </a:lnTo>
                    <a:lnTo>
                      <a:pt x="1486" y="2788"/>
                    </a:lnTo>
                    <a:lnTo>
                      <a:pt x="1490" y="2792"/>
                    </a:lnTo>
                    <a:lnTo>
                      <a:pt x="1490" y="2792"/>
                    </a:lnTo>
                    <a:lnTo>
                      <a:pt x="1494" y="2794"/>
                    </a:lnTo>
                    <a:lnTo>
                      <a:pt x="1498" y="2794"/>
                    </a:lnTo>
                    <a:lnTo>
                      <a:pt x="1500" y="2794"/>
                    </a:lnTo>
                    <a:lnTo>
                      <a:pt x="1504" y="2796"/>
                    </a:lnTo>
                    <a:lnTo>
                      <a:pt x="1504" y="2796"/>
                    </a:lnTo>
                    <a:lnTo>
                      <a:pt x="1508" y="2800"/>
                    </a:lnTo>
                    <a:lnTo>
                      <a:pt x="1510" y="2800"/>
                    </a:lnTo>
                    <a:lnTo>
                      <a:pt x="1518" y="2802"/>
                    </a:lnTo>
                    <a:lnTo>
                      <a:pt x="1520" y="2802"/>
                    </a:lnTo>
                    <a:lnTo>
                      <a:pt x="1522" y="2804"/>
                    </a:lnTo>
                    <a:lnTo>
                      <a:pt x="1522" y="2806"/>
                    </a:lnTo>
                    <a:lnTo>
                      <a:pt x="1520" y="2810"/>
                    </a:lnTo>
                    <a:lnTo>
                      <a:pt x="1520" y="2810"/>
                    </a:lnTo>
                    <a:lnTo>
                      <a:pt x="1516" y="2818"/>
                    </a:lnTo>
                    <a:lnTo>
                      <a:pt x="1516" y="2822"/>
                    </a:lnTo>
                    <a:lnTo>
                      <a:pt x="1520" y="2826"/>
                    </a:lnTo>
                    <a:lnTo>
                      <a:pt x="1520" y="2832"/>
                    </a:lnTo>
                    <a:lnTo>
                      <a:pt x="1520" y="2832"/>
                    </a:lnTo>
                    <a:lnTo>
                      <a:pt x="1520" y="2836"/>
                    </a:lnTo>
                    <a:lnTo>
                      <a:pt x="1522" y="2838"/>
                    </a:lnTo>
                    <a:lnTo>
                      <a:pt x="1526" y="2838"/>
                    </a:lnTo>
                    <a:lnTo>
                      <a:pt x="1528" y="2840"/>
                    </a:lnTo>
                    <a:lnTo>
                      <a:pt x="1530" y="2844"/>
                    </a:lnTo>
                    <a:lnTo>
                      <a:pt x="1530" y="2844"/>
                    </a:lnTo>
                    <a:lnTo>
                      <a:pt x="1530" y="2848"/>
                    </a:lnTo>
                    <a:lnTo>
                      <a:pt x="1530" y="2850"/>
                    </a:lnTo>
                    <a:lnTo>
                      <a:pt x="1524" y="2850"/>
                    </a:lnTo>
                    <a:lnTo>
                      <a:pt x="1518" y="2850"/>
                    </a:lnTo>
                    <a:lnTo>
                      <a:pt x="1518" y="2850"/>
                    </a:lnTo>
                    <a:lnTo>
                      <a:pt x="1520" y="2854"/>
                    </a:lnTo>
                    <a:lnTo>
                      <a:pt x="1520" y="2854"/>
                    </a:lnTo>
                    <a:lnTo>
                      <a:pt x="1522" y="2856"/>
                    </a:lnTo>
                    <a:lnTo>
                      <a:pt x="1528" y="2858"/>
                    </a:lnTo>
                    <a:lnTo>
                      <a:pt x="1542" y="2856"/>
                    </a:lnTo>
                    <a:lnTo>
                      <a:pt x="1552" y="2856"/>
                    </a:lnTo>
                    <a:lnTo>
                      <a:pt x="1556" y="2858"/>
                    </a:lnTo>
                    <a:lnTo>
                      <a:pt x="1554" y="2860"/>
                    </a:lnTo>
                    <a:lnTo>
                      <a:pt x="1554" y="2860"/>
                    </a:lnTo>
                    <a:lnTo>
                      <a:pt x="1550" y="2864"/>
                    </a:lnTo>
                    <a:lnTo>
                      <a:pt x="1546" y="2866"/>
                    </a:lnTo>
                    <a:lnTo>
                      <a:pt x="1534" y="2868"/>
                    </a:lnTo>
                    <a:lnTo>
                      <a:pt x="1526" y="2870"/>
                    </a:lnTo>
                    <a:lnTo>
                      <a:pt x="1524" y="2870"/>
                    </a:lnTo>
                    <a:lnTo>
                      <a:pt x="1526" y="2872"/>
                    </a:lnTo>
                    <a:lnTo>
                      <a:pt x="1526" y="2872"/>
                    </a:lnTo>
                    <a:lnTo>
                      <a:pt x="1528" y="2876"/>
                    </a:lnTo>
                    <a:lnTo>
                      <a:pt x="1532" y="2876"/>
                    </a:lnTo>
                    <a:lnTo>
                      <a:pt x="1540" y="2874"/>
                    </a:lnTo>
                    <a:lnTo>
                      <a:pt x="1548" y="2872"/>
                    </a:lnTo>
                    <a:lnTo>
                      <a:pt x="1550" y="2872"/>
                    </a:lnTo>
                    <a:lnTo>
                      <a:pt x="1552" y="2876"/>
                    </a:lnTo>
                    <a:lnTo>
                      <a:pt x="1552" y="2876"/>
                    </a:lnTo>
                    <a:lnTo>
                      <a:pt x="1552" y="2878"/>
                    </a:lnTo>
                    <a:lnTo>
                      <a:pt x="1554" y="2878"/>
                    </a:lnTo>
                    <a:lnTo>
                      <a:pt x="1560" y="2872"/>
                    </a:lnTo>
                    <a:lnTo>
                      <a:pt x="1564" y="2870"/>
                    </a:lnTo>
                    <a:lnTo>
                      <a:pt x="1568" y="2868"/>
                    </a:lnTo>
                    <a:lnTo>
                      <a:pt x="1572" y="2868"/>
                    </a:lnTo>
                    <a:lnTo>
                      <a:pt x="1576" y="2870"/>
                    </a:lnTo>
                    <a:lnTo>
                      <a:pt x="1576" y="2870"/>
                    </a:lnTo>
                    <a:lnTo>
                      <a:pt x="1580" y="2874"/>
                    </a:lnTo>
                    <a:lnTo>
                      <a:pt x="1582" y="2874"/>
                    </a:lnTo>
                    <a:lnTo>
                      <a:pt x="1588" y="2874"/>
                    </a:lnTo>
                    <a:lnTo>
                      <a:pt x="1590" y="2872"/>
                    </a:lnTo>
                    <a:lnTo>
                      <a:pt x="1590" y="2872"/>
                    </a:lnTo>
                    <a:lnTo>
                      <a:pt x="1592" y="2874"/>
                    </a:lnTo>
                    <a:lnTo>
                      <a:pt x="1594" y="2880"/>
                    </a:lnTo>
                    <a:lnTo>
                      <a:pt x="1594" y="2880"/>
                    </a:lnTo>
                    <a:lnTo>
                      <a:pt x="1598" y="2886"/>
                    </a:lnTo>
                    <a:lnTo>
                      <a:pt x="1602" y="2892"/>
                    </a:lnTo>
                    <a:lnTo>
                      <a:pt x="1610" y="2900"/>
                    </a:lnTo>
                    <a:lnTo>
                      <a:pt x="1616" y="2902"/>
                    </a:lnTo>
                    <a:lnTo>
                      <a:pt x="1620" y="2904"/>
                    </a:lnTo>
                    <a:lnTo>
                      <a:pt x="1624" y="2904"/>
                    </a:lnTo>
                    <a:lnTo>
                      <a:pt x="1628" y="2902"/>
                    </a:lnTo>
                    <a:lnTo>
                      <a:pt x="1628" y="2902"/>
                    </a:lnTo>
                    <a:lnTo>
                      <a:pt x="1634" y="2896"/>
                    </a:lnTo>
                    <a:lnTo>
                      <a:pt x="1638" y="2894"/>
                    </a:lnTo>
                    <a:lnTo>
                      <a:pt x="1640" y="2894"/>
                    </a:lnTo>
                    <a:lnTo>
                      <a:pt x="1642" y="2896"/>
                    </a:lnTo>
                    <a:lnTo>
                      <a:pt x="1646" y="2898"/>
                    </a:lnTo>
                    <a:lnTo>
                      <a:pt x="1648" y="2896"/>
                    </a:lnTo>
                    <a:lnTo>
                      <a:pt x="1652" y="2894"/>
                    </a:lnTo>
                    <a:lnTo>
                      <a:pt x="1652" y="2894"/>
                    </a:lnTo>
                    <a:lnTo>
                      <a:pt x="1654" y="2890"/>
                    </a:lnTo>
                    <a:lnTo>
                      <a:pt x="1654" y="2884"/>
                    </a:lnTo>
                    <a:lnTo>
                      <a:pt x="1654" y="2872"/>
                    </a:lnTo>
                    <a:lnTo>
                      <a:pt x="1656" y="2866"/>
                    </a:lnTo>
                    <a:lnTo>
                      <a:pt x="1662" y="2864"/>
                    </a:lnTo>
                    <a:lnTo>
                      <a:pt x="1670" y="2864"/>
                    </a:lnTo>
                    <a:lnTo>
                      <a:pt x="1686" y="2868"/>
                    </a:lnTo>
                    <a:lnTo>
                      <a:pt x="1686" y="2868"/>
                    </a:lnTo>
                    <a:lnTo>
                      <a:pt x="1700" y="2874"/>
                    </a:lnTo>
                    <a:lnTo>
                      <a:pt x="1712" y="2882"/>
                    </a:lnTo>
                    <a:lnTo>
                      <a:pt x="1720" y="2890"/>
                    </a:lnTo>
                    <a:lnTo>
                      <a:pt x="1728" y="2898"/>
                    </a:lnTo>
                    <a:lnTo>
                      <a:pt x="1732" y="2904"/>
                    </a:lnTo>
                    <a:lnTo>
                      <a:pt x="1738" y="2908"/>
                    </a:lnTo>
                    <a:lnTo>
                      <a:pt x="1744" y="2910"/>
                    </a:lnTo>
                    <a:lnTo>
                      <a:pt x="1752" y="2908"/>
                    </a:lnTo>
                    <a:lnTo>
                      <a:pt x="1752" y="2908"/>
                    </a:lnTo>
                    <a:lnTo>
                      <a:pt x="1766" y="2904"/>
                    </a:lnTo>
                    <a:lnTo>
                      <a:pt x="1778" y="2902"/>
                    </a:lnTo>
                    <a:lnTo>
                      <a:pt x="1782" y="2900"/>
                    </a:lnTo>
                    <a:lnTo>
                      <a:pt x="1788" y="2898"/>
                    </a:lnTo>
                    <a:lnTo>
                      <a:pt x="1794" y="2892"/>
                    </a:lnTo>
                    <a:lnTo>
                      <a:pt x="1802" y="2884"/>
                    </a:lnTo>
                    <a:lnTo>
                      <a:pt x="1802" y="2884"/>
                    </a:lnTo>
                    <a:lnTo>
                      <a:pt x="1814" y="2872"/>
                    </a:lnTo>
                    <a:lnTo>
                      <a:pt x="1822" y="2868"/>
                    </a:lnTo>
                    <a:lnTo>
                      <a:pt x="1828" y="2868"/>
                    </a:lnTo>
                    <a:lnTo>
                      <a:pt x="1834" y="2872"/>
                    </a:lnTo>
                    <a:lnTo>
                      <a:pt x="1838" y="2876"/>
                    </a:lnTo>
                    <a:lnTo>
                      <a:pt x="1844" y="2880"/>
                    </a:lnTo>
                    <a:lnTo>
                      <a:pt x="1848" y="2880"/>
                    </a:lnTo>
                    <a:lnTo>
                      <a:pt x="1856" y="2876"/>
                    </a:lnTo>
                    <a:lnTo>
                      <a:pt x="1856" y="2876"/>
                    </a:lnTo>
                    <a:lnTo>
                      <a:pt x="1868" y="2864"/>
                    </a:lnTo>
                    <a:lnTo>
                      <a:pt x="1876" y="2860"/>
                    </a:lnTo>
                    <a:lnTo>
                      <a:pt x="1878" y="2860"/>
                    </a:lnTo>
                    <a:lnTo>
                      <a:pt x="1880" y="2862"/>
                    </a:lnTo>
                    <a:lnTo>
                      <a:pt x="1882" y="2870"/>
                    </a:lnTo>
                    <a:lnTo>
                      <a:pt x="1882" y="2870"/>
                    </a:lnTo>
                    <a:lnTo>
                      <a:pt x="1882" y="2874"/>
                    </a:lnTo>
                    <a:lnTo>
                      <a:pt x="1880" y="2878"/>
                    </a:lnTo>
                    <a:lnTo>
                      <a:pt x="1872" y="2886"/>
                    </a:lnTo>
                    <a:lnTo>
                      <a:pt x="1866" y="2892"/>
                    </a:lnTo>
                    <a:lnTo>
                      <a:pt x="1864" y="2894"/>
                    </a:lnTo>
                    <a:lnTo>
                      <a:pt x="1866" y="2896"/>
                    </a:lnTo>
                    <a:lnTo>
                      <a:pt x="1866" y="2896"/>
                    </a:lnTo>
                    <a:lnTo>
                      <a:pt x="1872" y="2906"/>
                    </a:lnTo>
                    <a:lnTo>
                      <a:pt x="1872" y="2910"/>
                    </a:lnTo>
                    <a:lnTo>
                      <a:pt x="1872" y="2914"/>
                    </a:lnTo>
                    <a:lnTo>
                      <a:pt x="1872" y="2914"/>
                    </a:lnTo>
                    <a:lnTo>
                      <a:pt x="1868" y="2918"/>
                    </a:lnTo>
                    <a:lnTo>
                      <a:pt x="1864" y="2924"/>
                    </a:lnTo>
                    <a:lnTo>
                      <a:pt x="1862" y="2930"/>
                    </a:lnTo>
                    <a:lnTo>
                      <a:pt x="1866" y="2940"/>
                    </a:lnTo>
                    <a:lnTo>
                      <a:pt x="1866" y="2940"/>
                    </a:lnTo>
                    <a:lnTo>
                      <a:pt x="1870" y="2948"/>
                    </a:lnTo>
                    <a:lnTo>
                      <a:pt x="1870" y="2956"/>
                    </a:lnTo>
                    <a:lnTo>
                      <a:pt x="1870" y="2966"/>
                    </a:lnTo>
                    <a:lnTo>
                      <a:pt x="1872" y="2980"/>
                    </a:lnTo>
                    <a:lnTo>
                      <a:pt x="1872" y="2980"/>
                    </a:lnTo>
                    <a:lnTo>
                      <a:pt x="1872" y="2986"/>
                    </a:lnTo>
                    <a:lnTo>
                      <a:pt x="1870" y="2990"/>
                    </a:lnTo>
                    <a:lnTo>
                      <a:pt x="1866" y="2996"/>
                    </a:lnTo>
                    <a:lnTo>
                      <a:pt x="1860" y="3000"/>
                    </a:lnTo>
                    <a:lnTo>
                      <a:pt x="1858" y="3006"/>
                    </a:lnTo>
                    <a:lnTo>
                      <a:pt x="1858" y="3012"/>
                    </a:lnTo>
                    <a:lnTo>
                      <a:pt x="1858" y="3012"/>
                    </a:lnTo>
                    <a:lnTo>
                      <a:pt x="1858" y="3020"/>
                    </a:lnTo>
                    <a:lnTo>
                      <a:pt x="1856" y="3020"/>
                    </a:lnTo>
                    <a:lnTo>
                      <a:pt x="1854" y="3024"/>
                    </a:lnTo>
                    <a:lnTo>
                      <a:pt x="1850" y="3034"/>
                    </a:lnTo>
                    <a:lnTo>
                      <a:pt x="1850" y="3034"/>
                    </a:lnTo>
                    <a:lnTo>
                      <a:pt x="1848" y="3044"/>
                    </a:lnTo>
                    <a:lnTo>
                      <a:pt x="1846" y="3050"/>
                    </a:lnTo>
                    <a:lnTo>
                      <a:pt x="1842" y="3054"/>
                    </a:lnTo>
                    <a:lnTo>
                      <a:pt x="1838" y="3064"/>
                    </a:lnTo>
                    <a:lnTo>
                      <a:pt x="1838" y="3064"/>
                    </a:lnTo>
                    <a:lnTo>
                      <a:pt x="1824" y="3108"/>
                    </a:lnTo>
                    <a:lnTo>
                      <a:pt x="1818" y="3130"/>
                    </a:lnTo>
                    <a:lnTo>
                      <a:pt x="1814" y="3144"/>
                    </a:lnTo>
                    <a:lnTo>
                      <a:pt x="1814" y="3144"/>
                    </a:lnTo>
                    <a:lnTo>
                      <a:pt x="1806" y="3154"/>
                    </a:lnTo>
                    <a:lnTo>
                      <a:pt x="1800" y="3160"/>
                    </a:lnTo>
                    <a:lnTo>
                      <a:pt x="1800" y="3160"/>
                    </a:lnTo>
                    <a:lnTo>
                      <a:pt x="1768" y="3170"/>
                    </a:lnTo>
                    <a:lnTo>
                      <a:pt x="1764" y="3170"/>
                    </a:lnTo>
                    <a:lnTo>
                      <a:pt x="1760" y="3166"/>
                    </a:lnTo>
                    <a:lnTo>
                      <a:pt x="1760" y="3166"/>
                    </a:lnTo>
                    <a:lnTo>
                      <a:pt x="1756" y="3164"/>
                    </a:lnTo>
                    <a:lnTo>
                      <a:pt x="1754" y="3166"/>
                    </a:lnTo>
                    <a:lnTo>
                      <a:pt x="1748" y="3168"/>
                    </a:lnTo>
                    <a:lnTo>
                      <a:pt x="1744" y="3170"/>
                    </a:lnTo>
                    <a:lnTo>
                      <a:pt x="1740" y="3170"/>
                    </a:lnTo>
                    <a:lnTo>
                      <a:pt x="1734" y="3168"/>
                    </a:lnTo>
                    <a:lnTo>
                      <a:pt x="1728" y="3164"/>
                    </a:lnTo>
                    <a:lnTo>
                      <a:pt x="1728" y="3164"/>
                    </a:lnTo>
                    <a:lnTo>
                      <a:pt x="1726" y="3162"/>
                    </a:lnTo>
                    <a:lnTo>
                      <a:pt x="1724" y="3162"/>
                    </a:lnTo>
                    <a:lnTo>
                      <a:pt x="1724" y="3164"/>
                    </a:lnTo>
                    <a:lnTo>
                      <a:pt x="1724" y="3164"/>
                    </a:lnTo>
                    <a:lnTo>
                      <a:pt x="1724" y="3168"/>
                    </a:lnTo>
                    <a:lnTo>
                      <a:pt x="1720" y="3170"/>
                    </a:lnTo>
                    <a:lnTo>
                      <a:pt x="1734" y="3232"/>
                    </a:lnTo>
                    <a:lnTo>
                      <a:pt x="1734" y="3232"/>
                    </a:lnTo>
                    <a:lnTo>
                      <a:pt x="1734" y="3230"/>
                    </a:lnTo>
                    <a:lnTo>
                      <a:pt x="1734" y="3230"/>
                    </a:lnTo>
                    <a:lnTo>
                      <a:pt x="1738" y="3232"/>
                    </a:lnTo>
                    <a:lnTo>
                      <a:pt x="1738" y="3236"/>
                    </a:lnTo>
                    <a:lnTo>
                      <a:pt x="1738" y="3242"/>
                    </a:lnTo>
                    <a:lnTo>
                      <a:pt x="1740" y="3252"/>
                    </a:lnTo>
                    <a:lnTo>
                      <a:pt x="1744" y="3260"/>
                    </a:lnTo>
                    <a:lnTo>
                      <a:pt x="1750" y="3266"/>
                    </a:lnTo>
                    <a:lnTo>
                      <a:pt x="1750" y="3266"/>
                    </a:lnTo>
                    <a:lnTo>
                      <a:pt x="1754" y="3272"/>
                    </a:lnTo>
                    <a:lnTo>
                      <a:pt x="1758" y="3278"/>
                    </a:lnTo>
                    <a:lnTo>
                      <a:pt x="1760" y="3288"/>
                    </a:lnTo>
                    <a:lnTo>
                      <a:pt x="1762" y="3300"/>
                    </a:lnTo>
                    <a:lnTo>
                      <a:pt x="1766" y="3306"/>
                    </a:lnTo>
                    <a:lnTo>
                      <a:pt x="1770" y="3312"/>
                    </a:lnTo>
                    <a:lnTo>
                      <a:pt x="1770" y="3312"/>
                    </a:lnTo>
                    <a:lnTo>
                      <a:pt x="1784" y="3328"/>
                    </a:lnTo>
                    <a:lnTo>
                      <a:pt x="1792" y="3340"/>
                    </a:lnTo>
                    <a:lnTo>
                      <a:pt x="1796" y="3344"/>
                    </a:lnTo>
                    <a:lnTo>
                      <a:pt x="1800" y="3346"/>
                    </a:lnTo>
                    <a:lnTo>
                      <a:pt x="1802" y="3344"/>
                    </a:lnTo>
                    <a:lnTo>
                      <a:pt x="1804" y="3340"/>
                    </a:lnTo>
                    <a:lnTo>
                      <a:pt x="1804" y="3340"/>
                    </a:lnTo>
                    <a:lnTo>
                      <a:pt x="1810" y="3328"/>
                    </a:lnTo>
                    <a:lnTo>
                      <a:pt x="1812" y="3314"/>
                    </a:lnTo>
                    <a:lnTo>
                      <a:pt x="1816" y="3292"/>
                    </a:lnTo>
                    <a:lnTo>
                      <a:pt x="1830" y="3254"/>
                    </a:lnTo>
                    <a:lnTo>
                      <a:pt x="1830" y="3254"/>
                    </a:lnTo>
                    <a:lnTo>
                      <a:pt x="1830" y="3254"/>
                    </a:lnTo>
                    <a:lnTo>
                      <a:pt x="1832" y="3250"/>
                    </a:lnTo>
                    <a:lnTo>
                      <a:pt x="1832" y="3250"/>
                    </a:lnTo>
                    <a:lnTo>
                      <a:pt x="1832" y="3256"/>
                    </a:lnTo>
                    <a:lnTo>
                      <a:pt x="1832" y="3260"/>
                    </a:lnTo>
                    <a:lnTo>
                      <a:pt x="1832" y="3260"/>
                    </a:lnTo>
                    <a:lnTo>
                      <a:pt x="1826" y="3286"/>
                    </a:lnTo>
                    <a:lnTo>
                      <a:pt x="1826" y="3296"/>
                    </a:lnTo>
                    <a:lnTo>
                      <a:pt x="1826" y="3302"/>
                    </a:lnTo>
                    <a:lnTo>
                      <a:pt x="1822" y="3312"/>
                    </a:lnTo>
                    <a:lnTo>
                      <a:pt x="1822" y="3312"/>
                    </a:lnTo>
                    <a:lnTo>
                      <a:pt x="1818" y="3328"/>
                    </a:lnTo>
                    <a:lnTo>
                      <a:pt x="1818" y="3330"/>
                    </a:lnTo>
                    <a:lnTo>
                      <a:pt x="1818" y="3330"/>
                    </a:lnTo>
                    <a:lnTo>
                      <a:pt x="1824" y="3328"/>
                    </a:lnTo>
                    <a:lnTo>
                      <a:pt x="1828" y="3326"/>
                    </a:lnTo>
                    <a:lnTo>
                      <a:pt x="1834" y="3326"/>
                    </a:lnTo>
                    <a:lnTo>
                      <a:pt x="1834" y="3326"/>
                    </a:lnTo>
                    <a:lnTo>
                      <a:pt x="1838" y="3328"/>
                    </a:lnTo>
                    <a:lnTo>
                      <a:pt x="1840" y="3330"/>
                    </a:lnTo>
                    <a:lnTo>
                      <a:pt x="1848" y="3340"/>
                    </a:lnTo>
                    <a:lnTo>
                      <a:pt x="1864" y="3372"/>
                    </a:lnTo>
                    <a:lnTo>
                      <a:pt x="1880" y="3406"/>
                    </a:lnTo>
                    <a:lnTo>
                      <a:pt x="1888" y="3418"/>
                    </a:lnTo>
                    <a:lnTo>
                      <a:pt x="1896" y="3428"/>
                    </a:lnTo>
                    <a:lnTo>
                      <a:pt x="1896" y="3428"/>
                    </a:lnTo>
                    <a:lnTo>
                      <a:pt x="1900" y="3434"/>
                    </a:lnTo>
                    <a:lnTo>
                      <a:pt x="1900" y="3440"/>
                    </a:lnTo>
                    <a:lnTo>
                      <a:pt x="1902" y="3444"/>
                    </a:lnTo>
                    <a:lnTo>
                      <a:pt x="1908" y="3450"/>
                    </a:lnTo>
                    <a:lnTo>
                      <a:pt x="1908" y="3450"/>
                    </a:lnTo>
                    <a:lnTo>
                      <a:pt x="1916" y="3458"/>
                    </a:lnTo>
                    <a:lnTo>
                      <a:pt x="1922" y="3470"/>
                    </a:lnTo>
                    <a:lnTo>
                      <a:pt x="1926" y="3482"/>
                    </a:lnTo>
                    <a:lnTo>
                      <a:pt x="1926" y="3486"/>
                    </a:lnTo>
                    <a:lnTo>
                      <a:pt x="1924" y="3492"/>
                    </a:lnTo>
                    <a:lnTo>
                      <a:pt x="1924" y="3492"/>
                    </a:lnTo>
                    <a:lnTo>
                      <a:pt x="1922" y="3496"/>
                    </a:lnTo>
                    <a:lnTo>
                      <a:pt x="1924" y="3502"/>
                    </a:lnTo>
                    <a:lnTo>
                      <a:pt x="1926" y="3506"/>
                    </a:lnTo>
                    <a:lnTo>
                      <a:pt x="1928" y="3512"/>
                    </a:lnTo>
                    <a:lnTo>
                      <a:pt x="1938" y="3522"/>
                    </a:lnTo>
                    <a:lnTo>
                      <a:pt x="1944" y="3526"/>
                    </a:lnTo>
                    <a:lnTo>
                      <a:pt x="1952" y="3528"/>
                    </a:lnTo>
                    <a:lnTo>
                      <a:pt x="1952" y="3528"/>
                    </a:lnTo>
                    <a:lnTo>
                      <a:pt x="1958" y="3532"/>
                    </a:lnTo>
                    <a:lnTo>
                      <a:pt x="1964" y="3538"/>
                    </a:lnTo>
                    <a:lnTo>
                      <a:pt x="1970" y="3548"/>
                    </a:lnTo>
                    <a:lnTo>
                      <a:pt x="1976" y="3560"/>
                    </a:lnTo>
                    <a:lnTo>
                      <a:pt x="1988" y="3586"/>
                    </a:lnTo>
                    <a:lnTo>
                      <a:pt x="1996" y="3610"/>
                    </a:lnTo>
                    <a:lnTo>
                      <a:pt x="1996" y="3610"/>
                    </a:lnTo>
                    <a:lnTo>
                      <a:pt x="1998" y="3620"/>
                    </a:lnTo>
                    <a:lnTo>
                      <a:pt x="1998" y="3626"/>
                    </a:lnTo>
                    <a:lnTo>
                      <a:pt x="1998" y="3632"/>
                    </a:lnTo>
                    <a:lnTo>
                      <a:pt x="1996" y="3636"/>
                    </a:lnTo>
                    <a:lnTo>
                      <a:pt x="1994" y="3638"/>
                    </a:lnTo>
                    <a:lnTo>
                      <a:pt x="1992" y="3642"/>
                    </a:lnTo>
                    <a:lnTo>
                      <a:pt x="1994" y="3648"/>
                    </a:lnTo>
                    <a:lnTo>
                      <a:pt x="1996" y="3656"/>
                    </a:lnTo>
                    <a:lnTo>
                      <a:pt x="1996" y="3656"/>
                    </a:lnTo>
                    <a:lnTo>
                      <a:pt x="2000" y="3664"/>
                    </a:lnTo>
                    <a:lnTo>
                      <a:pt x="2000" y="3668"/>
                    </a:lnTo>
                    <a:lnTo>
                      <a:pt x="1998" y="3670"/>
                    </a:lnTo>
                    <a:lnTo>
                      <a:pt x="1998" y="3672"/>
                    </a:lnTo>
                    <a:lnTo>
                      <a:pt x="1996" y="3674"/>
                    </a:lnTo>
                    <a:lnTo>
                      <a:pt x="1996" y="3676"/>
                    </a:lnTo>
                    <a:lnTo>
                      <a:pt x="2004" y="3690"/>
                    </a:lnTo>
                    <a:lnTo>
                      <a:pt x="2004" y="3690"/>
                    </a:lnTo>
                    <a:lnTo>
                      <a:pt x="2014" y="3706"/>
                    </a:lnTo>
                    <a:lnTo>
                      <a:pt x="2020" y="3716"/>
                    </a:lnTo>
                    <a:lnTo>
                      <a:pt x="2026" y="3722"/>
                    </a:lnTo>
                    <a:lnTo>
                      <a:pt x="2036" y="3726"/>
                    </a:lnTo>
                    <a:lnTo>
                      <a:pt x="2036" y="3726"/>
                    </a:lnTo>
                    <a:lnTo>
                      <a:pt x="2042" y="3730"/>
                    </a:lnTo>
                    <a:lnTo>
                      <a:pt x="2048" y="3734"/>
                    </a:lnTo>
                    <a:lnTo>
                      <a:pt x="2058" y="3744"/>
                    </a:lnTo>
                    <a:lnTo>
                      <a:pt x="2064" y="3758"/>
                    </a:lnTo>
                    <a:lnTo>
                      <a:pt x="2072" y="3770"/>
                    </a:lnTo>
                    <a:lnTo>
                      <a:pt x="2072" y="3770"/>
                    </a:lnTo>
                    <a:lnTo>
                      <a:pt x="2078" y="3778"/>
                    </a:lnTo>
                    <a:lnTo>
                      <a:pt x="2082" y="3782"/>
                    </a:lnTo>
                    <a:lnTo>
                      <a:pt x="2084" y="3786"/>
                    </a:lnTo>
                    <a:lnTo>
                      <a:pt x="2084" y="3796"/>
                    </a:lnTo>
                    <a:lnTo>
                      <a:pt x="2084" y="3796"/>
                    </a:lnTo>
                    <a:lnTo>
                      <a:pt x="2086" y="3804"/>
                    </a:lnTo>
                    <a:lnTo>
                      <a:pt x="2088" y="3810"/>
                    </a:lnTo>
                    <a:lnTo>
                      <a:pt x="2092" y="3816"/>
                    </a:lnTo>
                    <a:lnTo>
                      <a:pt x="2094" y="3824"/>
                    </a:lnTo>
                    <a:lnTo>
                      <a:pt x="2094" y="3824"/>
                    </a:lnTo>
                    <a:lnTo>
                      <a:pt x="2096" y="3830"/>
                    </a:lnTo>
                    <a:lnTo>
                      <a:pt x="2098" y="3836"/>
                    </a:lnTo>
                    <a:lnTo>
                      <a:pt x="2108" y="3848"/>
                    </a:lnTo>
                    <a:lnTo>
                      <a:pt x="2120" y="3862"/>
                    </a:lnTo>
                    <a:lnTo>
                      <a:pt x="2124" y="3870"/>
                    </a:lnTo>
                    <a:lnTo>
                      <a:pt x="2126" y="3878"/>
                    </a:lnTo>
                    <a:lnTo>
                      <a:pt x="2126" y="3878"/>
                    </a:lnTo>
                    <a:lnTo>
                      <a:pt x="2128" y="3884"/>
                    </a:lnTo>
                    <a:lnTo>
                      <a:pt x="2130" y="3886"/>
                    </a:lnTo>
                    <a:lnTo>
                      <a:pt x="2134" y="3886"/>
                    </a:lnTo>
                    <a:lnTo>
                      <a:pt x="2138" y="3888"/>
                    </a:lnTo>
                    <a:lnTo>
                      <a:pt x="2140" y="3892"/>
                    </a:lnTo>
                    <a:lnTo>
                      <a:pt x="2144" y="3902"/>
                    </a:lnTo>
                    <a:lnTo>
                      <a:pt x="2146" y="3918"/>
                    </a:lnTo>
                    <a:lnTo>
                      <a:pt x="2146" y="3918"/>
                    </a:lnTo>
                    <a:lnTo>
                      <a:pt x="2148" y="3936"/>
                    </a:lnTo>
                    <a:lnTo>
                      <a:pt x="2146" y="3944"/>
                    </a:lnTo>
                    <a:lnTo>
                      <a:pt x="2142" y="3952"/>
                    </a:lnTo>
                    <a:lnTo>
                      <a:pt x="2142" y="3952"/>
                    </a:lnTo>
                    <a:lnTo>
                      <a:pt x="2142" y="3954"/>
                    </a:lnTo>
                    <a:lnTo>
                      <a:pt x="2142" y="3958"/>
                    </a:lnTo>
                    <a:lnTo>
                      <a:pt x="2144" y="3964"/>
                    </a:lnTo>
                    <a:lnTo>
                      <a:pt x="2146" y="3968"/>
                    </a:lnTo>
                    <a:lnTo>
                      <a:pt x="2146" y="3972"/>
                    </a:lnTo>
                    <a:lnTo>
                      <a:pt x="2144" y="3974"/>
                    </a:lnTo>
                    <a:lnTo>
                      <a:pt x="2144" y="3974"/>
                    </a:lnTo>
                    <a:lnTo>
                      <a:pt x="2140" y="3976"/>
                    </a:lnTo>
                    <a:lnTo>
                      <a:pt x="2142" y="3980"/>
                    </a:lnTo>
                    <a:lnTo>
                      <a:pt x="2146" y="3982"/>
                    </a:lnTo>
                    <a:lnTo>
                      <a:pt x="2148" y="3986"/>
                    </a:lnTo>
                    <a:lnTo>
                      <a:pt x="2150" y="3988"/>
                    </a:lnTo>
                    <a:lnTo>
                      <a:pt x="2150" y="3988"/>
                    </a:lnTo>
                    <a:lnTo>
                      <a:pt x="2150" y="3996"/>
                    </a:lnTo>
                    <a:lnTo>
                      <a:pt x="2152" y="4000"/>
                    </a:lnTo>
                    <a:lnTo>
                      <a:pt x="2154" y="4008"/>
                    </a:lnTo>
                    <a:lnTo>
                      <a:pt x="2156" y="4020"/>
                    </a:lnTo>
                    <a:lnTo>
                      <a:pt x="2156" y="4020"/>
                    </a:lnTo>
                    <a:lnTo>
                      <a:pt x="2158" y="4034"/>
                    </a:lnTo>
                    <a:lnTo>
                      <a:pt x="2162" y="4044"/>
                    </a:lnTo>
                    <a:lnTo>
                      <a:pt x="2166" y="4054"/>
                    </a:lnTo>
                    <a:lnTo>
                      <a:pt x="2166" y="4058"/>
                    </a:lnTo>
                    <a:lnTo>
                      <a:pt x="2166" y="4064"/>
                    </a:lnTo>
                    <a:lnTo>
                      <a:pt x="2166" y="4064"/>
                    </a:lnTo>
                    <a:lnTo>
                      <a:pt x="2164" y="4072"/>
                    </a:lnTo>
                    <a:lnTo>
                      <a:pt x="2166" y="4076"/>
                    </a:lnTo>
                    <a:lnTo>
                      <a:pt x="2168" y="4082"/>
                    </a:lnTo>
                    <a:lnTo>
                      <a:pt x="2172" y="4092"/>
                    </a:lnTo>
                    <a:lnTo>
                      <a:pt x="2172" y="4092"/>
                    </a:lnTo>
                    <a:lnTo>
                      <a:pt x="2176" y="4100"/>
                    </a:lnTo>
                    <a:lnTo>
                      <a:pt x="2178" y="4102"/>
                    </a:lnTo>
                    <a:lnTo>
                      <a:pt x="2180" y="4102"/>
                    </a:lnTo>
                    <a:lnTo>
                      <a:pt x="2184" y="4100"/>
                    </a:lnTo>
                    <a:lnTo>
                      <a:pt x="2186" y="4102"/>
                    </a:lnTo>
                    <a:lnTo>
                      <a:pt x="2190" y="4104"/>
                    </a:lnTo>
                    <a:lnTo>
                      <a:pt x="2190" y="4104"/>
                    </a:lnTo>
                    <a:lnTo>
                      <a:pt x="2196" y="4108"/>
                    </a:lnTo>
                    <a:lnTo>
                      <a:pt x="2200" y="4106"/>
                    </a:lnTo>
                    <a:lnTo>
                      <a:pt x="2204" y="4104"/>
                    </a:lnTo>
                    <a:lnTo>
                      <a:pt x="2208" y="4104"/>
                    </a:lnTo>
                    <a:lnTo>
                      <a:pt x="2208" y="4104"/>
                    </a:lnTo>
                    <a:lnTo>
                      <a:pt x="2212" y="4104"/>
                    </a:lnTo>
                    <a:lnTo>
                      <a:pt x="2214" y="4102"/>
                    </a:lnTo>
                    <a:lnTo>
                      <a:pt x="2218" y="4098"/>
                    </a:lnTo>
                    <a:lnTo>
                      <a:pt x="2226" y="4098"/>
                    </a:lnTo>
                    <a:lnTo>
                      <a:pt x="2226" y="4098"/>
                    </a:lnTo>
                    <a:lnTo>
                      <a:pt x="2232" y="4100"/>
                    </a:lnTo>
                    <a:lnTo>
                      <a:pt x="2236" y="4098"/>
                    </a:lnTo>
                    <a:lnTo>
                      <a:pt x="2238" y="4096"/>
                    </a:lnTo>
                    <a:lnTo>
                      <a:pt x="2240" y="4094"/>
                    </a:lnTo>
                    <a:lnTo>
                      <a:pt x="2242" y="4090"/>
                    </a:lnTo>
                    <a:lnTo>
                      <a:pt x="2244" y="4088"/>
                    </a:lnTo>
                    <a:lnTo>
                      <a:pt x="2248" y="4088"/>
                    </a:lnTo>
                    <a:lnTo>
                      <a:pt x="2248" y="4088"/>
                    </a:lnTo>
                    <a:lnTo>
                      <a:pt x="2252" y="4086"/>
                    </a:lnTo>
                    <a:lnTo>
                      <a:pt x="2254" y="4084"/>
                    </a:lnTo>
                    <a:lnTo>
                      <a:pt x="2258" y="4074"/>
                    </a:lnTo>
                    <a:lnTo>
                      <a:pt x="2262" y="4070"/>
                    </a:lnTo>
                    <a:lnTo>
                      <a:pt x="2266" y="4068"/>
                    </a:lnTo>
                    <a:lnTo>
                      <a:pt x="2274" y="4066"/>
                    </a:lnTo>
                    <a:lnTo>
                      <a:pt x="2284" y="4066"/>
                    </a:lnTo>
                    <a:lnTo>
                      <a:pt x="2284" y="4066"/>
                    </a:lnTo>
                    <a:lnTo>
                      <a:pt x="2300" y="4066"/>
                    </a:lnTo>
                    <a:lnTo>
                      <a:pt x="2312" y="4062"/>
                    </a:lnTo>
                    <a:lnTo>
                      <a:pt x="2324" y="4058"/>
                    </a:lnTo>
                    <a:lnTo>
                      <a:pt x="2334" y="4050"/>
                    </a:lnTo>
                    <a:lnTo>
                      <a:pt x="2348" y="4038"/>
                    </a:lnTo>
                    <a:lnTo>
                      <a:pt x="2356" y="4036"/>
                    </a:lnTo>
                    <a:lnTo>
                      <a:pt x="2364" y="4036"/>
                    </a:lnTo>
                    <a:lnTo>
                      <a:pt x="2364" y="4036"/>
                    </a:lnTo>
                    <a:lnTo>
                      <a:pt x="2370" y="4038"/>
                    </a:lnTo>
                    <a:lnTo>
                      <a:pt x="2374" y="4038"/>
                    </a:lnTo>
                    <a:lnTo>
                      <a:pt x="2382" y="4034"/>
                    </a:lnTo>
                    <a:lnTo>
                      <a:pt x="2390" y="4028"/>
                    </a:lnTo>
                    <a:lnTo>
                      <a:pt x="2398" y="4020"/>
                    </a:lnTo>
                    <a:lnTo>
                      <a:pt x="2406" y="4010"/>
                    </a:lnTo>
                    <a:lnTo>
                      <a:pt x="2416" y="4002"/>
                    </a:lnTo>
                    <a:lnTo>
                      <a:pt x="2426" y="3998"/>
                    </a:lnTo>
                    <a:lnTo>
                      <a:pt x="2432" y="3996"/>
                    </a:lnTo>
                    <a:lnTo>
                      <a:pt x="2438" y="3998"/>
                    </a:lnTo>
                    <a:lnTo>
                      <a:pt x="2438" y="3998"/>
                    </a:lnTo>
                    <a:lnTo>
                      <a:pt x="2442" y="3998"/>
                    </a:lnTo>
                    <a:lnTo>
                      <a:pt x="2446" y="3996"/>
                    </a:lnTo>
                    <a:lnTo>
                      <a:pt x="2452" y="3992"/>
                    </a:lnTo>
                    <a:lnTo>
                      <a:pt x="2462" y="3986"/>
                    </a:lnTo>
                    <a:lnTo>
                      <a:pt x="2468" y="3982"/>
                    </a:lnTo>
                    <a:lnTo>
                      <a:pt x="2480" y="3978"/>
                    </a:lnTo>
                    <a:lnTo>
                      <a:pt x="2480" y="3978"/>
                    </a:lnTo>
                    <a:lnTo>
                      <a:pt x="2500" y="3972"/>
                    </a:lnTo>
                    <a:lnTo>
                      <a:pt x="2506" y="3968"/>
                    </a:lnTo>
                    <a:lnTo>
                      <a:pt x="2510" y="3966"/>
                    </a:lnTo>
                    <a:lnTo>
                      <a:pt x="2520" y="3962"/>
                    </a:lnTo>
                    <a:lnTo>
                      <a:pt x="2520" y="3962"/>
                    </a:lnTo>
                    <a:lnTo>
                      <a:pt x="2526" y="3960"/>
                    </a:lnTo>
                    <a:lnTo>
                      <a:pt x="2528" y="3954"/>
                    </a:lnTo>
                    <a:lnTo>
                      <a:pt x="2528" y="3942"/>
                    </a:lnTo>
                    <a:lnTo>
                      <a:pt x="2528" y="3934"/>
                    </a:lnTo>
                    <a:lnTo>
                      <a:pt x="2532" y="3926"/>
                    </a:lnTo>
                    <a:lnTo>
                      <a:pt x="2542" y="3916"/>
                    </a:lnTo>
                    <a:lnTo>
                      <a:pt x="2562" y="3906"/>
                    </a:lnTo>
                    <a:lnTo>
                      <a:pt x="2562" y="3906"/>
                    </a:lnTo>
                    <a:lnTo>
                      <a:pt x="2566" y="3902"/>
                    </a:lnTo>
                    <a:lnTo>
                      <a:pt x="2572" y="3902"/>
                    </a:lnTo>
                    <a:lnTo>
                      <a:pt x="2578" y="3902"/>
                    </a:lnTo>
                    <a:lnTo>
                      <a:pt x="2578" y="3902"/>
                    </a:lnTo>
                    <a:lnTo>
                      <a:pt x="2584" y="3902"/>
                    </a:lnTo>
                    <a:lnTo>
                      <a:pt x="2586" y="3900"/>
                    </a:lnTo>
                    <a:lnTo>
                      <a:pt x="2594" y="3894"/>
                    </a:lnTo>
                    <a:lnTo>
                      <a:pt x="2600" y="3892"/>
                    </a:lnTo>
                    <a:lnTo>
                      <a:pt x="2606" y="3890"/>
                    </a:lnTo>
                    <a:lnTo>
                      <a:pt x="2614" y="3888"/>
                    </a:lnTo>
                    <a:lnTo>
                      <a:pt x="2624" y="3890"/>
                    </a:lnTo>
                    <a:lnTo>
                      <a:pt x="2624" y="3890"/>
                    </a:lnTo>
                    <a:lnTo>
                      <a:pt x="2630" y="3890"/>
                    </a:lnTo>
                    <a:lnTo>
                      <a:pt x="2634" y="3890"/>
                    </a:lnTo>
                    <a:lnTo>
                      <a:pt x="2638" y="3888"/>
                    </a:lnTo>
                    <a:lnTo>
                      <a:pt x="2642" y="3886"/>
                    </a:lnTo>
                    <a:lnTo>
                      <a:pt x="2646" y="3878"/>
                    </a:lnTo>
                    <a:lnTo>
                      <a:pt x="2650" y="3868"/>
                    </a:lnTo>
                    <a:lnTo>
                      <a:pt x="2654" y="3858"/>
                    </a:lnTo>
                    <a:lnTo>
                      <a:pt x="2658" y="3850"/>
                    </a:lnTo>
                    <a:lnTo>
                      <a:pt x="2664" y="3844"/>
                    </a:lnTo>
                    <a:lnTo>
                      <a:pt x="2670" y="3842"/>
                    </a:lnTo>
                    <a:lnTo>
                      <a:pt x="2676" y="3842"/>
                    </a:lnTo>
                    <a:lnTo>
                      <a:pt x="2676" y="3842"/>
                    </a:lnTo>
                    <a:lnTo>
                      <a:pt x="2690" y="3840"/>
                    </a:lnTo>
                    <a:lnTo>
                      <a:pt x="2698" y="3836"/>
                    </a:lnTo>
                    <a:lnTo>
                      <a:pt x="2702" y="3830"/>
                    </a:lnTo>
                    <a:lnTo>
                      <a:pt x="2704" y="3822"/>
                    </a:lnTo>
                    <a:lnTo>
                      <a:pt x="2708" y="3814"/>
                    </a:lnTo>
                    <a:lnTo>
                      <a:pt x="2712" y="3806"/>
                    </a:lnTo>
                    <a:lnTo>
                      <a:pt x="2720" y="3798"/>
                    </a:lnTo>
                    <a:lnTo>
                      <a:pt x="2734" y="3794"/>
                    </a:lnTo>
                    <a:lnTo>
                      <a:pt x="2734" y="3794"/>
                    </a:lnTo>
                    <a:lnTo>
                      <a:pt x="2746" y="3790"/>
                    </a:lnTo>
                    <a:lnTo>
                      <a:pt x="2752" y="3786"/>
                    </a:lnTo>
                    <a:lnTo>
                      <a:pt x="2754" y="3782"/>
                    </a:lnTo>
                    <a:lnTo>
                      <a:pt x="2752" y="3776"/>
                    </a:lnTo>
                    <a:lnTo>
                      <a:pt x="2750" y="3768"/>
                    </a:lnTo>
                    <a:lnTo>
                      <a:pt x="2750" y="3758"/>
                    </a:lnTo>
                    <a:lnTo>
                      <a:pt x="2750" y="3746"/>
                    </a:lnTo>
                    <a:lnTo>
                      <a:pt x="2754" y="3730"/>
                    </a:lnTo>
                    <a:lnTo>
                      <a:pt x="2754" y="3730"/>
                    </a:lnTo>
                    <a:lnTo>
                      <a:pt x="2760" y="3716"/>
                    </a:lnTo>
                    <a:lnTo>
                      <a:pt x="2764" y="3710"/>
                    </a:lnTo>
                    <a:lnTo>
                      <a:pt x="2768" y="3712"/>
                    </a:lnTo>
                    <a:lnTo>
                      <a:pt x="2770" y="3714"/>
                    </a:lnTo>
                    <a:lnTo>
                      <a:pt x="2772" y="3718"/>
                    </a:lnTo>
                    <a:lnTo>
                      <a:pt x="2776" y="3720"/>
                    </a:lnTo>
                    <a:lnTo>
                      <a:pt x="2780" y="3716"/>
                    </a:lnTo>
                    <a:lnTo>
                      <a:pt x="2786" y="3704"/>
                    </a:lnTo>
                    <a:lnTo>
                      <a:pt x="2786" y="3704"/>
                    </a:lnTo>
                    <a:lnTo>
                      <a:pt x="2792" y="3692"/>
                    </a:lnTo>
                    <a:lnTo>
                      <a:pt x="2796" y="3684"/>
                    </a:lnTo>
                    <a:lnTo>
                      <a:pt x="2806" y="3674"/>
                    </a:lnTo>
                    <a:lnTo>
                      <a:pt x="2816" y="3664"/>
                    </a:lnTo>
                    <a:lnTo>
                      <a:pt x="2820" y="3656"/>
                    </a:lnTo>
                    <a:lnTo>
                      <a:pt x="2824" y="3644"/>
                    </a:lnTo>
                    <a:lnTo>
                      <a:pt x="2824" y="3644"/>
                    </a:lnTo>
                    <a:lnTo>
                      <a:pt x="2830" y="3628"/>
                    </a:lnTo>
                    <a:lnTo>
                      <a:pt x="2834" y="3618"/>
                    </a:lnTo>
                    <a:lnTo>
                      <a:pt x="2834" y="3616"/>
                    </a:lnTo>
                    <a:lnTo>
                      <a:pt x="2832" y="3614"/>
                    </a:lnTo>
                    <a:lnTo>
                      <a:pt x="2822" y="3608"/>
                    </a:lnTo>
                    <a:lnTo>
                      <a:pt x="2822" y="3608"/>
                    </a:lnTo>
                    <a:close/>
                    <a:moveTo>
                      <a:pt x="2468" y="3400"/>
                    </a:moveTo>
                    <a:lnTo>
                      <a:pt x="2468" y="3400"/>
                    </a:lnTo>
                    <a:lnTo>
                      <a:pt x="2470" y="3400"/>
                    </a:lnTo>
                    <a:lnTo>
                      <a:pt x="2468" y="3400"/>
                    </a:lnTo>
                    <a:lnTo>
                      <a:pt x="2468" y="3400"/>
                    </a:lnTo>
                    <a:lnTo>
                      <a:pt x="2468" y="3400"/>
                    </a:lnTo>
                    <a:lnTo>
                      <a:pt x="2468" y="3400"/>
                    </a:lnTo>
                    <a:close/>
                    <a:moveTo>
                      <a:pt x="1836" y="3098"/>
                    </a:moveTo>
                    <a:lnTo>
                      <a:pt x="1836" y="3098"/>
                    </a:lnTo>
                    <a:lnTo>
                      <a:pt x="1838" y="3094"/>
                    </a:lnTo>
                    <a:lnTo>
                      <a:pt x="1842" y="3094"/>
                    </a:lnTo>
                    <a:lnTo>
                      <a:pt x="1842" y="3094"/>
                    </a:lnTo>
                    <a:lnTo>
                      <a:pt x="1838" y="3094"/>
                    </a:lnTo>
                    <a:lnTo>
                      <a:pt x="1836" y="3098"/>
                    </a:lnTo>
                    <a:lnTo>
                      <a:pt x="1836" y="3098"/>
                    </a:lnTo>
                    <a:close/>
                    <a:moveTo>
                      <a:pt x="1856" y="3100"/>
                    </a:moveTo>
                    <a:lnTo>
                      <a:pt x="1856" y="3100"/>
                    </a:lnTo>
                    <a:lnTo>
                      <a:pt x="1856" y="3102"/>
                    </a:lnTo>
                    <a:lnTo>
                      <a:pt x="1856" y="3102"/>
                    </a:lnTo>
                    <a:lnTo>
                      <a:pt x="1856" y="3102"/>
                    </a:lnTo>
                    <a:lnTo>
                      <a:pt x="1856" y="3102"/>
                    </a:lnTo>
                    <a:lnTo>
                      <a:pt x="1856" y="3100"/>
                    </a:lnTo>
                    <a:lnTo>
                      <a:pt x="1856" y="3100"/>
                    </a:lnTo>
                    <a:lnTo>
                      <a:pt x="1856" y="3090"/>
                    </a:lnTo>
                    <a:lnTo>
                      <a:pt x="1858" y="3084"/>
                    </a:lnTo>
                    <a:lnTo>
                      <a:pt x="1860" y="3082"/>
                    </a:lnTo>
                    <a:lnTo>
                      <a:pt x="1860" y="3082"/>
                    </a:lnTo>
                    <a:lnTo>
                      <a:pt x="1858" y="3084"/>
                    </a:lnTo>
                    <a:lnTo>
                      <a:pt x="1856" y="3090"/>
                    </a:lnTo>
                    <a:lnTo>
                      <a:pt x="1856" y="3100"/>
                    </a:lnTo>
                    <a:lnTo>
                      <a:pt x="1856" y="310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sp>
            <p:nvSpPr>
              <p:cNvPr id="112" name="Freeform 6156"/>
              <p:cNvSpPr>
                <a:spLocks noEditPoints="1"/>
              </p:cNvSpPr>
              <p:nvPr/>
            </p:nvSpPr>
            <p:spPr bwMode="auto">
              <a:xfrm>
                <a:off x="5028596" y="1282280"/>
                <a:ext cx="3353404" cy="3128784"/>
              </a:xfrm>
              <a:custGeom>
                <a:avLst/>
                <a:gdLst/>
                <a:ahLst/>
                <a:cxnLst>
                  <a:cxn ang="0">
                    <a:pos x="526" y="538"/>
                  </a:cxn>
                  <a:cxn ang="0">
                    <a:pos x="590" y="96"/>
                  </a:cxn>
                  <a:cxn ang="0">
                    <a:pos x="3862" y="498"/>
                  </a:cxn>
                  <a:cxn ang="0">
                    <a:pos x="5002" y="958"/>
                  </a:cxn>
                  <a:cxn ang="0">
                    <a:pos x="3368" y="758"/>
                  </a:cxn>
                  <a:cxn ang="0">
                    <a:pos x="404" y="882"/>
                  </a:cxn>
                  <a:cxn ang="0">
                    <a:pos x="76" y="120"/>
                  </a:cxn>
                  <a:cxn ang="0">
                    <a:pos x="726" y="18"/>
                  </a:cxn>
                  <a:cxn ang="0">
                    <a:pos x="690" y="124"/>
                  </a:cxn>
                  <a:cxn ang="0">
                    <a:pos x="2856" y="5256"/>
                  </a:cxn>
                  <a:cxn ang="0">
                    <a:pos x="3254" y="4402"/>
                  </a:cxn>
                  <a:cxn ang="0">
                    <a:pos x="3292" y="4482"/>
                  </a:cxn>
                  <a:cxn ang="0">
                    <a:pos x="3182" y="4204"/>
                  </a:cxn>
                  <a:cxn ang="0">
                    <a:pos x="3256" y="4348"/>
                  </a:cxn>
                  <a:cxn ang="0">
                    <a:pos x="3168" y="4352"/>
                  </a:cxn>
                  <a:cxn ang="0">
                    <a:pos x="3346" y="4866"/>
                  </a:cxn>
                  <a:cxn ang="0">
                    <a:pos x="3302" y="3114"/>
                  </a:cxn>
                  <a:cxn ang="0">
                    <a:pos x="3166" y="5238"/>
                  </a:cxn>
                  <a:cxn ang="0">
                    <a:pos x="3310" y="2936"/>
                  </a:cxn>
                  <a:cxn ang="0">
                    <a:pos x="1978" y="4450"/>
                  </a:cxn>
                  <a:cxn ang="0">
                    <a:pos x="2578" y="4662"/>
                  </a:cxn>
                  <a:cxn ang="0">
                    <a:pos x="2576" y="5220"/>
                  </a:cxn>
                  <a:cxn ang="0">
                    <a:pos x="2488" y="5076"/>
                  </a:cxn>
                  <a:cxn ang="0">
                    <a:pos x="2114" y="4658"/>
                  </a:cxn>
                  <a:cxn ang="0">
                    <a:pos x="8" y="5430"/>
                  </a:cxn>
                  <a:cxn ang="0">
                    <a:pos x="3432" y="3438"/>
                  </a:cxn>
                  <a:cxn ang="0">
                    <a:pos x="3608" y="3162"/>
                  </a:cxn>
                  <a:cxn ang="0">
                    <a:pos x="3068" y="4796"/>
                  </a:cxn>
                  <a:cxn ang="0">
                    <a:pos x="3124" y="4884"/>
                  </a:cxn>
                  <a:cxn ang="0">
                    <a:pos x="3058" y="4324"/>
                  </a:cxn>
                  <a:cxn ang="0">
                    <a:pos x="3358" y="4906"/>
                  </a:cxn>
                  <a:cxn ang="0">
                    <a:pos x="3910" y="2748"/>
                  </a:cxn>
                  <a:cxn ang="0">
                    <a:pos x="3678" y="3106"/>
                  </a:cxn>
                  <a:cxn ang="0">
                    <a:pos x="3318" y="3126"/>
                  </a:cxn>
                  <a:cxn ang="0">
                    <a:pos x="3994" y="2128"/>
                  </a:cxn>
                  <a:cxn ang="0">
                    <a:pos x="3860" y="2722"/>
                  </a:cxn>
                  <a:cxn ang="0">
                    <a:pos x="3184" y="4192"/>
                  </a:cxn>
                  <a:cxn ang="0">
                    <a:pos x="3002" y="4380"/>
                  </a:cxn>
                  <a:cxn ang="0">
                    <a:pos x="3286" y="4302"/>
                  </a:cxn>
                  <a:cxn ang="0">
                    <a:pos x="2958" y="4522"/>
                  </a:cxn>
                  <a:cxn ang="0">
                    <a:pos x="2628" y="4902"/>
                  </a:cxn>
                  <a:cxn ang="0">
                    <a:pos x="3222" y="3634"/>
                  </a:cxn>
                  <a:cxn ang="0">
                    <a:pos x="5080" y="950"/>
                  </a:cxn>
                  <a:cxn ang="0">
                    <a:pos x="3402" y="796"/>
                  </a:cxn>
                  <a:cxn ang="0">
                    <a:pos x="2280" y="434"/>
                  </a:cxn>
                  <a:cxn ang="0">
                    <a:pos x="1416" y="762"/>
                  </a:cxn>
                  <a:cxn ang="0">
                    <a:pos x="1160" y="1104"/>
                  </a:cxn>
                  <a:cxn ang="0">
                    <a:pos x="216" y="1078"/>
                  </a:cxn>
                  <a:cxn ang="0">
                    <a:pos x="654" y="3582"/>
                  </a:cxn>
                  <a:cxn ang="0">
                    <a:pos x="1282" y="4330"/>
                  </a:cxn>
                  <a:cxn ang="0">
                    <a:pos x="1866" y="3684"/>
                  </a:cxn>
                  <a:cxn ang="0">
                    <a:pos x="2194" y="4246"/>
                  </a:cxn>
                  <a:cxn ang="0">
                    <a:pos x="2286" y="4500"/>
                  </a:cxn>
                  <a:cxn ang="0">
                    <a:pos x="2566" y="4318"/>
                  </a:cxn>
                  <a:cxn ang="0">
                    <a:pos x="2746" y="3768"/>
                  </a:cxn>
                  <a:cxn ang="0">
                    <a:pos x="3044" y="3552"/>
                  </a:cxn>
                  <a:cxn ang="0">
                    <a:pos x="3128" y="3244"/>
                  </a:cxn>
                  <a:cxn ang="0">
                    <a:pos x="3000" y="2856"/>
                  </a:cxn>
                  <a:cxn ang="0">
                    <a:pos x="3312" y="2928"/>
                  </a:cxn>
                  <a:cxn ang="0">
                    <a:pos x="3352" y="2850"/>
                  </a:cxn>
                  <a:cxn ang="0">
                    <a:pos x="3800" y="2012"/>
                  </a:cxn>
                  <a:cxn ang="0">
                    <a:pos x="4728" y="1550"/>
                  </a:cxn>
                  <a:cxn ang="0">
                    <a:pos x="4848" y="1618"/>
                  </a:cxn>
                </a:cxnLst>
                <a:rect l="0" t="0" r="r" b="b"/>
                <a:pathLst>
                  <a:path w="5856" h="5472">
                    <a:moveTo>
                      <a:pt x="1912" y="64"/>
                    </a:moveTo>
                    <a:lnTo>
                      <a:pt x="1912" y="64"/>
                    </a:lnTo>
                    <a:lnTo>
                      <a:pt x="1910" y="60"/>
                    </a:lnTo>
                    <a:lnTo>
                      <a:pt x="1902" y="58"/>
                    </a:lnTo>
                    <a:lnTo>
                      <a:pt x="1882" y="54"/>
                    </a:lnTo>
                    <a:lnTo>
                      <a:pt x="1862" y="54"/>
                    </a:lnTo>
                    <a:lnTo>
                      <a:pt x="1854" y="56"/>
                    </a:lnTo>
                    <a:lnTo>
                      <a:pt x="1850" y="60"/>
                    </a:lnTo>
                    <a:lnTo>
                      <a:pt x="1850" y="60"/>
                    </a:lnTo>
                    <a:lnTo>
                      <a:pt x="1850" y="62"/>
                    </a:lnTo>
                    <a:lnTo>
                      <a:pt x="1852" y="64"/>
                    </a:lnTo>
                    <a:lnTo>
                      <a:pt x="1858" y="68"/>
                    </a:lnTo>
                    <a:lnTo>
                      <a:pt x="1868" y="70"/>
                    </a:lnTo>
                    <a:lnTo>
                      <a:pt x="1880" y="70"/>
                    </a:lnTo>
                    <a:lnTo>
                      <a:pt x="1902" y="68"/>
                    </a:lnTo>
                    <a:lnTo>
                      <a:pt x="1908" y="66"/>
                    </a:lnTo>
                    <a:lnTo>
                      <a:pt x="1912" y="64"/>
                    </a:lnTo>
                    <a:lnTo>
                      <a:pt x="1912" y="64"/>
                    </a:lnTo>
                    <a:close/>
                    <a:moveTo>
                      <a:pt x="1078" y="706"/>
                    </a:moveTo>
                    <a:lnTo>
                      <a:pt x="1078" y="706"/>
                    </a:lnTo>
                    <a:lnTo>
                      <a:pt x="1094" y="702"/>
                    </a:lnTo>
                    <a:lnTo>
                      <a:pt x="1100" y="700"/>
                    </a:lnTo>
                    <a:lnTo>
                      <a:pt x="1104" y="698"/>
                    </a:lnTo>
                    <a:lnTo>
                      <a:pt x="1104" y="694"/>
                    </a:lnTo>
                    <a:lnTo>
                      <a:pt x="1104" y="690"/>
                    </a:lnTo>
                    <a:lnTo>
                      <a:pt x="1102" y="684"/>
                    </a:lnTo>
                    <a:lnTo>
                      <a:pt x="1094" y="678"/>
                    </a:lnTo>
                    <a:lnTo>
                      <a:pt x="1082" y="674"/>
                    </a:lnTo>
                    <a:lnTo>
                      <a:pt x="1070" y="674"/>
                    </a:lnTo>
                    <a:lnTo>
                      <a:pt x="1058" y="676"/>
                    </a:lnTo>
                    <a:lnTo>
                      <a:pt x="1058" y="676"/>
                    </a:lnTo>
                    <a:lnTo>
                      <a:pt x="1048" y="682"/>
                    </a:lnTo>
                    <a:lnTo>
                      <a:pt x="1040" y="688"/>
                    </a:lnTo>
                    <a:lnTo>
                      <a:pt x="1036" y="694"/>
                    </a:lnTo>
                    <a:lnTo>
                      <a:pt x="1036" y="700"/>
                    </a:lnTo>
                    <a:lnTo>
                      <a:pt x="1040" y="704"/>
                    </a:lnTo>
                    <a:lnTo>
                      <a:pt x="1048" y="708"/>
                    </a:lnTo>
                    <a:lnTo>
                      <a:pt x="1060" y="708"/>
                    </a:lnTo>
                    <a:lnTo>
                      <a:pt x="1078" y="706"/>
                    </a:lnTo>
                    <a:lnTo>
                      <a:pt x="1078" y="706"/>
                    </a:lnTo>
                    <a:close/>
                    <a:moveTo>
                      <a:pt x="1928" y="154"/>
                    </a:moveTo>
                    <a:lnTo>
                      <a:pt x="1928" y="154"/>
                    </a:lnTo>
                    <a:lnTo>
                      <a:pt x="1914" y="152"/>
                    </a:lnTo>
                    <a:lnTo>
                      <a:pt x="1902" y="154"/>
                    </a:lnTo>
                    <a:lnTo>
                      <a:pt x="1894" y="156"/>
                    </a:lnTo>
                    <a:lnTo>
                      <a:pt x="1890" y="160"/>
                    </a:lnTo>
                    <a:lnTo>
                      <a:pt x="1890" y="164"/>
                    </a:lnTo>
                    <a:lnTo>
                      <a:pt x="1894" y="168"/>
                    </a:lnTo>
                    <a:lnTo>
                      <a:pt x="1900" y="172"/>
                    </a:lnTo>
                    <a:lnTo>
                      <a:pt x="1910" y="176"/>
                    </a:lnTo>
                    <a:lnTo>
                      <a:pt x="1910" y="176"/>
                    </a:lnTo>
                    <a:lnTo>
                      <a:pt x="1920" y="178"/>
                    </a:lnTo>
                    <a:lnTo>
                      <a:pt x="1926" y="180"/>
                    </a:lnTo>
                    <a:lnTo>
                      <a:pt x="1932" y="186"/>
                    </a:lnTo>
                    <a:lnTo>
                      <a:pt x="1934" y="188"/>
                    </a:lnTo>
                    <a:lnTo>
                      <a:pt x="1938" y="190"/>
                    </a:lnTo>
                    <a:lnTo>
                      <a:pt x="1956" y="188"/>
                    </a:lnTo>
                    <a:lnTo>
                      <a:pt x="1956" y="188"/>
                    </a:lnTo>
                    <a:lnTo>
                      <a:pt x="1982" y="180"/>
                    </a:lnTo>
                    <a:lnTo>
                      <a:pt x="1996" y="174"/>
                    </a:lnTo>
                    <a:lnTo>
                      <a:pt x="2000" y="172"/>
                    </a:lnTo>
                    <a:lnTo>
                      <a:pt x="2000" y="170"/>
                    </a:lnTo>
                    <a:lnTo>
                      <a:pt x="1998" y="168"/>
                    </a:lnTo>
                    <a:lnTo>
                      <a:pt x="1994" y="166"/>
                    </a:lnTo>
                    <a:lnTo>
                      <a:pt x="1982" y="162"/>
                    </a:lnTo>
                    <a:lnTo>
                      <a:pt x="1964" y="158"/>
                    </a:lnTo>
                    <a:lnTo>
                      <a:pt x="1928" y="154"/>
                    </a:lnTo>
                    <a:lnTo>
                      <a:pt x="1928" y="154"/>
                    </a:lnTo>
                    <a:close/>
                    <a:moveTo>
                      <a:pt x="526" y="138"/>
                    </a:moveTo>
                    <a:lnTo>
                      <a:pt x="526" y="138"/>
                    </a:lnTo>
                    <a:lnTo>
                      <a:pt x="532" y="144"/>
                    </a:lnTo>
                    <a:lnTo>
                      <a:pt x="538" y="148"/>
                    </a:lnTo>
                    <a:lnTo>
                      <a:pt x="552" y="152"/>
                    </a:lnTo>
                    <a:lnTo>
                      <a:pt x="552" y="152"/>
                    </a:lnTo>
                    <a:lnTo>
                      <a:pt x="558" y="154"/>
                    </a:lnTo>
                    <a:lnTo>
                      <a:pt x="562" y="152"/>
                    </a:lnTo>
                    <a:lnTo>
                      <a:pt x="564" y="150"/>
                    </a:lnTo>
                    <a:lnTo>
                      <a:pt x="564" y="146"/>
                    </a:lnTo>
                    <a:lnTo>
                      <a:pt x="564" y="142"/>
                    </a:lnTo>
                    <a:lnTo>
                      <a:pt x="568" y="140"/>
                    </a:lnTo>
                    <a:lnTo>
                      <a:pt x="572" y="136"/>
                    </a:lnTo>
                    <a:lnTo>
                      <a:pt x="582" y="136"/>
                    </a:lnTo>
                    <a:lnTo>
                      <a:pt x="582" y="136"/>
                    </a:lnTo>
                    <a:lnTo>
                      <a:pt x="600" y="134"/>
                    </a:lnTo>
                    <a:lnTo>
                      <a:pt x="604" y="132"/>
                    </a:lnTo>
                    <a:lnTo>
                      <a:pt x="606" y="130"/>
                    </a:lnTo>
                    <a:lnTo>
                      <a:pt x="604" y="128"/>
                    </a:lnTo>
                    <a:lnTo>
                      <a:pt x="598" y="126"/>
                    </a:lnTo>
                    <a:lnTo>
                      <a:pt x="580" y="122"/>
                    </a:lnTo>
                    <a:lnTo>
                      <a:pt x="580" y="122"/>
                    </a:lnTo>
                    <a:lnTo>
                      <a:pt x="556" y="120"/>
                    </a:lnTo>
                    <a:lnTo>
                      <a:pt x="534" y="122"/>
                    </a:lnTo>
                    <a:lnTo>
                      <a:pt x="526" y="124"/>
                    </a:lnTo>
                    <a:lnTo>
                      <a:pt x="522" y="126"/>
                    </a:lnTo>
                    <a:lnTo>
                      <a:pt x="522" y="132"/>
                    </a:lnTo>
                    <a:lnTo>
                      <a:pt x="526" y="138"/>
                    </a:lnTo>
                    <a:lnTo>
                      <a:pt x="526" y="138"/>
                    </a:lnTo>
                    <a:close/>
                    <a:moveTo>
                      <a:pt x="658" y="948"/>
                    </a:moveTo>
                    <a:lnTo>
                      <a:pt x="658" y="948"/>
                    </a:lnTo>
                    <a:lnTo>
                      <a:pt x="658" y="944"/>
                    </a:lnTo>
                    <a:lnTo>
                      <a:pt x="656" y="942"/>
                    </a:lnTo>
                    <a:lnTo>
                      <a:pt x="644" y="936"/>
                    </a:lnTo>
                    <a:lnTo>
                      <a:pt x="628" y="926"/>
                    </a:lnTo>
                    <a:lnTo>
                      <a:pt x="620" y="920"/>
                    </a:lnTo>
                    <a:lnTo>
                      <a:pt x="612" y="912"/>
                    </a:lnTo>
                    <a:lnTo>
                      <a:pt x="612" y="912"/>
                    </a:lnTo>
                    <a:lnTo>
                      <a:pt x="602" y="904"/>
                    </a:lnTo>
                    <a:lnTo>
                      <a:pt x="594" y="904"/>
                    </a:lnTo>
                    <a:lnTo>
                      <a:pt x="588" y="906"/>
                    </a:lnTo>
                    <a:lnTo>
                      <a:pt x="582" y="908"/>
                    </a:lnTo>
                    <a:lnTo>
                      <a:pt x="582" y="908"/>
                    </a:lnTo>
                    <a:lnTo>
                      <a:pt x="580" y="910"/>
                    </a:lnTo>
                    <a:lnTo>
                      <a:pt x="580" y="912"/>
                    </a:lnTo>
                    <a:lnTo>
                      <a:pt x="582" y="916"/>
                    </a:lnTo>
                    <a:lnTo>
                      <a:pt x="584" y="920"/>
                    </a:lnTo>
                    <a:lnTo>
                      <a:pt x="582" y="920"/>
                    </a:lnTo>
                    <a:lnTo>
                      <a:pt x="582" y="920"/>
                    </a:lnTo>
                    <a:lnTo>
                      <a:pt x="578" y="918"/>
                    </a:lnTo>
                    <a:lnTo>
                      <a:pt x="576" y="918"/>
                    </a:lnTo>
                    <a:lnTo>
                      <a:pt x="574" y="920"/>
                    </a:lnTo>
                    <a:lnTo>
                      <a:pt x="576" y="924"/>
                    </a:lnTo>
                    <a:lnTo>
                      <a:pt x="580" y="930"/>
                    </a:lnTo>
                    <a:lnTo>
                      <a:pt x="588" y="940"/>
                    </a:lnTo>
                    <a:lnTo>
                      <a:pt x="588" y="940"/>
                    </a:lnTo>
                    <a:lnTo>
                      <a:pt x="594" y="944"/>
                    </a:lnTo>
                    <a:lnTo>
                      <a:pt x="596" y="946"/>
                    </a:lnTo>
                    <a:lnTo>
                      <a:pt x="600" y="944"/>
                    </a:lnTo>
                    <a:lnTo>
                      <a:pt x="600" y="942"/>
                    </a:lnTo>
                    <a:lnTo>
                      <a:pt x="600" y="942"/>
                    </a:lnTo>
                    <a:lnTo>
                      <a:pt x="604" y="942"/>
                    </a:lnTo>
                    <a:lnTo>
                      <a:pt x="610" y="942"/>
                    </a:lnTo>
                    <a:lnTo>
                      <a:pt x="618" y="946"/>
                    </a:lnTo>
                    <a:lnTo>
                      <a:pt x="620" y="948"/>
                    </a:lnTo>
                    <a:lnTo>
                      <a:pt x="620" y="952"/>
                    </a:lnTo>
                    <a:lnTo>
                      <a:pt x="620" y="952"/>
                    </a:lnTo>
                    <a:lnTo>
                      <a:pt x="620" y="956"/>
                    </a:lnTo>
                    <a:lnTo>
                      <a:pt x="624" y="958"/>
                    </a:lnTo>
                    <a:lnTo>
                      <a:pt x="638" y="956"/>
                    </a:lnTo>
                    <a:lnTo>
                      <a:pt x="652" y="954"/>
                    </a:lnTo>
                    <a:lnTo>
                      <a:pt x="656" y="950"/>
                    </a:lnTo>
                    <a:lnTo>
                      <a:pt x="658" y="948"/>
                    </a:lnTo>
                    <a:lnTo>
                      <a:pt x="658" y="948"/>
                    </a:lnTo>
                    <a:close/>
                    <a:moveTo>
                      <a:pt x="768" y="460"/>
                    </a:moveTo>
                    <a:lnTo>
                      <a:pt x="768" y="460"/>
                    </a:lnTo>
                    <a:lnTo>
                      <a:pt x="752" y="466"/>
                    </a:lnTo>
                    <a:lnTo>
                      <a:pt x="742" y="468"/>
                    </a:lnTo>
                    <a:lnTo>
                      <a:pt x="736" y="468"/>
                    </a:lnTo>
                    <a:lnTo>
                      <a:pt x="732" y="466"/>
                    </a:lnTo>
                    <a:lnTo>
                      <a:pt x="728" y="462"/>
                    </a:lnTo>
                    <a:lnTo>
                      <a:pt x="722" y="460"/>
                    </a:lnTo>
                    <a:lnTo>
                      <a:pt x="712" y="458"/>
                    </a:lnTo>
                    <a:lnTo>
                      <a:pt x="698" y="460"/>
                    </a:lnTo>
                    <a:lnTo>
                      <a:pt x="698" y="460"/>
                    </a:lnTo>
                    <a:lnTo>
                      <a:pt x="682" y="462"/>
                    </a:lnTo>
                    <a:lnTo>
                      <a:pt x="674" y="464"/>
                    </a:lnTo>
                    <a:lnTo>
                      <a:pt x="672" y="468"/>
                    </a:lnTo>
                    <a:lnTo>
                      <a:pt x="672" y="470"/>
                    </a:lnTo>
                    <a:lnTo>
                      <a:pt x="674" y="474"/>
                    </a:lnTo>
                    <a:lnTo>
                      <a:pt x="674" y="476"/>
                    </a:lnTo>
                    <a:lnTo>
                      <a:pt x="672" y="478"/>
                    </a:lnTo>
                    <a:lnTo>
                      <a:pt x="664" y="476"/>
                    </a:lnTo>
                    <a:lnTo>
                      <a:pt x="664" y="476"/>
                    </a:lnTo>
                    <a:lnTo>
                      <a:pt x="652" y="478"/>
                    </a:lnTo>
                    <a:lnTo>
                      <a:pt x="636" y="480"/>
                    </a:lnTo>
                    <a:lnTo>
                      <a:pt x="620" y="484"/>
                    </a:lnTo>
                    <a:lnTo>
                      <a:pt x="602" y="492"/>
                    </a:lnTo>
                    <a:lnTo>
                      <a:pt x="584" y="500"/>
                    </a:lnTo>
                    <a:lnTo>
                      <a:pt x="568" y="508"/>
                    </a:lnTo>
                    <a:lnTo>
                      <a:pt x="554" y="518"/>
                    </a:lnTo>
                    <a:lnTo>
                      <a:pt x="544" y="528"/>
                    </a:lnTo>
                    <a:lnTo>
                      <a:pt x="544" y="528"/>
                    </a:lnTo>
                    <a:lnTo>
                      <a:pt x="538" y="536"/>
                    </a:lnTo>
                    <a:lnTo>
                      <a:pt x="532" y="538"/>
                    </a:lnTo>
                    <a:lnTo>
                      <a:pt x="528" y="538"/>
                    </a:lnTo>
                    <a:lnTo>
                      <a:pt x="526" y="538"/>
                    </a:lnTo>
                    <a:lnTo>
                      <a:pt x="524" y="536"/>
                    </a:lnTo>
                    <a:lnTo>
                      <a:pt x="520" y="534"/>
                    </a:lnTo>
                    <a:lnTo>
                      <a:pt x="514" y="536"/>
                    </a:lnTo>
                    <a:lnTo>
                      <a:pt x="506" y="542"/>
                    </a:lnTo>
                    <a:lnTo>
                      <a:pt x="506" y="542"/>
                    </a:lnTo>
                    <a:lnTo>
                      <a:pt x="498" y="548"/>
                    </a:lnTo>
                    <a:lnTo>
                      <a:pt x="494" y="550"/>
                    </a:lnTo>
                    <a:lnTo>
                      <a:pt x="490" y="548"/>
                    </a:lnTo>
                    <a:lnTo>
                      <a:pt x="488" y="546"/>
                    </a:lnTo>
                    <a:lnTo>
                      <a:pt x="488" y="544"/>
                    </a:lnTo>
                    <a:lnTo>
                      <a:pt x="484" y="542"/>
                    </a:lnTo>
                    <a:lnTo>
                      <a:pt x="480" y="542"/>
                    </a:lnTo>
                    <a:lnTo>
                      <a:pt x="474" y="546"/>
                    </a:lnTo>
                    <a:lnTo>
                      <a:pt x="474" y="546"/>
                    </a:lnTo>
                    <a:lnTo>
                      <a:pt x="470" y="550"/>
                    </a:lnTo>
                    <a:lnTo>
                      <a:pt x="468" y="554"/>
                    </a:lnTo>
                    <a:lnTo>
                      <a:pt x="470" y="558"/>
                    </a:lnTo>
                    <a:lnTo>
                      <a:pt x="474" y="560"/>
                    </a:lnTo>
                    <a:lnTo>
                      <a:pt x="480" y="564"/>
                    </a:lnTo>
                    <a:lnTo>
                      <a:pt x="480" y="568"/>
                    </a:lnTo>
                    <a:lnTo>
                      <a:pt x="476" y="570"/>
                    </a:lnTo>
                    <a:lnTo>
                      <a:pt x="476" y="570"/>
                    </a:lnTo>
                    <a:lnTo>
                      <a:pt x="472" y="572"/>
                    </a:lnTo>
                    <a:lnTo>
                      <a:pt x="470" y="576"/>
                    </a:lnTo>
                    <a:lnTo>
                      <a:pt x="472" y="578"/>
                    </a:lnTo>
                    <a:lnTo>
                      <a:pt x="476" y="580"/>
                    </a:lnTo>
                    <a:lnTo>
                      <a:pt x="478" y="582"/>
                    </a:lnTo>
                    <a:lnTo>
                      <a:pt x="478" y="584"/>
                    </a:lnTo>
                    <a:lnTo>
                      <a:pt x="476" y="586"/>
                    </a:lnTo>
                    <a:lnTo>
                      <a:pt x="468" y="586"/>
                    </a:lnTo>
                    <a:lnTo>
                      <a:pt x="468" y="586"/>
                    </a:lnTo>
                    <a:lnTo>
                      <a:pt x="460" y="588"/>
                    </a:lnTo>
                    <a:lnTo>
                      <a:pt x="454" y="594"/>
                    </a:lnTo>
                    <a:lnTo>
                      <a:pt x="450" y="600"/>
                    </a:lnTo>
                    <a:lnTo>
                      <a:pt x="446" y="606"/>
                    </a:lnTo>
                    <a:lnTo>
                      <a:pt x="442" y="614"/>
                    </a:lnTo>
                    <a:lnTo>
                      <a:pt x="436" y="622"/>
                    </a:lnTo>
                    <a:lnTo>
                      <a:pt x="426" y="630"/>
                    </a:lnTo>
                    <a:lnTo>
                      <a:pt x="414" y="636"/>
                    </a:lnTo>
                    <a:lnTo>
                      <a:pt x="414" y="636"/>
                    </a:lnTo>
                    <a:lnTo>
                      <a:pt x="390" y="648"/>
                    </a:lnTo>
                    <a:lnTo>
                      <a:pt x="384" y="654"/>
                    </a:lnTo>
                    <a:lnTo>
                      <a:pt x="380" y="658"/>
                    </a:lnTo>
                    <a:lnTo>
                      <a:pt x="380" y="662"/>
                    </a:lnTo>
                    <a:lnTo>
                      <a:pt x="382" y="666"/>
                    </a:lnTo>
                    <a:lnTo>
                      <a:pt x="390" y="666"/>
                    </a:lnTo>
                    <a:lnTo>
                      <a:pt x="400" y="666"/>
                    </a:lnTo>
                    <a:lnTo>
                      <a:pt x="400" y="666"/>
                    </a:lnTo>
                    <a:lnTo>
                      <a:pt x="408" y="668"/>
                    </a:lnTo>
                    <a:lnTo>
                      <a:pt x="410" y="670"/>
                    </a:lnTo>
                    <a:lnTo>
                      <a:pt x="408" y="674"/>
                    </a:lnTo>
                    <a:lnTo>
                      <a:pt x="406" y="678"/>
                    </a:lnTo>
                    <a:lnTo>
                      <a:pt x="402" y="680"/>
                    </a:lnTo>
                    <a:lnTo>
                      <a:pt x="402" y="684"/>
                    </a:lnTo>
                    <a:lnTo>
                      <a:pt x="406" y="684"/>
                    </a:lnTo>
                    <a:lnTo>
                      <a:pt x="416" y="682"/>
                    </a:lnTo>
                    <a:lnTo>
                      <a:pt x="416" y="682"/>
                    </a:lnTo>
                    <a:lnTo>
                      <a:pt x="438" y="676"/>
                    </a:lnTo>
                    <a:lnTo>
                      <a:pt x="446" y="676"/>
                    </a:lnTo>
                    <a:lnTo>
                      <a:pt x="454" y="676"/>
                    </a:lnTo>
                    <a:lnTo>
                      <a:pt x="460" y="678"/>
                    </a:lnTo>
                    <a:lnTo>
                      <a:pt x="466" y="682"/>
                    </a:lnTo>
                    <a:lnTo>
                      <a:pt x="486" y="692"/>
                    </a:lnTo>
                    <a:lnTo>
                      <a:pt x="486" y="692"/>
                    </a:lnTo>
                    <a:lnTo>
                      <a:pt x="496" y="696"/>
                    </a:lnTo>
                    <a:lnTo>
                      <a:pt x="508" y="694"/>
                    </a:lnTo>
                    <a:lnTo>
                      <a:pt x="514" y="692"/>
                    </a:lnTo>
                    <a:lnTo>
                      <a:pt x="518" y="690"/>
                    </a:lnTo>
                    <a:lnTo>
                      <a:pt x="522" y="686"/>
                    </a:lnTo>
                    <a:lnTo>
                      <a:pt x="524" y="680"/>
                    </a:lnTo>
                    <a:lnTo>
                      <a:pt x="524" y="680"/>
                    </a:lnTo>
                    <a:lnTo>
                      <a:pt x="526" y="674"/>
                    </a:lnTo>
                    <a:lnTo>
                      <a:pt x="528" y="672"/>
                    </a:lnTo>
                    <a:lnTo>
                      <a:pt x="538" y="670"/>
                    </a:lnTo>
                    <a:lnTo>
                      <a:pt x="542" y="668"/>
                    </a:lnTo>
                    <a:lnTo>
                      <a:pt x="546" y="664"/>
                    </a:lnTo>
                    <a:lnTo>
                      <a:pt x="550" y="660"/>
                    </a:lnTo>
                    <a:lnTo>
                      <a:pt x="554" y="650"/>
                    </a:lnTo>
                    <a:lnTo>
                      <a:pt x="554" y="650"/>
                    </a:lnTo>
                    <a:lnTo>
                      <a:pt x="558" y="640"/>
                    </a:lnTo>
                    <a:lnTo>
                      <a:pt x="562" y="634"/>
                    </a:lnTo>
                    <a:lnTo>
                      <a:pt x="566" y="630"/>
                    </a:lnTo>
                    <a:lnTo>
                      <a:pt x="572" y="628"/>
                    </a:lnTo>
                    <a:lnTo>
                      <a:pt x="580" y="624"/>
                    </a:lnTo>
                    <a:lnTo>
                      <a:pt x="584" y="622"/>
                    </a:lnTo>
                    <a:lnTo>
                      <a:pt x="586" y="616"/>
                    </a:lnTo>
                    <a:lnTo>
                      <a:pt x="586" y="616"/>
                    </a:lnTo>
                    <a:lnTo>
                      <a:pt x="588" y="606"/>
                    </a:lnTo>
                    <a:lnTo>
                      <a:pt x="590" y="602"/>
                    </a:lnTo>
                    <a:lnTo>
                      <a:pt x="594" y="600"/>
                    </a:lnTo>
                    <a:lnTo>
                      <a:pt x="610" y="594"/>
                    </a:lnTo>
                    <a:lnTo>
                      <a:pt x="638" y="584"/>
                    </a:lnTo>
                    <a:lnTo>
                      <a:pt x="638" y="584"/>
                    </a:lnTo>
                    <a:lnTo>
                      <a:pt x="652" y="578"/>
                    </a:lnTo>
                    <a:lnTo>
                      <a:pt x="658" y="572"/>
                    </a:lnTo>
                    <a:lnTo>
                      <a:pt x="662" y="568"/>
                    </a:lnTo>
                    <a:lnTo>
                      <a:pt x="664" y="564"/>
                    </a:lnTo>
                    <a:lnTo>
                      <a:pt x="668" y="558"/>
                    </a:lnTo>
                    <a:lnTo>
                      <a:pt x="674" y="552"/>
                    </a:lnTo>
                    <a:lnTo>
                      <a:pt x="688" y="544"/>
                    </a:lnTo>
                    <a:lnTo>
                      <a:pt x="712" y="534"/>
                    </a:lnTo>
                    <a:lnTo>
                      <a:pt x="712" y="534"/>
                    </a:lnTo>
                    <a:lnTo>
                      <a:pt x="744" y="522"/>
                    </a:lnTo>
                    <a:lnTo>
                      <a:pt x="778" y="512"/>
                    </a:lnTo>
                    <a:lnTo>
                      <a:pt x="854" y="492"/>
                    </a:lnTo>
                    <a:lnTo>
                      <a:pt x="924" y="474"/>
                    </a:lnTo>
                    <a:lnTo>
                      <a:pt x="956" y="464"/>
                    </a:lnTo>
                    <a:lnTo>
                      <a:pt x="980" y="454"/>
                    </a:lnTo>
                    <a:lnTo>
                      <a:pt x="980" y="454"/>
                    </a:lnTo>
                    <a:lnTo>
                      <a:pt x="990" y="448"/>
                    </a:lnTo>
                    <a:lnTo>
                      <a:pt x="998" y="444"/>
                    </a:lnTo>
                    <a:lnTo>
                      <a:pt x="1002" y="438"/>
                    </a:lnTo>
                    <a:lnTo>
                      <a:pt x="1002" y="432"/>
                    </a:lnTo>
                    <a:lnTo>
                      <a:pt x="1002" y="428"/>
                    </a:lnTo>
                    <a:lnTo>
                      <a:pt x="1000" y="424"/>
                    </a:lnTo>
                    <a:lnTo>
                      <a:pt x="996" y="420"/>
                    </a:lnTo>
                    <a:lnTo>
                      <a:pt x="990" y="416"/>
                    </a:lnTo>
                    <a:lnTo>
                      <a:pt x="974" y="410"/>
                    </a:lnTo>
                    <a:lnTo>
                      <a:pt x="954" y="406"/>
                    </a:lnTo>
                    <a:lnTo>
                      <a:pt x="932" y="408"/>
                    </a:lnTo>
                    <a:lnTo>
                      <a:pt x="908" y="412"/>
                    </a:lnTo>
                    <a:lnTo>
                      <a:pt x="908" y="412"/>
                    </a:lnTo>
                    <a:lnTo>
                      <a:pt x="878" y="422"/>
                    </a:lnTo>
                    <a:lnTo>
                      <a:pt x="874" y="426"/>
                    </a:lnTo>
                    <a:lnTo>
                      <a:pt x="870" y="428"/>
                    </a:lnTo>
                    <a:lnTo>
                      <a:pt x="868" y="430"/>
                    </a:lnTo>
                    <a:lnTo>
                      <a:pt x="864" y="434"/>
                    </a:lnTo>
                    <a:lnTo>
                      <a:pt x="856" y="438"/>
                    </a:lnTo>
                    <a:lnTo>
                      <a:pt x="842" y="444"/>
                    </a:lnTo>
                    <a:lnTo>
                      <a:pt x="842" y="444"/>
                    </a:lnTo>
                    <a:lnTo>
                      <a:pt x="818" y="450"/>
                    </a:lnTo>
                    <a:lnTo>
                      <a:pt x="808" y="450"/>
                    </a:lnTo>
                    <a:lnTo>
                      <a:pt x="798" y="452"/>
                    </a:lnTo>
                    <a:lnTo>
                      <a:pt x="768" y="460"/>
                    </a:lnTo>
                    <a:lnTo>
                      <a:pt x="768" y="460"/>
                    </a:lnTo>
                    <a:close/>
                    <a:moveTo>
                      <a:pt x="484" y="70"/>
                    </a:moveTo>
                    <a:lnTo>
                      <a:pt x="484" y="70"/>
                    </a:lnTo>
                    <a:lnTo>
                      <a:pt x="482" y="70"/>
                    </a:lnTo>
                    <a:lnTo>
                      <a:pt x="484" y="70"/>
                    </a:lnTo>
                    <a:lnTo>
                      <a:pt x="490" y="72"/>
                    </a:lnTo>
                    <a:lnTo>
                      <a:pt x="500" y="74"/>
                    </a:lnTo>
                    <a:lnTo>
                      <a:pt x="510" y="78"/>
                    </a:lnTo>
                    <a:lnTo>
                      <a:pt x="510" y="78"/>
                    </a:lnTo>
                    <a:lnTo>
                      <a:pt x="528" y="86"/>
                    </a:lnTo>
                    <a:lnTo>
                      <a:pt x="538" y="86"/>
                    </a:lnTo>
                    <a:lnTo>
                      <a:pt x="554" y="86"/>
                    </a:lnTo>
                    <a:lnTo>
                      <a:pt x="554" y="86"/>
                    </a:lnTo>
                    <a:lnTo>
                      <a:pt x="568" y="86"/>
                    </a:lnTo>
                    <a:lnTo>
                      <a:pt x="568" y="84"/>
                    </a:lnTo>
                    <a:lnTo>
                      <a:pt x="566" y="82"/>
                    </a:lnTo>
                    <a:lnTo>
                      <a:pt x="544" y="76"/>
                    </a:lnTo>
                    <a:lnTo>
                      <a:pt x="544" y="76"/>
                    </a:lnTo>
                    <a:lnTo>
                      <a:pt x="530" y="72"/>
                    </a:lnTo>
                    <a:lnTo>
                      <a:pt x="512" y="70"/>
                    </a:lnTo>
                    <a:lnTo>
                      <a:pt x="496" y="68"/>
                    </a:lnTo>
                    <a:lnTo>
                      <a:pt x="484" y="70"/>
                    </a:lnTo>
                    <a:lnTo>
                      <a:pt x="484" y="70"/>
                    </a:lnTo>
                    <a:close/>
                    <a:moveTo>
                      <a:pt x="542" y="114"/>
                    </a:moveTo>
                    <a:lnTo>
                      <a:pt x="542" y="114"/>
                    </a:lnTo>
                    <a:lnTo>
                      <a:pt x="554" y="116"/>
                    </a:lnTo>
                    <a:lnTo>
                      <a:pt x="558" y="114"/>
                    </a:lnTo>
                    <a:lnTo>
                      <a:pt x="560" y="112"/>
                    </a:lnTo>
                    <a:lnTo>
                      <a:pt x="560" y="110"/>
                    </a:lnTo>
                    <a:lnTo>
                      <a:pt x="560" y="108"/>
                    </a:lnTo>
                    <a:lnTo>
                      <a:pt x="554" y="106"/>
                    </a:lnTo>
                    <a:lnTo>
                      <a:pt x="554" y="106"/>
                    </a:lnTo>
                    <a:lnTo>
                      <a:pt x="542" y="106"/>
                    </a:lnTo>
                    <a:lnTo>
                      <a:pt x="532" y="108"/>
                    </a:lnTo>
                    <a:lnTo>
                      <a:pt x="530" y="110"/>
                    </a:lnTo>
                    <a:lnTo>
                      <a:pt x="532" y="112"/>
                    </a:lnTo>
                    <a:lnTo>
                      <a:pt x="534" y="114"/>
                    </a:lnTo>
                    <a:lnTo>
                      <a:pt x="542" y="114"/>
                    </a:lnTo>
                    <a:lnTo>
                      <a:pt x="542" y="114"/>
                    </a:lnTo>
                    <a:close/>
                    <a:moveTo>
                      <a:pt x="590" y="96"/>
                    </a:moveTo>
                    <a:lnTo>
                      <a:pt x="590" y="96"/>
                    </a:lnTo>
                    <a:lnTo>
                      <a:pt x="596" y="94"/>
                    </a:lnTo>
                    <a:lnTo>
                      <a:pt x="598" y="92"/>
                    </a:lnTo>
                    <a:lnTo>
                      <a:pt x="598" y="90"/>
                    </a:lnTo>
                    <a:lnTo>
                      <a:pt x="596" y="88"/>
                    </a:lnTo>
                    <a:lnTo>
                      <a:pt x="592" y="86"/>
                    </a:lnTo>
                    <a:lnTo>
                      <a:pt x="584" y="86"/>
                    </a:lnTo>
                    <a:lnTo>
                      <a:pt x="574" y="88"/>
                    </a:lnTo>
                    <a:lnTo>
                      <a:pt x="574" y="88"/>
                    </a:lnTo>
                    <a:lnTo>
                      <a:pt x="562" y="90"/>
                    </a:lnTo>
                    <a:lnTo>
                      <a:pt x="556" y="92"/>
                    </a:lnTo>
                    <a:lnTo>
                      <a:pt x="556" y="92"/>
                    </a:lnTo>
                    <a:lnTo>
                      <a:pt x="556" y="94"/>
                    </a:lnTo>
                    <a:lnTo>
                      <a:pt x="560" y="96"/>
                    </a:lnTo>
                    <a:lnTo>
                      <a:pt x="576" y="96"/>
                    </a:lnTo>
                    <a:lnTo>
                      <a:pt x="590" y="96"/>
                    </a:lnTo>
                    <a:lnTo>
                      <a:pt x="590" y="96"/>
                    </a:lnTo>
                    <a:close/>
                    <a:moveTo>
                      <a:pt x="554" y="70"/>
                    </a:moveTo>
                    <a:lnTo>
                      <a:pt x="554" y="70"/>
                    </a:lnTo>
                    <a:lnTo>
                      <a:pt x="554" y="72"/>
                    </a:lnTo>
                    <a:lnTo>
                      <a:pt x="554" y="74"/>
                    </a:lnTo>
                    <a:lnTo>
                      <a:pt x="562" y="78"/>
                    </a:lnTo>
                    <a:lnTo>
                      <a:pt x="572" y="80"/>
                    </a:lnTo>
                    <a:lnTo>
                      <a:pt x="582" y="80"/>
                    </a:lnTo>
                    <a:lnTo>
                      <a:pt x="582" y="80"/>
                    </a:lnTo>
                    <a:lnTo>
                      <a:pt x="584" y="78"/>
                    </a:lnTo>
                    <a:lnTo>
                      <a:pt x="584" y="76"/>
                    </a:lnTo>
                    <a:lnTo>
                      <a:pt x="576" y="72"/>
                    </a:lnTo>
                    <a:lnTo>
                      <a:pt x="564" y="68"/>
                    </a:lnTo>
                    <a:lnTo>
                      <a:pt x="558" y="68"/>
                    </a:lnTo>
                    <a:lnTo>
                      <a:pt x="554" y="70"/>
                    </a:lnTo>
                    <a:lnTo>
                      <a:pt x="554" y="70"/>
                    </a:lnTo>
                    <a:close/>
                    <a:moveTo>
                      <a:pt x="1962" y="108"/>
                    </a:moveTo>
                    <a:lnTo>
                      <a:pt x="1962" y="108"/>
                    </a:lnTo>
                    <a:lnTo>
                      <a:pt x="1950" y="114"/>
                    </a:lnTo>
                    <a:lnTo>
                      <a:pt x="1938" y="120"/>
                    </a:lnTo>
                    <a:lnTo>
                      <a:pt x="1916" y="128"/>
                    </a:lnTo>
                    <a:lnTo>
                      <a:pt x="1908" y="132"/>
                    </a:lnTo>
                    <a:lnTo>
                      <a:pt x="1906" y="134"/>
                    </a:lnTo>
                    <a:lnTo>
                      <a:pt x="1908" y="136"/>
                    </a:lnTo>
                    <a:lnTo>
                      <a:pt x="1918" y="138"/>
                    </a:lnTo>
                    <a:lnTo>
                      <a:pt x="1918" y="138"/>
                    </a:lnTo>
                    <a:lnTo>
                      <a:pt x="1930" y="138"/>
                    </a:lnTo>
                    <a:lnTo>
                      <a:pt x="1938" y="142"/>
                    </a:lnTo>
                    <a:lnTo>
                      <a:pt x="1952" y="146"/>
                    </a:lnTo>
                    <a:lnTo>
                      <a:pt x="1968" y="154"/>
                    </a:lnTo>
                    <a:lnTo>
                      <a:pt x="1980" y="156"/>
                    </a:lnTo>
                    <a:lnTo>
                      <a:pt x="1994" y="158"/>
                    </a:lnTo>
                    <a:lnTo>
                      <a:pt x="1994" y="158"/>
                    </a:lnTo>
                    <a:lnTo>
                      <a:pt x="2010" y="158"/>
                    </a:lnTo>
                    <a:lnTo>
                      <a:pt x="2016" y="158"/>
                    </a:lnTo>
                    <a:lnTo>
                      <a:pt x="2020" y="156"/>
                    </a:lnTo>
                    <a:lnTo>
                      <a:pt x="2022" y="152"/>
                    </a:lnTo>
                    <a:lnTo>
                      <a:pt x="2024" y="150"/>
                    </a:lnTo>
                    <a:lnTo>
                      <a:pt x="2028" y="146"/>
                    </a:lnTo>
                    <a:lnTo>
                      <a:pt x="2040" y="142"/>
                    </a:lnTo>
                    <a:lnTo>
                      <a:pt x="2058" y="140"/>
                    </a:lnTo>
                    <a:lnTo>
                      <a:pt x="2058" y="140"/>
                    </a:lnTo>
                    <a:lnTo>
                      <a:pt x="2100" y="140"/>
                    </a:lnTo>
                    <a:lnTo>
                      <a:pt x="2130" y="140"/>
                    </a:lnTo>
                    <a:lnTo>
                      <a:pt x="2138" y="138"/>
                    </a:lnTo>
                    <a:lnTo>
                      <a:pt x="2142" y="136"/>
                    </a:lnTo>
                    <a:lnTo>
                      <a:pt x="2142" y="130"/>
                    </a:lnTo>
                    <a:lnTo>
                      <a:pt x="2136" y="122"/>
                    </a:lnTo>
                    <a:lnTo>
                      <a:pt x="2136" y="122"/>
                    </a:lnTo>
                    <a:lnTo>
                      <a:pt x="2132" y="114"/>
                    </a:lnTo>
                    <a:lnTo>
                      <a:pt x="2132" y="112"/>
                    </a:lnTo>
                    <a:lnTo>
                      <a:pt x="2134" y="110"/>
                    </a:lnTo>
                    <a:lnTo>
                      <a:pt x="2140" y="108"/>
                    </a:lnTo>
                    <a:lnTo>
                      <a:pt x="2146" y="106"/>
                    </a:lnTo>
                    <a:lnTo>
                      <a:pt x="2162" y="104"/>
                    </a:lnTo>
                    <a:lnTo>
                      <a:pt x="2164" y="102"/>
                    </a:lnTo>
                    <a:lnTo>
                      <a:pt x="2166" y="100"/>
                    </a:lnTo>
                    <a:lnTo>
                      <a:pt x="2164" y="96"/>
                    </a:lnTo>
                    <a:lnTo>
                      <a:pt x="2164" y="96"/>
                    </a:lnTo>
                    <a:lnTo>
                      <a:pt x="2160" y="92"/>
                    </a:lnTo>
                    <a:lnTo>
                      <a:pt x="2154" y="90"/>
                    </a:lnTo>
                    <a:lnTo>
                      <a:pt x="2142" y="88"/>
                    </a:lnTo>
                    <a:lnTo>
                      <a:pt x="2136" y="88"/>
                    </a:lnTo>
                    <a:lnTo>
                      <a:pt x="2128" y="86"/>
                    </a:lnTo>
                    <a:lnTo>
                      <a:pt x="2118" y="82"/>
                    </a:lnTo>
                    <a:lnTo>
                      <a:pt x="2110" y="74"/>
                    </a:lnTo>
                    <a:lnTo>
                      <a:pt x="2110" y="74"/>
                    </a:lnTo>
                    <a:lnTo>
                      <a:pt x="2090" y="60"/>
                    </a:lnTo>
                    <a:lnTo>
                      <a:pt x="2082" y="56"/>
                    </a:lnTo>
                    <a:lnTo>
                      <a:pt x="2076" y="52"/>
                    </a:lnTo>
                    <a:lnTo>
                      <a:pt x="2068" y="50"/>
                    </a:lnTo>
                    <a:lnTo>
                      <a:pt x="2060" y="50"/>
                    </a:lnTo>
                    <a:lnTo>
                      <a:pt x="2052" y="54"/>
                    </a:lnTo>
                    <a:lnTo>
                      <a:pt x="2044" y="58"/>
                    </a:lnTo>
                    <a:lnTo>
                      <a:pt x="2044" y="58"/>
                    </a:lnTo>
                    <a:lnTo>
                      <a:pt x="2034" y="62"/>
                    </a:lnTo>
                    <a:lnTo>
                      <a:pt x="2026" y="66"/>
                    </a:lnTo>
                    <a:lnTo>
                      <a:pt x="2008" y="68"/>
                    </a:lnTo>
                    <a:lnTo>
                      <a:pt x="1988" y="74"/>
                    </a:lnTo>
                    <a:lnTo>
                      <a:pt x="1978" y="78"/>
                    </a:lnTo>
                    <a:lnTo>
                      <a:pt x="1964" y="84"/>
                    </a:lnTo>
                    <a:lnTo>
                      <a:pt x="1964" y="84"/>
                    </a:lnTo>
                    <a:lnTo>
                      <a:pt x="1954" y="92"/>
                    </a:lnTo>
                    <a:lnTo>
                      <a:pt x="1952" y="94"/>
                    </a:lnTo>
                    <a:lnTo>
                      <a:pt x="1954" y="96"/>
                    </a:lnTo>
                    <a:lnTo>
                      <a:pt x="1960" y="98"/>
                    </a:lnTo>
                    <a:lnTo>
                      <a:pt x="1964" y="98"/>
                    </a:lnTo>
                    <a:lnTo>
                      <a:pt x="1968" y="98"/>
                    </a:lnTo>
                    <a:lnTo>
                      <a:pt x="1968" y="100"/>
                    </a:lnTo>
                    <a:lnTo>
                      <a:pt x="1968" y="102"/>
                    </a:lnTo>
                    <a:lnTo>
                      <a:pt x="1962" y="108"/>
                    </a:lnTo>
                    <a:lnTo>
                      <a:pt x="1962" y="108"/>
                    </a:lnTo>
                    <a:close/>
                    <a:moveTo>
                      <a:pt x="3810" y="584"/>
                    </a:moveTo>
                    <a:lnTo>
                      <a:pt x="3810" y="584"/>
                    </a:lnTo>
                    <a:lnTo>
                      <a:pt x="3826" y="588"/>
                    </a:lnTo>
                    <a:lnTo>
                      <a:pt x="3834" y="588"/>
                    </a:lnTo>
                    <a:lnTo>
                      <a:pt x="3840" y="584"/>
                    </a:lnTo>
                    <a:lnTo>
                      <a:pt x="3842" y="580"/>
                    </a:lnTo>
                    <a:lnTo>
                      <a:pt x="3842" y="574"/>
                    </a:lnTo>
                    <a:lnTo>
                      <a:pt x="3846" y="570"/>
                    </a:lnTo>
                    <a:lnTo>
                      <a:pt x="3852" y="568"/>
                    </a:lnTo>
                    <a:lnTo>
                      <a:pt x="3864" y="570"/>
                    </a:lnTo>
                    <a:lnTo>
                      <a:pt x="3864" y="570"/>
                    </a:lnTo>
                    <a:lnTo>
                      <a:pt x="3878" y="574"/>
                    </a:lnTo>
                    <a:lnTo>
                      <a:pt x="3890" y="572"/>
                    </a:lnTo>
                    <a:lnTo>
                      <a:pt x="3900" y="570"/>
                    </a:lnTo>
                    <a:lnTo>
                      <a:pt x="3910" y="566"/>
                    </a:lnTo>
                    <a:lnTo>
                      <a:pt x="3918" y="562"/>
                    </a:lnTo>
                    <a:lnTo>
                      <a:pt x="3926" y="560"/>
                    </a:lnTo>
                    <a:lnTo>
                      <a:pt x="3934" y="562"/>
                    </a:lnTo>
                    <a:lnTo>
                      <a:pt x="3942" y="566"/>
                    </a:lnTo>
                    <a:lnTo>
                      <a:pt x="3942" y="566"/>
                    </a:lnTo>
                    <a:lnTo>
                      <a:pt x="3952" y="570"/>
                    </a:lnTo>
                    <a:lnTo>
                      <a:pt x="3962" y="572"/>
                    </a:lnTo>
                    <a:lnTo>
                      <a:pt x="3974" y="572"/>
                    </a:lnTo>
                    <a:lnTo>
                      <a:pt x="3986" y="570"/>
                    </a:lnTo>
                    <a:lnTo>
                      <a:pt x="4014" y="562"/>
                    </a:lnTo>
                    <a:lnTo>
                      <a:pt x="4048" y="552"/>
                    </a:lnTo>
                    <a:lnTo>
                      <a:pt x="4048" y="552"/>
                    </a:lnTo>
                    <a:lnTo>
                      <a:pt x="4056" y="546"/>
                    </a:lnTo>
                    <a:lnTo>
                      <a:pt x="4060" y="542"/>
                    </a:lnTo>
                    <a:lnTo>
                      <a:pt x="4060" y="538"/>
                    </a:lnTo>
                    <a:lnTo>
                      <a:pt x="4056" y="534"/>
                    </a:lnTo>
                    <a:lnTo>
                      <a:pt x="4054" y="530"/>
                    </a:lnTo>
                    <a:lnTo>
                      <a:pt x="4054" y="528"/>
                    </a:lnTo>
                    <a:lnTo>
                      <a:pt x="4056" y="524"/>
                    </a:lnTo>
                    <a:lnTo>
                      <a:pt x="4066" y="524"/>
                    </a:lnTo>
                    <a:lnTo>
                      <a:pt x="4066" y="524"/>
                    </a:lnTo>
                    <a:lnTo>
                      <a:pt x="4070" y="522"/>
                    </a:lnTo>
                    <a:lnTo>
                      <a:pt x="4074" y="520"/>
                    </a:lnTo>
                    <a:lnTo>
                      <a:pt x="4076" y="518"/>
                    </a:lnTo>
                    <a:lnTo>
                      <a:pt x="4074" y="516"/>
                    </a:lnTo>
                    <a:lnTo>
                      <a:pt x="4068" y="512"/>
                    </a:lnTo>
                    <a:lnTo>
                      <a:pt x="4056" y="506"/>
                    </a:lnTo>
                    <a:lnTo>
                      <a:pt x="4042" y="500"/>
                    </a:lnTo>
                    <a:lnTo>
                      <a:pt x="4026" y="498"/>
                    </a:lnTo>
                    <a:lnTo>
                      <a:pt x="4010" y="496"/>
                    </a:lnTo>
                    <a:lnTo>
                      <a:pt x="3994" y="498"/>
                    </a:lnTo>
                    <a:lnTo>
                      <a:pt x="3994" y="498"/>
                    </a:lnTo>
                    <a:lnTo>
                      <a:pt x="3980" y="498"/>
                    </a:lnTo>
                    <a:lnTo>
                      <a:pt x="3968" y="496"/>
                    </a:lnTo>
                    <a:lnTo>
                      <a:pt x="3958" y="490"/>
                    </a:lnTo>
                    <a:lnTo>
                      <a:pt x="3948" y="484"/>
                    </a:lnTo>
                    <a:lnTo>
                      <a:pt x="3938" y="478"/>
                    </a:lnTo>
                    <a:lnTo>
                      <a:pt x="3928" y="472"/>
                    </a:lnTo>
                    <a:lnTo>
                      <a:pt x="3918" y="470"/>
                    </a:lnTo>
                    <a:lnTo>
                      <a:pt x="3912" y="472"/>
                    </a:lnTo>
                    <a:lnTo>
                      <a:pt x="3906" y="474"/>
                    </a:lnTo>
                    <a:lnTo>
                      <a:pt x="3906" y="474"/>
                    </a:lnTo>
                    <a:lnTo>
                      <a:pt x="3898" y="480"/>
                    </a:lnTo>
                    <a:lnTo>
                      <a:pt x="3894" y="486"/>
                    </a:lnTo>
                    <a:lnTo>
                      <a:pt x="3892" y="492"/>
                    </a:lnTo>
                    <a:lnTo>
                      <a:pt x="3894" y="498"/>
                    </a:lnTo>
                    <a:lnTo>
                      <a:pt x="3900" y="506"/>
                    </a:lnTo>
                    <a:lnTo>
                      <a:pt x="3900" y="510"/>
                    </a:lnTo>
                    <a:lnTo>
                      <a:pt x="3896" y="512"/>
                    </a:lnTo>
                    <a:lnTo>
                      <a:pt x="3896" y="512"/>
                    </a:lnTo>
                    <a:lnTo>
                      <a:pt x="3890" y="512"/>
                    </a:lnTo>
                    <a:lnTo>
                      <a:pt x="3882" y="508"/>
                    </a:lnTo>
                    <a:lnTo>
                      <a:pt x="3862" y="498"/>
                    </a:lnTo>
                    <a:lnTo>
                      <a:pt x="3842" y="484"/>
                    </a:lnTo>
                    <a:lnTo>
                      <a:pt x="3822" y="472"/>
                    </a:lnTo>
                    <a:lnTo>
                      <a:pt x="3822" y="472"/>
                    </a:lnTo>
                    <a:lnTo>
                      <a:pt x="3814" y="468"/>
                    </a:lnTo>
                    <a:lnTo>
                      <a:pt x="3808" y="468"/>
                    </a:lnTo>
                    <a:lnTo>
                      <a:pt x="3800" y="466"/>
                    </a:lnTo>
                    <a:lnTo>
                      <a:pt x="3794" y="468"/>
                    </a:lnTo>
                    <a:lnTo>
                      <a:pt x="3778" y="476"/>
                    </a:lnTo>
                    <a:lnTo>
                      <a:pt x="3758" y="488"/>
                    </a:lnTo>
                    <a:lnTo>
                      <a:pt x="3758" y="488"/>
                    </a:lnTo>
                    <a:lnTo>
                      <a:pt x="3748" y="496"/>
                    </a:lnTo>
                    <a:lnTo>
                      <a:pt x="3746" y="502"/>
                    </a:lnTo>
                    <a:lnTo>
                      <a:pt x="3746" y="508"/>
                    </a:lnTo>
                    <a:lnTo>
                      <a:pt x="3748" y="514"/>
                    </a:lnTo>
                    <a:lnTo>
                      <a:pt x="3752" y="524"/>
                    </a:lnTo>
                    <a:lnTo>
                      <a:pt x="3752" y="530"/>
                    </a:lnTo>
                    <a:lnTo>
                      <a:pt x="3746" y="532"/>
                    </a:lnTo>
                    <a:lnTo>
                      <a:pt x="3746" y="532"/>
                    </a:lnTo>
                    <a:lnTo>
                      <a:pt x="3742" y="536"/>
                    </a:lnTo>
                    <a:lnTo>
                      <a:pt x="3742" y="542"/>
                    </a:lnTo>
                    <a:lnTo>
                      <a:pt x="3744" y="548"/>
                    </a:lnTo>
                    <a:lnTo>
                      <a:pt x="3752" y="554"/>
                    </a:lnTo>
                    <a:lnTo>
                      <a:pt x="3762" y="560"/>
                    </a:lnTo>
                    <a:lnTo>
                      <a:pt x="3776" y="568"/>
                    </a:lnTo>
                    <a:lnTo>
                      <a:pt x="3810" y="584"/>
                    </a:lnTo>
                    <a:lnTo>
                      <a:pt x="3810" y="584"/>
                    </a:lnTo>
                    <a:close/>
                    <a:moveTo>
                      <a:pt x="4172" y="572"/>
                    </a:moveTo>
                    <a:lnTo>
                      <a:pt x="4172" y="572"/>
                    </a:lnTo>
                    <a:lnTo>
                      <a:pt x="4198" y="578"/>
                    </a:lnTo>
                    <a:lnTo>
                      <a:pt x="4218" y="578"/>
                    </a:lnTo>
                    <a:lnTo>
                      <a:pt x="4262" y="576"/>
                    </a:lnTo>
                    <a:lnTo>
                      <a:pt x="4262" y="576"/>
                    </a:lnTo>
                    <a:lnTo>
                      <a:pt x="4276" y="574"/>
                    </a:lnTo>
                    <a:lnTo>
                      <a:pt x="4288" y="570"/>
                    </a:lnTo>
                    <a:lnTo>
                      <a:pt x="4294" y="566"/>
                    </a:lnTo>
                    <a:lnTo>
                      <a:pt x="4300" y="560"/>
                    </a:lnTo>
                    <a:lnTo>
                      <a:pt x="4300" y="556"/>
                    </a:lnTo>
                    <a:lnTo>
                      <a:pt x="4300" y="552"/>
                    </a:lnTo>
                    <a:lnTo>
                      <a:pt x="4296" y="550"/>
                    </a:lnTo>
                    <a:lnTo>
                      <a:pt x="4288" y="550"/>
                    </a:lnTo>
                    <a:lnTo>
                      <a:pt x="4288" y="550"/>
                    </a:lnTo>
                    <a:lnTo>
                      <a:pt x="4280" y="550"/>
                    </a:lnTo>
                    <a:lnTo>
                      <a:pt x="4274" y="548"/>
                    </a:lnTo>
                    <a:lnTo>
                      <a:pt x="4266" y="540"/>
                    </a:lnTo>
                    <a:lnTo>
                      <a:pt x="4260" y="536"/>
                    </a:lnTo>
                    <a:lnTo>
                      <a:pt x="4252" y="534"/>
                    </a:lnTo>
                    <a:lnTo>
                      <a:pt x="4244" y="536"/>
                    </a:lnTo>
                    <a:lnTo>
                      <a:pt x="4230" y="540"/>
                    </a:lnTo>
                    <a:lnTo>
                      <a:pt x="4230" y="540"/>
                    </a:lnTo>
                    <a:lnTo>
                      <a:pt x="4220" y="542"/>
                    </a:lnTo>
                    <a:lnTo>
                      <a:pt x="4214" y="542"/>
                    </a:lnTo>
                    <a:lnTo>
                      <a:pt x="4212" y="540"/>
                    </a:lnTo>
                    <a:lnTo>
                      <a:pt x="4212" y="536"/>
                    </a:lnTo>
                    <a:lnTo>
                      <a:pt x="4210" y="532"/>
                    </a:lnTo>
                    <a:lnTo>
                      <a:pt x="4204" y="528"/>
                    </a:lnTo>
                    <a:lnTo>
                      <a:pt x="4194" y="526"/>
                    </a:lnTo>
                    <a:lnTo>
                      <a:pt x="4174" y="528"/>
                    </a:lnTo>
                    <a:lnTo>
                      <a:pt x="4174" y="528"/>
                    </a:lnTo>
                    <a:lnTo>
                      <a:pt x="4154" y="528"/>
                    </a:lnTo>
                    <a:lnTo>
                      <a:pt x="4142" y="526"/>
                    </a:lnTo>
                    <a:lnTo>
                      <a:pt x="4132" y="524"/>
                    </a:lnTo>
                    <a:lnTo>
                      <a:pt x="4126" y="520"/>
                    </a:lnTo>
                    <a:lnTo>
                      <a:pt x="4122" y="514"/>
                    </a:lnTo>
                    <a:lnTo>
                      <a:pt x="4122" y="516"/>
                    </a:lnTo>
                    <a:lnTo>
                      <a:pt x="4118" y="518"/>
                    </a:lnTo>
                    <a:lnTo>
                      <a:pt x="4118" y="518"/>
                    </a:lnTo>
                    <a:lnTo>
                      <a:pt x="4112" y="530"/>
                    </a:lnTo>
                    <a:lnTo>
                      <a:pt x="4108" y="536"/>
                    </a:lnTo>
                    <a:lnTo>
                      <a:pt x="4110" y="542"/>
                    </a:lnTo>
                    <a:lnTo>
                      <a:pt x="4114" y="550"/>
                    </a:lnTo>
                    <a:lnTo>
                      <a:pt x="4126" y="556"/>
                    </a:lnTo>
                    <a:lnTo>
                      <a:pt x="4144" y="564"/>
                    </a:lnTo>
                    <a:lnTo>
                      <a:pt x="4172" y="572"/>
                    </a:lnTo>
                    <a:lnTo>
                      <a:pt x="4172" y="572"/>
                    </a:lnTo>
                    <a:close/>
                    <a:moveTo>
                      <a:pt x="5478" y="870"/>
                    </a:moveTo>
                    <a:lnTo>
                      <a:pt x="5478" y="866"/>
                    </a:lnTo>
                    <a:lnTo>
                      <a:pt x="5478" y="866"/>
                    </a:lnTo>
                    <a:lnTo>
                      <a:pt x="5548" y="856"/>
                    </a:lnTo>
                    <a:lnTo>
                      <a:pt x="5548" y="856"/>
                    </a:lnTo>
                    <a:lnTo>
                      <a:pt x="5558" y="854"/>
                    </a:lnTo>
                    <a:lnTo>
                      <a:pt x="5564" y="852"/>
                    </a:lnTo>
                    <a:lnTo>
                      <a:pt x="5570" y="848"/>
                    </a:lnTo>
                    <a:lnTo>
                      <a:pt x="5572" y="846"/>
                    </a:lnTo>
                    <a:lnTo>
                      <a:pt x="5570" y="842"/>
                    </a:lnTo>
                    <a:lnTo>
                      <a:pt x="5568" y="838"/>
                    </a:lnTo>
                    <a:lnTo>
                      <a:pt x="5560" y="832"/>
                    </a:lnTo>
                    <a:lnTo>
                      <a:pt x="5546" y="826"/>
                    </a:lnTo>
                    <a:lnTo>
                      <a:pt x="5530" y="820"/>
                    </a:lnTo>
                    <a:lnTo>
                      <a:pt x="5512" y="818"/>
                    </a:lnTo>
                    <a:lnTo>
                      <a:pt x="5494" y="818"/>
                    </a:lnTo>
                    <a:lnTo>
                      <a:pt x="5494" y="818"/>
                    </a:lnTo>
                    <a:lnTo>
                      <a:pt x="5478" y="820"/>
                    </a:lnTo>
                    <a:lnTo>
                      <a:pt x="5478" y="818"/>
                    </a:lnTo>
                    <a:lnTo>
                      <a:pt x="5478" y="818"/>
                    </a:lnTo>
                    <a:lnTo>
                      <a:pt x="5454" y="826"/>
                    </a:lnTo>
                    <a:lnTo>
                      <a:pt x="5444" y="832"/>
                    </a:lnTo>
                    <a:lnTo>
                      <a:pt x="5434" y="838"/>
                    </a:lnTo>
                    <a:lnTo>
                      <a:pt x="5428" y="844"/>
                    </a:lnTo>
                    <a:lnTo>
                      <a:pt x="5422" y="850"/>
                    </a:lnTo>
                    <a:lnTo>
                      <a:pt x="5418" y="856"/>
                    </a:lnTo>
                    <a:lnTo>
                      <a:pt x="5418" y="864"/>
                    </a:lnTo>
                    <a:lnTo>
                      <a:pt x="5418" y="864"/>
                    </a:lnTo>
                    <a:lnTo>
                      <a:pt x="5418" y="868"/>
                    </a:lnTo>
                    <a:lnTo>
                      <a:pt x="5422" y="872"/>
                    </a:lnTo>
                    <a:lnTo>
                      <a:pt x="5426" y="874"/>
                    </a:lnTo>
                    <a:lnTo>
                      <a:pt x="5434" y="874"/>
                    </a:lnTo>
                    <a:lnTo>
                      <a:pt x="5452" y="874"/>
                    </a:lnTo>
                    <a:lnTo>
                      <a:pt x="5478" y="870"/>
                    </a:lnTo>
                    <a:lnTo>
                      <a:pt x="5478" y="870"/>
                    </a:lnTo>
                    <a:close/>
                    <a:moveTo>
                      <a:pt x="2060" y="404"/>
                    </a:moveTo>
                    <a:lnTo>
                      <a:pt x="2060" y="404"/>
                    </a:lnTo>
                    <a:lnTo>
                      <a:pt x="2068" y="408"/>
                    </a:lnTo>
                    <a:lnTo>
                      <a:pt x="2078" y="408"/>
                    </a:lnTo>
                    <a:lnTo>
                      <a:pt x="2088" y="406"/>
                    </a:lnTo>
                    <a:lnTo>
                      <a:pt x="2096" y="404"/>
                    </a:lnTo>
                    <a:lnTo>
                      <a:pt x="2104" y="400"/>
                    </a:lnTo>
                    <a:lnTo>
                      <a:pt x="2108" y="396"/>
                    </a:lnTo>
                    <a:lnTo>
                      <a:pt x="2112" y="392"/>
                    </a:lnTo>
                    <a:lnTo>
                      <a:pt x="2112" y="388"/>
                    </a:lnTo>
                    <a:lnTo>
                      <a:pt x="2112" y="388"/>
                    </a:lnTo>
                    <a:lnTo>
                      <a:pt x="2106" y="386"/>
                    </a:lnTo>
                    <a:lnTo>
                      <a:pt x="2100" y="386"/>
                    </a:lnTo>
                    <a:lnTo>
                      <a:pt x="2080" y="392"/>
                    </a:lnTo>
                    <a:lnTo>
                      <a:pt x="2064" y="398"/>
                    </a:lnTo>
                    <a:lnTo>
                      <a:pt x="2060" y="402"/>
                    </a:lnTo>
                    <a:lnTo>
                      <a:pt x="2058" y="404"/>
                    </a:lnTo>
                    <a:lnTo>
                      <a:pt x="2060" y="404"/>
                    </a:lnTo>
                    <a:lnTo>
                      <a:pt x="2060" y="404"/>
                    </a:lnTo>
                    <a:close/>
                    <a:moveTo>
                      <a:pt x="3868" y="678"/>
                    </a:moveTo>
                    <a:lnTo>
                      <a:pt x="3868" y="678"/>
                    </a:lnTo>
                    <a:lnTo>
                      <a:pt x="3858" y="686"/>
                    </a:lnTo>
                    <a:lnTo>
                      <a:pt x="3856" y="688"/>
                    </a:lnTo>
                    <a:lnTo>
                      <a:pt x="3858" y="690"/>
                    </a:lnTo>
                    <a:lnTo>
                      <a:pt x="3866" y="690"/>
                    </a:lnTo>
                    <a:lnTo>
                      <a:pt x="3896" y="688"/>
                    </a:lnTo>
                    <a:lnTo>
                      <a:pt x="3916" y="688"/>
                    </a:lnTo>
                    <a:lnTo>
                      <a:pt x="3940" y="692"/>
                    </a:lnTo>
                    <a:lnTo>
                      <a:pt x="3940" y="692"/>
                    </a:lnTo>
                    <a:lnTo>
                      <a:pt x="3970" y="696"/>
                    </a:lnTo>
                    <a:lnTo>
                      <a:pt x="3990" y="696"/>
                    </a:lnTo>
                    <a:lnTo>
                      <a:pt x="4004" y="694"/>
                    </a:lnTo>
                    <a:lnTo>
                      <a:pt x="4006" y="692"/>
                    </a:lnTo>
                    <a:lnTo>
                      <a:pt x="4008" y="690"/>
                    </a:lnTo>
                    <a:lnTo>
                      <a:pt x="4008" y="686"/>
                    </a:lnTo>
                    <a:lnTo>
                      <a:pt x="4006" y="682"/>
                    </a:lnTo>
                    <a:lnTo>
                      <a:pt x="4000" y="674"/>
                    </a:lnTo>
                    <a:lnTo>
                      <a:pt x="3988" y="664"/>
                    </a:lnTo>
                    <a:lnTo>
                      <a:pt x="3972" y="654"/>
                    </a:lnTo>
                    <a:lnTo>
                      <a:pt x="3972" y="654"/>
                    </a:lnTo>
                    <a:lnTo>
                      <a:pt x="3956" y="648"/>
                    </a:lnTo>
                    <a:lnTo>
                      <a:pt x="3940" y="644"/>
                    </a:lnTo>
                    <a:lnTo>
                      <a:pt x="3928" y="646"/>
                    </a:lnTo>
                    <a:lnTo>
                      <a:pt x="3916" y="648"/>
                    </a:lnTo>
                    <a:lnTo>
                      <a:pt x="3904" y="654"/>
                    </a:lnTo>
                    <a:lnTo>
                      <a:pt x="3894" y="662"/>
                    </a:lnTo>
                    <a:lnTo>
                      <a:pt x="3868" y="678"/>
                    </a:lnTo>
                    <a:lnTo>
                      <a:pt x="3868" y="678"/>
                    </a:lnTo>
                    <a:close/>
                    <a:moveTo>
                      <a:pt x="5044" y="956"/>
                    </a:moveTo>
                    <a:lnTo>
                      <a:pt x="5044" y="956"/>
                    </a:lnTo>
                    <a:lnTo>
                      <a:pt x="5046" y="954"/>
                    </a:lnTo>
                    <a:lnTo>
                      <a:pt x="5046" y="950"/>
                    </a:lnTo>
                    <a:lnTo>
                      <a:pt x="5044" y="948"/>
                    </a:lnTo>
                    <a:lnTo>
                      <a:pt x="5042" y="946"/>
                    </a:lnTo>
                    <a:lnTo>
                      <a:pt x="5034" y="942"/>
                    </a:lnTo>
                    <a:lnTo>
                      <a:pt x="5024" y="940"/>
                    </a:lnTo>
                    <a:lnTo>
                      <a:pt x="5012" y="938"/>
                    </a:lnTo>
                    <a:lnTo>
                      <a:pt x="5000" y="938"/>
                    </a:lnTo>
                    <a:lnTo>
                      <a:pt x="4990" y="938"/>
                    </a:lnTo>
                    <a:lnTo>
                      <a:pt x="4984" y="942"/>
                    </a:lnTo>
                    <a:lnTo>
                      <a:pt x="4984" y="942"/>
                    </a:lnTo>
                    <a:lnTo>
                      <a:pt x="4982" y="944"/>
                    </a:lnTo>
                    <a:lnTo>
                      <a:pt x="4982" y="946"/>
                    </a:lnTo>
                    <a:lnTo>
                      <a:pt x="4986" y="950"/>
                    </a:lnTo>
                    <a:lnTo>
                      <a:pt x="4992" y="954"/>
                    </a:lnTo>
                    <a:lnTo>
                      <a:pt x="5002" y="958"/>
                    </a:lnTo>
                    <a:lnTo>
                      <a:pt x="5014" y="960"/>
                    </a:lnTo>
                    <a:lnTo>
                      <a:pt x="5024" y="962"/>
                    </a:lnTo>
                    <a:lnTo>
                      <a:pt x="5034" y="960"/>
                    </a:lnTo>
                    <a:lnTo>
                      <a:pt x="5044" y="956"/>
                    </a:lnTo>
                    <a:lnTo>
                      <a:pt x="5044" y="956"/>
                    </a:lnTo>
                    <a:close/>
                    <a:moveTo>
                      <a:pt x="3698" y="530"/>
                    </a:moveTo>
                    <a:lnTo>
                      <a:pt x="3698" y="530"/>
                    </a:lnTo>
                    <a:lnTo>
                      <a:pt x="3704" y="524"/>
                    </a:lnTo>
                    <a:lnTo>
                      <a:pt x="3706" y="518"/>
                    </a:lnTo>
                    <a:lnTo>
                      <a:pt x="3704" y="508"/>
                    </a:lnTo>
                    <a:lnTo>
                      <a:pt x="3696" y="498"/>
                    </a:lnTo>
                    <a:lnTo>
                      <a:pt x="3696" y="498"/>
                    </a:lnTo>
                    <a:lnTo>
                      <a:pt x="3694" y="496"/>
                    </a:lnTo>
                    <a:lnTo>
                      <a:pt x="3692" y="496"/>
                    </a:lnTo>
                    <a:lnTo>
                      <a:pt x="3688" y="500"/>
                    </a:lnTo>
                    <a:lnTo>
                      <a:pt x="3684" y="506"/>
                    </a:lnTo>
                    <a:lnTo>
                      <a:pt x="3682" y="514"/>
                    </a:lnTo>
                    <a:lnTo>
                      <a:pt x="3680" y="524"/>
                    </a:lnTo>
                    <a:lnTo>
                      <a:pt x="3684" y="530"/>
                    </a:lnTo>
                    <a:lnTo>
                      <a:pt x="3686" y="532"/>
                    </a:lnTo>
                    <a:lnTo>
                      <a:pt x="3688" y="532"/>
                    </a:lnTo>
                    <a:lnTo>
                      <a:pt x="3692" y="532"/>
                    </a:lnTo>
                    <a:lnTo>
                      <a:pt x="3698" y="530"/>
                    </a:lnTo>
                    <a:lnTo>
                      <a:pt x="3698" y="530"/>
                    </a:lnTo>
                    <a:close/>
                    <a:moveTo>
                      <a:pt x="2260" y="322"/>
                    </a:moveTo>
                    <a:lnTo>
                      <a:pt x="2260" y="322"/>
                    </a:lnTo>
                    <a:lnTo>
                      <a:pt x="2286" y="316"/>
                    </a:lnTo>
                    <a:lnTo>
                      <a:pt x="2314" y="310"/>
                    </a:lnTo>
                    <a:lnTo>
                      <a:pt x="2350" y="306"/>
                    </a:lnTo>
                    <a:lnTo>
                      <a:pt x="2398" y="304"/>
                    </a:lnTo>
                    <a:lnTo>
                      <a:pt x="2398" y="304"/>
                    </a:lnTo>
                    <a:lnTo>
                      <a:pt x="2424" y="302"/>
                    </a:lnTo>
                    <a:lnTo>
                      <a:pt x="2442" y="298"/>
                    </a:lnTo>
                    <a:lnTo>
                      <a:pt x="2456" y="294"/>
                    </a:lnTo>
                    <a:lnTo>
                      <a:pt x="2464" y="288"/>
                    </a:lnTo>
                    <a:lnTo>
                      <a:pt x="2466" y="284"/>
                    </a:lnTo>
                    <a:lnTo>
                      <a:pt x="2466" y="282"/>
                    </a:lnTo>
                    <a:lnTo>
                      <a:pt x="2462" y="274"/>
                    </a:lnTo>
                    <a:lnTo>
                      <a:pt x="2456" y="266"/>
                    </a:lnTo>
                    <a:lnTo>
                      <a:pt x="2442" y="256"/>
                    </a:lnTo>
                    <a:lnTo>
                      <a:pt x="2442" y="256"/>
                    </a:lnTo>
                    <a:lnTo>
                      <a:pt x="2420" y="240"/>
                    </a:lnTo>
                    <a:lnTo>
                      <a:pt x="2412" y="234"/>
                    </a:lnTo>
                    <a:lnTo>
                      <a:pt x="2406" y="232"/>
                    </a:lnTo>
                    <a:lnTo>
                      <a:pt x="2398" y="232"/>
                    </a:lnTo>
                    <a:lnTo>
                      <a:pt x="2388" y="236"/>
                    </a:lnTo>
                    <a:lnTo>
                      <a:pt x="2376" y="242"/>
                    </a:lnTo>
                    <a:lnTo>
                      <a:pt x="2360" y="254"/>
                    </a:lnTo>
                    <a:lnTo>
                      <a:pt x="2360" y="254"/>
                    </a:lnTo>
                    <a:lnTo>
                      <a:pt x="2346" y="262"/>
                    </a:lnTo>
                    <a:lnTo>
                      <a:pt x="2344" y="264"/>
                    </a:lnTo>
                    <a:lnTo>
                      <a:pt x="2344" y="262"/>
                    </a:lnTo>
                    <a:lnTo>
                      <a:pt x="2356" y="248"/>
                    </a:lnTo>
                    <a:lnTo>
                      <a:pt x="2364" y="238"/>
                    </a:lnTo>
                    <a:lnTo>
                      <a:pt x="2372" y="226"/>
                    </a:lnTo>
                    <a:lnTo>
                      <a:pt x="2376" y="218"/>
                    </a:lnTo>
                    <a:lnTo>
                      <a:pt x="2374" y="214"/>
                    </a:lnTo>
                    <a:lnTo>
                      <a:pt x="2372" y="212"/>
                    </a:lnTo>
                    <a:lnTo>
                      <a:pt x="2372" y="212"/>
                    </a:lnTo>
                    <a:lnTo>
                      <a:pt x="2354" y="208"/>
                    </a:lnTo>
                    <a:lnTo>
                      <a:pt x="2344" y="206"/>
                    </a:lnTo>
                    <a:lnTo>
                      <a:pt x="2336" y="206"/>
                    </a:lnTo>
                    <a:lnTo>
                      <a:pt x="2326" y="208"/>
                    </a:lnTo>
                    <a:lnTo>
                      <a:pt x="2316" y="212"/>
                    </a:lnTo>
                    <a:lnTo>
                      <a:pt x="2306" y="222"/>
                    </a:lnTo>
                    <a:lnTo>
                      <a:pt x="2294" y="236"/>
                    </a:lnTo>
                    <a:lnTo>
                      <a:pt x="2294" y="236"/>
                    </a:lnTo>
                    <a:lnTo>
                      <a:pt x="2286" y="248"/>
                    </a:lnTo>
                    <a:lnTo>
                      <a:pt x="2278" y="256"/>
                    </a:lnTo>
                    <a:lnTo>
                      <a:pt x="2266" y="264"/>
                    </a:lnTo>
                    <a:lnTo>
                      <a:pt x="2260" y="270"/>
                    </a:lnTo>
                    <a:lnTo>
                      <a:pt x="2252" y="278"/>
                    </a:lnTo>
                    <a:lnTo>
                      <a:pt x="2242" y="292"/>
                    </a:lnTo>
                    <a:lnTo>
                      <a:pt x="2230" y="314"/>
                    </a:lnTo>
                    <a:lnTo>
                      <a:pt x="2230" y="314"/>
                    </a:lnTo>
                    <a:lnTo>
                      <a:pt x="2226" y="324"/>
                    </a:lnTo>
                    <a:lnTo>
                      <a:pt x="2226" y="328"/>
                    </a:lnTo>
                    <a:lnTo>
                      <a:pt x="2228" y="330"/>
                    </a:lnTo>
                    <a:lnTo>
                      <a:pt x="2238" y="328"/>
                    </a:lnTo>
                    <a:lnTo>
                      <a:pt x="2260" y="322"/>
                    </a:lnTo>
                    <a:lnTo>
                      <a:pt x="2260" y="322"/>
                    </a:lnTo>
                    <a:close/>
                    <a:moveTo>
                      <a:pt x="2156" y="150"/>
                    </a:moveTo>
                    <a:lnTo>
                      <a:pt x="2156" y="150"/>
                    </a:lnTo>
                    <a:lnTo>
                      <a:pt x="2132" y="150"/>
                    </a:lnTo>
                    <a:lnTo>
                      <a:pt x="2100" y="148"/>
                    </a:lnTo>
                    <a:lnTo>
                      <a:pt x="2084" y="150"/>
                    </a:lnTo>
                    <a:lnTo>
                      <a:pt x="2068" y="152"/>
                    </a:lnTo>
                    <a:lnTo>
                      <a:pt x="2054" y="156"/>
                    </a:lnTo>
                    <a:lnTo>
                      <a:pt x="2042" y="162"/>
                    </a:lnTo>
                    <a:lnTo>
                      <a:pt x="2042" y="162"/>
                    </a:lnTo>
                    <a:lnTo>
                      <a:pt x="2016" y="178"/>
                    </a:lnTo>
                    <a:lnTo>
                      <a:pt x="1988" y="192"/>
                    </a:lnTo>
                    <a:lnTo>
                      <a:pt x="1980" y="198"/>
                    </a:lnTo>
                    <a:lnTo>
                      <a:pt x="1978" y="200"/>
                    </a:lnTo>
                    <a:lnTo>
                      <a:pt x="1978" y="202"/>
                    </a:lnTo>
                    <a:lnTo>
                      <a:pt x="1980" y="204"/>
                    </a:lnTo>
                    <a:lnTo>
                      <a:pt x="1982" y="204"/>
                    </a:lnTo>
                    <a:lnTo>
                      <a:pt x="1996" y="206"/>
                    </a:lnTo>
                    <a:lnTo>
                      <a:pt x="1996" y="206"/>
                    </a:lnTo>
                    <a:lnTo>
                      <a:pt x="2012" y="206"/>
                    </a:lnTo>
                    <a:lnTo>
                      <a:pt x="2020" y="208"/>
                    </a:lnTo>
                    <a:lnTo>
                      <a:pt x="2024" y="210"/>
                    </a:lnTo>
                    <a:lnTo>
                      <a:pt x="2024" y="214"/>
                    </a:lnTo>
                    <a:lnTo>
                      <a:pt x="2024" y="218"/>
                    </a:lnTo>
                    <a:lnTo>
                      <a:pt x="2026" y="224"/>
                    </a:lnTo>
                    <a:lnTo>
                      <a:pt x="2030" y="230"/>
                    </a:lnTo>
                    <a:lnTo>
                      <a:pt x="2038" y="234"/>
                    </a:lnTo>
                    <a:lnTo>
                      <a:pt x="2038" y="234"/>
                    </a:lnTo>
                    <a:lnTo>
                      <a:pt x="2046" y="238"/>
                    </a:lnTo>
                    <a:lnTo>
                      <a:pt x="2054" y="238"/>
                    </a:lnTo>
                    <a:lnTo>
                      <a:pt x="2074" y="240"/>
                    </a:lnTo>
                    <a:lnTo>
                      <a:pt x="2100" y="244"/>
                    </a:lnTo>
                    <a:lnTo>
                      <a:pt x="2118" y="246"/>
                    </a:lnTo>
                    <a:lnTo>
                      <a:pt x="2138" y="252"/>
                    </a:lnTo>
                    <a:lnTo>
                      <a:pt x="2138" y="252"/>
                    </a:lnTo>
                    <a:lnTo>
                      <a:pt x="2158" y="258"/>
                    </a:lnTo>
                    <a:lnTo>
                      <a:pt x="2180" y="260"/>
                    </a:lnTo>
                    <a:lnTo>
                      <a:pt x="2200" y="260"/>
                    </a:lnTo>
                    <a:lnTo>
                      <a:pt x="2218" y="258"/>
                    </a:lnTo>
                    <a:lnTo>
                      <a:pt x="2232" y="252"/>
                    </a:lnTo>
                    <a:lnTo>
                      <a:pt x="2240" y="248"/>
                    </a:lnTo>
                    <a:lnTo>
                      <a:pt x="2244" y="244"/>
                    </a:lnTo>
                    <a:lnTo>
                      <a:pt x="2244" y="240"/>
                    </a:lnTo>
                    <a:lnTo>
                      <a:pt x="2242" y="238"/>
                    </a:lnTo>
                    <a:lnTo>
                      <a:pt x="2240" y="234"/>
                    </a:lnTo>
                    <a:lnTo>
                      <a:pt x="2240" y="234"/>
                    </a:lnTo>
                    <a:lnTo>
                      <a:pt x="2236" y="232"/>
                    </a:lnTo>
                    <a:lnTo>
                      <a:pt x="2236" y="228"/>
                    </a:lnTo>
                    <a:lnTo>
                      <a:pt x="2236" y="220"/>
                    </a:lnTo>
                    <a:lnTo>
                      <a:pt x="2238" y="210"/>
                    </a:lnTo>
                    <a:lnTo>
                      <a:pt x="2244" y="202"/>
                    </a:lnTo>
                    <a:lnTo>
                      <a:pt x="2248" y="192"/>
                    </a:lnTo>
                    <a:lnTo>
                      <a:pt x="2252" y="184"/>
                    </a:lnTo>
                    <a:lnTo>
                      <a:pt x="2252" y="180"/>
                    </a:lnTo>
                    <a:lnTo>
                      <a:pt x="2252" y="176"/>
                    </a:lnTo>
                    <a:lnTo>
                      <a:pt x="2250" y="174"/>
                    </a:lnTo>
                    <a:lnTo>
                      <a:pt x="2246" y="172"/>
                    </a:lnTo>
                    <a:lnTo>
                      <a:pt x="2246" y="172"/>
                    </a:lnTo>
                    <a:lnTo>
                      <a:pt x="2238" y="166"/>
                    </a:lnTo>
                    <a:lnTo>
                      <a:pt x="2234" y="162"/>
                    </a:lnTo>
                    <a:lnTo>
                      <a:pt x="2230" y="160"/>
                    </a:lnTo>
                    <a:lnTo>
                      <a:pt x="2226" y="156"/>
                    </a:lnTo>
                    <a:lnTo>
                      <a:pt x="2220" y="156"/>
                    </a:lnTo>
                    <a:lnTo>
                      <a:pt x="2212" y="156"/>
                    </a:lnTo>
                    <a:lnTo>
                      <a:pt x="2184" y="164"/>
                    </a:lnTo>
                    <a:lnTo>
                      <a:pt x="2184" y="164"/>
                    </a:lnTo>
                    <a:lnTo>
                      <a:pt x="2170" y="170"/>
                    </a:lnTo>
                    <a:lnTo>
                      <a:pt x="2162" y="170"/>
                    </a:lnTo>
                    <a:lnTo>
                      <a:pt x="2160" y="168"/>
                    </a:lnTo>
                    <a:lnTo>
                      <a:pt x="2160" y="168"/>
                    </a:lnTo>
                    <a:lnTo>
                      <a:pt x="2162" y="164"/>
                    </a:lnTo>
                    <a:lnTo>
                      <a:pt x="2164" y="158"/>
                    </a:lnTo>
                    <a:lnTo>
                      <a:pt x="2164" y="154"/>
                    </a:lnTo>
                    <a:lnTo>
                      <a:pt x="2164" y="150"/>
                    </a:lnTo>
                    <a:lnTo>
                      <a:pt x="2156" y="150"/>
                    </a:lnTo>
                    <a:lnTo>
                      <a:pt x="2156" y="150"/>
                    </a:lnTo>
                    <a:close/>
                    <a:moveTo>
                      <a:pt x="3192" y="724"/>
                    </a:moveTo>
                    <a:lnTo>
                      <a:pt x="3192" y="724"/>
                    </a:lnTo>
                    <a:lnTo>
                      <a:pt x="3218" y="728"/>
                    </a:lnTo>
                    <a:lnTo>
                      <a:pt x="3242" y="734"/>
                    </a:lnTo>
                    <a:lnTo>
                      <a:pt x="3268" y="744"/>
                    </a:lnTo>
                    <a:lnTo>
                      <a:pt x="3300" y="758"/>
                    </a:lnTo>
                    <a:lnTo>
                      <a:pt x="3300" y="758"/>
                    </a:lnTo>
                    <a:lnTo>
                      <a:pt x="3308" y="762"/>
                    </a:lnTo>
                    <a:lnTo>
                      <a:pt x="3314" y="764"/>
                    </a:lnTo>
                    <a:lnTo>
                      <a:pt x="3316" y="762"/>
                    </a:lnTo>
                    <a:lnTo>
                      <a:pt x="3316" y="760"/>
                    </a:lnTo>
                    <a:lnTo>
                      <a:pt x="3314" y="752"/>
                    </a:lnTo>
                    <a:lnTo>
                      <a:pt x="3316" y="748"/>
                    </a:lnTo>
                    <a:lnTo>
                      <a:pt x="3320" y="746"/>
                    </a:lnTo>
                    <a:lnTo>
                      <a:pt x="3320" y="746"/>
                    </a:lnTo>
                    <a:lnTo>
                      <a:pt x="3332" y="746"/>
                    </a:lnTo>
                    <a:lnTo>
                      <a:pt x="3338" y="746"/>
                    </a:lnTo>
                    <a:lnTo>
                      <a:pt x="3368" y="758"/>
                    </a:lnTo>
                    <a:lnTo>
                      <a:pt x="3368" y="758"/>
                    </a:lnTo>
                    <a:lnTo>
                      <a:pt x="3390" y="768"/>
                    </a:lnTo>
                    <a:lnTo>
                      <a:pt x="3412" y="778"/>
                    </a:lnTo>
                    <a:lnTo>
                      <a:pt x="3420" y="782"/>
                    </a:lnTo>
                    <a:lnTo>
                      <a:pt x="3428" y="782"/>
                    </a:lnTo>
                    <a:lnTo>
                      <a:pt x="3434" y="778"/>
                    </a:lnTo>
                    <a:lnTo>
                      <a:pt x="3440" y="772"/>
                    </a:lnTo>
                    <a:lnTo>
                      <a:pt x="3440" y="772"/>
                    </a:lnTo>
                    <a:lnTo>
                      <a:pt x="3440" y="766"/>
                    </a:lnTo>
                    <a:lnTo>
                      <a:pt x="3440" y="762"/>
                    </a:lnTo>
                    <a:lnTo>
                      <a:pt x="3436" y="756"/>
                    </a:lnTo>
                    <a:lnTo>
                      <a:pt x="3430" y="752"/>
                    </a:lnTo>
                    <a:lnTo>
                      <a:pt x="3422" y="748"/>
                    </a:lnTo>
                    <a:lnTo>
                      <a:pt x="3414" y="746"/>
                    </a:lnTo>
                    <a:lnTo>
                      <a:pt x="3412" y="744"/>
                    </a:lnTo>
                    <a:lnTo>
                      <a:pt x="3412" y="742"/>
                    </a:lnTo>
                    <a:lnTo>
                      <a:pt x="3414" y="742"/>
                    </a:lnTo>
                    <a:lnTo>
                      <a:pt x="3422" y="738"/>
                    </a:lnTo>
                    <a:lnTo>
                      <a:pt x="3422" y="738"/>
                    </a:lnTo>
                    <a:lnTo>
                      <a:pt x="3432" y="736"/>
                    </a:lnTo>
                    <a:lnTo>
                      <a:pt x="3432" y="734"/>
                    </a:lnTo>
                    <a:lnTo>
                      <a:pt x="3432" y="732"/>
                    </a:lnTo>
                    <a:lnTo>
                      <a:pt x="3426" y="730"/>
                    </a:lnTo>
                    <a:lnTo>
                      <a:pt x="3418" y="726"/>
                    </a:lnTo>
                    <a:lnTo>
                      <a:pt x="3410" y="724"/>
                    </a:lnTo>
                    <a:lnTo>
                      <a:pt x="3406" y="720"/>
                    </a:lnTo>
                    <a:lnTo>
                      <a:pt x="3406" y="718"/>
                    </a:lnTo>
                    <a:lnTo>
                      <a:pt x="3406" y="718"/>
                    </a:lnTo>
                    <a:lnTo>
                      <a:pt x="3416" y="714"/>
                    </a:lnTo>
                    <a:lnTo>
                      <a:pt x="3416" y="714"/>
                    </a:lnTo>
                    <a:lnTo>
                      <a:pt x="3428" y="710"/>
                    </a:lnTo>
                    <a:lnTo>
                      <a:pt x="3430" y="708"/>
                    </a:lnTo>
                    <a:lnTo>
                      <a:pt x="3430" y="706"/>
                    </a:lnTo>
                    <a:lnTo>
                      <a:pt x="3426" y="702"/>
                    </a:lnTo>
                    <a:lnTo>
                      <a:pt x="3418" y="696"/>
                    </a:lnTo>
                    <a:lnTo>
                      <a:pt x="3392" y="686"/>
                    </a:lnTo>
                    <a:lnTo>
                      <a:pt x="3364" y="676"/>
                    </a:lnTo>
                    <a:lnTo>
                      <a:pt x="3364" y="676"/>
                    </a:lnTo>
                    <a:lnTo>
                      <a:pt x="3352" y="674"/>
                    </a:lnTo>
                    <a:lnTo>
                      <a:pt x="3342" y="676"/>
                    </a:lnTo>
                    <a:lnTo>
                      <a:pt x="3336" y="678"/>
                    </a:lnTo>
                    <a:lnTo>
                      <a:pt x="3330" y="684"/>
                    </a:lnTo>
                    <a:lnTo>
                      <a:pt x="3326" y="688"/>
                    </a:lnTo>
                    <a:lnTo>
                      <a:pt x="3322" y="690"/>
                    </a:lnTo>
                    <a:lnTo>
                      <a:pt x="3320" y="688"/>
                    </a:lnTo>
                    <a:lnTo>
                      <a:pt x="3316" y="682"/>
                    </a:lnTo>
                    <a:lnTo>
                      <a:pt x="3316" y="682"/>
                    </a:lnTo>
                    <a:lnTo>
                      <a:pt x="3312" y="676"/>
                    </a:lnTo>
                    <a:lnTo>
                      <a:pt x="3306" y="672"/>
                    </a:lnTo>
                    <a:lnTo>
                      <a:pt x="3302" y="668"/>
                    </a:lnTo>
                    <a:lnTo>
                      <a:pt x="3294" y="668"/>
                    </a:lnTo>
                    <a:lnTo>
                      <a:pt x="3278" y="666"/>
                    </a:lnTo>
                    <a:lnTo>
                      <a:pt x="3270" y="664"/>
                    </a:lnTo>
                    <a:lnTo>
                      <a:pt x="3258" y="660"/>
                    </a:lnTo>
                    <a:lnTo>
                      <a:pt x="3258" y="660"/>
                    </a:lnTo>
                    <a:lnTo>
                      <a:pt x="3244" y="656"/>
                    </a:lnTo>
                    <a:lnTo>
                      <a:pt x="3230" y="654"/>
                    </a:lnTo>
                    <a:lnTo>
                      <a:pt x="3216" y="656"/>
                    </a:lnTo>
                    <a:lnTo>
                      <a:pt x="3204" y="660"/>
                    </a:lnTo>
                    <a:lnTo>
                      <a:pt x="3194" y="666"/>
                    </a:lnTo>
                    <a:lnTo>
                      <a:pt x="3186" y="674"/>
                    </a:lnTo>
                    <a:lnTo>
                      <a:pt x="3186" y="676"/>
                    </a:lnTo>
                    <a:lnTo>
                      <a:pt x="3186" y="680"/>
                    </a:lnTo>
                    <a:lnTo>
                      <a:pt x="3188" y="684"/>
                    </a:lnTo>
                    <a:lnTo>
                      <a:pt x="3190" y="688"/>
                    </a:lnTo>
                    <a:lnTo>
                      <a:pt x="3190" y="688"/>
                    </a:lnTo>
                    <a:lnTo>
                      <a:pt x="3194" y="692"/>
                    </a:lnTo>
                    <a:lnTo>
                      <a:pt x="3196" y="696"/>
                    </a:lnTo>
                    <a:lnTo>
                      <a:pt x="3196" y="700"/>
                    </a:lnTo>
                    <a:lnTo>
                      <a:pt x="3196" y="702"/>
                    </a:lnTo>
                    <a:lnTo>
                      <a:pt x="3190" y="706"/>
                    </a:lnTo>
                    <a:lnTo>
                      <a:pt x="3184" y="712"/>
                    </a:lnTo>
                    <a:lnTo>
                      <a:pt x="3178" y="714"/>
                    </a:lnTo>
                    <a:lnTo>
                      <a:pt x="3176" y="718"/>
                    </a:lnTo>
                    <a:lnTo>
                      <a:pt x="3180" y="720"/>
                    </a:lnTo>
                    <a:lnTo>
                      <a:pt x="3192" y="724"/>
                    </a:lnTo>
                    <a:lnTo>
                      <a:pt x="3192" y="724"/>
                    </a:lnTo>
                    <a:close/>
                    <a:moveTo>
                      <a:pt x="614" y="10"/>
                    </a:moveTo>
                    <a:lnTo>
                      <a:pt x="614" y="10"/>
                    </a:lnTo>
                    <a:lnTo>
                      <a:pt x="614" y="8"/>
                    </a:lnTo>
                    <a:lnTo>
                      <a:pt x="612" y="6"/>
                    </a:lnTo>
                    <a:lnTo>
                      <a:pt x="606" y="4"/>
                    </a:lnTo>
                    <a:lnTo>
                      <a:pt x="588" y="0"/>
                    </a:lnTo>
                    <a:lnTo>
                      <a:pt x="576" y="0"/>
                    </a:lnTo>
                    <a:lnTo>
                      <a:pt x="566" y="2"/>
                    </a:lnTo>
                    <a:lnTo>
                      <a:pt x="558" y="4"/>
                    </a:lnTo>
                    <a:lnTo>
                      <a:pt x="554" y="10"/>
                    </a:lnTo>
                    <a:lnTo>
                      <a:pt x="554" y="10"/>
                    </a:lnTo>
                    <a:lnTo>
                      <a:pt x="552" y="12"/>
                    </a:lnTo>
                    <a:lnTo>
                      <a:pt x="554" y="14"/>
                    </a:lnTo>
                    <a:lnTo>
                      <a:pt x="558" y="18"/>
                    </a:lnTo>
                    <a:lnTo>
                      <a:pt x="568" y="18"/>
                    </a:lnTo>
                    <a:lnTo>
                      <a:pt x="578" y="18"/>
                    </a:lnTo>
                    <a:lnTo>
                      <a:pt x="602" y="16"/>
                    </a:lnTo>
                    <a:lnTo>
                      <a:pt x="610" y="12"/>
                    </a:lnTo>
                    <a:lnTo>
                      <a:pt x="614" y="10"/>
                    </a:lnTo>
                    <a:lnTo>
                      <a:pt x="614" y="10"/>
                    </a:lnTo>
                    <a:close/>
                    <a:moveTo>
                      <a:pt x="444" y="80"/>
                    </a:moveTo>
                    <a:lnTo>
                      <a:pt x="444" y="80"/>
                    </a:lnTo>
                    <a:lnTo>
                      <a:pt x="450" y="82"/>
                    </a:lnTo>
                    <a:lnTo>
                      <a:pt x="450" y="84"/>
                    </a:lnTo>
                    <a:lnTo>
                      <a:pt x="456" y="86"/>
                    </a:lnTo>
                    <a:lnTo>
                      <a:pt x="474" y="88"/>
                    </a:lnTo>
                    <a:lnTo>
                      <a:pt x="474" y="88"/>
                    </a:lnTo>
                    <a:lnTo>
                      <a:pt x="502" y="94"/>
                    </a:lnTo>
                    <a:lnTo>
                      <a:pt x="514" y="100"/>
                    </a:lnTo>
                    <a:lnTo>
                      <a:pt x="524" y="102"/>
                    </a:lnTo>
                    <a:lnTo>
                      <a:pt x="536" y="100"/>
                    </a:lnTo>
                    <a:lnTo>
                      <a:pt x="536" y="100"/>
                    </a:lnTo>
                    <a:lnTo>
                      <a:pt x="544" y="96"/>
                    </a:lnTo>
                    <a:lnTo>
                      <a:pt x="546" y="94"/>
                    </a:lnTo>
                    <a:lnTo>
                      <a:pt x="544" y="94"/>
                    </a:lnTo>
                    <a:lnTo>
                      <a:pt x="520" y="88"/>
                    </a:lnTo>
                    <a:lnTo>
                      <a:pt x="520" y="88"/>
                    </a:lnTo>
                    <a:lnTo>
                      <a:pt x="492" y="76"/>
                    </a:lnTo>
                    <a:lnTo>
                      <a:pt x="478" y="74"/>
                    </a:lnTo>
                    <a:lnTo>
                      <a:pt x="466" y="76"/>
                    </a:lnTo>
                    <a:lnTo>
                      <a:pt x="466" y="76"/>
                    </a:lnTo>
                    <a:lnTo>
                      <a:pt x="458" y="76"/>
                    </a:lnTo>
                    <a:lnTo>
                      <a:pt x="452" y="74"/>
                    </a:lnTo>
                    <a:lnTo>
                      <a:pt x="438" y="70"/>
                    </a:lnTo>
                    <a:lnTo>
                      <a:pt x="432" y="68"/>
                    </a:lnTo>
                    <a:lnTo>
                      <a:pt x="426" y="66"/>
                    </a:lnTo>
                    <a:lnTo>
                      <a:pt x="420" y="68"/>
                    </a:lnTo>
                    <a:lnTo>
                      <a:pt x="414" y="74"/>
                    </a:lnTo>
                    <a:lnTo>
                      <a:pt x="414" y="74"/>
                    </a:lnTo>
                    <a:lnTo>
                      <a:pt x="412" y="76"/>
                    </a:lnTo>
                    <a:lnTo>
                      <a:pt x="414" y="76"/>
                    </a:lnTo>
                    <a:lnTo>
                      <a:pt x="420" y="78"/>
                    </a:lnTo>
                    <a:lnTo>
                      <a:pt x="432" y="78"/>
                    </a:lnTo>
                    <a:lnTo>
                      <a:pt x="444" y="80"/>
                    </a:lnTo>
                    <a:lnTo>
                      <a:pt x="444" y="80"/>
                    </a:lnTo>
                    <a:close/>
                    <a:moveTo>
                      <a:pt x="296" y="786"/>
                    </a:moveTo>
                    <a:lnTo>
                      <a:pt x="296" y="786"/>
                    </a:lnTo>
                    <a:lnTo>
                      <a:pt x="290" y="806"/>
                    </a:lnTo>
                    <a:lnTo>
                      <a:pt x="288" y="812"/>
                    </a:lnTo>
                    <a:lnTo>
                      <a:pt x="288" y="818"/>
                    </a:lnTo>
                    <a:lnTo>
                      <a:pt x="292" y="822"/>
                    </a:lnTo>
                    <a:lnTo>
                      <a:pt x="300" y="826"/>
                    </a:lnTo>
                    <a:lnTo>
                      <a:pt x="310" y="828"/>
                    </a:lnTo>
                    <a:lnTo>
                      <a:pt x="324" y="828"/>
                    </a:lnTo>
                    <a:lnTo>
                      <a:pt x="324" y="828"/>
                    </a:lnTo>
                    <a:lnTo>
                      <a:pt x="340" y="828"/>
                    </a:lnTo>
                    <a:lnTo>
                      <a:pt x="338" y="830"/>
                    </a:lnTo>
                    <a:lnTo>
                      <a:pt x="334" y="832"/>
                    </a:lnTo>
                    <a:lnTo>
                      <a:pt x="330" y="836"/>
                    </a:lnTo>
                    <a:lnTo>
                      <a:pt x="330" y="842"/>
                    </a:lnTo>
                    <a:lnTo>
                      <a:pt x="330" y="844"/>
                    </a:lnTo>
                    <a:lnTo>
                      <a:pt x="332" y="848"/>
                    </a:lnTo>
                    <a:lnTo>
                      <a:pt x="344" y="856"/>
                    </a:lnTo>
                    <a:lnTo>
                      <a:pt x="344" y="856"/>
                    </a:lnTo>
                    <a:lnTo>
                      <a:pt x="350" y="858"/>
                    </a:lnTo>
                    <a:lnTo>
                      <a:pt x="356" y="860"/>
                    </a:lnTo>
                    <a:lnTo>
                      <a:pt x="360" y="860"/>
                    </a:lnTo>
                    <a:lnTo>
                      <a:pt x="362" y="858"/>
                    </a:lnTo>
                    <a:lnTo>
                      <a:pt x="364" y="852"/>
                    </a:lnTo>
                    <a:lnTo>
                      <a:pt x="366" y="844"/>
                    </a:lnTo>
                    <a:lnTo>
                      <a:pt x="366" y="838"/>
                    </a:lnTo>
                    <a:lnTo>
                      <a:pt x="366" y="834"/>
                    </a:lnTo>
                    <a:lnTo>
                      <a:pt x="368" y="832"/>
                    </a:lnTo>
                    <a:lnTo>
                      <a:pt x="370" y="834"/>
                    </a:lnTo>
                    <a:lnTo>
                      <a:pt x="376" y="842"/>
                    </a:lnTo>
                    <a:lnTo>
                      <a:pt x="376" y="842"/>
                    </a:lnTo>
                    <a:lnTo>
                      <a:pt x="380" y="848"/>
                    </a:lnTo>
                    <a:lnTo>
                      <a:pt x="382" y="852"/>
                    </a:lnTo>
                    <a:lnTo>
                      <a:pt x="382" y="856"/>
                    </a:lnTo>
                    <a:lnTo>
                      <a:pt x="382" y="860"/>
                    </a:lnTo>
                    <a:lnTo>
                      <a:pt x="378" y="866"/>
                    </a:lnTo>
                    <a:lnTo>
                      <a:pt x="372" y="870"/>
                    </a:lnTo>
                    <a:lnTo>
                      <a:pt x="368" y="874"/>
                    </a:lnTo>
                    <a:lnTo>
                      <a:pt x="368" y="874"/>
                    </a:lnTo>
                    <a:lnTo>
                      <a:pt x="368" y="876"/>
                    </a:lnTo>
                    <a:lnTo>
                      <a:pt x="374" y="878"/>
                    </a:lnTo>
                    <a:lnTo>
                      <a:pt x="388" y="880"/>
                    </a:lnTo>
                    <a:lnTo>
                      <a:pt x="388" y="880"/>
                    </a:lnTo>
                    <a:lnTo>
                      <a:pt x="404" y="882"/>
                    </a:lnTo>
                    <a:lnTo>
                      <a:pt x="414" y="884"/>
                    </a:lnTo>
                    <a:lnTo>
                      <a:pt x="420" y="886"/>
                    </a:lnTo>
                    <a:lnTo>
                      <a:pt x="424" y="888"/>
                    </a:lnTo>
                    <a:lnTo>
                      <a:pt x="426" y="890"/>
                    </a:lnTo>
                    <a:lnTo>
                      <a:pt x="430" y="892"/>
                    </a:lnTo>
                    <a:lnTo>
                      <a:pt x="450" y="892"/>
                    </a:lnTo>
                    <a:lnTo>
                      <a:pt x="450" y="892"/>
                    </a:lnTo>
                    <a:lnTo>
                      <a:pt x="464" y="894"/>
                    </a:lnTo>
                    <a:lnTo>
                      <a:pt x="476" y="894"/>
                    </a:lnTo>
                    <a:lnTo>
                      <a:pt x="494" y="898"/>
                    </a:lnTo>
                    <a:lnTo>
                      <a:pt x="504" y="898"/>
                    </a:lnTo>
                    <a:lnTo>
                      <a:pt x="514" y="898"/>
                    </a:lnTo>
                    <a:lnTo>
                      <a:pt x="524" y="894"/>
                    </a:lnTo>
                    <a:lnTo>
                      <a:pt x="536" y="888"/>
                    </a:lnTo>
                    <a:lnTo>
                      <a:pt x="536" y="888"/>
                    </a:lnTo>
                    <a:lnTo>
                      <a:pt x="540" y="886"/>
                    </a:lnTo>
                    <a:lnTo>
                      <a:pt x="540" y="884"/>
                    </a:lnTo>
                    <a:lnTo>
                      <a:pt x="540" y="882"/>
                    </a:lnTo>
                    <a:lnTo>
                      <a:pt x="538" y="878"/>
                    </a:lnTo>
                    <a:lnTo>
                      <a:pt x="530" y="874"/>
                    </a:lnTo>
                    <a:lnTo>
                      <a:pt x="518" y="868"/>
                    </a:lnTo>
                    <a:lnTo>
                      <a:pt x="506" y="862"/>
                    </a:lnTo>
                    <a:lnTo>
                      <a:pt x="494" y="854"/>
                    </a:lnTo>
                    <a:lnTo>
                      <a:pt x="484" y="846"/>
                    </a:lnTo>
                    <a:lnTo>
                      <a:pt x="476" y="836"/>
                    </a:lnTo>
                    <a:lnTo>
                      <a:pt x="476" y="836"/>
                    </a:lnTo>
                    <a:lnTo>
                      <a:pt x="472" y="826"/>
                    </a:lnTo>
                    <a:lnTo>
                      <a:pt x="466" y="820"/>
                    </a:lnTo>
                    <a:lnTo>
                      <a:pt x="456" y="808"/>
                    </a:lnTo>
                    <a:lnTo>
                      <a:pt x="452" y="800"/>
                    </a:lnTo>
                    <a:lnTo>
                      <a:pt x="448" y="792"/>
                    </a:lnTo>
                    <a:lnTo>
                      <a:pt x="448" y="780"/>
                    </a:lnTo>
                    <a:lnTo>
                      <a:pt x="450" y="764"/>
                    </a:lnTo>
                    <a:lnTo>
                      <a:pt x="450" y="764"/>
                    </a:lnTo>
                    <a:lnTo>
                      <a:pt x="452" y="756"/>
                    </a:lnTo>
                    <a:lnTo>
                      <a:pt x="456" y="748"/>
                    </a:lnTo>
                    <a:lnTo>
                      <a:pt x="464" y="736"/>
                    </a:lnTo>
                    <a:lnTo>
                      <a:pt x="474" y="726"/>
                    </a:lnTo>
                    <a:lnTo>
                      <a:pt x="482" y="718"/>
                    </a:lnTo>
                    <a:lnTo>
                      <a:pt x="490" y="712"/>
                    </a:lnTo>
                    <a:lnTo>
                      <a:pt x="492" y="706"/>
                    </a:lnTo>
                    <a:lnTo>
                      <a:pt x="492" y="704"/>
                    </a:lnTo>
                    <a:lnTo>
                      <a:pt x="488" y="702"/>
                    </a:lnTo>
                    <a:lnTo>
                      <a:pt x="478" y="696"/>
                    </a:lnTo>
                    <a:lnTo>
                      <a:pt x="478" y="696"/>
                    </a:lnTo>
                    <a:lnTo>
                      <a:pt x="458" y="688"/>
                    </a:lnTo>
                    <a:lnTo>
                      <a:pt x="454" y="686"/>
                    </a:lnTo>
                    <a:lnTo>
                      <a:pt x="448" y="686"/>
                    </a:lnTo>
                    <a:lnTo>
                      <a:pt x="434" y="688"/>
                    </a:lnTo>
                    <a:lnTo>
                      <a:pt x="400" y="694"/>
                    </a:lnTo>
                    <a:lnTo>
                      <a:pt x="400" y="694"/>
                    </a:lnTo>
                    <a:lnTo>
                      <a:pt x="378" y="698"/>
                    </a:lnTo>
                    <a:lnTo>
                      <a:pt x="366" y="700"/>
                    </a:lnTo>
                    <a:lnTo>
                      <a:pt x="362" y="702"/>
                    </a:lnTo>
                    <a:lnTo>
                      <a:pt x="362" y="706"/>
                    </a:lnTo>
                    <a:lnTo>
                      <a:pt x="362" y="708"/>
                    </a:lnTo>
                    <a:lnTo>
                      <a:pt x="362" y="712"/>
                    </a:lnTo>
                    <a:lnTo>
                      <a:pt x="358" y="716"/>
                    </a:lnTo>
                    <a:lnTo>
                      <a:pt x="348" y="720"/>
                    </a:lnTo>
                    <a:lnTo>
                      <a:pt x="348" y="720"/>
                    </a:lnTo>
                    <a:lnTo>
                      <a:pt x="338" y="726"/>
                    </a:lnTo>
                    <a:lnTo>
                      <a:pt x="334" y="730"/>
                    </a:lnTo>
                    <a:lnTo>
                      <a:pt x="332" y="734"/>
                    </a:lnTo>
                    <a:lnTo>
                      <a:pt x="334" y="736"/>
                    </a:lnTo>
                    <a:lnTo>
                      <a:pt x="338" y="742"/>
                    </a:lnTo>
                    <a:lnTo>
                      <a:pt x="340" y="746"/>
                    </a:lnTo>
                    <a:lnTo>
                      <a:pt x="340" y="754"/>
                    </a:lnTo>
                    <a:lnTo>
                      <a:pt x="336" y="764"/>
                    </a:lnTo>
                    <a:lnTo>
                      <a:pt x="336" y="764"/>
                    </a:lnTo>
                    <a:lnTo>
                      <a:pt x="330" y="774"/>
                    </a:lnTo>
                    <a:lnTo>
                      <a:pt x="324" y="778"/>
                    </a:lnTo>
                    <a:lnTo>
                      <a:pt x="320" y="778"/>
                    </a:lnTo>
                    <a:lnTo>
                      <a:pt x="316" y="776"/>
                    </a:lnTo>
                    <a:lnTo>
                      <a:pt x="310" y="774"/>
                    </a:lnTo>
                    <a:lnTo>
                      <a:pt x="306" y="774"/>
                    </a:lnTo>
                    <a:lnTo>
                      <a:pt x="302" y="778"/>
                    </a:lnTo>
                    <a:lnTo>
                      <a:pt x="296" y="786"/>
                    </a:lnTo>
                    <a:lnTo>
                      <a:pt x="296" y="786"/>
                    </a:lnTo>
                    <a:close/>
                    <a:moveTo>
                      <a:pt x="282" y="168"/>
                    </a:moveTo>
                    <a:lnTo>
                      <a:pt x="282" y="168"/>
                    </a:lnTo>
                    <a:lnTo>
                      <a:pt x="290" y="168"/>
                    </a:lnTo>
                    <a:lnTo>
                      <a:pt x="294" y="164"/>
                    </a:lnTo>
                    <a:lnTo>
                      <a:pt x="292" y="160"/>
                    </a:lnTo>
                    <a:lnTo>
                      <a:pt x="288" y="158"/>
                    </a:lnTo>
                    <a:lnTo>
                      <a:pt x="280" y="154"/>
                    </a:lnTo>
                    <a:lnTo>
                      <a:pt x="270" y="152"/>
                    </a:lnTo>
                    <a:lnTo>
                      <a:pt x="260" y="152"/>
                    </a:lnTo>
                    <a:lnTo>
                      <a:pt x="250" y="156"/>
                    </a:lnTo>
                    <a:lnTo>
                      <a:pt x="250" y="156"/>
                    </a:lnTo>
                    <a:lnTo>
                      <a:pt x="242" y="160"/>
                    </a:lnTo>
                    <a:lnTo>
                      <a:pt x="240" y="164"/>
                    </a:lnTo>
                    <a:lnTo>
                      <a:pt x="240" y="166"/>
                    </a:lnTo>
                    <a:lnTo>
                      <a:pt x="244" y="166"/>
                    </a:lnTo>
                    <a:lnTo>
                      <a:pt x="260" y="168"/>
                    </a:lnTo>
                    <a:lnTo>
                      <a:pt x="282" y="168"/>
                    </a:lnTo>
                    <a:lnTo>
                      <a:pt x="282" y="168"/>
                    </a:lnTo>
                    <a:close/>
                    <a:moveTo>
                      <a:pt x="416" y="96"/>
                    </a:moveTo>
                    <a:lnTo>
                      <a:pt x="416" y="96"/>
                    </a:lnTo>
                    <a:lnTo>
                      <a:pt x="424" y="96"/>
                    </a:lnTo>
                    <a:lnTo>
                      <a:pt x="428" y="100"/>
                    </a:lnTo>
                    <a:lnTo>
                      <a:pt x="432" y="100"/>
                    </a:lnTo>
                    <a:lnTo>
                      <a:pt x="440" y="100"/>
                    </a:lnTo>
                    <a:lnTo>
                      <a:pt x="440" y="100"/>
                    </a:lnTo>
                    <a:lnTo>
                      <a:pt x="452" y="98"/>
                    </a:lnTo>
                    <a:lnTo>
                      <a:pt x="464" y="96"/>
                    </a:lnTo>
                    <a:lnTo>
                      <a:pt x="470" y="96"/>
                    </a:lnTo>
                    <a:lnTo>
                      <a:pt x="472" y="96"/>
                    </a:lnTo>
                    <a:lnTo>
                      <a:pt x="470" y="94"/>
                    </a:lnTo>
                    <a:lnTo>
                      <a:pt x="470" y="94"/>
                    </a:lnTo>
                    <a:lnTo>
                      <a:pt x="452" y="88"/>
                    </a:lnTo>
                    <a:lnTo>
                      <a:pt x="440" y="86"/>
                    </a:lnTo>
                    <a:lnTo>
                      <a:pt x="436" y="86"/>
                    </a:lnTo>
                    <a:lnTo>
                      <a:pt x="432" y="88"/>
                    </a:lnTo>
                    <a:lnTo>
                      <a:pt x="432" y="88"/>
                    </a:lnTo>
                    <a:lnTo>
                      <a:pt x="428" y="90"/>
                    </a:lnTo>
                    <a:lnTo>
                      <a:pt x="424" y="90"/>
                    </a:lnTo>
                    <a:lnTo>
                      <a:pt x="414" y="88"/>
                    </a:lnTo>
                    <a:lnTo>
                      <a:pt x="404" y="86"/>
                    </a:lnTo>
                    <a:lnTo>
                      <a:pt x="398" y="88"/>
                    </a:lnTo>
                    <a:lnTo>
                      <a:pt x="396" y="92"/>
                    </a:lnTo>
                    <a:lnTo>
                      <a:pt x="396" y="92"/>
                    </a:lnTo>
                    <a:lnTo>
                      <a:pt x="394" y="94"/>
                    </a:lnTo>
                    <a:lnTo>
                      <a:pt x="398" y="96"/>
                    </a:lnTo>
                    <a:lnTo>
                      <a:pt x="416" y="96"/>
                    </a:lnTo>
                    <a:lnTo>
                      <a:pt x="416" y="96"/>
                    </a:lnTo>
                    <a:close/>
                    <a:moveTo>
                      <a:pt x="406" y="124"/>
                    </a:moveTo>
                    <a:lnTo>
                      <a:pt x="406" y="124"/>
                    </a:lnTo>
                    <a:lnTo>
                      <a:pt x="414" y="122"/>
                    </a:lnTo>
                    <a:lnTo>
                      <a:pt x="416" y="122"/>
                    </a:lnTo>
                    <a:lnTo>
                      <a:pt x="416" y="120"/>
                    </a:lnTo>
                    <a:lnTo>
                      <a:pt x="414" y="116"/>
                    </a:lnTo>
                    <a:lnTo>
                      <a:pt x="408" y="112"/>
                    </a:lnTo>
                    <a:lnTo>
                      <a:pt x="408" y="112"/>
                    </a:lnTo>
                    <a:lnTo>
                      <a:pt x="402" y="110"/>
                    </a:lnTo>
                    <a:lnTo>
                      <a:pt x="394" y="110"/>
                    </a:lnTo>
                    <a:lnTo>
                      <a:pt x="390" y="112"/>
                    </a:lnTo>
                    <a:lnTo>
                      <a:pt x="390" y="112"/>
                    </a:lnTo>
                    <a:lnTo>
                      <a:pt x="392" y="114"/>
                    </a:lnTo>
                    <a:lnTo>
                      <a:pt x="392" y="114"/>
                    </a:lnTo>
                    <a:lnTo>
                      <a:pt x="392" y="116"/>
                    </a:lnTo>
                    <a:lnTo>
                      <a:pt x="392" y="118"/>
                    </a:lnTo>
                    <a:lnTo>
                      <a:pt x="390" y="120"/>
                    </a:lnTo>
                    <a:lnTo>
                      <a:pt x="390" y="122"/>
                    </a:lnTo>
                    <a:lnTo>
                      <a:pt x="392" y="124"/>
                    </a:lnTo>
                    <a:lnTo>
                      <a:pt x="406" y="124"/>
                    </a:lnTo>
                    <a:lnTo>
                      <a:pt x="406" y="124"/>
                    </a:lnTo>
                    <a:close/>
                    <a:moveTo>
                      <a:pt x="382" y="134"/>
                    </a:moveTo>
                    <a:lnTo>
                      <a:pt x="382" y="134"/>
                    </a:lnTo>
                    <a:lnTo>
                      <a:pt x="372" y="126"/>
                    </a:lnTo>
                    <a:lnTo>
                      <a:pt x="368" y="124"/>
                    </a:lnTo>
                    <a:lnTo>
                      <a:pt x="364" y="124"/>
                    </a:lnTo>
                    <a:lnTo>
                      <a:pt x="350" y="128"/>
                    </a:lnTo>
                    <a:lnTo>
                      <a:pt x="330" y="136"/>
                    </a:lnTo>
                    <a:lnTo>
                      <a:pt x="330" y="136"/>
                    </a:lnTo>
                    <a:lnTo>
                      <a:pt x="328" y="138"/>
                    </a:lnTo>
                    <a:lnTo>
                      <a:pt x="326" y="140"/>
                    </a:lnTo>
                    <a:lnTo>
                      <a:pt x="328" y="142"/>
                    </a:lnTo>
                    <a:lnTo>
                      <a:pt x="332" y="144"/>
                    </a:lnTo>
                    <a:lnTo>
                      <a:pt x="342" y="146"/>
                    </a:lnTo>
                    <a:lnTo>
                      <a:pt x="356" y="148"/>
                    </a:lnTo>
                    <a:lnTo>
                      <a:pt x="370" y="148"/>
                    </a:lnTo>
                    <a:lnTo>
                      <a:pt x="380" y="146"/>
                    </a:lnTo>
                    <a:lnTo>
                      <a:pt x="384" y="144"/>
                    </a:lnTo>
                    <a:lnTo>
                      <a:pt x="386" y="142"/>
                    </a:lnTo>
                    <a:lnTo>
                      <a:pt x="386" y="138"/>
                    </a:lnTo>
                    <a:lnTo>
                      <a:pt x="382" y="134"/>
                    </a:lnTo>
                    <a:lnTo>
                      <a:pt x="382" y="134"/>
                    </a:lnTo>
                    <a:close/>
                    <a:moveTo>
                      <a:pt x="46" y="116"/>
                    </a:moveTo>
                    <a:lnTo>
                      <a:pt x="46" y="116"/>
                    </a:lnTo>
                    <a:lnTo>
                      <a:pt x="54" y="118"/>
                    </a:lnTo>
                    <a:lnTo>
                      <a:pt x="62" y="114"/>
                    </a:lnTo>
                    <a:lnTo>
                      <a:pt x="62" y="114"/>
                    </a:lnTo>
                    <a:lnTo>
                      <a:pt x="66" y="114"/>
                    </a:lnTo>
                    <a:lnTo>
                      <a:pt x="70" y="116"/>
                    </a:lnTo>
                    <a:lnTo>
                      <a:pt x="76" y="120"/>
                    </a:lnTo>
                    <a:lnTo>
                      <a:pt x="80" y="122"/>
                    </a:lnTo>
                    <a:lnTo>
                      <a:pt x="86" y="124"/>
                    </a:lnTo>
                    <a:lnTo>
                      <a:pt x="92" y="122"/>
                    </a:lnTo>
                    <a:lnTo>
                      <a:pt x="102" y="118"/>
                    </a:lnTo>
                    <a:lnTo>
                      <a:pt x="102" y="118"/>
                    </a:lnTo>
                    <a:lnTo>
                      <a:pt x="118" y="110"/>
                    </a:lnTo>
                    <a:lnTo>
                      <a:pt x="130" y="104"/>
                    </a:lnTo>
                    <a:lnTo>
                      <a:pt x="134" y="102"/>
                    </a:lnTo>
                    <a:lnTo>
                      <a:pt x="140" y="102"/>
                    </a:lnTo>
                    <a:lnTo>
                      <a:pt x="148" y="102"/>
                    </a:lnTo>
                    <a:lnTo>
                      <a:pt x="158" y="106"/>
                    </a:lnTo>
                    <a:lnTo>
                      <a:pt x="158" y="106"/>
                    </a:lnTo>
                    <a:lnTo>
                      <a:pt x="168" y="108"/>
                    </a:lnTo>
                    <a:lnTo>
                      <a:pt x="176" y="108"/>
                    </a:lnTo>
                    <a:lnTo>
                      <a:pt x="180" y="108"/>
                    </a:lnTo>
                    <a:lnTo>
                      <a:pt x="182" y="106"/>
                    </a:lnTo>
                    <a:lnTo>
                      <a:pt x="182" y="102"/>
                    </a:lnTo>
                    <a:lnTo>
                      <a:pt x="176" y="98"/>
                    </a:lnTo>
                    <a:lnTo>
                      <a:pt x="166" y="94"/>
                    </a:lnTo>
                    <a:lnTo>
                      <a:pt x="150" y="90"/>
                    </a:lnTo>
                    <a:lnTo>
                      <a:pt x="150" y="90"/>
                    </a:lnTo>
                    <a:lnTo>
                      <a:pt x="126" y="86"/>
                    </a:lnTo>
                    <a:lnTo>
                      <a:pt x="122" y="88"/>
                    </a:lnTo>
                    <a:lnTo>
                      <a:pt x="120" y="90"/>
                    </a:lnTo>
                    <a:lnTo>
                      <a:pt x="118" y="92"/>
                    </a:lnTo>
                    <a:lnTo>
                      <a:pt x="114" y="94"/>
                    </a:lnTo>
                    <a:lnTo>
                      <a:pt x="108" y="98"/>
                    </a:lnTo>
                    <a:lnTo>
                      <a:pt x="96" y="100"/>
                    </a:lnTo>
                    <a:lnTo>
                      <a:pt x="96" y="100"/>
                    </a:lnTo>
                    <a:lnTo>
                      <a:pt x="64" y="104"/>
                    </a:lnTo>
                    <a:lnTo>
                      <a:pt x="42" y="108"/>
                    </a:lnTo>
                    <a:lnTo>
                      <a:pt x="34" y="110"/>
                    </a:lnTo>
                    <a:lnTo>
                      <a:pt x="32" y="112"/>
                    </a:lnTo>
                    <a:lnTo>
                      <a:pt x="36" y="114"/>
                    </a:lnTo>
                    <a:lnTo>
                      <a:pt x="46" y="116"/>
                    </a:lnTo>
                    <a:lnTo>
                      <a:pt x="46" y="116"/>
                    </a:lnTo>
                    <a:close/>
                    <a:moveTo>
                      <a:pt x="202" y="100"/>
                    </a:moveTo>
                    <a:lnTo>
                      <a:pt x="202" y="100"/>
                    </a:lnTo>
                    <a:lnTo>
                      <a:pt x="210" y="106"/>
                    </a:lnTo>
                    <a:lnTo>
                      <a:pt x="210" y="108"/>
                    </a:lnTo>
                    <a:lnTo>
                      <a:pt x="210" y="112"/>
                    </a:lnTo>
                    <a:lnTo>
                      <a:pt x="208" y="114"/>
                    </a:lnTo>
                    <a:lnTo>
                      <a:pt x="202" y="116"/>
                    </a:lnTo>
                    <a:lnTo>
                      <a:pt x="178" y="118"/>
                    </a:lnTo>
                    <a:lnTo>
                      <a:pt x="178" y="118"/>
                    </a:lnTo>
                    <a:lnTo>
                      <a:pt x="152" y="118"/>
                    </a:lnTo>
                    <a:lnTo>
                      <a:pt x="136" y="118"/>
                    </a:lnTo>
                    <a:lnTo>
                      <a:pt x="132" y="120"/>
                    </a:lnTo>
                    <a:lnTo>
                      <a:pt x="132" y="120"/>
                    </a:lnTo>
                    <a:lnTo>
                      <a:pt x="134" y="124"/>
                    </a:lnTo>
                    <a:lnTo>
                      <a:pt x="140" y="126"/>
                    </a:lnTo>
                    <a:lnTo>
                      <a:pt x="140" y="126"/>
                    </a:lnTo>
                    <a:lnTo>
                      <a:pt x="146" y="132"/>
                    </a:lnTo>
                    <a:lnTo>
                      <a:pt x="146" y="134"/>
                    </a:lnTo>
                    <a:lnTo>
                      <a:pt x="144" y="134"/>
                    </a:lnTo>
                    <a:lnTo>
                      <a:pt x="124" y="132"/>
                    </a:lnTo>
                    <a:lnTo>
                      <a:pt x="124" y="132"/>
                    </a:lnTo>
                    <a:lnTo>
                      <a:pt x="110" y="132"/>
                    </a:lnTo>
                    <a:lnTo>
                      <a:pt x="100" y="132"/>
                    </a:lnTo>
                    <a:lnTo>
                      <a:pt x="96" y="134"/>
                    </a:lnTo>
                    <a:lnTo>
                      <a:pt x="96" y="136"/>
                    </a:lnTo>
                    <a:lnTo>
                      <a:pt x="100" y="140"/>
                    </a:lnTo>
                    <a:lnTo>
                      <a:pt x="110" y="144"/>
                    </a:lnTo>
                    <a:lnTo>
                      <a:pt x="110" y="144"/>
                    </a:lnTo>
                    <a:lnTo>
                      <a:pt x="118" y="148"/>
                    </a:lnTo>
                    <a:lnTo>
                      <a:pt x="122" y="148"/>
                    </a:lnTo>
                    <a:lnTo>
                      <a:pt x="128" y="144"/>
                    </a:lnTo>
                    <a:lnTo>
                      <a:pt x="140" y="140"/>
                    </a:lnTo>
                    <a:lnTo>
                      <a:pt x="140" y="140"/>
                    </a:lnTo>
                    <a:lnTo>
                      <a:pt x="146" y="140"/>
                    </a:lnTo>
                    <a:lnTo>
                      <a:pt x="148" y="140"/>
                    </a:lnTo>
                    <a:lnTo>
                      <a:pt x="146" y="146"/>
                    </a:lnTo>
                    <a:lnTo>
                      <a:pt x="146" y="150"/>
                    </a:lnTo>
                    <a:lnTo>
                      <a:pt x="146" y="152"/>
                    </a:lnTo>
                    <a:lnTo>
                      <a:pt x="150" y="152"/>
                    </a:lnTo>
                    <a:lnTo>
                      <a:pt x="160" y="150"/>
                    </a:lnTo>
                    <a:lnTo>
                      <a:pt x="160" y="150"/>
                    </a:lnTo>
                    <a:lnTo>
                      <a:pt x="168" y="148"/>
                    </a:lnTo>
                    <a:lnTo>
                      <a:pt x="176" y="146"/>
                    </a:lnTo>
                    <a:lnTo>
                      <a:pt x="184" y="148"/>
                    </a:lnTo>
                    <a:lnTo>
                      <a:pt x="190" y="150"/>
                    </a:lnTo>
                    <a:lnTo>
                      <a:pt x="192" y="150"/>
                    </a:lnTo>
                    <a:lnTo>
                      <a:pt x="196" y="148"/>
                    </a:lnTo>
                    <a:lnTo>
                      <a:pt x="196" y="148"/>
                    </a:lnTo>
                    <a:lnTo>
                      <a:pt x="200" y="144"/>
                    </a:lnTo>
                    <a:lnTo>
                      <a:pt x="198" y="142"/>
                    </a:lnTo>
                    <a:lnTo>
                      <a:pt x="192" y="140"/>
                    </a:lnTo>
                    <a:lnTo>
                      <a:pt x="184" y="138"/>
                    </a:lnTo>
                    <a:lnTo>
                      <a:pt x="184" y="136"/>
                    </a:lnTo>
                    <a:lnTo>
                      <a:pt x="186" y="134"/>
                    </a:lnTo>
                    <a:lnTo>
                      <a:pt x="186" y="134"/>
                    </a:lnTo>
                    <a:lnTo>
                      <a:pt x="196" y="130"/>
                    </a:lnTo>
                    <a:lnTo>
                      <a:pt x="206" y="130"/>
                    </a:lnTo>
                    <a:lnTo>
                      <a:pt x="216" y="128"/>
                    </a:lnTo>
                    <a:lnTo>
                      <a:pt x="220" y="126"/>
                    </a:lnTo>
                    <a:lnTo>
                      <a:pt x="226" y="124"/>
                    </a:lnTo>
                    <a:lnTo>
                      <a:pt x="226" y="124"/>
                    </a:lnTo>
                    <a:lnTo>
                      <a:pt x="230" y="120"/>
                    </a:lnTo>
                    <a:lnTo>
                      <a:pt x="234" y="118"/>
                    </a:lnTo>
                    <a:lnTo>
                      <a:pt x="246" y="118"/>
                    </a:lnTo>
                    <a:lnTo>
                      <a:pt x="262" y="118"/>
                    </a:lnTo>
                    <a:lnTo>
                      <a:pt x="286" y="114"/>
                    </a:lnTo>
                    <a:lnTo>
                      <a:pt x="286" y="114"/>
                    </a:lnTo>
                    <a:lnTo>
                      <a:pt x="298" y="112"/>
                    </a:lnTo>
                    <a:lnTo>
                      <a:pt x="304" y="108"/>
                    </a:lnTo>
                    <a:lnTo>
                      <a:pt x="306" y="104"/>
                    </a:lnTo>
                    <a:lnTo>
                      <a:pt x="304" y="102"/>
                    </a:lnTo>
                    <a:lnTo>
                      <a:pt x="298" y="98"/>
                    </a:lnTo>
                    <a:lnTo>
                      <a:pt x="290" y="96"/>
                    </a:lnTo>
                    <a:lnTo>
                      <a:pt x="280" y="96"/>
                    </a:lnTo>
                    <a:lnTo>
                      <a:pt x="270" y="98"/>
                    </a:lnTo>
                    <a:lnTo>
                      <a:pt x="270" y="98"/>
                    </a:lnTo>
                    <a:lnTo>
                      <a:pt x="256" y="98"/>
                    </a:lnTo>
                    <a:lnTo>
                      <a:pt x="258" y="98"/>
                    </a:lnTo>
                    <a:lnTo>
                      <a:pt x="260" y="96"/>
                    </a:lnTo>
                    <a:lnTo>
                      <a:pt x="262" y="94"/>
                    </a:lnTo>
                    <a:lnTo>
                      <a:pt x="262" y="92"/>
                    </a:lnTo>
                    <a:lnTo>
                      <a:pt x="258" y="90"/>
                    </a:lnTo>
                    <a:lnTo>
                      <a:pt x="250" y="88"/>
                    </a:lnTo>
                    <a:lnTo>
                      <a:pt x="250" y="88"/>
                    </a:lnTo>
                    <a:lnTo>
                      <a:pt x="228" y="88"/>
                    </a:lnTo>
                    <a:lnTo>
                      <a:pt x="208" y="90"/>
                    </a:lnTo>
                    <a:lnTo>
                      <a:pt x="202" y="92"/>
                    </a:lnTo>
                    <a:lnTo>
                      <a:pt x="198" y="96"/>
                    </a:lnTo>
                    <a:lnTo>
                      <a:pt x="198" y="98"/>
                    </a:lnTo>
                    <a:lnTo>
                      <a:pt x="202" y="100"/>
                    </a:lnTo>
                    <a:lnTo>
                      <a:pt x="202" y="100"/>
                    </a:lnTo>
                    <a:close/>
                    <a:moveTo>
                      <a:pt x="272" y="70"/>
                    </a:moveTo>
                    <a:lnTo>
                      <a:pt x="272" y="70"/>
                    </a:lnTo>
                    <a:lnTo>
                      <a:pt x="276" y="66"/>
                    </a:lnTo>
                    <a:lnTo>
                      <a:pt x="278" y="64"/>
                    </a:lnTo>
                    <a:lnTo>
                      <a:pt x="276" y="62"/>
                    </a:lnTo>
                    <a:lnTo>
                      <a:pt x="274" y="60"/>
                    </a:lnTo>
                    <a:lnTo>
                      <a:pt x="268" y="60"/>
                    </a:lnTo>
                    <a:lnTo>
                      <a:pt x="262" y="60"/>
                    </a:lnTo>
                    <a:lnTo>
                      <a:pt x="256" y="62"/>
                    </a:lnTo>
                    <a:lnTo>
                      <a:pt x="250" y="66"/>
                    </a:lnTo>
                    <a:lnTo>
                      <a:pt x="250" y="66"/>
                    </a:lnTo>
                    <a:lnTo>
                      <a:pt x="246" y="72"/>
                    </a:lnTo>
                    <a:lnTo>
                      <a:pt x="244" y="76"/>
                    </a:lnTo>
                    <a:lnTo>
                      <a:pt x="244" y="78"/>
                    </a:lnTo>
                    <a:lnTo>
                      <a:pt x="248" y="78"/>
                    </a:lnTo>
                    <a:lnTo>
                      <a:pt x="258" y="74"/>
                    </a:lnTo>
                    <a:lnTo>
                      <a:pt x="272" y="70"/>
                    </a:lnTo>
                    <a:lnTo>
                      <a:pt x="272" y="70"/>
                    </a:lnTo>
                    <a:close/>
                    <a:moveTo>
                      <a:pt x="228" y="142"/>
                    </a:moveTo>
                    <a:lnTo>
                      <a:pt x="228" y="142"/>
                    </a:lnTo>
                    <a:lnTo>
                      <a:pt x="222" y="144"/>
                    </a:lnTo>
                    <a:lnTo>
                      <a:pt x="220" y="146"/>
                    </a:lnTo>
                    <a:lnTo>
                      <a:pt x="218" y="150"/>
                    </a:lnTo>
                    <a:lnTo>
                      <a:pt x="220" y="152"/>
                    </a:lnTo>
                    <a:lnTo>
                      <a:pt x="222" y="156"/>
                    </a:lnTo>
                    <a:lnTo>
                      <a:pt x="226" y="156"/>
                    </a:lnTo>
                    <a:lnTo>
                      <a:pt x="232" y="156"/>
                    </a:lnTo>
                    <a:lnTo>
                      <a:pt x="238" y="154"/>
                    </a:lnTo>
                    <a:lnTo>
                      <a:pt x="238" y="154"/>
                    </a:lnTo>
                    <a:lnTo>
                      <a:pt x="246" y="148"/>
                    </a:lnTo>
                    <a:lnTo>
                      <a:pt x="248" y="144"/>
                    </a:lnTo>
                    <a:lnTo>
                      <a:pt x="248" y="142"/>
                    </a:lnTo>
                    <a:lnTo>
                      <a:pt x="246" y="140"/>
                    </a:lnTo>
                    <a:lnTo>
                      <a:pt x="242" y="138"/>
                    </a:lnTo>
                    <a:lnTo>
                      <a:pt x="228" y="142"/>
                    </a:lnTo>
                    <a:lnTo>
                      <a:pt x="228" y="142"/>
                    </a:lnTo>
                    <a:close/>
                    <a:moveTo>
                      <a:pt x="790" y="22"/>
                    </a:moveTo>
                    <a:lnTo>
                      <a:pt x="790" y="22"/>
                    </a:lnTo>
                    <a:lnTo>
                      <a:pt x="792" y="20"/>
                    </a:lnTo>
                    <a:lnTo>
                      <a:pt x="792" y="18"/>
                    </a:lnTo>
                    <a:lnTo>
                      <a:pt x="788" y="14"/>
                    </a:lnTo>
                    <a:lnTo>
                      <a:pt x="780" y="12"/>
                    </a:lnTo>
                    <a:lnTo>
                      <a:pt x="770" y="12"/>
                    </a:lnTo>
                    <a:lnTo>
                      <a:pt x="748" y="12"/>
                    </a:lnTo>
                    <a:lnTo>
                      <a:pt x="736" y="14"/>
                    </a:lnTo>
                    <a:lnTo>
                      <a:pt x="728" y="18"/>
                    </a:lnTo>
                    <a:lnTo>
                      <a:pt x="728" y="18"/>
                    </a:lnTo>
                    <a:lnTo>
                      <a:pt x="726" y="18"/>
                    </a:lnTo>
                    <a:lnTo>
                      <a:pt x="726" y="20"/>
                    </a:lnTo>
                    <a:lnTo>
                      <a:pt x="730" y="22"/>
                    </a:lnTo>
                    <a:lnTo>
                      <a:pt x="750" y="26"/>
                    </a:lnTo>
                    <a:lnTo>
                      <a:pt x="774" y="26"/>
                    </a:lnTo>
                    <a:lnTo>
                      <a:pt x="784" y="26"/>
                    </a:lnTo>
                    <a:lnTo>
                      <a:pt x="790" y="22"/>
                    </a:lnTo>
                    <a:lnTo>
                      <a:pt x="790" y="22"/>
                    </a:lnTo>
                    <a:close/>
                    <a:moveTo>
                      <a:pt x="596" y="154"/>
                    </a:moveTo>
                    <a:lnTo>
                      <a:pt x="596" y="154"/>
                    </a:lnTo>
                    <a:lnTo>
                      <a:pt x="588" y="158"/>
                    </a:lnTo>
                    <a:lnTo>
                      <a:pt x="586" y="160"/>
                    </a:lnTo>
                    <a:lnTo>
                      <a:pt x="588" y="162"/>
                    </a:lnTo>
                    <a:lnTo>
                      <a:pt x="592" y="164"/>
                    </a:lnTo>
                    <a:lnTo>
                      <a:pt x="608" y="164"/>
                    </a:lnTo>
                    <a:lnTo>
                      <a:pt x="628" y="164"/>
                    </a:lnTo>
                    <a:lnTo>
                      <a:pt x="628" y="164"/>
                    </a:lnTo>
                    <a:lnTo>
                      <a:pt x="634" y="162"/>
                    </a:lnTo>
                    <a:lnTo>
                      <a:pt x="638" y="160"/>
                    </a:lnTo>
                    <a:lnTo>
                      <a:pt x="636" y="158"/>
                    </a:lnTo>
                    <a:lnTo>
                      <a:pt x="632" y="156"/>
                    </a:lnTo>
                    <a:lnTo>
                      <a:pt x="618" y="152"/>
                    </a:lnTo>
                    <a:lnTo>
                      <a:pt x="610" y="152"/>
                    </a:lnTo>
                    <a:lnTo>
                      <a:pt x="600" y="154"/>
                    </a:lnTo>
                    <a:lnTo>
                      <a:pt x="596" y="154"/>
                    </a:lnTo>
                    <a:close/>
                    <a:moveTo>
                      <a:pt x="482" y="98"/>
                    </a:moveTo>
                    <a:lnTo>
                      <a:pt x="482" y="98"/>
                    </a:lnTo>
                    <a:lnTo>
                      <a:pt x="460" y="100"/>
                    </a:lnTo>
                    <a:lnTo>
                      <a:pt x="458" y="102"/>
                    </a:lnTo>
                    <a:lnTo>
                      <a:pt x="462" y="106"/>
                    </a:lnTo>
                    <a:lnTo>
                      <a:pt x="462" y="106"/>
                    </a:lnTo>
                    <a:lnTo>
                      <a:pt x="470" y="108"/>
                    </a:lnTo>
                    <a:lnTo>
                      <a:pt x="482" y="108"/>
                    </a:lnTo>
                    <a:lnTo>
                      <a:pt x="510" y="106"/>
                    </a:lnTo>
                    <a:lnTo>
                      <a:pt x="510" y="106"/>
                    </a:lnTo>
                    <a:lnTo>
                      <a:pt x="514" y="106"/>
                    </a:lnTo>
                    <a:lnTo>
                      <a:pt x="516" y="104"/>
                    </a:lnTo>
                    <a:lnTo>
                      <a:pt x="508" y="100"/>
                    </a:lnTo>
                    <a:lnTo>
                      <a:pt x="496" y="98"/>
                    </a:lnTo>
                    <a:lnTo>
                      <a:pt x="482" y="98"/>
                    </a:lnTo>
                    <a:lnTo>
                      <a:pt x="482" y="98"/>
                    </a:lnTo>
                    <a:close/>
                    <a:moveTo>
                      <a:pt x="796" y="100"/>
                    </a:moveTo>
                    <a:lnTo>
                      <a:pt x="796" y="100"/>
                    </a:lnTo>
                    <a:lnTo>
                      <a:pt x="822" y="96"/>
                    </a:lnTo>
                    <a:lnTo>
                      <a:pt x="842" y="92"/>
                    </a:lnTo>
                    <a:lnTo>
                      <a:pt x="848" y="90"/>
                    </a:lnTo>
                    <a:lnTo>
                      <a:pt x="854" y="88"/>
                    </a:lnTo>
                    <a:lnTo>
                      <a:pt x="856" y="84"/>
                    </a:lnTo>
                    <a:lnTo>
                      <a:pt x="858" y="78"/>
                    </a:lnTo>
                    <a:lnTo>
                      <a:pt x="858" y="78"/>
                    </a:lnTo>
                    <a:lnTo>
                      <a:pt x="856" y="70"/>
                    </a:lnTo>
                    <a:lnTo>
                      <a:pt x="852" y="66"/>
                    </a:lnTo>
                    <a:lnTo>
                      <a:pt x="844" y="62"/>
                    </a:lnTo>
                    <a:lnTo>
                      <a:pt x="836" y="60"/>
                    </a:lnTo>
                    <a:lnTo>
                      <a:pt x="828" y="60"/>
                    </a:lnTo>
                    <a:lnTo>
                      <a:pt x="820" y="60"/>
                    </a:lnTo>
                    <a:lnTo>
                      <a:pt x="812" y="62"/>
                    </a:lnTo>
                    <a:lnTo>
                      <a:pt x="806" y="66"/>
                    </a:lnTo>
                    <a:lnTo>
                      <a:pt x="806" y="66"/>
                    </a:lnTo>
                    <a:lnTo>
                      <a:pt x="800" y="70"/>
                    </a:lnTo>
                    <a:lnTo>
                      <a:pt x="796" y="72"/>
                    </a:lnTo>
                    <a:lnTo>
                      <a:pt x="784" y="74"/>
                    </a:lnTo>
                    <a:lnTo>
                      <a:pt x="768" y="76"/>
                    </a:lnTo>
                    <a:lnTo>
                      <a:pt x="758" y="80"/>
                    </a:lnTo>
                    <a:lnTo>
                      <a:pt x="748" y="86"/>
                    </a:lnTo>
                    <a:lnTo>
                      <a:pt x="748" y="86"/>
                    </a:lnTo>
                    <a:lnTo>
                      <a:pt x="742" y="90"/>
                    </a:lnTo>
                    <a:lnTo>
                      <a:pt x="740" y="94"/>
                    </a:lnTo>
                    <a:lnTo>
                      <a:pt x="742" y="98"/>
                    </a:lnTo>
                    <a:lnTo>
                      <a:pt x="748" y="100"/>
                    </a:lnTo>
                    <a:lnTo>
                      <a:pt x="758" y="102"/>
                    </a:lnTo>
                    <a:lnTo>
                      <a:pt x="768" y="102"/>
                    </a:lnTo>
                    <a:lnTo>
                      <a:pt x="796" y="100"/>
                    </a:lnTo>
                    <a:lnTo>
                      <a:pt x="796" y="100"/>
                    </a:lnTo>
                    <a:close/>
                    <a:moveTo>
                      <a:pt x="506" y="132"/>
                    </a:moveTo>
                    <a:lnTo>
                      <a:pt x="506" y="132"/>
                    </a:lnTo>
                    <a:lnTo>
                      <a:pt x="494" y="134"/>
                    </a:lnTo>
                    <a:lnTo>
                      <a:pt x="482" y="132"/>
                    </a:lnTo>
                    <a:lnTo>
                      <a:pt x="476" y="134"/>
                    </a:lnTo>
                    <a:lnTo>
                      <a:pt x="472" y="136"/>
                    </a:lnTo>
                    <a:lnTo>
                      <a:pt x="468" y="140"/>
                    </a:lnTo>
                    <a:lnTo>
                      <a:pt x="466" y="148"/>
                    </a:lnTo>
                    <a:lnTo>
                      <a:pt x="466" y="148"/>
                    </a:lnTo>
                    <a:lnTo>
                      <a:pt x="466" y="154"/>
                    </a:lnTo>
                    <a:lnTo>
                      <a:pt x="468" y="156"/>
                    </a:lnTo>
                    <a:lnTo>
                      <a:pt x="472" y="158"/>
                    </a:lnTo>
                    <a:lnTo>
                      <a:pt x="478" y="158"/>
                    </a:lnTo>
                    <a:lnTo>
                      <a:pt x="494" y="158"/>
                    </a:lnTo>
                    <a:lnTo>
                      <a:pt x="512" y="158"/>
                    </a:lnTo>
                    <a:lnTo>
                      <a:pt x="512" y="158"/>
                    </a:lnTo>
                    <a:lnTo>
                      <a:pt x="520" y="156"/>
                    </a:lnTo>
                    <a:lnTo>
                      <a:pt x="524" y="154"/>
                    </a:lnTo>
                    <a:lnTo>
                      <a:pt x="526" y="150"/>
                    </a:lnTo>
                    <a:lnTo>
                      <a:pt x="524" y="144"/>
                    </a:lnTo>
                    <a:lnTo>
                      <a:pt x="522" y="138"/>
                    </a:lnTo>
                    <a:lnTo>
                      <a:pt x="516" y="134"/>
                    </a:lnTo>
                    <a:lnTo>
                      <a:pt x="512" y="132"/>
                    </a:lnTo>
                    <a:lnTo>
                      <a:pt x="506" y="132"/>
                    </a:lnTo>
                    <a:lnTo>
                      <a:pt x="506" y="132"/>
                    </a:lnTo>
                    <a:close/>
                    <a:moveTo>
                      <a:pt x="456" y="58"/>
                    </a:moveTo>
                    <a:lnTo>
                      <a:pt x="456" y="58"/>
                    </a:lnTo>
                    <a:lnTo>
                      <a:pt x="460" y="58"/>
                    </a:lnTo>
                    <a:lnTo>
                      <a:pt x="464" y="58"/>
                    </a:lnTo>
                    <a:lnTo>
                      <a:pt x="470" y="58"/>
                    </a:lnTo>
                    <a:lnTo>
                      <a:pt x="480" y="58"/>
                    </a:lnTo>
                    <a:lnTo>
                      <a:pt x="486" y="58"/>
                    </a:lnTo>
                    <a:lnTo>
                      <a:pt x="492" y="62"/>
                    </a:lnTo>
                    <a:lnTo>
                      <a:pt x="492" y="62"/>
                    </a:lnTo>
                    <a:lnTo>
                      <a:pt x="496" y="64"/>
                    </a:lnTo>
                    <a:lnTo>
                      <a:pt x="500" y="64"/>
                    </a:lnTo>
                    <a:lnTo>
                      <a:pt x="508" y="60"/>
                    </a:lnTo>
                    <a:lnTo>
                      <a:pt x="524" y="56"/>
                    </a:lnTo>
                    <a:lnTo>
                      <a:pt x="548" y="52"/>
                    </a:lnTo>
                    <a:lnTo>
                      <a:pt x="548" y="52"/>
                    </a:lnTo>
                    <a:lnTo>
                      <a:pt x="552" y="52"/>
                    </a:lnTo>
                    <a:lnTo>
                      <a:pt x="550" y="50"/>
                    </a:lnTo>
                    <a:lnTo>
                      <a:pt x="540" y="48"/>
                    </a:lnTo>
                    <a:lnTo>
                      <a:pt x="498" y="44"/>
                    </a:lnTo>
                    <a:lnTo>
                      <a:pt x="498" y="44"/>
                    </a:lnTo>
                    <a:lnTo>
                      <a:pt x="492" y="44"/>
                    </a:lnTo>
                    <a:lnTo>
                      <a:pt x="488" y="44"/>
                    </a:lnTo>
                    <a:lnTo>
                      <a:pt x="488" y="46"/>
                    </a:lnTo>
                    <a:lnTo>
                      <a:pt x="490" y="48"/>
                    </a:lnTo>
                    <a:lnTo>
                      <a:pt x="494" y="52"/>
                    </a:lnTo>
                    <a:lnTo>
                      <a:pt x="492" y="54"/>
                    </a:lnTo>
                    <a:lnTo>
                      <a:pt x="488" y="54"/>
                    </a:lnTo>
                    <a:lnTo>
                      <a:pt x="488" y="54"/>
                    </a:lnTo>
                    <a:lnTo>
                      <a:pt x="462" y="52"/>
                    </a:lnTo>
                    <a:lnTo>
                      <a:pt x="454" y="54"/>
                    </a:lnTo>
                    <a:lnTo>
                      <a:pt x="454" y="56"/>
                    </a:lnTo>
                    <a:lnTo>
                      <a:pt x="456" y="58"/>
                    </a:lnTo>
                    <a:lnTo>
                      <a:pt x="456" y="58"/>
                    </a:lnTo>
                    <a:close/>
                    <a:moveTo>
                      <a:pt x="678" y="84"/>
                    </a:moveTo>
                    <a:lnTo>
                      <a:pt x="678" y="84"/>
                    </a:lnTo>
                    <a:lnTo>
                      <a:pt x="688" y="82"/>
                    </a:lnTo>
                    <a:lnTo>
                      <a:pt x="696" y="78"/>
                    </a:lnTo>
                    <a:lnTo>
                      <a:pt x="704" y="74"/>
                    </a:lnTo>
                    <a:lnTo>
                      <a:pt x="710" y="70"/>
                    </a:lnTo>
                    <a:lnTo>
                      <a:pt x="710" y="68"/>
                    </a:lnTo>
                    <a:lnTo>
                      <a:pt x="710" y="66"/>
                    </a:lnTo>
                    <a:lnTo>
                      <a:pt x="704" y="64"/>
                    </a:lnTo>
                    <a:lnTo>
                      <a:pt x="692" y="64"/>
                    </a:lnTo>
                    <a:lnTo>
                      <a:pt x="670" y="68"/>
                    </a:lnTo>
                    <a:lnTo>
                      <a:pt x="670" y="68"/>
                    </a:lnTo>
                    <a:lnTo>
                      <a:pt x="654" y="72"/>
                    </a:lnTo>
                    <a:lnTo>
                      <a:pt x="646" y="76"/>
                    </a:lnTo>
                    <a:lnTo>
                      <a:pt x="644" y="80"/>
                    </a:lnTo>
                    <a:lnTo>
                      <a:pt x="646" y="82"/>
                    </a:lnTo>
                    <a:lnTo>
                      <a:pt x="658" y="84"/>
                    </a:lnTo>
                    <a:lnTo>
                      <a:pt x="678" y="84"/>
                    </a:lnTo>
                    <a:lnTo>
                      <a:pt x="678" y="84"/>
                    </a:lnTo>
                    <a:close/>
                    <a:moveTo>
                      <a:pt x="568" y="44"/>
                    </a:moveTo>
                    <a:lnTo>
                      <a:pt x="568" y="44"/>
                    </a:lnTo>
                    <a:lnTo>
                      <a:pt x="580" y="44"/>
                    </a:lnTo>
                    <a:lnTo>
                      <a:pt x="582" y="44"/>
                    </a:lnTo>
                    <a:lnTo>
                      <a:pt x="580" y="42"/>
                    </a:lnTo>
                    <a:lnTo>
                      <a:pt x="570" y="38"/>
                    </a:lnTo>
                    <a:lnTo>
                      <a:pt x="556" y="34"/>
                    </a:lnTo>
                    <a:lnTo>
                      <a:pt x="556" y="34"/>
                    </a:lnTo>
                    <a:lnTo>
                      <a:pt x="544" y="30"/>
                    </a:lnTo>
                    <a:lnTo>
                      <a:pt x="536" y="28"/>
                    </a:lnTo>
                    <a:lnTo>
                      <a:pt x="528" y="30"/>
                    </a:lnTo>
                    <a:lnTo>
                      <a:pt x="518" y="34"/>
                    </a:lnTo>
                    <a:lnTo>
                      <a:pt x="518" y="34"/>
                    </a:lnTo>
                    <a:lnTo>
                      <a:pt x="510" y="38"/>
                    </a:lnTo>
                    <a:lnTo>
                      <a:pt x="508" y="40"/>
                    </a:lnTo>
                    <a:lnTo>
                      <a:pt x="510" y="40"/>
                    </a:lnTo>
                    <a:lnTo>
                      <a:pt x="520" y="40"/>
                    </a:lnTo>
                    <a:lnTo>
                      <a:pt x="520" y="40"/>
                    </a:lnTo>
                    <a:lnTo>
                      <a:pt x="542" y="42"/>
                    </a:lnTo>
                    <a:lnTo>
                      <a:pt x="568" y="44"/>
                    </a:lnTo>
                    <a:lnTo>
                      <a:pt x="568" y="44"/>
                    </a:lnTo>
                    <a:close/>
                    <a:moveTo>
                      <a:pt x="672" y="122"/>
                    </a:moveTo>
                    <a:lnTo>
                      <a:pt x="672" y="122"/>
                    </a:lnTo>
                    <a:lnTo>
                      <a:pt x="682" y="124"/>
                    </a:lnTo>
                    <a:lnTo>
                      <a:pt x="690" y="124"/>
                    </a:lnTo>
                    <a:lnTo>
                      <a:pt x="694" y="124"/>
                    </a:lnTo>
                    <a:lnTo>
                      <a:pt x="698" y="120"/>
                    </a:lnTo>
                    <a:lnTo>
                      <a:pt x="706" y="116"/>
                    </a:lnTo>
                    <a:lnTo>
                      <a:pt x="710" y="112"/>
                    </a:lnTo>
                    <a:lnTo>
                      <a:pt x="718" y="112"/>
                    </a:lnTo>
                    <a:lnTo>
                      <a:pt x="718" y="112"/>
                    </a:lnTo>
                    <a:lnTo>
                      <a:pt x="724" y="110"/>
                    </a:lnTo>
                    <a:lnTo>
                      <a:pt x="728" y="106"/>
                    </a:lnTo>
                    <a:lnTo>
                      <a:pt x="730" y="100"/>
                    </a:lnTo>
                    <a:lnTo>
                      <a:pt x="728" y="94"/>
                    </a:lnTo>
                    <a:lnTo>
                      <a:pt x="724" y="88"/>
                    </a:lnTo>
                    <a:lnTo>
                      <a:pt x="716" y="84"/>
                    </a:lnTo>
                    <a:lnTo>
                      <a:pt x="704" y="84"/>
                    </a:lnTo>
                    <a:lnTo>
                      <a:pt x="688" y="88"/>
                    </a:lnTo>
                    <a:lnTo>
                      <a:pt x="688" y="88"/>
                    </a:lnTo>
                    <a:lnTo>
                      <a:pt x="670" y="94"/>
                    </a:lnTo>
                    <a:lnTo>
                      <a:pt x="656" y="94"/>
                    </a:lnTo>
                    <a:lnTo>
                      <a:pt x="644" y="92"/>
                    </a:lnTo>
                    <a:lnTo>
                      <a:pt x="634" y="90"/>
                    </a:lnTo>
                    <a:lnTo>
                      <a:pt x="626" y="90"/>
                    </a:lnTo>
                    <a:lnTo>
                      <a:pt x="620" y="90"/>
                    </a:lnTo>
                    <a:lnTo>
                      <a:pt x="614" y="94"/>
                    </a:lnTo>
                    <a:lnTo>
                      <a:pt x="608" y="104"/>
                    </a:lnTo>
                    <a:lnTo>
                      <a:pt x="608" y="104"/>
                    </a:lnTo>
                    <a:lnTo>
                      <a:pt x="606" y="116"/>
                    </a:lnTo>
                    <a:lnTo>
                      <a:pt x="606" y="118"/>
                    </a:lnTo>
                    <a:lnTo>
                      <a:pt x="608" y="122"/>
                    </a:lnTo>
                    <a:lnTo>
                      <a:pt x="614" y="124"/>
                    </a:lnTo>
                    <a:lnTo>
                      <a:pt x="622" y="124"/>
                    </a:lnTo>
                    <a:lnTo>
                      <a:pt x="646" y="120"/>
                    </a:lnTo>
                    <a:lnTo>
                      <a:pt x="660" y="120"/>
                    </a:lnTo>
                    <a:lnTo>
                      <a:pt x="672" y="122"/>
                    </a:lnTo>
                    <a:lnTo>
                      <a:pt x="672" y="122"/>
                    </a:lnTo>
                    <a:close/>
                    <a:moveTo>
                      <a:pt x="4428" y="2314"/>
                    </a:moveTo>
                    <a:lnTo>
                      <a:pt x="4428" y="2314"/>
                    </a:lnTo>
                    <a:lnTo>
                      <a:pt x="4426" y="2314"/>
                    </a:lnTo>
                    <a:lnTo>
                      <a:pt x="4428" y="2314"/>
                    </a:lnTo>
                    <a:lnTo>
                      <a:pt x="4432" y="2310"/>
                    </a:lnTo>
                    <a:lnTo>
                      <a:pt x="4436" y="2306"/>
                    </a:lnTo>
                    <a:lnTo>
                      <a:pt x="4436" y="2302"/>
                    </a:lnTo>
                    <a:lnTo>
                      <a:pt x="4436" y="2302"/>
                    </a:lnTo>
                    <a:lnTo>
                      <a:pt x="4436" y="2302"/>
                    </a:lnTo>
                    <a:lnTo>
                      <a:pt x="4432" y="2304"/>
                    </a:lnTo>
                    <a:lnTo>
                      <a:pt x="4428" y="2314"/>
                    </a:lnTo>
                    <a:lnTo>
                      <a:pt x="4428" y="2314"/>
                    </a:lnTo>
                    <a:close/>
                    <a:moveTo>
                      <a:pt x="4510" y="2192"/>
                    </a:moveTo>
                    <a:lnTo>
                      <a:pt x="4510" y="2192"/>
                    </a:lnTo>
                    <a:lnTo>
                      <a:pt x="4508" y="2194"/>
                    </a:lnTo>
                    <a:lnTo>
                      <a:pt x="4506" y="2196"/>
                    </a:lnTo>
                    <a:lnTo>
                      <a:pt x="4502" y="2202"/>
                    </a:lnTo>
                    <a:lnTo>
                      <a:pt x="4498" y="2210"/>
                    </a:lnTo>
                    <a:lnTo>
                      <a:pt x="4496" y="2214"/>
                    </a:lnTo>
                    <a:lnTo>
                      <a:pt x="4492" y="2216"/>
                    </a:lnTo>
                    <a:lnTo>
                      <a:pt x="4492" y="2216"/>
                    </a:lnTo>
                    <a:lnTo>
                      <a:pt x="4482" y="2220"/>
                    </a:lnTo>
                    <a:lnTo>
                      <a:pt x="4476" y="2224"/>
                    </a:lnTo>
                    <a:lnTo>
                      <a:pt x="4476" y="2226"/>
                    </a:lnTo>
                    <a:lnTo>
                      <a:pt x="4474" y="2228"/>
                    </a:lnTo>
                    <a:lnTo>
                      <a:pt x="4478" y="2236"/>
                    </a:lnTo>
                    <a:lnTo>
                      <a:pt x="4478" y="2236"/>
                    </a:lnTo>
                    <a:lnTo>
                      <a:pt x="4480" y="2238"/>
                    </a:lnTo>
                    <a:lnTo>
                      <a:pt x="4482" y="2238"/>
                    </a:lnTo>
                    <a:lnTo>
                      <a:pt x="4484" y="2236"/>
                    </a:lnTo>
                    <a:lnTo>
                      <a:pt x="4490" y="2230"/>
                    </a:lnTo>
                    <a:lnTo>
                      <a:pt x="4494" y="2228"/>
                    </a:lnTo>
                    <a:lnTo>
                      <a:pt x="4498" y="2226"/>
                    </a:lnTo>
                    <a:lnTo>
                      <a:pt x="4498" y="2226"/>
                    </a:lnTo>
                    <a:lnTo>
                      <a:pt x="4504" y="2224"/>
                    </a:lnTo>
                    <a:lnTo>
                      <a:pt x="4508" y="2220"/>
                    </a:lnTo>
                    <a:lnTo>
                      <a:pt x="4510" y="2214"/>
                    </a:lnTo>
                    <a:lnTo>
                      <a:pt x="4512" y="2208"/>
                    </a:lnTo>
                    <a:lnTo>
                      <a:pt x="4512" y="2198"/>
                    </a:lnTo>
                    <a:lnTo>
                      <a:pt x="4512" y="2194"/>
                    </a:lnTo>
                    <a:lnTo>
                      <a:pt x="4510" y="2192"/>
                    </a:lnTo>
                    <a:lnTo>
                      <a:pt x="4510" y="2192"/>
                    </a:lnTo>
                    <a:close/>
                    <a:moveTo>
                      <a:pt x="4462" y="2262"/>
                    </a:moveTo>
                    <a:lnTo>
                      <a:pt x="4462" y="2262"/>
                    </a:lnTo>
                    <a:lnTo>
                      <a:pt x="4460" y="2260"/>
                    </a:lnTo>
                    <a:lnTo>
                      <a:pt x="4456" y="2262"/>
                    </a:lnTo>
                    <a:lnTo>
                      <a:pt x="4452" y="2272"/>
                    </a:lnTo>
                    <a:lnTo>
                      <a:pt x="4448" y="2284"/>
                    </a:lnTo>
                    <a:lnTo>
                      <a:pt x="4448" y="2292"/>
                    </a:lnTo>
                    <a:lnTo>
                      <a:pt x="4448" y="2292"/>
                    </a:lnTo>
                    <a:lnTo>
                      <a:pt x="4448" y="2294"/>
                    </a:lnTo>
                    <a:lnTo>
                      <a:pt x="4452" y="2292"/>
                    </a:lnTo>
                    <a:lnTo>
                      <a:pt x="4458" y="2282"/>
                    </a:lnTo>
                    <a:lnTo>
                      <a:pt x="4462" y="2272"/>
                    </a:lnTo>
                    <a:lnTo>
                      <a:pt x="4462" y="2266"/>
                    </a:lnTo>
                    <a:lnTo>
                      <a:pt x="4462" y="2262"/>
                    </a:lnTo>
                    <a:lnTo>
                      <a:pt x="4462" y="2262"/>
                    </a:lnTo>
                    <a:close/>
                    <a:moveTo>
                      <a:pt x="4486" y="4072"/>
                    </a:moveTo>
                    <a:lnTo>
                      <a:pt x="4486" y="4072"/>
                    </a:lnTo>
                    <a:lnTo>
                      <a:pt x="4482" y="4070"/>
                    </a:lnTo>
                    <a:lnTo>
                      <a:pt x="4482" y="4068"/>
                    </a:lnTo>
                    <a:lnTo>
                      <a:pt x="4480" y="4066"/>
                    </a:lnTo>
                    <a:lnTo>
                      <a:pt x="4478" y="4064"/>
                    </a:lnTo>
                    <a:lnTo>
                      <a:pt x="4478" y="4064"/>
                    </a:lnTo>
                    <a:lnTo>
                      <a:pt x="4474" y="4064"/>
                    </a:lnTo>
                    <a:lnTo>
                      <a:pt x="4470" y="4064"/>
                    </a:lnTo>
                    <a:lnTo>
                      <a:pt x="4460" y="4068"/>
                    </a:lnTo>
                    <a:lnTo>
                      <a:pt x="4450" y="4076"/>
                    </a:lnTo>
                    <a:lnTo>
                      <a:pt x="4448" y="4080"/>
                    </a:lnTo>
                    <a:lnTo>
                      <a:pt x="4448" y="4084"/>
                    </a:lnTo>
                    <a:lnTo>
                      <a:pt x="4448" y="4084"/>
                    </a:lnTo>
                    <a:lnTo>
                      <a:pt x="4446" y="4088"/>
                    </a:lnTo>
                    <a:lnTo>
                      <a:pt x="4442" y="4094"/>
                    </a:lnTo>
                    <a:lnTo>
                      <a:pt x="4440" y="4100"/>
                    </a:lnTo>
                    <a:lnTo>
                      <a:pt x="4438" y="4104"/>
                    </a:lnTo>
                    <a:lnTo>
                      <a:pt x="4438" y="4104"/>
                    </a:lnTo>
                    <a:lnTo>
                      <a:pt x="4440" y="4106"/>
                    </a:lnTo>
                    <a:lnTo>
                      <a:pt x="4442" y="4104"/>
                    </a:lnTo>
                    <a:lnTo>
                      <a:pt x="4448" y="4104"/>
                    </a:lnTo>
                    <a:lnTo>
                      <a:pt x="4458" y="4106"/>
                    </a:lnTo>
                    <a:lnTo>
                      <a:pt x="4458" y="4106"/>
                    </a:lnTo>
                    <a:lnTo>
                      <a:pt x="4462" y="4106"/>
                    </a:lnTo>
                    <a:lnTo>
                      <a:pt x="4466" y="4106"/>
                    </a:lnTo>
                    <a:lnTo>
                      <a:pt x="4470" y="4102"/>
                    </a:lnTo>
                    <a:lnTo>
                      <a:pt x="4474" y="4098"/>
                    </a:lnTo>
                    <a:lnTo>
                      <a:pt x="4478" y="4094"/>
                    </a:lnTo>
                    <a:lnTo>
                      <a:pt x="4478" y="4094"/>
                    </a:lnTo>
                    <a:lnTo>
                      <a:pt x="4480" y="4092"/>
                    </a:lnTo>
                    <a:lnTo>
                      <a:pt x="4482" y="4090"/>
                    </a:lnTo>
                    <a:lnTo>
                      <a:pt x="4484" y="4082"/>
                    </a:lnTo>
                    <a:lnTo>
                      <a:pt x="4484" y="4082"/>
                    </a:lnTo>
                    <a:lnTo>
                      <a:pt x="4488" y="4074"/>
                    </a:lnTo>
                    <a:lnTo>
                      <a:pt x="4488" y="4072"/>
                    </a:lnTo>
                    <a:lnTo>
                      <a:pt x="4486" y="4072"/>
                    </a:lnTo>
                    <a:lnTo>
                      <a:pt x="4486" y="4072"/>
                    </a:lnTo>
                    <a:close/>
                    <a:moveTo>
                      <a:pt x="2916" y="5240"/>
                    </a:moveTo>
                    <a:lnTo>
                      <a:pt x="2916" y="5240"/>
                    </a:lnTo>
                    <a:lnTo>
                      <a:pt x="2912" y="5240"/>
                    </a:lnTo>
                    <a:lnTo>
                      <a:pt x="2908" y="5240"/>
                    </a:lnTo>
                    <a:lnTo>
                      <a:pt x="2902" y="5244"/>
                    </a:lnTo>
                    <a:lnTo>
                      <a:pt x="2898" y="5248"/>
                    </a:lnTo>
                    <a:lnTo>
                      <a:pt x="2896" y="5252"/>
                    </a:lnTo>
                    <a:lnTo>
                      <a:pt x="2896" y="5252"/>
                    </a:lnTo>
                    <a:lnTo>
                      <a:pt x="2896" y="5260"/>
                    </a:lnTo>
                    <a:lnTo>
                      <a:pt x="2896" y="5264"/>
                    </a:lnTo>
                    <a:lnTo>
                      <a:pt x="2894" y="5266"/>
                    </a:lnTo>
                    <a:lnTo>
                      <a:pt x="2894" y="5266"/>
                    </a:lnTo>
                    <a:lnTo>
                      <a:pt x="2890" y="5266"/>
                    </a:lnTo>
                    <a:lnTo>
                      <a:pt x="2888" y="5270"/>
                    </a:lnTo>
                    <a:lnTo>
                      <a:pt x="2892" y="5272"/>
                    </a:lnTo>
                    <a:lnTo>
                      <a:pt x="2904" y="5274"/>
                    </a:lnTo>
                    <a:lnTo>
                      <a:pt x="2904" y="5274"/>
                    </a:lnTo>
                    <a:lnTo>
                      <a:pt x="2914" y="5274"/>
                    </a:lnTo>
                    <a:lnTo>
                      <a:pt x="2916" y="5272"/>
                    </a:lnTo>
                    <a:lnTo>
                      <a:pt x="2918" y="5272"/>
                    </a:lnTo>
                    <a:lnTo>
                      <a:pt x="2918" y="5266"/>
                    </a:lnTo>
                    <a:lnTo>
                      <a:pt x="2920" y="5258"/>
                    </a:lnTo>
                    <a:lnTo>
                      <a:pt x="2920" y="5258"/>
                    </a:lnTo>
                    <a:lnTo>
                      <a:pt x="2924" y="5250"/>
                    </a:lnTo>
                    <a:lnTo>
                      <a:pt x="2924" y="5246"/>
                    </a:lnTo>
                    <a:lnTo>
                      <a:pt x="2922" y="5242"/>
                    </a:lnTo>
                    <a:lnTo>
                      <a:pt x="2916" y="5240"/>
                    </a:lnTo>
                    <a:lnTo>
                      <a:pt x="2916" y="5240"/>
                    </a:lnTo>
                    <a:close/>
                    <a:moveTo>
                      <a:pt x="2868" y="5234"/>
                    </a:moveTo>
                    <a:lnTo>
                      <a:pt x="2868" y="5234"/>
                    </a:lnTo>
                    <a:lnTo>
                      <a:pt x="2866" y="5232"/>
                    </a:lnTo>
                    <a:lnTo>
                      <a:pt x="2864" y="5232"/>
                    </a:lnTo>
                    <a:lnTo>
                      <a:pt x="2860" y="5234"/>
                    </a:lnTo>
                    <a:lnTo>
                      <a:pt x="2854" y="5238"/>
                    </a:lnTo>
                    <a:lnTo>
                      <a:pt x="2850" y="5238"/>
                    </a:lnTo>
                    <a:lnTo>
                      <a:pt x="2844" y="5236"/>
                    </a:lnTo>
                    <a:lnTo>
                      <a:pt x="2844" y="5236"/>
                    </a:lnTo>
                    <a:lnTo>
                      <a:pt x="2838" y="5234"/>
                    </a:lnTo>
                    <a:lnTo>
                      <a:pt x="2836" y="5234"/>
                    </a:lnTo>
                    <a:lnTo>
                      <a:pt x="2834" y="5236"/>
                    </a:lnTo>
                    <a:lnTo>
                      <a:pt x="2834" y="5240"/>
                    </a:lnTo>
                    <a:lnTo>
                      <a:pt x="2836" y="5246"/>
                    </a:lnTo>
                    <a:lnTo>
                      <a:pt x="2836" y="5246"/>
                    </a:lnTo>
                    <a:lnTo>
                      <a:pt x="2840" y="5248"/>
                    </a:lnTo>
                    <a:lnTo>
                      <a:pt x="2844" y="5250"/>
                    </a:lnTo>
                    <a:lnTo>
                      <a:pt x="2850" y="5252"/>
                    </a:lnTo>
                    <a:lnTo>
                      <a:pt x="2856" y="5256"/>
                    </a:lnTo>
                    <a:lnTo>
                      <a:pt x="2856" y="5256"/>
                    </a:lnTo>
                    <a:lnTo>
                      <a:pt x="2860" y="5262"/>
                    </a:lnTo>
                    <a:lnTo>
                      <a:pt x="2860" y="5266"/>
                    </a:lnTo>
                    <a:lnTo>
                      <a:pt x="2860" y="5270"/>
                    </a:lnTo>
                    <a:lnTo>
                      <a:pt x="2862" y="5270"/>
                    </a:lnTo>
                    <a:lnTo>
                      <a:pt x="2862" y="5270"/>
                    </a:lnTo>
                    <a:lnTo>
                      <a:pt x="2866" y="5270"/>
                    </a:lnTo>
                    <a:lnTo>
                      <a:pt x="2868" y="5266"/>
                    </a:lnTo>
                    <a:lnTo>
                      <a:pt x="2870" y="5260"/>
                    </a:lnTo>
                    <a:lnTo>
                      <a:pt x="2876" y="5254"/>
                    </a:lnTo>
                    <a:lnTo>
                      <a:pt x="2876" y="5254"/>
                    </a:lnTo>
                    <a:lnTo>
                      <a:pt x="2882" y="5250"/>
                    </a:lnTo>
                    <a:lnTo>
                      <a:pt x="2882" y="5246"/>
                    </a:lnTo>
                    <a:lnTo>
                      <a:pt x="2882" y="5244"/>
                    </a:lnTo>
                    <a:lnTo>
                      <a:pt x="2876" y="5240"/>
                    </a:lnTo>
                    <a:lnTo>
                      <a:pt x="2868" y="5234"/>
                    </a:lnTo>
                    <a:lnTo>
                      <a:pt x="2868" y="5234"/>
                    </a:lnTo>
                    <a:close/>
                    <a:moveTo>
                      <a:pt x="2906" y="5026"/>
                    </a:moveTo>
                    <a:lnTo>
                      <a:pt x="2906" y="5026"/>
                    </a:lnTo>
                    <a:lnTo>
                      <a:pt x="2906" y="5016"/>
                    </a:lnTo>
                    <a:lnTo>
                      <a:pt x="2906" y="5006"/>
                    </a:lnTo>
                    <a:lnTo>
                      <a:pt x="2904" y="5000"/>
                    </a:lnTo>
                    <a:lnTo>
                      <a:pt x="2902" y="5000"/>
                    </a:lnTo>
                    <a:lnTo>
                      <a:pt x="2900" y="5002"/>
                    </a:lnTo>
                    <a:lnTo>
                      <a:pt x="2900" y="5002"/>
                    </a:lnTo>
                    <a:lnTo>
                      <a:pt x="2898" y="5010"/>
                    </a:lnTo>
                    <a:lnTo>
                      <a:pt x="2898" y="5018"/>
                    </a:lnTo>
                    <a:lnTo>
                      <a:pt x="2898" y="5026"/>
                    </a:lnTo>
                    <a:lnTo>
                      <a:pt x="2896" y="5036"/>
                    </a:lnTo>
                    <a:lnTo>
                      <a:pt x="2896" y="5036"/>
                    </a:lnTo>
                    <a:lnTo>
                      <a:pt x="2896" y="5038"/>
                    </a:lnTo>
                    <a:lnTo>
                      <a:pt x="2898" y="5038"/>
                    </a:lnTo>
                    <a:lnTo>
                      <a:pt x="2902" y="5034"/>
                    </a:lnTo>
                    <a:lnTo>
                      <a:pt x="2906" y="5026"/>
                    </a:lnTo>
                    <a:lnTo>
                      <a:pt x="2906" y="5026"/>
                    </a:lnTo>
                    <a:close/>
                    <a:moveTo>
                      <a:pt x="3284" y="4314"/>
                    </a:moveTo>
                    <a:lnTo>
                      <a:pt x="3284" y="4314"/>
                    </a:lnTo>
                    <a:lnTo>
                      <a:pt x="3284" y="4314"/>
                    </a:lnTo>
                    <a:lnTo>
                      <a:pt x="3286" y="4316"/>
                    </a:lnTo>
                    <a:lnTo>
                      <a:pt x="3288" y="4318"/>
                    </a:lnTo>
                    <a:lnTo>
                      <a:pt x="3290" y="4318"/>
                    </a:lnTo>
                    <a:lnTo>
                      <a:pt x="3290" y="4318"/>
                    </a:lnTo>
                    <a:lnTo>
                      <a:pt x="3290" y="4316"/>
                    </a:lnTo>
                    <a:lnTo>
                      <a:pt x="3290" y="4314"/>
                    </a:lnTo>
                    <a:lnTo>
                      <a:pt x="3288" y="4312"/>
                    </a:lnTo>
                    <a:lnTo>
                      <a:pt x="3284" y="4314"/>
                    </a:lnTo>
                    <a:lnTo>
                      <a:pt x="3284" y="4314"/>
                    </a:lnTo>
                    <a:close/>
                    <a:moveTo>
                      <a:pt x="3284" y="4332"/>
                    </a:moveTo>
                    <a:lnTo>
                      <a:pt x="3284" y="4332"/>
                    </a:lnTo>
                    <a:lnTo>
                      <a:pt x="3284" y="4330"/>
                    </a:lnTo>
                    <a:lnTo>
                      <a:pt x="3282" y="4330"/>
                    </a:lnTo>
                    <a:lnTo>
                      <a:pt x="3278" y="4336"/>
                    </a:lnTo>
                    <a:lnTo>
                      <a:pt x="3278" y="4344"/>
                    </a:lnTo>
                    <a:lnTo>
                      <a:pt x="3278" y="4350"/>
                    </a:lnTo>
                    <a:lnTo>
                      <a:pt x="3282" y="4354"/>
                    </a:lnTo>
                    <a:lnTo>
                      <a:pt x="3282" y="4354"/>
                    </a:lnTo>
                    <a:lnTo>
                      <a:pt x="3284" y="4358"/>
                    </a:lnTo>
                    <a:lnTo>
                      <a:pt x="3286" y="4358"/>
                    </a:lnTo>
                    <a:lnTo>
                      <a:pt x="3286" y="4354"/>
                    </a:lnTo>
                    <a:lnTo>
                      <a:pt x="3284" y="4332"/>
                    </a:lnTo>
                    <a:lnTo>
                      <a:pt x="3284" y="4332"/>
                    </a:lnTo>
                    <a:close/>
                    <a:moveTo>
                      <a:pt x="2868" y="5178"/>
                    </a:moveTo>
                    <a:lnTo>
                      <a:pt x="2868" y="5178"/>
                    </a:lnTo>
                    <a:lnTo>
                      <a:pt x="2870" y="5178"/>
                    </a:lnTo>
                    <a:lnTo>
                      <a:pt x="2872" y="5178"/>
                    </a:lnTo>
                    <a:lnTo>
                      <a:pt x="2874" y="5178"/>
                    </a:lnTo>
                    <a:lnTo>
                      <a:pt x="2876" y="5178"/>
                    </a:lnTo>
                    <a:lnTo>
                      <a:pt x="2876" y="5178"/>
                    </a:lnTo>
                    <a:lnTo>
                      <a:pt x="2876" y="5176"/>
                    </a:lnTo>
                    <a:lnTo>
                      <a:pt x="2874" y="5174"/>
                    </a:lnTo>
                    <a:lnTo>
                      <a:pt x="2872" y="5172"/>
                    </a:lnTo>
                    <a:lnTo>
                      <a:pt x="2866" y="5172"/>
                    </a:lnTo>
                    <a:lnTo>
                      <a:pt x="2866" y="5172"/>
                    </a:lnTo>
                    <a:lnTo>
                      <a:pt x="2862" y="5174"/>
                    </a:lnTo>
                    <a:lnTo>
                      <a:pt x="2864" y="5176"/>
                    </a:lnTo>
                    <a:lnTo>
                      <a:pt x="2866" y="5178"/>
                    </a:lnTo>
                    <a:lnTo>
                      <a:pt x="2868" y="5178"/>
                    </a:lnTo>
                    <a:lnTo>
                      <a:pt x="2868" y="5178"/>
                    </a:lnTo>
                    <a:close/>
                    <a:moveTo>
                      <a:pt x="2798" y="5190"/>
                    </a:moveTo>
                    <a:lnTo>
                      <a:pt x="2798" y="5190"/>
                    </a:lnTo>
                    <a:lnTo>
                      <a:pt x="2804" y="5186"/>
                    </a:lnTo>
                    <a:lnTo>
                      <a:pt x="2812" y="5182"/>
                    </a:lnTo>
                    <a:lnTo>
                      <a:pt x="2818" y="5180"/>
                    </a:lnTo>
                    <a:lnTo>
                      <a:pt x="2818" y="5178"/>
                    </a:lnTo>
                    <a:lnTo>
                      <a:pt x="2818" y="5176"/>
                    </a:lnTo>
                    <a:lnTo>
                      <a:pt x="2818" y="5176"/>
                    </a:lnTo>
                    <a:lnTo>
                      <a:pt x="2814" y="5174"/>
                    </a:lnTo>
                    <a:lnTo>
                      <a:pt x="2810" y="5174"/>
                    </a:lnTo>
                    <a:lnTo>
                      <a:pt x="2804" y="5176"/>
                    </a:lnTo>
                    <a:lnTo>
                      <a:pt x="2794" y="5176"/>
                    </a:lnTo>
                    <a:lnTo>
                      <a:pt x="2794" y="5176"/>
                    </a:lnTo>
                    <a:lnTo>
                      <a:pt x="2780" y="5174"/>
                    </a:lnTo>
                    <a:lnTo>
                      <a:pt x="2770" y="5176"/>
                    </a:lnTo>
                    <a:lnTo>
                      <a:pt x="2764" y="5180"/>
                    </a:lnTo>
                    <a:lnTo>
                      <a:pt x="2764" y="5182"/>
                    </a:lnTo>
                    <a:lnTo>
                      <a:pt x="2764" y="5186"/>
                    </a:lnTo>
                    <a:lnTo>
                      <a:pt x="2764" y="5186"/>
                    </a:lnTo>
                    <a:lnTo>
                      <a:pt x="2768" y="5188"/>
                    </a:lnTo>
                    <a:lnTo>
                      <a:pt x="2780" y="5192"/>
                    </a:lnTo>
                    <a:lnTo>
                      <a:pt x="2790" y="5192"/>
                    </a:lnTo>
                    <a:lnTo>
                      <a:pt x="2796" y="5192"/>
                    </a:lnTo>
                    <a:lnTo>
                      <a:pt x="2798" y="5190"/>
                    </a:lnTo>
                    <a:lnTo>
                      <a:pt x="2798" y="5190"/>
                    </a:lnTo>
                    <a:close/>
                    <a:moveTo>
                      <a:pt x="4914" y="1916"/>
                    </a:moveTo>
                    <a:lnTo>
                      <a:pt x="4914" y="1916"/>
                    </a:lnTo>
                    <a:lnTo>
                      <a:pt x="4910" y="1920"/>
                    </a:lnTo>
                    <a:lnTo>
                      <a:pt x="4910" y="1924"/>
                    </a:lnTo>
                    <a:lnTo>
                      <a:pt x="4912" y="1928"/>
                    </a:lnTo>
                    <a:lnTo>
                      <a:pt x="4914" y="1934"/>
                    </a:lnTo>
                    <a:lnTo>
                      <a:pt x="4926" y="1944"/>
                    </a:lnTo>
                    <a:lnTo>
                      <a:pt x="4938" y="1954"/>
                    </a:lnTo>
                    <a:lnTo>
                      <a:pt x="4938" y="1954"/>
                    </a:lnTo>
                    <a:lnTo>
                      <a:pt x="4942" y="1958"/>
                    </a:lnTo>
                    <a:lnTo>
                      <a:pt x="4942" y="1954"/>
                    </a:lnTo>
                    <a:lnTo>
                      <a:pt x="4940" y="1946"/>
                    </a:lnTo>
                    <a:lnTo>
                      <a:pt x="4936" y="1936"/>
                    </a:lnTo>
                    <a:lnTo>
                      <a:pt x="4930" y="1926"/>
                    </a:lnTo>
                    <a:lnTo>
                      <a:pt x="4924" y="1918"/>
                    </a:lnTo>
                    <a:lnTo>
                      <a:pt x="4918" y="1914"/>
                    </a:lnTo>
                    <a:lnTo>
                      <a:pt x="4916" y="1914"/>
                    </a:lnTo>
                    <a:lnTo>
                      <a:pt x="4914" y="1916"/>
                    </a:lnTo>
                    <a:lnTo>
                      <a:pt x="4914" y="1916"/>
                    </a:lnTo>
                    <a:close/>
                    <a:moveTo>
                      <a:pt x="4520" y="2200"/>
                    </a:moveTo>
                    <a:lnTo>
                      <a:pt x="4520" y="2200"/>
                    </a:lnTo>
                    <a:lnTo>
                      <a:pt x="4522" y="2200"/>
                    </a:lnTo>
                    <a:lnTo>
                      <a:pt x="4524" y="2200"/>
                    </a:lnTo>
                    <a:lnTo>
                      <a:pt x="4528" y="2196"/>
                    </a:lnTo>
                    <a:lnTo>
                      <a:pt x="4528" y="2192"/>
                    </a:lnTo>
                    <a:lnTo>
                      <a:pt x="4528" y="2188"/>
                    </a:lnTo>
                    <a:lnTo>
                      <a:pt x="4528" y="2188"/>
                    </a:lnTo>
                    <a:lnTo>
                      <a:pt x="4524" y="2188"/>
                    </a:lnTo>
                    <a:lnTo>
                      <a:pt x="4520" y="2190"/>
                    </a:lnTo>
                    <a:lnTo>
                      <a:pt x="4518" y="2194"/>
                    </a:lnTo>
                    <a:lnTo>
                      <a:pt x="4518" y="2196"/>
                    </a:lnTo>
                    <a:lnTo>
                      <a:pt x="4520" y="2200"/>
                    </a:lnTo>
                    <a:lnTo>
                      <a:pt x="4520" y="2200"/>
                    </a:lnTo>
                    <a:close/>
                    <a:moveTo>
                      <a:pt x="4814" y="1702"/>
                    </a:moveTo>
                    <a:lnTo>
                      <a:pt x="4814" y="1702"/>
                    </a:lnTo>
                    <a:lnTo>
                      <a:pt x="4812" y="1704"/>
                    </a:lnTo>
                    <a:lnTo>
                      <a:pt x="4812" y="1706"/>
                    </a:lnTo>
                    <a:lnTo>
                      <a:pt x="4816" y="1706"/>
                    </a:lnTo>
                    <a:lnTo>
                      <a:pt x="4832" y="1700"/>
                    </a:lnTo>
                    <a:lnTo>
                      <a:pt x="4842" y="1696"/>
                    </a:lnTo>
                    <a:lnTo>
                      <a:pt x="4850" y="1690"/>
                    </a:lnTo>
                    <a:lnTo>
                      <a:pt x="4856" y="1684"/>
                    </a:lnTo>
                    <a:lnTo>
                      <a:pt x="4858" y="1678"/>
                    </a:lnTo>
                    <a:lnTo>
                      <a:pt x="4858" y="1678"/>
                    </a:lnTo>
                    <a:lnTo>
                      <a:pt x="4856" y="1674"/>
                    </a:lnTo>
                    <a:lnTo>
                      <a:pt x="4852" y="1672"/>
                    </a:lnTo>
                    <a:lnTo>
                      <a:pt x="4848" y="1672"/>
                    </a:lnTo>
                    <a:lnTo>
                      <a:pt x="4842" y="1674"/>
                    </a:lnTo>
                    <a:lnTo>
                      <a:pt x="4828" y="1686"/>
                    </a:lnTo>
                    <a:lnTo>
                      <a:pt x="4814" y="1702"/>
                    </a:lnTo>
                    <a:lnTo>
                      <a:pt x="4814" y="1702"/>
                    </a:lnTo>
                    <a:close/>
                    <a:moveTo>
                      <a:pt x="3278" y="4364"/>
                    </a:moveTo>
                    <a:lnTo>
                      <a:pt x="3278" y="4364"/>
                    </a:lnTo>
                    <a:lnTo>
                      <a:pt x="3276" y="4362"/>
                    </a:lnTo>
                    <a:lnTo>
                      <a:pt x="3274" y="4362"/>
                    </a:lnTo>
                    <a:lnTo>
                      <a:pt x="3274" y="4362"/>
                    </a:lnTo>
                    <a:lnTo>
                      <a:pt x="3278" y="4384"/>
                    </a:lnTo>
                    <a:lnTo>
                      <a:pt x="3278" y="4384"/>
                    </a:lnTo>
                    <a:lnTo>
                      <a:pt x="3278" y="4398"/>
                    </a:lnTo>
                    <a:lnTo>
                      <a:pt x="3278" y="4400"/>
                    </a:lnTo>
                    <a:lnTo>
                      <a:pt x="3276" y="4402"/>
                    </a:lnTo>
                    <a:lnTo>
                      <a:pt x="3272" y="4402"/>
                    </a:lnTo>
                    <a:lnTo>
                      <a:pt x="3266" y="4398"/>
                    </a:lnTo>
                    <a:lnTo>
                      <a:pt x="3266" y="4398"/>
                    </a:lnTo>
                    <a:lnTo>
                      <a:pt x="3266" y="4398"/>
                    </a:lnTo>
                    <a:lnTo>
                      <a:pt x="3264" y="4400"/>
                    </a:lnTo>
                    <a:lnTo>
                      <a:pt x="3264" y="4406"/>
                    </a:lnTo>
                    <a:lnTo>
                      <a:pt x="3262" y="4408"/>
                    </a:lnTo>
                    <a:lnTo>
                      <a:pt x="3260" y="4408"/>
                    </a:lnTo>
                    <a:lnTo>
                      <a:pt x="3256" y="4404"/>
                    </a:lnTo>
                    <a:lnTo>
                      <a:pt x="3256" y="4404"/>
                    </a:lnTo>
                    <a:lnTo>
                      <a:pt x="3254" y="4402"/>
                    </a:lnTo>
                    <a:lnTo>
                      <a:pt x="3252" y="4400"/>
                    </a:lnTo>
                    <a:lnTo>
                      <a:pt x="3250" y="4402"/>
                    </a:lnTo>
                    <a:lnTo>
                      <a:pt x="3248" y="4404"/>
                    </a:lnTo>
                    <a:lnTo>
                      <a:pt x="3248" y="4424"/>
                    </a:lnTo>
                    <a:lnTo>
                      <a:pt x="3248" y="4424"/>
                    </a:lnTo>
                    <a:lnTo>
                      <a:pt x="3248" y="4426"/>
                    </a:lnTo>
                    <a:lnTo>
                      <a:pt x="3246" y="4426"/>
                    </a:lnTo>
                    <a:lnTo>
                      <a:pt x="3240" y="4422"/>
                    </a:lnTo>
                    <a:lnTo>
                      <a:pt x="3238" y="4422"/>
                    </a:lnTo>
                    <a:lnTo>
                      <a:pt x="3234" y="4420"/>
                    </a:lnTo>
                    <a:lnTo>
                      <a:pt x="3232" y="4422"/>
                    </a:lnTo>
                    <a:lnTo>
                      <a:pt x="3230" y="4428"/>
                    </a:lnTo>
                    <a:lnTo>
                      <a:pt x="3230" y="4428"/>
                    </a:lnTo>
                    <a:lnTo>
                      <a:pt x="3226" y="4438"/>
                    </a:lnTo>
                    <a:lnTo>
                      <a:pt x="3224" y="4440"/>
                    </a:lnTo>
                    <a:lnTo>
                      <a:pt x="3220" y="4440"/>
                    </a:lnTo>
                    <a:lnTo>
                      <a:pt x="3214" y="4444"/>
                    </a:lnTo>
                    <a:lnTo>
                      <a:pt x="3214" y="4444"/>
                    </a:lnTo>
                    <a:lnTo>
                      <a:pt x="3210" y="4446"/>
                    </a:lnTo>
                    <a:lnTo>
                      <a:pt x="3210" y="4446"/>
                    </a:lnTo>
                    <a:lnTo>
                      <a:pt x="3212" y="4440"/>
                    </a:lnTo>
                    <a:lnTo>
                      <a:pt x="3212" y="4432"/>
                    </a:lnTo>
                    <a:lnTo>
                      <a:pt x="3212" y="4432"/>
                    </a:lnTo>
                    <a:lnTo>
                      <a:pt x="3210" y="4424"/>
                    </a:lnTo>
                    <a:lnTo>
                      <a:pt x="3208" y="4420"/>
                    </a:lnTo>
                    <a:lnTo>
                      <a:pt x="3204" y="4418"/>
                    </a:lnTo>
                    <a:lnTo>
                      <a:pt x="3200" y="4418"/>
                    </a:lnTo>
                    <a:lnTo>
                      <a:pt x="3200" y="4418"/>
                    </a:lnTo>
                    <a:lnTo>
                      <a:pt x="3198" y="4420"/>
                    </a:lnTo>
                    <a:lnTo>
                      <a:pt x="3198" y="4418"/>
                    </a:lnTo>
                    <a:lnTo>
                      <a:pt x="3196" y="4416"/>
                    </a:lnTo>
                    <a:lnTo>
                      <a:pt x="3194" y="4414"/>
                    </a:lnTo>
                    <a:lnTo>
                      <a:pt x="3194" y="4414"/>
                    </a:lnTo>
                    <a:lnTo>
                      <a:pt x="3192" y="4416"/>
                    </a:lnTo>
                    <a:lnTo>
                      <a:pt x="3192" y="4420"/>
                    </a:lnTo>
                    <a:lnTo>
                      <a:pt x="3190" y="4422"/>
                    </a:lnTo>
                    <a:lnTo>
                      <a:pt x="3188" y="4424"/>
                    </a:lnTo>
                    <a:lnTo>
                      <a:pt x="3186" y="4424"/>
                    </a:lnTo>
                    <a:lnTo>
                      <a:pt x="3186" y="4424"/>
                    </a:lnTo>
                    <a:lnTo>
                      <a:pt x="3182" y="4424"/>
                    </a:lnTo>
                    <a:lnTo>
                      <a:pt x="3178" y="4428"/>
                    </a:lnTo>
                    <a:lnTo>
                      <a:pt x="3176" y="4432"/>
                    </a:lnTo>
                    <a:lnTo>
                      <a:pt x="3178" y="4438"/>
                    </a:lnTo>
                    <a:lnTo>
                      <a:pt x="3178" y="4438"/>
                    </a:lnTo>
                    <a:lnTo>
                      <a:pt x="3178" y="4440"/>
                    </a:lnTo>
                    <a:lnTo>
                      <a:pt x="3174" y="4442"/>
                    </a:lnTo>
                    <a:lnTo>
                      <a:pt x="3170" y="4444"/>
                    </a:lnTo>
                    <a:lnTo>
                      <a:pt x="3166" y="4442"/>
                    </a:lnTo>
                    <a:lnTo>
                      <a:pt x="3166" y="4442"/>
                    </a:lnTo>
                    <a:lnTo>
                      <a:pt x="3164" y="4442"/>
                    </a:lnTo>
                    <a:lnTo>
                      <a:pt x="3162" y="4442"/>
                    </a:lnTo>
                    <a:lnTo>
                      <a:pt x="3160" y="4444"/>
                    </a:lnTo>
                    <a:lnTo>
                      <a:pt x="3156" y="4446"/>
                    </a:lnTo>
                    <a:lnTo>
                      <a:pt x="3156" y="4446"/>
                    </a:lnTo>
                    <a:lnTo>
                      <a:pt x="3150" y="4448"/>
                    </a:lnTo>
                    <a:lnTo>
                      <a:pt x="3146" y="4452"/>
                    </a:lnTo>
                    <a:lnTo>
                      <a:pt x="3142" y="4458"/>
                    </a:lnTo>
                    <a:lnTo>
                      <a:pt x="3140" y="4462"/>
                    </a:lnTo>
                    <a:lnTo>
                      <a:pt x="3140" y="4462"/>
                    </a:lnTo>
                    <a:lnTo>
                      <a:pt x="3140" y="4472"/>
                    </a:lnTo>
                    <a:lnTo>
                      <a:pt x="3138" y="4478"/>
                    </a:lnTo>
                    <a:lnTo>
                      <a:pt x="3134" y="4488"/>
                    </a:lnTo>
                    <a:lnTo>
                      <a:pt x="3134" y="4488"/>
                    </a:lnTo>
                    <a:lnTo>
                      <a:pt x="3132" y="4492"/>
                    </a:lnTo>
                    <a:lnTo>
                      <a:pt x="3134" y="4496"/>
                    </a:lnTo>
                    <a:lnTo>
                      <a:pt x="3136" y="4500"/>
                    </a:lnTo>
                    <a:lnTo>
                      <a:pt x="3136" y="4500"/>
                    </a:lnTo>
                    <a:lnTo>
                      <a:pt x="3138" y="4504"/>
                    </a:lnTo>
                    <a:lnTo>
                      <a:pt x="3140" y="4504"/>
                    </a:lnTo>
                    <a:lnTo>
                      <a:pt x="3144" y="4500"/>
                    </a:lnTo>
                    <a:lnTo>
                      <a:pt x="3148" y="4488"/>
                    </a:lnTo>
                    <a:lnTo>
                      <a:pt x="3148" y="4488"/>
                    </a:lnTo>
                    <a:lnTo>
                      <a:pt x="3150" y="4480"/>
                    </a:lnTo>
                    <a:lnTo>
                      <a:pt x="3152" y="4478"/>
                    </a:lnTo>
                    <a:lnTo>
                      <a:pt x="3152" y="4476"/>
                    </a:lnTo>
                    <a:lnTo>
                      <a:pt x="3154" y="4474"/>
                    </a:lnTo>
                    <a:lnTo>
                      <a:pt x="3154" y="4474"/>
                    </a:lnTo>
                    <a:lnTo>
                      <a:pt x="3156" y="4472"/>
                    </a:lnTo>
                    <a:lnTo>
                      <a:pt x="3156" y="4470"/>
                    </a:lnTo>
                    <a:lnTo>
                      <a:pt x="3158" y="4466"/>
                    </a:lnTo>
                    <a:lnTo>
                      <a:pt x="3160" y="4462"/>
                    </a:lnTo>
                    <a:lnTo>
                      <a:pt x="3160" y="4462"/>
                    </a:lnTo>
                    <a:lnTo>
                      <a:pt x="3164" y="4460"/>
                    </a:lnTo>
                    <a:lnTo>
                      <a:pt x="3168" y="4462"/>
                    </a:lnTo>
                    <a:lnTo>
                      <a:pt x="3170" y="4466"/>
                    </a:lnTo>
                    <a:lnTo>
                      <a:pt x="3168" y="4472"/>
                    </a:lnTo>
                    <a:lnTo>
                      <a:pt x="3168" y="4472"/>
                    </a:lnTo>
                    <a:lnTo>
                      <a:pt x="3168" y="4474"/>
                    </a:lnTo>
                    <a:lnTo>
                      <a:pt x="3172" y="4474"/>
                    </a:lnTo>
                    <a:lnTo>
                      <a:pt x="3178" y="4472"/>
                    </a:lnTo>
                    <a:lnTo>
                      <a:pt x="3182" y="4466"/>
                    </a:lnTo>
                    <a:lnTo>
                      <a:pt x="3182" y="4466"/>
                    </a:lnTo>
                    <a:lnTo>
                      <a:pt x="3184" y="4462"/>
                    </a:lnTo>
                    <a:lnTo>
                      <a:pt x="3184" y="4466"/>
                    </a:lnTo>
                    <a:lnTo>
                      <a:pt x="3184" y="4472"/>
                    </a:lnTo>
                    <a:lnTo>
                      <a:pt x="3184" y="4474"/>
                    </a:lnTo>
                    <a:lnTo>
                      <a:pt x="3186" y="4476"/>
                    </a:lnTo>
                    <a:lnTo>
                      <a:pt x="3186" y="4476"/>
                    </a:lnTo>
                    <a:lnTo>
                      <a:pt x="3192" y="4478"/>
                    </a:lnTo>
                    <a:lnTo>
                      <a:pt x="3194" y="4480"/>
                    </a:lnTo>
                    <a:lnTo>
                      <a:pt x="3194" y="4476"/>
                    </a:lnTo>
                    <a:lnTo>
                      <a:pt x="3194" y="4476"/>
                    </a:lnTo>
                    <a:lnTo>
                      <a:pt x="3194" y="4470"/>
                    </a:lnTo>
                    <a:lnTo>
                      <a:pt x="3196" y="4466"/>
                    </a:lnTo>
                    <a:lnTo>
                      <a:pt x="3198" y="4464"/>
                    </a:lnTo>
                    <a:lnTo>
                      <a:pt x="3196" y="4462"/>
                    </a:lnTo>
                    <a:lnTo>
                      <a:pt x="3196" y="4462"/>
                    </a:lnTo>
                    <a:lnTo>
                      <a:pt x="3194" y="4460"/>
                    </a:lnTo>
                    <a:lnTo>
                      <a:pt x="3196" y="4458"/>
                    </a:lnTo>
                    <a:lnTo>
                      <a:pt x="3200" y="4458"/>
                    </a:lnTo>
                    <a:lnTo>
                      <a:pt x="3206" y="4460"/>
                    </a:lnTo>
                    <a:lnTo>
                      <a:pt x="3206" y="4460"/>
                    </a:lnTo>
                    <a:lnTo>
                      <a:pt x="3210" y="4464"/>
                    </a:lnTo>
                    <a:lnTo>
                      <a:pt x="3216" y="4466"/>
                    </a:lnTo>
                    <a:lnTo>
                      <a:pt x="3218" y="4468"/>
                    </a:lnTo>
                    <a:lnTo>
                      <a:pt x="3222" y="4472"/>
                    </a:lnTo>
                    <a:lnTo>
                      <a:pt x="3222" y="4472"/>
                    </a:lnTo>
                    <a:lnTo>
                      <a:pt x="3222" y="4476"/>
                    </a:lnTo>
                    <a:lnTo>
                      <a:pt x="3224" y="4478"/>
                    </a:lnTo>
                    <a:lnTo>
                      <a:pt x="3226" y="4478"/>
                    </a:lnTo>
                    <a:lnTo>
                      <a:pt x="3226" y="4482"/>
                    </a:lnTo>
                    <a:lnTo>
                      <a:pt x="3226" y="4482"/>
                    </a:lnTo>
                    <a:lnTo>
                      <a:pt x="3224" y="4486"/>
                    </a:lnTo>
                    <a:lnTo>
                      <a:pt x="3220" y="4492"/>
                    </a:lnTo>
                    <a:lnTo>
                      <a:pt x="3216" y="4500"/>
                    </a:lnTo>
                    <a:lnTo>
                      <a:pt x="3216" y="4502"/>
                    </a:lnTo>
                    <a:lnTo>
                      <a:pt x="3216" y="4506"/>
                    </a:lnTo>
                    <a:lnTo>
                      <a:pt x="3216" y="4506"/>
                    </a:lnTo>
                    <a:lnTo>
                      <a:pt x="3218" y="4520"/>
                    </a:lnTo>
                    <a:lnTo>
                      <a:pt x="3220" y="4526"/>
                    </a:lnTo>
                    <a:lnTo>
                      <a:pt x="3222" y="4532"/>
                    </a:lnTo>
                    <a:lnTo>
                      <a:pt x="3222" y="4532"/>
                    </a:lnTo>
                    <a:lnTo>
                      <a:pt x="3224" y="4534"/>
                    </a:lnTo>
                    <a:lnTo>
                      <a:pt x="3224" y="4536"/>
                    </a:lnTo>
                    <a:lnTo>
                      <a:pt x="3226" y="4538"/>
                    </a:lnTo>
                    <a:lnTo>
                      <a:pt x="3234" y="4544"/>
                    </a:lnTo>
                    <a:lnTo>
                      <a:pt x="3234" y="4544"/>
                    </a:lnTo>
                    <a:lnTo>
                      <a:pt x="3252" y="4552"/>
                    </a:lnTo>
                    <a:lnTo>
                      <a:pt x="3256" y="4554"/>
                    </a:lnTo>
                    <a:lnTo>
                      <a:pt x="3260" y="4548"/>
                    </a:lnTo>
                    <a:lnTo>
                      <a:pt x="3260" y="4548"/>
                    </a:lnTo>
                    <a:lnTo>
                      <a:pt x="3264" y="4542"/>
                    </a:lnTo>
                    <a:lnTo>
                      <a:pt x="3266" y="4542"/>
                    </a:lnTo>
                    <a:lnTo>
                      <a:pt x="3268" y="4544"/>
                    </a:lnTo>
                    <a:lnTo>
                      <a:pt x="3266" y="4550"/>
                    </a:lnTo>
                    <a:lnTo>
                      <a:pt x="3266" y="4550"/>
                    </a:lnTo>
                    <a:lnTo>
                      <a:pt x="3266" y="4556"/>
                    </a:lnTo>
                    <a:lnTo>
                      <a:pt x="3268" y="4564"/>
                    </a:lnTo>
                    <a:lnTo>
                      <a:pt x="3270" y="4566"/>
                    </a:lnTo>
                    <a:lnTo>
                      <a:pt x="3272" y="4568"/>
                    </a:lnTo>
                    <a:lnTo>
                      <a:pt x="3274" y="4566"/>
                    </a:lnTo>
                    <a:lnTo>
                      <a:pt x="3278" y="4564"/>
                    </a:lnTo>
                    <a:lnTo>
                      <a:pt x="3278" y="4564"/>
                    </a:lnTo>
                    <a:lnTo>
                      <a:pt x="3282" y="4554"/>
                    </a:lnTo>
                    <a:lnTo>
                      <a:pt x="3284" y="4546"/>
                    </a:lnTo>
                    <a:lnTo>
                      <a:pt x="3286" y="4540"/>
                    </a:lnTo>
                    <a:lnTo>
                      <a:pt x="3284" y="4534"/>
                    </a:lnTo>
                    <a:lnTo>
                      <a:pt x="3284" y="4534"/>
                    </a:lnTo>
                    <a:lnTo>
                      <a:pt x="3280" y="4524"/>
                    </a:lnTo>
                    <a:lnTo>
                      <a:pt x="3278" y="4520"/>
                    </a:lnTo>
                    <a:lnTo>
                      <a:pt x="3276" y="4518"/>
                    </a:lnTo>
                    <a:lnTo>
                      <a:pt x="3276" y="4518"/>
                    </a:lnTo>
                    <a:lnTo>
                      <a:pt x="3274" y="4516"/>
                    </a:lnTo>
                    <a:lnTo>
                      <a:pt x="3274" y="4514"/>
                    </a:lnTo>
                    <a:lnTo>
                      <a:pt x="3274" y="4508"/>
                    </a:lnTo>
                    <a:lnTo>
                      <a:pt x="3276" y="4500"/>
                    </a:lnTo>
                    <a:lnTo>
                      <a:pt x="3280" y="4496"/>
                    </a:lnTo>
                    <a:lnTo>
                      <a:pt x="3280" y="4496"/>
                    </a:lnTo>
                    <a:lnTo>
                      <a:pt x="3284" y="4494"/>
                    </a:lnTo>
                    <a:lnTo>
                      <a:pt x="3284" y="4490"/>
                    </a:lnTo>
                    <a:lnTo>
                      <a:pt x="3284" y="4486"/>
                    </a:lnTo>
                    <a:lnTo>
                      <a:pt x="3288" y="4484"/>
                    </a:lnTo>
                    <a:lnTo>
                      <a:pt x="3288" y="4484"/>
                    </a:lnTo>
                    <a:lnTo>
                      <a:pt x="3290" y="4482"/>
                    </a:lnTo>
                    <a:lnTo>
                      <a:pt x="3292" y="4482"/>
                    </a:lnTo>
                    <a:lnTo>
                      <a:pt x="3292" y="4490"/>
                    </a:lnTo>
                    <a:lnTo>
                      <a:pt x="3292" y="4490"/>
                    </a:lnTo>
                    <a:lnTo>
                      <a:pt x="3294" y="4498"/>
                    </a:lnTo>
                    <a:lnTo>
                      <a:pt x="3296" y="4502"/>
                    </a:lnTo>
                    <a:lnTo>
                      <a:pt x="3300" y="4506"/>
                    </a:lnTo>
                    <a:lnTo>
                      <a:pt x="3300" y="4506"/>
                    </a:lnTo>
                    <a:lnTo>
                      <a:pt x="3302" y="4510"/>
                    </a:lnTo>
                    <a:lnTo>
                      <a:pt x="3300" y="4512"/>
                    </a:lnTo>
                    <a:lnTo>
                      <a:pt x="3300" y="4518"/>
                    </a:lnTo>
                    <a:lnTo>
                      <a:pt x="3302" y="4528"/>
                    </a:lnTo>
                    <a:lnTo>
                      <a:pt x="3302" y="4528"/>
                    </a:lnTo>
                    <a:lnTo>
                      <a:pt x="3304" y="4530"/>
                    </a:lnTo>
                    <a:lnTo>
                      <a:pt x="3306" y="4530"/>
                    </a:lnTo>
                    <a:lnTo>
                      <a:pt x="3306" y="4526"/>
                    </a:lnTo>
                    <a:lnTo>
                      <a:pt x="3308" y="4518"/>
                    </a:lnTo>
                    <a:lnTo>
                      <a:pt x="3306" y="4508"/>
                    </a:lnTo>
                    <a:lnTo>
                      <a:pt x="3306" y="4508"/>
                    </a:lnTo>
                    <a:lnTo>
                      <a:pt x="3304" y="4502"/>
                    </a:lnTo>
                    <a:lnTo>
                      <a:pt x="3308" y="4504"/>
                    </a:lnTo>
                    <a:lnTo>
                      <a:pt x="3310" y="4506"/>
                    </a:lnTo>
                    <a:lnTo>
                      <a:pt x="3312" y="4506"/>
                    </a:lnTo>
                    <a:lnTo>
                      <a:pt x="3310" y="4504"/>
                    </a:lnTo>
                    <a:lnTo>
                      <a:pt x="3310" y="4504"/>
                    </a:lnTo>
                    <a:lnTo>
                      <a:pt x="3310" y="4500"/>
                    </a:lnTo>
                    <a:lnTo>
                      <a:pt x="3312" y="4498"/>
                    </a:lnTo>
                    <a:lnTo>
                      <a:pt x="3316" y="4498"/>
                    </a:lnTo>
                    <a:lnTo>
                      <a:pt x="3320" y="4492"/>
                    </a:lnTo>
                    <a:lnTo>
                      <a:pt x="3320" y="4492"/>
                    </a:lnTo>
                    <a:lnTo>
                      <a:pt x="3322" y="4488"/>
                    </a:lnTo>
                    <a:lnTo>
                      <a:pt x="3322" y="4482"/>
                    </a:lnTo>
                    <a:lnTo>
                      <a:pt x="3320" y="4468"/>
                    </a:lnTo>
                    <a:lnTo>
                      <a:pt x="3320" y="4468"/>
                    </a:lnTo>
                    <a:lnTo>
                      <a:pt x="3320" y="4464"/>
                    </a:lnTo>
                    <a:lnTo>
                      <a:pt x="3318" y="4462"/>
                    </a:lnTo>
                    <a:lnTo>
                      <a:pt x="3316" y="4460"/>
                    </a:lnTo>
                    <a:lnTo>
                      <a:pt x="3314" y="4458"/>
                    </a:lnTo>
                    <a:lnTo>
                      <a:pt x="3314" y="4458"/>
                    </a:lnTo>
                    <a:lnTo>
                      <a:pt x="3314" y="4452"/>
                    </a:lnTo>
                    <a:lnTo>
                      <a:pt x="3316" y="4446"/>
                    </a:lnTo>
                    <a:lnTo>
                      <a:pt x="3316" y="4442"/>
                    </a:lnTo>
                    <a:lnTo>
                      <a:pt x="3314" y="4438"/>
                    </a:lnTo>
                    <a:lnTo>
                      <a:pt x="3314" y="4438"/>
                    </a:lnTo>
                    <a:lnTo>
                      <a:pt x="3314" y="4432"/>
                    </a:lnTo>
                    <a:lnTo>
                      <a:pt x="3314" y="4428"/>
                    </a:lnTo>
                    <a:lnTo>
                      <a:pt x="3312" y="4424"/>
                    </a:lnTo>
                    <a:lnTo>
                      <a:pt x="3310" y="4424"/>
                    </a:lnTo>
                    <a:lnTo>
                      <a:pt x="3308" y="4424"/>
                    </a:lnTo>
                    <a:lnTo>
                      <a:pt x="3308" y="4424"/>
                    </a:lnTo>
                    <a:lnTo>
                      <a:pt x="3304" y="4424"/>
                    </a:lnTo>
                    <a:lnTo>
                      <a:pt x="3302" y="4422"/>
                    </a:lnTo>
                    <a:lnTo>
                      <a:pt x="3302" y="4420"/>
                    </a:lnTo>
                    <a:lnTo>
                      <a:pt x="3304" y="4418"/>
                    </a:lnTo>
                    <a:lnTo>
                      <a:pt x="3304" y="4418"/>
                    </a:lnTo>
                    <a:lnTo>
                      <a:pt x="3308" y="4416"/>
                    </a:lnTo>
                    <a:lnTo>
                      <a:pt x="3310" y="4412"/>
                    </a:lnTo>
                    <a:lnTo>
                      <a:pt x="3312" y="4406"/>
                    </a:lnTo>
                    <a:lnTo>
                      <a:pt x="3308" y="4400"/>
                    </a:lnTo>
                    <a:lnTo>
                      <a:pt x="3308" y="4400"/>
                    </a:lnTo>
                    <a:lnTo>
                      <a:pt x="3306" y="4396"/>
                    </a:lnTo>
                    <a:lnTo>
                      <a:pt x="3306" y="4390"/>
                    </a:lnTo>
                    <a:lnTo>
                      <a:pt x="3306" y="4386"/>
                    </a:lnTo>
                    <a:lnTo>
                      <a:pt x="3302" y="4388"/>
                    </a:lnTo>
                    <a:lnTo>
                      <a:pt x="3302" y="4388"/>
                    </a:lnTo>
                    <a:lnTo>
                      <a:pt x="3300" y="4388"/>
                    </a:lnTo>
                    <a:lnTo>
                      <a:pt x="3300" y="4388"/>
                    </a:lnTo>
                    <a:lnTo>
                      <a:pt x="3298" y="4384"/>
                    </a:lnTo>
                    <a:lnTo>
                      <a:pt x="3296" y="4380"/>
                    </a:lnTo>
                    <a:lnTo>
                      <a:pt x="3292" y="4376"/>
                    </a:lnTo>
                    <a:lnTo>
                      <a:pt x="3288" y="4374"/>
                    </a:lnTo>
                    <a:lnTo>
                      <a:pt x="3288" y="4374"/>
                    </a:lnTo>
                    <a:lnTo>
                      <a:pt x="3284" y="4372"/>
                    </a:lnTo>
                    <a:lnTo>
                      <a:pt x="3282" y="4368"/>
                    </a:lnTo>
                    <a:lnTo>
                      <a:pt x="3282" y="4366"/>
                    </a:lnTo>
                    <a:lnTo>
                      <a:pt x="3278" y="4364"/>
                    </a:lnTo>
                    <a:lnTo>
                      <a:pt x="3278" y="4364"/>
                    </a:lnTo>
                    <a:close/>
                    <a:moveTo>
                      <a:pt x="3136" y="4268"/>
                    </a:moveTo>
                    <a:lnTo>
                      <a:pt x="3136" y="4268"/>
                    </a:lnTo>
                    <a:lnTo>
                      <a:pt x="3138" y="4270"/>
                    </a:lnTo>
                    <a:lnTo>
                      <a:pt x="3140" y="4272"/>
                    </a:lnTo>
                    <a:lnTo>
                      <a:pt x="3140" y="4278"/>
                    </a:lnTo>
                    <a:lnTo>
                      <a:pt x="3138" y="4286"/>
                    </a:lnTo>
                    <a:lnTo>
                      <a:pt x="3138" y="4296"/>
                    </a:lnTo>
                    <a:lnTo>
                      <a:pt x="3138" y="4296"/>
                    </a:lnTo>
                    <a:lnTo>
                      <a:pt x="3140" y="4302"/>
                    </a:lnTo>
                    <a:lnTo>
                      <a:pt x="3136" y="4306"/>
                    </a:lnTo>
                    <a:lnTo>
                      <a:pt x="3134" y="4312"/>
                    </a:lnTo>
                    <a:lnTo>
                      <a:pt x="3134" y="4324"/>
                    </a:lnTo>
                    <a:lnTo>
                      <a:pt x="3134" y="4324"/>
                    </a:lnTo>
                    <a:lnTo>
                      <a:pt x="3134" y="4328"/>
                    </a:lnTo>
                    <a:lnTo>
                      <a:pt x="3136" y="4330"/>
                    </a:lnTo>
                    <a:lnTo>
                      <a:pt x="3138" y="4330"/>
                    </a:lnTo>
                    <a:lnTo>
                      <a:pt x="3140" y="4328"/>
                    </a:lnTo>
                    <a:lnTo>
                      <a:pt x="3146" y="4324"/>
                    </a:lnTo>
                    <a:lnTo>
                      <a:pt x="3148" y="4320"/>
                    </a:lnTo>
                    <a:lnTo>
                      <a:pt x="3152" y="4320"/>
                    </a:lnTo>
                    <a:lnTo>
                      <a:pt x="3152" y="4320"/>
                    </a:lnTo>
                    <a:lnTo>
                      <a:pt x="3158" y="4318"/>
                    </a:lnTo>
                    <a:lnTo>
                      <a:pt x="3166" y="4312"/>
                    </a:lnTo>
                    <a:lnTo>
                      <a:pt x="3178" y="4298"/>
                    </a:lnTo>
                    <a:lnTo>
                      <a:pt x="3178" y="4298"/>
                    </a:lnTo>
                    <a:lnTo>
                      <a:pt x="3182" y="4296"/>
                    </a:lnTo>
                    <a:lnTo>
                      <a:pt x="3182" y="4292"/>
                    </a:lnTo>
                    <a:lnTo>
                      <a:pt x="3184" y="4282"/>
                    </a:lnTo>
                    <a:lnTo>
                      <a:pt x="3182" y="4276"/>
                    </a:lnTo>
                    <a:lnTo>
                      <a:pt x="3180" y="4276"/>
                    </a:lnTo>
                    <a:lnTo>
                      <a:pt x="3178" y="4276"/>
                    </a:lnTo>
                    <a:lnTo>
                      <a:pt x="3178" y="4276"/>
                    </a:lnTo>
                    <a:lnTo>
                      <a:pt x="3176" y="4278"/>
                    </a:lnTo>
                    <a:lnTo>
                      <a:pt x="3176" y="4278"/>
                    </a:lnTo>
                    <a:lnTo>
                      <a:pt x="3172" y="4276"/>
                    </a:lnTo>
                    <a:lnTo>
                      <a:pt x="3168" y="4274"/>
                    </a:lnTo>
                    <a:lnTo>
                      <a:pt x="3166" y="4274"/>
                    </a:lnTo>
                    <a:lnTo>
                      <a:pt x="3164" y="4274"/>
                    </a:lnTo>
                    <a:lnTo>
                      <a:pt x="3164" y="4274"/>
                    </a:lnTo>
                    <a:lnTo>
                      <a:pt x="3162" y="4276"/>
                    </a:lnTo>
                    <a:lnTo>
                      <a:pt x="3160" y="4274"/>
                    </a:lnTo>
                    <a:lnTo>
                      <a:pt x="3154" y="4270"/>
                    </a:lnTo>
                    <a:lnTo>
                      <a:pt x="3146" y="4264"/>
                    </a:lnTo>
                    <a:lnTo>
                      <a:pt x="3138" y="4258"/>
                    </a:lnTo>
                    <a:lnTo>
                      <a:pt x="3138" y="4258"/>
                    </a:lnTo>
                    <a:lnTo>
                      <a:pt x="3132" y="4258"/>
                    </a:lnTo>
                    <a:lnTo>
                      <a:pt x="3130" y="4260"/>
                    </a:lnTo>
                    <a:lnTo>
                      <a:pt x="3130" y="4264"/>
                    </a:lnTo>
                    <a:lnTo>
                      <a:pt x="3136" y="4268"/>
                    </a:lnTo>
                    <a:lnTo>
                      <a:pt x="3136" y="4268"/>
                    </a:lnTo>
                    <a:close/>
                    <a:moveTo>
                      <a:pt x="3270" y="4928"/>
                    </a:moveTo>
                    <a:lnTo>
                      <a:pt x="3270" y="4928"/>
                    </a:lnTo>
                    <a:lnTo>
                      <a:pt x="3268" y="4926"/>
                    </a:lnTo>
                    <a:lnTo>
                      <a:pt x="3264" y="4924"/>
                    </a:lnTo>
                    <a:lnTo>
                      <a:pt x="3250" y="4920"/>
                    </a:lnTo>
                    <a:lnTo>
                      <a:pt x="3244" y="4920"/>
                    </a:lnTo>
                    <a:lnTo>
                      <a:pt x="3238" y="4920"/>
                    </a:lnTo>
                    <a:lnTo>
                      <a:pt x="3232" y="4924"/>
                    </a:lnTo>
                    <a:lnTo>
                      <a:pt x="3230" y="4930"/>
                    </a:lnTo>
                    <a:lnTo>
                      <a:pt x="3230" y="4930"/>
                    </a:lnTo>
                    <a:lnTo>
                      <a:pt x="3232" y="4934"/>
                    </a:lnTo>
                    <a:lnTo>
                      <a:pt x="3236" y="4936"/>
                    </a:lnTo>
                    <a:lnTo>
                      <a:pt x="3242" y="4936"/>
                    </a:lnTo>
                    <a:lnTo>
                      <a:pt x="3250" y="4936"/>
                    </a:lnTo>
                    <a:lnTo>
                      <a:pt x="3264" y="4934"/>
                    </a:lnTo>
                    <a:lnTo>
                      <a:pt x="3268" y="4932"/>
                    </a:lnTo>
                    <a:lnTo>
                      <a:pt x="3270" y="4928"/>
                    </a:lnTo>
                    <a:lnTo>
                      <a:pt x="3270" y="4928"/>
                    </a:lnTo>
                    <a:close/>
                    <a:moveTo>
                      <a:pt x="3148" y="4520"/>
                    </a:moveTo>
                    <a:lnTo>
                      <a:pt x="3148" y="4520"/>
                    </a:lnTo>
                    <a:lnTo>
                      <a:pt x="3146" y="4516"/>
                    </a:lnTo>
                    <a:lnTo>
                      <a:pt x="3138" y="4512"/>
                    </a:lnTo>
                    <a:lnTo>
                      <a:pt x="3136" y="4512"/>
                    </a:lnTo>
                    <a:lnTo>
                      <a:pt x="3132" y="4512"/>
                    </a:lnTo>
                    <a:lnTo>
                      <a:pt x="3130" y="4516"/>
                    </a:lnTo>
                    <a:lnTo>
                      <a:pt x="3130" y="4520"/>
                    </a:lnTo>
                    <a:lnTo>
                      <a:pt x="3130" y="4520"/>
                    </a:lnTo>
                    <a:lnTo>
                      <a:pt x="3130" y="4524"/>
                    </a:lnTo>
                    <a:lnTo>
                      <a:pt x="3132" y="4526"/>
                    </a:lnTo>
                    <a:lnTo>
                      <a:pt x="3136" y="4528"/>
                    </a:lnTo>
                    <a:lnTo>
                      <a:pt x="3140" y="4526"/>
                    </a:lnTo>
                    <a:lnTo>
                      <a:pt x="3146" y="4524"/>
                    </a:lnTo>
                    <a:lnTo>
                      <a:pt x="3148" y="4520"/>
                    </a:lnTo>
                    <a:lnTo>
                      <a:pt x="3148" y="4520"/>
                    </a:lnTo>
                    <a:close/>
                    <a:moveTo>
                      <a:pt x="3204" y="4288"/>
                    </a:moveTo>
                    <a:lnTo>
                      <a:pt x="3204" y="4288"/>
                    </a:lnTo>
                    <a:lnTo>
                      <a:pt x="3204" y="4290"/>
                    </a:lnTo>
                    <a:lnTo>
                      <a:pt x="3204" y="4294"/>
                    </a:lnTo>
                    <a:lnTo>
                      <a:pt x="3206" y="4296"/>
                    </a:lnTo>
                    <a:lnTo>
                      <a:pt x="3208" y="4296"/>
                    </a:lnTo>
                    <a:lnTo>
                      <a:pt x="3208" y="4296"/>
                    </a:lnTo>
                    <a:lnTo>
                      <a:pt x="3208" y="4294"/>
                    </a:lnTo>
                    <a:lnTo>
                      <a:pt x="3208" y="4292"/>
                    </a:lnTo>
                    <a:lnTo>
                      <a:pt x="3206" y="4288"/>
                    </a:lnTo>
                    <a:lnTo>
                      <a:pt x="3204" y="4288"/>
                    </a:lnTo>
                    <a:lnTo>
                      <a:pt x="3204" y="4288"/>
                    </a:lnTo>
                    <a:close/>
                    <a:moveTo>
                      <a:pt x="3186" y="4210"/>
                    </a:moveTo>
                    <a:lnTo>
                      <a:pt x="3186" y="4210"/>
                    </a:lnTo>
                    <a:lnTo>
                      <a:pt x="3184" y="4208"/>
                    </a:lnTo>
                    <a:lnTo>
                      <a:pt x="3182" y="4204"/>
                    </a:lnTo>
                    <a:lnTo>
                      <a:pt x="3178" y="4200"/>
                    </a:lnTo>
                    <a:lnTo>
                      <a:pt x="3174" y="4198"/>
                    </a:lnTo>
                    <a:lnTo>
                      <a:pt x="3174" y="4198"/>
                    </a:lnTo>
                    <a:lnTo>
                      <a:pt x="3174" y="4200"/>
                    </a:lnTo>
                    <a:lnTo>
                      <a:pt x="3174" y="4202"/>
                    </a:lnTo>
                    <a:lnTo>
                      <a:pt x="3178" y="4206"/>
                    </a:lnTo>
                    <a:lnTo>
                      <a:pt x="3178" y="4206"/>
                    </a:lnTo>
                    <a:lnTo>
                      <a:pt x="3180" y="4212"/>
                    </a:lnTo>
                    <a:lnTo>
                      <a:pt x="3184" y="4214"/>
                    </a:lnTo>
                    <a:lnTo>
                      <a:pt x="3184" y="4214"/>
                    </a:lnTo>
                    <a:lnTo>
                      <a:pt x="3190" y="4220"/>
                    </a:lnTo>
                    <a:lnTo>
                      <a:pt x="3190" y="4220"/>
                    </a:lnTo>
                    <a:lnTo>
                      <a:pt x="3192" y="4220"/>
                    </a:lnTo>
                    <a:lnTo>
                      <a:pt x="3192" y="4220"/>
                    </a:lnTo>
                    <a:lnTo>
                      <a:pt x="3190" y="4216"/>
                    </a:lnTo>
                    <a:lnTo>
                      <a:pt x="3188" y="4212"/>
                    </a:lnTo>
                    <a:lnTo>
                      <a:pt x="3186" y="4210"/>
                    </a:lnTo>
                    <a:lnTo>
                      <a:pt x="3186" y="4210"/>
                    </a:lnTo>
                    <a:close/>
                    <a:moveTo>
                      <a:pt x="3250" y="5238"/>
                    </a:moveTo>
                    <a:lnTo>
                      <a:pt x="3250" y="5238"/>
                    </a:lnTo>
                    <a:lnTo>
                      <a:pt x="3240" y="5236"/>
                    </a:lnTo>
                    <a:lnTo>
                      <a:pt x="3236" y="5234"/>
                    </a:lnTo>
                    <a:lnTo>
                      <a:pt x="3236" y="5234"/>
                    </a:lnTo>
                    <a:lnTo>
                      <a:pt x="3234" y="5234"/>
                    </a:lnTo>
                    <a:lnTo>
                      <a:pt x="3232" y="5242"/>
                    </a:lnTo>
                    <a:lnTo>
                      <a:pt x="3232" y="5242"/>
                    </a:lnTo>
                    <a:lnTo>
                      <a:pt x="3230" y="5250"/>
                    </a:lnTo>
                    <a:lnTo>
                      <a:pt x="3232" y="5250"/>
                    </a:lnTo>
                    <a:lnTo>
                      <a:pt x="3234" y="5250"/>
                    </a:lnTo>
                    <a:lnTo>
                      <a:pt x="3244" y="5248"/>
                    </a:lnTo>
                    <a:lnTo>
                      <a:pt x="3256" y="5248"/>
                    </a:lnTo>
                    <a:lnTo>
                      <a:pt x="3256" y="5248"/>
                    </a:lnTo>
                    <a:lnTo>
                      <a:pt x="3260" y="5246"/>
                    </a:lnTo>
                    <a:lnTo>
                      <a:pt x="3262" y="5246"/>
                    </a:lnTo>
                    <a:lnTo>
                      <a:pt x="3264" y="5244"/>
                    </a:lnTo>
                    <a:lnTo>
                      <a:pt x="3262" y="5242"/>
                    </a:lnTo>
                    <a:lnTo>
                      <a:pt x="3258" y="5238"/>
                    </a:lnTo>
                    <a:lnTo>
                      <a:pt x="3254" y="5236"/>
                    </a:lnTo>
                    <a:lnTo>
                      <a:pt x="3250" y="5238"/>
                    </a:lnTo>
                    <a:lnTo>
                      <a:pt x="3250" y="5238"/>
                    </a:lnTo>
                    <a:close/>
                    <a:moveTo>
                      <a:pt x="3160" y="4332"/>
                    </a:moveTo>
                    <a:lnTo>
                      <a:pt x="3160" y="4332"/>
                    </a:lnTo>
                    <a:lnTo>
                      <a:pt x="3162" y="4332"/>
                    </a:lnTo>
                    <a:lnTo>
                      <a:pt x="3166" y="4328"/>
                    </a:lnTo>
                    <a:lnTo>
                      <a:pt x="3168" y="4322"/>
                    </a:lnTo>
                    <a:lnTo>
                      <a:pt x="3166" y="4318"/>
                    </a:lnTo>
                    <a:lnTo>
                      <a:pt x="3166" y="4318"/>
                    </a:lnTo>
                    <a:lnTo>
                      <a:pt x="3164" y="4318"/>
                    </a:lnTo>
                    <a:lnTo>
                      <a:pt x="3162" y="4320"/>
                    </a:lnTo>
                    <a:lnTo>
                      <a:pt x="3160" y="4322"/>
                    </a:lnTo>
                    <a:lnTo>
                      <a:pt x="3160" y="4326"/>
                    </a:lnTo>
                    <a:lnTo>
                      <a:pt x="3160" y="4326"/>
                    </a:lnTo>
                    <a:lnTo>
                      <a:pt x="3160" y="4328"/>
                    </a:lnTo>
                    <a:lnTo>
                      <a:pt x="3158" y="4328"/>
                    </a:lnTo>
                    <a:lnTo>
                      <a:pt x="3158" y="4330"/>
                    </a:lnTo>
                    <a:lnTo>
                      <a:pt x="3160" y="4332"/>
                    </a:lnTo>
                    <a:lnTo>
                      <a:pt x="3160" y="4332"/>
                    </a:lnTo>
                    <a:close/>
                    <a:moveTo>
                      <a:pt x="3190" y="5244"/>
                    </a:moveTo>
                    <a:lnTo>
                      <a:pt x="3190" y="5244"/>
                    </a:lnTo>
                    <a:lnTo>
                      <a:pt x="3188" y="5242"/>
                    </a:lnTo>
                    <a:lnTo>
                      <a:pt x="3186" y="5240"/>
                    </a:lnTo>
                    <a:lnTo>
                      <a:pt x="3182" y="5242"/>
                    </a:lnTo>
                    <a:lnTo>
                      <a:pt x="3178" y="5244"/>
                    </a:lnTo>
                    <a:lnTo>
                      <a:pt x="3178" y="5244"/>
                    </a:lnTo>
                    <a:lnTo>
                      <a:pt x="3176" y="5248"/>
                    </a:lnTo>
                    <a:lnTo>
                      <a:pt x="3178" y="5248"/>
                    </a:lnTo>
                    <a:lnTo>
                      <a:pt x="3184" y="5248"/>
                    </a:lnTo>
                    <a:lnTo>
                      <a:pt x="3184" y="5248"/>
                    </a:lnTo>
                    <a:lnTo>
                      <a:pt x="3188" y="5248"/>
                    </a:lnTo>
                    <a:lnTo>
                      <a:pt x="3190" y="5244"/>
                    </a:lnTo>
                    <a:lnTo>
                      <a:pt x="3190" y="5244"/>
                    </a:lnTo>
                    <a:close/>
                    <a:moveTo>
                      <a:pt x="3176" y="5252"/>
                    </a:moveTo>
                    <a:lnTo>
                      <a:pt x="3176" y="5252"/>
                    </a:lnTo>
                    <a:lnTo>
                      <a:pt x="3172" y="5254"/>
                    </a:lnTo>
                    <a:lnTo>
                      <a:pt x="3172" y="5256"/>
                    </a:lnTo>
                    <a:lnTo>
                      <a:pt x="3176" y="5258"/>
                    </a:lnTo>
                    <a:lnTo>
                      <a:pt x="3180" y="5254"/>
                    </a:lnTo>
                    <a:lnTo>
                      <a:pt x="3180" y="5254"/>
                    </a:lnTo>
                    <a:lnTo>
                      <a:pt x="3182" y="5252"/>
                    </a:lnTo>
                    <a:lnTo>
                      <a:pt x="3182" y="5250"/>
                    </a:lnTo>
                    <a:lnTo>
                      <a:pt x="3176" y="5252"/>
                    </a:lnTo>
                    <a:lnTo>
                      <a:pt x="3176" y="5252"/>
                    </a:lnTo>
                    <a:close/>
                    <a:moveTo>
                      <a:pt x="3224" y="5242"/>
                    </a:moveTo>
                    <a:lnTo>
                      <a:pt x="3224" y="5242"/>
                    </a:lnTo>
                    <a:lnTo>
                      <a:pt x="3220" y="5246"/>
                    </a:lnTo>
                    <a:lnTo>
                      <a:pt x="3218" y="5246"/>
                    </a:lnTo>
                    <a:lnTo>
                      <a:pt x="3216" y="5244"/>
                    </a:lnTo>
                    <a:lnTo>
                      <a:pt x="3214" y="5248"/>
                    </a:lnTo>
                    <a:lnTo>
                      <a:pt x="3214" y="5248"/>
                    </a:lnTo>
                    <a:lnTo>
                      <a:pt x="3214" y="5250"/>
                    </a:lnTo>
                    <a:lnTo>
                      <a:pt x="3216" y="5254"/>
                    </a:lnTo>
                    <a:lnTo>
                      <a:pt x="3220" y="5256"/>
                    </a:lnTo>
                    <a:lnTo>
                      <a:pt x="3222" y="5254"/>
                    </a:lnTo>
                    <a:lnTo>
                      <a:pt x="3224" y="5252"/>
                    </a:lnTo>
                    <a:lnTo>
                      <a:pt x="3224" y="5252"/>
                    </a:lnTo>
                    <a:lnTo>
                      <a:pt x="3228" y="5246"/>
                    </a:lnTo>
                    <a:lnTo>
                      <a:pt x="3228" y="5240"/>
                    </a:lnTo>
                    <a:lnTo>
                      <a:pt x="3228" y="5238"/>
                    </a:lnTo>
                    <a:lnTo>
                      <a:pt x="3226" y="5238"/>
                    </a:lnTo>
                    <a:lnTo>
                      <a:pt x="3224" y="5242"/>
                    </a:lnTo>
                    <a:lnTo>
                      <a:pt x="3224" y="5242"/>
                    </a:lnTo>
                    <a:close/>
                    <a:moveTo>
                      <a:pt x="3202" y="5252"/>
                    </a:moveTo>
                    <a:lnTo>
                      <a:pt x="3202" y="5252"/>
                    </a:lnTo>
                    <a:lnTo>
                      <a:pt x="3204" y="5250"/>
                    </a:lnTo>
                    <a:lnTo>
                      <a:pt x="3206" y="5248"/>
                    </a:lnTo>
                    <a:lnTo>
                      <a:pt x="3206" y="5246"/>
                    </a:lnTo>
                    <a:lnTo>
                      <a:pt x="3210" y="5244"/>
                    </a:lnTo>
                    <a:lnTo>
                      <a:pt x="3210" y="5244"/>
                    </a:lnTo>
                    <a:lnTo>
                      <a:pt x="3212" y="5240"/>
                    </a:lnTo>
                    <a:lnTo>
                      <a:pt x="3212" y="5240"/>
                    </a:lnTo>
                    <a:lnTo>
                      <a:pt x="3208" y="5240"/>
                    </a:lnTo>
                    <a:lnTo>
                      <a:pt x="3208" y="5240"/>
                    </a:lnTo>
                    <a:lnTo>
                      <a:pt x="3198" y="5240"/>
                    </a:lnTo>
                    <a:lnTo>
                      <a:pt x="3194" y="5242"/>
                    </a:lnTo>
                    <a:lnTo>
                      <a:pt x="3194" y="5246"/>
                    </a:lnTo>
                    <a:lnTo>
                      <a:pt x="3194" y="5246"/>
                    </a:lnTo>
                    <a:lnTo>
                      <a:pt x="3194" y="5248"/>
                    </a:lnTo>
                    <a:lnTo>
                      <a:pt x="3194" y="5248"/>
                    </a:lnTo>
                    <a:lnTo>
                      <a:pt x="3188" y="5254"/>
                    </a:lnTo>
                    <a:lnTo>
                      <a:pt x="3188" y="5254"/>
                    </a:lnTo>
                    <a:lnTo>
                      <a:pt x="3184" y="5256"/>
                    </a:lnTo>
                    <a:lnTo>
                      <a:pt x="3186" y="5256"/>
                    </a:lnTo>
                    <a:lnTo>
                      <a:pt x="3196" y="5258"/>
                    </a:lnTo>
                    <a:lnTo>
                      <a:pt x="3196" y="5258"/>
                    </a:lnTo>
                    <a:lnTo>
                      <a:pt x="3200" y="5256"/>
                    </a:lnTo>
                    <a:lnTo>
                      <a:pt x="3200" y="5256"/>
                    </a:lnTo>
                    <a:lnTo>
                      <a:pt x="3200" y="5254"/>
                    </a:lnTo>
                    <a:lnTo>
                      <a:pt x="3202" y="5252"/>
                    </a:lnTo>
                    <a:lnTo>
                      <a:pt x="3202" y="5252"/>
                    </a:lnTo>
                    <a:close/>
                    <a:moveTo>
                      <a:pt x="3244" y="4390"/>
                    </a:moveTo>
                    <a:lnTo>
                      <a:pt x="3244" y="4390"/>
                    </a:lnTo>
                    <a:lnTo>
                      <a:pt x="3242" y="4392"/>
                    </a:lnTo>
                    <a:lnTo>
                      <a:pt x="3242" y="4394"/>
                    </a:lnTo>
                    <a:lnTo>
                      <a:pt x="3246" y="4396"/>
                    </a:lnTo>
                    <a:lnTo>
                      <a:pt x="3250" y="4396"/>
                    </a:lnTo>
                    <a:lnTo>
                      <a:pt x="3250" y="4396"/>
                    </a:lnTo>
                    <a:lnTo>
                      <a:pt x="3252" y="4394"/>
                    </a:lnTo>
                    <a:lnTo>
                      <a:pt x="3250" y="4392"/>
                    </a:lnTo>
                    <a:lnTo>
                      <a:pt x="3246" y="4390"/>
                    </a:lnTo>
                    <a:lnTo>
                      <a:pt x="3244" y="4390"/>
                    </a:lnTo>
                    <a:lnTo>
                      <a:pt x="3244" y="4390"/>
                    </a:lnTo>
                    <a:close/>
                    <a:moveTo>
                      <a:pt x="3228" y="4278"/>
                    </a:moveTo>
                    <a:lnTo>
                      <a:pt x="3228" y="4278"/>
                    </a:lnTo>
                    <a:lnTo>
                      <a:pt x="3228" y="4280"/>
                    </a:lnTo>
                    <a:lnTo>
                      <a:pt x="3230" y="4284"/>
                    </a:lnTo>
                    <a:lnTo>
                      <a:pt x="3234" y="4290"/>
                    </a:lnTo>
                    <a:lnTo>
                      <a:pt x="3234" y="4294"/>
                    </a:lnTo>
                    <a:lnTo>
                      <a:pt x="3234" y="4294"/>
                    </a:lnTo>
                    <a:lnTo>
                      <a:pt x="3232" y="4298"/>
                    </a:lnTo>
                    <a:lnTo>
                      <a:pt x="3234" y="4300"/>
                    </a:lnTo>
                    <a:lnTo>
                      <a:pt x="3234" y="4302"/>
                    </a:lnTo>
                    <a:lnTo>
                      <a:pt x="3232" y="4304"/>
                    </a:lnTo>
                    <a:lnTo>
                      <a:pt x="3232" y="4304"/>
                    </a:lnTo>
                    <a:lnTo>
                      <a:pt x="3232" y="4306"/>
                    </a:lnTo>
                    <a:lnTo>
                      <a:pt x="3232" y="4306"/>
                    </a:lnTo>
                    <a:lnTo>
                      <a:pt x="3234" y="4308"/>
                    </a:lnTo>
                    <a:lnTo>
                      <a:pt x="3238" y="4308"/>
                    </a:lnTo>
                    <a:lnTo>
                      <a:pt x="3240" y="4306"/>
                    </a:lnTo>
                    <a:lnTo>
                      <a:pt x="3240" y="4306"/>
                    </a:lnTo>
                    <a:lnTo>
                      <a:pt x="3240" y="4304"/>
                    </a:lnTo>
                    <a:lnTo>
                      <a:pt x="3242" y="4304"/>
                    </a:lnTo>
                    <a:lnTo>
                      <a:pt x="3246" y="4308"/>
                    </a:lnTo>
                    <a:lnTo>
                      <a:pt x="3248" y="4314"/>
                    </a:lnTo>
                    <a:lnTo>
                      <a:pt x="3248" y="4318"/>
                    </a:lnTo>
                    <a:lnTo>
                      <a:pt x="3248" y="4322"/>
                    </a:lnTo>
                    <a:lnTo>
                      <a:pt x="3248" y="4322"/>
                    </a:lnTo>
                    <a:lnTo>
                      <a:pt x="3246" y="4328"/>
                    </a:lnTo>
                    <a:lnTo>
                      <a:pt x="3248" y="4332"/>
                    </a:lnTo>
                    <a:lnTo>
                      <a:pt x="3248" y="4334"/>
                    </a:lnTo>
                    <a:lnTo>
                      <a:pt x="3248" y="4338"/>
                    </a:lnTo>
                    <a:lnTo>
                      <a:pt x="3248" y="4338"/>
                    </a:lnTo>
                    <a:lnTo>
                      <a:pt x="3246" y="4342"/>
                    </a:lnTo>
                    <a:lnTo>
                      <a:pt x="3248" y="4344"/>
                    </a:lnTo>
                    <a:lnTo>
                      <a:pt x="3256" y="4348"/>
                    </a:lnTo>
                    <a:lnTo>
                      <a:pt x="3256" y="4348"/>
                    </a:lnTo>
                    <a:lnTo>
                      <a:pt x="3258" y="4350"/>
                    </a:lnTo>
                    <a:lnTo>
                      <a:pt x="3258" y="4350"/>
                    </a:lnTo>
                    <a:lnTo>
                      <a:pt x="3258" y="4344"/>
                    </a:lnTo>
                    <a:lnTo>
                      <a:pt x="3256" y="4338"/>
                    </a:lnTo>
                    <a:lnTo>
                      <a:pt x="3256" y="4336"/>
                    </a:lnTo>
                    <a:lnTo>
                      <a:pt x="3256" y="4334"/>
                    </a:lnTo>
                    <a:lnTo>
                      <a:pt x="3256" y="4334"/>
                    </a:lnTo>
                    <a:lnTo>
                      <a:pt x="3258" y="4336"/>
                    </a:lnTo>
                    <a:lnTo>
                      <a:pt x="3260" y="4342"/>
                    </a:lnTo>
                    <a:lnTo>
                      <a:pt x="3262" y="4348"/>
                    </a:lnTo>
                    <a:lnTo>
                      <a:pt x="3266" y="4354"/>
                    </a:lnTo>
                    <a:lnTo>
                      <a:pt x="3266" y="4354"/>
                    </a:lnTo>
                    <a:lnTo>
                      <a:pt x="3270" y="4356"/>
                    </a:lnTo>
                    <a:lnTo>
                      <a:pt x="3270" y="4354"/>
                    </a:lnTo>
                    <a:lnTo>
                      <a:pt x="3266" y="4344"/>
                    </a:lnTo>
                    <a:lnTo>
                      <a:pt x="3266" y="4344"/>
                    </a:lnTo>
                    <a:lnTo>
                      <a:pt x="3264" y="4342"/>
                    </a:lnTo>
                    <a:lnTo>
                      <a:pt x="3266" y="4342"/>
                    </a:lnTo>
                    <a:lnTo>
                      <a:pt x="3268" y="4340"/>
                    </a:lnTo>
                    <a:lnTo>
                      <a:pt x="3270" y="4338"/>
                    </a:lnTo>
                    <a:lnTo>
                      <a:pt x="3268" y="4332"/>
                    </a:lnTo>
                    <a:lnTo>
                      <a:pt x="3268" y="4332"/>
                    </a:lnTo>
                    <a:lnTo>
                      <a:pt x="3266" y="4330"/>
                    </a:lnTo>
                    <a:lnTo>
                      <a:pt x="3266" y="4326"/>
                    </a:lnTo>
                    <a:lnTo>
                      <a:pt x="3264" y="4322"/>
                    </a:lnTo>
                    <a:lnTo>
                      <a:pt x="3260" y="4318"/>
                    </a:lnTo>
                    <a:lnTo>
                      <a:pt x="3260" y="4318"/>
                    </a:lnTo>
                    <a:lnTo>
                      <a:pt x="3260" y="4316"/>
                    </a:lnTo>
                    <a:lnTo>
                      <a:pt x="3258" y="4312"/>
                    </a:lnTo>
                    <a:lnTo>
                      <a:pt x="3258" y="4304"/>
                    </a:lnTo>
                    <a:lnTo>
                      <a:pt x="3258" y="4296"/>
                    </a:lnTo>
                    <a:lnTo>
                      <a:pt x="3258" y="4294"/>
                    </a:lnTo>
                    <a:lnTo>
                      <a:pt x="3256" y="4292"/>
                    </a:lnTo>
                    <a:lnTo>
                      <a:pt x="3256" y="4292"/>
                    </a:lnTo>
                    <a:lnTo>
                      <a:pt x="3254" y="4290"/>
                    </a:lnTo>
                    <a:lnTo>
                      <a:pt x="3256" y="4288"/>
                    </a:lnTo>
                    <a:lnTo>
                      <a:pt x="3256" y="4284"/>
                    </a:lnTo>
                    <a:lnTo>
                      <a:pt x="3252" y="4284"/>
                    </a:lnTo>
                    <a:lnTo>
                      <a:pt x="3252" y="4284"/>
                    </a:lnTo>
                    <a:lnTo>
                      <a:pt x="3248" y="4284"/>
                    </a:lnTo>
                    <a:lnTo>
                      <a:pt x="3246" y="4286"/>
                    </a:lnTo>
                    <a:lnTo>
                      <a:pt x="3244" y="4288"/>
                    </a:lnTo>
                    <a:lnTo>
                      <a:pt x="3240" y="4286"/>
                    </a:lnTo>
                    <a:lnTo>
                      <a:pt x="3240" y="4286"/>
                    </a:lnTo>
                    <a:lnTo>
                      <a:pt x="3234" y="4280"/>
                    </a:lnTo>
                    <a:lnTo>
                      <a:pt x="3230" y="4278"/>
                    </a:lnTo>
                    <a:lnTo>
                      <a:pt x="3228" y="4278"/>
                    </a:lnTo>
                    <a:lnTo>
                      <a:pt x="3228" y="4278"/>
                    </a:lnTo>
                    <a:close/>
                    <a:moveTo>
                      <a:pt x="3292" y="3100"/>
                    </a:moveTo>
                    <a:lnTo>
                      <a:pt x="3292" y="3100"/>
                    </a:lnTo>
                    <a:lnTo>
                      <a:pt x="3294" y="3100"/>
                    </a:lnTo>
                    <a:lnTo>
                      <a:pt x="3294" y="3100"/>
                    </a:lnTo>
                    <a:lnTo>
                      <a:pt x="3296" y="3094"/>
                    </a:lnTo>
                    <a:lnTo>
                      <a:pt x="3296" y="3094"/>
                    </a:lnTo>
                    <a:lnTo>
                      <a:pt x="3296" y="3092"/>
                    </a:lnTo>
                    <a:lnTo>
                      <a:pt x="3294" y="3094"/>
                    </a:lnTo>
                    <a:lnTo>
                      <a:pt x="3292" y="3096"/>
                    </a:lnTo>
                    <a:lnTo>
                      <a:pt x="3292" y="3100"/>
                    </a:lnTo>
                    <a:lnTo>
                      <a:pt x="3292" y="3100"/>
                    </a:lnTo>
                    <a:close/>
                    <a:moveTo>
                      <a:pt x="3208" y="4238"/>
                    </a:moveTo>
                    <a:lnTo>
                      <a:pt x="3208" y="4238"/>
                    </a:lnTo>
                    <a:lnTo>
                      <a:pt x="3210" y="4234"/>
                    </a:lnTo>
                    <a:lnTo>
                      <a:pt x="3208" y="4228"/>
                    </a:lnTo>
                    <a:lnTo>
                      <a:pt x="3204" y="4224"/>
                    </a:lnTo>
                    <a:lnTo>
                      <a:pt x="3202" y="4222"/>
                    </a:lnTo>
                    <a:lnTo>
                      <a:pt x="3202" y="4222"/>
                    </a:lnTo>
                    <a:lnTo>
                      <a:pt x="3200" y="4222"/>
                    </a:lnTo>
                    <a:lnTo>
                      <a:pt x="3200" y="4224"/>
                    </a:lnTo>
                    <a:lnTo>
                      <a:pt x="3204" y="4230"/>
                    </a:lnTo>
                    <a:lnTo>
                      <a:pt x="3208" y="4238"/>
                    </a:lnTo>
                    <a:lnTo>
                      <a:pt x="3208" y="4238"/>
                    </a:lnTo>
                    <a:close/>
                    <a:moveTo>
                      <a:pt x="3164" y="4238"/>
                    </a:moveTo>
                    <a:lnTo>
                      <a:pt x="3164" y="4238"/>
                    </a:lnTo>
                    <a:lnTo>
                      <a:pt x="3164" y="4232"/>
                    </a:lnTo>
                    <a:lnTo>
                      <a:pt x="3162" y="4230"/>
                    </a:lnTo>
                    <a:lnTo>
                      <a:pt x="3158" y="4230"/>
                    </a:lnTo>
                    <a:lnTo>
                      <a:pt x="3154" y="4232"/>
                    </a:lnTo>
                    <a:lnTo>
                      <a:pt x="3154" y="4232"/>
                    </a:lnTo>
                    <a:lnTo>
                      <a:pt x="3152" y="4232"/>
                    </a:lnTo>
                    <a:lnTo>
                      <a:pt x="3154" y="4234"/>
                    </a:lnTo>
                    <a:lnTo>
                      <a:pt x="3156" y="4236"/>
                    </a:lnTo>
                    <a:lnTo>
                      <a:pt x="3156" y="4236"/>
                    </a:lnTo>
                    <a:lnTo>
                      <a:pt x="3160" y="4240"/>
                    </a:lnTo>
                    <a:lnTo>
                      <a:pt x="3162" y="4240"/>
                    </a:lnTo>
                    <a:lnTo>
                      <a:pt x="3164" y="4238"/>
                    </a:lnTo>
                    <a:lnTo>
                      <a:pt x="3164" y="4238"/>
                    </a:lnTo>
                    <a:close/>
                    <a:moveTo>
                      <a:pt x="3196" y="4228"/>
                    </a:moveTo>
                    <a:lnTo>
                      <a:pt x="3196" y="4228"/>
                    </a:lnTo>
                    <a:lnTo>
                      <a:pt x="3192" y="4228"/>
                    </a:lnTo>
                    <a:lnTo>
                      <a:pt x="3190" y="4228"/>
                    </a:lnTo>
                    <a:lnTo>
                      <a:pt x="3188" y="4228"/>
                    </a:lnTo>
                    <a:lnTo>
                      <a:pt x="3186" y="4232"/>
                    </a:lnTo>
                    <a:lnTo>
                      <a:pt x="3186" y="4232"/>
                    </a:lnTo>
                    <a:lnTo>
                      <a:pt x="3188" y="4238"/>
                    </a:lnTo>
                    <a:lnTo>
                      <a:pt x="3186" y="4242"/>
                    </a:lnTo>
                    <a:lnTo>
                      <a:pt x="3182" y="4256"/>
                    </a:lnTo>
                    <a:lnTo>
                      <a:pt x="3182" y="4256"/>
                    </a:lnTo>
                    <a:lnTo>
                      <a:pt x="3182" y="4258"/>
                    </a:lnTo>
                    <a:lnTo>
                      <a:pt x="3184" y="4258"/>
                    </a:lnTo>
                    <a:lnTo>
                      <a:pt x="3186" y="4254"/>
                    </a:lnTo>
                    <a:lnTo>
                      <a:pt x="3196" y="4244"/>
                    </a:lnTo>
                    <a:lnTo>
                      <a:pt x="3196" y="4244"/>
                    </a:lnTo>
                    <a:lnTo>
                      <a:pt x="3198" y="4244"/>
                    </a:lnTo>
                    <a:lnTo>
                      <a:pt x="3200" y="4244"/>
                    </a:lnTo>
                    <a:lnTo>
                      <a:pt x="3202" y="4250"/>
                    </a:lnTo>
                    <a:lnTo>
                      <a:pt x="3204" y="4256"/>
                    </a:lnTo>
                    <a:lnTo>
                      <a:pt x="3206" y="4258"/>
                    </a:lnTo>
                    <a:lnTo>
                      <a:pt x="3208" y="4260"/>
                    </a:lnTo>
                    <a:lnTo>
                      <a:pt x="3208" y="4260"/>
                    </a:lnTo>
                    <a:lnTo>
                      <a:pt x="3212" y="4262"/>
                    </a:lnTo>
                    <a:lnTo>
                      <a:pt x="3218" y="4266"/>
                    </a:lnTo>
                    <a:lnTo>
                      <a:pt x="3222" y="4268"/>
                    </a:lnTo>
                    <a:lnTo>
                      <a:pt x="3220" y="4264"/>
                    </a:lnTo>
                    <a:lnTo>
                      <a:pt x="3220" y="4264"/>
                    </a:lnTo>
                    <a:lnTo>
                      <a:pt x="3218" y="4258"/>
                    </a:lnTo>
                    <a:lnTo>
                      <a:pt x="3216" y="4252"/>
                    </a:lnTo>
                    <a:lnTo>
                      <a:pt x="3214" y="4246"/>
                    </a:lnTo>
                    <a:lnTo>
                      <a:pt x="3210" y="4242"/>
                    </a:lnTo>
                    <a:lnTo>
                      <a:pt x="3210" y="4242"/>
                    </a:lnTo>
                    <a:lnTo>
                      <a:pt x="3206" y="4240"/>
                    </a:lnTo>
                    <a:lnTo>
                      <a:pt x="3202" y="4234"/>
                    </a:lnTo>
                    <a:lnTo>
                      <a:pt x="3198" y="4230"/>
                    </a:lnTo>
                    <a:lnTo>
                      <a:pt x="3196" y="4228"/>
                    </a:lnTo>
                    <a:lnTo>
                      <a:pt x="3196" y="4228"/>
                    </a:lnTo>
                    <a:close/>
                    <a:moveTo>
                      <a:pt x="3152" y="5104"/>
                    </a:moveTo>
                    <a:lnTo>
                      <a:pt x="3152" y="5104"/>
                    </a:lnTo>
                    <a:lnTo>
                      <a:pt x="3160" y="5100"/>
                    </a:lnTo>
                    <a:lnTo>
                      <a:pt x="3162" y="5098"/>
                    </a:lnTo>
                    <a:lnTo>
                      <a:pt x="3162" y="5094"/>
                    </a:lnTo>
                    <a:lnTo>
                      <a:pt x="3162" y="5094"/>
                    </a:lnTo>
                    <a:lnTo>
                      <a:pt x="3160" y="5090"/>
                    </a:lnTo>
                    <a:lnTo>
                      <a:pt x="3162" y="5084"/>
                    </a:lnTo>
                    <a:lnTo>
                      <a:pt x="3164" y="5078"/>
                    </a:lnTo>
                    <a:lnTo>
                      <a:pt x="3166" y="5070"/>
                    </a:lnTo>
                    <a:lnTo>
                      <a:pt x="3166" y="5070"/>
                    </a:lnTo>
                    <a:lnTo>
                      <a:pt x="3164" y="5066"/>
                    </a:lnTo>
                    <a:lnTo>
                      <a:pt x="3164" y="5064"/>
                    </a:lnTo>
                    <a:lnTo>
                      <a:pt x="3160" y="5064"/>
                    </a:lnTo>
                    <a:lnTo>
                      <a:pt x="3158" y="5064"/>
                    </a:lnTo>
                    <a:lnTo>
                      <a:pt x="3152" y="5070"/>
                    </a:lnTo>
                    <a:lnTo>
                      <a:pt x="3150" y="5074"/>
                    </a:lnTo>
                    <a:lnTo>
                      <a:pt x="3150" y="5078"/>
                    </a:lnTo>
                    <a:lnTo>
                      <a:pt x="3150" y="5078"/>
                    </a:lnTo>
                    <a:lnTo>
                      <a:pt x="3150" y="5090"/>
                    </a:lnTo>
                    <a:lnTo>
                      <a:pt x="3148" y="5098"/>
                    </a:lnTo>
                    <a:lnTo>
                      <a:pt x="3148" y="5104"/>
                    </a:lnTo>
                    <a:lnTo>
                      <a:pt x="3148" y="5106"/>
                    </a:lnTo>
                    <a:lnTo>
                      <a:pt x="3152" y="5104"/>
                    </a:lnTo>
                    <a:lnTo>
                      <a:pt x="3152" y="5104"/>
                    </a:lnTo>
                    <a:close/>
                    <a:moveTo>
                      <a:pt x="3192" y="4332"/>
                    </a:moveTo>
                    <a:lnTo>
                      <a:pt x="3192" y="4332"/>
                    </a:lnTo>
                    <a:lnTo>
                      <a:pt x="3198" y="4322"/>
                    </a:lnTo>
                    <a:lnTo>
                      <a:pt x="3198" y="4314"/>
                    </a:lnTo>
                    <a:lnTo>
                      <a:pt x="3196" y="4308"/>
                    </a:lnTo>
                    <a:lnTo>
                      <a:pt x="3196" y="4306"/>
                    </a:lnTo>
                    <a:lnTo>
                      <a:pt x="3192" y="4306"/>
                    </a:lnTo>
                    <a:lnTo>
                      <a:pt x="3192" y="4306"/>
                    </a:lnTo>
                    <a:lnTo>
                      <a:pt x="3190" y="4304"/>
                    </a:lnTo>
                    <a:lnTo>
                      <a:pt x="3186" y="4304"/>
                    </a:lnTo>
                    <a:lnTo>
                      <a:pt x="3184" y="4304"/>
                    </a:lnTo>
                    <a:lnTo>
                      <a:pt x="3178" y="4306"/>
                    </a:lnTo>
                    <a:lnTo>
                      <a:pt x="3178" y="4306"/>
                    </a:lnTo>
                    <a:lnTo>
                      <a:pt x="3176" y="4310"/>
                    </a:lnTo>
                    <a:lnTo>
                      <a:pt x="3174" y="4312"/>
                    </a:lnTo>
                    <a:lnTo>
                      <a:pt x="3174" y="4316"/>
                    </a:lnTo>
                    <a:lnTo>
                      <a:pt x="3176" y="4320"/>
                    </a:lnTo>
                    <a:lnTo>
                      <a:pt x="3174" y="4322"/>
                    </a:lnTo>
                    <a:lnTo>
                      <a:pt x="3172" y="4324"/>
                    </a:lnTo>
                    <a:lnTo>
                      <a:pt x="3172" y="4324"/>
                    </a:lnTo>
                    <a:lnTo>
                      <a:pt x="3170" y="4326"/>
                    </a:lnTo>
                    <a:lnTo>
                      <a:pt x="3170" y="4330"/>
                    </a:lnTo>
                    <a:lnTo>
                      <a:pt x="3172" y="4336"/>
                    </a:lnTo>
                    <a:lnTo>
                      <a:pt x="3172" y="4344"/>
                    </a:lnTo>
                    <a:lnTo>
                      <a:pt x="3172" y="4348"/>
                    </a:lnTo>
                    <a:lnTo>
                      <a:pt x="3168" y="4352"/>
                    </a:lnTo>
                    <a:lnTo>
                      <a:pt x="3168" y="4352"/>
                    </a:lnTo>
                    <a:lnTo>
                      <a:pt x="3164" y="4354"/>
                    </a:lnTo>
                    <a:lnTo>
                      <a:pt x="3162" y="4354"/>
                    </a:lnTo>
                    <a:lnTo>
                      <a:pt x="3158" y="4352"/>
                    </a:lnTo>
                    <a:lnTo>
                      <a:pt x="3154" y="4352"/>
                    </a:lnTo>
                    <a:lnTo>
                      <a:pt x="3152" y="4358"/>
                    </a:lnTo>
                    <a:lnTo>
                      <a:pt x="3152" y="4358"/>
                    </a:lnTo>
                    <a:lnTo>
                      <a:pt x="3152" y="4364"/>
                    </a:lnTo>
                    <a:lnTo>
                      <a:pt x="3156" y="4372"/>
                    </a:lnTo>
                    <a:lnTo>
                      <a:pt x="3156" y="4372"/>
                    </a:lnTo>
                    <a:lnTo>
                      <a:pt x="3162" y="4380"/>
                    </a:lnTo>
                    <a:lnTo>
                      <a:pt x="3166" y="4382"/>
                    </a:lnTo>
                    <a:lnTo>
                      <a:pt x="3170" y="4384"/>
                    </a:lnTo>
                    <a:lnTo>
                      <a:pt x="3172" y="4392"/>
                    </a:lnTo>
                    <a:lnTo>
                      <a:pt x="3172" y="4392"/>
                    </a:lnTo>
                    <a:lnTo>
                      <a:pt x="3176" y="4398"/>
                    </a:lnTo>
                    <a:lnTo>
                      <a:pt x="3178" y="4400"/>
                    </a:lnTo>
                    <a:lnTo>
                      <a:pt x="3180" y="4400"/>
                    </a:lnTo>
                    <a:lnTo>
                      <a:pt x="3184" y="4396"/>
                    </a:lnTo>
                    <a:lnTo>
                      <a:pt x="3188" y="4392"/>
                    </a:lnTo>
                    <a:lnTo>
                      <a:pt x="3188" y="4392"/>
                    </a:lnTo>
                    <a:lnTo>
                      <a:pt x="3190" y="4388"/>
                    </a:lnTo>
                    <a:lnTo>
                      <a:pt x="3190" y="4384"/>
                    </a:lnTo>
                    <a:lnTo>
                      <a:pt x="3186" y="4376"/>
                    </a:lnTo>
                    <a:lnTo>
                      <a:pt x="3182" y="4364"/>
                    </a:lnTo>
                    <a:lnTo>
                      <a:pt x="3182" y="4360"/>
                    </a:lnTo>
                    <a:lnTo>
                      <a:pt x="3184" y="4356"/>
                    </a:lnTo>
                    <a:lnTo>
                      <a:pt x="3184" y="4356"/>
                    </a:lnTo>
                    <a:lnTo>
                      <a:pt x="3188" y="4348"/>
                    </a:lnTo>
                    <a:lnTo>
                      <a:pt x="3188" y="4344"/>
                    </a:lnTo>
                    <a:lnTo>
                      <a:pt x="3190" y="4338"/>
                    </a:lnTo>
                    <a:lnTo>
                      <a:pt x="3192" y="4332"/>
                    </a:lnTo>
                    <a:lnTo>
                      <a:pt x="3192" y="4332"/>
                    </a:lnTo>
                    <a:close/>
                    <a:moveTo>
                      <a:pt x="3202" y="4390"/>
                    </a:moveTo>
                    <a:lnTo>
                      <a:pt x="3202" y="4390"/>
                    </a:lnTo>
                    <a:lnTo>
                      <a:pt x="3200" y="4392"/>
                    </a:lnTo>
                    <a:lnTo>
                      <a:pt x="3196" y="4392"/>
                    </a:lnTo>
                    <a:lnTo>
                      <a:pt x="3196" y="4392"/>
                    </a:lnTo>
                    <a:lnTo>
                      <a:pt x="3196" y="4392"/>
                    </a:lnTo>
                    <a:lnTo>
                      <a:pt x="3198" y="4394"/>
                    </a:lnTo>
                    <a:lnTo>
                      <a:pt x="3202" y="4396"/>
                    </a:lnTo>
                    <a:lnTo>
                      <a:pt x="3204" y="4396"/>
                    </a:lnTo>
                    <a:lnTo>
                      <a:pt x="3204" y="4396"/>
                    </a:lnTo>
                    <a:lnTo>
                      <a:pt x="3206" y="4394"/>
                    </a:lnTo>
                    <a:lnTo>
                      <a:pt x="3204" y="4390"/>
                    </a:lnTo>
                    <a:lnTo>
                      <a:pt x="3202" y="4388"/>
                    </a:lnTo>
                    <a:lnTo>
                      <a:pt x="3202" y="4390"/>
                    </a:lnTo>
                    <a:lnTo>
                      <a:pt x="3202" y="4390"/>
                    </a:lnTo>
                    <a:close/>
                    <a:moveTo>
                      <a:pt x="3218" y="4324"/>
                    </a:moveTo>
                    <a:lnTo>
                      <a:pt x="3218" y="4324"/>
                    </a:lnTo>
                    <a:lnTo>
                      <a:pt x="3218" y="4318"/>
                    </a:lnTo>
                    <a:lnTo>
                      <a:pt x="3220" y="4314"/>
                    </a:lnTo>
                    <a:lnTo>
                      <a:pt x="3222" y="4310"/>
                    </a:lnTo>
                    <a:lnTo>
                      <a:pt x="3222" y="4308"/>
                    </a:lnTo>
                    <a:lnTo>
                      <a:pt x="3222" y="4308"/>
                    </a:lnTo>
                    <a:lnTo>
                      <a:pt x="3220" y="4300"/>
                    </a:lnTo>
                    <a:lnTo>
                      <a:pt x="3220" y="4292"/>
                    </a:lnTo>
                    <a:lnTo>
                      <a:pt x="3218" y="4290"/>
                    </a:lnTo>
                    <a:lnTo>
                      <a:pt x="3218" y="4290"/>
                    </a:lnTo>
                    <a:lnTo>
                      <a:pt x="3216" y="4298"/>
                    </a:lnTo>
                    <a:lnTo>
                      <a:pt x="3216" y="4298"/>
                    </a:lnTo>
                    <a:lnTo>
                      <a:pt x="3210" y="4312"/>
                    </a:lnTo>
                    <a:lnTo>
                      <a:pt x="3208" y="4316"/>
                    </a:lnTo>
                    <a:lnTo>
                      <a:pt x="3206" y="4324"/>
                    </a:lnTo>
                    <a:lnTo>
                      <a:pt x="3206" y="4324"/>
                    </a:lnTo>
                    <a:lnTo>
                      <a:pt x="3204" y="4334"/>
                    </a:lnTo>
                    <a:lnTo>
                      <a:pt x="3198" y="4342"/>
                    </a:lnTo>
                    <a:lnTo>
                      <a:pt x="3194" y="4348"/>
                    </a:lnTo>
                    <a:lnTo>
                      <a:pt x="3192" y="4354"/>
                    </a:lnTo>
                    <a:lnTo>
                      <a:pt x="3192" y="4354"/>
                    </a:lnTo>
                    <a:lnTo>
                      <a:pt x="3192" y="4362"/>
                    </a:lnTo>
                    <a:lnTo>
                      <a:pt x="3190" y="4374"/>
                    </a:lnTo>
                    <a:lnTo>
                      <a:pt x="3190" y="4374"/>
                    </a:lnTo>
                    <a:lnTo>
                      <a:pt x="3190" y="4380"/>
                    </a:lnTo>
                    <a:lnTo>
                      <a:pt x="3192" y="4380"/>
                    </a:lnTo>
                    <a:lnTo>
                      <a:pt x="3192" y="4380"/>
                    </a:lnTo>
                    <a:lnTo>
                      <a:pt x="3194" y="4376"/>
                    </a:lnTo>
                    <a:lnTo>
                      <a:pt x="3198" y="4368"/>
                    </a:lnTo>
                    <a:lnTo>
                      <a:pt x="3198" y="4368"/>
                    </a:lnTo>
                    <a:lnTo>
                      <a:pt x="3200" y="4362"/>
                    </a:lnTo>
                    <a:lnTo>
                      <a:pt x="3202" y="4360"/>
                    </a:lnTo>
                    <a:lnTo>
                      <a:pt x="3204" y="4358"/>
                    </a:lnTo>
                    <a:lnTo>
                      <a:pt x="3204" y="4352"/>
                    </a:lnTo>
                    <a:lnTo>
                      <a:pt x="3204" y="4352"/>
                    </a:lnTo>
                    <a:lnTo>
                      <a:pt x="3204" y="4348"/>
                    </a:lnTo>
                    <a:lnTo>
                      <a:pt x="3206" y="4344"/>
                    </a:lnTo>
                    <a:lnTo>
                      <a:pt x="3212" y="4340"/>
                    </a:lnTo>
                    <a:lnTo>
                      <a:pt x="3218" y="4332"/>
                    </a:lnTo>
                    <a:lnTo>
                      <a:pt x="3220" y="4328"/>
                    </a:lnTo>
                    <a:lnTo>
                      <a:pt x="3218" y="4324"/>
                    </a:lnTo>
                    <a:lnTo>
                      <a:pt x="3218" y="4324"/>
                    </a:lnTo>
                    <a:close/>
                    <a:moveTo>
                      <a:pt x="3226" y="4342"/>
                    </a:moveTo>
                    <a:lnTo>
                      <a:pt x="3226" y="4342"/>
                    </a:lnTo>
                    <a:lnTo>
                      <a:pt x="3222" y="4350"/>
                    </a:lnTo>
                    <a:lnTo>
                      <a:pt x="3216" y="4354"/>
                    </a:lnTo>
                    <a:lnTo>
                      <a:pt x="3216" y="4354"/>
                    </a:lnTo>
                    <a:lnTo>
                      <a:pt x="3214" y="4356"/>
                    </a:lnTo>
                    <a:lnTo>
                      <a:pt x="3210" y="4360"/>
                    </a:lnTo>
                    <a:lnTo>
                      <a:pt x="3210" y="4364"/>
                    </a:lnTo>
                    <a:lnTo>
                      <a:pt x="3212" y="4368"/>
                    </a:lnTo>
                    <a:lnTo>
                      <a:pt x="3212" y="4368"/>
                    </a:lnTo>
                    <a:lnTo>
                      <a:pt x="3214" y="4370"/>
                    </a:lnTo>
                    <a:lnTo>
                      <a:pt x="3216" y="4372"/>
                    </a:lnTo>
                    <a:lnTo>
                      <a:pt x="3224" y="4372"/>
                    </a:lnTo>
                    <a:lnTo>
                      <a:pt x="3230" y="4370"/>
                    </a:lnTo>
                    <a:lnTo>
                      <a:pt x="3234" y="4368"/>
                    </a:lnTo>
                    <a:lnTo>
                      <a:pt x="3234" y="4368"/>
                    </a:lnTo>
                    <a:lnTo>
                      <a:pt x="3236" y="4366"/>
                    </a:lnTo>
                    <a:lnTo>
                      <a:pt x="3240" y="4366"/>
                    </a:lnTo>
                    <a:lnTo>
                      <a:pt x="3240" y="4364"/>
                    </a:lnTo>
                    <a:lnTo>
                      <a:pt x="3240" y="4362"/>
                    </a:lnTo>
                    <a:lnTo>
                      <a:pt x="3240" y="4362"/>
                    </a:lnTo>
                    <a:lnTo>
                      <a:pt x="3240" y="4356"/>
                    </a:lnTo>
                    <a:lnTo>
                      <a:pt x="3242" y="4352"/>
                    </a:lnTo>
                    <a:lnTo>
                      <a:pt x="3242" y="4346"/>
                    </a:lnTo>
                    <a:lnTo>
                      <a:pt x="3242" y="4344"/>
                    </a:lnTo>
                    <a:lnTo>
                      <a:pt x="3242" y="4344"/>
                    </a:lnTo>
                    <a:lnTo>
                      <a:pt x="3240" y="4344"/>
                    </a:lnTo>
                    <a:lnTo>
                      <a:pt x="3238" y="4346"/>
                    </a:lnTo>
                    <a:lnTo>
                      <a:pt x="3238" y="4348"/>
                    </a:lnTo>
                    <a:lnTo>
                      <a:pt x="3234" y="4348"/>
                    </a:lnTo>
                    <a:lnTo>
                      <a:pt x="3234" y="4348"/>
                    </a:lnTo>
                    <a:lnTo>
                      <a:pt x="3232" y="4346"/>
                    </a:lnTo>
                    <a:lnTo>
                      <a:pt x="3228" y="4342"/>
                    </a:lnTo>
                    <a:lnTo>
                      <a:pt x="3228" y="4340"/>
                    </a:lnTo>
                    <a:lnTo>
                      <a:pt x="3226" y="4342"/>
                    </a:lnTo>
                    <a:lnTo>
                      <a:pt x="3226" y="4342"/>
                    </a:lnTo>
                    <a:close/>
                    <a:moveTo>
                      <a:pt x="3240" y="4278"/>
                    </a:moveTo>
                    <a:lnTo>
                      <a:pt x="3240" y="4278"/>
                    </a:lnTo>
                    <a:lnTo>
                      <a:pt x="3242" y="4278"/>
                    </a:lnTo>
                    <a:lnTo>
                      <a:pt x="3242" y="4274"/>
                    </a:lnTo>
                    <a:lnTo>
                      <a:pt x="3240" y="4270"/>
                    </a:lnTo>
                    <a:lnTo>
                      <a:pt x="3236" y="4270"/>
                    </a:lnTo>
                    <a:lnTo>
                      <a:pt x="3236" y="4270"/>
                    </a:lnTo>
                    <a:lnTo>
                      <a:pt x="3234" y="4270"/>
                    </a:lnTo>
                    <a:lnTo>
                      <a:pt x="3234" y="4274"/>
                    </a:lnTo>
                    <a:lnTo>
                      <a:pt x="3236" y="4278"/>
                    </a:lnTo>
                    <a:lnTo>
                      <a:pt x="3240" y="4278"/>
                    </a:lnTo>
                    <a:lnTo>
                      <a:pt x="3240" y="4278"/>
                    </a:lnTo>
                    <a:close/>
                    <a:moveTo>
                      <a:pt x="3164" y="5116"/>
                    </a:moveTo>
                    <a:lnTo>
                      <a:pt x="3164" y="5116"/>
                    </a:lnTo>
                    <a:lnTo>
                      <a:pt x="3166" y="5118"/>
                    </a:lnTo>
                    <a:lnTo>
                      <a:pt x="3168" y="5116"/>
                    </a:lnTo>
                    <a:lnTo>
                      <a:pt x="3172" y="5110"/>
                    </a:lnTo>
                    <a:lnTo>
                      <a:pt x="3172" y="5110"/>
                    </a:lnTo>
                    <a:lnTo>
                      <a:pt x="3174" y="5106"/>
                    </a:lnTo>
                    <a:lnTo>
                      <a:pt x="3176" y="5104"/>
                    </a:lnTo>
                    <a:lnTo>
                      <a:pt x="3182" y="5102"/>
                    </a:lnTo>
                    <a:lnTo>
                      <a:pt x="3184" y="5102"/>
                    </a:lnTo>
                    <a:lnTo>
                      <a:pt x="3186" y="5100"/>
                    </a:lnTo>
                    <a:lnTo>
                      <a:pt x="3180" y="5092"/>
                    </a:lnTo>
                    <a:lnTo>
                      <a:pt x="3180" y="5092"/>
                    </a:lnTo>
                    <a:lnTo>
                      <a:pt x="3176" y="5086"/>
                    </a:lnTo>
                    <a:lnTo>
                      <a:pt x="3176" y="5082"/>
                    </a:lnTo>
                    <a:lnTo>
                      <a:pt x="3176" y="5078"/>
                    </a:lnTo>
                    <a:lnTo>
                      <a:pt x="3178" y="5076"/>
                    </a:lnTo>
                    <a:lnTo>
                      <a:pt x="3184" y="5070"/>
                    </a:lnTo>
                    <a:lnTo>
                      <a:pt x="3184" y="5064"/>
                    </a:lnTo>
                    <a:lnTo>
                      <a:pt x="3182" y="5058"/>
                    </a:lnTo>
                    <a:lnTo>
                      <a:pt x="3182" y="5058"/>
                    </a:lnTo>
                    <a:lnTo>
                      <a:pt x="3180" y="5054"/>
                    </a:lnTo>
                    <a:lnTo>
                      <a:pt x="3178" y="5052"/>
                    </a:lnTo>
                    <a:lnTo>
                      <a:pt x="3174" y="5054"/>
                    </a:lnTo>
                    <a:lnTo>
                      <a:pt x="3172" y="5058"/>
                    </a:lnTo>
                    <a:lnTo>
                      <a:pt x="3170" y="5070"/>
                    </a:lnTo>
                    <a:lnTo>
                      <a:pt x="3168" y="5086"/>
                    </a:lnTo>
                    <a:lnTo>
                      <a:pt x="3168" y="5086"/>
                    </a:lnTo>
                    <a:lnTo>
                      <a:pt x="3166" y="5094"/>
                    </a:lnTo>
                    <a:lnTo>
                      <a:pt x="3164" y="5100"/>
                    </a:lnTo>
                    <a:lnTo>
                      <a:pt x="3160" y="5108"/>
                    </a:lnTo>
                    <a:lnTo>
                      <a:pt x="3158" y="5110"/>
                    </a:lnTo>
                    <a:lnTo>
                      <a:pt x="3158" y="5112"/>
                    </a:lnTo>
                    <a:lnTo>
                      <a:pt x="3164" y="5116"/>
                    </a:lnTo>
                    <a:lnTo>
                      <a:pt x="3164" y="5116"/>
                    </a:lnTo>
                    <a:close/>
                    <a:moveTo>
                      <a:pt x="3346" y="4866"/>
                    </a:moveTo>
                    <a:lnTo>
                      <a:pt x="3346" y="4866"/>
                    </a:lnTo>
                    <a:lnTo>
                      <a:pt x="3348" y="4862"/>
                    </a:lnTo>
                    <a:lnTo>
                      <a:pt x="3348" y="4858"/>
                    </a:lnTo>
                    <a:lnTo>
                      <a:pt x="3348" y="4852"/>
                    </a:lnTo>
                    <a:lnTo>
                      <a:pt x="3346" y="4852"/>
                    </a:lnTo>
                    <a:lnTo>
                      <a:pt x="3344" y="4852"/>
                    </a:lnTo>
                    <a:lnTo>
                      <a:pt x="3344" y="4852"/>
                    </a:lnTo>
                    <a:lnTo>
                      <a:pt x="3342" y="4856"/>
                    </a:lnTo>
                    <a:lnTo>
                      <a:pt x="3342" y="4860"/>
                    </a:lnTo>
                    <a:lnTo>
                      <a:pt x="3342" y="4864"/>
                    </a:lnTo>
                    <a:lnTo>
                      <a:pt x="3344" y="4866"/>
                    </a:lnTo>
                    <a:lnTo>
                      <a:pt x="3346" y="4866"/>
                    </a:lnTo>
                    <a:lnTo>
                      <a:pt x="3346" y="4866"/>
                    </a:lnTo>
                    <a:close/>
                    <a:moveTo>
                      <a:pt x="3342" y="4998"/>
                    </a:moveTo>
                    <a:lnTo>
                      <a:pt x="3342" y="4998"/>
                    </a:lnTo>
                    <a:lnTo>
                      <a:pt x="3336" y="4992"/>
                    </a:lnTo>
                    <a:lnTo>
                      <a:pt x="3330" y="4990"/>
                    </a:lnTo>
                    <a:lnTo>
                      <a:pt x="3324" y="4986"/>
                    </a:lnTo>
                    <a:lnTo>
                      <a:pt x="3316" y="4986"/>
                    </a:lnTo>
                    <a:lnTo>
                      <a:pt x="3310" y="4986"/>
                    </a:lnTo>
                    <a:lnTo>
                      <a:pt x="3304" y="4988"/>
                    </a:lnTo>
                    <a:lnTo>
                      <a:pt x="3300" y="4992"/>
                    </a:lnTo>
                    <a:lnTo>
                      <a:pt x="3298" y="4996"/>
                    </a:lnTo>
                    <a:lnTo>
                      <a:pt x="3298" y="4996"/>
                    </a:lnTo>
                    <a:lnTo>
                      <a:pt x="3298" y="5002"/>
                    </a:lnTo>
                    <a:lnTo>
                      <a:pt x="3304" y="5010"/>
                    </a:lnTo>
                    <a:lnTo>
                      <a:pt x="3312" y="5016"/>
                    </a:lnTo>
                    <a:lnTo>
                      <a:pt x="3320" y="5024"/>
                    </a:lnTo>
                    <a:lnTo>
                      <a:pt x="3320" y="5024"/>
                    </a:lnTo>
                    <a:lnTo>
                      <a:pt x="3326" y="5026"/>
                    </a:lnTo>
                    <a:lnTo>
                      <a:pt x="3332" y="5026"/>
                    </a:lnTo>
                    <a:lnTo>
                      <a:pt x="3336" y="5024"/>
                    </a:lnTo>
                    <a:lnTo>
                      <a:pt x="3342" y="5020"/>
                    </a:lnTo>
                    <a:lnTo>
                      <a:pt x="3344" y="5016"/>
                    </a:lnTo>
                    <a:lnTo>
                      <a:pt x="3346" y="5010"/>
                    </a:lnTo>
                    <a:lnTo>
                      <a:pt x="3344" y="5004"/>
                    </a:lnTo>
                    <a:lnTo>
                      <a:pt x="3342" y="4998"/>
                    </a:lnTo>
                    <a:lnTo>
                      <a:pt x="3342" y="4998"/>
                    </a:lnTo>
                    <a:close/>
                    <a:moveTo>
                      <a:pt x="3330" y="5214"/>
                    </a:moveTo>
                    <a:lnTo>
                      <a:pt x="3330" y="5214"/>
                    </a:lnTo>
                    <a:lnTo>
                      <a:pt x="3328" y="5212"/>
                    </a:lnTo>
                    <a:lnTo>
                      <a:pt x="3326" y="5210"/>
                    </a:lnTo>
                    <a:lnTo>
                      <a:pt x="3314" y="5210"/>
                    </a:lnTo>
                    <a:lnTo>
                      <a:pt x="3302" y="5214"/>
                    </a:lnTo>
                    <a:lnTo>
                      <a:pt x="3296" y="5216"/>
                    </a:lnTo>
                    <a:lnTo>
                      <a:pt x="3290" y="5220"/>
                    </a:lnTo>
                    <a:lnTo>
                      <a:pt x="3290" y="5220"/>
                    </a:lnTo>
                    <a:lnTo>
                      <a:pt x="3290" y="5224"/>
                    </a:lnTo>
                    <a:lnTo>
                      <a:pt x="3292" y="5224"/>
                    </a:lnTo>
                    <a:lnTo>
                      <a:pt x="3306" y="5224"/>
                    </a:lnTo>
                    <a:lnTo>
                      <a:pt x="3322" y="5220"/>
                    </a:lnTo>
                    <a:lnTo>
                      <a:pt x="3328" y="5216"/>
                    </a:lnTo>
                    <a:lnTo>
                      <a:pt x="3330" y="5214"/>
                    </a:lnTo>
                    <a:lnTo>
                      <a:pt x="3330" y="5214"/>
                    </a:lnTo>
                    <a:close/>
                    <a:moveTo>
                      <a:pt x="3294" y="4936"/>
                    </a:moveTo>
                    <a:lnTo>
                      <a:pt x="3294" y="4936"/>
                    </a:lnTo>
                    <a:lnTo>
                      <a:pt x="3292" y="4938"/>
                    </a:lnTo>
                    <a:lnTo>
                      <a:pt x="3292" y="4942"/>
                    </a:lnTo>
                    <a:lnTo>
                      <a:pt x="3296" y="4956"/>
                    </a:lnTo>
                    <a:lnTo>
                      <a:pt x="3296" y="4956"/>
                    </a:lnTo>
                    <a:lnTo>
                      <a:pt x="3298" y="4960"/>
                    </a:lnTo>
                    <a:lnTo>
                      <a:pt x="3300" y="4960"/>
                    </a:lnTo>
                    <a:lnTo>
                      <a:pt x="3300" y="4956"/>
                    </a:lnTo>
                    <a:lnTo>
                      <a:pt x="3298" y="4950"/>
                    </a:lnTo>
                    <a:lnTo>
                      <a:pt x="3298" y="4950"/>
                    </a:lnTo>
                    <a:lnTo>
                      <a:pt x="3298" y="4944"/>
                    </a:lnTo>
                    <a:lnTo>
                      <a:pt x="3296" y="4938"/>
                    </a:lnTo>
                    <a:lnTo>
                      <a:pt x="3296" y="4936"/>
                    </a:lnTo>
                    <a:lnTo>
                      <a:pt x="3294" y="4936"/>
                    </a:lnTo>
                    <a:lnTo>
                      <a:pt x="3294" y="4936"/>
                    </a:lnTo>
                    <a:close/>
                    <a:moveTo>
                      <a:pt x="3344" y="5246"/>
                    </a:moveTo>
                    <a:lnTo>
                      <a:pt x="3344" y="5246"/>
                    </a:lnTo>
                    <a:lnTo>
                      <a:pt x="3340" y="5244"/>
                    </a:lnTo>
                    <a:lnTo>
                      <a:pt x="3336" y="5244"/>
                    </a:lnTo>
                    <a:lnTo>
                      <a:pt x="3330" y="5248"/>
                    </a:lnTo>
                    <a:lnTo>
                      <a:pt x="3322" y="5250"/>
                    </a:lnTo>
                    <a:lnTo>
                      <a:pt x="3316" y="5250"/>
                    </a:lnTo>
                    <a:lnTo>
                      <a:pt x="3316" y="5250"/>
                    </a:lnTo>
                    <a:lnTo>
                      <a:pt x="3312" y="5250"/>
                    </a:lnTo>
                    <a:lnTo>
                      <a:pt x="3306" y="5252"/>
                    </a:lnTo>
                    <a:lnTo>
                      <a:pt x="3300" y="5254"/>
                    </a:lnTo>
                    <a:lnTo>
                      <a:pt x="3296" y="5254"/>
                    </a:lnTo>
                    <a:lnTo>
                      <a:pt x="3296" y="5254"/>
                    </a:lnTo>
                    <a:lnTo>
                      <a:pt x="3292" y="5254"/>
                    </a:lnTo>
                    <a:lnTo>
                      <a:pt x="3286" y="5254"/>
                    </a:lnTo>
                    <a:lnTo>
                      <a:pt x="3268" y="5258"/>
                    </a:lnTo>
                    <a:lnTo>
                      <a:pt x="3268" y="5258"/>
                    </a:lnTo>
                    <a:lnTo>
                      <a:pt x="3260" y="5262"/>
                    </a:lnTo>
                    <a:lnTo>
                      <a:pt x="3258" y="5266"/>
                    </a:lnTo>
                    <a:lnTo>
                      <a:pt x="3256" y="5272"/>
                    </a:lnTo>
                    <a:lnTo>
                      <a:pt x="3248" y="5278"/>
                    </a:lnTo>
                    <a:lnTo>
                      <a:pt x="3248" y="5278"/>
                    </a:lnTo>
                    <a:lnTo>
                      <a:pt x="3240" y="5284"/>
                    </a:lnTo>
                    <a:lnTo>
                      <a:pt x="3234" y="5286"/>
                    </a:lnTo>
                    <a:lnTo>
                      <a:pt x="3226" y="5290"/>
                    </a:lnTo>
                    <a:lnTo>
                      <a:pt x="3216" y="5296"/>
                    </a:lnTo>
                    <a:lnTo>
                      <a:pt x="3216" y="5296"/>
                    </a:lnTo>
                    <a:lnTo>
                      <a:pt x="3206" y="5304"/>
                    </a:lnTo>
                    <a:lnTo>
                      <a:pt x="3202" y="5310"/>
                    </a:lnTo>
                    <a:lnTo>
                      <a:pt x="3200" y="5322"/>
                    </a:lnTo>
                    <a:lnTo>
                      <a:pt x="3200" y="5322"/>
                    </a:lnTo>
                    <a:lnTo>
                      <a:pt x="3198" y="5326"/>
                    </a:lnTo>
                    <a:lnTo>
                      <a:pt x="3200" y="5328"/>
                    </a:lnTo>
                    <a:lnTo>
                      <a:pt x="3202" y="5330"/>
                    </a:lnTo>
                    <a:lnTo>
                      <a:pt x="3204" y="5330"/>
                    </a:lnTo>
                    <a:lnTo>
                      <a:pt x="3202" y="5332"/>
                    </a:lnTo>
                    <a:lnTo>
                      <a:pt x="3202" y="5332"/>
                    </a:lnTo>
                    <a:lnTo>
                      <a:pt x="3198" y="5336"/>
                    </a:lnTo>
                    <a:lnTo>
                      <a:pt x="3194" y="5340"/>
                    </a:lnTo>
                    <a:lnTo>
                      <a:pt x="3194" y="5342"/>
                    </a:lnTo>
                    <a:lnTo>
                      <a:pt x="3194" y="5344"/>
                    </a:lnTo>
                    <a:lnTo>
                      <a:pt x="3202" y="5346"/>
                    </a:lnTo>
                    <a:lnTo>
                      <a:pt x="3202" y="5346"/>
                    </a:lnTo>
                    <a:lnTo>
                      <a:pt x="3206" y="5346"/>
                    </a:lnTo>
                    <a:lnTo>
                      <a:pt x="3210" y="5344"/>
                    </a:lnTo>
                    <a:lnTo>
                      <a:pt x="3216" y="5340"/>
                    </a:lnTo>
                    <a:lnTo>
                      <a:pt x="3220" y="5336"/>
                    </a:lnTo>
                    <a:lnTo>
                      <a:pt x="3222" y="5336"/>
                    </a:lnTo>
                    <a:lnTo>
                      <a:pt x="3226" y="5336"/>
                    </a:lnTo>
                    <a:lnTo>
                      <a:pt x="3226" y="5336"/>
                    </a:lnTo>
                    <a:lnTo>
                      <a:pt x="3230" y="5336"/>
                    </a:lnTo>
                    <a:lnTo>
                      <a:pt x="3234" y="5334"/>
                    </a:lnTo>
                    <a:lnTo>
                      <a:pt x="3244" y="5320"/>
                    </a:lnTo>
                    <a:lnTo>
                      <a:pt x="3244" y="5320"/>
                    </a:lnTo>
                    <a:lnTo>
                      <a:pt x="3252" y="5312"/>
                    </a:lnTo>
                    <a:lnTo>
                      <a:pt x="3256" y="5306"/>
                    </a:lnTo>
                    <a:lnTo>
                      <a:pt x="3260" y="5300"/>
                    </a:lnTo>
                    <a:lnTo>
                      <a:pt x="3268" y="5294"/>
                    </a:lnTo>
                    <a:lnTo>
                      <a:pt x="3268" y="5294"/>
                    </a:lnTo>
                    <a:lnTo>
                      <a:pt x="3280" y="5288"/>
                    </a:lnTo>
                    <a:lnTo>
                      <a:pt x="3288" y="5286"/>
                    </a:lnTo>
                    <a:lnTo>
                      <a:pt x="3294" y="5284"/>
                    </a:lnTo>
                    <a:lnTo>
                      <a:pt x="3300" y="5280"/>
                    </a:lnTo>
                    <a:lnTo>
                      <a:pt x="3300" y="5280"/>
                    </a:lnTo>
                    <a:lnTo>
                      <a:pt x="3304" y="5278"/>
                    </a:lnTo>
                    <a:lnTo>
                      <a:pt x="3308" y="5278"/>
                    </a:lnTo>
                    <a:lnTo>
                      <a:pt x="3314" y="5276"/>
                    </a:lnTo>
                    <a:lnTo>
                      <a:pt x="3318" y="5272"/>
                    </a:lnTo>
                    <a:lnTo>
                      <a:pt x="3318" y="5272"/>
                    </a:lnTo>
                    <a:lnTo>
                      <a:pt x="3324" y="5266"/>
                    </a:lnTo>
                    <a:lnTo>
                      <a:pt x="3328" y="5266"/>
                    </a:lnTo>
                    <a:lnTo>
                      <a:pt x="3334" y="5264"/>
                    </a:lnTo>
                    <a:lnTo>
                      <a:pt x="3340" y="5260"/>
                    </a:lnTo>
                    <a:lnTo>
                      <a:pt x="3340" y="5260"/>
                    </a:lnTo>
                    <a:lnTo>
                      <a:pt x="3348" y="5252"/>
                    </a:lnTo>
                    <a:lnTo>
                      <a:pt x="3348" y="5248"/>
                    </a:lnTo>
                    <a:lnTo>
                      <a:pt x="3344" y="5246"/>
                    </a:lnTo>
                    <a:lnTo>
                      <a:pt x="3344" y="5246"/>
                    </a:lnTo>
                    <a:close/>
                    <a:moveTo>
                      <a:pt x="3328" y="4618"/>
                    </a:moveTo>
                    <a:lnTo>
                      <a:pt x="3328" y="4618"/>
                    </a:lnTo>
                    <a:lnTo>
                      <a:pt x="3326" y="4622"/>
                    </a:lnTo>
                    <a:lnTo>
                      <a:pt x="3326" y="4628"/>
                    </a:lnTo>
                    <a:lnTo>
                      <a:pt x="3326" y="4628"/>
                    </a:lnTo>
                    <a:lnTo>
                      <a:pt x="3326" y="4630"/>
                    </a:lnTo>
                    <a:lnTo>
                      <a:pt x="3328" y="4632"/>
                    </a:lnTo>
                    <a:lnTo>
                      <a:pt x="3328" y="4634"/>
                    </a:lnTo>
                    <a:lnTo>
                      <a:pt x="3326" y="4638"/>
                    </a:lnTo>
                    <a:lnTo>
                      <a:pt x="3326" y="4638"/>
                    </a:lnTo>
                    <a:lnTo>
                      <a:pt x="3324" y="4642"/>
                    </a:lnTo>
                    <a:lnTo>
                      <a:pt x="3326" y="4644"/>
                    </a:lnTo>
                    <a:lnTo>
                      <a:pt x="3330" y="4642"/>
                    </a:lnTo>
                    <a:lnTo>
                      <a:pt x="3330" y="4640"/>
                    </a:lnTo>
                    <a:lnTo>
                      <a:pt x="3330" y="4640"/>
                    </a:lnTo>
                    <a:lnTo>
                      <a:pt x="3332" y="4636"/>
                    </a:lnTo>
                    <a:lnTo>
                      <a:pt x="3332" y="4632"/>
                    </a:lnTo>
                    <a:lnTo>
                      <a:pt x="3334" y="4630"/>
                    </a:lnTo>
                    <a:lnTo>
                      <a:pt x="3334" y="4628"/>
                    </a:lnTo>
                    <a:lnTo>
                      <a:pt x="3334" y="4628"/>
                    </a:lnTo>
                    <a:lnTo>
                      <a:pt x="3332" y="4624"/>
                    </a:lnTo>
                    <a:lnTo>
                      <a:pt x="3332" y="4620"/>
                    </a:lnTo>
                    <a:lnTo>
                      <a:pt x="3332" y="4618"/>
                    </a:lnTo>
                    <a:lnTo>
                      <a:pt x="3328" y="4618"/>
                    </a:lnTo>
                    <a:lnTo>
                      <a:pt x="3328" y="4618"/>
                    </a:lnTo>
                    <a:close/>
                    <a:moveTo>
                      <a:pt x="3302" y="3114"/>
                    </a:moveTo>
                    <a:lnTo>
                      <a:pt x="3302" y="3114"/>
                    </a:lnTo>
                    <a:lnTo>
                      <a:pt x="3304" y="3116"/>
                    </a:lnTo>
                    <a:lnTo>
                      <a:pt x="3308" y="3114"/>
                    </a:lnTo>
                    <a:lnTo>
                      <a:pt x="3310" y="3112"/>
                    </a:lnTo>
                    <a:lnTo>
                      <a:pt x="3310" y="3108"/>
                    </a:lnTo>
                    <a:lnTo>
                      <a:pt x="3310" y="3108"/>
                    </a:lnTo>
                    <a:lnTo>
                      <a:pt x="3306" y="3108"/>
                    </a:lnTo>
                    <a:lnTo>
                      <a:pt x="3302" y="3110"/>
                    </a:lnTo>
                    <a:lnTo>
                      <a:pt x="3300" y="3112"/>
                    </a:lnTo>
                    <a:lnTo>
                      <a:pt x="3302" y="3114"/>
                    </a:lnTo>
                    <a:lnTo>
                      <a:pt x="3302" y="3114"/>
                    </a:lnTo>
                    <a:close/>
                    <a:moveTo>
                      <a:pt x="3298" y="3086"/>
                    </a:moveTo>
                    <a:lnTo>
                      <a:pt x="3298" y="3086"/>
                    </a:lnTo>
                    <a:lnTo>
                      <a:pt x="3296" y="3088"/>
                    </a:lnTo>
                    <a:lnTo>
                      <a:pt x="3298" y="3090"/>
                    </a:lnTo>
                    <a:lnTo>
                      <a:pt x="3302" y="3096"/>
                    </a:lnTo>
                    <a:lnTo>
                      <a:pt x="3302" y="3096"/>
                    </a:lnTo>
                    <a:lnTo>
                      <a:pt x="3302" y="3098"/>
                    </a:lnTo>
                    <a:lnTo>
                      <a:pt x="3304" y="3094"/>
                    </a:lnTo>
                    <a:lnTo>
                      <a:pt x="3304" y="3094"/>
                    </a:lnTo>
                    <a:lnTo>
                      <a:pt x="3302" y="3088"/>
                    </a:lnTo>
                    <a:lnTo>
                      <a:pt x="3300" y="3086"/>
                    </a:lnTo>
                    <a:lnTo>
                      <a:pt x="3298" y="3086"/>
                    </a:lnTo>
                    <a:lnTo>
                      <a:pt x="3298" y="3086"/>
                    </a:lnTo>
                    <a:close/>
                    <a:moveTo>
                      <a:pt x="3298" y="4354"/>
                    </a:moveTo>
                    <a:lnTo>
                      <a:pt x="3298" y="4354"/>
                    </a:lnTo>
                    <a:lnTo>
                      <a:pt x="3296" y="4358"/>
                    </a:lnTo>
                    <a:lnTo>
                      <a:pt x="3296" y="4362"/>
                    </a:lnTo>
                    <a:lnTo>
                      <a:pt x="3298" y="4362"/>
                    </a:lnTo>
                    <a:lnTo>
                      <a:pt x="3300" y="4364"/>
                    </a:lnTo>
                    <a:lnTo>
                      <a:pt x="3304" y="4362"/>
                    </a:lnTo>
                    <a:lnTo>
                      <a:pt x="3304" y="4360"/>
                    </a:lnTo>
                    <a:lnTo>
                      <a:pt x="3302" y="4356"/>
                    </a:lnTo>
                    <a:lnTo>
                      <a:pt x="3302" y="4356"/>
                    </a:lnTo>
                    <a:lnTo>
                      <a:pt x="3300" y="4348"/>
                    </a:lnTo>
                    <a:lnTo>
                      <a:pt x="3298" y="4354"/>
                    </a:lnTo>
                    <a:lnTo>
                      <a:pt x="3298" y="4354"/>
                    </a:lnTo>
                    <a:close/>
                    <a:moveTo>
                      <a:pt x="3274" y="4930"/>
                    </a:moveTo>
                    <a:lnTo>
                      <a:pt x="3274" y="4930"/>
                    </a:lnTo>
                    <a:lnTo>
                      <a:pt x="3274" y="4932"/>
                    </a:lnTo>
                    <a:lnTo>
                      <a:pt x="3278" y="4934"/>
                    </a:lnTo>
                    <a:lnTo>
                      <a:pt x="3288" y="4934"/>
                    </a:lnTo>
                    <a:lnTo>
                      <a:pt x="3310" y="4928"/>
                    </a:lnTo>
                    <a:lnTo>
                      <a:pt x="3310" y="4928"/>
                    </a:lnTo>
                    <a:lnTo>
                      <a:pt x="3312" y="4926"/>
                    </a:lnTo>
                    <a:lnTo>
                      <a:pt x="3310" y="4926"/>
                    </a:lnTo>
                    <a:lnTo>
                      <a:pt x="3296" y="4924"/>
                    </a:lnTo>
                    <a:lnTo>
                      <a:pt x="3282" y="4924"/>
                    </a:lnTo>
                    <a:lnTo>
                      <a:pt x="3276" y="4926"/>
                    </a:lnTo>
                    <a:lnTo>
                      <a:pt x="3274" y="4930"/>
                    </a:lnTo>
                    <a:lnTo>
                      <a:pt x="3274" y="4930"/>
                    </a:lnTo>
                    <a:close/>
                    <a:moveTo>
                      <a:pt x="3132" y="5104"/>
                    </a:moveTo>
                    <a:lnTo>
                      <a:pt x="3132" y="5104"/>
                    </a:lnTo>
                    <a:lnTo>
                      <a:pt x="3136" y="5106"/>
                    </a:lnTo>
                    <a:lnTo>
                      <a:pt x="3138" y="5104"/>
                    </a:lnTo>
                    <a:lnTo>
                      <a:pt x="3136" y="5096"/>
                    </a:lnTo>
                    <a:lnTo>
                      <a:pt x="3134" y="5090"/>
                    </a:lnTo>
                    <a:lnTo>
                      <a:pt x="3134" y="5090"/>
                    </a:lnTo>
                    <a:lnTo>
                      <a:pt x="3132" y="5086"/>
                    </a:lnTo>
                    <a:lnTo>
                      <a:pt x="3130" y="5088"/>
                    </a:lnTo>
                    <a:lnTo>
                      <a:pt x="3130" y="5096"/>
                    </a:lnTo>
                    <a:lnTo>
                      <a:pt x="3132" y="5104"/>
                    </a:lnTo>
                    <a:lnTo>
                      <a:pt x="3132" y="5104"/>
                    </a:lnTo>
                    <a:close/>
                    <a:moveTo>
                      <a:pt x="3196" y="4912"/>
                    </a:moveTo>
                    <a:lnTo>
                      <a:pt x="3196" y="4912"/>
                    </a:lnTo>
                    <a:lnTo>
                      <a:pt x="3198" y="4908"/>
                    </a:lnTo>
                    <a:lnTo>
                      <a:pt x="3198" y="4904"/>
                    </a:lnTo>
                    <a:lnTo>
                      <a:pt x="3196" y="4900"/>
                    </a:lnTo>
                    <a:lnTo>
                      <a:pt x="3192" y="4900"/>
                    </a:lnTo>
                    <a:lnTo>
                      <a:pt x="3192" y="4900"/>
                    </a:lnTo>
                    <a:lnTo>
                      <a:pt x="3190" y="4902"/>
                    </a:lnTo>
                    <a:lnTo>
                      <a:pt x="3188" y="4904"/>
                    </a:lnTo>
                    <a:lnTo>
                      <a:pt x="3188" y="4908"/>
                    </a:lnTo>
                    <a:lnTo>
                      <a:pt x="3192" y="4912"/>
                    </a:lnTo>
                    <a:lnTo>
                      <a:pt x="3194" y="4912"/>
                    </a:lnTo>
                    <a:lnTo>
                      <a:pt x="3196" y="4912"/>
                    </a:lnTo>
                    <a:lnTo>
                      <a:pt x="3196" y="4912"/>
                    </a:lnTo>
                    <a:close/>
                    <a:moveTo>
                      <a:pt x="3180" y="4896"/>
                    </a:moveTo>
                    <a:lnTo>
                      <a:pt x="3180" y="4896"/>
                    </a:lnTo>
                    <a:lnTo>
                      <a:pt x="3176" y="4896"/>
                    </a:lnTo>
                    <a:lnTo>
                      <a:pt x="3172" y="4900"/>
                    </a:lnTo>
                    <a:lnTo>
                      <a:pt x="3170" y="4906"/>
                    </a:lnTo>
                    <a:lnTo>
                      <a:pt x="3172" y="4916"/>
                    </a:lnTo>
                    <a:lnTo>
                      <a:pt x="3172" y="4916"/>
                    </a:lnTo>
                    <a:lnTo>
                      <a:pt x="3172" y="4916"/>
                    </a:lnTo>
                    <a:lnTo>
                      <a:pt x="3174" y="4916"/>
                    </a:lnTo>
                    <a:lnTo>
                      <a:pt x="3180" y="4908"/>
                    </a:lnTo>
                    <a:lnTo>
                      <a:pt x="3184" y="4900"/>
                    </a:lnTo>
                    <a:lnTo>
                      <a:pt x="3182" y="4898"/>
                    </a:lnTo>
                    <a:lnTo>
                      <a:pt x="3180" y="4896"/>
                    </a:lnTo>
                    <a:lnTo>
                      <a:pt x="3180" y="4896"/>
                    </a:lnTo>
                    <a:close/>
                    <a:moveTo>
                      <a:pt x="3184" y="5356"/>
                    </a:moveTo>
                    <a:lnTo>
                      <a:pt x="3184" y="5356"/>
                    </a:lnTo>
                    <a:lnTo>
                      <a:pt x="3180" y="5360"/>
                    </a:lnTo>
                    <a:lnTo>
                      <a:pt x="3174" y="5364"/>
                    </a:lnTo>
                    <a:lnTo>
                      <a:pt x="3170" y="5366"/>
                    </a:lnTo>
                    <a:lnTo>
                      <a:pt x="3168" y="5370"/>
                    </a:lnTo>
                    <a:lnTo>
                      <a:pt x="3168" y="5370"/>
                    </a:lnTo>
                    <a:lnTo>
                      <a:pt x="3168" y="5372"/>
                    </a:lnTo>
                    <a:lnTo>
                      <a:pt x="3170" y="5372"/>
                    </a:lnTo>
                    <a:lnTo>
                      <a:pt x="3178" y="5370"/>
                    </a:lnTo>
                    <a:lnTo>
                      <a:pt x="3190" y="5362"/>
                    </a:lnTo>
                    <a:lnTo>
                      <a:pt x="3190" y="5362"/>
                    </a:lnTo>
                    <a:lnTo>
                      <a:pt x="3194" y="5358"/>
                    </a:lnTo>
                    <a:lnTo>
                      <a:pt x="3192" y="5352"/>
                    </a:lnTo>
                    <a:lnTo>
                      <a:pt x="3192" y="5350"/>
                    </a:lnTo>
                    <a:lnTo>
                      <a:pt x="3190" y="5350"/>
                    </a:lnTo>
                    <a:lnTo>
                      <a:pt x="3188" y="5352"/>
                    </a:lnTo>
                    <a:lnTo>
                      <a:pt x="3184" y="5356"/>
                    </a:lnTo>
                    <a:lnTo>
                      <a:pt x="3184" y="5356"/>
                    </a:lnTo>
                    <a:close/>
                    <a:moveTo>
                      <a:pt x="3074" y="5152"/>
                    </a:moveTo>
                    <a:lnTo>
                      <a:pt x="3074" y="5152"/>
                    </a:lnTo>
                    <a:lnTo>
                      <a:pt x="3076" y="5154"/>
                    </a:lnTo>
                    <a:lnTo>
                      <a:pt x="3076" y="5154"/>
                    </a:lnTo>
                    <a:lnTo>
                      <a:pt x="3078" y="5144"/>
                    </a:lnTo>
                    <a:lnTo>
                      <a:pt x="3076" y="5132"/>
                    </a:lnTo>
                    <a:lnTo>
                      <a:pt x="3076" y="5122"/>
                    </a:lnTo>
                    <a:lnTo>
                      <a:pt x="3076" y="5122"/>
                    </a:lnTo>
                    <a:lnTo>
                      <a:pt x="3074" y="5122"/>
                    </a:lnTo>
                    <a:lnTo>
                      <a:pt x="3074" y="5124"/>
                    </a:lnTo>
                    <a:lnTo>
                      <a:pt x="3072" y="5130"/>
                    </a:lnTo>
                    <a:lnTo>
                      <a:pt x="3072" y="5142"/>
                    </a:lnTo>
                    <a:lnTo>
                      <a:pt x="3074" y="5152"/>
                    </a:lnTo>
                    <a:lnTo>
                      <a:pt x="3074" y="5152"/>
                    </a:lnTo>
                    <a:close/>
                    <a:moveTo>
                      <a:pt x="3070" y="5308"/>
                    </a:moveTo>
                    <a:lnTo>
                      <a:pt x="3070" y="5308"/>
                    </a:lnTo>
                    <a:lnTo>
                      <a:pt x="3066" y="5308"/>
                    </a:lnTo>
                    <a:lnTo>
                      <a:pt x="3066" y="5306"/>
                    </a:lnTo>
                    <a:lnTo>
                      <a:pt x="3064" y="5304"/>
                    </a:lnTo>
                    <a:lnTo>
                      <a:pt x="3060" y="5298"/>
                    </a:lnTo>
                    <a:lnTo>
                      <a:pt x="3060" y="5298"/>
                    </a:lnTo>
                    <a:lnTo>
                      <a:pt x="3054" y="5294"/>
                    </a:lnTo>
                    <a:lnTo>
                      <a:pt x="3048" y="5294"/>
                    </a:lnTo>
                    <a:lnTo>
                      <a:pt x="3046" y="5296"/>
                    </a:lnTo>
                    <a:lnTo>
                      <a:pt x="3042" y="5296"/>
                    </a:lnTo>
                    <a:lnTo>
                      <a:pt x="3042" y="5296"/>
                    </a:lnTo>
                    <a:lnTo>
                      <a:pt x="3036" y="5294"/>
                    </a:lnTo>
                    <a:lnTo>
                      <a:pt x="3026" y="5294"/>
                    </a:lnTo>
                    <a:lnTo>
                      <a:pt x="3020" y="5296"/>
                    </a:lnTo>
                    <a:lnTo>
                      <a:pt x="3016" y="5298"/>
                    </a:lnTo>
                    <a:lnTo>
                      <a:pt x="3014" y="5302"/>
                    </a:lnTo>
                    <a:lnTo>
                      <a:pt x="3012" y="5306"/>
                    </a:lnTo>
                    <a:lnTo>
                      <a:pt x="3012" y="5306"/>
                    </a:lnTo>
                    <a:lnTo>
                      <a:pt x="3014" y="5310"/>
                    </a:lnTo>
                    <a:lnTo>
                      <a:pt x="3016" y="5312"/>
                    </a:lnTo>
                    <a:lnTo>
                      <a:pt x="3026" y="5316"/>
                    </a:lnTo>
                    <a:lnTo>
                      <a:pt x="3036" y="5318"/>
                    </a:lnTo>
                    <a:lnTo>
                      <a:pt x="3046" y="5322"/>
                    </a:lnTo>
                    <a:lnTo>
                      <a:pt x="3046" y="5322"/>
                    </a:lnTo>
                    <a:lnTo>
                      <a:pt x="3054" y="5328"/>
                    </a:lnTo>
                    <a:lnTo>
                      <a:pt x="3058" y="5334"/>
                    </a:lnTo>
                    <a:lnTo>
                      <a:pt x="3060" y="5338"/>
                    </a:lnTo>
                    <a:lnTo>
                      <a:pt x="3064" y="5340"/>
                    </a:lnTo>
                    <a:lnTo>
                      <a:pt x="3064" y="5340"/>
                    </a:lnTo>
                    <a:lnTo>
                      <a:pt x="3068" y="5340"/>
                    </a:lnTo>
                    <a:lnTo>
                      <a:pt x="3070" y="5342"/>
                    </a:lnTo>
                    <a:lnTo>
                      <a:pt x="3074" y="5342"/>
                    </a:lnTo>
                    <a:lnTo>
                      <a:pt x="3076" y="5340"/>
                    </a:lnTo>
                    <a:lnTo>
                      <a:pt x="3076" y="5340"/>
                    </a:lnTo>
                    <a:lnTo>
                      <a:pt x="3078" y="5338"/>
                    </a:lnTo>
                    <a:lnTo>
                      <a:pt x="3080" y="5338"/>
                    </a:lnTo>
                    <a:lnTo>
                      <a:pt x="3082" y="5336"/>
                    </a:lnTo>
                    <a:lnTo>
                      <a:pt x="3086" y="5332"/>
                    </a:lnTo>
                    <a:lnTo>
                      <a:pt x="3086" y="5332"/>
                    </a:lnTo>
                    <a:lnTo>
                      <a:pt x="3086" y="5330"/>
                    </a:lnTo>
                    <a:lnTo>
                      <a:pt x="3086" y="5326"/>
                    </a:lnTo>
                    <a:lnTo>
                      <a:pt x="3082" y="5320"/>
                    </a:lnTo>
                    <a:lnTo>
                      <a:pt x="3076" y="5312"/>
                    </a:lnTo>
                    <a:lnTo>
                      <a:pt x="3070" y="5308"/>
                    </a:lnTo>
                    <a:lnTo>
                      <a:pt x="3070" y="5308"/>
                    </a:lnTo>
                    <a:close/>
                    <a:moveTo>
                      <a:pt x="3176" y="5238"/>
                    </a:moveTo>
                    <a:lnTo>
                      <a:pt x="3176" y="5238"/>
                    </a:lnTo>
                    <a:lnTo>
                      <a:pt x="3174" y="5234"/>
                    </a:lnTo>
                    <a:lnTo>
                      <a:pt x="3172" y="5234"/>
                    </a:lnTo>
                    <a:lnTo>
                      <a:pt x="3168" y="5234"/>
                    </a:lnTo>
                    <a:lnTo>
                      <a:pt x="3166" y="5238"/>
                    </a:lnTo>
                    <a:lnTo>
                      <a:pt x="3166" y="5240"/>
                    </a:lnTo>
                    <a:lnTo>
                      <a:pt x="3168" y="5240"/>
                    </a:lnTo>
                    <a:lnTo>
                      <a:pt x="3168" y="5240"/>
                    </a:lnTo>
                    <a:lnTo>
                      <a:pt x="3170" y="5242"/>
                    </a:lnTo>
                    <a:lnTo>
                      <a:pt x="3170" y="5242"/>
                    </a:lnTo>
                    <a:lnTo>
                      <a:pt x="3168" y="5246"/>
                    </a:lnTo>
                    <a:lnTo>
                      <a:pt x="3160" y="5248"/>
                    </a:lnTo>
                    <a:lnTo>
                      <a:pt x="3160" y="5248"/>
                    </a:lnTo>
                    <a:lnTo>
                      <a:pt x="3156" y="5252"/>
                    </a:lnTo>
                    <a:lnTo>
                      <a:pt x="3156" y="5256"/>
                    </a:lnTo>
                    <a:lnTo>
                      <a:pt x="3156" y="5258"/>
                    </a:lnTo>
                    <a:lnTo>
                      <a:pt x="3152" y="5260"/>
                    </a:lnTo>
                    <a:lnTo>
                      <a:pt x="3152" y="5260"/>
                    </a:lnTo>
                    <a:lnTo>
                      <a:pt x="3148" y="5260"/>
                    </a:lnTo>
                    <a:lnTo>
                      <a:pt x="3146" y="5260"/>
                    </a:lnTo>
                    <a:lnTo>
                      <a:pt x="3142" y="5256"/>
                    </a:lnTo>
                    <a:lnTo>
                      <a:pt x="3136" y="5252"/>
                    </a:lnTo>
                    <a:lnTo>
                      <a:pt x="3134" y="5250"/>
                    </a:lnTo>
                    <a:lnTo>
                      <a:pt x="3132" y="5252"/>
                    </a:lnTo>
                    <a:lnTo>
                      <a:pt x="3132" y="5252"/>
                    </a:lnTo>
                    <a:lnTo>
                      <a:pt x="3128" y="5254"/>
                    </a:lnTo>
                    <a:lnTo>
                      <a:pt x="3124" y="5254"/>
                    </a:lnTo>
                    <a:lnTo>
                      <a:pt x="3120" y="5254"/>
                    </a:lnTo>
                    <a:lnTo>
                      <a:pt x="3116" y="5256"/>
                    </a:lnTo>
                    <a:lnTo>
                      <a:pt x="3116" y="5256"/>
                    </a:lnTo>
                    <a:lnTo>
                      <a:pt x="3114" y="5258"/>
                    </a:lnTo>
                    <a:lnTo>
                      <a:pt x="3112" y="5256"/>
                    </a:lnTo>
                    <a:lnTo>
                      <a:pt x="3106" y="5254"/>
                    </a:lnTo>
                    <a:lnTo>
                      <a:pt x="3100" y="5250"/>
                    </a:lnTo>
                    <a:lnTo>
                      <a:pt x="3092" y="5246"/>
                    </a:lnTo>
                    <a:lnTo>
                      <a:pt x="3092" y="5246"/>
                    </a:lnTo>
                    <a:lnTo>
                      <a:pt x="3076" y="5242"/>
                    </a:lnTo>
                    <a:lnTo>
                      <a:pt x="3068" y="5242"/>
                    </a:lnTo>
                    <a:lnTo>
                      <a:pt x="3064" y="5242"/>
                    </a:lnTo>
                    <a:lnTo>
                      <a:pt x="3060" y="5246"/>
                    </a:lnTo>
                    <a:lnTo>
                      <a:pt x="3060" y="5246"/>
                    </a:lnTo>
                    <a:lnTo>
                      <a:pt x="3056" y="5250"/>
                    </a:lnTo>
                    <a:lnTo>
                      <a:pt x="3050" y="5252"/>
                    </a:lnTo>
                    <a:lnTo>
                      <a:pt x="3048" y="5256"/>
                    </a:lnTo>
                    <a:lnTo>
                      <a:pt x="3048" y="5262"/>
                    </a:lnTo>
                    <a:lnTo>
                      <a:pt x="3048" y="5262"/>
                    </a:lnTo>
                    <a:lnTo>
                      <a:pt x="3050" y="5270"/>
                    </a:lnTo>
                    <a:lnTo>
                      <a:pt x="3050" y="5272"/>
                    </a:lnTo>
                    <a:lnTo>
                      <a:pt x="3052" y="5272"/>
                    </a:lnTo>
                    <a:lnTo>
                      <a:pt x="3056" y="5270"/>
                    </a:lnTo>
                    <a:lnTo>
                      <a:pt x="3062" y="5268"/>
                    </a:lnTo>
                    <a:lnTo>
                      <a:pt x="3062" y="5268"/>
                    </a:lnTo>
                    <a:lnTo>
                      <a:pt x="3078" y="5270"/>
                    </a:lnTo>
                    <a:lnTo>
                      <a:pt x="3086" y="5272"/>
                    </a:lnTo>
                    <a:lnTo>
                      <a:pt x="3092" y="5274"/>
                    </a:lnTo>
                    <a:lnTo>
                      <a:pt x="3092" y="5274"/>
                    </a:lnTo>
                    <a:lnTo>
                      <a:pt x="3096" y="5278"/>
                    </a:lnTo>
                    <a:lnTo>
                      <a:pt x="3098" y="5276"/>
                    </a:lnTo>
                    <a:lnTo>
                      <a:pt x="3102" y="5274"/>
                    </a:lnTo>
                    <a:lnTo>
                      <a:pt x="3106" y="5274"/>
                    </a:lnTo>
                    <a:lnTo>
                      <a:pt x="3106" y="5274"/>
                    </a:lnTo>
                    <a:lnTo>
                      <a:pt x="3108" y="5274"/>
                    </a:lnTo>
                    <a:lnTo>
                      <a:pt x="3110" y="5272"/>
                    </a:lnTo>
                    <a:lnTo>
                      <a:pt x="3112" y="5270"/>
                    </a:lnTo>
                    <a:lnTo>
                      <a:pt x="3120" y="5272"/>
                    </a:lnTo>
                    <a:lnTo>
                      <a:pt x="3120" y="5272"/>
                    </a:lnTo>
                    <a:lnTo>
                      <a:pt x="3124" y="5272"/>
                    </a:lnTo>
                    <a:lnTo>
                      <a:pt x="3128" y="5272"/>
                    </a:lnTo>
                    <a:lnTo>
                      <a:pt x="3134" y="5270"/>
                    </a:lnTo>
                    <a:lnTo>
                      <a:pt x="3138" y="5268"/>
                    </a:lnTo>
                    <a:lnTo>
                      <a:pt x="3142" y="5266"/>
                    </a:lnTo>
                    <a:lnTo>
                      <a:pt x="3142" y="5266"/>
                    </a:lnTo>
                    <a:lnTo>
                      <a:pt x="3150" y="5266"/>
                    </a:lnTo>
                    <a:lnTo>
                      <a:pt x="3158" y="5264"/>
                    </a:lnTo>
                    <a:lnTo>
                      <a:pt x="3166" y="5260"/>
                    </a:lnTo>
                    <a:lnTo>
                      <a:pt x="3168" y="5258"/>
                    </a:lnTo>
                    <a:lnTo>
                      <a:pt x="3170" y="5254"/>
                    </a:lnTo>
                    <a:lnTo>
                      <a:pt x="3170" y="5254"/>
                    </a:lnTo>
                    <a:lnTo>
                      <a:pt x="3170" y="5252"/>
                    </a:lnTo>
                    <a:lnTo>
                      <a:pt x="3174" y="5248"/>
                    </a:lnTo>
                    <a:lnTo>
                      <a:pt x="3176" y="5244"/>
                    </a:lnTo>
                    <a:lnTo>
                      <a:pt x="3176" y="5238"/>
                    </a:lnTo>
                    <a:lnTo>
                      <a:pt x="3176" y="5238"/>
                    </a:lnTo>
                    <a:close/>
                    <a:moveTo>
                      <a:pt x="3042" y="5268"/>
                    </a:moveTo>
                    <a:lnTo>
                      <a:pt x="3042" y="5268"/>
                    </a:lnTo>
                    <a:lnTo>
                      <a:pt x="3044" y="5266"/>
                    </a:lnTo>
                    <a:lnTo>
                      <a:pt x="3046" y="5264"/>
                    </a:lnTo>
                    <a:lnTo>
                      <a:pt x="3044" y="5262"/>
                    </a:lnTo>
                    <a:lnTo>
                      <a:pt x="3042" y="5260"/>
                    </a:lnTo>
                    <a:lnTo>
                      <a:pt x="3042" y="5260"/>
                    </a:lnTo>
                    <a:lnTo>
                      <a:pt x="3040" y="5262"/>
                    </a:lnTo>
                    <a:lnTo>
                      <a:pt x="3040" y="5266"/>
                    </a:lnTo>
                    <a:lnTo>
                      <a:pt x="3040" y="5268"/>
                    </a:lnTo>
                    <a:lnTo>
                      <a:pt x="3042" y="5268"/>
                    </a:lnTo>
                    <a:lnTo>
                      <a:pt x="3042" y="5268"/>
                    </a:lnTo>
                    <a:close/>
                    <a:moveTo>
                      <a:pt x="3038" y="5258"/>
                    </a:moveTo>
                    <a:lnTo>
                      <a:pt x="3038" y="5258"/>
                    </a:lnTo>
                    <a:lnTo>
                      <a:pt x="3038" y="5258"/>
                    </a:lnTo>
                    <a:lnTo>
                      <a:pt x="3040" y="5256"/>
                    </a:lnTo>
                    <a:lnTo>
                      <a:pt x="3040" y="5254"/>
                    </a:lnTo>
                    <a:lnTo>
                      <a:pt x="3038" y="5252"/>
                    </a:lnTo>
                    <a:lnTo>
                      <a:pt x="3038" y="5252"/>
                    </a:lnTo>
                    <a:lnTo>
                      <a:pt x="3034" y="5250"/>
                    </a:lnTo>
                    <a:lnTo>
                      <a:pt x="3032" y="5250"/>
                    </a:lnTo>
                    <a:lnTo>
                      <a:pt x="3032" y="5252"/>
                    </a:lnTo>
                    <a:lnTo>
                      <a:pt x="3032" y="5252"/>
                    </a:lnTo>
                    <a:lnTo>
                      <a:pt x="3032" y="5258"/>
                    </a:lnTo>
                    <a:lnTo>
                      <a:pt x="3030" y="5262"/>
                    </a:lnTo>
                    <a:lnTo>
                      <a:pt x="3030" y="5262"/>
                    </a:lnTo>
                    <a:lnTo>
                      <a:pt x="3032" y="5266"/>
                    </a:lnTo>
                    <a:lnTo>
                      <a:pt x="3032" y="5264"/>
                    </a:lnTo>
                    <a:lnTo>
                      <a:pt x="3034" y="5260"/>
                    </a:lnTo>
                    <a:lnTo>
                      <a:pt x="3038" y="5258"/>
                    </a:lnTo>
                    <a:lnTo>
                      <a:pt x="3038" y="5258"/>
                    </a:lnTo>
                    <a:close/>
                    <a:moveTo>
                      <a:pt x="2740" y="626"/>
                    </a:moveTo>
                    <a:lnTo>
                      <a:pt x="2740" y="626"/>
                    </a:lnTo>
                    <a:lnTo>
                      <a:pt x="2756" y="630"/>
                    </a:lnTo>
                    <a:lnTo>
                      <a:pt x="2768" y="628"/>
                    </a:lnTo>
                    <a:lnTo>
                      <a:pt x="2778" y="624"/>
                    </a:lnTo>
                    <a:lnTo>
                      <a:pt x="2784" y="618"/>
                    </a:lnTo>
                    <a:lnTo>
                      <a:pt x="2786" y="612"/>
                    </a:lnTo>
                    <a:lnTo>
                      <a:pt x="2786" y="608"/>
                    </a:lnTo>
                    <a:lnTo>
                      <a:pt x="2784" y="604"/>
                    </a:lnTo>
                    <a:lnTo>
                      <a:pt x="2782" y="602"/>
                    </a:lnTo>
                    <a:lnTo>
                      <a:pt x="2776" y="600"/>
                    </a:lnTo>
                    <a:lnTo>
                      <a:pt x="2764" y="598"/>
                    </a:lnTo>
                    <a:lnTo>
                      <a:pt x="2764" y="598"/>
                    </a:lnTo>
                    <a:lnTo>
                      <a:pt x="2748" y="598"/>
                    </a:lnTo>
                    <a:lnTo>
                      <a:pt x="2736" y="598"/>
                    </a:lnTo>
                    <a:lnTo>
                      <a:pt x="2726" y="600"/>
                    </a:lnTo>
                    <a:lnTo>
                      <a:pt x="2720" y="604"/>
                    </a:lnTo>
                    <a:lnTo>
                      <a:pt x="2716" y="608"/>
                    </a:lnTo>
                    <a:lnTo>
                      <a:pt x="2720" y="614"/>
                    </a:lnTo>
                    <a:lnTo>
                      <a:pt x="2726" y="618"/>
                    </a:lnTo>
                    <a:lnTo>
                      <a:pt x="2740" y="626"/>
                    </a:lnTo>
                    <a:lnTo>
                      <a:pt x="2740" y="626"/>
                    </a:lnTo>
                    <a:close/>
                    <a:moveTo>
                      <a:pt x="162" y="3354"/>
                    </a:moveTo>
                    <a:lnTo>
                      <a:pt x="162" y="3354"/>
                    </a:lnTo>
                    <a:lnTo>
                      <a:pt x="160" y="3358"/>
                    </a:lnTo>
                    <a:lnTo>
                      <a:pt x="162" y="3364"/>
                    </a:lnTo>
                    <a:lnTo>
                      <a:pt x="164" y="3366"/>
                    </a:lnTo>
                    <a:lnTo>
                      <a:pt x="166" y="3368"/>
                    </a:lnTo>
                    <a:lnTo>
                      <a:pt x="168" y="3366"/>
                    </a:lnTo>
                    <a:lnTo>
                      <a:pt x="168" y="3366"/>
                    </a:lnTo>
                    <a:lnTo>
                      <a:pt x="168" y="3362"/>
                    </a:lnTo>
                    <a:lnTo>
                      <a:pt x="166" y="3356"/>
                    </a:lnTo>
                    <a:lnTo>
                      <a:pt x="164" y="3352"/>
                    </a:lnTo>
                    <a:lnTo>
                      <a:pt x="162" y="3352"/>
                    </a:lnTo>
                    <a:lnTo>
                      <a:pt x="162" y="3354"/>
                    </a:lnTo>
                    <a:lnTo>
                      <a:pt x="162" y="3354"/>
                    </a:lnTo>
                    <a:close/>
                    <a:moveTo>
                      <a:pt x="3766" y="1952"/>
                    </a:moveTo>
                    <a:lnTo>
                      <a:pt x="3766" y="1952"/>
                    </a:lnTo>
                    <a:lnTo>
                      <a:pt x="3772" y="1954"/>
                    </a:lnTo>
                    <a:lnTo>
                      <a:pt x="3776" y="1954"/>
                    </a:lnTo>
                    <a:lnTo>
                      <a:pt x="3780" y="1950"/>
                    </a:lnTo>
                    <a:lnTo>
                      <a:pt x="3782" y="1944"/>
                    </a:lnTo>
                    <a:lnTo>
                      <a:pt x="3784" y="1940"/>
                    </a:lnTo>
                    <a:lnTo>
                      <a:pt x="3782" y="1934"/>
                    </a:lnTo>
                    <a:lnTo>
                      <a:pt x="3780" y="1930"/>
                    </a:lnTo>
                    <a:lnTo>
                      <a:pt x="3774" y="1928"/>
                    </a:lnTo>
                    <a:lnTo>
                      <a:pt x="3774" y="1928"/>
                    </a:lnTo>
                    <a:lnTo>
                      <a:pt x="3768" y="1928"/>
                    </a:lnTo>
                    <a:lnTo>
                      <a:pt x="3764" y="1930"/>
                    </a:lnTo>
                    <a:lnTo>
                      <a:pt x="3760" y="1932"/>
                    </a:lnTo>
                    <a:lnTo>
                      <a:pt x="3758" y="1936"/>
                    </a:lnTo>
                    <a:lnTo>
                      <a:pt x="3758" y="1938"/>
                    </a:lnTo>
                    <a:lnTo>
                      <a:pt x="3760" y="1944"/>
                    </a:lnTo>
                    <a:lnTo>
                      <a:pt x="3762" y="1948"/>
                    </a:lnTo>
                    <a:lnTo>
                      <a:pt x="3766" y="1952"/>
                    </a:lnTo>
                    <a:lnTo>
                      <a:pt x="3766" y="1952"/>
                    </a:lnTo>
                    <a:close/>
                    <a:moveTo>
                      <a:pt x="3314" y="2942"/>
                    </a:moveTo>
                    <a:lnTo>
                      <a:pt x="3314" y="2942"/>
                    </a:lnTo>
                    <a:lnTo>
                      <a:pt x="3316" y="2940"/>
                    </a:lnTo>
                    <a:lnTo>
                      <a:pt x="3318" y="2936"/>
                    </a:lnTo>
                    <a:lnTo>
                      <a:pt x="3316" y="2932"/>
                    </a:lnTo>
                    <a:lnTo>
                      <a:pt x="3312" y="2930"/>
                    </a:lnTo>
                    <a:lnTo>
                      <a:pt x="3312" y="2930"/>
                    </a:lnTo>
                    <a:lnTo>
                      <a:pt x="3310" y="2930"/>
                    </a:lnTo>
                    <a:lnTo>
                      <a:pt x="3310" y="2932"/>
                    </a:lnTo>
                    <a:lnTo>
                      <a:pt x="3310" y="2936"/>
                    </a:lnTo>
                    <a:lnTo>
                      <a:pt x="3312" y="2940"/>
                    </a:lnTo>
                    <a:lnTo>
                      <a:pt x="3314" y="2942"/>
                    </a:lnTo>
                    <a:lnTo>
                      <a:pt x="3314" y="2942"/>
                    </a:lnTo>
                    <a:close/>
                    <a:moveTo>
                      <a:pt x="3310" y="2998"/>
                    </a:moveTo>
                    <a:lnTo>
                      <a:pt x="3310" y="2998"/>
                    </a:lnTo>
                    <a:lnTo>
                      <a:pt x="3308" y="2998"/>
                    </a:lnTo>
                    <a:lnTo>
                      <a:pt x="3308" y="3002"/>
                    </a:lnTo>
                    <a:lnTo>
                      <a:pt x="3310" y="3004"/>
                    </a:lnTo>
                    <a:lnTo>
                      <a:pt x="3312" y="3006"/>
                    </a:lnTo>
                    <a:lnTo>
                      <a:pt x="3312" y="3006"/>
                    </a:lnTo>
                    <a:lnTo>
                      <a:pt x="3314" y="3006"/>
                    </a:lnTo>
                    <a:lnTo>
                      <a:pt x="3314" y="3002"/>
                    </a:lnTo>
                    <a:lnTo>
                      <a:pt x="3312" y="2998"/>
                    </a:lnTo>
                    <a:lnTo>
                      <a:pt x="3310" y="2998"/>
                    </a:lnTo>
                    <a:lnTo>
                      <a:pt x="3310" y="2998"/>
                    </a:lnTo>
                    <a:close/>
                    <a:moveTo>
                      <a:pt x="468" y="3506"/>
                    </a:moveTo>
                    <a:lnTo>
                      <a:pt x="468" y="3506"/>
                    </a:lnTo>
                    <a:lnTo>
                      <a:pt x="468" y="3508"/>
                    </a:lnTo>
                    <a:lnTo>
                      <a:pt x="466" y="3510"/>
                    </a:lnTo>
                    <a:lnTo>
                      <a:pt x="458" y="3514"/>
                    </a:lnTo>
                    <a:lnTo>
                      <a:pt x="452" y="3518"/>
                    </a:lnTo>
                    <a:lnTo>
                      <a:pt x="450" y="3520"/>
                    </a:lnTo>
                    <a:lnTo>
                      <a:pt x="450" y="3522"/>
                    </a:lnTo>
                    <a:lnTo>
                      <a:pt x="450" y="3522"/>
                    </a:lnTo>
                    <a:lnTo>
                      <a:pt x="452" y="3524"/>
                    </a:lnTo>
                    <a:lnTo>
                      <a:pt x="456" y="3524"/>
                    </a:lnTo>
                    <a:lnTo>
                      <a:pt x="464" y="3520"/>
                    </a:lnTo>
                    <a:lnTo>
                      <a:pt x="476" y="3514"/>
                    </a:lnTo>
                    <a:lnTo>
                      <a:pt x="484" y="3504"/>
                    </a:lnTo>
                    <a:lnTo>
                      <a:pt x="484" y="3504"/>
                    </a:lnTo>
                    <a:lnTo>
                      <a:pt x="486" y="3502"/>
                    </a:lnTo>
                    <a:lnTo>
                      <a:pt x="486" y="3500"/>
                    </a:lnTo>
                    <a:lnTo>
                      <a:pt x="480" y="3502"/>
                    </a:lnTo>
                    <a:lnTo>
                      <a:pt x="468" y="3506"/>
                    </a:lnTo>
                    <a:lnTo>
                      <a:pt x="468" y="3506"/>
                    </a:lnTo>
                    <a:close/>
                    <a:moveTo>
                      <a:pt x="1966" y="4176"/>
                    </a:moveTo>
                    <a:lnTo>
                      <a:pt x="1966" y="4176"/>
                    </a:lnTo>
                    <a:lnTo>
                      <a:pt x="1966" y="4176"/>
                    </a:lnTo>
                    <a:lnTo>
                      <a:pt x="1964" y="4176"/>
                    </a:lnTo>
                    <a:lnTo>
                      <a:pt x="1960" y="4184"/>
                    </a:lnTo>
                    <a:lnTo>
                      <a:pt x="1958" y="4200"/>
                    </a:lnTo>
                    <a:lnTo>
                      <a:pt x="1956" y="4222"/>
                    </a:lnTo>
                    <a:lnTo>
                      <a:pt x="1956" y="4222"/>
                    </a:lnTo>
                    <a:lnTo>
                      <a:pt x="1954" y="4242"/>
                    </a:lnTo>
                    <a:lnTo>
                      <a:pt x="1952" y="4252"/>
                    </a:lnTo>
                    <a:lnTo>
                      <a:pt x="1950" y="4260"/>
                    </a:lnTo>
                    <a:lnTo>
                      <a:pt x="1952" y="4272"/>
                    </a:lnTo>
                    <a:lnTo>
                      <a:pt x="1952" y="4272"/>
                    </a:lnTo>
                    <a:lnTo>
                      <a:pt x="1954" y="4278"/>
                    </a:lnTo>
                    <a:lnTo>
                      <a:pt x="1956" y="4280"/>
                    </a:lnTo>
                    <a:lnTo>
                      <a:pt x="1958" y="4274"/>
                    </a:lnTo>
                    <a:lnTo>
                      <a:pt x="1962" y="4248"/>
                    </a:lnTo>
                    <a:lnTo>
                      <a:pt x="1962" y="4248"/>
                    </a:lnTo>
                    <a:lnTo>
                      <a:pt x="1962" y="4240"/>
                    </a:lnTo>
                    <a:lnTo>
                      <a:pt x="1962" y="4236"/>
                    </a:lnTo>
                    <a:lnTo>
                      <a:pt x="1962" y="4234"/>
                    </a:lnTo>
                    <a:lnTo>
                      <a:pt x="1964" y="4232"/>
                    </a:lnTo>
                    <a:lnTo>
                      <a:pt x="1964" y="4232"/>
                    </a:lnTo>
                    <a:lnTo>
                      <a:pt x="1966" y="4228"/>
                    </a:lnTo>
                    <a:lnTo>
                      <a:pt x="1966" y="4226"/>
                    </a:lnTo>
                    <a:lnTo>
                      <a:pt x="1964" y="4218"/>
                    </a:lnTo>
                    <a:lnTo>
                      <a:pt x="1964" y="4210"/>
                    </a:lnTo>
                    <a:lnTo>
                      <a:pt x="1964" y="4206"/>
                    </a:lnTo>
                    <a:lnTo>
                      <a:pt x="1964" y="4204"/>
                    </a:lnTo>
                    <a:lnTo>
                      <a:pt x="1964" y="4204"/>
                    </a:lnTo>
                    <a:lnTo>
                      <a:pt x="1968" y="4200"/>
                    </a:lnTo>
                    <a:lnTo>
                      <a:pt x="1970" y="4192"/>
                    </a:lnTo>
                    <a:lnTo>
                      <a:pt x="1970" y="4182"/>
                    </a:lnTo>
                    <a:lnTo>
                      <a:pt x="1966" y="4176"/>
                    </a:lnTo>
                    <a:lnTo>
                      <a:pt x="1966" y="4176"/>
                    </a:lnTo>
                    <a:close/>
                    <a:moveTo>
                      <a:pt x="1508" y="4454"/>
                    </a:moveTo>
                    <a:lnTo>
                      <a:pt x="1508" y="4454"/>
                    </a:lnTo>
                    <a:lnTo>
                      <a:pt x="1504" y="4444"/>
                    </a:lnTo>
                    <a:lnTo>
                      <a:pt x="1498" y="4430"/>
                    </a:lnTo>
                    <a:lnTo>
                      <a:pt x="1492" y="4416"/>
                    </a:lnTo>
                    <a:lnTo>
                      <a:pt x="1484" y="4404"/>
                    </a:lnTo>
                    <a:lnTo>
                      <a:pt x="1484" y="4404"/>
                    </a:lnTo>
                    <a:lnTo>
                      <a:pt x="1478" y="4396"/>
                    </a:lnTo>
                    <a:lnTo>
                      <a:pt x="1474" y="4388"/>
                    </a:lnTo>
                    <a:lnTo>
                      <a:pt x="1472" y="4380"/>
                    </a:lnTo>
                    <a:lnTo>
                      <a:pt x="1464" y="4372"/>
                    </a:lnTo>
                    <a:lnTo>
                      <a:pt x="1464" y="4372"/>
                    </a:lnTo>
                    <a:lnTo>
                      <a:pt x="1456" y="4364"/>
                    </a:lnTo>
                    <a:lnTo>
                      <a:pt x="1448" y="4360"/>
                    </a:lnTo>
                    <a:lnTo>
                      <a:pt x="1442" y="4360"/>
                    </a:lnTo>
                    <a:lnTo>
                      <a:pt x="1438" y="4362"/>
                    </a:lnTo>
                    <a:lnTo>
                      <a:pt x="1438" y="4362"/>
                    </a:lnTo>
                    <a:lnTo>
                      <a:pt x="1438" y="4364"/>
                    </a:lnTo>
                    <a:lnTo>
                      <a:pt x="1440" y="4368"/>
                    </a:lnTo>
                    <a:lnTo>
                      <a:pt x="1444" y="4372"/>
                    </a:lnTo>
                    <a:lnTo>
                      <a:pt x="1446" y="4382"/>
                    </a:lnTo>
                    <a:lnTo>
                      <a:pt x="1446" y="4382"/>
                    </a:lnTo>
                    <a:lnTo>
                      <a:pt x="1446" y="4392"/>
                    </a:lnTo>
                    <a:lnTo>
                      <a:pt x="1444" y="4398"/>
                    </a:lnTo>
                    <a:lnTo>
                      <a:pt x="1440" y="4404"/>
                    </a:lnTo>
                    <a:lnTo>
                      <a:pt x="1440" y="4410"/>
                    </a:lnTo>
                    <a:lnTo>
                      <a:pt x="1440" y="4410"/>
                    </a:lnTo>
                    <a:lnTo>
                      <a:pt x="1440" y="4420"/>
                    </a:lnTo>
                    <a:lnTo>
                      <a:pt x="1438" y="4430"/>
                    </a:lnTo>
                    <a:lnTo>
                      <a:pt x="1436" y="4438"/>
                    </a:lnTo>
                    <a:lnTo>
                      <a:pt x="1436" y="4438"/>
                    </a:lnTo>
                    <a:lnTo>
                      <a:pt x="1436" y="4436"/>
                    </a:lnTo>
                    <a:lnTo>
                      <a:pt x="1436" y="4436"/>
                    </a:lnTo>
                    <a:lnTo>
                      <a:pt x="1434" y="4432"/>
                    </a:lnTo>
                    <a:lnTo>
                      <a:pt x="1432" y="4432"/>
                    </a:lnTo>
                    <a:lnTo>
                      <a:pt x="1432" y="4432"/>
                    </a:lnTo>
                    <a:lnTo>
                      <a:pt x="1430" y="4440"/>
                    </a:lnTo>
                    <a:lnTo>
                      <a:pt x="1432" y="4456"/>
                    </a:lnTo>
                    <a:lnTo>
                      <a:pt x="1432" y="4456"/>
                    </a:lnTo>
                    <a:lnTo>
                      <a:pt x="1434" y="4476"/>
                    </a:lnTo>
                    <a:lnTo>
                      <a:pt x="1434" y="4500"/>
                    </a:lnTo>
                    <a:lnTo>
                      <a:pt x="1436" y="4512"/>
                    </a:lnTo>
                    <a:lnTo>
                      <a:pt x="1438" y="4524"/>
                    </a:lnTo>
                    <a:lnTo>
                      <a:pt x="1442" y="4534"/>
                    </a:lnTo>
                    <a:lnTo>
                      <a:pt x="1450" y="4544"/>
                    </a:lnTo>
                    <a:lnTo>
                      <a:pt x="1450" y="4544"/>
                    </a:lnTo>
                    <a:lnTo>
                      <a:pt x="1458" y="4548"/>
                    </a:lnTo>
                    <a:lnTo>
                      <a:pt x="1464" y="4550"/>
                    </a:lnTo>
                    <a:lnTo>
                      <a:pt x="1470" y="4550"/>
                    </a:lnTo>
                    <a:lnTo>
                      <a:pt x="1476" y="4548"/>
                    </a:lnTo>
                    <a:lnTo>
                      <a:pt x="1488" y="4540"/>
                    </a:lnTo>
                    <a:lnTo>
                      <a:pt x="1502" y="4532"/>
                    </a:lnTo>
                    <a:lnTo>
                      <a:pt x="1502" y="4532"/>
                    </a:lnTo>
                    <a:lnTo>
                      <a:pt x="1508" y="4526"/>
                    </a:lnTo>
                    <a:lnTo>
                      <a:pt x="1512" y="4520"/>
                    </a:lnTo>
                    <a:lnTo>
                      <a:pt x="1516" y="4510"/>
                    </a:lnTo>
                    <a:lnTo>
                      <a:pt x="1518" y="4502"/>
                    </a:lnTo>
                    <a:lnTo>
                      <a:pt x="1518" y="4484"/>
                    </a:lnTo>
                    <a:lnTo>
                      <a:pt x="1516" y="4476"/>
                    </a:lnTo>
                    <a:lnTo>
                      <a:pt x="1514" y="4472"/>
                    </a:lnTo>
                    <a:lnTo>
                      <a:pt x="1514" y="4472"/>
                    </a:lnTo>
                    <a:lnTo>
                      <a:pt x="1512" y="4466"/>
                    </a:lnTo>
                    <a:lnTo>
                      <a:pt x="1512" y="4462"/>
                    </a:lnTo>
                    <a:lnTo>
                      <a:pt x="1510" y="4458"/>
                    </a:lnTo>
                    <a:lnTo>
                      <a:pt x="1508" y="4454"/>
                    </a:lnTo>
                    <a:lnTo>
                      <a:pt x="1508" y="4454"/>
                    </a:lnTo>
                    <a:close/>
                    <a:moveTo>
                      <a:pt x="1946" y="4308"/>
                    </a:moveTo>
                    <a:lnTo>
                      <a:pt x="1946" y="4308"/>
                    </a:lnTo>
                    <a:lnTo>
                      <a:pt x="1942" y="4310"/>
                    </a:lnTo>
                    <a:lnTo>
                      <a:pt x="1940" y="4316"/>
                    </a:lnTo>
                    <a:lnTo>
                      <a:pt x="1940" y="4322"/>
                    </a:lnTo>
                    <a:lnTo>
                      <a:pt x="1942" y="4328"/>
                    </a:lnTo>
                    <a:lnTo>
                      <a:pt x="1942" y="4328"/>
                    </a:lnTo>
                    <a:lnTo>
                      <a:pt x="1944" y="4328"/>
                    </a:lnTo>
                    <a:lnTo>
                      <a:pt x="1946" y="4326"/>
                    </a:lnTo>
                    <a:lnTo>
                      <a:pt x="1948" y="4320"/>
                    </a:lnTo>
                    <a:lnTo>
                      <a:pt x="1950" y="4312"/>
                    </a:lnTo>
                    <a:lnTo>
                      <a:pt x="1948" y="4310"/>
                    </a:lnTo>
                    <a:lnTo>
                      <a:pt x="1946" y="4308"/>
                    </a:lnTo>
                    <a:lnTo>
                      <a:pt x="1946" y="4308"/>
                    </a:lnTo>
                    <a:close/>
                    <a:moveTo>
                      <a:pt x="1996" y="4488"/>
                    </a:moveTo>
                    <a:lnTo>
                      <a:pt x="1996" y="4488"/>
                    </a:lnTo>
                    <a:lnTo>
                      <a:pt x="1994" y="4492"/>
                    </a:lnTo>
                    <a:lnTo>
                      <a:pt x="1994" y="4496"/>
                    </a:lnTo>
                    <a:lnTo>
                      <a:pt x="1994" y="4504"/>
                    </a:lnTo>
                    <a:lnTo>
                      <a:pt x="1998" y="4508"/>
                    </a:lnTo>
                    <a:lnTo>
                      <a:pt x="2000" y="4510"/>
                    </a:lnTo>
                    <a:lnTo>
                      <a:pt x="2002" y="4508"/>
                    </a:lnTo>
                    <a:lnTo>
                      <a:pt x="2002" y="4508"/>
                    </a:lnTo>
                    <a:lnTo>
                      <a:pt x="2004" y="4506"/>
                    </a:lnTo>
                    <a:lnTo>
                      <a:pt x="2004" y="4502"/>
                    </a:lnTo>
                    <a:lnTo>
                      <a:pt x="2004" y="4494"/>
                    </a:lnTo>
                    <a:lnTo>
                      <a:pt x="2000" y="4488"/>
                    </a:lnTo>
                    <a:lnTo>
                      <a:pt x="1998" y="4488"/>
                    </a:lnTo>
                    <a:lnTo>
                      <a:pt x="1996" y="4488"/>
                    </a:lnTo>
                    <a:lnTo>
                      <a:pt x="1996" y="4488"/>
                    </a:lnTo>
                    <a:close/>
                    <a:moveTo>
                      <a:pt x="1980" y="4454"/>
                    </a:moveTo>
                    <a:lnTo>
                      <a:pt x="1980" y="4454"/>
                    </a:lnTo>
                    <a:lnTo>
                      <a:pt x="1982" y="4454"/>
                    </a:lnTo>
                    <a:lnTo>
                      <a:pt x="1984" y="4454"/>
                    </a:lnTo>
                    <a:lnTo>
                      <a:pt x="1982" y="4448"/>
                    </a:lnTo>
                    <a:lnTo>
                      <a:pt x="1982" y="4448"/>
                    </a:lnTo>
                    <a:lnTo>
                      <a:pt x="1980" y="4448"/>
                    </a:lnTo>
                    <a:lnTo>
                      <a:pt x="1978" y="4448"/>
                    </a:lnTo>
                    <a:lnTo>
                      <a:pt x="1978" y="4450"/>
                    </a:lnTo>
                    <a:lnTo>
                      <a:pt x="1980" y="4454"/>
                    </a:lnTo>
                    <a:lnTo>
                      <a:pt x="1980" y="4454"/>
                    </a:lnTo>
                    <a:close/>
                    <a:moveTo>
                      <a:pt x="1954" y="4386"/>
                    </a:moveTo>
                    <a:lnTo>
                      <a:pt x="1954" y="4386"/>
                    </a:lnTo>
                    <a:lnTo>
                      <a:pt x="1952" y="4390"/>
                    </a:lnTo>
                    <a:lnTo>
                      <a:pt x="1952" y="4394"/>
                    </a:lnTo>
                    <a:lnTo>
                      <a:pt x="1954" y="4396"/>
                    </a:lnTo>
                    <a:lnTo>
                      <a:pt x="1958" y="4396"/>
                    </a:lnTo>
                    <a:lnTo>
                      <a:pt x="1958" y="4396"/>
                    </a:lnTo>
                    <a:lnTo>
                      <a:pt x="1960" y="4394"/>
                    </a:lnTo>
                    <a:lnTo>
                      <a:pt x="1958" y="4390"/>
                    </a:lnTo>
                    <a:lnTo>
                      <a:pt x="1958" y="4386"/>
                    </a:lnTo>
                    <a:lnTo>
                      <a:pt x="1956" y="4386"/>
                    </a:lnTo>
                    <a:lnTo>
                      <a:pt x="1954" y="4386"/>
                    </a:lnTo>
                    <a:lnTo>
                      <a:pt x="1954" y="4386"/>
                    </a:lnTo>
                    <a:close/>
                    <a:moveTo>
                      <a:pt x="2078" y="4702"/>
                    </a:moveTo>
                    <a:lnTo>
                      <a:pt x="2078" y="4702"/>
                    </a:lnTo>
                    <a:lnTo>
                      <a:pt x="2078" y="4706"/>
                    </a:lnTo>
                    <a:lnTo>
                      <a:pt x="2080" y="4710"/>
                    </a:lnTo>
                    <a:lnTo>
                      <a:pt x="2084" y="4714"/>
                    </a:lnTo>
                    <a:lnTo>
                      <a:pt x="2090" y="4720"/>
                    </a:lnTo>
                    <a:lnTo>
                      <a:pt x="2090" y="4720"/>
                    </a:lnTo>
                    <a:lnTo>
                      <a:pt x="2102" y="4728"/>
                    </a:lnTo>
                    <a:lnTo>
                      <a:pt x="2106" y="4730"/>
                    </a:lnTo>
                    <a:lnTo>
                      <a:pt x="2106" y="4726"/>
                    </a:lnTo>
                    <a:lnTo>
                      <a:pt x="2106" y="4726"/>
                    </a:lnTo>
                    <a:lnTo>
                      <a:pt x="2102" y="4716"/>
                    </a:lnTo>
                    <a:lnTo>
                      <a:pt x="2094" y="4706"/>
                    </a:lnTo>
                    <a:lnTo>
                      <a:pt x="2084" y="4700"/>
                    </a:lnTo>
                    <a:lnTo>
                      <a:pt x="2080" y="4700"/>
                    </a:lnTo>
                    <a:lnTo>
                      <a:pt x="2078" y="4702"/>
                    </a:lnTo>
                    <a:lnTo>
                      <a:pt x="2078" y="4702"/>
                    </a:lnTo>
                    <a:close/>
                    <a:moveTo>
                      <a:pt x="2508" y="4960"/>
                    </a:moveTo>
                    <a:lnTo>
                      <a:pt x="2508" y="4960"/>
                    </a:lnTo>
                    <a:lnTo>
                      <a:pt x="2502" y="4956"/>
                    </a:lnTo>
                    <a:lnTo>
                      <a:pt x="2500" y="4950"/>
                    </a:lnTo>
                    <a:lnTo>
                      <a:pt x="2496" y="4932"/>
                    </a:lnTo>
                    <a:lnTo>
                      <a:pt x="2494" y="4924"/>
                    </a:lnTo>
                    <a:lnTo>
                      <a:pt x="2490" y="4918"/>
                    </a:lnTo>
                    <a:lnTo>
                      <a:pt x="2484" y="4914"/>
                    </a:lnTo>
                    <a:lnTo>
                      <a:pt x="2476" y="4912"/>
                    </a:lnTo>
                    <a:lnTo>
                      <a:pt x="2476" y="4912"/>
                    </a:lnTo>
                    <a:lnTo>
                      <a:pt x="2466" y="4916"/>
                    </a:lnTo>
                    <a:lnTo>
                      <a:pt x="2464" y="4920"/>
                    </a:lnTo>
                    <a:lnTo>
                      <a:pt x="2464" y="4926"/>
                    </a:lnTo>
                    <a:lnTo>
                      <a:pt x="2462" y="4928"/>
                    </a:lnTo>
                    <a:lnTo>
                      <a:pt x="2460" y="4932"/>
                    </a:lnTo>
                    <a:lnTo>
                      <a:pt x="2460" y="4932"/>
                    </a:lnTo>
                    <a:lnTo>
                      <a:pt x="2456" y="4936"/>
                    </a:lnTo>
                    <a:lnTo>
                      <a:pt x="2454" y="4938"/>
                    </a:lnTo>
                    <a:lnTo>
                      <a:pt x="2454" y="4940"/>
                    </a:lnTo>
                    <a:lnTo>
                      <a:pt x="2456" y="4942"/>
                    </a:lnTo>
                    <a:lnTo>
                      <a:pt x="2464" y="4944"/>
                    </a:lnTo>
                    <a:lnTo>
                      <a:pt x="2474" y="4942"/>
                    </a:lnTo>
                    <a:lnTo>
                      <a:pt x="2474" y="4942"/>
                    </a:lnTo>
                    <a:lnTo>
                      <a:pt x="2478" y="4944"/>
                    </a:lnTo>
                    <a:lnTo>
                      <a:pt x="2480" y="4948"/>
                    </a:lnTo>
                    <a:lnTo>
                      <a:pt x="2484" y="4958"/>
                    </a:lnTo>
                    <a:lnTo>
                      <a:pt x="2488" y="4972"/>
                    </a:lnTo>
                    <a:lnTo>
                      <a:pt x="2490" y="4976"/>
                    </a:lnTo>
                    <a:lnTo>
                      <a:pt x="2494" y="4978"/>
                    </a:lnTo>
                    <a:lnTo>
                      <a:pt x="2494" y="4978"/>
                    </a:lnTo>
                    <a:lnTo>
                      <a:pt x="2502" y="4984"/>
                    </a:lnTo>
                    <a:lnTo>
                      <a:pt x="2508" y="4988"/>
                    </a:lnTo>
                    <a:lnTo>
                      <a:pt x="2512" y="4990"/>
                    </a:lnTo>
                    <a:lnTo>
                      <a:pt x="2516" y="4990"/>
                    </a:lnTo>
                    <a:lnTo>
                      <a:pt x="2516" y="4990"/>
                    </a:lnTo>
                    <a:lnTo>
                      <a:pt x="2518" y="4990"/>
                    </a:lnTo>
                    <a:lnTo>
                      <a:pt x="2520" y="4988"/>
                    </a:lnTo>
                    <a:lnTo>
                      <a:pt x="2518" y="4984"/>
                    </a:lnTo>
                    <a:lnTo>
                      <a:pt x="2516" y="4978"/>
                    </a:lnTo>
                    <a:lnTo>
                      <a:pt x="2514" y="4976"/>
                    </a:lnTo>
                    <a:lnTo>
                      <a:pt x="2516" y="4974"/>
                    </a:lnTo>
                    <a:lnTo>
                      <a:pt x="2516" y="4974"/>
                    </a:lnTo>
                    <a:lnTo>
                      <a:pt x="2518" y="4970"/>
                    </a:lnTo>
                    <a:lnTo>
                      <a:pt x="2518" y="4966"/>
                    </a:lnTo>
                    <a:lnTo>
                      <a:pt x="2514" y="4964"/>
                    </a:lnTo>
                    <a:lnTo>
                      <a:pt x="2508" y="4960"/>
                    </a:lnTo>
                    <a:lnTo>
                      <a:pt x="2508" y="4960"/>
                    </a:lnTo>
                    <a:close/>
                    <a:moveTo>
                      <a:pt x="2428" y="4870"/>
                    </a:moveTo>
                    <a:lnTo>
                      <a:pt x="2428" y="4870"/>
                    </a:lnTo>
                    <a:lnTo>
                      <a:pt x="2432" y="4868"/>
                    </a:lnTo>
                    <a:lnTo>
                      <a:pt x="2434" y="4862"/>
                    </a:lnTo>
                    <a:lnTo>
                      <a:pt x="2434" y="4858"/>
                    </a:lnTo>
                    <a:lnTo>
                      <a:pt x="2432" y="4856"/>
                    </a:lnTo>
                    <a:lnTo>
                      <a:pt x="2430" y="4856"/>
                    </a:lnTo>
                    <a:lnTo>
                      <a:pt x="2430" y="4856"/>
                    </a:lnTo>
                    <a:lnTo>
                      <a:pt x="2426" y="4858"/>
                    </a:lnTo>
                    <a:lnTo>
                      <a:pt x="2424" y="4860"/>
                    </a:lnTo>
                    <a:lnTo>
                      <a:pt x="2420" y="4866"/>
                    </a:lnTo>
                    <a:lnTo>
                      <a:pt x="2420" y="4868"/>
                    </a:lnTo>
                    <a:lnTo>
                      <a:pt x="2420" y="4872"/>
                    </a:lnTo>
                    <a:lnTo>
                      <a:pt x="2424" y="4872"/>
                    </a:lnTo>
                    <a:lnTo>
                      <a:pt x="2428" y="4870"/>
                    </a:lnTo>
                    <a:lnTo>
                      <a:pt x="2428" y="4870"/>
                    </a:lnTo>
                    <a:close/>
                    <a:moveTo>
                      <a:pt x="2450" y="4852"/>
                    </a:moveTo>
                    <a:lnTo>
                      <a:pt x="2450" y="4852"/>
                    </a:lnTo>
                    <a:lnTo>
                      <a:pt x="2444" y="4848"/>
                    </a:lnTo>
                    <a:lnTo>
                      <a:pt x="2434" y="4840"/>
                    </a:lnTo>
                    <a:lnTo>
                      <a:pt x="2434" y="4840"/>
                    </a:lnTo>
                    <a:lnTo>
                      <a:pt x="2430" y="4836"/>
                    </a:lnTo>
                    <a:lnTo>
                      <a:pt x="2428" y="4838"/>
                    </a:lnTo>
                    <a:lnTo>
                      <a:pt x="2428" y="4846"/>
                    </a:lnTo>
                    <a:lnTo>
                      <a:pt x="2428" y="4846"/>
                    </a:lnTo>
                    <a:lnTo>
                      <a:pt x="2430" y="4848"/>
                    </a:lnTo>
                    <a:lnTo>
                      <a:pt x="2432" y="4850"/>
                    </a:lnTo>
                    <a:lnTo>
                      <a:pt x="2438" y="4854"/>
                    </a:lnTo>
                    <a:lnTo>
                      <a:pt x="2446" y="4854"/>
                    </a:lnTo>
                    <a:lnTo>
                      <a:pt x="2450" y="4852"/>
                    </a:lnTo>
                    <a:lnTo>
                      <a:pt x="2450" y="4852"/>
                    </a:lnTo>
                    <a:close/>
                    <a:moveTo>
                      <a:pt x="2378" y="4806"/>
                    </a:moveTo>
                    <a:lnTo>
                      <a:pt x="2378" y="4806"/>
                    </a:lnTo>
                    <a:lnTo>
                      <a:pt x="2376" y="4806"/>
                    </a:lnTo>
                    <a:lnTo>
                      <a:pt x="2376" y="4810"/>
                    </a:lnTo>
                    <a:lnTo>
                      <a:pt x="2376" y="4812"/>
                    </a:lnTo>
                    <a:lnTo>
                      <a:pt x="2378" y="4814"/>
                    </a:lnTo>
                    <a:lnTo>
                      <a:pt x="2378" y="4814"/>
                    </a:lnTo>
                    <a:lnTo>
                      <a:pt x="2382" y="4814"/>
                    </a:lnTo>
                    <a:lnTo>
                      <a:pt x="2382" y="4810"/>
                    </a:lnTo>
                    <a:lnTo>
                      <a:pt x="2380" y="4806"/>
                    </a:lnTo>
                    <a:lnTo>
                      <a:pt x="2378" y="4806"/>
                    </a:lnTo>
                    <a:lnTo>
                      <a:pt x="2378" y="4806"/>
                    </a:lnTo>
                    <a:close/>
                    <a:moveTo>
                      <a:pt x="2422" y="4774"/>
                    </a:moveTo>
                    <a:lnTo>
                      <a:pt x="2422" y="4774"/>
                    </a:lnTo>
                    <a:lnTo>
                      <a:pt x="2414" y="4778"/>
                    </a:lnTo>
                    <a:lnTo>
                      <a:pt x="2412" y="4782"/>
                    </a:lnTo>
                    <a:lnTo>
                      <a:pt x="2412" y="4782"/>
                    </a:lnTo>
                    <a:lnTo>
                      <a:pt x="2410" y="4784"/>
                    </a:lnTo>
                    <a:lnTo>
                      <a:pt x="2410" y="4784"/>
                    </a:lnTo>
                    <a:lnTo>
                      <a:pt x="2406" y="4788"/>
                    </a:lnTo>
                    <a:lnTo>
                      <a:pt x="2406" y="4790"/>
                    </a:lnTo>
                    <a:lnTo>
                      <a:pt x="2410" y="4792"/>
                    </a:lnTo>
                    <a:lnTo>
                      <a:pt x="2414" y="4790"/>
                    </a:lnTo>
                    <a:lnTo>
                      <a:pt x="2414" y="4790"/>
                    </a:lnTo>
                    <a:lnTo>
                      <a:pt x="2414" y="4790"/>
                    </a:lnTo>
                    <a:lnTo>
                      <a:pt x="2414" y="4790"/>
                    </a:lnTo>
                    <a:lnTo>
                      <a:pt x="2420" y="4796"/>
                    </a:lnTo>
                    <a:lnTo>
                      <a:pt x="2420" y="4796"/>
                    </a:lnTo>
                    <a:lnTo>
                      <a:pt x="2416" y="4796"/>
                    </a:lnTo>
                    <a:lnTo>
                      <a:pt x="2414" y="4796"/>
                    </a:lnTo>
                    <a:lnTo>
                      <a:pt x="2414" y="4798"/>
                    </a:lnTo>
                    <a:lnTo>
                      <a:pt x="2414" y="4800"/>
                    </a:lnTo>
                    <a:lnTo>
                      <a:pt x="2414" y="4800"/>
                    </a:lnTo>
                    <a:lnTo>
                      <a:pt x="2418" y="4804"/>
                    </a:lnTo>
                    <a:lnTo>
                      <a:pt x="2420" y="4804"/>
                    </a:lnTo>
                    <a:lnTo>
                      <a:pt x="2422" y="4802"/>
                    </a:lnTo>
                    <a:lnTo>
                      <a:pt x="2420" y="4798"/>
                    </a:lnTo>
                    <a:lnTo>
                      <a:pt x="2420" y="4798"/>
                    </a:lnTo>
                    <a:lnTo>
                      <a:pt x="2420" y="4798"/>
                    </a:lnTo>
                    <a:lnTo>
                      <a:pt x="2420" y="4798"/>
                    </a:lnTo>
                    <a:lnTo>
                      <a:pt x="2432" y="4808"/>
                    </a:lnTo>
                    <a:lnTo>
                      <a:pt x="2432" y="4808"/>
                    </a:lnTo>
                    <a:lnTo>
                      <a:pt x="2436" y="4808"/>
                    </a:lnTo>
                    <a:lnTo>
                      <a:pt x="2438" y="4804"/>
                    </a:lnTo>
                    <a:lnTo>
                      <a:pt x="2438" y="4798"/>
                    </a:lnTo>
                    <a:lnTo>
                      <a:pt x="2438" y="4790"/>
                    </a:lnTo>
                    <a:lnTo>
                      <a:pt x="2436" y="4782"/>
                    </a:lnTo>
                    <a:lnTo>
                      <a:pt x="2434" y="4776"/>
                    </a:lnTo>
                    <a:lnTo>
                      <a:pt x="2428" y="4774"/>
                    </a:lnTo>
                    <a:lnTo>
                      <a:pt x="2422" y="4774"/>
                    </a:lnTo>
                    <a:lnTo>
                      <a:pt x="2422" y="4774"/>
                    </a:lnTo>
                    <a:close/>
                    <a:moveTo>
                      <a:pt x="2384" y="4796"/>
                    </a:moveTo>
                    <a:lnTo>
                      <a:pt x="2384" y="4796"/>
                    </a:lnTo>
                    <a:lnTo>
                      <a:pt x="2384" y="4798"/>
                    </a:lnTo>
                    <a:lnTo>
                      <a:pt x="2384" y="4802"/>
                    </a:lnTo>
                    <a:lnTo>
                      <a:pt x="2386" y="4806"/>
                    </a:lnTo>
                    <a:lnTo>
                      <a:pt x="2390" y="4806"/>
                    </a:lnTo>
                    <a:lnTo>
                      <a:pt x="2390" y="4806"/>
                    </a:lnTo>
                    <a:lnTo>
                      <a:pt x="2392" y="4806"/>
                    </a:lnTo>
                    <a:lnTo>
                      <a:pt x="2390" y="4802"/>
                    </a:lnTo>
                    <a:lnTo>
                      <a:pt x="2388" y="4798"/>
                    </a:lnTo>
                    <a:lnTo>
                      <a:pt x="2384" y="4796"/>
                    </a:lnTo>
                    <a:lnTo>
                      <a:pt x="2384" y="4796"/>
                    </a:lnTo>
                    <a:close/>
                    <a:moveTo>
                      <a:pt x="2578" y="4662"/>
                    </a:moveTo>
                    <a:lnTo>
                      <a:pt x="2578" y="4662"/>
                    </a:lnTo>
                    <a:lnTo>
                      <a:pt x="2580" y="4662"/>
                    </a:lnTo>
                    <a:lnTo>
                      <a:pt x="2584" y="4660"/>
                    </a:lnTo>
                    <a:lnTo>
                      <a:pt x="2584" y="4650"/>
                    </a:lnTo>
                    <a:lnTo>
                      <a:pt x="2584" y="4640"/>
                    </a:lnTo>
                    <a:lnTo>
                      <a:pt x="2582" y="4634"/>
                    </a:lnTo>
                    <a:lnTo>
                      <a:pt x="2582" y="4634"/>
                    </a:lnTo>
                    <a:lnTo>
                      <a:pt x="2578" y="4634"/>
                    </a:lnTo>
                    <a:lnTo>
                      <a:pt x="2574" y="4640"/>
                    </a:lnTo>
                    <a:lnTo>
                      <a:pt x="2570" y="4646"/>
                    </a:lnTo>
                    <a:lnTo>
                      <a:pt x="2572" y="4650"/>
                    </a:lnTo>
                    <a:lnTo>
                      <a:pt x="2574" y="4652"/>
                    </a:lnTo>
                    <a:lnTo>
                      <a:pt x="2574" y="4652"/>
                    </a:lnTo>
                    <a:lnTo>
                      <a:pt x="2578" y="4656"/>
                    </a:lnTo>
                    <a:lnTo>
                      <a:pt x="2576" y="4658"/>
                    </a:lnTo>
                    <a:lnTo>
                      <a:pt x="2574" y="4660"/>
                    </a:lnTo>
                    <a:lnTo>
                      <a:pt x="2578" y="4662"/>
                    </a:lnTo>
                    <a:lnTo>
                      <a:pt x="2578" y="4662"/>
                    </a:lnTo>
                    <a:close/>
                    <a:moveTo>
                      <a:pt x="2136" y="4766"/>
                    </a:moveTo>
                    <a:lnTo>
                      <a:pt x="2136" y="4766"/>
                    </a:lnTo>
                    <a:lnTo>
                      <a:pt x="2134" y="4768"/>
                    </a:lnTo>
                    <a:lnTo>
                      <a:pt x="2134" y="4772"/>
                    </a:lnTo>
                    <a:lnTo>
                      <a:pt x="2138" y="4782"/>
                    </a:lnTo>
                    <a:lnTo>
                      <a:pt x="2154" y="4806"/>
                    </a:lnTo>
                    <a:lnTo>
                      <a:pt x="2154" y="4806"/>
                    </a:lnTo>
                    <a:lnTo>
                      <a:pt x="2158" y="4812"/>
                    </a:lnTo>
                    <a:lnTo>
                      <a:pt x="2162" y="4812"/>
                    </a:lnTo>
                    <a:lnTo>
                      <a:pt x="2164" y="4810"/>
                    </a:lnTo>
                    <a:lnTo>
                      <a:pt x="2166" y="4806"/>
                    </a:lnTo>
                    <a:lnTo>
                      <a:pt x="2166" y="4794"/>
                    </a:lnTo>
                    <a:lnTo>
                      <a:pt x="2164" y="4790"/>
                    </a:lnTo>
                    <a:lnTo>
                      <a:pt x="2160" y="4786"/>
                    </a:lnTo>
                    <a:lnTo>
                      <a:pt x="2160" y="4786"/>
                    </a:lnTo>
                    <a:lnTo>
                      <a:pt x="2154" y="4780"/>
                    </a:lnTo>
                    <a:lnTo>
                      <a:pt x="2150" y="4772"/>
                    </a:lnTo>
                    <a:lnTo>
                      <a:pt x="2144" y="4768"/>
                    </a:lnTo>
                    <a:lnTo>
                      <a:pt x="2140" y="4766"/>
                    </a:lnTo>
                    <a:lnTo>
                      <a:pt x="2136" y="4766"/>
                    </a:lnTo>
                    <a:lnTo>
                      <a:pt x="2136" y="4766"/>
                    </a:lnTo>
                    <a:close/>
                    <a:moveTo>
                      <a:pt x="2832" y="5258"/>
                    </a:moveTo>
                    <a:lnTo>
                      <a:pt x="2832" y="5258"/>
                    </a:lnTo>
                    <a:lnTo>
                      <a:pt x="2828" y="5254"/>
                    </a:lnTo>
                    <a:lnTo>
                      <a:pt x="2828" y="5248"/>
                    </a:lnTo>
                    <a:lnTo>
                      <a:pt x="2832" y="5234"/>
                    </a:lnTo>
                    <a:lnTo>
                      <a:pt x="2832" y="5226"/>
                    </a:lnTo>
                    <a:lnTo>
                      <a:pt x="2832" y="5220"/>
                    </a:lnTo>
                    <a:lnTo>
                      <a:pt x="2828" y="5214"/>
                    </a:lnTo>
                    <a:lnTo>
                      <a:pt x="2820" y="5212"/>
                    </a:lnTo>
                    <a:lnTo>
                      <a:pt x="2820" y="5212"/>
                    </a:lnTo>
                    <a:lnTo>
                      <a:pt x="2808" y="5212"/>
                    </a:lnTo>
                    <a:lnTo>
                      <a:pt x="2798" y="5214"/>
                    </a:lnTo>
                    <a:lnTo>
                      <a:pt x="2786" y="5216"/>
                    </a:lnTo>
                    <a:lnTo>
                      <a:pt x="2780" y="5216"/>
                    </a:lnTo>
                    <a:lnTo>
                      <a:pt x="2772" y="5212"/>
                    </a:lnTo>
                    <a:lnTo>
                      <a:pt x="2772" y="5212"/>
                    </a:lnTo>
                    <a:lnTo>
                      <a:pt x="2762" y="5208"/>
                    </a:lnTo>
                    <a:lnTo>
                      <a:pt x="2762" y="5206"/>
                    </a:lnTo>
                    <a:lnTo>
                      <a:pt x="2762" y="5204"/>
                    </a:lnTo>
                    <a:lnTo>
                      <a:pt x="2762" y="5196"/>
                    </a:lnTo>
                    <a:lnTo>
                      <a:pt x="2762" y="5190"/>
                    </a:lnTo>
                    <a:lnTo>
                      <a:pt x="2758" y="5184"/>
                    </a:lnTo>
                    <a:lnTo>
                      <a:pt x="2758" y="5184"/>
                    </a:lnTo>
                    <a:lnTo>
                      <a:pt x="2754" y="5178"/>
                    </a:lnTo>
                    <a:lnTo>
                      <a:pt x="2752" y="5174"/>
                    </a:lnTo>
                    <a:lnTo>
                      <a:pt x="2748" y="5174"/>
                    </a:lnTo>
                    <a:lnTo>
                      <a:pt x="2746" y="5176"/>
                    </a:lnTo>
                    <a:lnTo>
                      <a:pt x="2740" y="5178"/>
                    </a:lnTo>
                    <a:lnTo>
                      <a:pt x="2738" y="5178"/>
                    </a:lnTo>
                    <a:lnTo>
                      <a:pt x="2734" y="5174"/>
                    </a:lnTo>
                    <a:lnTo>
                      <a:pt x="2734" y="5174"/>
                    </a:lnTo>
                    <a:lnTo>
                      <a:pt x="2730" y="5168"/>
                    </a:lnTo>
                    <a:lnTo>
                      <a:pt x="2728" y="5170"/>
                    </a:lnTo>
                    <a:lnTo>
                      <a:pt x="2726" y="5170"/>
                    </a:lnTo>
                    <a:lnTo>
                      <a:pt x="2720" y="5166"/>
                    </a:lnTo>
                    <a:lnTo>
                      <a:pt x="2720" y="5166"/>
                    </a:lnTo>
                    <a:lnTo>
                      <a:pt x="2718" y="5164"/>
                    </a:lnTo>
                    <a:lnTo>
                      <a:pt x="2714" y="5162"/>
                    </a:lnTo>
                    <a:lnTo>
                      <a:pt x="2708" y="5164"/>
                    </a:lnTo>
                    <a:lnTo>
                      <a:pt x="2704" y="5166"/>
                    </a:lnTo>
                    <a:lnTo>
                      <a:pt x="2700" y="5166"/>
                    </a:lnTo>
                    <a:lnTo>
                      <a:pt x="2698" y="5162"/>
                    </a:lnTo>
                    <a:lnTo>
                      <a:pt x="2698" y="5162"/>
                    </a:lnTo>
                    <a:lnTo>
                      <a:pt x="2694" y="5154"/>
                    </a:lnTo>
                    <a:lnTo>
                      <a:pt x="2692" y="5150"/>
                    </a:lnTo>
                    <a:lnTo>
                      <a:pt x="2688" y="5148"/>
                    </a:lnTo>
                    <a:lnTo>
                      <a:pt x="2686" y="5150"/>
                    </a:lnTo>
                    <a:lnTo>
                      <a:pt x="2682" y="5152"/>
                    </a:lnTo>
                    <a:lnTo>
                      <a:pt x="2680" y="5156"/>
                    </a:lnTo>
                    <a:lnTo>
                      <a:pt x="2676" y="5166"/>
                    </a:lnTo>
                    <a:lnTo>
                      <a:pt x="2676" y="5166"/>
                    </a:lnTo>
                    <a:lnTo>
                      <a:pt x="2670" y="5178"/>
                    </a:lnTo>
                    <a:lnTo>
                      <a:pt x="2668" y="5180"/>
                    </a:lnTo>
                    <a:lnTo>
                      <a:pt x="2666" y="5180"/>
                    </a:lnTo>
                    <a:lnTo>
                      <a:pt x="2660" y="5176"/>
                    </a:lnTo>
                    <a:lnTo>
                      <a:pt x="2654" y="5174"/>
                    </a:lnTo>
                    <a:lnTo>
                      <a:pt x="2646" y="5172"/>
                    </a:lnTo>
                    <a:lnTo>
                      <a:pt x="2646" y="5172"/>
                    </a:lnTo>
                    <a:lnTo>
                      <a:pt x="2634" y="5174"/>
                    </a:lnTo>
                    <a:lnTo>
                      <a:pt x="2630" y="5174"/>
                    </a:lnTo>
                    <a:lnTo>
                      <a:pt x="2626" y="5176"/>
                    </a:lnTo>
                    <a:lnTo>
                      <a:pt x="2620" y="5174"/>
                    </a:lnTo>
                    <a:lnTo>
                      <a:pt x="2620" y="5174"/>
                    </a:lnTo>
                    <a:lnTo>
                      <a:pt x="2612" y="5172"/>
                    </a:lnTo>
                    <a:lnTo>
                      <a:pt x="2604" y="5172"/>
                    </a:lnTo>
                    <a:lnTo>
                      <a:pt x="2600" y="5170"/>
                    </a:lnTo>
                    <a:lnTo>
                      <a:pt x="2596" y="5168"/>
                    </a:lnTo>
                    <a:lnTo>
                      <a:pt x="2594" y="5162"/>
                    </a:lnTo>
                    <a:lnTo>
                      <a:pt x="2590" y="5154"/>
                    </a:lnTo>
                    <a:lnTo>
                      <a:pt x="2590" y="5154"/>
                    </a:lnTo>
                    <a:lnTo>
                      <a:pt x="2588" y="5148"/>
                    </a:lnTo>
                    <a:lnTo>
                      <a:pt x="2586" y="5144"/>
                    </a:lnTo>
                    <a:lnTo>
                      <a:pt x="2584" y="5144"/>
                    </a:lnTo>
                    <a:lnTo>
                      <a:pt x="2582" y="5144"/>
                    </a:lnTo>
                    <a:lnTo>
                      <a:pt x="2576" y="5146"/>
                    </a:lnTo>
                    <a:lnTo>
                      <a:pt x="2574" y="5146"/>
                    </a:lnTo>
                    <a:lnTo>
                      <a:pt x="2570" y="5142"/>
                    </a:lnTo>
                    <a:lnTo>
                      <a:pt x="2570" y="5142"/>
                    </a:lnTo>
                    <a:lnTo>
                      <a:pt x="2566" y="5140"/>
                    </a:lnTo>
                    <a:lnTo>
                      <a:pt x="2564" y="5140"/>
                    </a:lnTo>
                    <a:lnTo>
                      <a:pt x="2558" y="5140"/>
                    </a:lnTo>
                    <a:lnTo>
                      <a:pt x="2554" y="5142"/>
                    </a:lnTo>
                    <a:lnTo>
                      <a:pt x="2552" y="5140"/>
                    </a:lnTo>
                    <a:lnTo>
                      <a:pt x="2550" y="5138"/>
                    </a:lnTo>
                    <a:lnTo>
                      <a:pt x="2550" y="5138"/>
                    </a:lnTo>
                    <a:lnTo>
                      <a:pt x="2544" y="5132"/>
                    </a:lnTo>
                    <a:lnTo>
                      <a:pt x="2538" y="5128"/>
                    </a:lnTo>
                    <a:lnTo>
                      <a:pt x="2532" y="5128"/>
                    </a:lnTo>
                    <a:lnTo>
                      <a:pt x="2530" y="5130"/>
                    </a:lnTo>
                    <a:lnTo>
                      <a:pt x="2530" y="5132"/>
                    </a:lnTo>
                    <a:lnTo>
                      <a:pt x="2530" y="5132"/>
                    </a:lnTo>
                    <a:lnTo>
                      <a:pt x="2528" y="5136"/>
                    </a:lnTo>
                    <a:lnTo>
                      <a:pt x="2526" y="5136"/>
                    </a:lnTo>
                    <a:lnTo>
                      <a:pt x="2520" y="5136"/>
                    </a:lnTo>
                    <a:lnTo>
                      <a:pt x="2512" y="5132"/>
                    </a:lnTo>
                    <a:lnTo>
                      <a:pt x="2498" y="5130"/>
                    </a:lnTo>
                    <a:lnTo>
                      <a:pt x="2498" y="5130"/>
                    </a:lnTo>
                    <a:lnTo>
                      <a:pt x="2492" y="5130"/>
                    </a:lnTo>
                    <a:lnTo>
                      <a:pt x="2488" y="5132"/>
                    </a:lnTo>
                    <a:lnTo>
                      <a:pt x="2486" y="5136"/>
                    </a:lnTo>
                    <a:lnTo>
                      <a:pt x="2484" y="5140"/>
                    </a:lnTo>
                    <a:lnTo>
                      <a:pt x="2482" y="5150"/>
                    </a:lnTo>
                    <a:lnTo>
                      <a:pt x="2480" y="5152"/>
                    </a:lnTo>
                    <a:lnTo>
                      <a:pt x="2478" y="5154"/>
                    </a:lnTo>
                    <a:lnTo>
                      <a:pt x="2478" y="5154"/>
                    </a:lnTo>
                    <a:lnTo>
                      <a:pt x="2474" y="5156"/>
                    </a:lnTo>
                    <a:lnTo>
                      <a:pt x="2472" y="5160"/>
                    </a:lnTo>
                    <a:lnTo>
                      <a:pt x="2472" y="5164"/>
                    </a:lnTo>
                    <a:lnTo>
                      <a:pt x="2464" y="5164"/>
                    </a:lnTo>
                    <a:lnTo>
                      <a:pt x="2464" y="5164"/>
                    </a:lnTo>
                    <a:lnTo>
                      <a:pt x="2460" y="5166"/>
                    </a:lnTo>
                    <a:lnTo>
                      <a:pt x="2458" y="5168"/>
                    </a:lnTo>
                    <a:lnTo>
                      <a:pt x="2460" y="5172"/>
                    </a:lnTo>
                    <a:lnTo>
                      <a:pt x="2464" y="5174"/>
                    </a:lnTo>
                    <a:lnTo>
                      <a:pt x="2464" y="5174"/>
                    </a:lnTo>
                    <a:lnTo>
                      <a:pt x="2474" y="5174"/>
                    </a:lnTo>
                    <a:lnTo>
                      <a:pt x="2482" y="5174"/>
                    </a:lnTo>
                    <a:lnTo>
                      <a:pt x="2490" y="5174"/>
                    </a:lnTo>
                    <a:lnTo>
                      <a:pt x="2494" y="5174"/>
                    </a:lnTo>
                    <a:lnTo>
                      <a:pt x="2496" y="5178"/>
                    </a:lnTo>
                    <a:lnTo>
                      <a:pt x="2496" y="5178"/>
                    </a:lnTo>
                    <a:lnTo>
                      <a:pt x="2500" y="5180"/>
                    </a:lnTo>
                    <a:lnTo>
                      <a:pt x="2504" y="5180"/>
                    </a:lnTo>
                    <a:lnTo>
                      <a:pt x="2510" y="5180"/>
                    </a:lnTo>
                    <a:lnTo>
                      <a:pt x="2510" y="5180"/>
                    </a:lnTo>
                    <a:lnTo>
                      <a:pt x="2512" y="5180"/>
                    </a:lnTo>
                    <a:lnTo>
                      <a:pt x="2508" y="5188"/>
                    </a:lnTo>
                    <a:lnTo>
                      <a:pt x="2508" y="5188"/>
                    </a:lnTo>
                    <a:lnTo>
                      <a:pt x="2506" y="5194"/>
                    </a:lnTo>
                    <a:lnTo>
                      <a:pt x="2508" y="5198"/>
                    </a:lnTo>
                    <a:lnTo>
                      <a:pt x="2510" y="5200"/>
                    </a:lnTo>
                    <a:lnTo>
                      <a:pt x="2516" y="5200"/>
                    </a:lnTo>
                    <a:lnTo>
                      <a:pt x="2536" y="5204"/>
                    </a:lnTo>
                    <a:lnTo>
                      <a:pt x="2550" y="5210"/>
                    </a:lnTo>
                    <a:lnTo>
                      <a:pt x="2570" y="5218"/>
                    </a:lnTo>
                    <a:lnTo>
                      <a:pt x="2570" y="5218"/>
                    </a:lnTo>
                    <a:lnTo>
                      <a:pt x="2576" y="5220"/>
                    </a:lnTo>
                    <a:lnTo>
                      <a:pt x="2584" y="5220"/>
                    </a:lnTo>
                    <a:lnTo>
                      <a:pt x="2588" y="5220"/>
                    </a:lnTo>
                    <a:lnTo>
                      <a:pt x="2594" y="5218"/>
                    </a:lnTo>
                    <a:lnTo>
                      <a:pt x="2602" y="5214"/>
                    </a:lnTo>
                    <a:lnTo>
                      <a:pt x="2606" y="5214"/>
                    </a:lnTo>
                    <a:lnTo>
                      <a:pt x="2608" y="5214"/>
                    </a:lnTo>
                    <a:lnTo>
                      <a:pt x="2608" y="5214"/>
                    </a:lnTo>
                    <a:lnTo>
                      <a:pt x="2614" y="5218"/>
                    </a:lnTo>
                    <a:lnTo>
                      <a:pt x="2620" y="5216"/>
                    </a:lnTo>
                    <a:lnTo>
                      <a:pt x="2628" y="5216"/>
                    </a:lnTo>
                    <a:lnTo>
                      <a:pt x="2642" y="5218"/>
                    </a:lnTo>
                    <a:lnTo>
                      <a:pt x="2642" y="5218"/>
                    </a:lnTo>
                    <a:lnTo>
                      <a:pt x="2648" y="5220"/>
                    </a:lnTo>
                    <a:lnTo>
                      <a:pt x="2654" y="5224"/>
                    </a:lnTo>
                    <a:lnTo>
                      <a:pt x="2662" y="5230"/>
                    </a:lnTo>
                    <a:lnTo>
                      <a:pt x="2668" y="5234"/>
                    </a:lnTo>
                    <a:lnTo>
                      <a:pt x="2676" y="5238"/>
                    </a:lnTo>
                    <a:lnTo>
                      <a:pt x="2690" y="5242"/>
                    </a:lnTo>
                    <a:lnTo>
                      <a:pt x="2706" y="5246"/>
                    </a:lnTo>
                    <a:lnTo>
                      <a:pt x="2706" y="5246"/>
                    </a:lnTo>
                    <a:lnTo>
                      <a:pt x="2722" y="5248"/>
                    </a:lnTo>
                    <a:lnTo>
                      <a:pt x="2726" y="5246"/>
                    </a:lnTo>
                    <a:lnTo>
                      <a:pt x="2728" y="5244"/>
                    </a:lnTo>
                    <a:lnTo>
                      <a:pt x="2732" y="5244"/>
                    </a:lnTo>
                    <a:lnTo>
                      <a:pt x="2752" y="5248"/>
                    </a:lnTo>
                    <a:lnTo>
                      <a:pt x="2752" y="5248"/>
                    </a:lnTo>
                    <a:lnTo>
                      <a:pt x="2764" y="5250"/>
                    </a:lnTo>
                    <a:lnTo>
                      <a:pt x="2770" y="5248"/>
                    </a:lnTo>
                    <a:lnTo>
                      <a:pt x="2772" y="5246"/>
                    </a:lnTo>
                    <a:lnTo>
                      <a:pt x="2774" y="5244"/>
                    </a:lnTo>
                    <a:lnTo>
                      <a:pt x="2774" y="5242"/>
                    </a:lnTo>
                    <a:lnTo>
                      <a:pt x="2776" y="5242"/>
                    </a:lnTo>
                    <a:lnTo>
                      <a:pt x="2794" y="5250"/>
                    </a:lnTo>
                    <a:lnTo>
                      <a:pt x="2794" y="5250"/>
                    </a:lnTo>
                    <a:lnTo>
                      <a:pt x="2806" y="5256"/>
                    </a:lnTo>
                    <a:lnTo>
                      <a:pt x="2814" y="5258"/>
                    </a:lnTo>
                    <a:lnTo>
                      <a:pt x="2820" y="5260"/>
                    </a:lnTo>
                    <a:lnTo>
                      <a:pt x="2828" y="5264"/>
                    </a:lnTo>
                    <a:lnTo>
                      <a:pt x="2828" y="5264"/>
                    </a:lnTo>
                    <a:lnTo>
                      <a:pt x="2834" y="5268"/>
                    </a:lnTo>
                    <a:lnTo>
                      <a:pt x="2836" y="5268"/>
                    </a:lnTo>
                    <a:lnTo>
                      <a:pt x="2836" y="5266"/>
                    </a:lnTo>
                    <a:lnTo>
                      <a:pt x="2836" y="5262"/>
                    </a:lnTo>
                    <a:lnTo>
                      <a:pt x="2832" y="5258"/>
                    </a:lnTo>
                    <a:lnTo>
                      <a:pt x="2832" y="5258"/>
                    </a:lnTo>
                    <a:close/>
                    <a:moveTo>
                      <a:pt x="2398" y="4778"/>
                    </a:moveTo>
                    <a:lnTo>
                      <a:pt x="2398" y="4778"/>
                    </a:lnTo>
                    <a:lnTo>
                      <a:pt x="2400" y="4780"/>
                    </a:lnTo>
                    <a:lnTo>
                      <a:pt x="2402" y="4780"/>
                    </a:lnTo>
                    <a:lnTo>
                      <a:pt x="2406" y="4780"/>
                    </a:lnTo>
                    <a:lnTo>
                      <a:pt x="2410" y="4776"/>
                    </a:lnTo>
                    <a:lnTo>
                      <a:pt x="2410" y="4774"/>
                    </a:lnTo>
                    <a:lnTo>
                      <a:pt x="2410" y="4774"/>
                    </a:lnTo>
                    <a:lnTo>
                      <a:pt x="2408" y="4772"/>
                    </a:lnTo>
                    <a:lnTo>
                      <a:pt x="2402" y="4772"/>
                    </a:lnTo>
                    <a:lnTo>
                      <a:pt x="2398" y="4774"/>
                    </a:lnTo>
                    <a:lnTo>
                      <a:pt x="2398" y="4776"/>
                    </a:lnTo>
                    <a:lnTo>
                      <a:pt x="2398" y="4778"/>
                    </a:lnTo>
                    <a:lnTo>
                      <a:pt x="2398" y="4778"/>
                    </a:lnTo>
                    <a:close/>
                    <a:moveTo>
                      <a:pt x="2330" y="4760"/>
                    </a:moveTo>
                    <a:lnTo>
                      <a:pt x="2330" y="4760"/>
                    </a:lnTo>
                    <a:lnTo>
                      <a:pt x="2330" y="4762"/>
                    </a:lnTo>
                    <a:lnTo>
                      <a:pt x="2332" y="4764"/>
                    </a:lnTo>
                    <a:lnTo>
                      <a:pt x="2340" y="4770"/>
                    </a:lnTo>
                    <a:lnTo>
                      <a:pt x="2340" y="4770"/>
                    </a:lnTo>
                    <a:lnTo>
                      <a:pt x="2348" y="4774"/>
                    </a:lnTo>
                    <a:lnTo>
                      <a:pt x="2350" y="4774"/>
                    </a:lnTo>
                    <a:lnTo>
                      <a:pt x="2350" y="4770"/>
                    </a:lnTo>
                    <a:lnTo>
                      <a:pt x="2350" y="4770"/>
                    </a:lnTo>
                    <a:lnTo>
                      <a:pt x="2350" y="4768"/>
                    </a:lnTo>
                    <a:lnTo>
                      <a:pt x="2346" y="4764"/>
                    </a:lnTo>
                    <a:lnTo>
                      <a:pt x="2340" y="4760"/>
                    </a:lnTo>
                    <a:lnTo>
                      <a:pt x="2334" y="4758"/>
                    </a:lnTo>
                    <a:lnTo>
                      <a:pt x="2332" y="4758"/>
                    </a:lnTo>
                    <a:lnTo>
                      <a:pt x="2330" y="4760"/>
                    </a:lnTo>
                    <a:lnTo>
                      <a:pt x="2330" y="4760"/>
                    </a:lnTo>
                    <a:close/>
                    <a:moveTo>
                      <a:pt x="2230" y="4942"/>
                    </a:moveTo>
                    <a:lnTo>
                      <a:pt x="2230" y="4942"/>
                    </a:lnTo>
                    <a:lnTo>
                      <a:pt x="2230" y="4944"/>
                    </a:lnTo>
                    <a:lnTo>
                      <a:pt x="2230" y="4946"/>
                    </a:lnTo>
                    <a:lnTo>
                      <a:pt x="2234" y="4952"/>
                    </a:lnTo>
                    <a:lnTo>
                      <a:pt x="2238" y="4956"/>
                    </a:lnTo>
                    <a:lnTo>
                      <a:pt x="2242" y="4956"/>
                    </a:lnTo>
                    <a:lnTo>
                      <a:pt x="2244" y="4954"/>
                    </a:lnTo>
                    <a:lnTo>
                      <a:pt x="2244" y="4954"/>
                    </a:lnTo>
                    <a:lnTo>
                      <a:pt x="2244" y="4952"/>
                    </a:lnTo>
                    <a:lnTo>
                      <a:pt x="2244" y="4950"/>
                    </a:lnTo>
                    <a:lnTo>
                      <a:pt x="2240" y="4944"/>
                    </a:lnTo>
                    <a:lnTo>
                      <a:pt x="2236" y="4940"/>
                    </a:lnTo>
                    <a:lnTo>
                      <a:pt x="2232" y="4940"/>
                    </a:lnTo>
                    <a:lnTo>
                      <a:pt x="2230" y="4942"/>
                    </a:lnTo>
                    <a:lnTo>
                      <a:pt x="2230" y="4942"/>
                    </a:lnTo>
                    <a:close/>
                    <a:moveTo>
                      <a:pt x="2194" y="4886"/>
                    </a:moveTo>
                    <a:lnTo>
                      <a:pt x="2194" y="4886"/>
                    </a:lnTo>
                    <a:lnTo>
                      <a:pt x="2192" y="4890"/>
                    </a:lnTo>
                    <a:lnTo>
                      <a:pt x="2192" y="4896"/>
                    </a:lnTo>
                    <a:lnTo>
                      <a:pt x="2194" y="4904"/>
                    </a:lnTo>
                    <a:lnTo>
                      <a:pt x="2198" y="4910"/>
                    </a:lnTo>
                    <a:lnTo>
                      <a:pt x="2208" y="4920"/>
                    </a:lnTo>
                    <a:lnTo>
                      <a:pt x="2214" y="4924"/>
                    </a:lnTo>
                    <a:lnTo>
                      <a:pt x="2218" y="4924"/>
                    </a:lnTo>
                    <a:lnTo>
                      <a:pt x="2218" y="4924"/>
                    </a:lnTo>
                    <a:lnTo>
                      <a:pt x="2220" y="4920"/>
                    </a:lnTo>
                    <a:lnTo>
                      <a:pt x="2220" y="4914"/>
                    </a:lnTo>
                    <a:lnTo>
                      <a:pt x="2214" y="4900"/>
                    </a:lnTo>
                    <a:lnTo>
                      <a:pt x="2210" y="4894"/>
                    </a:lnTo>
                    <a:lnTo>
                      <a:pt x="2204" y="4888"/>
                    </a:lnTo>
                    <a:lnTo>
                      <a:pt x="2200" y="4886"/>
                    </a:lnTo>
                    <a:lnTo>
                      <a:pt x="2194" y="4886"/>
                    </a:lnTo>
                    <a:lnTo>
                      <a:pt x="2194" y="4886"/>
                    </a:lnTo>
                    <a:close/>
                    <a:moveTo>
                      <a:pt x="2182" y="4866"/>
                    </a:moveTo>
                    <a:lnTo>
                      <a:pt x="2182" y="4866"/>
                    </a:lnTo>
                    <a:lnTo>
                      <a:pt x="2184" y="4868"/>
                    </a:lnTo>
                    <a:lnTo>
                      <a:pt x="2186" y="4866"/>
                    </a:lnTo>
                    <a:lnTo>
                      <a:pt x="2188" y="4862"/>
                    </a:lnTo>
                    <a:lnTo>
                      <a:pt x="2188" y="4856"/>
                    </a:lnTo>
                    <a:lnTo>
                      <a:pt x="2186" y="4850"/>
                    </a:lnTo>
                    <a:lnTo>
                      <a:pt x="2186" y="4850"/>
                    </a:lnTo>
                    <a:lnTo>
                      <a:pt x="2184" y="4850"/>
                    </a:lnTo>
                    <a:lnTo>
                      <a:pt x="2182" y="4850"/>
                    </a:lnTo>
                    <a:lnTo>
                      <a:pt x="2180" y="4854"/>
                    </a:lnTo>
                    <a:lnTo>
                      <a:pt x="2180" y="4860"/>
                    </a:lnTo>
                    <a:lnTo>
                      <a:pt x="2180" y="4864"/>
                    </a:lnTo>
                    <a:lnTo>
                      <a:pt x="2182" y="4866"/>
                    </a:lnTo>
                    <a:lnTo>
                      <a:pt x="2182" y="4866"/>
                    </a:lnTo>
                    <a:close/>
                    <a:moveTo>
                      <a:pt x="2248" y="4964"/>
                    </a:moveTo>
                    <a:lnTo>
                      <a:pt x="2248" y="4964"/>
                    </a:lnTo>
                    <a:lnTo>
                      <a:pt x="2246" y="4968"/>
                    </a:lnTo>
                    <a:lnTo>
                      <a:pt x="2246" y="4974"/>
                    </a:lnTo>
                    <a:lnTo>
                      <a:pt x="2248" y="4976"/>
                    </a:lnTo>
                    <a:lnTo>
                      <a:pt x="2252" y="4978"/>
                    </a:lnTo>
                    <a:lnTo>
                      <a:pt x="2252" y="4978"/>
                    </a:lnTo>
                    <a:lnTo>
                      <a:pt x="2254" y="4978"/>
                    </a:lnTo>
                    <a:lnTo>
                      <a:pt x="2256" y="4980"/>
                    </a:lnTo>
                    <a:lnTo>
                      <a:pt x="2260" y="4990"/>
                    </a:lnTo>
                    <a:lnTo>
                      <a:pt x="2262" y="4996"/>
                    </a:lnTo>
                    <a:lnTo>
                      <a:pt x="2264" y="4996"/>
                    </a:lnTo>
                    <a:lnTo>
                      <a:pt x="2266" y="4994"/>
                    </a:lnTo>
                    <a:lnTo>
                      <a:pt x="2266" y="4994"/>
                    </a:lnTo>
                    <a:lnTo>
                      <a:pt x="2266" y="4990"/>
                    </a:lnTo>
                    <a:lnTo>
                      <a:pt x="2266" y="4984"/>
                    </a:lnTo>
                    <a:lnTo>
                      <a:pt x="2260" y="4974"/>
                    </a:lnTo>
                    <a:lnTo>
                      <a:pt x="2254" y="4964"/>
                    </a:lnTo>
                    <a:lnTo>
                      <a:pt x="2250" y="4964"/>
                    </a:lnTo>
                    <a:lnTo>
                      <a:pt x="2248" y="4964"/>
                    </a:lnTo>
                    <a:lnTo>
                      <a:pt x="2248" y="4964"/>
                    </a:lnTo>
                    <a:close/>
                    <a:moveTo>
                      <a:pt x="2354" y="4788"/>
                    </a:moveTo>
                    <a:lnTo>
                      <a:pt x="2354" y="4788"/>
                    </a:lnTo>
                    <a:lnTo>
                      <a:pt x="2352" y="4784"/>
                    </a:lnTo>
                    <a:lnTo>
                      <a:pt x="2352" y="4784"/>
                    </a:lnTo>
                    <a:lnTo>
                      <a:pt x="2350" y="4792"/>
                    </a:lnTo>
                    <a:lnTo>
                      <a:pt x="2350" y="4792"/>
                    </a:lnTo>
                    <a:lnTo>
                      <a:pt x="2348" y="4796"/>
                    </a:lnTo>
                    <a:lnTo>
                      <a:pt x="2348" y="4800"/>
                    </a:lnTo>
                    <a:lnTo>
                      <a:pt x="2352" y="4800"/>
                    </a:lnTo>
                    <a:lnTo>
                      <a:pt x="2358" y="4802"/>
                    </a:lnTo>
                    <a:lnTo>
                      <a:pt x="2358" y="4802"/>
                    </a:lnTo>
                    <a:lnTo>
                      <a:pt x="2364" y="4802"/>
                    </a:lnTo>
                    <a:lnTo>
                      <a:pt x="2370" y="4804"/>
                    </a:lnTo>
                    <a:lnTo>
                      <a:pt x="2372" y="4804"/>
                    </a:lnTo>
                    <a:lnTo>
                      <a:pt x="2372" y="4800"/>
                    </a:lnTo>
                    <a:lnTo>
                      <a:pt x="2372" y="4800"/>
                    </a:lnTo>
                    <a:lnTo>
                      <a:pt x="2372" y="4798"/>
                    </a:lnTo>
                    <a:lnTo>
                      <a:pt x="2370" y="4796"/>
                    </a:lnTo>
                    <a:lnTo>
                      <a:pt x="2364" y="4794"/>
                    </a:lnTo>
                    <a:lnTo>
                      <a:pt x="2358" y="4792"/>
                    </a:lnTo>
                    <a:lnTo>
                      <a:pt x="2354" y="4788"/>
                    </a:lnTo>
                    <a:lnTo>
                      <a:pt x="2354" y="4788"/>
                    </a:lnTo>
                    <a:close/>
                    <a:moveTo>
                      <a:pt x="2484" y="5128"/>
                    </a:moveTo>
                    <a:lnTo>
                      <a:pt x="2484" y="5128"/>
                    </a:lnTo>
                    <a:lnTo>
                      <a:pt x="2486" y="5124"/>
                    </a:lnTo>
                    <a:lnTo>
                      <a:pt x="2486" y="5120"/>
                    </a:lnTo>
                    <a:lnTo>
                      <a:pt x="2488" y="5108"/>
                    </a:lnTo>
                    <a:lnTo>
                      <a:pt x="2486" y="5092"/>
                    </a:lnTo>
                    <a:lnTo>
                      <a:pt x="2488" y="5076"/>
                    </a:lnTo>
                    <a:lnTo>
                      <a:pt x="2488" y="5076"/>
                    </a:lnTo>
                    <a:lnTo>
                      <a:pt x="2488" y="5062"/>
                    </a:lnTo>
                    <a:lnTo>
                      <a:pt x="2486" y="5056"/>
                    </a:lnTo>
                    <a:lnTo>
                      <a:pt x="2484" y="5050"/>
                    </a:lnTo>
                    <a:lnTo>
                      <a:pt x="2486" y="5038"/>
                    </a:lnTo>
                    <a:lnTo>
                      <a:pt x="2486" y="5038"/>
                    </a:lnTo>
                    <a:lnTo>
                      <a:pt x="2488" y="5028"/>
                    </a:lnTo>
                    <a:lnTo>
                      <a:pt x="2488" y="5020"/>
                    </a:lnTo>
                    <a:lnTo>
                      <a:pt x="2486" y="5014"/>
                    </a:lnTo>
                    <a:lnTo>
                      <a:pt x="2492" y="5004"/>
                    </a:lnTo>
                    <a:lnTo>
                      <a:pt x="2492" y="5004"/>
                    </a:lnTo>
                    <a:lnTo>
                      <a:pt x="2494" y="4998"/>
                    </a:lnTo>
                    <a:lnTo>
                      <a:pt x="2496" y="4994"/>
                    </a:lnTo>
                    <a:lnTo>
                      <a:pt x="2494" y="4990"/>
                    </a:lnTo>
                    <a:lnTo>
                      <a:pt x="2492" y="4988"/>
                    </a:lnTo>
                    <a:lnTo>
                      <a:pt x="2486" y="4982"/>
                    </a:lnTo>
                    <a:lnTo>
                      <a:pt x="2482" y="4978"/>
                    </a:lnTo>
                    <a:lnTo>
                      <a:pt x="2480" y="4972"/>
                    </a:lnTo>
                    <a:lnTo>
                      <a:pt x="2480" y="4972"/>
                    </a:lnTo>
                    <a:lnTo>
                      <a:pt x="2476" y="4962"/>
                    </a:lnTo>
                    <a:lnTo>
                      <a:pt x="2472" y="4956"/>
                    </a:lnTo>
                    <a:lnTo>
                      <a:pt x="2468" y="4954"/>
                    </a:lnTo>
                    <a:lnTo>
                      <a:pt x="2460" y="4956"/>
                    </a:lnTo>
                    <a:lnTo>
                      <a:pt x="2460" y="4956"/>
                    </a:lnTo>
                    <a:lnTo>
                      <a:pt x="2456" y="4958"/>
                    </a:lnTo>
                    <a:lnTo>
                      <a:pt x="2452" y="4956"/>
                    </a:lnTo>
                    <a:lnTo>
                      <a:pt x="2450" y="4956"/>
                    </a:lnTo>
                    <a:lnTo>
                      <a:pt x="2446" y="4958"/>
                    </a:lnTo>
                    <a:lnTo>
                      <a:pt x="2446" y="4958"/>
                    </a:lnTo>
                    <a:lnTo>
                      <a:pt x="2440" y="4962"/>
                    </a:lnTo>
                    <a:lnTo>
                      <a:pt x="2440" y="4962"/>
                    </a:lnTo>
                    <a:lnTo>
                      <a:pt x="2442" y="4956"/>
                    </a:lnTo>
                    <a:lnTo>
                      <a:pt x="2446" y="4946"/>
                    </a:lnTo>
                    <a:lnTo>
                      <a:pt x="2446" y="4942"/>
                    </a:lnTo>
                    <a:lnTo>
                      <a:pt x="2442" y="4940"/>
                    </a:lnTo>
                    <a:lnTo>
                      <a:pt x="2442" y="4940"/>
                    </a:lnTo>
                    <a:lnTo>
                      <a:pt x="2438" y="4938"/>
                    </a:lnTo>
                    <a:lnTo>
                      <a:pt x="2436" y="4932"/>
                    </a:lnTo>
                    <a:lnTo>
                      <a:pt x="2430" y="4914"/>
                    </a:lnTo>
                    <a:lnTo>
                      <a:pt x="2428" y="4904"/>
                    </a:lnTo>
                    <a:lnTo>
                      <a:pt x="2426" y="4898"/>
                    </a:lnTo>
                    <a:lnTo>
                      <a:pt x="2422" y="4892"/>
                    </a:lnTo>
                    <a:lnTo>
                      <a:pt x="2420" y="4890"/>
                    </a:lnTo>
                    <a:lnTo>
                      <a:pt x="2416" y="4890"/>
                    </a:lnTo>
                    <a:lnTo>
                      <a:pt x="2416" y="4890"/>
                    </a:lnTo>
                    <a:lnTo>
                      <a:pt x="2410" y="4890"/>
                    </a:lnTo>
                    <a:lnTo>
                      <a:pt x="2404" y="4890"/>
                    </a:lnTo>
                    <a:lnTo>
                      <a:pt x="2394" y="4884"/>
                    </a:lnTo>
                    <a:lnTo>
                      <a:pt x="2390" y="4880"/>
                    </a:lnTo>
                    <a:lnTo>
                      <a:pt x="2388" y="4876"/>
                    </a:lnTo>
                    <a:lnTo>
                      <a:pt x="2388" y="4872"/>
                    </a:lnTo>
                    <a:lnTo>
                      <a:pt x="2388" y="4868"/>
                    </a:lnTo>
                    <a:lnTo>
                      <a:pt x="2388" y="4868"/>
                    </a:lnTo>
                    <a:lnTo>
                      <a:pt x="2390" y="4862"/>
                    </a:lnTo>
                    <a:lnTo>
                      <a:pt x="2392" y="4858"/>
                    </a:lnTo>
                    <a:lnTo>
                      <a:pt x="2390" y="4852"/>
                    </a:lnTo>
                    <a:lnTo>
                      <a:pt x="2390" y="4848"/>
                    </a:lnTo>
                    <a:lnTo>
                      <a:pt x="2392" y="4846"/>
                    </a:lnTo>
                    <a:lnTo>
                      <a:pt x="2396" y="4844"/>
                    </a:lnTo>
                    <a:lnTo>
                      <a:pt x="2396" y="4844"/>
                    </a:lnTo>
                    <a:lnTo>
                      <a:pt x="2400" y="4842"/>
                    </a:lnTo>
                    <a:lnTo>
                      <a:pt x="2402" y="4836"/>
                    </a:lnTo>
                    <a:lnTo>
                      <a:pt x="2402" y="4832"/>
                    </a:lnTo>
                    <a:lnTo>
                      <a:pt x="2400" y="4826"/>
                    </a:lnTo>
                    <a:lnTo>
                      <a:pt x="2396" y="4822"/>
                    </a:lnTo>
                    <a:lnTo>
                      <a:pt x="2392" y="4818"/>
                    </a:lnTo>
                    <a:lnTo>
                      <a:pt x="2386" y="4816"/>
                    </a:lnTo>
                    <a:lnTo>
                      <a:pt x="2380" y="4818"/>
                    </a:lnTo>
                    <a:lnTo>
                      <a:pt x="2380" y="4818"/>
                    </a:lnTo>
                    <a:lnTo>
                      <a:pt x="2376" y="4820"/>
                    </a:lnTo>
                    <a:lnTo>
                      <a:pt x="2374" y="4820"/>
                    </a:lnTo>
                    <a:lnTo>
                      <a:pt x="2372" y="4814"/>
                    </a:lnTo>
                    <a:lnTo>
                      <a:pt x="2372" y="4812"/>
                    </a:lnTo>
                    <a:lnTo>
                      <a:pt x="2368" y="4808"/>
                    </a:lnTo>
                    <a:lnTo>
                      <a:pt x="2364" y="4806"/>
                    </a:lnTo>
                    <a:lnTo>
                      <a:pt x="2356" y="4804"/>
                    </a:lnTo>
                    <a:lnTo>
                      <a:pt x="2356" y="4804"/>
                    </a:lnTo>
                    <a:lnTo>
                      <a:pt x="2348" y="4802"/>
                    </a:lnTo>
                    <a:lnTo>
                      <a:pt x="2342" y="4796"/>
                    </a:lnTo>
                    <a:lnTo>
                      <a:pt x="2340" y="4790"/>
                    </a:lnTo>
                    <a:lnTo>
                      <a:pt x="2338" y="4784"/>
                    </a:lnTo>
                    <a:lnTo>
                      <a:pt x="2336" y="4776"/>
                    </a:lnTo>
                    <a:lnTo>
                      <a:pt x="2332" y="4768"/>
                    </a:lnTo>
                    <a:lnTo>
                      <a:pt x="2324" y="4762"/>
                    </a:lnTo>
                    <a:lnTo>
                      <a:pt x="2314" y="4758"/>
                    </a:lnTo>
                    <a:lnTo>
                      <a:pt x="2314" y="4758"/>
                    </a:lnTo>
                    <a:lnTo>
                      <a:pt x="2308" y="4756"/>
                    </a:lnTo>
                    <a:lnTo>
                      <a:pt x="2304" y="4754"/>
                    </a:lnTo>
                    <a:lnTo>
                      <a:pt x="2302" y="4748"/>
                    </a:lnTo>
                    <a:lnTo>
                      <a:pt x="2300" y="4740"/>
                    </a:lnTo>
                    <a:lnTo>
                      <a:pt x="2298" y="4738"/>
                    </a:lnTo>
                    <a:lnTo>
                      <a:pt x="2296" y="4734"/>
                    </a:lnTo>
                    <a:lnTo>
                      <a:pt x="2296" y="4734"/>
                    </a:lnTo>
                    <a:lnTo>
                      <a:pt x="2288" y="4728"/>
                    </a:lnTo>
                    <a:lnTo>
                      <a:pt x="2284" y="4728"/>
                    </a:lnTo>
                    <a:lnTo>
                      <a:pt x="2282" y="4730"/>
                    </a:lnTo>
                    <a:lnTo>
                      <a:pt x="2282" y="4732"/>
                    </a:lnTo>
                    <a:lnTo>
                      <a:pt x="2282" y="4740"/>
                    </a:lnTo>
                    <a:lnTo>
                      <a:pt x="2282" y="4742"/>
                    </a:lnTo>
                    <a:lnTo>
                      <a:pt x="2280" y="4740"/>
                    </a:lnTo>
                    <a:lnTo>
                      <a:pt x="2280" y="4740"/>
                    </a:lnTo>
                    <a:lnTo>
                      <a:pt x="2274" y="4736"/>
                    </a:lnTo>
                    <a:lnTo>
                      <a:pt x="2270" y="4732"/>
                    </a:lnTo>
                    <a:lnTo>
                      <a:pt x="2266" y="4728"/>
                    </a:lnTo>
                    <a:lnTo>
                      <a:pt x="2262" y="4718"/>
                    </a:lnTo>
                    <a:lnTo>
                      <a:pt x="2262" y="4718"/>
                    </a:lnTo>
                    <a:lnTo>
                      <a:pt x="2258" y="4710"/>
                    </a:lnTo>
                    <a:lnTo>
                      <a:pt x="2254" y="4708"/>
                    </a:lnTo>
                    <a:lnTo>
                      <a:pt x="2252" y="4708"/>
                    </a:lnTo>
                    <a:lnTo>
                      <a:pt x="2248" y="4702"/>
                    </a:lnTo>
                    <a:lnTo>
                      <a:pt x="2248" y="4702"/>
                    </a:lnTo>
                    <a:lnTo>
                      <a:pt x="2242" y="4692"/>
                    </a:lnTo>
                    <a:lnTo>
                      <a:pt x="2234" y="4680"/>
                    </a:lnTo>
                    <a:lnTo>
                      <a:pt x="2222" y="4670"/>
                    </a:lnTo>
                    <a:lnTo>
                      <a:pt x="2214" y="4666"/>
                    </a:lnTo>
                    <a:lnTo>
                      <a:pt x="2208" y="4664"/>
                    </a:lnTo>
                    <a:lnTo>
                      <a:pt x="2208" y="4664"/>
                    </a:lnTo>
                    <a:lnTo>
                      <a:pt x="2204" y="4662"/>
                    </a:lnTo>
                    <a:lnTo>
                      <a:pt x="2200" y="4658"/>
                    </a:lnTo>
                    <a:lnTo>
                      <a:pt x="2196" y="4652"/>
                    </a:lnTo>
                    <a:lnTo>
                      <a:pt x="2192" y="4646"/>
                    </a:lnTo>
                    <a:lnTo>
                      <a:pt x="2190" y="4644"/>
                    </a:lnTo>
                    <a:lnTo>
                      <a:pt x="2186" y="4642"/>
                    </a:lnTo>
                    <a:lnTo>
                      <a:pt x="2186" y="4642"/>
                    </a:lnTo>
                    <a:lnTo>
                      <a:pt x="2182" y="4640"/>
                    </a:lnTo>
                    <a:lnTo>
                      <a:pt x="2180" y="4638"/>
                    </a:lnTo>
                    <a:lnTo>
                      <a:pt x="2180" y="4632"/>
                    </a:lnTo>
                    <a:lnTo>
                      <a:pt x="2178" y="4626"/>
                    </a:lnTo>
                    <a:lnTo>
                      <a:pt x="2176" y="4624"/>
                    </a:lnTo>
                    <a:lnTo>
                      <a:pt x="2174" y="4622"/>
                    </a:lnTo>
                    <a:lnTo>
                      <a:pt x="2174" y="4622"/>
                    </a:lnTo>
                    <a:lnTo>
                      <a:pt x="2170" y="4620"/>
                    </a:lnTo>
                    <a:lnTo>
                      <a:pt x="2168" y="4618"/>
                    </a:lnTo>
                    <a:lnTo>
                      <a:pt x="2166" y="4612"/>
                    </a:lnTo>
                    <a:lnTo>
                      <a:pt x="2166" y="4604"/>
                    </a:lnTo>
                    <a:lnTo>
                      <a:pt x="2162" y="4598"/>
                    </a:lnTo>
                    <a:lnTo>
                      <a:pt x="2158" y="4592"/>
                    </a:lnTo>
                    <a:lnTo>
                      <a:pt x="2158" y="4592"/>
                    </a:lnTo>
                    <a:lnTo>
                      <a:pt x="2150" y="4582"/>
                    </a:lnTo>
                    <a:lnTo>
                      <a:pt x="2146" y="4582"/>
                    </a:lnTo>
                    <a:lnTo>
                      <a:pt x="2146" y="4584"/>
                    </a:lnTo>
                    <a:lnTo>
                      <a:pt x="2142" y="4586"/>
                    </a:lnTo>
                    <a:lnTo>
                      <a:pt x="2138" y="4586"/>
                    </a:lnTo>
                    <a:lnTo>
                      <a:pt x="2134" y="4584"/>
                    </a:lnTo>
                    <a:lnTo>
                      <a:pt x="2134" y="4584"/>
                    </a:lnTo>
                    <a:lnTo>
                      <a:pt x="2130" y="4582"/>
                    </a:lnTo>
                    <a:lnTo>
                      <a:pt x="2128" y="4580"/>
                    </a:lnTo>
                    <a:lnTo>
                      <a:pt x="2122" y="4582"/>
                    </a:lnTo>
                    <a:lnTo>
                      <a:pt x="2114" y="4584"/>
                    </a:lnTo>
                    <a:lnTo>
                      <a:pt x="2108" y="4584"/>
                    </a:lnTo>
                    <a:lnTo>
                      <a:pt x="2098" y="4584"/>
                    </a:lnTo>
                    <a:lnTo>
                      <a:pt x="2098" y="4584"/>
                    </a:lnTo>
                    <a:lnTo>
                      <a:pt x="2088" y="4580"/>
                    </a:lnTo>
                    <a:lnTo>
                      <a:pt x="2086" y="4578"/>
                    </a:lnTo>
                    <a:lnTo>
                      <a:pt x="2084" y="4576"/>
                    </a:lnTo>
                    <a:lnTo>
                      <a:pt x="2082" y="4572"/>
                    </a:lnTo>
                    <a:lnTo>
                      <a:pt x="2078" y="4568"/>
                    </a:lnTo>
                    <a:lnTo>
                      <a:pt x="2070" y="4566"/>
                    </a:lnTo>
                    <a:lnTo>
                      <a:pt x="2070" y="4566"/>
                    </a:lnTo>
                    <a:lnTo>
                      <a:pt x="2062" y="4564"/>
                    </a:lnTo>
                    <a:lnTo>
                      <a:pt x="2058" y="4566"/>
                    </a:lnTo>
                    <a:lnTo>
                      <a:pt x="2056" y="4570"/>
                    </a:lnTo>
                    <a:lnTo>
                      <a:pt x="2056" y="4576"/>
                    </a:lnTo>
                    <a:lnTo>
                      <a:pt x="2058" y="4584"/>
                    </a:lnTo>
                    <a:lnTo>
                      <a:pt x="2060" y="4594"/>
                    </a:lnTo>
                    <a:lnTo>
                      <a:pt x="2070" y="4612"/>
                    </a:lnTo>
                    <a:lnTo>
                      <a:pt x="2070" y="4612"/>
                    </a:lnTo>
                    <a:lnTo>
                      <a:pt x="2080" y="4626"/>
                    </a:lnTo>
                    <a:lnTo>
                      <a:pt x="2086" y="4634"/>
                    </a:lnTo>
                    <a:lnTo>
                      <a:pt x="2094" y="4640"/>
                    </a:lnTo>
                    <a:lnTo>
                      <a:pt x="2102" y="4650"/>
                    </a:lnTo>
                    <a:lnTo>
                      <a:pt x="2102" y="4650"/>
                    </a:lnTo>
                    <a:lnTo>
                      <a:pt x="2104" y="4654"/>
                    </a:lnTo>
                    <a:lnTo>
                      <a:pt x="2108" y="4658"/>
                    </a:lnTo>
                    <a:lnTo>
                      <a:pt x="2114" y="4658"/>
                    </a:lnTo>
                    <a:lnTo>
                      <a:pt x="2116" y="4658"/>
                    </a:lnTo>
                    <a:lnTo>
                      <a:pt x="2120" y="4660"/>
                    </a:lnTo>
                    <a:lnTo>
                      <a:pt x="2124" y="4664"/>
                    </a:lnTo>
                    <a:lnTo>
                      <a:pt x="2130" y="4672"/>
                    </a:lnTo>
                    <a:lnTo>
                      <a:pt x="2130" y="4672"/>
                    </a:lnTo>
                    <a:lnTo>
                      <a:pt x="2138" y="4686"/>
                    </a:lnTo>
                    <a:lnTo>
                      <a:pt x="2138" y="4690"/>
                    </a:lnTo>
                    <a:lnTo>
                      <a:pt x="2138" y="4692"/>
                    </a:lnTo>
                    <a:lnTo>
                      <a:pt x="2146" y="4698"/>
                    </a:lnTo>
                    <a:lnTo>
                      <a:pt x="2146" y="4698"/>
                    </a:lnTo>
                    <a:lnTo>
                      <a:pt x="2152" y="4702"/>
                    </a:lnTo>
                    <a:lnTo>
                      <a:pt x="2154" y="4706"/>
                    </a:lnTo>
                    <a:lnTo>
                      <a:pt x="2154" y="4716"/>
                    </a:lnTo>
                    <a:lnTo>
                      <a:pt x="2156" y="4720"/>
                    </a:lnTo>
                    <a:lnTo>
                      <a:pt x="2158" y="4724"/>
                    </a:lnTo>
                    <a:lnTo>
                      <a:pt x="2162" y="4730"/>
                    </a:lnTo>
                    <a:lnTo>
                      <a:pt x="2172" y="4736"/>
                    </a:lnTo>
                    <a:lnTo>
                      <a:pt x="2172" y="4736"/>
                    </a:lnTo>
                    <a:lnTo>
                      <a:pt x="2182" y="4742"/>
                    </a:lnTo>
                    <a:lnTo>
                      <a:pt x="2192" y="4748"/>
                    </a:lnTo>
                    <a:lnTo>
                      <a:pt x="2198" y="4756"/>
                    </a:lnTo>
                    <a:lnTo>
                      <a:pt x="2200" y="4760"/>
                    </a:lnTo>
                    <a:lnTo>
                      <a:pt x="2200" y="4762"/>
                    </a:lnTo>
                    <a:lnTo>
                      <a:pt x="2200" y="4762"/>
                    </a:lnTo>
                    <a:lnTo>
                      <a:pt x="2198" y="4766"/>
                    </a:lnTo>
                    <a:lnTo>
                      <a:pt x="2198" y="4772"/>
                    </a:lnTo>
                    <a:lnTo>
                      <a:pt x="2206" y="4794"/>
                    </a:lnTo>
                    <a:lnTo>
                      <a:pt x="2206" y="4794"/>
                    </a:lnTo>
                    <a:lnTo>
                      <a:pt x="2214" y="4820"/>
                    </a:lnTo>
                    <a:lnTo>
                      <a:pt x="2218" y="4828"/>
                    </a:lnTo>
                    <a:lnTo>
                      <a:pt x="2226" y="4834"/>
                    </a:lnTo>
                    <a:lnTo>
                      <a:pt x="2226" y="4834"/>
                    </a:lnTo>
                    <a:lnTo>
                      <a:pt x="2234" y="4838"/>
                    </a:lnTo>
                    <a:lnTo>
                      <a:pt x="2236" y="4844"/>
                    </a:lnTo>
                    <a:lnTo>
                      <a:pt x="2240" y="4854"/>
                    </a:lnTo>
                    <a:lnTo>
                      <a:pt x="2254" y="4870"/>
                    </a:lnTo>
                    <a:lnTo>
                      <a:pt x="2254" y="4870"/>
                    </a:lnTo>
                    <a:lnTo>
                      <a:pt x="2260" y="4876"/>
                    </a:lnTo>
                    <a:lnTo>
                      <a:pt x="2262" y="4882"/>
                    </a:lnTo>
                    <a:lnTo>
                      <a:pt x="2264" y="4886"/>
                    </a:lnTo>
                    <a:lnTo>
                      <a:pt x="2264" y="4890"/>
                    </a:lnTo>
                    <a:lnTo>
                      <a:pt x="2262" y="4898"/>
                    </a:lnTo>
                    <a:lnTo>
                      <a:pt x="2264" y="4900"/>
                    </a:lnTo>
                    <a:lnTo>
                      <a:pt x="2266" y="4904"/>
                    </a:lnTo>
                    <a:lnTo>
                      <a:pt x="2266" y="4904"/>
                    </a:lnTo>
                    <a:lnTo>
                      <a:pt x="2274" y="4912"/>
                    </a:lnTo>
                    <a:lnTo>
                      <a:pt x="2278" y="4922"/>
                    </a:lnTo>
                    <a:lnTo>
                      <a:pt x="2282" y="4934"/>
                    </a:lnTo>
                    <a:lnTo>
                      <a:pt x="2284" y="4946"/>
                    </a:lnTo>
                    <a:lnTo>
                      <a:pt x="2284" y="4946"/>
                    </a:lnTo>
                    <a:lnTo>
                      <a:pt x="2290" y="4960"/>
                    </a:lnTo>
                    <a:lnTo>
                      <a:pt x="2300" y="4976"/>
                    </a:lnTo>
                    <a:lnTo>
                      <a:pt x="2312" y="4992"/>
                    </a:lnTo>
                    <a:lnTo>
                      <a:pt x="2326" y="5008"/>
                    </a:lnTo>
                    <a:lnTo>
                      <a:pt x="2326" y="5008"/>
                    </a:lnTo>
                    <a:lnTo>
                      <a:pt x="2336" y="5018"/>
                    </a:lnTo>
                    <a:lnTo>
                      <a:pt x="2342" y="5028"/>
                    </a:lnTo>
                    <a:lnTo>
                      <a:pt x="2350" y="5038"/>
                    </a:lnTo>
                    <a:lnTo>
                      <a:pt x="2364" y="5054"/>
                    </a:lnTo>
                    <a:lnTo>
                      <a:pt x="2364" y="5054"/>
                    </a:lnTo>
                    <a:lnTo>
                      <a:pt x="2380" y="5072"/>
                    </a:lnTo>
                    <a:lnTo>
                      <a:pt x="2394" y="5084"/>
                    </a:lnTo>
                    <a:lnTo>
                      <a:pt x="2404" y="5094"/>
                    </a:lnTo>
                    <a:lnTo>
                      <a:pt x="2416" y="5108"/>
                    </a:lnTo>
                    <a:lnTo>
                      <a:pt x="2416" y="5108"/>
                    </a:lnTo>
                    <a:lnTo>
                      <a:pt x="2426" y="5122"/>
                    </a:lnTo>
                    <a:lnTo>
                      <a:pt x="2434" y="5132"/>
                    </a:lnTo>
                    <a:lnTo>
                      <a:pt x="2436" y="5134"/>
                    </a:lnTo>
                    <a:lnTo>
                      <a:pt x="2438" y="5134"/>
                    </a:lnTo>
                    <a:lnTo>
                      <a:pt x="2434" y="5120"/>
                    </a:lnTo>
                    <a:lnTo>
                      <a:pt x="2434" y="5120"/>
                    </a:lnTo>
                    <a:lnTo>
                      <a:pt x="2434" y="5112"/>
                    </a:lnTo>
                    <a:lnTo>
                      <a:pt x="2434" y="5110"/>
                    </a:lnTo>
                    <a:lnTo>
                      <a:pt x="2438" y="5112"/>
                    </a:lnTo>
                    <a:lnTo>
                      <a:pt x="2444" y="5114"/>
                    </a:lnTo>
                    <a:lnTo>
                      <a:pt x="2450" y="5118"/>
                    </a:lnTo>
                    <a:lnTo>
                      <a:pt x="2454" y="5120"/>
                    </a:lnTo>
                    <a:lnTo>
                      <a:pt x="2458" y="5118"/>
                    </a:lnTo>
                    <a:lnTo>
                      <a:pt x="2460" y="5114"/>
                    </a:lnTo>
                    <a:lnTo>
                      <a:pt x="2460" y="5114"/>
                    </a:lnTo>
                    <a:lnTo>
                      <a:pt x="2462" y="5108"/>
                    </a:lnTo>
                    <a:lnTo>
                      <a:pt x="2464" y="5108"/>
                    </a:lnTo>
                    <a:lnTo>
                      <a:pt x="2470" y="5116"/>
                    </a:lnTo>
                    <a:lnTo>
                      <a:pt x="2476" y="5126"/>
                    </a:lnTo>
                    <a:lnTo>
                      <a:pt x="2480" y="5128"/>
                    </a:lnTo>
                    <a:lnTo>
                      <a:pt x="2484" y="5128"/>
                    </a:lnTo>
                    <a:lnTo>
                      <a:pt x="2484" y="5128"/>
                    </a:lnTo>
                    <a:close/>
                    <a:moveTo>
                      <a:pt x="2344" y="4774"/>
                    </a:moveTo>
                    <a:lnTo>
                      <a:pt x="2344" y="4774"/>
                    </a:lnTo>
                    <a:lnTo>
                      <a:pt x="2340" y="4772"/>
                    </a:lnTo>
                    <a:lnTo>
                      <a:pt x="2338" y="4772"/>
                    </a:lnTo>
                    <a:lnTo>
                      <a:pt x="2338" y="4774"/>
                    </a:lnTo>
                    <a:lnTo>
                      <a:pt x="2338" y="4776"/>
                    </a:lnTo>
                    <a:lnTo>
                      <a:pt x="2340" y="4784"/>
                    </a:lnTo>
                    <a:lnTo>
                      <a:pt x="2344" y="4792"/>
                    </a:lnTo>
                    <a:lnTo>
                      <a:pt x="2344" y="4792"/>
                    </a:lnTo>
                    <a:lnTo>
                      <a:pt x="2346" y="4792"/>
                    </a:lnTo>
                    <a:lnTo>
                      <a:pt x="2346" y="4792"/>
                    </a:lnTo>
                    <a:lnTo>
                      <a:pt x="2348" y="4788"/>
                    </a:lnTo>
                    <a:lnTo>
                      <a:pt x="2348" y="4780"/>
                    </a:lnTo>
                    <a:lnTo>
                      <a:pt x="2346" y="4776"/>
                    </a:lnTo>
                    <a:lnTo>
                      <a:pt x="2344" y="4774"/>
                    </a:lnTo>
                    <a:lnTo>
                      <a:pt x="2344" y="4774"/>
                    </a:lnTo>
                    <a:close/>
                    <a:moveTo>
                      <a:pt x="2374" y="4792"/>
                    </a:moveTo>
                    <a:lnTo>
                      <a:pt x="2374" y="4792"/>
                    </a:lnTo>
                    <a:lnTo>
                      <a:pt x="2372" y="4786"/>
                    </a:lnTo>
                    <a:lnTo>
                      <a:pt x="2366" y="4784"/>
                    </a:lnTo>
                    <a:lnTo>
                      <a:pt x="2360" y="4782"/>
                    </a:lnTo>
                    <a:lnTo>
                      <a:pt x="2358" y="4782"/>
                    </a:lnTo>
                    <a:lnTo>
                      <a:pt x="2358" y="4784"/>
                    </a:lnTo>
                    <a:lnTo>
                      <a:pt x="2358" y="4784"/>
                    </a:lnTo>
                    <a:lnTo>
                      <a:pt x="2358" y="4788"/>
                    </a:lnTo>
                    <a:lnTo>
                      <a:pt x="2364" y="4790"/>
                    </a:lnTo>
                    <a:lnTo>
                      <a:pt x="2364" y="4790"/>
                    </a:lnTo>
                    <a:lnTo>
                      <a:pt x="2372" y="4794"/>
                    </a:lnTo>
                    <a:lnTo>
                      <a:pt x="2374" y="4794"/>
                    </a:lnTo>
                    <a:lnTo>
                      <a:pt x="2374" y="4792"/>
                    </a:lnTo>
                    <a:lnTo>
                      <a:pt x="2374" y="4792"/>
                    </a:lnTo>
                    <a:close/>
                    <a:moveTo>
                      <a:pt x="2316" y="4736"/>
                    </a:moveTo>
                    <a:lnTo>
                      <a:pt x="2316" y="4736"/>
                    </a:lnTo>
                    <a:lnTo>
                      <a:pt x="2312" y="4736"/>
                    </a:lnTo>
                    <a:lnTo>
                      <a:pt x="2310" y="4736"/>
                    </a:lnTo>
                    <a:lnTo>
                      <a:pt x="2306" y="4740"/>
                    </a:lnTo>
                    <a:lnTo>
                      <a:pt x="2306" y="4746"/>
                    </a:lnTo>
                    <a:lnTo>
                      <a:pt x="2308" y="4750"/>
                    </a:lnTo>
                    <a:lnTo>
                      <a:pt x="2310" y="4752"/>
                    </a:lnTo>
                    <a:lnTo>
                      <a:pt x="2310" y="4752"/>
                    </a:lnTo>
                    <a:lnTo>
                      <a:pt x="2312" y="4752"/>
                    </a:lnTo>
                    <a:lnTo>
                      <a:pt x="2314" y="4752"/>
                    </a:lnTo>
                    <a:lnTo>
                      <a:pt x="2318" y="4746"/>
                    </a:lnTo>
                    <a:lnTo>
                      <a:pt x="2318" y="4740"/>
                    </a:lnTo>
                    <a:lnTo>
                      <a:pt x="2318" y="4736"/>
                    </a:lnTo>
                    <a:lnTo>
                      <a:pt x="2316" y="4736"/>
                    </a:lnTo>
                    <a:lnTo>
                      <a:pt x="2316" y="4736"/>
                    </a:lnTo>
                    <a:close/>
                    <a:moveTo>
                      <a:pt x="36" y="5458"/>
                    </a:moveTo>
                    <a:lnTo>
                      <a:pt x="36" y="5458"/>
                    </a:lnTo>
                    <a:lnTo>
                      <a:pt x="32" y="5458"/>
                    </a:lnTo>
                    <a:lnTo>
                      <a:pt x="30" y="5460"/>
                    </a:lnTo>
                    <a:lnTo>
                      <a:pt x="32" y="5464"/>
                    </a:lnTo>
                    <a:lnTo>
                      <a:pt x="36" y="5470"/>
                    </a:lnTo>
                    <a:lnTo>
                      <a:pt x="36" y="5470"/>
                    </a:lnTo>
                    <a:lnTo>
                      <a:pt x="38" y="5472"/>
                    </a:lnTo>
                    <a:lnTo>
                      <a:pt x="40" y="5472"/>
                    </a:lnTo>
                    <a:lnTo>
                      <a:pt x="40" y="5468"/>
                    </a:lnTo>
                    <a:lnTo>
                      <a:pt x="40" y="5462"/>
                    </a:lnTo>
                    <a:lnTo>
                      <a:pt x="36" y="5458"/>
                    </a:lnTo>
                    <a:lnTo>
                      <a:pt x="36" y="5458"/>
                    </a:lnTo>
                    <a:close/>
                    <a:moveTo>
                      <a:pt x="2554" y="4992"/>
                    </a:moveTo>
                    <a:lnTo>
                      <a:pt x="2554" y="4992"/>
                    </a:lnTo>
                    <a:lnTo>
                      <a:pt x="2558" y="4998"/>
                    </a:lnTo>
                    <a:lnTo>
                      <a:pt x="2560" y="4998"/>
                    </a:lnTo>
                    <a:lnTo>
                      <a:pt x="2562" y="4996"/>
                    </a:lnTo>
                    <a:lnTo>
                      <a:pt x="2562" y="4996"/>
                    </a:lnTo>
                    <a:lnTo>
                      <a:pt x="2564" y="4994"/>
                    </a:lnTo>
                    <a:lnTo>
                      <a:pt x="2566" y="4994"/>
                    </a:lnTo>
                    <a:lnTo>
                      <a:pt x="2570" y="4994"/>
                    </a:lnTo>
                    <a:lnTo>
                      <a:pt x="2574" y="4994"/>
                    </a:lnTo>
                    <a:lnTo>
                      <a:pt x="2578" y="4988"/>
                    </a:lnTo>
                    <a:lnTo>
                      <a:pt x="2578" y="4988"/>
                    </a:lnTo>
                    <a:lnTo>
                      <a:pt x="2582" y="4980"/>
                    </a:lnTo>
                    <a:lnTo>
                      <a:pt x="2582" y="4976"/>
                    </a:lnTo>
                    <a:lnTo>
                      <a:pt x="2580" y="4974"/>
                    </a:lnTo>
                    <a:lnTo>
                      <a:pt x="2576" y="4968"/>
                    </a:lnTo>
                    <a:lnTo>
                      <a:pt x="2568" y="4964"/>
                    </a:lnTo>
                    <a:lnTo>
                      <a:pt x="2568" y="4964"/>
                    </a:lnTo>
                    <a:lnTo>
                      <a:pt x="2562" y="4962"/>
                    </a:lnTo>
                    <a:lnTo>
                      <a:pt x="2558" y="4964"/>
                    </a:lnTo>
                    <a:lnTo>
                      <a:pt x="2556" y="4968"/>
                    </a:lnTo>
                    <a:lnTo>
                      <a:pt x="2554" y="4972"/>
                    </a:lnTo>
                    <a:lnTo>
                      <a:pt x="2552" y="4982"/>
                    </a:lnTo>
                    <a:lnTo>
                      <a:pt x="2552" y="4988"/>
                    </a:lnTo>
                    <a:lnTo>
                      <a:pt x="2554" y="4992"/>
                    </a:lnTo>
                    <a:lnTo>
                      <a:pt x="2554" y="4992"/>
                    </a:lnTo>
                    <a:close/>
                    <a:moveTo>
                      <a:pt x="8" y="5430"/>
                    </a:moveTo>
                    <a:lnTo>
                      <a:pt x="8" y="5430"/>
                    </a:lnTo>
                    <a:lnTo>
                      <a:pt x="6" y="5434"/>
                    </a:lnTo>
                    <a:lnTo>
                      <a:pt x="6" y="5436"/>
                    </a:lnTo>
                    <a:lnTo>
                      <a:pt x="6" y="5440"/>
                    </a:lnTo>
                    <a:lnTo>
                      <a:pt x="10" y="5444"/>
                    </a:lnTo>
                    <a:lnTo>
                      <a:pt x="14" y="5442"/>
                    </a:lnTo>
                    <a:lnTo>
                      <a:pt x="14" y="5442"/>
                    </a:lnTo>
                    <a:lnTo>
                      <a:pt x="14" y="5438"/>
                    </a:lnTo>
                    <a:lnTo>
                      <a:pt x="14" y="5434"/>
                    </a:lnTo>
                    <a:lnTo>
                      <a:pt x="12" y="5430"/>
                    </a:lnTo>
                    <a:lnTo>
                      <a:pt x="10" y="5430"/>
                    </a:lnTo>
                    <a:lnTo>
                      <a:pt x="8" y="5430"/>
                    </a:lnTo>
                    <a:lnTo>
                      <a:pt x="8" y="5430"/>
                    </a:lnTo>
                    <a:close/>
                    <a:moveTo>
                      <a:pt x="3222" y="4178"/>
                    </a:moveTo>
                    <a:lnTo>
                      <a:pt x="3222" y="4178"/>
                    </a:lnTo>
                    <a:lnTo>
                      <a:pt x="3224" y="4178"/>
                    </a:lnTo>
                    <a:lnTo>
                      <a:pt x="3228" y="4176"/>
                    </a:lnTo>
                    <a:lnTo>
                      <a:pt x="3232" y="4172"/>
                    </a:lnTo>
                    <a:lnTo>
                      <a:pt x="3234" y="4166"/>
                    </a:lnTo>
                    <a:lnTo>
                      <a:pt x="3234" y="4166"/>
                    </a:lnTo>
                    <a:lnTo>
                      <a:pt x="3232" y="4162"/>
                    </a:lnTo>
                    <a:lnTo>
                      <a:pt x="3232" y="4160"/>
                    </a:lnTo>
                    <a:lnTo>
                      <a:pt x="3230" y="4160"/>
                    </a:lnTo>
                    <a:lnTo>
                      <a:pt x="3228" y="4156"/>
                    </a:lnTo>
                    <a:lnTo>
                      <a:pt x="3228" y="4156"/>
                    </a:lnTo>
                    <a:lnTo>
                      <a:pt x="3226" y="4152"/>
                    </a:lnTo>
                    <a:lnTo>
                      <a:pt x="3224" y="4150"/>
                    </a:lnTo>
                    <a:lnTo>
                      <a:pt x="3222" y="4154"/>
                    </a:lnTo>
                    <a:lnTo>
                      <a:pt x="3222" y="4160"/>
                    </a:lnTo>
                    <a:lnTo>
                      <a:pt x="3222" y="4160"/>
                    </a:lnTo>
                    <a:lnTo>
                      <a:pt x="3222" y="4168"/>
                    </a:lnTo>
                    <a:lnTo>
                      <a:pt x="3220" y="4172"/>
                    </a:lnTo>
                    <a:lnTo>
                      <a:pt x="3218" y="4174"/>
                    </a:lnTo>
                    <a:lnTo>
                      <a:pt x="3222" y="4178"/>
                    </a:lnTo>
                    <a:lnTo>
                      <a:pt x="3222" y="4178"/>
                    </a:lnTo>
                    <a:close/>
                    <a:moveTo>
                      <a:pt x="3526" y="3176"/>
                    </a:moveTo>
                    <a:lnTo>
                      <a:pt x="3526" y="3176"/>
                    </a:lnTo>
                    <a:lnTo>
                      <a:pt x="3522" y="3176"/>
                    </a:lnTo>
                    <a:lnTo>
                      <a:pt x="3520" y="3174"/>
                    </a:lnTo>
                    <a:lnTo>
                      <a:pt x="3522" y="3168"/>
                    </a:lnTo>
                    <a:lnTo>
                      <a:pt x="3526" y="3162"/>
                    </a:lnTo>
                    <a:lnTo>
                      <a:pt x="3526" y="3158"/>
                    </a:lnTo>
                    <a:lnTo>
                      <a:pt x="3526" y="3154"/>
                    </a:lnTo>
                    <a:lnTo>
                      <a:pt x="3526" y="3154"/>
                    </a:lnTo>
                    <a:lnTo>
                      <a:pt x="3522" y="3152"/>
                    </a:lnTo>
                    <a:lnTo>
                      <a:pt x="3518" y="3152"/>
                    </a:lnTo>
                    <a:lnTo>
                      <a:pt x="3510" y="3156"/>
                    </a:lnTo>
                    <a:lnTo>
                      <a:pt x="3506" y="3156"/>
                    </a:lnTo>
                    <a:lnTo>
                      <a:pt x="3504" y="3156"/>
                    </a:lnTo>
                    <a:lnTo>
                      <a:pt x="3500" y="3154"/>
                    </a:lnTo>
                    <a:lnTo>
                      <a:pt x="3500" y="3148"/>
                    </a:lnTo>
                    <a:lnTo>
                      <a:pt x="3500" y="3148"/>
                    </a:lnTo>
                    <a:lnTo>
                      <a:pt x="3498" y="3146"/>
                    </a:lnTo>
                    <a:lnTo>
                      <a:pt x="3496" y="3142"/>
                    </a:lnTo>
                    <a:lnTo>
                      <a:pt x="3490" y="3140"/>
                    </a:lnTo>
                    <a:lnTo>
                      <a:pt x="3486" y="3140"/>
                    </a:lnTo>
                    <a:lnTo>
                      <a:pt x="3482" y="3140"/>
                    </a:lnTo>
                    <a:lnTo>
                      <a:pt x="3478" y="3144"/>
                    </a:lnTo>
                    <a:lnTo>
                      <a:pt x="3476" y="3148"/>
                    </a:lnTo>
                    <a:lnTo>
                      <a:pt x="3476" y="3148"/>
                    </a:lnTo>
                    <a:lnTo>
                      <a:pt x="3474" y="3154"/>
                    </a:lnTo>
                    <a:lnTo>
                      <a:pt x="3470" y="3154"/>
                    </a:lnTo>
                    <a:lnTo>
                      <a:pt x="3466" y="3154"/>
                    </a:lnTo>
                    <a:lnTo>
                      <a:pt x="3464" y="3160"/>
                    </a:lnTo>
                    <a:lnTo>
                      <a:pt x="3464" y="3160"/>
                    </a:lnTo>
                    <a:lnTo>
                      <a:pt x="3462" y="3164"/>
                    </a:lnTo>
                    <a:lnTo>
                      <a:pt x="3460" y="3164"/>
                    </a:lnTo>
                    <a:lnTo>
                      <a:pt x="3456" y="3160"/>
                    </a:lnTo>
                    <a:lnTo>
                      <a:pt x="3454" y="3158"/>
                    </a:lnTo>
                    <a:lnTo>
                      <a:pt x="3452" y="3164"/>
                    </a:lnTo>
                    <a:lnTo>
                      <a:pt x="3452" y="3164"/>
                    </a:lnTo>
                    <a:lnTo>
                      <a:pt x="3452" y="3168"/>
                    </a:lnTo>
                    <a:lnTo>
                      <a:pt x="3448" y="3170"/>
                    </a:lnTo>
                    <a:lnTo>
                      <a:pt x="3444" y="3168"/>
                    </a:lnTo>
                    <a:lnTo>
                      <a:pt x="3440" y="3168"/>
                    </a:lnTo>
                    <a:lnTo>
                      <a:pt x="3442" y="3174"/>
                    </a:lnTo>
                    <a:lnTo>
                      <a:pt x="3442" y="3174"/>
                    </a:lnTo>
                    <a:lnTo>
                      <a:pt x="3444" y="3182"/>
                    </a:lnTo>
                    <a:lnTo>
                      <a:pt x="3444" y="3186"/>
                    </a:lnTo>
                    <a:lnTo>
                      <a:pt x="3444" y="3190"/>
                    </a:lnTo>
                    <a:lnTo>
                      <a:pt x="3446" y="3196"/>
                    </a:lnTo>
                    <a:lnTo>
                      <a:pt x="3446" y="3196"/>
                    </a:lnTo>
                    <a:lnTo>
                      <a:pt x="3448" y="3200"/>
                    </a:lnTo>
                    <a:lnTo>
                      <a:pt x="3450" y="3204"/>
                    </a:lnTo>
                    <a:lnTo>
                      <a:pt x="3450" y="3210"/>
                    </a:lnTo>
                    <a:lnTo>
                      <a:pt x="3450" y="3210"/>
                    </a:lnTo>
                    <a:lnTo>
                      <a:pt x="3450" y="3210"/>
                    </a:lnTo>
                    <a:lnTo>
                      <a:pt x="3456" y="3204"/>
                    </a:lnTo>
                    <a:lnTo>
                      <a:pt x="3456" y="3204"/>
                    </a:lnTo>
                    <a:lnTo>
                      <a:pt x="3460" y="3202"/>
                    </a:lnTo>
                    <a:lnTo>
                      <a:pt x="3464" y="3200"/>
                    </a:lnTo>
                    <a:lnTo>
                      <a:pt x="3464" y="3202"/>
                    </a:lnTo>
                    <a:lnTo>
                      <a:pt x="3464" y="3204"/>
                    </a:lnTo>
                    <a:lnTo>
                      <a:pt x="3466" y="3208"/>
                    </a:lnTo>
                    <a:lnTo>
                      <a:pt x="3468" y="3208"/>
                    </a:lnTo>
                    <a:lnTo>
                      <a:pt x="3472" y="3206"/>
                    </a:lnTo>
                    <a:lnTo>
                      <a:pt x="3472" y="3206"/>
                    </a:lnTo>
                    <a:lnTo>
                      <a:pt x="3474" y="3204"/>
                    </a:lnTo>
                    <a:lnTo>
                      <a:pt x="3474" y="3200"/>
                    </a:lnTo>
                    <a:lnTo>
                      <a:pt x="3472" y="3198"/>
                    </a:lnTo>
                    <a:lnTo>
                      <a:pt x="3468" y="3194"/>
                    </a:lnTo>
                    <a:lnTo>
                      <a:pt x="3468" y="3194"/>
                    </a:lnTo>
                    <a:lnTo>
                      <a:pt x="3466" y="3192"/>
                    </a:lnTo>
                    <a:lnTo>
                      <a:pt x="3464" y="3188"/>
                    </a:lnTo>
                    <a:lnTo>
                      <a:pt x="3466" y="3182"/>
                    </a:lnTo>
                    <a:lnTo>
                      <a:pt x="3466" y="3180"/>
                    </a:lnTo>
                    <a:lnTo>
                      <a:pt x="3468" y="3180"/>
                    </a:lnTo>
                    <a:lnTo>
                      <a:pt x="3470" y="3182"/>
                    </a:lnTo>
                    <a:lnTo>
                      <a:pt x="3474" y="3186"/>
                    </a:lnTo>
                    <a:lnTo>
                      <a:pt x="3474" y="3186"/>
                    </a:lnTo>
                    <a:lnTo>
                      <a:pt x="3480" y="3196"/>
                    </a:lnTo>
                    <a:lnTo>
                      <a:pt x="3482" y="3208"/>
                    </a:lnTo>
                    <a:lnTo>
                      <a:pt x="3480" y="3218"/>
                    </a:lnTo>
                    <a:lnTo>
                      <a:pt x="3474" y="3228"/>
                    </a:lnTo>
                    <a:lnTo>
                      <a:pt x="3474" y="3228"/>
                    </a:lnTo>
                    <a:lnTo>
                      <a:pt x="3468" y="3236"/>
                    </a:lnTo>
                    <a:lnTo>
                      <a:pt x="3466" y="3242"/>
                    </a:lnTo>
                    <a:lnTo>
                      <a:pt x="3470" y="3258"/>
                    </a:lnTo>
                    <a:lnTo>
                      <a:pt x="3470" y="3258"/>
                    </a:lnTo>
                    <a:lnTo>
                      <a:pt x="3470" y="3266"/>
                    </a:lnTo>
                    <a:lnTo>
                      <a:pt x="3468" y="3270"/>
                    </a:lnTo>
                    <a:lnTo>
                      <a:pt x="3466" y="3274"/>
                    </a:lnTo>
                    <a:lnTo>
                      <a:pt x="3466" y="3276"/>
                    </a:lnTo>
                    <a:lnTo>
                      <a:pt x="3466" y="3276"/>
                    </a:lnTo>
                    <a:lnTo>
                      <a:pt x="3476" y="3280"/>
                    </a:lnTo>
                    <a:lnTo>
                      <a:pt x="3476" y="3280"/>
                    </a:lnTo>
                    <a:lnTo>
                      <a:pt x="3482" y="3282"/>
                    </a:lnTo>
                    <a:lnTo>
                      <a:pt x="3486" y="3286"/>
                    </a:lnTo>
                    <a:lnTo>
                      <a:pt x="3486" y="3290"/>
                    </a:lnTo>
                    <a:lnTo>
                      <a:pt x="3486" y="3292"/>
                    </a:lnTo>
                    <a:lnTo>
                      <a:pt x="3488" y="3292"/>
                    </a:lnTo>
                    <a:lnTo>
                      <a:pt x="3496" y="3288"/>
                    </a:lnTo>
                    <a:lnTo>
                      <a:pt x="3496" y="3288"/>
                    </a:lnTo>
                    <a:lnTo>
                      <a:pt x="3500" y="3284"/>
                    </a:lnTo>
                    <a:lnTo>
                      <a:pt x="3502" y="3280"/>
                    </a:lnTo>
                    <a:lnTo>
                      <a:pt x="3502" y="3278"/>
                    </a:lnTo>
                    <a:lnTo>
                      <a:pt x="3502" y="3276"/>
                    </a:lnTo>
                    <a:lnTo>
                      <a:pt x="3500" y="3272"/>
                    </a:lnTo>
                    <a:lnTo>
                      <a:pt x="3500" y="3272"/>
                    </a:lnTo>
                    <a:lnTo>
                      <a:pt x="3502" y="3270"/>
                    </a:lnTo>
                    <a:lnTo>
                      <a:pt x="3502" y="3270"/>
                    </a:lnTo>
                    <a:lnTo>
                      <a:pt x="3506" y="3268"/>
                    </a:lnTo>
                    <a:lnTo>
                      <a:pt x="3508" y="3270"/>
                    </a:lnTo>
                    <a:lnTo>
                      <a:pt x="3510" y="3274"/>
                    </a:lnTo>
                    <a:lnTo>
                      <a:pt x="3514" y="3272"/>
                    </a:lnTo>
                    <a:lnTo>
                      <a:pt x="3514" y="3272"/>
                    </a:lnTo>
                    <a:lnTo>
                      <a:pt x="3516" y="3268"/>
                    </a:lnTo>
                    <a:lnTo>
                      <a:pt x="3518" y="3260"/>
                    </a:lnTo>
                    <a:lnTo>
                      <a:pt x="3522" y="3236"/>
                    </a:lnTo>
                    <a:lnTo>
                      <a:pt x="3528" y="3212"/>
                    </a:lnTo>
                    <a:lnTo>
                      <a:pt x="3532" y="3202"/>
                    </a:lnTo>
                    <a:lnTo>
                      <a:pt x="3534" y="3200"/>
                    </a:lnTo>
                    <a:lnTo>
                      <a:pt x="3538" y="3198"/>
                    </a:lnTo>
                    <a:lnTo>
                      <a:pt x="3538" y="3198"/>
                    </a:lnTo>
                    <a:lnTo>
                      <a:pt x="3540" y="3196"/>
                    </a:lnTo>
                    <a:lnTo>
                      <a:pt x="3542" y="3194"/>
                    </a:lnTo>
                    <a:lnTo>
                      <a:pt x="3540" y="3186"/>
                    </a:lnTo>
                    <a:lnTo>
                      <a:pt x="3534" y="3180"/>
                    </a:lnTo>
                    <a:lnTo>
                      <a:pt x="3530" y="3178"/>
                    </a:lnTo>
                    <a:lnTo>
                      <a:pt x="3526" y="3176"/>
                    </a:lnTo>
                    <a:lnTo>
                      <a:pt x="3526" y="3176"/>
                    </a:lnTo>
                    <a:close/>
                    <a:moveTo>
                      <a:pt x="3432" y="3438"/>
                    </a:moveTo>
                    <a:lnTo>
                      <a:pt x="3432" y="3438"/>
                    </a:lnTo>
                    <a:lnTo>
                      <a:pt x="3432" y="3442"/>
                    </a:lnTo>
                    <a:lnTo>
                      <a:pt x="3434" y="3442"/>
                    </a:lnTo>
                    <a:lnTo>
                      <a:pt x="3440" y="3436"/>
                    </a:lnTo>
                    <a:lnTo>
                      <a:pt x="3446" y="3428"/>
                    </a:lnTo>
                    <a:lnTo>
                      <a:pt x="3448" y="3424"/>
                    </a:lnTo>
                    <a:lnTo>
                      <a:pt x="3448" y="3422"/>
                    </a:lnTo>
                    <a:lnTo>
                      <a:pt x="3448" y="3422"/>
                    </a:lnTo>
                    <a:lnTo>
                      <a:pt x="3444" y="3422"/>
                    </a:lnTo>
                    <a:lnTo>
                      <a:pt x="3438" y="3424"/>
                    </a:lnTo>
                    <a:lnTo>
                      <a:pt x="3434" y="3430"/>
                    </a:lnTo>
                    <a:lnTo>
                      <a:pt x="3432" y="3434"/>
                    </a:lnTo>
                    <a:lnTo>
                      <a:pt x="3432" y="3438"/>
                    </a:lnTo>
                    <a:lnTo>
                      <a:pt x="3432" y="3438"/>
                    </a:lnTo>
                    <a:close/>
                    <a:moveTo>
                      <a:pt x="3434" y="3100"/>
                    </a:moveTo>
                    <a:lnTo>
                      <a:pt x="3434" y="3100"/>
                    </a:lnTo>
                    <a:lnTo>
                      <a:pt x="3432" y="3102"/>
                    </a:lnTo>
                    <a:lnTo>
                      <a:pt x="3430" y="3106"/>
                    </a:lnTo>
                    <a:lnTo>
                      <a:pt x="3430" y="3110"/>
                    </a:lnTo>
                    <a:lnTo>
                      <a:pt x="3428" y="3116"/>
                    </a:lnTo>
                    <a:lnTo>
                      <a:pt x="3428" y="3116"/>
                    </a:lnTo>
                    <a:lnTo>
                      <a:pt x="3426" y="3126"/>
                    </a:lnTo>
                    <a:lnTo>
                      <a:pt x="3426" y="3130"/>
                    </a:lnTo>
                    <a:lnTo>
                      <a:pt x="3426" y="3130"/>
                    </a:lnTo>
                    <a:lnTo>
                      <a:pt x="3426" y="3130"/>
                    </a:lnTo>
                    <a:lnTo>
                      <a:pt x="3428" y="3128"/>
                    </a:lnTo>
                    <a:lnTo>
                      <a:pt x="3430" y="3124"/>
                    </a:lnTo>
                    <a:lnTo>
                      <a:pt x="3432" y="3120"/>
                    </a:lnTo>
                    <a:lnTo>
                      <a:pt x="3434" y="3114"/>
                    </a:lnTo>
                    <a:lnTo>
                      <a:pt x="3434" y="3114"/>
                    </a:lnTo>
                    <a:lnTo>
                      <a:pt x="3436" y="3110"/>
                    </a:lnTo>
                    <a:lnTo>
                      <a:pt x="3438" y="3104"/>
                    </a:lnTo>
                    <a:lnTo>
                      <a:pt x="3438" y="3100"/>
                    </a:lnTo>
                    <a:lnTo>
                      <a:pt x="3436" y="3100"/>
                    </a:lnTo>
                    <a:lnTo>
                      <a:pt x="3434" y="3100"/>
                    </a:lnTo>
                    <a:lnTo>
                      <a:pt x="3434" y="3100"/>
                    </a:lnTo>
                    <a:close/>
                    <a:moveTo>
                      <a:pt x="4106" y="2564"/>
                    </a:moveTo>
                    <a:lnTo>
                      <a:pt x="4106" y="2564"/>
                    </a:lnTo>
                    <a:lnTo>
                      <a:pt x="4098" y="2576"/>
                    </a:lnTo>
                    <a:lnTo>
                      <a:pt x="4088" y="2586"/>
                    </a:lnTo>
                    <a:lnTo>
                      <a:pt x="4084" y="2594"/>
                    </a:lnTo>
                    <a:lnTo>
                      <a:pt x="4082" y="2598"/>
                    </a:lnTo>
                    <a:lnTo>
                      <a:pt x="4084" y="2604"/>
                    </a:lnTo>
                    <a:lnTo>
                      <a:pt x="4084" y="2604"/>
                    </a:lnTo>
                    <a:lnTo>
                      <a:pt x="4086" y="2604"/>
                    </a:lnTo>
                    <a:lnTo>
                      <a:pt x="4088" y="2602"/>
                    </a:lnTo>
                    <a:lnTo>
                      <a:pt x="4094" y="2592"/>
                    </a:lnTo>
                    <a:lnTo>
                      <a:pt x="4098" y="2586"/>
                    </a:lnTo>
                    <a:lnTo>
                      <a:pt x="4104" y="2580"/>
                    </a:lnTo>
                    <a:lnTo>
                      <a:pt x="4112" y="2574"/>
                    </a:lnTo>
                    <a:lnTo>
                      <a:pt x="4122" y="2570"/>
                    </a:lnTo>
                    <a:lnTo>
                      <a:pt x="4122" y="2570"/>
                    </a:lnTo>
                    <a:lnTo>
                      <a:pt x="4126" y="2568"/>
                    </a:lnTo>
                    <a:lnTo>
                      <a:pt x="4126" y="2566"/>
                    </a:lnTo>
                    <a:lnTo>
                      <a:pt x="4120" y="2562"/>
                    </a:lnTo>
                    <a:lnTo>
                      <a:pt x="4112" y="2562"/>
                    </a:lnTo>
                    <a:lnTo>
                      <a:pt x="4108" y="2562"/>
                    </a:lnTo>
                    <a:lnTo>
                      <a:pt x="4106" y="2564"/>
                    </a:lnTo>
                    <a:lnTo>
                      <a:pt x="4106" y="2564"/>
                    </a:lnTo>
                    <a:close/>
                    <a:moveTo>
                      <a:pt x="3472" y="4884"/>
                    </a:moveTo>
                    <a:lnTo>
                      <a:pt x="3472" y="4884"/>
                    </a:lnTo>
                    <a:lnTo>
                      <a:pt x="3474" y="4884"/>
                    </a:lnTo>
                    <a:lnTo>
                      <a:pt x="3476" y="4884"/>
                    </a:lnTo>
                    <a:lnTo>
                      <a:pt x="3484" y="4882"/>
                    </a:lnTo>
                    <a:lnTo>
                      <a:pt x="3488" y="4880"/>
                    </a:lnTo>
                    <a:lnTo>
                      <a:pt x="3490" y="4878"/>
                    </a:lnTo>
                    <a:lnTo>
                      <a:pt x="3488" y="4878"/>
                    </a:lnTo>
                    <a:lnTo>
                      <a:pt x="3488" y="4878"/>
                    </a:lnTo>
                    <a:lnTo>
                      <a:pt x="3478" y="4878"/>
                    </a:lnTo>
                    <a:lnTo>
                      <a:pt x="3472" y="4880"/>
                    </a:lnTo>
                    <a:lnTo>
                      <a:pt x="3472" y="4882"/>
                    </a:lnTo>
                    <a:lnTo>
                      <a:pt x="3472" y="4884"/>
                    </a:lnTo>
                    <a:lnTo>
                      <a:pt x="3472" y="4884"/>
                    </a:lnTo>
                    <a:close/>
                    <a:moveTo>
                      <a:pt x="3468" y="3214"/>
                    </a:moveTo>
                    <a:lnTo>
                      <a:pt x="3468" y="3214"/>
                    </a:lnTo>
                    <a:lnTo>
                      <a:pt x="3468" y="3212"/>
                    </a:lnTo>
                    <a:lnTo>
                      <a:pt x="3466" y="3212"/>
                    </a:lnTo>
                    <a:lnTo>
                      <a:pt x="3462" y="3212"/>
                    </a:lnTo>
                    <a:lnTo>
                      <a:pt x="3460" y="3218"/>
                    </a:lnTo>
                    <a:lnTo>
                      <a:pt x="3460" y="3224"/>
                    </a:lnTo>
                    <a:lnTo>
                      <a:pt x="3460" y="3224"/>
                    </a:lnTo>
                    <a:lnTo>
                      <a:pt x="3460" y="3226"/>
                    </a:lnTo>
                    <a:lnTo>
                      <a:pt x="3462" y="3226"/>
                    </a:lnTo>
                    <a:lnTo>
                      <a:pt x="3464" y="3224"/>
                    </a:lnTo>
                    <a:lnTo>
                      <a:pt x="3468" y="3220"/>
                    </a:lnTo>
                    <a:lnTo>
                      <a:pt x="3468" y="3214"/>
                    </a:lnTo>
                    <a:lnTo>
                      <a:pt x="3468" y="3214"/>
                    </a:lnTo>
                    <a:close/>
                    <a:moveTo>
                      <a:pt x="3482" y="3322"/>
                    </a:moveTo>
                    <a:lnTo>
                      <a:pt x="3482" y="3322"/>
                    </a:lnTo>
                    <a:lnTo>
                      <a:pt x="3478" y="3322"/>
                    </a:lnTo>
                    <a:lnTo>
                      <a:pt x="3476" y="3326"/>
                    </a:lnTo>
                    <a:lnTo>
                      <a:pt x="3478" y="3330"/>
                    </a:lnTo>
                    <a:lnTo>
                      <a:pt x="3478" y="3330"/>
                    </a:lnTo>
                    <a:lnTo>
                      <a:pt x="3482" y="3332"/>
                    </a:lnTo>
                    <a:lnTo>
                      <a:pt x="3482" y="3332"/>
                    </a:lnTo>
                    <a:lnTo>
                      <a:pt x="3486" y="3332"/>
                    </a:lnTo>
                    <a:lnTo>
                      <a:pt x="3486" y="3328"/>
                    </a:lnTo>
                    <a:lnTo>
                      <a:pt x="3484" y="3324"/>
                    </a:lnTo>
                    <a:lnTo>
                      <a:pt x="3482" y="3322"/>
                    </a:lnTo>
                    <a:lnTo>
                      <a:pt x="3482" y="3322"/>
                    </a:lnTo>
                    <a:close/>
                    <a:moveTo>
                      <a:pt x="3652" y="3124"/>
                    </a:moveTo>
                    <a:lnTo>
                      <a:pt x="3652" y="3124"/>
                    </a:lnTo>
                    <a:lnTo>
                      <a:pt x="3654" y="3126"/>
                    </a:lnTo>
                    <a:lnTo>
                      <a:pt x="3656" y="3124"/>
                    </a:lnTo>
                    <a:lnTo>
                      <a:pt x="3658" y="3118"/>
                    </a:lnTo>
                    <a:lnTo>
                      <a:pt x="3662" y="3112"/>
                    </a:lnTo>
                    <a:lnTo>
                      <a:pt x="3662" y="3106"/>
                    </a:lnTo>
                    <a:lnTo>
                      <a:pt x="3662" y="3106"/>
                    </a:lnTo>
                    <a:lnTo>
                      <a:pt x="3662" y="3104"/>
                    </a:lnTo>
                    <a:lnTo>
                      <a:pt x="3660" y="3104"/>
                    </a:lnTo>
                    <a:lnTo>
                      <a:pt x="3656" y="3110"/>
                    </a:lnTo>
                    <a:lnTo>
                      <a:pt x="3652" y="3116"/>
                    </a:lnTo>
                    <a:lnTo>
                      <a:pt x="3652" y="3120"/>
                    </a:lnTo>
                    <a:lnTo>
                      <a:pt x="3652" y="3124"/>
                    </a:lnTo>
                    <a:lnTo>
                      <a:pt x="3652" y="3124"/>
                    </a:lnTo>
                    <a:close/>
                    <a:moveTo>
                      <a:pt x="3482" y="4890"/>
                    </a:moveTo>
                    <a:lnTo>
                      <a:pt x="3482" y="4890"/>
                    </a:lnTo>
                    <a:lnTo>
                      <a:pt x="3486" y="4896"/>
                    </a:lnTo>
                    <a:lnTo>
                      <a:pt x="3492" y="4904"/>
                    </a:lnTo>
                    <a:lnTo>
                      <a:pt x="3492" y="4904"/>
                    </a:lnTo>
                    <a:lnTo>
                      <a:pt x="3494" y="4904"/>
                    </a:lnTo>
                    <a:lnTo>
                      <a:pt x="3494" y="4904"/>
                    </a:lnTo>
                    <a:lnTo>
                      <a:pt x="3498" y="4898"/>
                    </a:lnTo>
                    <a:lnTo>
                      <a:pt x="3498" y="4890"/>
                    </a:lnTo>
                    <a:lnTo>
                      <a:pt x="3498" y="4888"/>
                    </a:lnTo>
                    <a:lnTo>
                      <a:pt x="3496" y="4886"/>
                    </a:lnTo>
                    <a:lnTo>
                      <a:pt x="3496" y="4886"/>
                    </a:lnTo>
                    <a:lnTo>
                      <a:pt x="3492" y="4884"/>
                    </a:lnTo>
                    <a:lnTo>
                      <a:pt x="3486" y="4884"/>
                    </a:lnTo>
                    <a:lnTo>
                      <a:pt x="3482" y="4886"/>
                    </a:lnTo>
                    <a:lnTo>
                      <a:pt x="3482" y="4888"/>
                    </a:lnTo>
                    <a:lnTo>
                      <a:pt x="3482" y="4890"/>
                    </a:lnTo>
                    <a:lnTo>
                      <a:pt x="3482" y="4890"/>
                    </a:lnTo>
                    <a:close/>
                    <a:moveTo>
                      <a:pt x="3640" y="3122"/>
                    </a:moveTo>
                    <a:lnTo>
                      <a:pt x="3640" y="3122"/>
                    </a:lnTo>
                    <a:lnTo>
                      <a:pt x="3634" y="3120"/>
                    </a:lnTo>
                    <a:lnTo>
                      <a:pt x="3628" y="3116"/>
                    </a:lnTo>
                    <a:lnTo>
                      <a:pt x="3620" y="3116"/>
                    </a:lnTo>
                    <a:lnTo>
                      <a:pt x="3612" y="3120"/>
                    </a:lnTo>
                    <a:lnTo>
                      <a:pt x="3612" y="3120"/>
                    </a:lnTo>
                    <a:lnTo>
                      <a:pt x="3608" y="3122"/>
                    </a:lnTo>
                    <a:lnTo>
                      <a:pt x="3604" y="3126"/>
                    </a:lnTo>
                    <a:lnTo>
                      <a:pt x="3602" y="3132"/>
                    </a:lnTo>
                    <a:lnTo>
                      <a:pt x="3600" y="3136"/>
                    </a:lnTo>
                    <a:lnTo>
                      <a:pt x="3598" y="3138"/>
                    </a:lnTo>
                    <a:lnTo>
                      <a:pt x="3596" y="3136"/>
                    </a:lnTo>
                    <a:lnTo>
                      <a:pt x="3596" y="3136"/>
                    </a:lnTo>
                    <a:lnTo>
                      <a:pt x="3592" y="3136"/>
                    </a:lnTo>
                    <a:lnTo>
                      <a:pt x="3590" y="3136"/>
                    </a:lnTo>
                    <a:lnTo>
                      <a:pt x="3586" y="3138"/>
                    </a:lnTo>
                    <a:lnTo>
                      <a:pt x="3582" y="3140"/>
                    </a:lnTo>
                    <a:lnTo>
                      <a:pt x="3580" y="3136"/>
                    </a:lnTo>
                    <a:lnTo>
                      <a:pt x="3580" y="3136"/>
                    </a:lnTo>
                    <a:lnTo>
                      <a:pt x="3580" y="3130"/>
                    </a:lnTo>
                    <a:lnTo>
                      <a:pt x="3578" y="3128"/>
                    </a:lnTo>
                    <a:lnTo>
                      <a:pt x="3576" y="3128"/>
                    </a:lnTo>
                    <a:lnTo>
                      <a:pt x="3574" y="3132"/>
                    </a:lnTo>
                    <a:lnTo>
                      <a:pt x="3568" y="3144"/>
                    </a:lnTo>
                    <a:lnTo>
                      <a:pt x="3568" y="3144"/>
                    </a:lnTo>
                    <a:lnTo>
                      <a:pt x="3564" y="3150"/>
                    </a:lnTo>
                    <a:lnTo>
                      <a:pt x="3560" y="3156"/>
                    </a:lnTo>
                    <a:lnTo>
                      <a:pt x="3550" y="3164"/>
                    </a:lnTo>
                    <a:lnTo>
                      <a:pt x="3544" y="3168"/>
                    </a:lnTo>
                    <a:lnTo>
                      <a:pt x="3548" y="3168"/>
                    </a:lnTo>
                    <a:lnTo>
                      <a:pt x="3548" y="3168"/>
                    </a:lnTo>
                    <a:lnTo>
                      <a:pt x="3554" y="3168"/>
                    </a:lnTo>
                    <a:lnTo>
                      <a:pt x="3556" y="3170"/>
                    </a:lnTo>
                    <a:lnTo>
                      <a:pt x="3558" y="3172"/>
                    </a:lnTo>
                    <a:lnTo>
                      <a:pt x="3558" y="3174"/>
                    </a:lnTo>
                    <a:lnTo>
                      <a:pt x="3558" y="3182"/>
                    </a:lnTo>
                    <a:lnTo>
                      <a:pt x="3558" y="3186"/>
                    </a:lnTo>
                    <a:lnTo>
                      <a:pt x="3562" y="3190"/>
                    </a:lnTo>
                    <a:lnTo>
                      <a:pt x="3562" y="3190"/>
                    </a:lnTo>
                    <a:lnTo>
                      <a:pt x="3564" y="3192"/>
                    </a:lnTo>
                    <a:lnTo>
                      <a:pt x="3564" y="3196"/>
                    </a:lnTo>
                    <a:lnTo>
                      <a:pt x="3564" y="3198"/>
                    </a:lnTo>
                    <a:lnTo>
                      <a:pt x="3562" y="3200"/>
                    </a:lnTo>
                    <a:lnTo>
                      <a:pt x="3564" y="3200"/>
                    </a:lnTo>
                    <a:lnTo>
                      <a:pt x="3574" y="3202"/>
                    </a:lnTo>
                    <a:lnTo>
                      <a:pt x="3574" y="3202"/>
                    </a:lnTo>
                    <a:lnTo>
                      <a:pt x="3578" y="3202"/>
                    </a:lnTo>
                    <a:lnTo>
                      <a:pt x="3580" y="3198"/>
                    </a:lnTo>
                    <a:lnTo>
                      <a:pt x="3584" y="3186"/>
                    </a:lnTo>
                    <a:lnTo>
                      <a:pt x="3588" y="3178"/>
                    </a:lnTo>
                    <a:lnTo>
                      <a:pt x="3590" y="3172"/>
                    </a:lnTo>
                    <a:lnTo>
                      <a:pt x="3594" y="3166"/>
                    </a:lnTo>
                    <a:lnTo>
                      <a:pt x="3602" y="3164"/>
                    </a:lnTo>
                    <a:lnTo>
                      <a:pt x="3602" y="3164"/>
                    </a:lnTo>
                    <a:lnTo>
                      <a:pt x="3608" y="3162"/>
                    </a:lnTo>
                    <a:lnTo>
                      <a:pt x="3614" y="3164"/>
                    </a:lnTo>
                    <a:lnTo>
                      <a:pt x="3620" y="3170"/>
                    </a:lnTo>
                    <a:lnTo>
                      <a:pt x="3624" y="3172"/>
                    </a:lnTo>
                    <a:lnTo>
                      <a:pt x="3626" y="3172"/>
                    </a:lnTo>
                    <a:lnTo>
                      <a:pt x="3628" y="3170"/>
                    </a:lnTo>
                    <a:lnTo>
                      <a:pt x="3630" y="3166"/>
                    </a:lnTo>
                    <a:lnTo>
                      <a:pt x="3630" y="3166"/>
                    </a:lnTo>
                    <a:lnTo>
                      <a:pt x="3632" y="3160"/>
                    </a:lnTo>
                    <a:lnTo>
                      <a:pt x="3636" y="3156"/>
                    </a:lnTo>
                    <a:lnTo>
                      <a:pt x="3642" y="3150"/>
                    </a:lnTo>
                    <a:lnTo>
                      <a:pt x="3646" y="3148"/>
                    </a:lnTo>
                    <a:lnTo>
                      <a:pt x="3648" y="3144"/>
                    </a:lnTo>
                    <a:lnTo>
                      <a:pt x="3646" y="3140"/>
                    </a:lnTo>
                    <a:lnTo>
                      <a:pt x="3646" y="3140"/>
                    </a:lnTo>
                    <a:lnTo>
                      <a:pt x="3644" y="3132"/>
                    </a:lnTo>
                    <a:lnTo>
                      <a:pt x="3644" y="3128"/>
                    </a:lnTo>
                    <a:lnTo>
                      <a:pt x="3644" y="3126"/>
                    </a:lnTo>
                    <a:lnTo>
                      <a:pt x="3640" y="3122"/>
                    </a:lnTo>
                    <a:lnTo>
                      <a:pt x="3640" y="3122"/>
                    </a:lnTo>
                    <a:close/>
                    <a:moveTo>
                      <a:pt x="3450" y="4936"/>
                    </a:moveTo>
                    <a:lnTo>
                      <a:pt x="3450" y="4936"/>
                    </a:lnTo>
                    <a:lnTo>
                      <a:pt x="3456" y="4938"/>
                    </a:lnTo>
                    <a:lnTo>
                      <a:pt x="3462" y="4940"/>
                    </a:lnTo>
                    <a:lnTo>
                      <a:pt x="3468" y="4940"/>
                    </a:lnTo>
                    <a:lnTo>
                      <a:pt x="3470" y="4938"/>
                    </a:lnTo>
                    <a:lnTo>
                      <a:pt x="3472" y="4934"/>
                    </a:lnTo>
                    <a:lnTo>
                      <a:pt x="3472" y="4934"/>
                    </a:lnTo>
                    <a:lnTo>
                      <a:pt x="3474" y="4926"/>
                    </a:lnTo>
                    <a:lnTo>
                      <a:pt x="3472" y="4922"/>
                    </a:lnTo>
                    <a:lnTo>
                      <a:pt x="3466" y="4922"/>
                    </a:lnTo>
                    <a:lnTo>
                      <a:pt x="3458" y="4924"/>
                    </a:lnTo>
                    <a:lnTo>
                      <a:pt x="3458" y="4924"/>
                    </a:lnTo>
                    <a:lnTo>
                      <a:pt x="3448" y="4930"/>
                    </a:lnTo>
                    <a:lnTo>
                      <a:pt x="3448" y="4932"/>
                    </a:lnTo>
                    <a:lnTo>
                      <a:pt x="3450" y="4936"/>
                    </a:lnTo>
                    <a:lnTo>
                      <a:pt x="3450" y="4936"/>
                    </a:lnTo>
                    <a:close/>
                    <a:moveTo>
                      <a:pt x="3012" y="5270"/>
                    </a:moveTo>
                    <a:lnTo>
                      <a:pt x="3012" y="5270"/>
                    </a:lnTo>
                    <a:lnTo>
                      <a:pt x="3008" y="5266"/>
                    </a:lnTo>
                    <a:lnTo>
                      <a:pt x="3006" y="5264"/>
                    </a:lnTo>
                    <a:lnTo>
                      <a:pt x="3008" y="5262"/>
                    </a:lnTo>
                    <a:lnTo>
                      <a:pt x="3012" y="5264"/>
                    </a:lnTo>
                    <a:lnTo>
                      <a:pt x="3012" y="5264"/>
                    </a:lnTo>
                    <a:lnTo>
                      <a:pt x="3020" y="5266"/>
                    </a:lnTo>
                    <a:lnTo>
                      <a:pt x="3022" y="5266"/>
                    </a:lnTo>
                    <a:lnTo>
                      <a:pt x="3022" y="5264"/>
                    </a:lnTo>
                    <a:lnTo>
                      <a:pt x="3022" y="5264"/>
                    </a:lnTo>
                    <a:lnTo>
                      <a:pt x="3022" y="5258"/>
                    </a:lnTo>
                    <a:lnTo>
                      <a:pt x="3020" y="5250"/>
                    </a:lnTo>
                    <a:lnTo>
                      <a:pt x="3014" y="5244"/>
                    </a:lnTo>
                    <a:lnTo>
                      <a:pt x="3010" y="5242"/>
                    </a:lnTo>
                    <a:lnTo>
                      <a:pt x="3008" y="5244"/>
                    </a:lnTo>
                    <a:lnTo>
                      <a:pt x="3008" y="5244"/>
                    </a:lnTo>
                    <a:lnTo>
                      <a:pt x="3006" y="5246"/>
                    </a:lnTo>
                    <a:lnTo>
                      <a:pt x="3004" y="5246"/>
                    </a:lnTo>
                    <a:lnTo>
                      <a:pt x="3000" y="5242"/>
                    </a:lnTo>
                    <a:lnTo>
                      <a:pt x="2998" y="5240"/>
                    </a:lnTo>
                    <a:lnTo>
                      <a:pt x="2994" y="5240"/>
                    </a:lnTo>
                    <a:lnTo>
                      <a:pt x="2992" y="5242"/>
                    </a:lnTo>
                    <a:lnTo>
                      <a:pt x="2992" y="5242"/>
                    </a:lnTo>
                    <a:lnTo>
                      <a:pt x="2988" y="5244"/>
                    </a:lnTo>
                    <a:lnTo>
                      <a:pt x="2986" y="5244"/>
                    </a:lnTo>
                    <a:lnTo>
                      <a:pt x="2982" y="5240"/>
                    </a:lnTo>
                    <a:lnTo>
                      <a:pt x="2978" y="5236"/>
                    </a:lnTo>
                    <a:lnTo>
                      <a:pt x="2974" y="5234"/>
                    </a:lnTo>
                    <a:lnTo>
                      <a:pt x="2970" y="5234"/>
                    </a:lnTo>
                    <a:lnTo>
                      <a:pt x="2970" y="5234"/>
                    </a:lnTo>
                    <a:lnTo>
                      <a:pt x="2966" y="5236"/>
                    </a:lnTo>
                    <a:lnTo>
                      <a:pt x="2964" y="5238"/>
                    </a:lnTo>
                    <a:lnTo>
                      <a:pt x="2964" y="5240"/>
                    </a:lnTo>
                    <a:lnTo>
                      <a:pt x="2966" y="5244"/>
                    </a:lnTo>
                    <a:lnTo>
                      <a:pt x="2970" y="5250"/>
                    </a:lnTo>
                    <a:lnTo>
                      <a:pt x="2974" y="5252"/>
                    </a:lnTo>
                    <a:lnTo>
                      <a:pt x="2974" y="5252"/>
                    </a:lnTo>
                    <a:lnTo>
                      <a:pt x="2978" y="5252"/>
                    </a:lnTo>
                    <a:lnTo>
                      <a:pt x="2984" y="5256"/>
                    </a:lnTo>
                    <a:lnTo>
                      <a:pt x="2986" y="5260"/>
                    </a:lnTo>
                    <a:lnTo>
                      <a:pt x="2984" y="5260"/>
                    </a:lnTo>
                    <a:lnTo>
                      <a:pt x="2982" y="5260"/>
                    </a:lnTo>
                    <a:lnTo>
                      <a:pt x="2982" y="5260"/>
                    </a:lnTo>
                    <a:lnTo>
                      <a:pt x="2976" y="5262"/>
                    </a:lnTo>
                    <a:lnTo>
                      <a:pt x="2972" y="5264"/>
                    </a:lnTo>
                    <a:lnTo>
                      <a:pt x="2970" y="5264"/>
                    </a:lnTo>
                    <a:lnTo>
                      <a:pt x="2966" y="5260"/>
                    </a:lnTo>
                    <a:lnTo>
                      <a:pt x="2966" y="5260"/>
                    </a:lnTo>
                    <a:lnTo>
                      <a:pt x="2960" y="5252"/>
                    </a:lnTo>
                    <a:lnTo>
                      <a:pt x="2956" y="5252"/>
                    </a:lnTo>
                    <a:lnTo>
                      <a:pt x="2954" y="5252"/>
                    </a:lnTo>
                    <a:lnTo>
                      <a:pt x="2954" y="5252"/>
                    </a:lnTo>
                    <a:lnTo>
                      <a:pt x="2948" y="5250"/>
                    </a:lnTo>
                    <a:lnTo>
                      <a:pt x="2944" y="5248"/>
                    </a:lnTo>
                    <a:lnTo>
                      <a:pt x="2940" y="5246"/>
                    </a:lnTo>
                    <a:lnTo>
                      <a:pt x="2938" y="5248"/>
                    </a:lnTo>
                    <a:lnTo>
                      <a:pt x="2936" y="5250"/>
                    </a:lnTo>
                    <a:lnTo>
                      <a:pt x="2936" y="5250"/>
                    </a:lnTo>
                    <a:lnTo>
                      <a:pt x="2932" y="5254"/>
                    </a:lnTo>
                    <a:lnTo>
                      <a:pt x="2928" y="5256"/>
                    </a:lnTo>
                    <a:lnTo>
                      <a:pt x="2926" y="5258"/>
                    </a:lnTo>
                    <a:lnTo>
                      <a:pt x="2926" y="5266"/>
                    </a:lnTo>
                    <a:lnTo>
                      <a:pt x="2926" y="5266"/>
                    </a:lnTo>
                    <a:lnTo>
                      <a:pt x="2926" y="5270"/>
                    </a:lnTo>
                    <a:lnTo>
                      <a:pt x="2926" y="5276"/>
                    </a:lnTo>
                    <a:lnTo>
                      <a:pt x="2926" y="5278"/>
                    </a:lnTo>
                    <a:lnTo>
                      <a:pt x="2928" y="5280"/>
                    </a:lnTo>
                    <a:lnTo>
                      <a:pt x="2938" y="5282"/>
                    </a:lnTo>
                    <a:lnTo>
                      <a:pt x="2938" y="5282"/>
                    </a:lnTo>
                    <a:lnTo>
                      <a:pt x="2948" y="5282"/>
                    </a:lnTo>
                    <a:lnTo>
                      <a:pt x="2960" y="5278"/>
                    </a:lnTo>
                    <a:lnTo>
                      <a:pt x="2970" y="5274"/>
                    </a:lnTo>
                    <a:lnTo>
                      <a:pt x="2978" y="5272"/>
                    </a:lnTo>
                    <a:lnTo>
                      <a:pt x="2978" y="5272"/>
                    </a:lnTo>
                    <a:lnTo>
                      <a:pt x="2984" y="5272"/>
                    </a:lnTo>
                    <a:lnTo>
                      <a:pt x="2986" y="5268"/>
                    </a:lnTo>
                    <a:lnTo>
                      <a:pt x="2988" y="5268"/>
                    </a:lnTo>
                    <a:lnTo>
                      <a:pt x="2990" y="5270"/>
                    </a:lnTo>
                    <a:lnTo>
                      <a:pt x="2990" y="5270"/>
                    </a:lnTo>
                    <a:lnTo>
                      <a:pt x="2992" y="5272"/>
                    </a:lnTo>
                    <a:lnTo>
                      <a:pt x="2994" y="5270"/>
                    </a:lnTo>
                    <a:lnTo>
                      <a:pt x="2998" y="5270"/>
                    </a:lnTo>
                    <a:lnTo>
                      <a:pt x="3004" y="5270"/>
                    </a:lnTo>
                    <a:lnTo>
                      <a:pt x="3004" y="5270"/>
                    </a:lnTo>
                    <a:lnTo>
                      <a:pt x="3014" y="5272"/>
                    </a:lnTo>
                    <a:lnTo>
                      <a:pt x="3016" y="5272"/>
                    </a:lnTo>
                    <a:lnTo>
                      <a:pt x="3012" y="5270"/>
                    </a:lnTo>
                    <a:lnTo>
                      <a:pt x="3012" y="5270"/>
                    </a:lnTo>
                    <a:close/>
                    <a:moveTo>
                      <a:pt x="3240" y="4810"/>
                    </a:moveTo>
                    <a:lnTo>
                      <a:pt x="3240" y="4810"/>
                    </a:lnTo>
                    <a:lnTo>
                      <a:pt x="3258" y="4782"/>
                    </a:lnTo>
                    <a:lnTo>
                      <a:pt x="3262" y="4776"/>
                    </a:lnTo>
                    <a:lnTo>
                      <a:pt x="3264" y="4770"/>
                    </a:lnTo>
                    <a:lnTo>
                      <a:pt x="3264" y="4764"/>
                    </a:lnTo>
                    <a:lnTo>
                      <a:pt x="3262" y="4760"/>
                    </a:lnTo>
                    <a:lnTo>
                      <a:pt x="3262" y="4760"/>
                    </a:lnTo>
                    <a:lnTo>
                      <a:pt x="3258" y="4756"/>
                    </a:lnTo>
                    <a:lnTo>
                      <a:pt x="3254" y="4756"/>
                    </a:lnTo>
                    <a:lnTo>
                      <a:pt x="3250" y="4758"/>
                    </a:lnTo>
                    <a:lnTo>
                      <a:pt x="3246" y="4764"/>
                    </a:lnTo>
                    <a:lnTo>
                      <a:pt x="3236" y="4776"/>
                    </a:lnTo>
                    <a:lnTo>
                      <a:pt x="3228" y="4792"/>
                    </a:lnTo>
                    <a:lnTo>
                      <a:pt x="3228" y="4792"/>
                    </a:lnTo>
                    <a:lnTo>
                      <a:pt x="3222" y="4796"/>
                    </a:lnTo>
                    <a:lnTo>
                      <a:pt x="3216" y="4798"/>
                    </a:lnTo>
                    <a:lnTo>
                      <a:pt x="3208" y="4798"/>
                    </a:lnTo>
                    <a:lnTo>
                      <a:pt x="3198" y="4798"/>
                    </a:lnTo>
                    <a:lnTo>
                      <a:pt x="3182" y="4794"/>
                    </a:lnTo>
                    <a:lnTo>
                      <a:pt x="3176" y="4794"/>
                    </a:lnTo>
                    <a:lnTo>
                      <a:pt x="3174" y="4796"/>
                    </a:lnTo>
                    <a:lnTo>
                      <a:pt x="3174" y="4796"/>
                    </a:lnTo>
                    <a:lnTo>
                      <a:pt x="3170" y="4798"/>
                    </a:lnTo>
                    <a:lnTo>
                      <a:pt x="3168" y="4798"/>
                    </a:lnTo>
                    <a:lnTo>
                      <a:pt x="3158" y="4794"/>
                    </a:lnTo>
                    <a:lnTo>
                      <a:pt x="3146" y="4792"/>
                    </a:lnTo>
                    <a:lnTo>
                      <a:pt x="3138" y="4790"/>
                    </a:lnTo>
                    <a:lnTo>
                      <a:pt x="3130" y="4790"/>
                    </a:lnTo>
                    <a:lnTo>
                      <a:pt x="3130" y="4790"/>
                    </a:lnTo>
                    <a:lnTo>
                      <a:pt x="3122" y="4790"/>
                    </a:lnTo>
                    <a:lnTo>
                      <a:pt x="3118" y="4788"/>
                    </a:lnTo>
                    <a:lnTo>
                      <a:pt x="3116" y="4786"/>
                    </a:lnTo>
                    <a:lnTo>
                      <a:pt x="3114" y="4784"/>
                    </a:lnTo>
                    <a:lnTo>
                      <a:pt x="3114" y="4780"/>
                    </a:lnTo>
                    <a:lnTo>
                      <a:pt x="3114" y="4778"/>
                    </a:lnTo>
                    <a:lnTo>
                      <a:pt x="3112" y="4778"/>
                    </a:lnTo>
                    <a:lnTo>
                      <a:pt x="3112" y="4778"/>
                    </a:lnTo>
                    <a:lnTo>
                      <a:pt x="3104" y="4778"/>
                    </a:lnTo>
                    <a:lnTo>
                      <a:pt x="3098" y="4776"/>
                    </a:lnTo>
                    <a:lnTo>
                      <a:pt x="3092" y="4776"/>
                    </a:lnTo>
                    <a:lnTo>
                      <a:pt x="3090" y="4778"/>
                    </a:lnTo>
                    <a:lnTo>
                      <a:pt x="3088" y="4780"/>
                    </a:lnTo>
                    <a:lnTo>
                      <a:pt x="3088" y="4780"/>
                    </a:lnTo>
                    <a:lnTo>
                      <a:pt x="3084" y="4788"/>
                    </a:lnTo>
                    <a:lnTo>
                      <a:pt x="3080" y="4796"/>
                    </a:lnTo>
                    <a:lnTo>
                      <a:pt x="3078" y="4800"/>
                    </a:lnTo>
                    <a:lnTo>
                      <a:pt x="3074" y="4800"/>
                    </a:lnTo>
                    <a:lnTo>
                      <a:pt x="3072" y="4800"/>
                    </a:lnTo>
                    <a:lnTo>
                      <a:pt x="3068" y="4796"/>
                    </a:lnTo>
                    <a:lnTo>
                      <a:pt x="3068" y="4796"/>
                    </a:lnTo>
                    <a:lnTo>
                      <a:pt x="3066" y="4792"/>
                    </a:lnTo>
                    <a:lnTo>
                      <a:pt x="3064" y="4792"/>
                    </a:lnTo>
                    <a:lnTo>
                      <a:pt x="3060" y="4798"/>
                    </a:lnTo>
                    <a:lnTo>
                      <a:pt x="3056" y="4810"/>
                    </a:lnTo>
                    <a:lnTo>
                      <a:pt x="3052" y="4820"/>
                    </a:lnTo>
                    <a:lnTo>
                      <a:pt x="3052" y="4820"/>
                    </a:lnTo>
                    <a:lnTo>
                      <a:pt x="3048" y="4824"/>
                    </a:lnTo>
                    <a:lnTo>
                      <a:pt x="3048" y="4828"/>
                    </a:lnTo>
                    <a:lnTo>
                      <a:pt x="3048" y="4834"/>
                    </a:lnTo>
                    <a:lnTo>
                      <a:pt x="3048" y="4838"/>
                    </a:lnTo>
                    <a:lnTo>
                      <a:pt x="3046" y="4840"/>
                    </a:lnTo>
                    <a:lnTo>
                      <a:pt x="3044" y="4842"/>
                    </a:lnTo>
                    <a:lnTo>
                      <a:pt x="3044" y="4842"/>
                    </a:lnTo>
                    <a:lnTo>
                      <a:pt x="3040" y="4844"/>
                    </a:lnTo>
                    <a:lnTo>
                      <a:pt x="3040" y="4848"/>
                    </a:lnTo>
                    <a:lnTo>
                      <a:pt x="3042" y="4854"/>
                    </a:lnTo>
                    <a:lnTo>
                      <a:pt x="3044" y="4864"/>
                    </a:lnTo>
                    <a:lnTo>
                      <a:pt x="3044" y="4864"/>
                    </a:lnTo>
                    <a:lnTo>
                      <a:pt x="3040" y="4876"/>
                    </a:lnTo>
                    <a:lnTo>
                      <a:pt x="3034" y="4886"/>
                    </a:lnTo>
                    <a:lnTo>
                      <a:pt x="3030" y="4900"/>
                    </a:lnTo>
                    <a:lnTo>
                      <a:pt x="3030" y="4908"/>
                    </a:lnTo>
                    <a:lnTo>
                      <a:pt x="3030" y="4918"/>
                    </a:lnTo>
                    <a:lnTo>
                      <a:pt x="3030" y="4918"/>
                    </a:lnTo>
                    <a:lnTo>
                      <a:pt x="3030" y="4932"/>
                    </a:lnTo>
                    <a:lnTo>
                      <a:pt x="3028" y="4934"/>
                    </a:lnTo>
                    <a:lnTo>
                      <a:pt x="3026" y="4936"/>
                    </a:lnTo>
                    <a:lnTo>
                      <a:pt x="3024" y="4936"/>
                    </a:lnTo>
                    <a:lnTo>
                      <a:pt x="3024" y="4938"/>
                    </a:lnTo>
                    <a:lnTo>
                      <a:pt x="3022" y="4944"/>
                    </a:lnTo>
                    <a:lnTo>
                      <a:pt x="3020" y="4952"/>
                    </a:lnTo>
                    <a:lnTo>
                      <a:pt x="3020" y="4952"/>
                    </a:lnTo>
                    <a:lnTo>
                      <a:pt x="3020" y="4960"/>
                    </a:lnTo>
                    <a:lnTo>
                      <a:pt x="3016" y="4964"/>
                    </a:lnTo>
                    <a:lnTo>
                      <a:pt x="3014" y="4968"/>
                    </a:lnTo>
                    <a:lnTo>
                      <a:pt x="3010" y="4968"/>
                    </a:lnTo>
                    <a:lnTo>
                      <a:pt x="3006" y="4970"/>
                    </a:lnTo>
                    <a:lnTo>
                      <a:pt x="3006" y="4972"/>
                    </a:lnTo>
                    <a:lnTo>
                      <a:pt x="3008" y="4976"/>
                    </a:lnTo>
                    <a:lnTo>
                      <a:pt x="3008" y="4976"/>
                    </a:lnTo>
                    <a:lnTo>
                      <a:pt x="3010" y="4984"/>
                    </a:lnTo>
                    <a:lnTo>
                      <a:pt x="3008" y="4986"/>
                    </a:lnTo>
                    <a:lnTo>
                      <a:pt x="3006" y="4990"/>
                    </a:lnTo>
                    <a:lnTo>
                      <a:pt x="3008" y="5002"/>
                    </a:lnTo>
                    <a:lnTo>
                      <a:pt x="3008" y="5002"/>
                    </a:lnTo>
                    <a:lnTo>
                      <a:pt x="3012" y="5008"/>
                    </a:lnTo>
                    <a:lnTo>
                      <a:pt x="3014" y="5010"/>
                    </a:lnTo>
                    <a:lnTo>
                      <a:pt x="3018" y="5010"/>
                    </a:lnTo>
                    <a:lnTo>
                      <a:pt x="3020" y="5010"/>
                    </a:lnTo>
                    <a:lnTo>
                      <a:pt x="3024" y="5010"/>
                    </a:lnTo>
                    <a:lnTo>
                      <a:pt x="3028" y="5010"/>
                    </a:lnTo>
                    <a:lnTo>
                      <a:pt x="3032" y="5014"/>
                    </a:lnTo>
                    <a:lnTo>
                      <a:pt x="3036" y="5022"/>
                    </a:lnTo>
                    <a:lnTo>
                      <a:pt x="3036" y="5022"/>
                    </a:lnTo>
                    <a:lnTo>
                      <a:pt x="3040" y="5034"/>
                    </a:lnTo>
                    <a:lnTo>
                      <a:pt x="3040" y="5046"/>
                    </a:lnTo>
                    <a:lnTo>
                      <a:pt x="3038" y="5058"/>
                    </a:lnTo>
                    <a:lnTo>
                      <a:pt x="3036" y="5070"/>
                    </a:lnTo>
                    <a:lnTo>
                      <a:pt x="3032" y="5082"/>
                    </a:lnTo>
                    <a:lnTo>
                      <a:pt x="3030" y="5092"/>
                    </a:lnTo>
                    <a:lnTo>
                      <a:pt x="3030" y="5102"/>
                    </a:lnTo>
                    <a:lnTo>
                      <a:pt x="3034" y="5112"/>
                    </a:lnTo>
                    <a:lnTo>
                      <a:pt x="3034" y="5112"/>
                    </a:lnTo>
                    <a:lnTo>
                      <a:pt x="3038" y="5116"/>
                    </a:lnTo>
                    <a:lnTo>
                      <a:pt x="3042" y="5118"/>
                    </a:lnTo>
                    <a:lnTo>
                      <a:pt x="3046" y="5118"/>
                    </a:lnTo>
                    <a:lnTo>
                      <a:pt x="3050" y="5116"/>
                    </a:lnTo>
                    <a:lnTo>
                      <a:pt x="3058" y="5114"/>
                    </a:lnTo>
                    <a:lnTo>
                      <a:pt x="3068" y="5112"/>
                    </a:lnTo>
                    <a:lnTo>
                      <a:pt x="3068" y="5112"/>
                    </a:lnTo>
                    <a:lnTo>
                      <a:pt x="3072" y="5112"/>
                    </a:lnTo>
                    <a:lnTo>
                      <a:pt x="3072" y="5110"/>
                    </a:lnTo>
                    <a:lnTo>
                      <a:pt x="3070" y="5100"/>
                    </a:lnTo>
                    <a:lnTo>
                      <a:pt x="3068" y="5088"/>
                    </a:lnTo>
                    <a:lnTo>
                      <a:pt x="3068" y="5082"/>
                    </a:lnTo>
                    <a:lnTo>
                      <a:pt x="3070" y="5076"/>
                    </a:lnTo>
                    <a:lnTo>
                      <a:pt x="3070" y="5076"/>
                    </a:lnTo>
                    <a:lnTo>
                      <a:pt x="3072" y="5070"/>
                    </a:lnTo>
                    <a:lnTo>
                      <a:pt x="3074" y="5064"/>
                    </a:lnTo>
                    <a:lnTo>
                      <a:pt x="3072" y="5050"/>
                    </a:lnTo>
                    <a:lnTo>
                      <a:pt x="3072" y="5034"/>
                    </a:lnTo>
                    <a:lnTo>
                      <a:pt x="3072" y="5014"/>
                    </a:lnTo>
                    <a:lnTo>
                      <a:pt x="3072" y="5014"/>
                    </a:lnTo>
                    <a:lnTo>
                      <a:pt x="3074" y="5004"/>
                    </a:lnTo>
                    <a:lnTo>
                      <a:pt x="3072" y="4998"/>
                    </a:lnTo>
                    <a:lnTo>
                      <a:pt x="3068" y="4990"/>
                    </a:lnTo>
                    <a:lnTo>
                      <a:pt x="3068" y="4988"/>
                    </a:lnTo>
                    <a:lnTo>
                      <a:pt x="3068" y="4984"/>
                    </a:lnTo>
                    <a:lnTo>
                      <a:pt x="3076" y="4974"/>
                    </a:lnTo>
                    <a:lnTo>
                      <a:pt x="3076" y="4974"/>
                    </a:lnTo>
                    <a:lnTo>
                      <a:pt x="3084" y="4970"/>
                    </a:lnTo>
                    <a:lnTo>
                      <a:pt x="3090" y="4968"/>
                    </a:lnTo>
                    <a:lnTo>
                      <a:pt x="3094" y="4968"/>
                    </a:lnTo>
                    <a:lnTo>
                      <a:pt x="3098" y="4972"/>
                    </a:lnTo>
                    <a:lnTo>
                      <a:pt x="3100" y="4976"/>
                    </a:lnTo>
                    <a:lnTo>
                      <a:pt x="3100" y="4982"/>
                    </a:lnTo>
                    <a:lnTo>
                      <a:pt x="3098" y="4990"/>
                    </a:lnTo>
                    <a:lnTo>
                      <a:pt x="3094" y="4996"/>
                    </a:lnTo>
                    <a:lnTo>
                      <a:pt x="3094" y="4996"/>
                    </a:lnTo>
                    <a:lnTo>
                      <a:pt x="3092" y="5002"/>
                    </a:lnTo>
                    <a:lnTo>
                      <a:pt x="3090" y="5008"/>
                    </a:lnTo>
                    <a:lnTo>
                      <a:pt x="3092" y="5012"/>
                    </a:lnTo>
                    <a:lnTo>
                      <a:pt x="3094" y="5016"/>
                    </a:lnTo>
                    <a:lnTo>
                      <a:pt x="3102" y="5024"/>
                    </a:lnTo>
                    <a:lnTo>
                      <a:pt x="3112" y="5034"/>
                    </a:lnTo>
                    <a:lnTo>
                      <a:pt x="3112" y="5034"/>
                    </a:lnTo>
                    <a:lnTo>
                      <a:pt x="3116" y="5040"/>
                    </a:lnTo>
                    <a:lnTo>
                      <a:pt x="3116" y="5046"/>
                    </a:lnTo>
                    <a:lnTo>
                      <a:pt x="3114" y="5062"/>
                    </a:lnTo>
                    <a:lnTo>
                      <a:pt x="3114" y="5068"/>
                    </a:lnTo>
                    <a:lnTo>
                      <a:pt x="3116" y="5074"/>
                    </a:lnTo>
                    <a:lnTo>
                      <a:pt x="3120" y="5076"/>
                    </a:lnTo>
                    <a:lnTo>
                      <a:pt x="3130" y="5078"/>
                    </a:lnTo>
                    <a:lnTo>
                      <a:pt x="3130" y="5078"/>
                    </a:lnTo>
                    <a:lnTo>
                      <a:pt x="3136" y="5076"/>
                    </a:lnTo>
                    <a:lnTo>
                      <a:pt x="3138" y="5076"/>
                    </a:lnTo>
                    <a:lnTo>
                      <a:pt x="3140" y="5072"/>
                    </a:lnTo>
                    <a:lnTo>
                      <a:pt x="3140" y="5070"/>
                    </a:lnTo>
                    <a:lnTo>
                      <a:pt x="3140" y="5062"/>
                    </a:lnTo>
                    <a:lnTo>
                      <a:pt x="3142" y="5060"/>
                    </a:lnTo>
                    <a:lnTo>
                      <a:pt x="3148" y="5056"/>
                    </a:lnTo>
                    <a:lnTo>
                      <a:pt x="3148" y="5056"/>
                    </a:lnTo>
                    <a:lnTo>
                      <a:pt x="3152" y="5056"/>
                    </a:lnTo>
                    <a:lnTo>
                      <a:pt x="3156" y="5054"/>
                    </a:lnTo>
                    <a:lnTo>
                      <a:pt x="3164" y="5056"/>
                    </a:lnTo>
                    <a:lnTo>
                      <a:pt x="3166" y="5056"/>
                    </a:lnTo>
                    <a:lnTo>
                      <a:pt x="3168" y="5056"/>
                    </a:lnTo>
                    <a:lnTo>
                      <a:pt x="3172" y="5048"/>
                    </a:lnTo>
                    <a:lnTo>
                      <a:pt x="3172" y="5048"/>
                    </a:lnTo>
                    <a:lnTo>
                      <a:pt x="3172" y="5042"/>
                    </a:lnTo>
                    <a:lnTo>
                      <a:pt x="3170" y="5036"/>
                    </a:lnTo>
                    <a:lnTo>
                      <a:pt x="3164" y="5032"/>
                    </a:lnTo>
                    <a:lnTo>
                      <a:pt x="3158" y="5028"/>
                    </a:lnTo>
                    <a:lnTo>
                      <a:pt x="3152" y="5026"/>
                    </a:lnTo>
                    <a:lnTo>
                      <a:pt x="3148" y="5022"/>
                    </a:lnTo>
                    <a:lnTo>
                      <a:pt x="3146" y="5016"/>
                    </a:lnTo>
                    <a:lnTo>
                      <a:pt x="3148" y="5012"/>
                    </a:lnTo>
                    <a:lnTo>
                      <a:pt x="3148" y="5012"/>
                    </a:lnTo>
                    <a:lnTo>
                      <a:pt x="3152" y="5006"/>
                    </a:lnTo>
                    <a:lnTo>
                      <a:pt x="3152" y="4998"/>
                    </a:lnTo>
                    <a:lnTo>
                      <a:pt x="3150" y="4990"/>
                    </a:lnTo>
                    <a:lnTo>
                      <a:pt x="3148" y="4980"/>
                    </a:lnTo>
                    <a:lnTo>
                      <a:pt x="3136" y="4962"/>
                    </a:lnTo>
                    <a:lnTo>
                      <a:pt x="3122" y="4946"/>
                    </a:lnTo>
                    <a:lnTo>
                      <a:pt x="3122" y="4946"/>
                    </a:lnTo>
                    <a:lnTo>
                      <a:pt x="3118" y="4940"/>
                    </a:lnTo>
                    <a:lnTo>
                      <a:pt x="3118" y="4934"/>
                    </a:lnTo>
                    <a:lnTo>
                      <a:pt x="3122" y="4930"/>
                    </a:lnTo>
                    <a:lnTo>
                      <a:pt x="3128" y="4926"/>
                    </a:lnTo>
                    <a:lnTo>
                      <a:pt x="3146" y="4916"/>
                    </a:lnTo>
                    <a:lnTo>
                      <a:pt x="3154" y="4908"/>
                    </a:lnTo>
                    <a:lnTo>
                      <a:pt x="3162" y="4898"/>
                    </a:lnTo>
                    <a:lnTo>
                      <a:pt x="3162" y="4898"/>
                    </a:lnTo>
                    <a:lnTo>
                      <a:pt x="3168" y="4888"/>
                    </a:lnTo>
                    <a:lnTo>
                      <a:pt x="3172" y="4884"/>
                    </a:lnTo>
                    <a:lnTo>
                      <a:pt x="3176" y="4884"/>
                    </a:lnTo>
                    <a:lnTo>
                      <a:pt x="3180" y="4886"/>
                    </a:lnTo>
                    <a:lnTo>
                      <a:pt x="3186" y="4890"/>
                    </a:lnTo>
                    <a:lnTo>
                      <a:pt x="3190" y="4890"/>
                    </a:lnTo>
                    <a:lnTo>
                      <a:pt x="3192" y="4888"/>
                    </a:lnTo>
                    <a:lnTo>
                      <a:pt x="3192" y="4888"/>
                    </a:lnTo>
                    <a:lnTo>
                      <a:pt x="3196" y="4880"/>
                    </a:lnTo>
                    <a:lnTo>
                      <a:pt x="3196" y="4876"/>
                    </a:lnTo>
                    <a:lnTo>
                      <a:pt x="3194" y="4874"/>
                    </a:lnTo>
                    <a:lnTo>
                      <a:pt x="3192" y="4872"/>
                    </a:lnTo>
                    <a:lnTo>
                      <a:pt x="3188" y="4870"/>
                    </a:lnTo>
                    <a:lnTo>
                      <a:pt x="3170" y="4870"/>
                    </a:lnTo>
                    <a:lnTo>
                      <a:pt x="3170" y="4870"/>
                    </a:lnTo>
                    <a:lnTo>
                      <a:pt x="3160" y="4872"/>
                    </a:lnTo>
                    <a:lnTo>
                      <a:pt x="3152" y="4874"/>
                    </a:lnTo>
                    <a:lnTo>
                      <a:pt x="3144" y="4880"/>
                    </a:lnTo>
                    <a:lnTo>
                      <a:pt x="3136" y="4884"/>
                    </a:lnTo>
                    <a:lnTo>
                      <a:pt x="3130" y="4884"/>
                    </a:lnTo>
                    <a:lnTo>
                      <a:pt x="3124" y="4884"/>
                    </a:lnTo>
                    <a:lnTo>
                      <a:pt x="3124" y="4884"/>
                    </a:lnTo>
                    <a:lnTo>
                      <a:pt x="3116" y="4882"/>
                    </a:lnTo>
                    <a:lnTo>
                      <a:pt x="3112" y="4886"/>
                    </a:lnTo>
                    <a:lnTo>
                      <a:pt x="3108" y="4890"/>
                    </a:lnTo>
                    <a:lnTo>
                      <a:pt x="3106" y="4894"/>
                    </a:lnTo>
                    <a:lnTo>
                      <a:pt x="3104" y="4900"/>
                    </a:lnTo>
                    <a:lnTo>
                      <a:pt x="3100" y="4904"/>
                    </a:lnTo>
                    <a:lnTo>
                      <a:pt x="3096" y="4908"/>
                    </a:lnTo>
                    <a:lnTo>
                      <a:pt x="3088" y="4908"/>
                    </a:lnTo>
                    <a:lnTo>
                      <a:pt x="3088" y="4908"/>
                    </a:lnTo>
                    <a:lnTo>
                      <a:pt x="3082" y="4906"/>
                    </a:lnTo>
                    <a:lnTo>
                      <a:pt x="3078" y="4904"/>
                    </a:lnTo>
                    <a:lnTo>
                      <a:pt x="3078" y="4902"/>
                    </a:lnTo>
                    <a:lnTo>
                      <a:pt x="3078" y="4898"/>
                    </a:lnTo>
                    <a:lnTo>
                      <a:pt x="3076" y="4892"/>
                    </a:lnTo>
                    <a:lnTo>
                      <a:pt x="3074" y="4888"/>
                    </a:lnTo>
                    <a:lnTo>
                      <a:pt x="3068" y="4882"/>
                    </a:lnTo>
                    <a:lnTo>
                      <a:pt x="3068" y="4882"/>
                    </a:lnTo>
                    <a:lnTo>
                      <a:pt x="3064" y="4880"/>
                    </a:lnTo>
                    <a:lnTo>
                      <a:pt x="3062" y="4876"/>
                    </a:lnTo>
                    <a:lnTo>
                      <a:pt x="3058" y="4866"/>
                    </a:lnTo>
                    <a:lnTo>
                      <a:pt x="3058" y="4852"/>
                    </a:lnTo>
                    <a:lnTo>
                      <a:pt x="3060" y="4840"/>
                    </a:lnTo>
                    <a:lnTo>
                      <a:pt x="3066" y="4828"/>
                    </a:lnTo>
                    <a:lnTo>
                      <a:pt x="3072" y="4818"/>
                    </a:lnTo>
                    <a:lnTo>
                      <a:pt x="3074" y="4816"/>
                    </a:lnTo>
                    <a:lnTo>
                      <a:pt x="3078" y="4814"/>
                    </a:lnTo>
                    <a:lnTo>
                      <a:pt x="3082" y="4814"/>
                    </a:lnTo>
                    <a:lnTo>
                      <a:pt x="3086" y="4816"/>
                    </a:lnTo>
                    <a:lnTo>
                      <a:pt x="3086" y="4816"/>
                    </a:lnTo>
                    <a:lnTo>
                      <a:pt x="3092" y="4818"/>
                    </a:lnTo>
                    <a:lnTo>
                      <a:pt x="3096" y="4820"/>
                    </a:lnTo>
                    <a:lnTo>
                      <a:pt x="3106" y="4818"/>
                    </a:lnTo>
                    <a:lnTo>
                      <a:pt x="3116" y="4818"/>
                    </a:lnTo>
                    <a:lnTo>
                      <a:pt x="3122" y="4818"/>
                    </a:lnTo>
                    <a:lnTo>
                      <a:pt x="3126" y="4818"/>
                    </a:lnTo>
                    <a:lnTo>
                      <a:pt x="3126" y="4818"/>
                    </a:lnTo>
                    <a:lnTo>
                      <a:pt x="3132" y="4820"/>
                    </a:lnTo>
                    <a:lnTo>
                      <a:pt x="3140" y="4820"/>
                    </a:lnTo>
                    <a:lnTo>
                      <a:pt x="3156" y="4818"/>
                    </a:lnTo>
                    <a:lnTo>
                      <a:pt x="3172" y="4816"/>
                    </a:lnTo>
                    <a:lnTo>
                      <a:pt x="3178" y="4818"/>
                    </a:lnTo>
                    <a:lnTo>
                      <a:pt x="3182" y="4820"/>
                    </a:lnTo>
                    <a:lnTo>
                      <a:pt x="3182" y="4820"/>
                    </a:lnTo>
                    <a:lnTo>
                      <a:pt x="3186" y="4822"/>
                    </a:lnTo>
                    <a:lnTo>
                      <a:pt x="3192" y="4824"/>
                    </a:lnTo>
                    <a:lnTo>
                      <a:pt x="3200" y="4826"/>
                    </a:lnTo>
                    <a:lnTo>
                      <a:pt x="3208" y="4826"/>
                    </a:lnTo>
                    <a:lnTo>
                      <a:pt x="3218" y="4824"/>
                    </a:lnTo>
                    <a:lnTo>
                      <a:pt x="3226" y="4822"/>
                    </a:lnTo>
                    <a:lnTo>
                      <a:pt x="3234" y="4816"/>
                    </a:lnTo>
                    <a:lnTo>
                      <a:pt x="3240" y="4810"/>
                    </a:lnTo>
                    <a:lnTo>
                      <a:pt x="3240" y="4810"/>
                    </a:lnTo>
                    <a:close/>
                    <a:moveTo>
                      <a:pt x="2954" y="5244"/>
                    </a:moveTo>
                    <a:lnTo>
                      <a:pt x="2954" y="5244"/>
                    </a:lnTo>
                    <a:lnTo>
                      <a:pt x="2954" y="5248"/>
                    </a:lnTo>
                    <a:lnTo>
                      <a:pt x="2956" y="5246"/>
                    </a:lnTo>
                    <a:lnTo>
                      <a:pt x="2960" y="5240"/>
                    </a:lnTo>
                    <a:lnTo>
                      <a:pt x="2960" y="5240"/>
                    </a:lnTo>
                    <a:lnTo>
                      <a:pt x="2962" y="5238"/>
                    </a:lnTo>
                    <a:lnTo>
                      <a:pt x="2960" y="5236"/>
                    </a:lnTo>
                    <a:lnTo>
                      <a:pt x="2958" y="5236"/>
                    </a:lnTo>
                    <a:lnTo>
                      <a:pt x="2954" y="5240"/>
                    </a:lnTo>
                    <a:lnTo>
                      <a:pt x="2954" y="5244"/>
                    </a:lnTo>
                    <a:lnTo>
                      <a:pt x="2954" y="5244"/>
                    </a:lnTo>
                    <a:close/>
                    <a:moveTo>
                      <a:pt x="3346" y="4878"/>
                    </a:moveTo>
                    <a:lnTo>
                      <a:pt x="3346" y="4878"/>
                    </a:lnTo>
                    <a:lnTo>
                      <a:pt x="3350" y="4878"/>
                    </a:lnTo>
                    <a:lnTo>
                      <a:pt x="3352" y="4876"/>
                    </a:lnTo>
                    <a:lnTo>
                      <a:pt x="3350" y="4874"/>
                    </a:lnTo>
                    <a:lnTo>
                      <a:pt x="3348" y="4872"/>
                    </a:lnTo>
                    <a:lnTo>
                      <a:pt x="3348" y="4872"/>
                    </a:lnTo>
                    <a:lnTo>
                      <a:pt x="3346" y="4872"/>
                    </a:lnTo>
                    <a:lnTo>
                      <a:pt x="3344" y="4874"/>
                    </a:lnTo>
                    <a:lnTo>
                      <a:pt x="3344" y="4876"/>
                    </a:lnTo>
                    <a:lnTo>
                      <a:pt x="3346" y="4878"/>
                    </a:lnTo>
                    <a:lnTo>
                      <a:pt x="3346" y="4878"/>
                    </a:lnTo>
                    <a:close/>
                    <a:moveTo>
                      <a:pt x="3352" y="4858"/>
                    </a:moveTo>
                    <a:lnTo>
                      <a:pt x="3352" y="4858"/>
                    </a:lnTo>
                    <a:lnTo>
                      <a:pt x="3350" y="4862"/>
                    </a:lnTo>
                    <a:lnTo>
                      <a:pt x="3354" y="4868"/>
                    </a:lnTo>
                    <a:lnTo>
                      <a:pt x="3354" y="4868"/>
                    </a:lnTo>
                    <a:lnTo>
                      <a:pt x="3358" y="4874"/>
                    </a:lnTo>
                    <a:lnTo>
                      <a:pt x="3360" y="4876"/>
                    </a:lnTo>
                    <a:lnTo>
                      <a:pt x="3364" y="4874"/>
                    </a:lnTo>
                    <a:lnTo>
                      <a:pt x="3364" y="4866"/>
                    </a:lnTo>
                    <a:lnTo>
                      <a:pt x="3364" y="4866"/>
                    </a:lnTo>
                    <a:lnTo>
                      <a:pt x="3362" y="4858"/>
                    </a:lnTo>
                    <a:lnTo>
                      <a:pt x="3360" y="4854"/>
                    </a:lnTo>
                    <a:lnTo>
                      <a:pt x="3356" y="4854"/>
                    </a:lnTo>
                    <a:lnTo>
                      <a:pt x="3352" y="4858"/>
                    </a:lnTo>
                    <a:lnTo>
                      <a:pt x="3352" y="4858"/>
                    </a:lnTo>
                    <a:close/>
                    <a:moveTo>
                      <a:pt x="3452" y="4980"/>
                    </a:moveTo>
                    <a:lnTo>
                      <a:pt x="3452" y="4980"/>
                    </a:lnTo>
                    <a:lnTo>
                      <a:pt x="3440" y="4974"/>
                    </a:lnTo>
                    <a:lnTo>
                      <a:pt x="3438" y="4974"/>
                    </a:lnTo>
                    <a:lnTo>
                      <a:pt x="3436" y="4976"/>
                    </a:lnTo>
                    <a:lnTo>
                      <a:pt x="3428" y="4978"/>
                    </a:lnTo>
                    <a:lnTo>
                      <a:pt x="3422" y="4980"/>
                    </a:lnTo>
                    <a:lnTo>
                      <a:pt x="3414" y="4978"/>
                    </a:lnTo>
                    <a:lnTo>
                      <a:pt x="3414" y="4978"/>
                    </a:lnTo>
                    <a:lnTo>
                      <a:pt x="3404" y="4978"/>
                    </a:lnTo>
                    <a:lnTo>
                      <a:pt x="3396" y="4978"/>
                    </a:lnTo>
                    <a:lnTo>
                      <a:pt x="3390" y="4980"/>
                    </a:lnTo>
                    <a:lnTo>
                      <a:pt x="3384" y="4982"/>
                    </a:lnTo>
                    <a:lnTo>
                      <a:pt x="3378" y="4986"/>
                    </a:lnTo>
                    <a:lnTo>
                      <a:pt x="3376" y="4990"/>
                    </a:lnTo>
                    <a:lnTo>
                      <a:pt x="3374" y="4996"/>
                    </a:lnTo>
                    <a:lnTo>
                      <a:pt x="3374" y="5002"/>
                    </a:lnTo>
                    <a:lnTo>
                      <a:pt x="3374" y="5002"/>
                    </a:lnTo>
                    <a:lnTo>
                      <a:pt x="3376" y="5010"/>
                    </a:lnTo>
                    <a:lnTo>
                      <a:pt x="3378" y="5006"/>
                    </a:lnTo>
                    <a:lnTo>
                      <a:pt x="3380" y="4998"/>
                    </a:lnTo>
                    <a:lnTo>
                      <a:pt x="3382" y="4994"/>
                    </a:lnTo>
                    <a:lnTo>
                      <a:pt x="3384" y="4992"/>
                    </a:lnTo>
                    <a:lnTo>
                      <a:pt x="3384" y="4992"/>
                    </a:lnTo>
                    <a:lnTo>
                      <a:pt x="3386" y="4992"/>
                    </a:lnTo>
                    <a:lnTo>
                      <a:pt x="3388" y="4994"/>
                    </a:lnTo>
                    <a:lnTo>
                      <a:pt x="3392" y="5000"/>
                    </a:lnTo>
                    <a:lnTo>
                      <a:pt x="3396" y="5002"/>
                    </a:lnTo>
                    <a:lnTo>
                      <a:pt x="3400" y="5004"/>
                    </a:lnTo>
                    <a:lnTo>
                      <a:pt x="3404" y="5004"/>
                    </a:lnTo>
                    <a:lnTo>
                      <a:pt x="3408" y="5000"/>
                    </a:lnTo>
                    <a:lnTo>
                      <a:pt x="3408" y="5000"/>
                    </a:lnTo>
                    <a:lnTo>
                      <a:pt x="3414" y="4998"/>
                    </a:lnTo>
                    <a:lnTo>
                      <a:pt x="3418" y="4998"/>
                    </a:lnTo>
                    <a:lnTo>
                      <a:pt x="3428" y="5002"/>
                    </a:lnTo>
                    <a:lnTo>
                      <a:pt x="3436" y="5006"/>
                    </a:lnTo>
                    <a:lnTo>
                      <a:pt x="3438" y="5008"/>
                    </a:lnTo>
                    <a:lnTo>
                      <a:pt x="3440" y="5006"/>
                    </a:lnTo>
                    <a:lnTo>
                      <a:pt x="3440" y="5006"/>
                    </a:lnTo>
                    <a:lnTo>
                      <a:pt x="3442" y="5002"/>
                    </a:lnTo>
                    <a:lnTo>
                      <a:pt x="3446" y="5002"/>
                    </a:lnTo>
                    <a:lnTo>
                      <a:pt x="3456" y="5006"/>
                    </a:lnTo>
                    <a:lnTo>
                      <a:pt x="3468" y="5014"/>
                    </a:lnTo>
                    <a:lnTo>
                      <a:pt x="3482" y="5022"/>
                    </a:lnTo>
                    <a:lnTo>
                      <a:pt x="3482" y="5022"/>
                    </a:lnTo>
                    <a:lnTo>
                      <a:pt x="3488" y="5026"/>
                    </a:lnTo>
                    <a:lnTo>
                      <a:pt x="3492" y="5028"/>
                    </a:lnTo>
                    <a:lnTo>
                      <a:pt x="3494" y="5026"/>
                    </a:lnTo>
                    <a:lnTo>
                      <a:pt x="3496" y="5024"/>
                    </a:lnTo>
                    <a:lnTo>
                      <a:pt x="3494" y="5012"/>
                    </a:lnTo>
                    <a:lnTo>
                      <a:pt x="3484" y="4994"/>
                    </a:lnTo>
                    <a:lnTo>
                      <a:pt x="3484" y="4994"/>
                    </a:lnTo>
                    <a:lnTo>
                      <a:pt x="3478" y="4988"/>
                    </a:lnTo>
                    <a:lnTo>
                      <a:pt x="3476" y="4984"/>
                    </a:lnTo>
                    <a:lnTo>
                      <a:pt x="3472" y="4982"/>
                    </a:lnTo>
                    <a:lnTo>
                      <a:pt x="3470" y="4984"/>
                    </a:lnTo>
                    <a:lnTo>
                      <a:pt x="3464" y="4984"/>
                    </a:lnTo>
                    <a:lnTo>
                      <a:pt x="3458" y="4984"/>
                    </a:lnTo>
                    <a:lnTo>
                      <a:pt x="3452" y="4980"/>
                    </a:lnTo>
                    <a:lnTo>
                      <a:pt x="3452" y="4980"/>
                    </a:lnTo>
                    <a:close/>
                    <a:moveTo>
                      <a:pt x="3092" y="4546"/>
                    </a:moveTo>
                    <a:lnTo>
                      <a:pt x="3092" y="4546"/>
                    </a:lnTo>
                    <a:lnTo>
                      <a:pt x="3090" y="4552"/>
                    </a:lnTo>
                    <a:lnTo>
                      <a:pt x="3092" y="4552"/>
                    </a:lnTo>
                    <a:lnTo>
                      <a:pt x="3094" y="4552"/>
                    </a:lnTo>
                    <a:lnTo>
                      <a:pt x="3098" y="4552"/>
                    </a:lnTo>
                    <a:lnTo>
                      <a:pt x="3104" y="4552"/>
                    </a:lnTo>
                    <a:lnTo>
                      <a:pt x="3104" y="4552"/>
                    </a:lnTo>
                    <a:lnTo>
                      <a:pt x="3108" y="4554"/>
                    </a:lnTo>
                    <a:lnTo>
                      <a:pt x="3112" y="4552"/>
                    </a:lnTo>
                    <a:lnTo>
                      <a:pt x="3112" y="4548"/>
                    </a:lnTo>
                    <a:lnTo>
                      <a:pt x="3110" y="4548"/>
                    </a:lnTo>
                    <a:lnTo>
                      <a:pt x="3110" y="4548"/>
                    </a:lnTo>
                    <a:lnTo>
                      <a:pt x="3106" y="4546"/>
                    </a:lnTo>
                    <a:lnTo>
                      <a:pt x="3102" y="4542"/>
                    </a:lnTo>
                    <a:lnTo>
                      <a:pt x="3100" y="4540"/>
                    </a:lnTo>
                    <a:lnTo>
                      <a:pt x="3098" y="4540"/>
                    </a:lnTo>
                    <a:lnTo>
                      <a:pt x="3096" y="4542"/>
                    </a:lnTo>
                    <a:lnTo>
                      <a:pt x="3092" y="4546"/>
                    </a:lnTo>
                    <a:lnTo>
                      <a:pt x="3092" y="4546"/>
                    </a:lnTo>
                    <a:close/>
                    <a:moveTo>
                      <a:pt x="3058" y="4324"/>
                    </a:moveTo>
                    <a:lnTo>
                      <a:pt x="3058" y="4324"/>
                    </a:lnTo>
                    <a:lnTo>
                      <a:pt x="3058" y="4324"/>
                    </a:lnTo>
                    <a:lnTo>
                      <a:pt x="3056" y="4322"/>
                    </a:lnTo>
                    <a:lnTo>
                      <a:pt x="3052" y="4322"/>
                    </a:lnTo>
                    <a:lnTo>
                      <a:pt x="3048" y="4326"/>
                    </a:lnTo>
                    <a:lnTo>
                      <a:pt x="3048" y="4326"/>
                    </a:lnTo>
                    <a:lnTo>
                      <a:pt x="3048" y="4330"/>
                    </a:lnTo>
                    <a:lnTo>
                      <a:pt x="3050" y="4330"/>
                    </a:lnTo>
                    <a:lnTo>
                      <a:pt x="3058" y="4324"/>
                    </a:lnTo>
                    <a:lnTo>
                      <a:pt x="3058" y="4324"/>
                    </a:lnTo>
                    <a:close/>
                    <a:moveTo>
                      <a:pt x="3358" y="4790"/>
                    </a:moveTo>
                    <a:lnTo>
                      <a:pt x="3358" y="4790"/>
                    </a:lnTo>
                    <a:lnTo>
                      <a:pt x="3360" y="4800"/>
                    </a:lnTo>
                    <a:lnTo>
                      <a:pt x="3358" y="4806"/>
                    </a:lnTo>
                    <a:lnTo>
                      <a:pt x="3358" y="4812"/>
                    </a:lnTo>
                    <a:lnTo>
                      <a:pt x="3358" y="4816"/>
                    </a:lnTo>
                    <a:lnTo>
                      <a:pt x="3362" y="4820"/>
                    </a:lnTo>
                    <a:lnTo>
                      <a:pt x="3362" y="4820"/>
                    </a:lnTo>
                    <a:lnTo>
                      <a:pt x="3364" y="4826"/>
                    </a:lnTo>
                    <a:lnTo>
                      <a:pt x="3364" y="4830"/>
                    </a:lnTo>
                    <a:lnTo>
                      <a:pt x="3364" y="4838"/>
                    </a:lnTo>
                    <a:lnTo>
                      <a:pt x="3364" y="4846"/>
                    </a:lnTo>
                    <a:lnTo>
                      <a:pt x="3364" y="4850"/>
                    </a:lnTo>
                    <a:lnTo>
                      <a:pt x="3368" y="4856"/>
                    </a:lnTo>
                    <a:lnTo>
                      <a:pt x="3368" y="4856"/>
                    </a:lnTo>
                    <a:lnTo>
                      <a:pt x="3382" y="4876"/>
                    </a:lnTo>
                    <a:lnTo>
                      <a:pt x="3388" y="4882"/>
                    </a:lnTo>
                    <a:lnTo>
                      <a:pt x="3390" y="4884"/>
                    </a:lnTo>
                    <a:lnTo>
                      <a:pt x="3394" y="4884"/>
                    </a:lnTo>
                    <a:lnTo>
                      <a:pt x="3394" y="4884"/>
                    </a:lnTo>
                    <a:lnTo>
                      <a:pt x="3394" y="4882"/>
                    </a:lnTo>
                    <a:lnTo>
                      <a:pt x="3394" y="4880"/>
                    </a:lnTo>
                    <a:lnTo>
                      <a:pt x="3390" y="4876"/>
                    </a:lnTo>
                    <a:lnTo>
                      <a:pt x="3384" y="4868"/>
                    </a:lnTo>
                    <a:lnTo>
                      <a:pt x="3384" y="4868"/>
                    </a:lnTo>
                    <a:lnTo>
                      <a:pt x="3380" y="4860"/>
                    </a:lnTo>
                    <a:lnTo>
                      <a:pt x="3376" y="4848"/>
                    </a:lnTo>
                    <a:lnTo>
                      <a:pt x="3374" y="4836"/>
                    </a:lnTo>
                    <a:lnTo>
                      <a:pt x="3374" y="4826"/>
                    </a:lnTo>
                    <a:lnTo>
                      <a:pt x="3374" y="4826"/>
                    </a:lnTo>
                    <a:lnTo>
                      <a:pt x="3376" y="4820"/>
                    </a:lnTo>
                    <a:lnTo>
                      <a:pt x="3380" y="4818"/>
                    </a:lnTo>
                    <a:lnTo>
                      <a:pt x="3382" y="4818"/>
                    </a:lnTo>
                    <a:lnTo>
                      <a:pt x="3390" y="4820"/>
                    </a:lnTo>
                    <a:lnTo>
                      <a:pt x="3402" y="4824"/>
                    </a:lnTo>
                    <a:lnTo>
                      <a:pt x="3402" y="4824"/>
                    </a:lnTo>
                    <a:lnTo>
                      <a:pt x="3406" y="4826"/>
                    </a:lnTo>
                    <a:lnTo>
                      <a:pt x="3410" y="4826"/>
                    </a:lnTo>
                    <a:lnTo>
                      <a:pt x="3410" y="4826"/>
                    </a:lnTo>
                    <a:lnTo>
                      <a:pt x="3410" y="4822"/>
                    </a:lnTo>
                    <a:lnTo>
                      <a:pt x="3406" y="4816"/>
                    </a:lnTo>
                    <a:lnTo>
                      <a:pt x="3400" y="4812"/>
                    </a:lnTo>
                    <a:lnTo>
                      <a:pt x="3394" y="4810"/>
                    </a:lnTo>
                    <a:lnTo>
                      <a:pt x="3394" y="4810"/>
                    </a:lnTo>
                    <a:lnTo>
                      <a:pt x="3390" y="4806"/>
                    </a:lnTo>
                    <a:lnTo>
                      <a:pt x="3386" y="4804"/>
                    </a:lnTo>
                    <a:lnTo>
                      <a:pt x="3386" y="4802"/>
                    </a:lnTo>
                    <a:lnTo>
                      <a:pt x="3388" y="4800"/>
                    </a:lnTo>
                    <a:lnTo>
                      <a:pt x="3394" y="4796"/>
                    </a:lnTo>
                    <a:lnTo>
                      <a:pt x="3400" y="4792"/>
                    </a:lnTo>
                    <a:lnTo>
                      <a:pt x="3400" y="4792"/>
                    </a:lnTo>
                    <a:lnTo>
                      <a:pt x="3404" y="4788"/>
                    </a:lnTo>
                    <a:lnTo>
                      <a:pt x="3406" y="4784"/>
                    </a:lnTo>
                    <a:lnTo>
                      <a:pt x="3408" y="4774"/>
                    </a:lnTo>
                    <a:lnTo>
                      <a:pt x="3406" y="4770"/>
                    </a:lnTo>
                    <a:lnTo>
                      <a:pt x="3404" y="4766"/>
                    </a:lnTo>
                    <a:lnTo>
                      <a:pt x="3400" y="4766"/>
                    </a:lnTo>
                    <a:lnTo>
                      <a:pt x="3396" y="4766"/>
                    </a:lnTo>
                    <a:lnTo>
                      <a:pt x="3396" y="4766"/>
                    </a:lnTo>
                    <a:lnTo>
                      <a:pt x="3390" y="4770"/>
                    </a:lnTo>
                    <a:lnTo>
                      <a:pt x="3386" y="4774"/>
                    </a:lnTo>
                    <a:lnTo>
                      <a:pt x="3378" y="4788"/>
                    </a:lnTo>
                    <a:lnTo>
                      <a:pt x="3372" y="4800"/>
                    </a:lnTo>
                    <a:lnTo>
                      <a:pt x="3370" y="4800"/>
                    </a:lnTo>
                    <a:lnTo>
                      <a:pt x="3368" y="4798"/>
                    </a:lnTo>
                    <a:lnTo>
                      <a:pt x="3368" y="4798"/>
                    </a:lnTo>
                    <a:lnTo>
                      <a:pt x="3366" y="4792"/>
                    </a:lnTo>
                    <a:lnTo>
                      <a:pt x="3368" y="4788"/>
                    </a:lnTo>
                    <a:lnTo>
                      <a:pt x="3372" y="4782"/>
                    </a:lnTo>
                    <a:lnTo>
                      <a:pt x="3378" y="4772"/>
                    </a:lnTo>
                    <a:lnTo>
                      <a:pt x="3378" y="4772"/>
                    </a:lnTo>
                    <a:lnTo>
                      <a:pt x="3378" y="4766"/>
                    </a:lnTo>
                    <a:lnTo>
                      <a:pt x="3378" y="4762"/>
                    </a:lnTo>
                    <a:lnTo>
                      <a:pt x="3376" y="4754"/>
                    </a:lnTo>
                    <a:lnTo>
                      <a:pt x="3374" y="4750"/>
                    </a:lnTo>
                    <a:lnTo>
                      <a:pt x="3374" y="4748"/>
                    </a:lnTo>
                    <a:lnTo>
                      <a:pt x="3374" y="4744"/>
                    </a:lnTo>
                    <a:lnTo>
                      <a:pt x="3374" y="4744"/>
                    </a:lnTo>
                    <a:lnTo>
                      <a:pt x="3378" y="4734"/>
                    </a:lnTo>
                    <a:lnTo>
                      <a:pt x="3378" y="4732"/>
                    </a:lnTo>
                    <a:lnTo>
                      <a:pt x="3376" y="4732"/>
                    </a:lnTo>
                    <a:lnTo>
                      <a:pt x="3370" y="4736"/>
                    </a:lnTo>
                    <a:lnTo>
                      <a:pt x="3370" y="4736"/>
                    </a:lnTo>
                    <a:lnTo>
                      <a:pt x="3366" y="4740"/>
                    </a:lnTo>
                    <a:lnTo>
                      <a:pt x="3362" y="4746"/>
                    </a:lnTo>
                    <a:lnTo>
                      <a:pt x="3356" y="4760"/>
                    </a:lnTo>
                    <a:lnTo>
                      <a:pt x="3356" y="4776"/>
                    </a:lnTo>
                    <a:lnTo>
                      <a:pt x="3356" y="4784"/>
                    </a:lnTo>
                    <a:lnTo>
                      <a:pt x="3358" y="4790"/>
                    </a:lnTo>
                    <a:lnTo>
                      <a:pt x="3358" y="4790"/>
                    </a:lnTo>
                    <a:close/>
                    <a:moveTo>
                      <a:pt x="3086" y="4178"/>
                    </a:moveTo>
                    <a:lnTo>
                      <a:pt x="3086" y="4178"/>
                    </a:lnTo>
                    <a:lnTo>
                      <a:pt x="3076" y="4178"/>
                    </a:lnTo>
                    <a:lnTo>
                      <a:pt x="3070" y="4180"/>
                    </a:lnTo>
                    <a:lnTo>
                      <a:pt x="3068" y="4184"/>
                    </a:lnTo>
                    <a:lnTo>
                      <a:pt x="3072" y="4186"/>
                    </a:lnTo>
                    <a:lnTo>
                      <a:pt x="3072" y="4186"/>
                    </a:lnTo>
                    <a:lnTo>
                      <a:pt x="3076" y="4188"/>
                    </a:lnTo>
                    <a:lnTo>
                      <a:pt x="3076" y="4190"/>
                    </a:lnTo>
                    <a:lnTo>
                      <a:pt x="3078" y="4194"/>
                    </a:lnTo>
                    <a:lnTo>
                      <a:pt x="3080" y="4196"/>
                    </a:lnTo>
                    <a:lnTo>
                      <a:pt x="3080" y="4196"/>
                    </a:lnTo>
                    <a:lnTo>
                      <a:pt x="3084" y="4202"/>
                    </a:lnTo>
                    <a:lnTo>
                      <a:pt x="3088" y="4212"/>
                    </a:lnTo>
                    <a:lnTo>
                      <a:pt x="3092" y="4224"/>
                    </a:lnTo>
                    <a:lnTo>
                      <a:pt x="3098" y="4238"/>
                    </a:lnTo>
                    <a:lnTo>
                      <a:pt x="3098" y="4238"/>
                    </a:lnTo>
                    <a:lnTo>
                      <a:pt x="3102" y="4244"/>
                    </a:lnTo>
                    <a:lnTo>
                      <a:pt x="3104" y="4244"/>
                    </a:lnTo>
                    <a:lnTo>
                      <a:pt x="3106" y="4244"/>
                    </a:lnTo>
                    <a:lnTo>
                      <a:pt x="3112" y="4240"/>
                    </a:lnTo>
                    <a:lnTo>
                      <a:pt x="3116" y="4232"/>
                    </a:lnTo>
                    <a:lnTo>
                      <a:pt x="3116" y="4232"/>
                    </a:lnTo>
                    <a:lnTo>
                      <a:pt x="3118" y="4224"/>
                    </a:lnTo>
                    <a:lnTo>
                      <a:pt x="3118" y="4220"/>
                    </a:lnTo>
                    <a:lnTo>
                      <a:pt x="3116" y="4216"/>
                    </a:lnTo>
                    <a:lnTo>
                      <a:pt x="3116" y="4208"/>
                    </a:lnTo>
                    <a:lnTo>
                      <a:pt x="3116" y="4208"/>
                    </a:lnTo>
                    <a:lnTo>
                      <a:pt x="3118" y="4204"/>
                    </a:lnTo>
                    <a:lnTo>
                      <a:pt x="3116" y="4198"/>
                    </a:lnTo>
                    <a:lnTo>
                      <a:pt x="3114" y="4194"/>
                    </a:lnTo>
                    <a:lnTo>
                      <a:pt x="3110" y="4190"/>
                    </a:lnTo>
                    <a:lnTo>
                      <a:pt x="3100" y="4184"/>
                    </a:lnTo>
                    <a:lnTo>
                      <a:pt x="3086" y="4178"/>
                    </a:lnTo>
                    <a:lnTo>
                      <a:pt x="3086" y="4178"/>
                    </a:lnTo>
                    <a:close/>
                    <a:moveTo>
                      <a:pt x="3138" y="4192"/>
                    </a:moveTo>
                    <a:lnTo>
                      <a:pt x="3138" y="4192"/>
                    </a:lnTo>
                    <a:lnTo>
                      <a:pt x="3140" y="4190"/>
                    </a:lnTo>
                    <a:lnTo>
                      <a:pt x="3142" y="4186"/>
                    </a:lnTo>
                    <a:lnTo>
                      <a:pt x="3140" y="4180"/>
                    </a:lnTo>
                    <a:lnTo>
                      <a:pt x="3138" y="4178"/>
                    </a:lnTo>
                    <a:lnTo>
                      <a:pt x="3134" y="4178"/>
                    </a:lnTo>
                    <a:lnTo>
                      <a:pt x="3134" y="4178"/>
                    </a:lnTo>
                    <a:lnTo>
                      <a:pt x="3132" y="4178"/>
                    </a:lnTo>
                    <a:lnTo>
                      <a:pt x="3130" y="4178"/>
                    </a:lnTo>
                    <a:lnTo>
                      <a:pt x="3130" y="4184"/>
                    </a:lnTo>
                    <a:lnTo>
                      <a:pt x="3130" y="4184"/>
                    </a:lnTo>
                    <a:lnTo>
                      <a:pt x="3130" y="4188"/>
                    </a:lnTo>
                    <a:lnTo>
                      <a:pt x="3132" y="4192"/>
                    </a:lnTo>
                    <a:lnTo>
                      <a:pt x="3134" y="4194"/>
                    </a:lnTo>
                    <a:lnTo>
                      <a:pt x="3138" y="4192"/>
                    </a:lnTo>
                    <a:lnTo>
                      <a:pt x="3138" y="4192"/>
                    </a:lnTo>
                    <a:close/>
                    <a:moveTo>
                      <a:pt x="3386" y="4736"/>
                    </a:moveTo>
                    <a:lnTo>
                      <a:pt x="3386" y="4736"/>
                    </a:lnTo>
                    <a:lnTo>
                      <a:pt x="3388" y="4742"/>
                    </a:lnTo>
                    <a:lnTo>
                      <a:pt x="3392" y="4742"/>
                    </a:lnTo>
                    <a:lnTo>
                      <a:pt x="3396" y="4740"/>
                    </a:lnTo>
                    <a:lnTo>
                      <a:pt x="3398" y="4736"/>
                    </a:lnTo>
                    <a:lnTo>
                      <a:pt x="3402" y="4732"/>
                    </a:lnTo>
                    <a:lnTo>
                      <a:pt x="3404" y="4726"/>
                    </a:lnTo>
                    <a:lnTo>
                      <a:pt x="3404" y="4720"/>
                    </a:lnTo>
                    <a:lnTo>
                      <a:pt x="3404" y="4714"/>
                    </a:lnTo>
                    <a:lnTo>
                      <a:pt x="3404" y="4714"/>
                    </a:lnTo>
                    <a:lnTo>
                      <a:pt x="3400" y="4712"/>
                    </a:lnTo>
                    <a:lnTo>
                      <a:pt x="3398" y="4712"/>
                    </a:lnTo>
                    <a:lnTo>
                      <a:pt x="3394" y="4714"/>
                    </a:lnTo>
                    <a:lnTo>
                      <a:pt x="3392" y="4718"/>
                    </a:lnTo>
                    <a:lnTo>
                      <a:pt x="3388" y="4726"/>
                    </a:lnTo>
                    <a:lnTo>
                      <a:pt x="3386" y="4736"/>
                    </a:lnTo>
                    <a:lnTo>
                      <a:pt x="3386" y="4736"/>
                    </a:lnTo>
                    <a:close/>
                    <a:moveTo>
                      <a:pt x="3378" y="4912"/>
                    </a:moveTo>
                    <a:lnTo>
                      <a:pt x="3378" y="4912"/>
                    </a:lnTo>
                    <a:lnTo>
                      <a:pt x="3374" y="4908"/>
                    </a:lnTo>
                    <a:lnTo>
                      <a:pt x="3370" y="4906"/>
                    </a:lnTo>
                    <a:lnTo>
                      <a:pt x="3364" y="4904"/>
                    </a:lnTo>
                    <a:lnTo>
                      <a:pt x="3362" y="4904"/>
                    </a:lnTo>
                    <a:lnTo>
                      <a:pt x="3358" y="4906"/>
                    </a:lnTo>
                    <a:lnTo>
                      <a:pt x="3356" y="4908"/>
                    </a:lnTo>
                    <a:lnTo>
                      <a:pt x="3354" y="4912"/>
                    </a:lnTo>
                    <a:lnTo>
                      <a:pt x="3354" y="4916"/>
                    </a:lnTo>
                    <a:lnTo>
                      <a:pt x="3354" y="4916"/>
                    </a:lnTo>
                    <a:lnTo>
                      <a:pt x="3354" y="4922"/>
                    </a:lnTo>
                    <a:lnTo>
                      <a:pt x="3358" y="4924"/>
                    </a:lnTo>
                    <a:lnTo>
                      <a:pt x="3366" y="4922"/>
                    </a:lnTo>
                    <a:lnTo>
                      <a:pt x="3366" y="4922"/>
                    </a:lnTo>
                    <a:lnTo>
                      <a:pt x="3382" y="4922"/>
                    </a:lnTo>
                    <a:lnTo>
                      <a:pt x="3384" y="4922"/>
                    </a:lnTo>
                    <a:lnTo>
                      <a:pt x="3384" y="4920"/>
                    </a:lnTo>
                    <a:lnTo>
                      <a:pt x="3378" y="4912"/>
                    </a:lnTo>
                    <a:lnTo>
                      <a:pt x="3378" y="4912"/>
                    </a:lnTo>
                    <a:close/>
                    <a:moveTo>
                      <a:pt x="3378" y="5236"/>
                    </a:moveTo>
                    <a:lnTo>
                      <a:pt x="3378" y="5236"/>
                    </a:lnTo>
                    <a:lnTo>
                      <a:pt x="3374" y="5234"/>
                    </a:lnTo>
                    <a:lnTo>
                      <a:pt x="3370" y="5234"/>
                    </a:lnTo>
                    <a:lnTo>
                      <a:pt x="3368" y="5236"/>
                    </a:lnTo>
                    <a:lnTo>
                      <a:pt x="3372" y="5240"/>
                    </a:lnTo>
                    <a:lnTo>
                      <a:pt x="3372" y="5240"/>
                    </a:lnTo>
                    <a:lnTo>
                      <a:pt x="3376" y="5242"/>
                    </a:lnTo>
                    <a:lnTo>
                      <a:pt x="3380" y="5240"/>
                    </a:lnTo>
                    <a:lnTo>
                      <a:pt x="3380" y="5238"/>
                    </a:lnTo>
                    <a:lnTo>
                      <a:pt x="3378" y="5236"/>
                    </a:lnTo>
                    <a:lnTo>
                      <a:pt x="3378" y="5236"/>
                    </a:lnTo>
                    <a:close/>
                    <a:moveTo>
                      <a:pt x="3444" y="5230"/>
                    </a:moveTo>
                    <a:lnTo>
                      <a:pt x="3444" y="5230"/>
                    </a:lnTo>
                    <a:lnTo>
                      <a:pt x="3448" y="5232"/>
                    </a:lnTo>
                    <a:lnTo>
                      <a:pt x="3450" y="5230"/>
                    </a:lnTo>
                    <a:lnTo>
                      <a:pt x="3452" y="5228"/>
                    </a:lnTo>
                    <a:lnTo>
                      <a:pt x="3452" y="5224"/>
                    </a:lnTo>
                    <a:lnTo>
                      <a:pt x="3452" y="5224"/>
                    </a:lnTo>
                    <a:lnTo>
                      <a:pt x="3448" y="5220"/>
                    </a:lnTo>
                    <a:lnTo>
                      <a:pt x="3442" y="5218"/>
                    </a:lnTo>
                    <a:lnTo>
                      <a:pt x="3442" y="5218"/>
                    </a:lnTo>
                    <a:lnTo>
                      <a:pt x="3440" y="5220"/>
                    </a:lnTo>
                    <a:lnTo>
                      <a:pt x="3442" y="5224"/>
                    </a:lnTo>
                    <a:lnTo>
                      <a:pt x="3444" y="5230"/>
                    </a:lnTo>
                    <a:lnTo>
                      <a:pt x="3444" y="5230"/>
                    </a:lnTo>
                    <a:close/>
                    <a:moveTo>
                      <a:pt x="3364" y="4876"/>
                    </a:moveTo>
                    <a:lnTo>
                      <a:pt x="3364" y="4876"/>
                    </a:lnTo>
                    <a:lnTo>
                      <a:pt x="3364" y="4878"/>
                    </a:lnTo>
                    <a:lnTo>
                      <a:pt x="3366" y="4880"/>
                    </a:lnTo>
                    <a:lnTo>
                      <a:pt x="3370" y="4882"/>
                    </a:lnTo>
                    <a:lnTo>
                      <a:pt x="3372" y="4880"/>
                    </a:lnTo>
                    <a:lnTo>
                      <a:pt x="3372" y="4880"/>
                    </a:lnTo>
                    <a:lnTo>
                      <a:pt x="3374" y="4876"/>
                    </a:lnTo>
                    <a:lnTo>
                      <a:pt x="3372" y="4874"/>
                    </a:lnTo>
                    <a:lnTo>
                      <a:pt x="3368" y="4874"/>
                    </a:lnTo>
                    <a:lnTo>
                      <a:pt x="3364" y="4876"/>
                    </a:lnTo>
                    <a:lnTo>
                      <a:pt x="3364" y="4876"/>
                    </a:lnTo>
                    <a:close/>
                    <a:moveTo>
                      <a:pt x="3374" y="5022"/>
                    </a:moveTo>
                    <a:lnTo>
                      <a:pt x="3374" y="5022"/>
                    </a:lnTo>
                    <a:lnTo>
                      <a:pt x="3378" y="5024"/>
                    </a:lnTo>
                    <a:lnTo>
                      <a:pt x="3384" y="5022"/>
                    </a:lnTo>
                    <a:lnTo>
                      <a:pt x="3388" y="5018"/>
                    </a:lnTo>
                    <a:lnTo>
                      <a:pt x="3390" y="5012"/>
                    </a:lnTo>
                    <a:lnTo>
                      <a:pt x="3390" y="5012"/>
                    </a:lnTo>
                    <a:lnTo>
                      <a:pt x="3390" y="5010"/>
                    </a:lnTo>
                    <a:lnTo>
                      <a:pt x="3388" y="5010"/>
                    </a:lnTo>
                    <a:lnTo>
                      <a:pt x="3382" y="5012"/>
                    </a:lnTo>
                    <a:lnTo>
                      <a:pt x="3376" y="5018"/>
                    </a:lnTo>
                    <a:lnTo>
                      <a:pt x="3374" y="5020"/>
                    </a:lnTo>
                    <a:lnTo>
                      <a:pt x="3374" y="5022"/>
                    </a:lnTo>
                    <a:lnTo>
                      <a:pt x="3374" y="5022"/>
                    </a:lnTo>
                    <a:close/>
                    <a:moveTo>
                      <a:pt x="3412" y="3200"/>
                    </a:moveTo>
                    <a:lnTo>
                      <a:pt x="3412" y="3200"/>
                    </a:lnTo>
                    <a:lnTo>
                      <a:pt x="3408" y="3200"/>
                    </a:lnTo>
                    <a:lnTo>
                      <a:pt x="3406" y="3202"/>
                    </a:lnTo>
                    <a:lnTo>
                      <a:pt x="3404" y="3206"/>
                    </a:lnTo>
                    <a:lnTo>
                      <a:pt x="3406" y="3208"/>
                    </a:lnTo>
                    <a:lnTo>
                      <a:pt x="3408" y="3208"/>
                    </a:lnTo>
                    <a:lnTo>
                      <a:pt x="3408" y="3208"/>
                    </a:lnTo>
                    <a:lnTo>
                      <a:pt x="3414" y="3206"/>
                    </a:lnTo>
                    <a:lnTo>
                      <a:pt x="3416" y="3204"/>
                    </a:lnTo>
                    <a:lnTo>
                      <a:pt x="3416" y="3202"/>
                    </a:lnTo>
                    <a:lnTo>
                      <a:pt x="3412" y="3200"/>
                    </a:lnTo>
                    <a:lnTo>
                      <a:pt x="3412" y="3200"/>
                    </a:lnTo>
                    <a:close/>
                    <a:moveTo>
                      <a:pt x="3402" y="3084"/>
                    </a:moveTo>
                    <a:lnTo>
                      <a:pt x="3402" y="3084"/>
                    </a:lnTo>
                    <a:lnTo>
                      <a:pt x="3400" y="3088"/>
                    </a:lnTo>
                    <a:lnTo>
                      <a:pt x="3398" y="3092"/>
                    </a:lnTo>
                    <a:lnTo>
                      <a:pt x="3400" y="3096"/>
                    </a:lnTo>
                    <a:lnTo>
                      <a:pt x="3402" y="3098"/>
                    </a:lnTo>
                    <a:lnTo>
                      <a:pt x="3404" y="3096"/>
                    </a:lnTo>
                    <a:lnTo>
                      <a:pt x="3404" y="3096"/>
                    </a:lnTo>
                    <a:lnTo>
                      <a:pt x="3406" y="3092"/>
                    </a:lnTo>
                    <a:lnTo>
                      <a:pt x="3406" y="3088"/>
                    </a:lnTo>
                    <a:lnTo>
                      <a:pt x="3406" y="3084"/>
                    </a:lnTo>
                    <a:lnTo>
                      <a:pt x="3404" y="3084"/>
                    </a:lnTo>
                    <a:lnTo>
                      <a:pt x="3402" y="3084"/>
                    </a:lnTo>
                    <a:lnTo>
                      <a:pt x="3402" y="3084"/>
                    </a:lnTo>
                    <a:close/>
                    <a:moveTo>
                      <a:pt x="3416" y="3464"/>
                    </a:moveTo>
                    <a:lnTo>
                      <a:pt x="3416" y="3464"/>
                    </a:lnTo>
                    <a:lnTo>
                      <a:pt x="3420" y="3466"/>
                    </a:lnTo>
                    <a:lnTo>
                      <a:pt x="3422" y="3464"/>
                    </a:lnTo>
                    <a:lnTo>
                      <a:pt x="3422" y="3460"/>
                    </a:lnTo>
                    <a:lnTo>
                      <a:pt x="3420" y="3454"/>
                    </a:lnTo>
                    <a:lnTo>
                      <a:pt x="3420" y="3454"/>
                    </a:lnTo>
                    <a:lnTo>
                      <a:pt x="3418" y="3452"/>
                    </a:lnTo>
                    <a:lnTo>
                      <a:pt x="3416" y="3454"/>
                    </a:lnTo>
                    <a:lnTo>
                      <a:pt x="3414" y="3458"/>
                    </a:lnTo>
                    <a:lnTo>
                      <a:pt x="3416" y="3464"/>
                    </a:lnTo>
                    <a:lnTo>
                      <a:pt x="3416" y="3464"/>
                    </a:lnTo>
                    <a:close/>
                    <a:moveTo>
                      <a:pt x="2806" y="3776"/>
                    </a:moveTo>
                    <a:lnTo>
                      <a:pt x="2806" y="3776"/>
                    </a:lnTo>
                    <a:lnTo>
                      <a:pt x="2810" y="3778"/>
                    </a:lnTo>
                    <a:lnTo>
                      <a:pt x="2814" y="3778"/>
                    </a:lnTo>
                    <a:lnTo>
                      <a:pt x="2816" y="3776"/>
                    </a:lnTo>
                    <a:lnTo>
                      <a:pt x="2818" y="3774"/>
                    </a:lnTo>
                    <a:lnTo>
                      <a:pt x="2818" y="3774"/>
                    </a:lnTo>
                    <a:lnTo>
                      <a:pt x="2820" y="3768"/>
                    </a:lnTo>
                    <a:lnTo>
                      <a:pt x="2818" y="3762"/>
                    </a:lnTo>
                    <a:lnTo>
                      <a:pt x="2818" y="3762"/>
                    </a:lnTo>
                    <a:lnTo>
                      <a:pt x="2820" y="3758"/>
                    </a:lnTo>
                    <a:lnTo>
                      <a:pt x="2820" y="3754"/>
                    </a:lnTo>
                    <a:lnTo>
                      <a:pt x="2820" y="3754"/>
                    </a:lnTo>
                    <a:lnTo>
                      <a:pt x="2820" y="3752"/>
                    </a:lnTo>
                    <a:lnTo>
                      <a:pt x="2818" y="3752"/>
                    </a:lnTo>
                    <a:lnTo>
                      <a:pt x="2814" y="3752"/>
                    </a:lnTo>
                    <a:lnTo>
                      <a:pt x="2814" y="3752"/>
                    </a:lnTo>
                    <a:lnTo>
                      <a:pt x="2812" y="3752"/>
                    </a:lnTo>
                    <a:lnTo>
                      <a:pt x="2814" y="3752"/>
                    </a:lnTo>
                    <a:lnTo>
                      <a:pt x="2814" y="3750"/>
                    </a:lnTo>
                    <a:lnTo>
                      <a:pt x="2814" y="3750"/>
                    </a:lnTo>
                    <a:lnTo>
                      <a:pt x="2814" y="3750"/>
                    </a:lnTo>
                    <a:lnTo>
                      <a:pt x="2812" y="3748"/>
                    </a:lnTo>
                    <a:lnTo>
                      <a:pt x="2810" y="3750"/>
                    </a:lnTo>
                    <a:lnTo>
                      <a:pt x="2808" y="3752"/>
                    </a:lnTo>
                    <a:lnTo>
                      <a:pt x="2808" y="3752"/>
                    </a:lnTo>
                    <a:lnTo>
                      <a:pt x="2808" y="3756"/>
                    </a:lnTo>
                    <a:lnTo>
                      <a:pt x="2806" y="3758"/>
                    </a:lnTo>
                    <a:lnTo>
                      <a:pt x="2802" y="3760"/>
                    </a:lnTo>
                    <a:lnTo>
                      <a:pt x="2802" y="3760"/>
                    </a:lnTo>
                    <a:lnTo>
                      <a:pt x="2802" y="3766"/>
                    </a:lnTo>
                    <a:lnTo>
                      <a:pt x="2802" y="3774"/>
                    </a:lnTo>
                    <a:lnTo>
                      <a:pt x="2802" y="3774"/>
                    </a:lnTo>
                    <a:lnTo>
                      <a:pt x="2800" y="3774"/>
                    </a:lnTo>
                    <a:lnTo>
                      <a:pt x="2802" y="3774"/>
                    </a:lnTo>
                    <a:lnTo>
                      <a:pt x="2804" y="3774"/>
                    </a:lnTo>
                    <a:lnTo>
                      <a:pt x="2806" y="3776"/>
                    </a:lnTo>
                    <a:lnTo>
                      <a:pt x="2806" y="3776"/>
                    </a:lnTo>
                    <a:close/>
                    <a:moveTo>
                      <a:pt x="3380" y="3090"/>
                    </a:moveTo>
                    <a:lnTo>
                      <a:pt x="3380" y="3090"/>
                    </a:lnTo>
                    <a:lnTo>
                      <a:pt x="3378" y="3088"/>
                    </a:lnTo>
                    <a:lnTo>
                      <a:pt x="3376" y="3086"/>
                    </a:lnTo>
                    <a:lnTo>
                      <a:pt x="3372" y="3088"/>
                    </a:lnTo>
                    <a:lnTo>
                      <a:pt x="3372" y="3088"/>
                    </a:lnTo>
                    <a:lnTo>
                      <a:pt x="3370" y="3090"/>
                    </a:lnTo>
                    <a:lnTo>
                      <a:pt x="3370" y="3092"/>
                    </a:lnTo>
                    <a:lnTo>
                      <a:pt x="3376" y="3096"/>
                    </a:lnTo>
                    <a:lnTo>
                      <a:pt x="3376" y="3096"/>
                    </a:lnTo>
                    <a:lnTo>
                      <a:pt x="3378" y="3096"/>
                    </a:lnTo>
                    <a:lnTo>
                      <a:pt x="3380" y="3096"/>
                    </a:lnTo>
                    <a:lnTo>
                      <a:pt x="3380" y="3090"/>
                    </a:lnTo>
                    <a:lnTo>
                      <a:pt x="3380" y="3090"/>
                    </a:lnTo>
                    <a:close/>
                    <a:moveTo>
                      <a:pt x="3918" y="2740"/>
                    </a:moveTo>
                    <a:lnTo>
                      <a:pt x="3918" y="2740"/>
                    </a:lnTo>
                    <a:lnTo>
                      <a:pt x="3918" y="2736"/>
                    </a:lnTo>
                    <a:lnTo>
                      <a:pt x="3918" y="2734"/>
                    </a:lnTo>
                    <a:lnTo>
                      <a:pt x="3914" y="2732"/>
                    </a:lnTo>
                    <a:lnTo>
                      <a:pt x="3908" y="2730"/>
                    </a:lnTo>
                    <a:lnTo>
                      <a:pt x="3902" y="2728"/>
                    </a:lnTo>
                    <a:lnTo>
                      <a:pt x="3902" y="2728"/>
                    </a:lnTo>
                    <a:lnTo>
                      <a:pt x="3900" y="2726"/>
                    </a:lnTo>
                    <a:lnTo>
                      <a:pt x="3898" y="2728"/>
                    </a:lnTo>
                    <a:lnTo>
                      <a:pt x="3894" y="2736"/>
                    </a:lnTo>
                    <a:lnTo>
                      <a:pt x="3894" y="2740"/>
                    </a:lnTo>
                    <a:lnTo>
                      <a:pt x="3894" y="2744"/>
                    </a:lnTo>
                    <a:lnTo>
                      <a:pt x="3898" y="2746"/>
                    </a:lnTo>
                    <a:lnTo>
                      <a:pt x="3902" y="2744"/>
                    </a:lnTo>
                    <a:lnTo>
                      <a:pt x="3902" y="2744"/>
                    </a:lnTo>
                    <a:lnTo>
                      <a:pt x="3906" y="2744"/>
                    </a:lnTo>
                    <a:lnTo>
                      <a:pt x="3910" y="2746"/>
                    </a:lnTo>
                    <a:lnTo>
                      <a:pt x="3910" y="2748"/>
                    </a:lnTo>
                    <a:lnTo>
                      <a:pt x="3912" y="2752"/>
                    </a:lnTo>
                    <a:lnTo>
                      <a:pt x="3908" y="2760"/>
                    </a:lnTo>
                    <a:lnTo>
                      <a:pt x="3906" y="2762"/>
                    </a:lnTo>
                    <a:lnTo>
                      <a:pt x="3904" y="2760"/>
                    </a:lnTo>
                    <a:lnTo>
                      <a:pt x="3904" y="2760"/>
                    </a:lnTo>
                    <a:lnTo>
                      <a:pt x="3900" y="2758"/>
                    </a:lnTo>
                    <a:lnTo>
                      <a:pt x="3898" y="2760"/>
                    </a:lnTo>
                    <a:lnTo>
                      <a:pt x="3894" y="2762"/>
                    </a:lnTo>
                    <a:lnTo>
                      <a:pt x="3890" y="2764"/>
                    </a:lnTo>
                    <a:lnTo>
                      <a:pt x="3890" y="2764"/>
                    </a:lnTo>
                    <a:lnTo>
                      <a:pt x="3888" y="2762"/>
                    </a:lnTo>
                    <a:lnTo>
                      <a:pt x="3888" y="2756"/>
                    </a:lnTo>
                    <a:lnTo>
                      <a:pt x="3888" y="2756"/>
                    </a:lnTo>
                    <a:lnTo>
                      <a:pt x="3886" y="2746"/>
                    </a:lnTo>
                    <a:lnTo>
                      <a:pt x="3884" y="2742"/>
                    </a:lnTo>
                    <a:lnTo>
                      <a:pt x="3880" y="2740"/>
                    </a:lnTo>
                    <a:lnTo>
                      <a:pt x="3878" y="2742"/>
                    </a:lnTo>
                    <a:lnTo>
                      <a:pt x="3876" y="2744"/>
                    </a:lnTo>
                    <a:lnTo>
                      <a:pt x="3874" y="2750"/>
                    </a:lnTo>
                    <a:lnTo>
                      <a:pt x="3874" y="2758"/>
                    </a:lnTo>
                    <a:lnTo>
                      <a:pt x="3874" y="2758"/>
                    </a:lnTo>
                    <a:lnTo>
                      <a:pt x="3872" y="2764"/>
                    </a:lnTo>
                    <a:lnTo>
                      <a:pt x="3870" y="2768"/>
                    </a:lnTo>
                    <a:lnTo>
                      <a:pt x="3866" y="2768"/>
                    </a:lnTo>
                    <a:lnTo>
                      <a:pt x="3862" y="2770"/>
                    </a:lnTo>
                    <a:lnTo>
                      <a:pt x="3858" y="2770"/>
                    </a:lnTo>
                    <a:lnTo>
                      <a:pt x="3856" y="2772"/>
                    </a:lnTo>
                    <a:lnTo>
                      <a:pt x="3856" y="2776"/>
                    </a:lnTo>
                    <a:lnTo>
                      <a:pt x="3856" y="2786"/>
                    </a:lnTo>
                    <a:lnTo>
                      <a:pt x="3856" y="2786"/>
                    </a:lnTo>
                    <a:lnTo>
                      <a:pt x="3858" y="2796"/>
                    </a:lnTo>
                    <a:lnTo>
                      <a:pt x="3860" y="2802"/>
                    </a:lnTo>
                    <a:lnTo>
                      <a:pt x="3858" y="2806"/>
                    </a:lnTo>
                    <a:lnTo>
                      <a:pt x="3856" y="2808"/>
                    </a:lnTo>
                    <a:lnTo>
                      <a:pt x="3852" y="2810"/>
                    </a:lnTo>
                    <a:lnTo>
                      <a:pt x="3850" y="2812"/>
                    </a:lnTo>
                    <a:lnTo>
                      <a:pt x="3850" y="2814"/>
                    </a:lnTo>
                    <a:lnTo>
                      <a:pt x="3850" y="2814"/>
                    </a:lnTo>
                    <a:lnTo>
                      <a:pt x="3850" y="2816"/>
                    </a:lnTo>
                    <a:lnTo>
                      <a:pt x="3852" y="2818"/>
                    </a:lnTo>
                    <a:lnTo>
                      <a:pt x="3854" y="2818"/>
                    </a:lnTo>
                    <a:lnTo>
                      <a:pt x="3858" y="2820"/>
                    </a:lnTo>
                    <a:lnTo>
                      <a:pt x="3860" y="2824"/>
                    </a:lnTo>
                    <a:lnTo>
                      <a:pt x="3860" y="2832"/>
                    </a:lnTo>
                    <a:lnTo>
                      <a:pt x="3858" y="2846"/>
                    </a:lnTo>
                    <a:lnTo>
                      <a:pt x="3854" y="2866"/>
                    </a:lnTo>
                    <a:lnTo>
                      <a:pt x="3854" y="2866"/>
                    </a:lnTo>
                    <a:lnTo>
                      <a:pt x="3850" y="2884"/>
                    </a:lnTo>
                    <a:lnTo>
                      <a:pt x="3844" y="2896"/>
                    </a:lnTo>
                    <a:lnTo>
                      <a:pt x="3840" y="2904"/>
                    </a:lnTo>
                    <a:lnTo>
                      <a:pt x="3834" y="2912"/>
                    </a:lnTo>
                    <a:lnTo>
                      <a:pt x="3822" y="2926"/>
                    </a:lnTo>
                    <a:lnTo>
                      <a:pt x="3808" y="2942"/>
                    </a:lnTo>
                    <a:lnTo>
                      <a:pt x="3808" y="2942"/>
                    </a:lnTo>
                    <a:lnTo>
                      <a:pt x="3802" y="2952"/>
                    </a:lnTo>
                    <a:lnTo>
                      <a:pt x="3794" y="2960"/>
                    </a:lnTo>
                    <a:lnTo>
                      <a:pt x="3788" y="2964"/>
                    </a:lnTo>
                    <a:lnTo>
                      <a:pt x="3782" y="2968"/>
                    </a:lnTo>
                    <a:lnTo>
                      <a:pt x="3768" y="2974"/>
                    </a:lnTo>
                    <a:lnTo>
                      <a:pt x="3760" y="2978"/>
                    </a:lnTo>
                    <a:lnTo>
                      <a:pt x="3752" y="2984"/>
                    </a:lnTo>
                    <a:lnTo>
                      <a:pt x="3752" y="2984"/>
                    </a:lnTo>
                    <a:lnTo>
                      <a:pt x="3742" y="2990"/>
                    </a:lnTo>
                    <a:lnTo>
                      <a:pt x="3742" y="2988"/>
                    </a:lnTo>
                    <a:lnTo>
                      <a:pt x="3742" y="2986"/>
                    </a:lnTo>
                    <a:lnTo>
                      <a:pt x="3744" y="2978"/>
                    </a:lnTo>
                    <a:lnTo>
                      <a:pt x="3744" y="2974"/>
                    </a:lnTo>
                    <a:lnTo>
                      <a:pt x="3740" y="2970"/>
                    </a:lnTo>
                    <a:lnTo>
                      <a:pt x="3740" y="2970"/>
                    </a:lnTo>
                    <a:lnTo>
                      <a:pt x="3740" y="2968"/>
                    </a:lnTo>
                    <a:lnTo>
                      <a:pt x="3740" y="2966"/>
                    </a:lnTo>
                    <a:lnTo>
                      <a:pt x="3748" y="2960"/>
                    </a:lnTo>
                    <a:lnTo>
                      <a:pt x="3754" y="2952"/>
                    </a:lnTo>
                    <a:lnTo>
                      <a:pt x="3756" y="2948"/>
                    </a:lnTo>
                    <a:lnTo>
                      <a:pt x="3754" y="2944"/>
                    </a:lnTo>
                    <a:lnTo>
                      <a:pt x="3754" y="2944"/>
                    </a:lnTo>
                    <a:lnTo>
                      <a:pt x="3752" y="2944"/>
                    </a:lnTo>
                    <a:lnTo>
                      <a:pt x="3748" y="2944"/>
                    </a:lnTo>
                    <a:lnTo>
                      <a:pt x="3738" y="2948"/>
                    </a:lnTo>
                    <a:lnTo>
                      <a:pt x="3734" y="2952"/>
                    </a:lnTo>
                    <a:lnTo>
                      <a:pt x="3730" y="2956"/>
                    </a:lnTo>
                    <a:lnTo>
                      <a:pt x="3728" y="2962"/>
                    </a:lnTo>
                    <a:lnTo>
                      <a:pt x="3730" y="2966"/>
                    </a:lnTo>
                    <a:lnTo>
                      <a:pt x="3730" y="2966"/>
                    </a:lnTo>
                    <a:lnTo>
                      <a:pt x="3730" y="2976"/>
                    </a:lnTo>
                    <a:lnTo>
                      <a:pt x="3728" y="2986"/>
                    </a:lnTo>
                    <a:lnTo>
                      <a:pt x="3722" y="2996"/>
                    </a:lnTo>
                    <a:lnTo>
                      <a:pt x="3716" y="3006"/>
                    </a:lnTo>
                    <a:lnTo>
                      <a:pt x="3704" y="3022"/>
                    </a:lnTo>
                    <a:lnTo>
                      <a:pt x="3700" y="3026"/>
                    </a:lnTo>
                    <a:lnTo>
                      <a:pt x="3698" y="3030"/>
                    </a:lnTo>
                    <a:lnTo>
                      <a:pt x="3698" y="3030"/>
                    </a:lnTo>
                    <a:lnTo>
                      <a:pt x="3700" y="3036"/>
                    </a:lnTo>
                    <a:lnTo>
                      <a:pt x="3700" y="3044"/>
                    </a:lnTo>
                    <a:lnTo>
                      <a:pt x="3698" y="3046"/>
                    </a:lnTo>
                    <a:lnTo>
                      <a:pt x="3694" y="3050"/>
                    </a:lnTo>
                    <a:lnTo>
                      <a:pt x="3690" y="3052"/>
                    </a:lnTo>
                    <a:lnTo>
                      <a:pt x="3682" y="3054"/>
                    </a:lnTo>
                    <a:lnTo>
                      <a:pt x="3682" y="3054"/>
                    </a:lnTo>
                    <a:lnTo>
                      <a:pt x="3676" y="3054"/>
                    </a:lnTo>
                    <a:lnTo>
                      <a:pt x="3672" y="3052"/>
                    </a:lnTo>
                    <a:lnTo>
                      <a:pt x="3672" y="3052"/>
                    </a:lnTo>
                    <a:lnTo>
                      <a:pt x="3672" y="3048"/>
                    </a:lnTo>
                    <a:lnTo>
                      <a:pt x="3674" y="3044"/>
                    </a:lnTo>
                    <a:lnTo>
                      <a:pt x="3672" y="3042"/>
                    </a:lnTo>
                    <a:lnTo>
                      <a:pt x="3668" y="3040"/>
                    </a:lnTo>
                    <a:lnTo>
                      <a:pt x="3668" y="3040"/>
                    </a:lnTo>
                    <a:lnTo>
                      <a:pt x="3662" y="3042"/>
                    </a:lnTo>
                    <a:lnTo>
                      <a:pt x="3652" y="3044"/>
                    </a:lnTo>
                    <a:lnTo>
                      <a:pt x="3626" y="3052"/>
                    </a:lnTo>
                    <a:lnTo>
                      <a:pt x="3614" y="3056"/>
                    </a:lnTo>
                    <a:lnTo>
                      <a:pt x="3602" y="3058"/>
                    </a:lnTo>
                    <a:lnTo>
                      <a:pt x="3594" y="3058"/>
                    </a:lnTo>
                    <a:lnTo>
                      <a:pt x="3592" y="3056"/>
                    </a:lnTo>
                    <a:lnTo>
                      <a:pt x="3590" y="3054"/>
                    </a:lnTo>
                    <a:lnTo>
                      <a:pt x="3590" y="3054"/>
                    </a:lnTo>
                    <a:lnTo>
                      <a:pt x="3588" y="3050"/>
                    </a:lnTo>
                    <a:lnTo>
                      <a:pt x="3584" y="3050"/>
                    </a:lnTo>
                    <a:lnTo>
                      <a:pt x="3580" y="3050"/>
                    </a:lnTo>
                    <a:lnTo>
                      <a:pt x="3574" y="3052"/>
                    </a:lnTo>
                    <a:lnTo>
                      <a:pt x="3562" y="3062"/>
                    </a:lnTo>
                    <a:lnTo>
                      <a:pt x="3548" y="3080"/>
                    </a:lnTo>
                    <a:lnTo>
                      <a:pt x="3548" y="3080"/>
                    </a:lnTo>
                    <a:lnTo>
                      <a:pt x="3542" y="3088"/>
                    </a:lnTo>
                    <a:lnTo>
                      <a:pt x="3536" y="3092"/>
                    </a:lnTo>
                    <a:lnTo>
                      <a:pt x="3530" y="3096"/>
                    </a:lnTo>
                    <a:lnTo>
                      <a:pt x="3524" y="3098"/>
                    </a:lnTo>
                    <a:lnTo>
                      <a:pt x="3518" y="3106"/>
                    </a:lnTo>
                    <a:lnTo>
                      <a:pt x="3518" y="3106"/>
                    </a:lnTo>
                    <a:lnTo>
                      <a:pt x="3514" y="3112"/>
                    </a:lnTo>
                    <a:lnTo>
                      <a:pt x="3510" y="3114"/>
                    </a:lnTo>
                    <a:lnTo>
                      <a:pt x="3502" y="3114"/>
                    </a:lnTo>
                    <a:lnTo>
                      <a:pt x="3500" y="3116"/>
                    </a:lnTo>
                    <a:lnTo>
                      <a:pt x="3498" y="3116"/>
                    </a:lnTo>
                    <a:lnTo>
                      <a:pt x="3496" y="3120"/>
                    </a:lnTo>
                    <a:lnTo>
                      <a:pt x="3496" y="3126"/>
                    </a:lnTo>
                    <a:lnTo>
                      <a:pt x="3496" y="3126"/>
                    </a:lnTo>
                    <a:lnTo>
                      <a:pt x="3496" y="3132"/>
                    </a:lnTo>
                    <a:lnTo>
                      <a:pt x="3500" y="3136"/>
                    </a:lnTo>
                    <a:lnTo>
                      <a:pt x="3504" y="3136"/>
                    </a:lnTo>
                    <a:lnTo>
                      <a:pt x="3508" y="3136"/>
                    </a:lnTo>
                    <a:lnTo>
                      <a:pt x="3522" y="3134"/>
                    </a:lnTo>
                    <a:lnTo>
                      <a:pt x="3528" y="3134"/>
                    </a:lnTo>
                    <a:lnTo>
                      <a:pt x="3536" y="3138"/>
                    </a:lnTo>
                    <a:lnTo>
                      <a:pt x="3536" y="3138"/>
                    </a:lnTo>
                    <a:lnTo>
                      <a:pt x="3542" y="3140"/>
                    </a:lnTo>
                    <a:lnTo>
                      <a:pt x="3544" y="3140"/>
                    </a:lnTo>
                    <a:lnTo>
                      <a:pt x="3546" y="3138"/>
                    </a:lnTo>
                    <a:lnTo>
                      <a:pt x="3546" y="3134"/>
                    </a:lnTo>
                    <a:lnTo>
                      <a:pt x="3546" y="3124"/>
                    </a:lnTo>
                    <a:lnTo>
                      <a:pt x="3548" y="3120"/>
                    </a:lnTo>
                    <a:lnTo>
                      <a:pt x="3550" y="3118"/>
                    </a:lnTo>
                    <a:lnTo>
                      <a:pt x="3550" y="3118"/>
                    </a:lnTo>
                    <a:lnTo>
                      <a:pt x="3556" y="3116"/>
                    </a:lnTo>
                    <a:lnTo>
                      <a:pt x="3558" y="3118"/>
                    </a:lnTo>
                    <a:lnTo>
                      <a:pt x="3562" y="3120"/>
                    </a:lnTo>
                    <a:lnTo>
                      <a:pt x="3570" y="3120"/>
                    </a:lnTo>
                    <a:lnTo>
                      <a:pt x="3570" y="3120"/>
                    </a:lnTo>
                    <a:lnTo>
                      <a:pt x="3596" y="3116"/>
                    </a:lnTo>
                    <a:lnTo>
                      <a:pt x="3620" y="3108"/>
                    </a:lnTo>
                    <a:lnTo>
                      <a:pt x="3620" y="3108"/>
                    </a:lnTo>
                    <a:lnTo>
                      <a:pt x="3626" y="3104"/>
                    </a:lnTo>
                    <a:lnTo>
                      <a:pt x="3630" y="3102"/>
                    </a:lnTo>
                    <a:lnTo>
                      <a:pt x="3632" y="3098"/>
                    </a:lnTo>
                    <a:lnTo>
                      <a:pt x="3632" y="3096"/>
                    </a:lnTo>
                    <a:lnTo>
                      <a:pt x="3636" y="3096"/>
                    </a:lnTo>
                    <a:lnTo>
                      <a:pt x="3648" y="3098"/>
                    </a:lnTo>
                    <a:lnTo>
                      <a:pt x="3648" y="3098"/>
                    </a:lnTo>
                    <a:lnTo>
                      <a:pt x="3656" y="3100"/>
                    </a:lnTo>
                    <a:lnTo>
                      <a:pt x="3662" y="3100"/>
                    </a:lnTo>
                    <a:lnTo>
                      <a:pt x="3670" y="3098"/>
                    </a:lnTo>
                    <a:lnTo>
                      <a:pt x="3674" y="3098"/>
                    </a:lnTo>
                    <a:lnTo>
                      <a:pt x="3676" y="3102"/>
                    </a:lnTo>
                    <a:lnTo>
                      <a:pt x="3676" y="3102"/>
                    </a:lnTo>
                    <a:lnTo>
                      <a:pt x="3678" y="3106"/>
                    </a:lnTo>
                    <a:lnTo>
                      <a:pt x="3676" y="3110"/>
                    </a:lnTo>
                    <a:lnTo>
                      <a:pt x="3672" y="3114"/>
                    </a:lnTo>
                    <a:lnTo>
                      <a:pt x="3666" y="3118"/>
                    </a:lnTo>
                    <a:lnTo>
                      <a:pt x="3666" y="3120"/>
                    </a:lnTo>
                    <a:lnTo>
                      <a:pt x="3666" y="3124"/>
                    </a:lnTo>
                    <a:lnTo>
                      <a:pt x="3666" y="3124"/>
                    </a:lnTo>
                    <a:lnTo>
                      <a:pt x="3666" y="3130"/>
                    </a:lnTo>
                    <a:lnTo>
                      <a:pt x="3664" y="3136"/>
                    </a:lnTo>
                    <a:lnTo>
                      <a:pt x="3664" y="3142"/>
                    </a:lnTo>
                    <a:lnTo>
                      <a:pt x="3664" y="3144"/>
                    </a:lnTo>
                    <a:lnTo>
                      <a:pt x="3668" y="3146"/>
                    </a:lnTo>
                    <a:lnTo>
                      <a:pt x="3668" y="3146"/>
                    </a:lnTo>
                    <a:lnTo>
                      <a:pt x="3674" y="3150"/>
                    </a:lnTo>
                    <a:lnTo>
                      <a:pt x="3674" y="3152"/>
                    </a:lnTo>
                    <a:lnTo>
                      <a:pt x="3676" y="3156"/>
                    </a:lnTo>
                    <a:lnTo>
                      <a:pt x="3684" y="3162"/>
                    </a:lnTo>
                    <a:lnTo>
                      <a:pt x="3684" y="3164"/>
                    </a:lnTo>
                    <a:lnTo>
                      <a:pt x="3684" y="3164"/>
                    </a:lnTo>
                    <a:lnTo>
                      <a:pt x="3688" y="3166"/>
                    </a:lnTo>
                    <a:lnTo>
                      <a:pt x="3692" y="3164"/>
                    </a:lnTo>
                    <a:lnTo>
                      <a:pt x="3696" y="3160"/>
                    </a:lnTo>
                    <a:lnTo>
                      <a:pt x="3700" y="3156"/>
                    </a:lnTo>
                    <a:lnTo>
                      <a:pt x="3716" y="3130"/>
                    </a:lnTo>
                    <a:lnTo>
                      <a:pt x="3716" y="3130"/>
                    </a:lnTo>
                    <a:lnTo>
                      <a:pt x="3720" y="3124"/>
                    </a:lnTo>
                    <a:lnTo>
                      <a:pt x="3724" y="3122"/>
                    </a:lnTo>
                    <a:lnTo>
                      <a:pt x="3734" y="3118"/>
                    </a:lnTo>
                    <a:lnTo>
                      <a:pt x="3738" y="3116"/>
                    </a:lnTo>
                    <a:lnTo>
                      <a:pt x="3738" y="3114"/>
                    </a:lnTo>
                    <a:lnTo>
                      <a:pt x="3736" y="3112"/>
                    </a:lnTo>
                    <a:lnTo>
                      <a:pt x="3730" y="3108"/>
                    </a:lnTo>
                    <a:lnTo>
                      <a:pt x="3730" y="3108"/>
                    </a:lnTo>
                    <a:lnTo>
                      <a:pt x="3724" y="3104"/>
                    </a:lnTo>
                    <a:lnTo>
                      <a:pt x="3722" y="3098"/>
                    </a:lnTo>
                    <a:lnTo>
                      <a:pt x="3722" y="3090"/>
                    </a:lnTo>
                    <a:lnTo>
                      <a:pt x="3724" y="3086"/>
                    </a:lnTo>
                    <a:lnTo>
                      <a:pt x="3728" y="3082"/>
                    </a:lnTo>
                    <a:lnTo>
                      <a:pt x="3732" y="3080"/>
                    </a:lnTo>
                    <a:lnTo>
                      <a:pt x="3734" y="3082"/>
                    </a:lnTo>
                    <a:lnTo>
                      <a:pt x="3734" y="3086"/>
                    </a:lnTo>
                    <a:lnTo>
                      <a:pt x="3734" y="3086"/>
                    </a:lnTo>
                    <a:lnTo>
                      <a:pt x="3736" y="3092"/>
                    </a:lnTo>
                    <a:lnTo>
                      <a:pt x="3738" y="3094"/>
                    </a:lnTo>
                    <a:lnTo>
                      <a:pt x="3742" y="3096"/>
                    </a:lnTo>
                    <a:lnTo>
                      <a:pt x="3746" y="3096"/>
                    </a:lnTo>
                    <a:lnTo>
                      <a:pt x="3750" y="3096"/>
                    </a:lnTo>
                    <a:lnTo>
                      <a:pt x="3746" y="3100"/>
                    </a:lnTo>
                    <a:lnTo>
                      <a:pt x="3746" y="3100"/>
                    </a:lnTo>
                    <a:lnTo>
                      <a:pt x="3742" y="3104"/>
                    </a:lnTo>
                    <a:lnTo>
                      <a:pt x="3742" y="3104"/>
                    </a:lnTo>
                    <a:lnTo>
                      <a:pt x="3750" y="3104"/>
                    </a:lnTo>
                    <a:lnTo>
                      <a:pt x="3762" y="3102"/>
                    </a:lnTo>
                    <a:lnTo>
                      <a:pt x="3774" y="3102"/>
                    </a:lnTo>
                    <a:lnTo>
                      <a:pt x="3774" y="3102"/>
                    </a:lnTo>
                    <a:lnTo>
                      <a:pt x="3782" y="3104"/>
                    </a:lnTo>
                    <a:lnTo>
                      <a:pt x="3786" y="3104"/>
                    </a:lnTo>
                    <a:lnTo>
                      <a:pt x="3788" y="3100"/>
                    </a:lnTo>
                    <a:lnTo>
                      <a:pt x="3792" y="3092"/>
                    </a:lnTo>
                    <a:lnTo>
                      <a:pt x="3792" y="3092"/>
                    </a:lnTo>
                    <a:lnTo>
                      <a:pt x="3800" y="3082"/>
                    </a:lnTo>
                    <a:lnTo>
                      <a:pt x="3806" y="3076"/>
                    </a:lnTo>
                    <a:lnTo>
                      <a:pt x="3810" y="3076"/>
                    </a:lnTo>
                    <a:lnTo>
                      <a:pt x="3810" y="3078"/>
                    </a:lnTo>
                    <a:lnTo>
                      <a:pt x="3812" y="3082"/>
                    </a:lnTo>
                    <a:lnTo>
                      <a:pt x="3810" y="3090"/>
                    </a:lnTo>
                    <a:lnTo>
                      <a:pt x="3810" y="3090"/>
                    </a:lnTo>
                    <a:lnTo>
                      <a:pt x="3810" y="3096"/>
                    </a:lnTo>
                    <a:lnTo>
                      <a:pt x="3810" y="3102"/>
                    </a:lnTo>
                    <a:lnTo>
                      <a:pt x="3812" y="3104"/>
                    </a:lnTo>
                    <a:lnTo>
                      <a:pt x="3814" y="3104"/>
                    </a:lnTo>
                    <a:lnTo>
                      <a:pt x="3820" y="3098"/>
                    </a:lnTo>
                    <a:lnTo>
                      <a:pt x="3824" y="3086"/>
                    </a:lnTo>
                    <a:lnTo>
                      <a:pt x="3824" y="3086"/>
                    </a:lnTo>
                    <a:lnTo>
                      <a:pt x="3826" y="3076"/>
                    </a:lnTo>
                    <a:lnTo>
                      <a:pt x="3828" y="3068"/>
                    </a:lnTo>
                    <a:lnTo>
                      <a:pt x="3830" y="3066"/>
                    </a:lnTo>
                    <a:lnTo>
                      <a:pt x="3834" y="3066"/>
                    </a:lnTo>
                    <a:lnTo>
                      <a:pt x="3842" y="3070"/>
                    </a:lnTo>
                    <a:lnTo>
                      <a:pt x="3842" y="3070"/>
                    </a:lnTo>
                    <a:lnTo>
                      <a:pt x="3848" y="3074"/>
                    </a:lnTo>
                    <a:lnTo>
                      <a:pt x="3848" y="3074"/>
                    </a:lnTo>
                    <a:lnTo>
                      <a:pt x="3848" y="3072"/>
                    </a:lnTo>
                    <a:lnTo>
                      <a:pt x="3848" y="3064"/>
                    </a:lnTo>
                    <a:lnTo>
                      <a:pt x="3848" y="3060"/>
                    </a:lnTo>
                    <a:lnTo>
                      <a:pt x="3850" y="3054"/>
                    </a:lnTo>
                    <a:lnTo>
                      <a:pt x="3850" y="3054"/>
                    </a:lnTo>
                    <a:lnTo>
                      <a:pt x="3852" y="3050"/>
                    </a:lnTo>
                    <a:lnTo>
                      <a:pt x="3856" y="3048"/>
                    </a:lnTo>
                    <a:lnTo>
                      <a:pt x="3862" y="3046"/>
                    </a:lnTo>
                    <a:lnTo>
                      <a:pt x="3864" y="3048"/>
                    </a:lnTo>
                    <a:lnTo>
                      <a:pt x="3864" y="3050"/>
                    </a:lnTo>
                    <a:lnTo>
                      <a:pt x="3864" y="3052"/>
                    </a:lnTo>
                    <a:lnTo>
                      <a:pt x="3862" y="3056"/>
                    </a:lnTo>
                    <a:lnTo>
                      <a:pt x="3862" y="3056"/>
                    </a:lnTo>
                    <a:lnTo>
                      <a:pt x="3858" y="3066"/>
                    </a:lnTo>
                    <a:lnTo>
                      <a:pt x="3854" y="3080"/>
                    </a:lnTo>
                    <a:lnTo>
                      <a:pt x="3854" y="3090"/>
                    </a:lnTo>
                    <a:lnTo>
                      <a:pt x="3856" y="3090"/>
                    </a:lnTo>
                    <a:lnTo>
                      <a:pt x="3860" y="3086"/>
                    </a:lnTo>
                    <a:lnTo>
                      <a:pt x="3860" y="3086"/>
                    </a:lnTo>
                    <a:lnTo>
                      <a:pt x="3864" y="3080"/>
                    </a:lnTo>
                    <a:lnTo>
                      <a:pt x="3866" y="3078"/>
                    </a:lnTo>
                    <a:lnTo>
                      <a:pt x="3872" y="3076"/>
                    </a:lnTo>
                    <a:lnTo>
                      <a:pt x="3874" y="3076"/>
                    </a:lnTo>
                    <a:lnTo>
                      <a:pt x="3876" y="3072"/>
                    </a:lnTo>
                    <a:lnTo>
                      <a:pt x="3878" y="3060"/>
                    </a:lnTo>
                    <a:lnTo>
                      <a:pt x="3878" y="3060"/>
                    </a:lnTo>
                    <a:lnTo>
                      <a:pt x="3880" y="3052"/>
                    </a:lnTo>
                    <a:lnTo>
                      <a:pt x="3886" y="3048"/>
                    </a:lnTo>
                    <a:lnTo>
                      <a:pt x="3890" y="3048"/>
                    </a:lnTo>
                    <a:lnTo>
                      <a:pt x="3894" y="3048"/>
                    </a:lnTo>
                    <a:lnTo>
                      <a:pt x="3898" y="3048"/>
                    </a:lnTo>
                    <a:lnTo>
                      <a:pt x="3900" y="3046"/>
                    </a:lnTo>
                    <a:lnTo>
                      <a:pt x="3898" y="3042"/>
                    </a:lnTo>
                    <a:lnTo>
                      <a:pt x="3892" y="3034"/>
                    </a:lnTo>
                    <a:lnTo>
                      <a:pt x="3892" y="3034"/>
                    </a:lnTo>
                    <a:lnTo>
                      <a:pt x="3888" y="3028"/>
                    </a:lnTo>
                    <a:lnTo>
                      <a:pt x="3886" y="3022"/>
                    </a:lnTo>
                    <a:lnTo>
                      <a:pt x="3884" y="3010"/>
                    </a:lnTo>
                    <a:lnTo>
                      <a:pt x="3886" y="3000"/>
                    </a:lnTo>
                    <a:lnTo>
                      <a:pt x="3892" y="2988"/>
                    </a:lnTo>
                    <a:lnTo>
                      <a:pt x="3896" y="2978"/>
                    </a:lnTo>
                    <a:lnTo>
                      <a:pt x="3902" y="2966"/>
                    </a:lnTo>
                    <a:lnTo>
                      <a:pt x="3902" y="2952"/>
                    </a:lnTo>
                    <a:lnTo>
                      <a:pt x="3900" y="2938"/>
                    </a:lnTo>
                    <a:lnTo>
                      <a:pt x="3900" y="2938"/>
                    </a:lnTo>
                    <a:lnTo>
                      <a:pt x="3898" y="2928"/>
                    </a:lnTo>
                    <a:lnTo>
                      <a:pt x="3898" y="2920"/>
                    </a:lnTo>
                    <a:lnTo>
                      <a:pt x="3898" y="2912"/>
                    </a:lnTo>
                    <a:lnTo>
                      <a:pt x="3900" y="2906"/>
                    </a:lnTo>
                    <a:lnTo>
                      <a:pt x="3904" y="2902"/>
                    </a:lnTo>
                    <a:lnTo>
                      <a:pt x="3908" y="2900"/>
                    </a:lnTo>
                    <a:lnTo>
                      <a:pt x="3912" y="2900"/>
                    </a:lnTo>
                    <a:lnTo>
                      <a:pt x="3918" y="2902"/>
                    </a:lnTo>
                    <a:lnTo>
                      <a:pt x="3918" y="2902"/>
                    </a:lnTo>
                    <a:lnTo>
                      <a:pt x="3922" y="2906"/>
                    </a:lnTo>
                    <a:lnTo>
                      <a:pt x="3924" y="2906"/>
                    </a:lnTo>
                    <a:lnTo>
                      <a:pt x="3924" y="2898"/>
                    </a:lnTo>
                    <a:lnTo>
                      <a:pt x="3924" y="2884"/>
                    </a:lnTo>
                    <a:lnTo>
                      <a:pt x="3926" y="2876"/>
                    </a:lnTo>
                    <a:lnTo>
                      <a:pt x="3930" y="2868"/>
                    </a:lnTo>
                    <a:lnTo>
                      <a:pt x="3930" y="2868"/>
                    </a:lnTo>
                    <a:lnTo>
                      <a:pt x="3936" y="2860"/>
                    </a:lnTo>
                    <a:lnTo>
                      <a:pt x="3940" y="2850"/>
                    </a:lnTo>
                    <a:lnTo>
                      <a:pt x="3942" y="2840"/>
                    </a:lnTo>
                    <a:lnTo>
                      <a:pt x="3944" y="2830"/>
                    </a:lnTo>
                    <a:lnTo>
                      <a:pt x="3942" y="2820"/>
                    </a:lnTo>
                    <a:lnTo>
                      <a:pt x="3940" y="2810"/>
                    </a:lnTo>
                    <a:lnTo>
                      <a:pt x="3936" y="2802"/>
                    </a:lnTo>
                    <a:lnTo>
                      <a:pt x="3932" y="2794"/>
                    </a:lnTo>
                    <a:lnTo>
                      <a:pt x="3932" y="2794"/>
                    </a:lnTo>
                    <a:lnTo>
                      <a:pt x="3926" y="2788"/>
                    </a:lnTo>
                    <a:lnTo>
                      <a:pt x="3922" y="2780"/>
                    </a:lnTo>
                    <a:lnTo>
                      <a:pt x="3918" y="2766"/>
                    </a:lnTo>
                    <a:lnTo>
                      <a:pt x="3918" y="2752"/>
                    </a:lnTo>
                    <a:lnTo>
                      <a:pt x="3918" y="2740"/>
                    </a:lnTo>
                    <a:lnTo>
                      <a:pt x="3918" y="2740"/>
                    </a:lnTo>
                    <a:close/>
                    <a:moveTo>
                      <a:pt x="3276" y="3612"/>
                    </a:moveTo>
                    <a:lnTo>
                      <a:pt x="3276" y="3612"/>
                    </a:lnTo>
                    <a:lnTo>
                      <a:pt x="3274" y="3610"/>
                    </a:lnTo>
                    <a:lnTo>
                      <a:pt x="3270" y="3612"/>
                    </a:lnTo>
                    <a:lnTo>
                      <a:pt x="3268" y="3614"/>
                    </a:lnTo>
                    <a:lnTo>
                      <a:pt x="3268" y="3618"/>
                    </a:lnTo>
                    <a:lnTo>
                      <a:pt x="3268" y="3618"/>
                    </a:lnTo>
                    <a:lnTo>
                      <a:pt x="3272" y="3618"/>
                    </a:lnTo>
                    <a:lnTo>
                      <a:pt x="3274" y="3618"/>
                    </a:lnTo>
                    <a:lnTo>
                      <a:pt x="3276" y="3614"/>
                    </a:lnTo>
                    <a:lnTo>
                      <a:pt x="3276" y="3612"/>
                    </a:lnTo>
                    <a:lnTo>
                      <a:pt x="3276" y="3612"/>
                    </a:lnTo>
                    <a:close/>
                    <a:moveTo>
                      <a:pt x="3322" y="3130"/>
                    </a:moveTo>
                    <a:lnTo>
                      <a:pt x="3322" y="3130"/>
                    </a:lnTo>
                    <a:lnTo>
                      <a:pt x="3324" y="3128"/>
                    </a:lnTo>
                    <a:lnTo>
                      <a:pt x="3322" y="3126"/>
                    </a:lnTo>
                    <a:lnTo>
                      <a:pt x="3318" y="3126"/>
                    </a:lnTo>
                    <a:lnTo>
                      <a:pt x="3318" y="3126"/>
                    </a:lnTo>
                    <a:lnTo>
                      <a:pt x="3316" y="3128"/>
                    </a:lnTo>
                    <a:lnTo>
                      <a:pt x="3318" y="3130"/>
                    </a:lnTo>
                    <a:lnTo>
                      <a:pt x="3320" y="3130"/>
                    </a:lnTo>
                    <a:lnTo>
                      <a:pt x="3322" y="3130"/>
                    </a:lnTo>
                    <a:lnTo>
                      <a:pt x="3322" y="3130"/>
                    </a:lnTo>
                    <a:close/>
                    <a:moveTo>
                      <a:pt x="3302" y="3176"/>
                    </a:moveTo>
                    <a:lnTo>
                      <a:pt x="3302" y="3176"/>
                    </a:lnTo>
                    <a:lnTo>
                      <a:pt x="3304" y="3178"/>
                    </a:lnTo>
                    <a:lnTo>
                      <a:pt x="3310" y="3178"/>
                    </a:lnTo>
                    <a:lnTo>
                      <a:pt x="3320" y="3176"/>
                    </a:lnTo>
                    <a:lnTo>
                      <a:pt x="3330" y="3170"/>
                    </a:lnTo>
                    <a:lnTo>
                      <a:pt x="3334" y="3166"/>
                    </a:lnTo>
                    <a:lnTo>
                      <a:pt x="3334" y="3162"/>
                    </a:lnTo>
                    <a:lnTo>
                      <a:pt x="3334" y="3162"/>
                    </a:lnTo>
                    <a:lnTo>
                      <a:pt x="3332" y="3158"/>
                    </a:lnTo>
                    <a:lnTo>
                      <a:pt x="3326" y="3158"/>
                    </a:lnTo>
                    <a:lnTo>
                      <a:pt x="3322" y="3158"/>
                    </a:lnTo>
                    <a:lnTo>
                      <a:pt x="3314" y="3160"/>
                    </a:lnTo>
                    <a:lnTo>
                      <a:pt x="3310" y="3164"/>
                    </a:lnTo>
                    <a:lnTo>
                      <a:pt x="3304" y="3166"/>
                    </a:lnTo>
                    <a:lnTo>
                      <a:pt x="3302" y="3172"/>
                    </a:lnTo>
                    <a:lnTo>
                      <a:pt x="3302" y="3176"/>
                    </a:lnTo>
                    <a:lnTo>
                      <a:pt x="3302" y="3176"/>
                    </a:lnTo>
                    <a:close/>
                    <a:moveTo>
                      <a:pt x="3372" y="3542"/>
                    </a:moveTo>
                    <a:lnTo>
                      <a:pt x="3372" y="3542"/>
                    </a:lnTo>
                    <a:lnTo>
                      <a:pt x="3374" y="3538"/>
                    </a:lnTo>
                    <a:lnTo>
                      <a:pt x="3376" y="3534"/>
                    </a:lnTo>
                    <a:lnTo>
                      <a:pt x="3386" y="3520"/>
                    </a:lnTo>
                    <a:lnTo>
                      <a:pt x="3386" y="3520"/>
                    </a:lnTo>
                    <a:lnTo>
                      <a:pt x="3392" y="3512"/>
                    </a:lnTo>
                    <a:lnTo>
                      <a:pt x="3394" y="3508"/>
                    </a:lnTo>
                    <a:lnTo>
                      <a:pt x="3390" y="3508"/>
                    </a:lnTo>
                    <a:lnTo>
                      <a:pt x="3384" y="3512"/>
                    </a:lnTo>
                    <a:lnTo>
                      <a:pt x="3384" y="3512"/>
                    </a:lnTo>
                    <a:lnTo>
                      <a:pt x="3374" y="3522"/>
                    </a:lnTo>
                    <a:lnTo>
                      <a:pt x="3370" y="3528"/>
                    </a:lnTo>
                    <a:lnTo>
                      <a:pt x="3366" y="3538"/>
                    </a:lnTo>
                    <a:lnTo>
                      <a:pt x="3366" y="3538"/>
                    </a:lnTo>
                    <a:lnTo>
                      <a:pt x="3366" y="3544"/>
                    </a:lnTo>
                    <a:lnTo>
                      <a:pt x="3368" y="3546"/>
                    </a:lnTo>
                    <a:lnTo>
                      <a:pt x="3372" y="3544"/>
                    </a:lnTo>
                    <a:lnTo>
                      <a:pt x="3372" y="3542"/>
                    </a:lnTo>
                    <a:lnTo>
                      <a:pt x="3372" y="3542"/>
                    </a:lnTo>
                    <a:close/>
                    <a:moveTo>
                      <a:pt x="3932" y="2136"/>
                    </a:moveTo>
                    <a:lnTo>
                      <a:pt x="3932" y="2136"/>
                    </a:lnTo>
                    <a:lnTo>
                      <a:pt x="3930" y="2138"/>
                    </a:lnTo>
                    <a:lnTo>
                      <a:pt x="3932" y="2138"/>
                    </a:lnTo>
                    <a:lnTo>
                      <a:pt x="3936" y="2142"/>
                    </a:lnTo>
                    <a:lnTo>
                      <a:pt x="3942" y="2150"/>
                    </a:lnTo>
                    <a:lnTo>
                      <a:pt x="3950" y="2162"/>
                    </a:lnTo>
                    <a:lnTo>
                      <a:pt x="3950" y="2162"/>
                    </a:lnTo>
                    <a:lnTo>
                      <a:pt x="3952" y="2168"/>
                    </a:lnTo>
                    <a:lnTo>
                      <a:pt x="3952" y="2174"/>
                    </a:lnTo>
                    <a:lnTo>
                      <a:pt x="3948" y="2186"/>
                    </a:lnTo>
                    <a:lnTo>
                      <a:pt x="3944" y="2198"/>
                    </a:lnTo>
                    <a:lnTo>
                      <a:pt x="3944" y="2206"/>
                    </a:lnTo>
                    <a:lnTo>
                      <a:pt x="3946" y="2214"/>
                    </a:lnTo>
                    <a:lnTo>
                      <a:pt x="3946" y="2214"/>
                    </a:lnTo>
                    <a:lnTo>
                      <a:pt x="3948" y="2224"/>
                    </a:lnTo>
                    <a:lnTo>
                      <a:pt x="3948" y="2236"/>
                    </a:lnTo>
                    <a:lnTo>
                      <a:pt x="3948" y="2266"/>
                    </a:lnTo>
                    <a:lnTo>
                      <a:pt x="3944" y="2294"/>
                    </a:lnTo>
                    <a:lnTo>
                      <a:pt x="3940" y="2304"/>
                    </a:lnTo>
                    <a:lnTo>
                      <a:pt x="3938" y="2312"/>
                    </a:lnTo>
                    <a:lnTo>
                      <a:pt x="3938" y="2312"/>
                    </a:lnTo>
                    <a:lnTo>
                      <a:pt x="3936" y="2316"/>
                    </a:lnTo>
                    <a:lnTo>
                      <a:pt x="3938" y="2320"/>
                    </a:lnTo>
                    <a:lnTo>
                      <a:pt x="3944" y="2330"/>
                    </a:lnTo>
                    <a:lnTo>
                      <a:pt x="3946" y="2336"/>
                    </a:lnTo>
                    <a:lnTo>
                      <a:pt x="3948" y="2344"/>
                    </a:lnTo>
                    <a:lnTo>
                      <a:pt x="3946" y="2356"/>
                    </a:lnTo>
                    <a:lnTo>
                      <a:pt x="3942" y="2370"/>
                    </a:lnTo>
                    <a:lnTo>
                      <a:pt x="3942" y="2370"/>
                    </a:lnTo>
                    <a:lnTo>
                      <a:pt x="3940" y="2378"/>
                    </a:lnTo>
                    <a:lnTo>
                      <a:pt x="3940" y="2386"/>
                    </a:lnTo>
                    <a:lnTo>
                      <a:pt x="3942" y="2400"/>
                    </a:lnTo>
                    <a:lnTo>
                      <a:pt x="3944" y="2412"/>
                    </a:lnTo>
                    <a:lnTo>
                      <a:pt x="3944" y="2418"/>
                    </a:lnTo>
                    <a:lnTo>
                      <a:pt x="3940" y="2424"/>
                    </a:lnTo>
                    <a:lnTo>
                      <a:pt x="3940" y="2424"/>
                    </a:lnTo>
                    <a:lnTo>
                      <a:pt x="3936" y="2436"/>
                    </a:lnTo>
                    <a:lnTo>
                      <a:pt x="3934" y="2444"/>
                    </a:lnTo>
                    <a:lnTo>
                      <a:pt x="3936" y="2454"/>
                    </a:lnTo>
                    <a:lnTo>
                      <a:pt x="3938" y="2468"/>
                    </a:lnTo>
                    <a:lnTo>
                      <a:pt x="3938" y="2468"/>
                    </a:lnTo>
                    <a:lnTo>
                      <a:pt x="3942" y="2478"/>
                    </a:lnTo>
                    <a:lnTo>
                      <a:pt x="3944" y="2478"/>
                    </a:lnTo>
                    <a:lnTo>
                      <a:pt x="3946" y="2478"/>
                    </a:lnTo>
                    <a:lnTo>
                      <a:pt x="3950" y="2470"/>
                    </a:lnTo>
                    <a:lnTo>
                      <a:pt x="3954" y="2456"/>
                    </a:lnTo>
                    <a:lnTo>
                      <a:pt x="3954" y="2456"/>
                    </a:lnTo>
                    <a:lnTo>
                      <a:pt x="3958" y="2442"/>
                    </a:lnTo>
                    <a:lnTo>
                      <a:pt x="3962" y="2434"/>
                    </a:lnTo>
                    <a:lnTo>
                      <a:pt x="3966" y="2432"/>
                    </a:lnTo>
                    <a:lnTo>
                      <a:pt x="3968" y="2432"/>
                    </a:lnTo>
                    <a:lnTo>
                      <a:pt x="3972" y="2434"/>
                    </a:lnTo>
                    <a:lnTo>
                      <a:pt x="3972" y="2434"/>
                    </a:lnTo>
                    <a:lnTo>
                      <a:pt x="3976" y="2438"/>
                    </a:lnTo>
                    <a:lnTo>
                      <a:pt x="3980" y="2440"/>
                    </a:lnTo>
                    <a:lnTo>
                      <a:pt x="3984" y="2438"/>
                    </a:lnTo>
                    <a:lnTo>
                      <a:pt x="3990" y="2440"/>
                    </a:lnTo>
                    <a:lnTo>
                      <a:pt x="3990" y="2440"/>
                    </a:lnTo>
                    <a:lnTo>
                      <a:pt x="3994" y="2442"/>
                    </a:lnTo>
                    <a:lnTo>
                      <a:pt x="3996" y="2446"/>
                    </a:lnTo>
                    <a:lnTo>
                      <a:pt x="3998" y="2456"/>
                    </a:lnTo>
                    <a:lnTo>
                      <a:pt x="4000" y="2464"/>
                    </a:lnTo>
                    <a:lnTo>
                      <a:pt x="4000" y="2466"/>
                    </a:lnTo>
                    <a:lnTo>
                      <a:pt x="4002" y="2466"/>
                    </a:lnTo>
                    <a:lnTo>
                      <a:pt x="4002" y="2466"/>
                    </a:lnTo>
                    <a:lnTo>
                      <a:pt x="4006" y="2454"/>
                    </a:lnTo>
                    <a:lnTo>
                      <a:pt x="4006" y="2448"/>
                    </a:lnTo>
                    <a:lnTo>
                      <a:pt x="4004" y="2444"/>
                    </a:lnTo>
                    <a:lnTo>
                      <a:pt x="4002" y="2434"/>
                    </a:lnTo>
                    <a:lnTo>
                      <a:pt x="4002" y="2434"/>
                    </a:lnTo>
                    <a:lnTo>
                      <a:pt x="4002" y="2426"/>
                    </a:lnTo>
                    <a:lnTo>
                      <a:pt x="4002" y="2426"/>
                    </a:lnTo>
                    <a:lnTo>
                      <a:pt x="3998" y="2426"/>
                    </a:lnTo>
                    <a:lnTo>
                      <a:pt x="3992" y="2426"/>
                    </a:lnTo>
                    <a:lnTo>
                      <a:pt x="3992" y="2426"/>
                    </a:lnTo>
                    <a:lnTo>
                      <a:pt x="3990" y="2422"/>
                    </a:lnTo>
                    <a:lnTo>
                      <a:pt x="3986" y="2420"/>
                    </a:lnTo>
                    <a:lnTo>
                      <a:pt x="3984" y="2410"/>
                    </a:lnTo>
                    <a:lnTo>
                      <a:pt x="3980" y="2400"/>
                    </a:lnTo>
                    <a:lnTo>
                      <a:pt x="3976" y="2394"/>
                    </a:lnTo>
                    <a:lnTo>
                      <a:pt x="3972" y="2390"/>
                    </a:lnTo>
                    <a:lnTo>
                      <a:pt x="3972" y="2390"/>
                    </a:lnTo>
                    <a:lnTo>
                      <a:pt x="3966" y="2382"/>
                    </a:lnTo>
                    <a:lnTo>
                      <a:pt x="3964" y="2372"/>
                    </a:lnTo>
                    <a:lnTo>
                      <a:pt x="3964" y="2362"/>
                    </a:lnTo>
                    <a:lnTo>
                      <a:pt x="3964" y="2350"/>
                    </a:lnTo>
                    <a:lnTo>
                      <a:pt x="3970" y="2328"/>
                    </a:lnTo>
                    <a:lnTo>
                      <a:pt x="3978" y="2314"/>
                    </a:lnTo>
                    <a:lnTo>
                      <a:pt x="3978" y="2314"/>
                    </a:lnTo>
                    <a:lnTo>
                      <a:pt x="3980" y="2308"/>
                    </a:lnTo>
                    <a:lnTo>
                      <a:pt x="3982" y="2304"/>
                    </a:lnTo>
                    <a:lnTo>
                      <a:pt x="3982" y="2294"/>
                    </a:lnTo>
                    <a:lnTo>
                      <a:pt x="3984" y="2290"/>
                    </a:lnTo>
                    <a:lnTo>
                      <a:pt x="3984" y="2288"/>
                    </a:lnTo>
                    <a:lnTo>
                      <a:pt x="3988" y="2284"/>
                    </a:lnTo>
                    <a:lnTo>
                      <a:pt x="3994" y="2282"/>
                    </a:lnTo>
                    <a:lnTo>
                      <a:pt x="3994" y="2282"/>
                    </a:lnTo>
                    <a:lnTo>
                      <a:pt x="4004" y="2280"/>
                    </a:lnTo>
                    <a:lnTo>
                      <a:pt x="4014" y="2280"/>
                    </a:lnTo>
                    <a:lnTo>
                      <a:pt x="4026" y="2286"/>
                    </a:lnTo>
                    <a:lnTo>
                      <a:pt x="4036" y="2294"/>
                    </a:lnTo>
                    <a:lnTo>
                      <a:pt x="4036" y="2294"/>
                    </a:lnTo>
                    <a:lnTo>
                      <a:pt x="4048" y="2314"/>
                    </a:lnTo>
                    <a:lnTo>
                      <a:pt x="4052" y="2316"/>
                    </a:lnTo>
                    <a:lnTo>
                      <a:pt x="4052" y="2312"/>
                    </a:lnTo>
                    <a:lnTo>
                      <a:pt x="4052" y="2312"/>
                    </a:lnTo>
                    <a:lnTo>
                      <a:pt x="4048" y="2302"/>
                    </a:lnTo>
                    <a:lnTo>
                      <a:pt x="4040" y="2294"/>
                    </a:lnTo>
                    <a:lnTo>
                      <a:pt x="4034" y="2282"/>
                    </a:lnTo>
                    <a:lnTo>
                      <a:pt x="4032" y="2276"/>
                    </a:lnTo>
                    <a:lnTo>
                      <a:pt x="4030" y="2268"/>
                    </a:lnTo>
                    <a:lnTo>
                      <a:pt x="4030" y="2268"/>
                    </a:lnTo>
                    <a:lnTo>
                      <a:pt x="4026" y="2252"/>
                    </a:lnTo>
                    <a:lnTo>
                      <a:pt x="4020" y="2234"/>
                    </a:lnTo>
                    <a:lnTo>
                      <a:pt x="4012" y="2214"/>
                    </a:lnTo>
                    <a:lnTo>
                      <a:pt x="4010" y="2206"/>
                    </a:lnTo>
                    <a:lnTo>
                      <a:pt x="4010" y="2196"/>
                    </a:lnTo>
                    <a:lnTo>
                      <a:pt x="4010" y="2196"/>
                    </a:lnTo>
                    <a:lnTo>
                      <a:pt x="4008" y="2180"/>
                    </a:lnTo>
                    <a:lnTo>
                      <a:pt x="4004" y="2168"/>
                    </a:lnTo>
                    <a:lnTo>
                      <a:pt x="4002" y="2158"/>
                    </a:lnTo>
                    <a:lnTo>
                      <a:pt x="3998" y="2148"/>
                    </a:lnTo>
                    <a:lnTo>
                      <a:pt x="3998" y="2148"/>
                    </a:lnTo>
                    <a:lnTo>
                      <a:pt x="3998" y="2144"/>
                    </a:lnTo>
                    <a:lnTo>
                      <a:pt x="3998" y="2144"/>
                    </a:lnTo>
                    <a:lnTo>
                      <a:pt x="3994" y="2146"/>
                    </a:lnTo>
                    <a:lnTo>
                      <a:pt x="3994" y="2146"/>
                    </a:lnTo>
                    <a:lnTo>
                      <a:pt x="3992" y="2146"/>
                    </a:lnTo>
                    <a:lnTo>
                      <a:pt x="3992" y="2138"/>
                    </a:lnTo>
                    <a:lnTo>
                      <a:pt x="3992" y="2138"/>
                    </a:lnTo>
                    <a:lnTo>
                      <a:pt x="3994" y="2128"/>
                    </a:lnTo>
                    <a:lnTo>
                      <a:pt x="3994" y="2128"/>
                    </a:lnTo>
                    <a:lnTo>
                      <a:pt x="3992" y="2128"/>
                    </a:lnTo>
                    <a:lnTo>
                      <a:pt x="3990" y="2128"/>
                    </a:lnTo>
                    <a:lnTo>
                      <a:pt x="3988" y="2124"/>
                    </a:lnTo>
                    <a:lnTo>
                      <a:pt x="3988" y="2124"/>
                    </a:lnTo>
                    <a:lnTo>
                      <a:pt x="3988" y="2116"/>
                    </a:lnTo>
                    <a:lnTo>
                      <a:pt x="3988" y="2108"/>
                    </a:lnTo>
                    <a:lnTo>
                      <a:pt x="3992" y="2096"/>
                    </a:lnTo>
                    <a:lnTo>
                      <a:pt x="3994" y="2090"/>
                    </a:lnTo>
                    <a:lnTo>
                      <a:pt x="3996" y="2082"/>
                    </a:lnTo>
                    <a:lnTo>
                      <a:pt x="3996" y="2072"/>
                    </a:lnTo>
                    <a:lnTo>
                      <a:pt x="3994" y="2058"/>
                    </a:lnTo>
                    <a:lnTo>
                      <a:pt x="3994" y="2058"/>
                    </a:lnTo>
                    <a:lnTo>
                      <a:pt x="3990" y="2042"/>
                    </a:lnTo>
                    <a:lnTo>
                      <a:pt x="3988" y="2036"/>
                    </a:lnTo>
                    <a:lnTo>
                      <a:pt x="3986" y="2034"/>
                    </a:lnTo>
                    <a:lnTo>
                      <a:pt x="3988" y="2032"/>
                    </a:lnTo>
                    <a:lnTo>
                      <a:pt x="3988" y="2032"/>
                    </a:lnTo>
                    <a:lnTo>
                      <a:pt x="3988" y="2028"/>
                    </a:lnTo>
                    <a:lnTo>
                      <a:pt x="3986" y="2026"/>
                    </a:lnTo>
                    <a:lnTo>
                      <a:pt x="3984" y="2026"/>
                    </a:lnTo>
                    <a:lnTo>
                      <a:pt x="3982" y="2022"/>
                    </a:lnTo>
                    <a:lnTo>
                      <a:pt x="3982" y="2022"/>
                    </a:lnTo>
                    <a:lnTo>
                      <a:pt x="3982" y="2014"/>
                    </a:lnTo>
                    <a:lnTo>
                      <a:pt x="3978" y="2010"/>
                    </a:lnTo>
                    <a:lnTo>
                      <a:pt x="3978" y="2006"/>
                    </a:lnTo>
                    <a:lnTo>
                      <a:pt x="3980" y="2000"/>
                    </a:lnTo>
                    <a:lnTo>
                      <a:pt x="3980" y="2000"/>
                    </a:lnTo>
                    <a:lnTo>
                      <a:pt x="3984" y="1994"/>
                    </a:lnTo>
                    <a:lnTo>
                      <a:pt x="3982" y="1988"/>
                    </a:lnTo>
                    <a:lnTo>
                      <a:pt x="3978" y="1984"/>
                    </a:lnTo>
                    <a:lnTo>
                      <a:pt x="3974" y="1976"/>
                    </a:lnTo>
                    <a:lnTo>
                      <a:pt x="3974" y="1976"/>
                    </a:lnTo>
                    <a:lnTo>
                      <a:pt x="3970" y="1972"/>
                    </a:lnTo>
                    <a:lnTo>
                      <a:pt x="3970" y="1974"/>
                    </a:lnTo>
                    <a:lnTo>
                      <a:pt x="3966" y="1978"/>
                    </a:lnTo>
                    <a:lnTo>
                      <a:pt x="3962" y="1980"/>
                    </a:lnTo>
                    <a:lnTo>
                      <a:pt x="3958" y="1982"/>
                    </a:lnTo>
                    <a:lnTo>
                      <a:pt x="3958" y="1982"/>
                    </a:lnTo>
                    <a:lnTo>
                      <a:pt x="3954" y="1982"/>
                    </a:lnTo>
                    <a:lnTo>
                      <a:pt x="3954" y="1984"/>
                    </a:lnTo>
                    <a:lnTo>
                      <a:pt x="3960" y="1990"/>
                    </a:lnTo>
                    <a:lnTo>
                      <a:pt x="3966" y="1998"/>
                    </a:lnTo>
                    <a:lnTo>
                      <a:pt x="3968" y="2004"/>
                    </a:lnTo>
                    <a:lnTo>
                      <a:pt x="3970" y="2008"/>
                    </a:lnTo>
                    <a:lnTo>
                      <a:pt x="3970" y="2008"/>
                    </a:lnTo>
                    <a:lnTo>
                      <a:pt x="3966" y="2016"/>
                    </a:lnTo>
                    <a:lnTo>
                      <a:pt x="3964" y="2018"/>
                    </a:lnTo>
                    <a:lnTo>
                      <a:pt x="3962" y="2018"/>
                    </a:lnTo>
                    <a:lnTo>
                      <a:pt x="3960" y="2020"/>
                    </a:lnTo>
                    <a:lnTo>
                      <a:pt x="3960" y="2020"/>
                    </a:lnTo>
                    <a:lnTo>
                      <a:pt x="3960" y="2024"/>
                    </a:lnTo>
                    <a:lnTo>
                      <a:pt x="3962" y="2024"/>
                    </a:lnTo>
                    <a:lnTo>
                      <a:pt x="3964" y="2026"/>
                    </a:lnTo>
                    <a:lnTo>
                      <a:pt x="3966" y="2028"/>
                    </a:lnTo>
                    <a:lnTo>
                      <a:pt x="3966" y="2030"/>
                    </a:lnTo>
                    <a:lnTo>
                      <a:pt x="3962" y="2034"/>
                    </a:lnTo>
                    <a:lnTo>
                      <a:pt x="3962" y="2034"/>
                    </a:lnTo>
                    <a:lnTo>
                      <a:pt x="3958" y="2038"/>
                    </a:lnTo>
                    <a:lnTo>
                      <a:pt x="3954" y="2038"/>
                    </a:lnTo>
                    <a:lnTo>
                      <a:pt x="3954" y="2036"/>
                    </a:lnTo>
                    <a:lnTo>
                      <a:pt x="3952" y="2034"/>
                    </a:lnTo>
                    <a:lnTo>
                      <a:pt x="3952" y="2030"/>
                    </a:lnTo>
                    <a:lnTo>
                      <a:pt x="3950" y="2028"/>
                    </a:lnTo>
                    <a:lnTo>
                      <a:pt x="3946" y="2030"/>
                    </a:lnTo>
                    <a:lnTo>
                      <a:pt x="3946" y="2030"/>
                    </a:lnTo>
                    <a:lnTo>
                      <a:pt x="3940" y="2032"/>
                    </a:lnTo>
                    <a:lnTo>
                      <a:pt x="3936" y="2034"/>
                    </a:lnTo>
                    <a:lnTo>
                      <a:pt x="3932" y="2036"/>
                    </a:lnTo>
                    <a:lnTo>
                      <a:pt x="3934" y="2044"/>
                    </a:lnTo>
                    <a:lnTo>
                      <a:pt x="3934" y="2044"/>
                    </a:lnTo>
                    <a:lnTo>
                      <a:pt x="3936" y="2054"/>
                    </a:lnTo>
                    <a:lnTo>
                      <a:pt x="3938" y="2066"/>
                    </a:lnTo>
                    <a:lnTo>
                      <a:pt x="3936" y="2078"/>
                    </a:lnTo>
                    <a:lnTo>
                      <a:pt x="3930" y="2090"/>
                    </a:lnTo>
                    <a:lnTo>
                      <a:pt x="3930" y="2090"/>
                    </a:lnTo>
                    <a:lnTo>
                      <a:pt x="3928" y="2098"/>
                    </a:lnTo>
                    <a:lnTo>
                      <a:pt x="3928" y="2104"/>
                    </a:lnTo>
                    <a:lnTo>
                      <a:pt x="3930" y="2108"/>
                    </a:lnTo>
                    <a:lnTo>
                      <a:pt x="3928" y="2118"/>
                    </a:lnTo>
                    <a:lnTo>
                      <a:pt x="3928" y="2118"/>
                    </a:lnTo>
                    <a:lnTo>
                      <a:pt x="3926" y="2124"/>
                    </a:lnTo>
                    <a:lnTo>
                      <a:pt x="3928" y="2128"/>
                    </a:lnTo>
                    <a:lnTo>
                      <a:pt x="3930" y="2132"/>
                    </a:lnTo>
                    <a:lnTo>
                      <a:pt x="3934" y="2134"/>
                    </a:lnTo>
                    <a:lnTo>
                      <a:pt x="3934" y="2136"/>
                    </a:lnTo>
                    <a:lnTo>
                      <a:pt x="3932" y="2136"/>
                    </a:lnTo>
                    <a:lnTo>
                      <a:pt x="3932" y="2136"/>
                    </a:lnTo>
                    <a:close/>
                    <a:moveTo>
                      <a:pt x="4070" y="2610"/>
                    </a:moveTo>
                    <a:lnTo>
                      <a:pt x="4070" y="2610"/>
                    </a:lnTo>
                    <a:lnTo>
                      <a:pt x="4068" y="2602"/>
                    </a:lnTo>
                    <a:lnTo>
                      <a:pt x="4068" y="2594"/>
                    </a:lnTo>
                    <a:lnTo>
                      <a:pt x="4070" y="2586"/>
                    </a:lnTo>
                    <a:lnTo>
                      <a:pt x="4072" y="2580"/>
                    </a:lnTo>
                    <a:lnTo>
                      <a:pt x="4078" y="2572"/>
                    </a:lnTo>
                    <a:lnTo>
                      <a:pt x="4078" y="2570"/>
                    </a:lnTo>
                    <a:lnTo>
                      <a:pt x="4076" y="2568"/>
                    </a:lnTo>
                    <a:lnTo>
                      <a:pt x="4076" y="2568"/>
                    </a:lnTo>
                    <a:lnTo>
                      <a:pt x="4072" y="2570"/>
                    </a:lnTo>
                    <a:lnTo>
                      <a:pt x="4068" y="2572"/>
                    </a:lnTo>
                    <a:lnTo>
                      <a:pt x="4062" y="2582"/>
                    </a:lnTo>
                    <a:lnTo>
                      <a:pt x="4054" y="2590"/>
                    </a:lnTo>
                    <a:lnTo>
                      <a:pt x="4050" y="2592"/>
                    </a:lnTo>
                    <a:lnTo>
                      <a:pt x="4044" y="2592"/>
                    </a:lnTo>
                    <a:lnTo>
                      <a:pt x="4044" y="2592"/>
                    </a:lnTo>
                    <a:lnTo>
                      <a:pt x="4040" y="2592"/>
                    </a:lnTo>
                    <a:lnTo>
                      <a:pt x="4038" y="2590"/>
                    </a:lnTo>
                    <a:lnTo>
                      <a:pt x="4036" y="2586"/>
                    </a:lnTo>
                    <a:lnTo>
                      <a:pt x="4034" y="2582"/>
                    </a:lnTo>
                    <a:lnTo>
                      <a:pt x="4032" y="2580"/>
                    </a:lnTo>
                    <a:lnTo>
                      <a:pt x="4028" y="2578"/>
                    </a:lnTo>
                    <a:lnTo>
                      <a:pt x="4022" y="2578"/>
                    </a:lnTo>
                    <a:lnTo>
                      <a:pt x="4022" y="2578"/>
                    </a:lnTo>
                    <a:lnTo>
                      <a:pt x="4012" y="2576"/>
                    </a:lnTo>
                    <a:lnTo>
                      <a:pt x="4004" y="2570"/>
                    </a:lnTo>
                    <a:lnTo>
                      <a:pt x="3994" y="2562"/>
                    </a:lnTo>
                    <a:lnTo>
                      <a:pt x="3984" y="2554"/>
                    </a:lnTo>
                    <a:lnTo>
                      <a:pt x="3966" y="2534"/>
                    </a:lnTo>
                    <a:lnTo>
                      <a:pt x="3952" y="2516"/>
                    </a:lnTo>
                    <a:lnTo>
                      <a:pt x="3952" y="2516"/>
                    </a:lnTo>
                    <a:lnTo>
                      <a:pt x="3946" y="2510"/>
                    </a:lnTo>
                    <a:lnTo>
                      <a:pt x="3940" y="2506"/>
                    </a:lnTo>
                    <a:lnTo>
                      <a:pt x="3934" y="2504"/>
                    </a:lnTo>
                    <a:lnTo>
                      <a:pt x="3930" y="2504"/>
                    </a:lnTo>
                    <a:lnTo>
                      <a:pt x="3926" y="2508"/>
                    </a:lnTo>
                    <a:lnTo>
                      <a:pt x="3924" y="2512"/>
                    </a:lnTo>
                    <a:lnTo>
                      <a:pt x="3924" y="2520"/>
                    </a:lnTo>
                    <a:lnTo>
                      <a:pt x="3928" y="2530"/>
                    </a:lnTo>
                    <a:lnTo>
                      <a:pt x="3928" y="2530"/>
                    </a:lnTo>
                    <a:lnTo>
                      <a:pt x="3932" y="2540"/>
                    </a:lnTo>
                    <a:lnTo>
                      <a:pt x="3932" y="2546"/>
                    </a:lnTo>
                    <a:lnTo>
                      <a:pt x="3932" y="2552"/>
                    </a:lnTo>
                    <a:lnTo>
                      <a:pt x="3930" y="2556"/>
                    </a:lnTo>
                    <a:lnTo>
                      <a:pt x="3928" y="2564"/>
                    </a:lnTo>
                    <a:lnTo>
                      <a:pt x="3926" y="2568"/>
                    </a:lnTo>
                    <a:lnTo>
                      <a:pt x="3928" y="2574"/>
                    </a:lnTo>
                    <a:lnTo>
                      <a:pt x="3928" y="2574"/>
                    </a:lnTo>
                    <a:lnTo>
                      <a:pt x="3928" y="2580"/>
                    </a:lnTo>
                    <a:lnTo>
                      <a:pt x="3928" y="2584"/>
                    </a:lnTo>
                    <a:lnTo>
                      <a:pt x="3922" y="2594"/>
                    </a:lnTo>
                    <a:lnTo>
                      <a:pt x="3918" y="2602"/>
                    </a:lnTo>
                    <a:lnTo>
                      <a:pt x="3916" y="2606"/>
                    </a:lnTo>
                    <a:lnTo>
                      <a:pt x="3916" y="2610"/>
                    </a:lnTo>
                    <a:lnTo>
                      <a:pt x="3916" y="2610"/>
                    </a:lnTo>
                    <a:lnTo>
                      <a:pt x="3918" y="2620"/>
                    </a:lnTo>
                    <a:lnTo>
                      <a:pt x="3918" y="2630"/>
                    </a:lnTo>
                    <a:lnTo>
                      <a:pt x="3914" y="2634"/>
                    </a:lnTo>
                    <a:lnTo>
                      <a:pt x="3912" y="2636"/>
                    </a:lnTo>
                    <a:lnTo>
                      <a:pt x="3906" y="2636"/>
                    </a:lnTo>
                    <a:lnTo>
                      <a:pt x="3900" y="2632"/>
                    </a:lnTo>
                    <a:lnTo>
                      <a:pt x="3900" y="2632"/>
                    </a:lnTo>
                    <a:lnTo>
                      <a:pt x="3886" y="2626"/>
                    </a:lnTo>
                    <a:lnTo>
                      <a:pt x="3876" y="2624"/>
                    </a:lnTo>
                    <a:lnTo>
                      <a:pt x="3874" y="2624"/>
                    </a:lnTo>
                    <a:lnTo>
                      <a:pt x="3872" y="2628"/>
                    </a:lnTo>
                    <a:lnTo>
                      <a:pt x="3874" y="2630"/>
                    </a:lnTo>
                    <a:lnTo>
                      <a:pt x="3878" y="2636"/>
                    </a:lnTo>
                    <a:lnTo>
                      <a:pt x="3878" y="2636"/>
                    </a:lnTo>
                    <a:lnTo>
                      <a:pt x="3880" y="2640"/>
                    </a:lnTo>
                    <a:lnTo>
                      <a:pt x="3880" y="2642"/>
                    </a:lnTo>
                    <a:lnTo>
                      <a:pt x="3878" y="2648"/>
                    </a:lnTo>
                    <a:lnTo>
                      <a:pt x="3872" y="2656"/>
                    </a:lnTo>
                    <a:lnTo>
                      <a:pt x="3866" y="2662"/>
                    </a:lnTo>
                    <a:lnTo>
                      <a:pt x="3858" y="2670"/>
                    </a:lnTo>
                    <a:lnTo>
                      <a:pt x="3854" y="2676"/>
                    </a:lnTo>
                    <a:lnTo>
                      <a:pt x="3852" y="2680"/>
                    </a:lnTo>
                    <a:lnTo>
                      <a:pt x="3852" y="2682"/>
                    </a:lnTo>
                    <a:lnTo>
                      <a:pt x="3854" y="2686"/>
                    </a:lnTo>
                    <a:lnTo>
                      <a:pt x="3856" y="2690"/>
                    </a:lnTo>
                    <a:lnTo>
                      <a:pt x="3856" y="2690"/>
                    </a:lnTo>
                    <a:lnTo>
                      <a:pt x="3862" y="2694"/>
                    </a:lnTo>
                    <a:lnTo>
                      <a:pt x="3866" y="2700"/>
                    </a:lnTo>
                    <a:lnTo>
                      <a:pt x="3866" y="2706"/>
                    </a:lnTo>
                    <a:lnTo>
                      <a:pt x="3864" y="2710"/>
                    </a:lnTo>
                    <a:lnTo>
                      <a:pt x="3860" y="2722"/>
                    </a:lnTo>
                    <a:lnTo>
                      <a:pt x="3862" y="2726"/>
                    </a:lnTo>
                    <a:lnTo>
                      <a:pt x="3864" y="2732"/>
                    </a:lnTo>
                    <a:lnTo>
                      <a:pt x="3864" y="2732"/>
                    </a:lnTo>
                    <a:lnTo>
                      <a:pt x="3866" y="2734"/>
                    </a:lnTo>
                    <a:lnTo>
                      <a:pt x="3870" y="2736"/>
                    </a:lnTo>
                    <a:lnTo>
                      <a:pt x="3874" y="2732"/>
                    </a:lnTo>
                    <a:lnTo>
                      <a:pt x="3880" y="2720"/>
                    </a:lnTo>
                    <a:lnTo>
                      <a:pt x="3880" y="2720"/>
                    </a:lnTo>
                    <a:lnTo>
                      <a:pt x="3884" y="2712"/>
                    </a:lnTo>
                    <a:lnTo>
                      <a:pt x="3888" y="2710"/>
                    </a:lnTo>
                    <a:lnTo>
                      <a:pt x="3890" y="2712"/>
                    </a:lnTo>
                    <a:lnTo>
                      <a:pt x="3896" y="2714"/>
                    </a:lnTo>
                    <a:lnTo>
                      <a:pt x="3900" y="2714"/>
                    </a:lnTo>
                    <a:lnTo>
                      <a:pt x="3908" y="2712"/>
                    </a:lnTo>
                    <a:lnTo>
                      <a:pt x="3908" y="2712"/>
                    </a:lnTo>
                    <a:lnTo>
                      <a:pt x="3912" y="2710"/>
                    </a:lnTo>
                    <a:lnTo>
                      <a:pt x="3910" y="2706"/>
                    </a:lnTo>
                    <a:lnTo>
                      <a:pt x="3894" y="2698"/>
                    </a:lnTo>
                    <a:lnTo>
                      <a:pt x="3886" y="2692"/>
                    </a:lnTo>
                    <a:lnTo>
                      <a:pt x="3878" y="2686"/>
                    </a:lnTo>
                    <a:lnTo>
                      <a:pt x="3874" y="2680"/>
                    </a:lnTo>
                    <a:lnTo>
                      <a:pt x="3874" y="2676"/>
                    </a:lnTo>
                    <a:lnTo>
                      <a:pt x="3876" y="2672"/>
                    </a:lnTo>
                    <a:lnTo>
                      <a:pt x="3876" y="2672"/>
                    </a:lnTo>
                    <a:lnTo>
                      <a:pt x="3882" y="2666"/>
                    </a:lnTo>
                    <a:lnTo>
                      <a:pt x="3886" y="2666"/>
                    </a:lnTo>
                    <a:lnTo>
                      <a:pt x="3888" y="2668"/>
                    </a:lnTo>
                    <a:lnTo>
                      <a:pt x="3892" y="2670"/>
                    </a:lnTo>
                    <a:lnTo>
                      <a:pt x="3896" y="2674"/>
                    </a:lnTo>
                    <a:lnTo>
                      <a:pt x="3900" y="2676"/>
                    </a:lnTo>
                    <a:lnTo>
                      <a:pt x="3906" y="2676"/>
                    </a:lnTo>
                    <a:lnTo>
                      <a:pt x="3912" y="2674"/>
                    </a:lnTo>
                    <a:lnTo>
                      <a:pt x="3912" y="2674"/>
                    </a:lnTo>
                    <a:lnTo>
                      <a:pt x="3918" y="2670"/>
                    </a:lnTo>
                    <a:lnTo>
                      <a:pt x="3924" y="2668"/>
                    </a:lnTo>
                    <a:lnTo>
                      <a:pt x="3930" y="2666"/>
                    </a:lnTo>
                    <a:lnTo>
                      <a:pt x="3936" y="2668"/>
                    </a:lnTo>
                    <a:lnTo>
                      <a:pt x="3954" y="2678"/>
                    </a:lnTo>
                    <a:lnTo>
                      <a:pt x="3984" y="2698"/>
                    </a:lnTo>
                    <a:lnTo>
                      <a:pt x="3984" y="2698"/>
                    </a:lnTo>
                    <a:lnTo>
                      <a:pt x="3992" y="2700"/>
                    </a:lnTo>
                    <a:lnTo>
                      <a:pt x="3996" y="2698"/>
                    </a:lnTo>
                    <a:lnTo>
                      <a:pt x="4000" y="2692"/>
                    </a:lnTo>
                    <a:lnTo>
                      <a:pt x="4002" y="2684"/>
                    </a:lnTo>
                    <a:lnTo>
                      <a:pt x="4008" y="2664"/>
                    </a:lnTo>
                    <a:lnTo>
                      <a:pt x="4012" y="2656"/>
                    </a:lnTo>
                    <a:lnTo>
                      <a:pt x="4018" y="2652"/>
                    </a:lnTo>
                    <a:lnTo>
                      <a:pt x="4018" y="2652"/>
                    </a:lnTo>
                    <a:lnTo>
                      <a:pt x="4030" y="2648"/>
                    </a:lnTo>
                    <a:lnTo>
                      <a:pt x="4042" y="2646"/>
                    </a:lnTo>
                    <a:lnTo>
                      <a:pt x="4054" y="2644"/>
                    </a:lnTo>
                    <a:lnTo>
                      <a:pt x="4068" y="2640"/>
                    </a:lnTo>
                    <a:lnTo>
                      <a:pt x="4068" y="2640"/>
                    </a:lnTo>
                    <a:lnTo>
                      <a:pt x="4090" y="2630"/>
                    </a:lnTo>
                    <a:lnTo>
                      <a:pt x="4096" y="2626"/>
                    </a:lnTo>
                    <a:lnTo>
                      <a:pt x="4096" y="2624"/>
                    </a:lnTo>
                    <a:lnTo>
                      <a:pt x="4094" y="2622"/>
                    </a:lnTo>
                    <a:lnTo>
                      <a:pt x="4094" y="2622"/>
                    </a:lnTo>
                    <a:lnTo>
                      <a:pt x="4092" y="2620"/>
                    </a:lnTo>
                    <a:lnTo>
                      <a:pt x="4090" y="2620"/>
                    </a:lnTo>
                    <a:lnTo>
                      <a:pt x="4084" y="2622"/>
                    </a:lnTo>
                    <a:lnTo>
                      <a:pt x="4082" y="2622"/>
                    </a:lnTo>
                    <a:lnTo>
                      <a:pt x="4078" y="2622"/>
                    </a:lnTo>
                    <a:lnTo>
                      <a:pt x="4074" y="2618"/>
                    </a:lnTo>
                    <a:lnTo>
                      <a:pt x="4070" y="2610"/>
                    </a:lnTo>
                    <a:lnTo>
                      <a:pt x="4070" y="2610"/>
                    </a:lnTo>
                    <a:close/>
                    <a:moveTo>
                      <a:pt x="3802" y="2924"/>
                    </a:moveTo>
                    <a:lnTo>
                      <a:pt x="3802" y="2924"/>
                    </a:lnTo>
                    <a:lnTo>
                      <a:pt x="3806" y="2916"/>
                    </a:lnTo>
                    <a:lnTo>
                      <a:pt x="3806" y="2908"/>
                    </a:lnTo>
                    <a:lnTo>
                      <a:pt x="3804" y="2906"/>
                    </a:lnTo>
                    <a:lnTo>
                      <a:pt x="3802" y="2904"/>
                    </a:lnTo>
                    <a:lnTo>
                      <a:pt x="3800" y="2906"/>
                    </a:lnTo>
                    <a:lnTo>
                      <a:pt x="3796" y="2910"/>
                    </a:lnTo>
                    <a:lnTo>
                      <a:pt x="3796" y="2910"/>
                    </a:lnTo>
                    <a:lnTo>
                      <a:pt x="3792" y="2914"/>
                    </a:lnTo>
                    <a:lnTo>
                      <a:pt x="3792" y="2918"/>
                    </a:lnTo>
                    <a:lnTo>
                      <a:pt x="3792" y="2922"/>
                    </a:lnTo>
                    <a:lnTo>
                      <a:pt x="3792" y="2924"/>
                    </a:lnTo>
                    <a:lnTo>
                      <a:pt x="3794" y="2926"/>
                    </a:lnTo>
                    <a:lnTo>
                      <a:pt x="3798" y="2928"/>
                    </a:lnTo>
                    <a:lnTo>
                      <a:pt x="3800" y="2926"/>
                    </a:lnTo>
                    <a:lnTo>
                      <a:pt x="3802" y="2924"/>
                    </a:lnTo>
                    <a:lnTo>
                      <a:pt x="3802" y="2924"/>
                    </a:lnTo>
                    <a:close/>
                    <a:moveTo>
                      <a:pt x="3594" y="3018"/>
                    </a:moveTo>
                    <a:lnTo>
                      <a:pt x="3594" y="3018"/>
                    </a:lnTo>
                    <a:lnTo>
                      <a:pt x="3596" y="3016"/>
                    </a:lnTo>
                    <a:lnTo>
                      <a:pt x="3596" y="3014"/>
                    </a:lnTo>
                    <a:lnTo>
                      <a:pt x="3594" y="3010"/>
                    </a:lnTo>
                    <a:lnTo>
                      <a:pt x="3592" y="3010"/>
                    </a:lnTo>
                    <a:lnTo>
                      <a:pt x="3592" y="3010"/>
                    </a:lnTo>
                    <a:lnTo>
                      <a:pt x="3590" y="3012"/>
                    </a:lnTo>
                    <a:lnTo>
                      <a:pt x="3588" y="3014"/>
                    </a:lnTo>
                    <a:lnTo>
                      <a:pt x="3590" y="3018"/>
                    </a:lnTo>
                    <a:lnTo>
                      <a:pt x="3594" y="3018"/>
                    </a:lnTo>
                    <a:lnTo>
                      <a:pt x="3594" y="3018"/>
                    </a:lnTo>
                    <a:close/>
                    <a:moveTo>
                      <a:pt x="3048" y="4040"/>
                    </a:moveTo>
                    <a:lnTo>
                      <a:pt x="3048" y="4040"/>
                    </a:lnTo>
                    <a:lnTo>
                      <a:pt x="3046" y="4042"/>
                    </a:lnTo>
                    <a:lnTo>
                      <a:pt x="3044" y="4044"/>
                    </a:lnTo>
                    <a:lnTo>
                      <a:pt x="3042" y="4050"/>
                    </a:lnTo>
                    <a:lnTo>
                      <a:pt x="3044" y="4056"/>
                    </a:lnTo>
                    <a:lnTo>
                      <a:pt x="3046" y="4062"/>
                    </a:lnTo>
                    <a:lnTo>
                      <a:pt x="3046" y="4062"/>
                    </a:lnTo>
                    <a:lnTo>
                      <a:pt x="3048" y="4064"/>
                    </a:lnTo>
                    <a:lnTo>
                      <a:pt x="3050" y="4068"/>
                    </a:lnTo>
                    <a:lnTo>
                      <a:pt x="3052" y="4098"/>
                    </a:lnTo>
                    <a:lnTo>
                      <a:pt x="3052" y="4098"/>
                    </a:lnTo>
                    <a:lnTo>
                      <a:pt x="3054" y="4116"/>
                    </a:lnTo>
                    <a:lnTo>
                      <a:pt x="3056" y="4120"/>
                    </a:lnTo>
                    <a:lnTo>
                      <a:pt x="3058" y="4120"/>
                    </a:lnTo>
                    <a:lnTo>
                      <a:pt x="3062" y="4120"/>
                    </a:lnTo>
                    <a:lnTo>
                      <a:pt x="3064" y="4122"/>
                    </a:lnTo>
                    <a:lnTo>
                      <a:pt x="3066" y="4126"/>
                    </a:lnTo>
                    <a:lnTo>
                      <a:pt x="3066" y="4126"/>
                    </a:lnTo>
                    <a:lnTo>
                      <a:pt x="3070" y="4134"/>
                    </a:lnTo>
                    <a:lnTo>
                      <a:pt x="3074" y="4138"/>
                    </a:lnTo>
                    <a:lnTo>
                      <a:pt x="3076" y="4134"/>
                    </a:lnTo>
                    <a:lnTo>
                      <a:pt x="3076" y="4128"/>
                    </a:lnTo>
                    <a:lnTo>
                      <a:pt x="3076" y="4128"/>
                    </a:lnTo>
                    <a:lnTo>
                      <a:pt x="3078" y="4120"/>
                    </a:lnTo>
                    <a:lnTo>
                      <a:pt x="3078" y="4118"/>
                    </a:lnTo>
                    <a:lnTo>
                      <a:pt x="3082" y="4118"/>
                    </a:lnTo>
                    <a:lnTo>
                      <a:pt x="3086" y="4122"/>
                    </a:lnTo>
                    <a:lnTo>
                      <a:pt x="3086" y="4122"/>
                    </a:lnTo>
                    <a:lnTo>
                      <a:pt x="3090" y="4126"/>
                    </a:lnTo>
                    <a:lnTo>
                      <a:pt x="3092" y="4130"/>
                    </a:lnTo>
                    <a:lnTo>
                      <a:pt x="3090" y="4134"/>
                    </a:lnTo>
                    <a:lnTo>
                      <a:pt x="3086" y="4140"/>
                    </a:lnTo>
                    <a:lnTo>
                      <a:pt x="3086" y="4140"/>
                    </a:lnTo>
                    <a:lnTo>
                      <a:pt x="3080" y="4146"/>
                    </a:lnTo>
                    <a:lnTo>
                      <a:pt x="3076" y="4156"/>
                    </a:lnTo>
                    <a:lnTo>
                      <a:pt x="3078" y="4164"/>
                    </a:lnTo>
                    <a:lnTo>
                      <a:pt x="3078" y="4166"/>
                    </a:lnTo>
                    <a:lnTo>
                      <a:pt x="3082" y="4166"/>
                    </a:lnTo>
                    <a:lnTo>
                      <a:pt x="3082" y="4166"/>
                    </a:lnTo>
                    <a:lnTo>
                      <a:pt x="3084" y="4164"/>
                    </a:lnTo>
                    <a:lnTo>
                      <a:pt x="3088" y="4166"/>
                    </a:lnTo>
                    <a:lnTo>
                      <a:pt x="3092" y="4170"/>
                    </a:lnTo>
                    <a:lnTo>
                      <a:pt x="3096" y="4174"/>
                    </a:lnTo>
                    <a:lnTo>
                      <a:pt x="3100" y="4176"/>
                    </a:lnTo>
                    <a:lnTo>
                      <a:pt x="3104" y="4178"/>
                    </a:lnTo>
                    <a:lnTo>
                      <a:pt x="3104" y="4178"/>
                    </a:lnTo>
                    <a:lnTo>
                      <a:pt x="3112" y="4176"/>
                    </a:lnTo>
                    <a:lnTo>
                      <a:pt x="3112" y="4174"/>
                    </a:lnTo>
                    <a:lnTo>
                      <a:pt x="3112" y="4168"/>
                    </a:lnTo>
                    <a:lnTo>
                      <a:pt x="3112" y="4166"/>
                    </a:lnTo>
                    <a:lnTo>
                      <a:pt x="3116" y="4164"/>
                    </a:lnTo>
                    <a:lnTo>
                      <a:pt x="3116" y="4164"/>
                    </a:lnTo>
                    <a:lnTo>
                      <a:pt x="3120" y="4160"/>
                    </a:lnTo>
                    <a:lnTo>
                      <a:pt x="3124" y="4160"/>
                    </a:lnTo>
                    <a:lnTo>
                      <a:pt x="3138" y="4172"/>
                    </a:lnTo>
                    <a:lnTo>
                      <a:pt x="3138" y="4172"/>
                    </a:lnTo>
                    <a:lnTo>
                      <a:pt x="3144" y="4176"/>
                    </a:lnTo>
                    <a:lnTo>
                      <a:pt x="3148" y="4180"/>
                    </a:lnTo>
                    <a:lnTo>
                      <a:pt x="3152" y="4188"/>
                    </a:lnTo>
                    <a:lnTo>
                      <a:pt x="3154" y="4196"/>
                    </a:lnTo>
                    <a:lnTo>
                      <a:pt x="3156" y="4198"/>
                    </a:lnTo>
                    <a:lnTo>
                      <a:pt x="3158" y="4198"/>
                    </a:lnTo>
                    <a:lnTo>
                      <a:pt x="3158" y="4198"/>
                    </a:lnTo>
                    <a:lnTo>
                      <a:pt x="3162" y="4198"/>
                    </a:lnTo>
                    <a:lnTo>
                      <a:pt x="3162" y="4196"/>
                    </a:lnTo>
                    <a:lnTo>
                      <a:pt x="3162" y="4188"/>
                    </a:lnTo>
                    <a:lnTo>
                      <a:pt x="3154" y="4170"/>
                    </a:lnTo>
                    <a:lnTo>
                      <a:pt x="3154" y="4170"/>
                    </a:lnTo>
                    <a:lnTo>
                      <a:pt x="3154" y="4166"/>
                    </a:lnTo>
                    <a:lnTo>
                      <a:pt x="3154" y="4164"/>
                    </a:lnTo>
                    <a:lnTo>
                      <a:pt x="3160" y="4164"/>
                    </a:lnTo>
                    <a:lnTo>
                      <a:pt x="3164" y="4168"/>
                    </a:lnTo>
                    <a:lnTo>
                      <a:pt x="3168" y="4174"/>
                    </a:lnTo>
                    <a:lnTo>
                      <a:pt x="3168" y="4174"/>
                    </a:lnTo>
                    <a:lnTo>
                      <a:pt x="3172" y="4180"/>
                    </a:lnTo>
                    <a:lnTo>
                      <a:pt x="3176" y="4182"/>
                    </a:lnTo>
                    <a:lnTo>
                      <a:pt x="3180" y="4186"/>
                    </a:lnTo>
                    <a:lnTo>
                      <a:pt x="3184" y="4192"/>
                    </a:lnTo>
                    <a:lnTo>
                      <a:pt x="3184" y="4192"/>
                    </a:lnTo>
                    <a:lnTo>
                      <a:pt x="3186" y="4198"/>
                    </a:lnTo>
                    <a:lnTo>
                      <a:pt x="3186" y="4202"/>
                    </a:lnTo>
                    <a:lnTo>
                      <a:pt x="3188" y="4206"/>
                    </a:lnTo>
                    <a:lnTo>
                      <a:pt x="3196" y="4210"/>
                    </a:lnTo>
                    <a:lnTo>
                      <a:pt x="3196" y="4210"/>
                    </a:lnTo>
                    <a:lnTo>
                      <a:pt x="3206" y="4216"/>
                    </a:lnTo>
                    <a:lnTo>
                      <a:pt x="3210" y="4218"/>
                    </a:lnTo>
                    <a:lnTo>
                      <a:pt x="3212" y="4222"/>
                    </a:lnTo>
                    <a:lnTo>
                      <a:pt x="3212" y="4228"/>
                    </a:lnTo>
                    <a:lnTo>
                      <a:pt x="3212" y="4228"/>
                    </a:lnTo>
                    <a:lnTo>
                      <a:pt x="3216" y="4232"/>
                    </a:lnTo>
                    <a:lnTo>
                      <a:pt x="3218" y="4230"/>
                    </a:lnTo>
                    <a:lnTo>
                      <a:pt x="3220" y="4224"/>
                    </a:lnTo>
                    <a:lnTo>
                      <a:pt x="3222" y="4216"/>
                    </a:lnTo>
                    <a:lnTo>
                      <a:pt x="3222" y="4216"/>
                    </a:lnTo>
                    <a:lnTo>
                      <a:pt x="3222" y="4208"/>
                    </a:lnTo>
                    <a:lnTo>
                      <a:pt x="3220" y="4204"/>
                    </a:lnTo>
                    <a:lnTo>
                      <a:pt x="3218" y="4202"/>
                    </a:lnTo>
                    <a:lnTo>
                      <a:pt x="3210" y="4200"/>
                    </a:lnTo>
                    <a:lnTo>
                      <a:pt x="3210" y="4200"/>
                    </a:lnTo>
                    <a:lnTo>
                      <a:pt x="3206" y="4200"/>
                    </a:lnTo>
                    <a:lnTo>
                      <a:pt x="3206" y="4196"/>
                    </a:lnTo>
                    <a:lnTo>
                      <a:pt x="3206" y="4194"/>
                    </a:lnTo>
                    <a:lnTo>
                      <a:pt x="3206" y="4192"/>
                    </a:lnTo>
                    <a:lnTo>
                      <a:pt x="3204" y="4186"/>
                    </a:lnTo>
                    <a:lnTo>
                      <a:pt x="3198" y="4182"/>
                    </a:lnTo>
                    <a:lnTo>
                      <a:pt x="3198" y="4182"/>
                    </a:lnTo>
                    <a:lnTo>
                      <a:pt x="3196" y="4178"/>
                    </a:lnTo>
                    <a:lnTo>
                      <a:pt x="3194" y="4174"/>
                    </a:lnTo>
                    <a:lnTo>
                      <a:pt x="3196" y="4174"/>
                    </a:lnTo>
                    <a:lnTo>
                      <a:pt x="3198" y="4174"/>
                    </a:lnTo>
                    <a:lnTo>
                      <a:pt x="3206" y="4174"/>
                    </a:lnTo>
                    <a:lnTo>
                      <a:pt x="3210" y="4172"/>
                    </a:lnTo>
                    <a:lnTo>
                      <a:pt x="3212" y="4172"/>
                    </a:lnTo>
                    <a:lnTo>
                      <a:pt x="3212" y="4172"/>
                    </a:lnTo>
                    <a:lnTo>
                      <a:pt x="3214" y="4168"/>
                    </a:lnTo>
                    <a:lnTo>
                      <a:pt x="3210" y="4164"/>
                    </a:lnTo>
                    <a:lnTo>
                      <a:pt x="3194" y="4156"/>
                    </a:lnTo>
                    <a:lnTo>
                      <a:pt x="3194" y="4156"/>
                    </a:lnTo>
                    <a:lnTo>
                      <a:pt x="3190" y="4154"/>
                    </a:lnTo>
                    <a:lnTo>
                      <a:pt x="3186" y="4156"/>
                    </a:lnTo>
                    <a:lnTo>
                      <a:pt x="3186" y="4158"/>
                    </a:lnTo>
                    <a:lnTo>
                      <a:pt x="3184" y="4162"/>
                    </a:lnTo>
                    <a:lnTo>
                      <a:pt x="3184" y="4170"/>
                    </a:lnTo>
                    <a:lnTo>
                      <a:pt x="3182" y="4172"/>
                    </a:lnTo>
                    <a:lnTo>
                      <a:pt x="3180" y="4170"/>
                    </a:lnTo>
                    <a:lnTo>
                      <a:pt x="3180" y="4170"/>
                    </a:lnTo>
                    <a:lnTo>
                      <a:pt x="3178" y="4168"/>
                    </a:lnTo>
                    <a:lnTo>
                      <a:pt x="3176" y="4164"/>
                    </a:lnTo>
                    <a:lnTo>
                      <a:pt x="3176" y="4158"/>
                    </a:lnTo>
                    <a:lnTo>
                      <a:pt x="3176" y="4154"/>
                    </a:lnTo>
                    <a:lnTo>
                      <a:pt x="3174" y="4150"/>
                    </a:lnTo>
                    <a:lnTo>
                      <a:pt x="3170" y="4146"/>
                    </a:lnTo>
                    <a:lnTo>
                      <a:pt x="3164" y="4142"/>
                    </a:lnTo>
                    <a:lnTo>
                      <a:pt x="3164" y="4142"/>
                    </a:lnTo>
                    <a:lnTo>
                      <a:pt x="3158" y="4140"/>
                    </a:lnTo>
                    <a:lnTo>
                      <a:pt x="3154" y="4140"/>
                    </a:lnTo>
                    <a:lnTo>
                      <a:pt x="3152" y="4140"/>
                    </a:lnTo>
                    <a:lnTo>
                      <a:pt x="3150" y="4142"/>
                    </a:lnTo>
                    <a:lnTo>
                      <a:pt x="3148" y="4146"/>
                    </a:lnTo>
                    <a:lnTo>
                      <a:pt x="3148" y="4146"/>
                    </a:lnTo>
                    <a:lnTo>
                      <a:pt x="3144" y="4146"/>
                    </a:lnTo>
                    <a:lnTo>
                      <a:pt x="3144" y="4146"/>
                    </a:lnTo>
                    <a:lnTo>
                      <a:pt x="3142" y="4146"/>
                    </a:lnTo>
                    <a:lnTo>
                      <a:pt x="3140" y="4148"/>
                    </a:lnTo>
                    <a:lnTo>
                      <a:pt x="3140" y="4152"/>
                    </a:lnTo>
                    <a:lnTo>
                      <a:pt x="3140" y="4158"/>
                    </a:lnTo>
                    <a:lnTo>
                      <a:pt x="3138" y="4158"/>
                    </a:lnTo>
                    <a:lnTo>
                      <a:pt x="3136" y="4158"/>
                    </a:lnTo>
                    <a:lnTo>
                      <a:pt x="3136" y="4158"/>
                    </a:lnTo>
                    <a:lnTo>
                      <a:pt x="3130" y="4156"/>
                    </a:lnTo>
                    <a:lnTo>
                      <a:pt x="3126" y="4152"/>
                    </a:lnTo>
                    <a:lnTo>
                      <a:pt x="3122" y="4142"/>
                    </a:lnTo>
                    <a:lnTo>
                      <a:pt x="3120" y="4132"/>
                    </a:lnTo>
                    <a:lnTo>
                      <a:pt x="3120" y="4124"/>
                    </a:lnTo>
                    <a:lnTo>
                      <a:pt x="3120" y="4124"/>
                    </a:lnTo>
                    <a:lnTo>
                      <a:pt x="3120" y="4120"/>
                    </a:lnTo>
                    <a:lnTo>
                      <a:pt x="3120" y="4116"/>
                    </a:lnTo>
                    <a:lnTo>
                      <a:pt x="3116" y="4104"/>
                    </a:lnTo>
                    <a:lnTo>
                      <a:pt x="3112" y="4092"/>
                    </a:lnTo>
                    <a:lnTo>
                      <a:pt x="3112" y="4086"/>
                    </a:lnTo>
                    <a:lnTo>
                      <a:pt x="3116" y="4082"/>
                    </a:lnTo>
                    <a:lnTo>
                      <a:pt x="3116" y="4082"/>
                    </a:lnTo>
                    <a:lnTo>
                      <a:pt x="3120" y="4072"/>
                    </a:lnTo>
                    <a:lnTo>
                      <a:pt x="3120" y="4066"/>
                    </a:lnTo>
                    <a:lnTo>
                      <a:pt x="3120" y="4062"/>
                    </a:lnTo>
                    <a:lnTo>
                      <a:pt x="3124" y="4054"/>
                    </a:lnTo>
                    <a:lnTo>
                      <a:pt x="3124" y="4054"/>
                    </a:lnTo>
                    <a:lnTo>
                      <a:pt x="3128" y="4052"/>
                    </a:lnTo>
                    <a:lnTo>
                      <a:pt x="3130" y="4050"/>
                    </a:lnTo>
                    <a:lnTo>
                      <a:pt x="3132" y="4052"/>
                    </a:lnTo>
                    <a:lnTo>
                      <a:pt x="3134" y="4052"/>
                    </a:lnTo>
                    <a:lnTo>
                      <a:pt x="3136" y="4056"/>
                    </a:lnTo>
                    <a:lnTo>
                      <a:pt x="3136" y="4056"/>
                    </a:lnTo>
                    <a:lnTo>
                      <a:pt x="3138" y="4056"/>
                    </a:lnTo>
                    <a:lnTo>
                      <a:pt x="3138" y="4056"/>
                    </a:lnTo>
                    <a:lnTo>
                      <a:pt x="3144" y="4046"/>
                    </a:lnTo>
                    <a:lnTo>
                      <a:pt x="3148" y="4034"/>
                    </a:lnTo>
                    <a:lnTo>
                      <a:pt x="3154" y="4008"/>
                    </a:lnTo>
                    <a:lnTo>
                      <a:pt x="3154" y="4008"/>
                    </a:lnTo>
                    <a:lnTo>
                      <a:pt x="3154" y="4006"/>
                    </a:lnTo>
                    <a:lnTo>
                      <a:pt x="3152" y="4002"/>
                    </a:lnTo>
                    <a:lnTo>
                      <a:pt x="3146" y="3992"/>
                    </a:lnTo>
                    <a:lnTo>
                      <a:pt x="3144" y="3986"/>
                    </a:lnTo>
                    <a:lnTo>
                      <a:pt x="3142" y="3978"/>
                    </a:lnTo>
                    <a:lnTo>
                      <a:pt x="3142" y="3970"/>
                    </a:lnTo>
                    <a:lnTo>
                      <a:pt x="3144" y="3960"/>
                    </a:lnTo>
                    <a:lnTo>
                      <a:pt x="3144" y="3960"/>
                    </a:lnTo>
                    <a:lnTo>
                      <a:pt x="3148" y="3944"/>
                    </a:lnTo>
                    <a:lnTo>
                      <a:pt x="3146" y="3936"/>
                    </a:lnTo>
                    <a:lnTo>
                      <a:pt x="3146" y="3934"/>
                    </a:lnTo>
                    <a:lnTo>
                      <a:pt x="3142" y="3934"/>
                    </a:lnTo>
                    <a:lnTo>
                      <a:pt x="3140" y="3936"/>
                    </a:lnTo>
                    <a:lnTo>
                      <a:pt x="3136" y="3942"/>
                    </a:lnTo>
                    <a:lnTo>
                      <a:pt x="3136" y="3942"/>
                    </a:lnTo>
                    <a:lnTo>
                      <a:pt x="3132" y="3946"/>
                    </a:lnTo>
                    <a:lnTo>
                      <a:pt x="3126" y="3944"/>
                    </a:lnTo>
                    <a:lnTo>
                      <a:pt x="3122" y="3942"/>
                    </a:lnTo>
                    <a:lnTo>
                      <a:pt x="3114" y="3938"/>
                    </a:lnTo>
                    <a:lnTo>
                      <a:pt x="3100" y="3930"/>
                    </a:lnTo>
                    <a:lnTo>
                      <a:pt x="3094" y="3926"/>
                    </a:lnTo>
                    <a:lnTo>
                      <a:pt x="3086" y="3928"/>
                    </a:lnTo>
                    <a:lnTo>
                      <a:pt x="3086" y="3928"/>
                    </a:lnTo>
                    <a:lnTo>
                      <a:pt x="3076" y="3932"/>
                    </a:lnTo>
                    <a:lnTo>
                      <a:pt x="3076" y="3936"/>
                    </a:lnTo>
                    <a:lnTo>
                      <a:pt x="3074" y="3938"/>
                    </a:lnTo>
                    <a:lnTo>
                      <a:pt x="3074" y="3946"/>
                    </a:lnTo>
                    <a:lnTo>
                      <a:pt x="3074" y="3952"/>
                    </a:lnTo>
                    <a:lnTo>
                      <a:pt x="3072" y="3958"/>
                    </a:lnTo>
                    <a:lnTo>
                      <a:pt x="3072" y="3958"/>
                    </a:lnTo>
                    <a:lnTo>
                      <a:pt x="3068" y="3966"/>
                    </a:lnTo>
                    <a:lnTo>
                      <a:pt x="3068" y="3972"/>
                    </a:lnTo>
                    <a:lnTo>
                      <a:pt x="3068" y="3986"/>
                    </a:lnTo>
                    <a:lnTo>
                      <a:pt x="3070" y="4000"/>
                    </a:lnTo>
                    <a:lnTo>
                      <a:pt x="3068" y="4010"/>
                    </a:lnTo>
                    <a:lnTo>
                      <a:pt x="3066" y="4018"/>
                    </a:lnTo>
                    <a:lnTo>
                      <a:pt x="3066" y="4018"/>
                    </a:lnTo>
                    <a:lnTo>
                      <a:pt x="3064" y="4026"/>
                    </a:lnTo>
                    <a:lnTo>
                      <a:pt x="3062" y="4032"/>
                    </a:lnTo>
                    <a:lnTo>
                      <a:pt x="3064" y="4038"/>
                    </a:lnTo>
                    <a:lnTo>
                      <a:pt x="3066" y="4040"/>
                    </a:lnTo>
                    <a:lnTo>
                      <a:pt x="3068" y="4046"/>
                    </a:lnTo>
                    <a:lnTo>
                      <a:pt x="3070" y="4050"/>
                    </a:lnTo>
                    <a:lnTo>
                      <a:pt x="3068" y="4054"/>
                    </a:lnTo>
                    <a:lnTo>
                      <a:pt x="3068" y="4054"/>
                    </a:lnTo>
                    <a:lnTo>
                      <a:pt x="3066" y="4058"/>
                    </a:lnTo>
                    <a:lnTo>
                      <a:pt x="3062" y="4060"/>
                    </a:lnTo>
                    <a:lnTo>
                      <a:pt x="3060" y="4056"/>
                    </a:lnTo>
                    <a:lnTo>
                      <a:pt x="3058" y="4054"/>
                    </a:lnTo>
                    <a:lnTo>
                      <a:pt x="3052" y="4044"/>
                    </a:lnTo>
                    <a:lnTo>
                      <a:pt x="3050" y="4042"/>
                    </a:lnTo>
                    <a:lnTo>
                      <a:pt x="3048" y="4040"/>
                    </a:lnTo>
                    <a:lnTo>
                      <a:pt x="3048" y="4040"/>
                    </a:lnTo>
                    <a:close/>
                    <a:moveTo>
                      <a:pt x="3012" y="4336"/>
                    </a:moveTo>
                    <a:lnTo>
                      <a:pt x="3012" y="4336"/>
                    </a:lnTo>
                    <a:lnTo>
                      <a:pt x="2996" y="4362"/>
                    </a:lnTo>
                    <a:lnTo>
                      <a:pt x="2978" y="4384"/>
                    </a:lnTo>
                    <a:lnTo>
                      <a:pt x="2978" y="4384"/>
                    </a:lnTo>
                    <a:lnTo>
                      <a:pt x="2960" y="4400"/>
                    </a:lnTo>
                    <a:lnTo>
                      <a:pt x="2950" y="4412"/>
                    </a:lnTo>
                    <a:lnTo>
                      <a:pt x="2948" y="4420"/>
                    </a:lnTo>
                    <a:lnTo>
                      <a:pt x="2944" y="4428"/>
                    </a:lnTo>
                    <a:lnTo>
                      <a:pt x="2944" y="4428"/>
                    </a:lnTo>
                    <a:lnTo>
                      <a:pt x="2944" y="4432"/>
                    </a:lnTo>
                    <a:lnTo>
                      <a:pt x="2946" y="4434"/>
                    </a:lnTo>
                    <a:lnTo>
                      <a:pt x="2946" y="4434"/>
                    </a:lnTo>
                    <a:lnTo>
                      <a:pt x="2950" y="4432"/>
                    </a:lnTo>
                    <a:lnTo>
                      <a:pt x="2954" y="4426"/>
                    </a:lnTo>
                    <a:lnTo>
                      <a:pt x="2960" y="4422"/>
                    </a:lnTo>
                    <a:lnTo>
                      <a:pt x="2960" y="4422"/>
                    </a:lnTo>
                    <a:lnTo>
                      <a:pt x="2968" y="4410"/>
                    </a:lnTo>
                    <a:lnTo>
                      <a:pt x="2994" y="4388"/>
                    </a:lnTo>
                    <a:lnTo>
                      <a:pt x="2994" y="4388"/>
                    </a:lnTo>
                    <a:lnTo>
                      <a:pt x="3002" y="4380"/>
                    </a:lnTo>
                    <a:lnTo>
                      <a:pt x="3006" y="4372"/>
                    </a:lnTo>
                    <a:lnTo>
                      <a:pt x="3008" y="4368"/>
                    </a:lnTo>
                    <a:lnTo>
                      <a:pt x="3008" y="4364"/>
                    </a:lnTo>
                    <a:lnTo>
                      <a:pt x="3010" y="4358"/>
                    </a:lnTo>
                    <a:lnTo>
                      <a:pt x="3012" y="4356"/>
                    </a:lnTo>
                    <a:lnTo>
                      <a:pt x="3016" y="4354"/>
                    </a:lnTo>
                    <a:lnTo>
                      <a:pt x="3016" y="4354"/>
                    </a:lnTo>
                    <a:lnTo>
                      <a:pt x="3022" y="4352"/>
                    </a:lnTo>
                    <a:lnTo>
                      <a:pt x="3024" y="4350"/>
                    </a:lnTo>
                    <a:lnTo>
                      <a:pt x="3028" y="4344"/>
                    </a:lnTo>
                    <a:lnTo>
                      <a:pt x="3030" y="4338"/>
                    </a:lnTo>
                    <a:lnTo>
                      <a:pt x="3030" y="4336"/>
                    </a:lnTo>
                    <a:lnTo>
                      <a:pt x="3034" y="4336"/>
                    </a:lnTo>
                    <a:lnTo>
                      <a:pt x="3034" y="4336"/>
                    </a:lnTo>
                    <a:lnTo>
                      <a:pt x="3038" y="4334"/>
                    </a:lnTo>
                    <a:lnTo>
                      <a:pt x="3042" y="4330"/>
                    </a:lnTo>
                    <a:lnTo>
                      <a:pt x="3044" y="4324"/>
                    </a:lnTo>
                    <a:lnTo>
                      <a:pt x="3042" y="4316"/>
                    </a:lnTo>
                    <a:lnTo>
                      <a:pt x="3042" y="4316"/>
                    </a:lnTo>
                    <a:lnTo>
                      <a:pt x="3040" y="4312"/>
                    </a:lnTo>
                    <a:lnTo>
                      <a:pt x="3040" y="4306"/>
                    </a:lnTo>
                    <a:lnTo>
                      <a:pt x="3040" y="4296"/>
                    </a:lnTo>
                    <a:lnTo>
                      <a:pt x="3040" y="4288"/>
                    </a:lnTo>
                    <a:lnTo>
                      <a:pt x="3038" y="4286"/>
                    </a:lnTo>
                    <a:lnTo>
                      <a:pt x="3036" y="4284"/>
                    </a:lnTo>
                    <a:lnTo>
                      <a:pt x="3036" y="4284"/>
                    </a:lnTo>
                    <a:lnTo>
                      <a:pt x="3034" y="4284"/>
                    </a:lnTo>
                    <a:lnTo>
                      <a:pt x="3032" y="4286"/>
                    </a:lnTo>
                    <a:lnTo>
                      <a:pt x="3032" y="4294"/>
                    </a:lnTo>
                    <a:lnTo>
                      <a:pt x="3030" y="4302"/>
                    </a:lnTo>
                    <a:lnTo>
                      <a:pt x="3028" y="4304"/>
                    </a:lnTo>
                    <a:lnTo>
                      <a:pt x="3026" y="4306"/>
                    </a:lnTo>
                    <a:lnTo>
                      <a:pt x="3026" y="4306"/>
                    </a:lnTo>
                    <a:lnTo>
                      <a:pt x="3024" y="4306"/>
                    </a:lnTo>
                    <a:lnTo>
                      <a:pt x="3024" y="4308"/>
                    </a:lnTo>
                    <a:lnTo>
                      <a:pt x="3026" y="4312"/>
                    </a:lnTo>
                    <a:lnTo>
                      <a:pt x="3028" y="4318"/>
                    </a:lnTo>
                    <a:lnTo>
                      <a:pt x="3028" y="4322"/>
                    </a:lnTo>
                    <a:lnTo>
                      <a:pt x="3026" y="4326"/>
                    </a:lnTo>
                    <a:lnTo>
                      <a:pt x="3026" y="4326"/>
                    </a:lnTo>
                    <a:lnTo>
                      <a:pt x="3022" y="4330"/>
                    </a:lnTo>
                    <a:lnTo>
                      <a:pt x="3020" y="4328"/>
                    </a:lnTo>
                    <a:lnTo>
                      <a:pt x="3018" y="4328"/>
                    </a:lnTo>
                    <a:lnTo>
                      <a:pt x="3012" y="4336"/>
                    </a:lnTo>
                    <a:lnTo>
                      <a:pt x="3012" y="4336"/>
                    </a:lnTo>
                    <a:close/>
                    <a:moveTo>
                      <a:pt x="3126" y="3596"/>
                    </a:moveTo>
                    <a:lnTo>
                      <a:pt x="3126" y="3596"/>
                    </a:lnTo>
                    <a:lnTo>
                      <a:pt x="3122" y="3592"/>
                    </a:lnTo>
                    <a:lnTo>
                      <a:pt x="3118" y="3590"/>
                    </a:lnTo>
                    <a:lnTo>
                      <a:pt x="3116" y="3590"/>
                    </a:lnTo>
                    <a:lnTo>
                      <a:pt x="3114" y="3590"/>
                    </a:lnTo>
                    <a:lnTo>
                      <a:pt x="3110" y="3594"/>
                    </a:lnTo>
                    <a:lnTo>
                      <a:pt x="3104" y="3598"/>
                    </a:lnTo>
                    <a:lnTo>
                      <a:pt x="3104" y="3598"/>
                    </a:lnTo>
                    <a:lnTo>
                      <a:pt x="3098" y="3600"/>
                    </a:lnTo>
                    <a:lnTo>
                      <a:pt x="3092" y="3608"/>
                    </a:lnTo>
                    <a:lnTo>
                      <a:pt x="3072" y="3644"/>
                    </a:lnTo>
                    <a:lnTo>
                      <a:pt x="3072" y="3644"/>
                    </a:lnTo>
                    <a:lnTo>
                      <a:pt x="3062" y="3662"/>
                    </a:lnTo>
                    <a:lnTo>
                      <a:pt x="3060" y="3678"/>
                    </a:lnTo>
                    <a:lnTo>
                      <a:pt x="3060" y="3694"/>
                    </a:lnTo>
                    <a:lnTo>
                      <a:pt x="3062" y="3712"/>
                    </a:lnTo>
                    <a:lnTo>
                      <a:pt x="3062" y="3712"/>
                    </a:lnTo>
                    <a:lnTo>
                      <a:pt x="3066" y="3726"/>
                    </a:lnTo>
                    <a:lnTo>
                      <a:pt x="3070" y="3730"/>
                    </a:lnTo>
                    <a:lnTo>
                      <a:pt x="3074" y="3734"/>
                    </a:lnTo>
                    <a:lnTo>
                      <a:pt x="3078" y="3742"/>
                    </a:lnTo>
                    <a:lnTo>
                      <a:pt x="3078" y="3742"/>
                    </a:lnTo>
                    <a:lnTo>
                      <a:pt x="3082" y="3752"/>
                    </a:lnTo>
                    <a:lnTo>
                      <a:pt x="3086" y="3762"/>
                    </a:lnTo>
                    <a:lnTo>
                      <a:pt x="3088" y="3764"/>
                    </a:lnTo>
                    <a:lnTo>
                      <a:pt x="3090" y="3762"/>
                    </a:lnTo>
                    <a:lnTo>
                      <a:pt x="3090" y="3756"/>
                    </a:lnTo>
                    <a:lnTo>
                      <a:pt x="3090" y="3748"/>
                    </a:lnTo>
                    <a:lnTo>
                      <a:pt x="3090" y="3748"/>
                    </a:lnTo>
                    <a:lnTo>
                      <a:pt x="3092" y="3738"/>
                    </a:lnTo>
                    <a:lnTo>
                      <a:pt x="3094" y="3730"/>
                    </a:lnTo>
                    <a:lnTo>
                      <a:pt x="3096" y="3726"/>
                    </a:lnTo>
                    <a:lnTo>
                      <a:pt x="3098" y="3722"/>
                    </a:lnTo>
                    <a:lnTo>
                      <a:pt x="3102" y="3718"/>
                    </a:lnTo>
                    <a:lnTo>
                      <a:pt x="3106" y="3712"/>
                    </a:lnTo>
                    <a:lnTo>
                      <a:pt x="3110" y="3702"/>
                    </a:lnTo>
                    <a:lnTo>
                      <a:pt x="3114" y="3690"/>
                    </a:lnTo>
                    <a:lnTo>
                      <a:pt x="3114" y="3690"/>
                    </a:lnTo>
                    <a:lnTo>
                      <a:pt x="3120" y="3662"/>
                    </a:lnTo>
                    <a:lnTo>
                      <a:pt x="3126" y="3644"/>
                    </a:lnTo>
                    <a:lnTo>
                      <a:pt x="3130" y="3632"/>
                    </a:lnTo>
                    <a:lnTo>
                      <a:pt x="3130" y="3628"/>
                    </a:lnTo>
                    <a:lnTo>
                      <a:pt x="3128" y="3622"/>
                    </a:lnTo>
                    <a:lnTo>
                      <a:pt x="3128" y="3622"/>
                    </a:lnTo>
                    <a:lnTo>
                      <a:pt x="3128" y="3618"/>
                    </a:lnTo>
                    <a:lnTo>
                      <a:pt x="3128" y="3614"/>
                    </a:lnTo>
                    <a:lnTo>
                      <a:pt x="3130" y="3610"/>
                    </a:lnTo>
                    <a:lnTo>
                      <a:pt x="3132" y="3608"/>
                    </a:lnTo>
                    <a:lnTo>
                      <a:pt x="3132" y="3604"/>
                    </a:lnTo>
                    <a:lnTo>
                      <a:pt x="3130" y="3600"/>
                    </a:lnTo>
                    <a:lnTo>
                      <a:pt x="3126" y="3596"/>
                    </a:lnTo>
                    <a:lnTo>
                      <a:pt x="3126" y="3596"/>
                    </a:lnTo>
                    <a:close/>
                    <a:moveTo>
                      <a:pt x="4186" y="2510"/>
                    </a:moveTo>
                    <a:lnTo>
                      <a:pt x="4186" y="2510"/>
                    </a:lnTo>
                    <a:lnTo>
                      <a:pt x="4182" y="2506"/>
                    </a:lnTo>
                    <a:lnTo>
                      <a:pt x="4182" y="2510"/>
                    </a:lnTo>
                    <a:lnTo>
                      <a:pt x="4180" y="2516"/>
                    </a:lnTo>
                    <a:lnTo>
                      <a:pt x="4180" y="2518"/>
                    </a:lnTo>
                    <a:lnTo>
                      <a:pt x="4176" y="2522"/>
                    </a:lnTo>
                    <a:lnTo>
                      <a:pt x="4176" y="2522"/>
                    </a:lnTo>
                    <a:lnTo>
                      <a:pt x="4166" y="2526"/>
                    </a:lnTo>
                    <a:lnTo>
                      <a:pt x="4156" y="2534"/>
                    </a:lnTo>
                    <a:lnTo>
                      <a:pt x="4148" y="2544"/>
                    </a:lnTo>
                    <a:lnTo>
                      <a:pt x="4140" y="2558"/>
                    </a:lnTo>
                    <a:lnTo>
                      <a:pt x="4140" y="2558"/>
                    </a:lnTo>
                    <a:lnTo>
                      <a:pt x="4140" y="2560"/>
                    </a:lnTo>
                    <a:lnTo>
                      <a:pt x="4140" y="2562"/>
                    </a:lnTo>
                    <a:lnTo>
                      <a:pt x="4142" y="2564"/>
                    </a:lnTo>
                    <a:lnTo>
                      <a:pt x="4144" y="2562"/>
                    </a:lnTo>
                    <a:lnTo>
                      <a:pt x="4152" y="2556"/>
                    </a:lnTo>
                    <a:lnTo>
                      <a:pt x="4162" y="2546"/>
                    </a:lnTo>
                    <a:lnTo>
                      <a:pt x="4162" y="2546"/>
                    </a:lnTo>
                    <a:lnTo>
                      <a:pt x="4170" y="2536"/>
                    </a:lnTo>
                    <a:lnTo>
                      <a:pt x="4176" y="2532"/>
                    </a:lnTo>
                    <a:lnTo>
                      <a:pt x="4182" y="2528"/>
                    </a:lnTo>
                    <a:lnTo>
                      <a:pt x="4192" y="2522"/>
                    </a:lnTo>
                    <a:lnTo>
                      <a:pt x="4192" y="2522"/>
                    </a:lnTo>
                    <a:lnTo>
                      <a:pt x="4196" y="2518"/>
                    </a:lnTo>
                    <a:lnTo>
                      <a:pt x="4202" y="2516"/>
                    </a:lnTo>
                    <a:lnTo>
                      <a:pt x="4212" y="2512"/>
                    </a:lnTo>
                    <a:lnTo>
                      <a:pt x="4216" y="2510"/>
                    </a:lnTo>
                    <a:lnTo>
                      <a:pt x="4218" y="2508"/>
                    </a:lnTo>
                    <a:lnTo>
                      <a:pt x="4218" y="2506"/>
                    </a:lnTo>
                    <a:lnTo>
                      <a:pt x="4216" y="2502"/>
                    </a:lnTo>
                    <a:lnTo>
                      <a:pt x="4216" y="2502"/>
                    </a:lnTo>
                    <a:lnTo>
                      <a:pt x="4214" y="2500"/>
                    </a:lnTo>
                    <a:lnTo>
                      <a:pt x="4210" y="2500"/>
                    </a:lnTo>
                    <a:lnTo>
                      <a:pt x="4204" y="2504"/>
                    </a:lnTo>
                    <a:lnTo>
                      <a:pt x="4194" y="2510"/>
                    </a:lnTo>
                    <a:lnTo>
                      <a:pt x="4190" y="2510"/>
                    </a:lnTo>
                    <a:lnTo>
                      <a:pt x="4186" y="2510"/>
                    </a:lnTo>
                    <a:lnTo>
                      <a:pt x="4186" y="2510"/>
                    </a:lnTo>
                    <a:close/>
                    <a:moveTo>
                      <a:pt x="3264" y="4226"/>
                    </a:moveTo>
                    <a:lnTo>
                      <a:pt x="3264" y="4226"/>
                    </a:lnTo>
                    <a:lnTo>
                      <a:pt x="3258" y="4226"/>
                    </a:lnTo>
                    <a:lnTo>
                      <a:pt x="3250" y="4226"/>
                    </a:lnTo>
                    <a:lnTo>
                      <a:pt x="3242" y="4228"/>
                    </a:lnTo>
                    <a:lnTo>
                      <a:pt x="3234" y="4226"/>
                    </a:lnTo>
                    <a:lnTo>
                      <a:pt x="3234" y="4226"/>
                    </a:lnTo>
                    <a:lnTo>
                      <a:pt x="3230" y="4226"/>
                    </a:lnTo>
                    <a:lnTo>
                      <a:pt x="3228" y="4228"/>
                    </a:lnTo>
                    <a:lnTo>
                      <a:pt x="3228" y="4234"/>
                    </a:lnTo>
                    <a:lnTo>
                      <a:pt x="3234" y="4244"/>
                    </a:lnTo>
                    <a:lnTo>
                      <a:pt x="3242" y="4252"/>
                    </a:lnTo>
                    <a:lnTo>
                      <a:pt x="3242" y="4252"/>
                    </a:lnTo>
                    <a:lnTo>
                      <a:pt x="3246" y="4258"/>
                    </a:lnTo>
                    <a:lnTo>
                      <a:pt x="3248" y="4260"/>
                    </a:lnTo>
                    <a:lnTo>
                      <a:pt x="3250" y="4262"/>
                    </a:lnTo>
                    <a:lnTo>
                      <a:pt x="3254" y="4264"/>
                    </a:lnTo>
                    <a:lnTo>
                      <a:pt x="3254" y="4264"/>
                    </a:lnTo>
                    <a:lnTo>
                      <a:pt x="3258" y="4266"/>
                    </a:lnTo>
                    <a:lnTo>
                      <a:pt x="3258" y="4268"/>
                    </a:lnTo>
                    <a:lnTo>
                      <a:pt x="3256" y="4272"/>
                    </a:lnTo>
                    <a:lnTo>
                      <a:pt x="3254" y="4276"/>
                    </a:lnTo>
                    <a:lnTo>
                      <a:pt x="3254" y="4276"/>
                    </a:lnTo>
                    <a:lnTo>
                      <a:pt x="3252" y="4276"/>
                    </a:lnTo>
                    <a:lnTo>
                      <a:pt x="3252" y="4278"/>
                    </a:lnTo>
                    <a:lnTo>
                      <a:pt x="3256" y="4282"/>
                    </a:lnTo>
                    <a:lnTo>
                      <a:pt x="3260" y="4288"/>
                    </a:lnTo>
                    <a:lnTo>
                      <a:pt x="3264" y="4296"/>
                    </a:lnTo>
                    <a:lnTo>
                      <a:pt x="3264" y="4296"/>
                    </a:lnTo>
                    <a:lnTo>
                      <a:pt x="3266" y="4298"/>
                    </a:lnTo>
                    <a:lnTo>
                      <a:pt x="3268" y="4300"/>
                    </a:lnTo>
                    <a:lnTo>
                      <a:pt x="3272" y="4298"/>
                    </a:lnTo>
                    <a:lnTo>
                      <a:pt x="3276" y="4298"/>
                    </a:lnTo>
                    <a:lnTo>
                      <a:pt x="3280" y="4298"/>
                    </a:lnTo>
                    <a:lnTo>
                      <a:pt x="3282" y="4300"/>
                    </a:lnTo>
                    <a:lnTo>
                      <a:pt x="3282" y="4300"/>
                    </a:lnTo>
                    <a:lnTo>
                      <a:pt x="3286" y="4302"/>
                    </a:lnTo>
                    <a:lnTo>
                      <a:pt x="3288" y="4300"/>
                    </a:lnTo>
                    <a:lnTo>
                      <a:pt x="3286" y="4296"/>
                    </a:lnTo>
                    <a:lnTo>
                      <a:pt x="3282" y="4292"/>
                    </a:lnTo>
                    <a:lnTo>
                      <a:pt x="3282" y="4292"/>
                    </a:lnTo>
                    <a:lnTo>
                      <a:pt x="3282" y="4290"/>
                    </a:lnTo>
                    <a:lnTo>
                      <a:pt x="3282" y="4288"/>
                    </a:lnTo>
                    <a:lnTo>
                      <a:pt x="3282" y="4284"/>
                    </a:lnTo>
                    <a:lnTo>
                      <a:pt x="3278" y="4280"/>
                    </a:lnTo>
                    <a:lnTo>
                      <a:pt x="3278" y="4280"/>
                    </a:lnTo>
                    <a:lnTo>
                      <a:pt x="3276" y="4276"/>
                    </a:lnTo>
                    <a:lnTo>
                      <a:pt x="3276" y="4272"/>
                    </a:lnTo>
                    <a:lnTo>
                      <a:pt x="3276" y="4260"/>
                    </a:lnTo>
                    <a:lnTo>
                      <a:pt x="3276" y="4248"/>
                    </a:lnTo>
                    <a:lnTo>
                      <a:pt x="3276" y="4242"/>
                    </a:lnTo>
                    <a:lnTo>
                      <a:pt x="3274" y="4240"/>
                    </a:lnTo>
                    <a:lnTo>
                      <a:pt x="3274" y="4240"/>
                    </a:lnTo>
                    <a:lnTo>
                      <a:pt x="3270" y="4236"/>
                    </a:lnTo>
                    <a:lnTo>
                      <a:pt x="3270" y="4234"/>
                    </a:lnTo>
                    <a:lnTo>
                      <a:pt x="3268" y="4230"/>
                    </a:lnTo>
                    <a:lnTo>
                      <a:pt x="3264" y="4226"/>
                    </a:lnTo>
                    <a:lnTo>
                      <a:pt x="3264" y="4226"/>
                    </a:lnTo>
                    <a:close/>
                    <a:moveTo>
                      <a:pt x="2906" y="4970"/>
                    </a:moveTo>
                    <a:lnTo>
                      <a:pt x="2906" y="4970"/>
                    </a:lnTo>
                    <a:lnTo>
                      <a:pt x="2908" y="4964"/>
                    </a:lnTo>
                    <a:lnTo>
                      <a:pt x="2910" y="4962"/>
                    </a:lnTo>
                    <a:lnTo>
                      <a:pt x="2914" y="4960"/>
                    </a:lnTo>
                    <a:lnTo>
                      <a:pt x="2918" y="4958"/>
                    </a:lnTo>
                    <a:lnTo>
                      <a:pt x="2918" y="4956"/>
                    </a:lnTo>
                    <a:lnTo>
                      <a:pt x="2918" y="4950"/>
                    </a:lnTo>
                    <a:lnTo>
                      <a:pt x="2916" y="4942"/>
                    </a:lnTo>
                    <a:lnTo>
                      <a:pt x="2916" y="4942"/>
                    </a:lnTo>
                    <a:lnTo>
                      <a:pt x="2914" y="4932"/>
                    </a:lnTo>
                    <a:lnTo>
                      <a:pt x="2914" y="4924"/>
                    </a:lnTo>
                    <a:lnTo>
                      <a:pt x="2916" y="4918"/>
                    </a:lnTo>
                    <a:lnTo>
                      <a:pt x="2920" y="4912"/>
                    </a:lnTo>
                    <a:lnTo>
                      <a:pt x="2930" y="4902"/>
                    </a:lnTo>
                    <a:lnTo>
                      <a:pt x="2934" y="4898"/>
                    </a:lnTo>
                    <a:lnTo>
                      <a:pt x="2938" y="4892"/>
                    </a:lnTo>
                    <a:lnTo>
                      <a:pt x="2938" y="4892"/>
                    </a:lnTo>
                    <a:lnTo>
                      <a:pt x="2940" y="4888"/>
                    </a:lnTo>
                    <a:lnTo>
                      <a:pt x="2944" y="4886"/>
                    </a:lnTo>
                    <a:lnTo>
                      <a:pt x="2952" y="4882"/>
                    </a:lnTo>
                    <a:lnTo>
                      <a:pt x="2954" y="4882"/>
                    </a:lnTo>
                    <a:lnTo>
                      <a:pt x="2958" y="4878"/>
                    </a:lnTo>
                    <a:lnTo>
                      <a:pt x="2958" y="4872"/>
                    </a:lnTo>
                    <a:lnTo>
                      <a:pt x="2958" y="4862"/>
                    </a:lnTo>
                    <a:lnTo>
                      <a:pt x="2958" y="4862"/>
                    </a:lnTo>
                    <a:lnTo>
                      <a:pt x="2956" y="4840"/>
                    </a:lnTo>
                    <a:lnTo>
                      <a:pt x="2958" y="4822"/>
                    </a:lnTo>
                    <a:lnTo>
                      <a:pt x="2962" y="4808"/>
                    </a:lnTo>
                    <a:lnTo>
                      <a:pt x="2964" y="4804"/>
                    </a:lnTo>
                    <a:lnTo>
                      <a:pt x="2968" y="4800"/>
                    </a:lnTo>
                    <a:lnTo>
                      <a:pt x="2968" y="4800"/>
                    </a:lnTo>
                    <a:lnTo>
                      <a:pt x="2972" y="4796"/>
                    </a:lnTo>
                    <a:lnTo>
                      <a:pt x="2974" y="4792"/>
                    </a:lnTo>
                    <a:lnTo>
                      <a:pt x="2978" y="4792"/>
                    </a:lnTo>
                    <a:lnTo>
                      <a:pt x="2982" y="4796"/>
                    </a:lnTo>
                    <a:lnTo>
                      <a:pt x="2982" y="4796"/>
                    </a:lnTo>
                    <a:lnTo>
                      <a:pt x="2988" y="4800"/>
                    </a:lnTo>
                    <a:lnTo>
                      <a:pt x="2992" y="4802"/>
                    </a:lnTo>
                    <a:lnTo>
                      <a:pt x="3002" y="4802"/>
                    </a:lnTo>
                    <a:lnTo>
                      <a:pt x="3010" y="4800"/>
                    </a:lnTo>
                    <a:lnTo>
                      <a:pt x="3012" y="4798"/>
                    </a:lnTo>
                    <a:lnTo>
                      <a:pt x="3014" y="4796"/>
                    </a:lnTo>
                    <a:lnTo>
                      <a:pt x="3014" y="4796"/>
                    </a:lnTo>
                    <a:lnTo>
                      <a:pt x="3012" y="4792"/>
                    </a:lnTo>
                    <a:lnTo>
                      <a:pt x="3006" y="4786"/>
                    </a:lnTo>
                    <a:lnTo>
                      <a:pt x="2988" y="4770"/>
                    </a:lnTo>
                    <a:lnTo>
                      <a:pt x="2980" y="4760"/>
                    </a:lnTo>
                    <a:lnTo>
                      <a:pt x="2972" y="4752"/>
                    </a:lnTo>
                    <a:lnTo>
                      <a:pt x="2970" y="4744"/>
                    </a:lnTo>
                    <a:lnTo>
                      <a:pt x="2970" y="4742"/>
                    </a:lnTo>
                    <a:lnTo>
                      <a:pt x="2970" y="4738"/>
                    </a:lnTo>
                    <a:lnTo>
                      <a:pt x="2970" y="4738"/>
                    </a:lnTo>
                    <a:lnTo>
                      <a:pt x="2974" y="4734"/>
                    </a:lnTo>
                    <a:lnTo>
                      <a:pt x="2976" y="4730"/>
                    </a:lnTo>
                    <a:lnTo>
                      <a:pt x="2974" y="4726"/>
                    </a:lnTo>
                    <a:lnTo>
                      <a:pt x="2972" y="4722"/>
                    </a:lnTo>
                    <a:lnTo>
                      <a:pt x="2966" y="4714"/>
                    </a:lnTo>
                    <a:lnTo>
                      <a:pt x="2964" y="4708"/>
                    </a:lnTo>
                    <a:lnTo>
                      <a:pt x="2962" y="4702"/>
                    </a:lnTo>
                    <a:lnTo>
                      <a:pt x="2962" y="4702"/>
                    </a:lnTo>
                    <a:lnTo>
                      <a:pt x="2960" y="4696"/>
                    </a:lnTo>
                    <a:lnTo>
                      <a:pt x="2958" y="4692"/>
                    </a:lnTo>
                    <a:lnTo>
                      <a:pt x="2954" y="4690"/>
                    </a:lnTo>
                    <a:lnTo>
                      <a:pt x="2950" y="4686"/>
                    </a:lnTo>
                    <a:lnTo>
                      <a:pt x="2948" y="4684"/>
                    </a:lnTo>
                    <a:lnTo>
                      <a:pt x="2950" y="4678"/>
                    </a:lnTo>
                    <a:lnTo>
                      <a:pt x="2950" y="4678"/>
                    </a:lnTo>
                    <a:lnTo>
                      <a:pt x="2950" y="4672"/>
                    </a:lnTo>
                    <a:lnTo>
                      <a:pt x="2952" y="4668"/>
                    </a:lnTo>
                    <a:lnTo>
                      <a:pt x="2956" y="4666"/>
                    </a:lnTo>
                    <a:lnTo>
                      <a:pt x="2958" y="4666"/>
                    </a:lnTo>
                    <a:lnTo>
                      <a:pt x="2964" y="4666"/>
                    </a:lnTo>
                    <a:lnTo>
                      <a:pt x="2966" y="4666"/>
                    </a:lnTo>
                    <a:lnTo>
                      <a:pt x="2966" y="4666"/>
                    </a:lnTo>
                    <a:lnTo>
                      <a:pt x="2966" y="4666"/>
                    </a:lnTo>
                    <a:lnTo>
                      <a:pt x="2966" y="4662"/>
                    </a:lnTo>
                    <a:lnTo>
                      <a:pt x="2964" y="4658"/>
                    </a:lnTo>
                    <a:lnTo>
                      <a:pt x="2956" y="4648"/>
                    </a:lnTo>
                    <a:lnTo>
                      <a:pt x="2956" y="4648"/>
                    </a:lnTo>
                    <a:lnTo>
                      <a:pt x="2954" y="4644"/>
                    </a:lnTo>
                    <a:lnTo>
                      <a:pt x="2954" y="4642"/>
                    </a:lnTo>
                    <a:lnTo>
                      <a:pt x="2954" y="4640"/>
                    </a:lnTo>
                    <a:lnTo>
                      <a:pt x="2956" y="4638"/>
                    </a:lnTo>
                    <a:lnTo>
                      <a:pt x="2956" y="4638"/>
                    </a:lnTo>
                    <a:lnTo>
                      <a:pt x="2958" y="4638"/>
                    </a:lnTo>
                    <a:lnTo>
                      <a:pt x="2960" y="4636"/>
                    </a:lnTo>
                    <a:lnTo>
                      <a:pt x="2958" y="4630"/>
                    </a:lnTo>
                    <a:lnTo>
                      <a:pt x="2958" y="4628"/>
                    </a:lnTo>
                    <a:lnTo>
                      <a:pt x="2966" y="4632"/>
                    </a:lnTo>
                    <a:lnTo>
                      <a:pt x="2966" y="4632"/>
                    </a:lnTo>
                    <a:lnTo>
                      <a:pt x="2972" y="4636"/>
                    </a:lnTo>
                    <a:lnTo>
                      <a:pt x="2976" y="4636"/>
                    </a:lnTo>
                    <a:lnTo>
                      <a:pt x="2980" y="4632"/>
                    </a:lnTo>
                    <a:lnTo>
                      <a:pt x="2986" y="4632"/>
                    </a:lnTo>
                    <a:lnTo>
                      <a:pt x="2986" y="4632"/>
                    </a:lnTo>
                    <a:lnTo>
                      <a:pt x="2992" y="4630"/>
                    </a:lnTo>
                    <a:lnTo>
                      <a:pt x="2998" y="4628"/>
                    </a:lnTo>
                    <a:lnTo>
                      <a:pt x="2998" y="4626"/>
                    </a:lnTo>
                    <a:lnTo>
                      <a:pt x="2998" y="4624"/>
                    </a:lnTo>
                    <a:lnTo>
                      <a:pt x="2990" y="4618"/>
                    </a:lnTo>
                    <a:lnTo>
                      <a:pt x="2990" y="4618"/>
                    </a:lnTo>
                    <a:lnTo>
                      <a:pt x="2982" y="4610"/>
                    </a:lnTo>
                    <a:lnTo>
                      <a:pt x="2980" y="4606"/>
                    </a:lnTo>
                    <a:lnTo>
                      <a:pt x="2982" y="4602"/>
                    </a:lnTo>
                    <a:lnTo>
                      <a:pt x="2986" y="4598"/>
                    </a:lnTo>
                    <a:lnTo>
                      <a:pt x="2986" y="4598"/>
                    </a:lnTo>
                    <a:lnTo>
                      <a:pt x="2988" y="4598"/>
                    </a:lnTo>
                    <a:lnTo>
                      <a:pt x="2990" y="4598"/>
                    </a:lnTo>
                    <a:lnTo>
                      <a:pt x="2994" y="4600"/>
                    </a:lnTo>
                    <a:lnTo>
                      <a:pt x="3002" y="4600"/>
                    </a:lnTo>
                    <a:lnTo>
                      <a:pt x="3002" y="4600"/>
                    </a:lnTo>
                    <a:lnTo>
                      <a:pt x="3014" y="4596"/>
                    </a:lnTo>
                    <a:lnTo>
                      <a:pt x="3020" y="4592"/>
                    </a:lnTo>
                    <a:lnTo>
                      <a:pt x="3024" y="4586"/>
                    </a:lnTo>
                    <a:lnTo>
                      <a:pt x="3024" y="4580"/>
                    </a:lnTo>
                    <a:lnTo>
                      <a:pt x="3024" y="4580"/>
                    </a:lnTo>
                    <a:lnTo>
                      <a:pt x="3022" y="4578"/>
                    </a:lnTo>
                    <a:lnTo>
                      <a:pt x="3022" y="4576"/>
                    </a:lnTo>
                    <a:lnTo>
                      <a:pt x="3018" y="4576"/>
                    </a:lnTo>
                    <a:lnTo>
                      <a:pt x="3014" y="4578"/>
                    </a:lnTo>
                    <a:lnTo>
                      <a:pt x="3012" y="4578"/>
                    </a:lnTo>
                    <a:lnTo>
                      <a:pt x="3010" y="4576"/>
                    </a:lnTo>
                    <a:lnTo>
                      <a:pt x="3010" y="4576"/>
                    </a:lnTo>
                    <a:lnTo>
                      <a:pt x="3006" y="4572"/>
                    </a:lnTo>
                    <a:lnTo>
                      <a:pt x="3004" y="4572"/>
                    </a:lnTo>
                    <a:lnTo>
                      <a:pt x="3000" y="4570"/>
                    </a:lnTo>
                    <a:lnTo>
                      <a:pt x="2998" y="4566"/>
                    </a:lnTo>
                    <a:lnTo>
                      <a:pt x="2998" y="4566"/>
                    </a:lnTo>
                    <a:lnTo>
                      <a:pt x="2994" y="4562"/>
                    </a:lnTo>
                    <a:lnTo>
                      <a:pt x="2988" y="4560"/>
                    </a:lnTo>
                    <a:lnTo>
                      <a:pt x="2984" y="4560"/>
                    </a:lnTo>
                    <a:lnTo>
                      <a:pt x="2982" y="4560"/>
                    </a:lnTo>
                    <a:lnTo>
                      <a:pt x="2982" y="4560"/>
                    </a:lnTo>
                    <a:lnTo>
                      <a:pt x="2976" y="4564"/>
                    </a:lnTo>
                    <a:lnTo>
                      <a:pt x="2974" y="4564"/>
                    </a:lnTo>
                    <a:lnTo>
                      <a:pt x="2972" y="4562"/>
                    </a:lnTo>
                    <a:lnTo>
                      <a:pt x="2972" y="4562"/>
                    </a:lnTo>
                    <a:lnTo>
                      <a:pt x="2972" y="4560"/>
                    </a:lnTo>
                    <a:lnTo>
                      <a:pt x="2974" y="4558"/>
                    </a:lnTo>
                    <a:lnTo>
                      <a:pt x="2976" y="4556"/>
                    </a:lnTo>
                    <a:lnTo>
                      <a:pt x="2976" y="4550"/>
                    </a:lnTo>
                    <a:lnTo>
                      <a:pt x="2976" y="4550"/>
                    </a:lnTo>
                    <a:lnTo>
                      <a:pt x="2974" y="4548"/>
                    </a:lnTo>
                    <a:lnTo>
                      <a:pt x="2972" y="4548"/>
                    </a:lnTo>
                    <a:lnTo>
                      <a:pt x="2968" y="4548"/>
                    </a:lnTo>
                    <a:lnTo>
                      <a:pt x="2964" y="4550"/>
                    </a:lnTo>
                    <a:lnTo>
                      <a:pt x="2962" y="4550"/>
                    </a:lnTo>
                    <a:lnTo>
                      <a:pt x="2960" y="4548"/>
                    </a:lnTo>
                    <a:lnTo>
                      <a:pt x="2960" y="4548"/>
                    </a:lnTo>
                    <a:lnTo>
                      <a:pt x="2960" y="4542"/>
                    </a:lnTo>
                    <a:lnTo>
                      <a:pt x="2960" y="4536"/>
                    </a:lnTo>
                    <a:lnTo>
                      <a:pt x="2962" y="4530"/>
                    </a:lnTo>
                    <a:lnTo>
                      <a:pt x="2958" y="4522"/>
                    </a:lnTo>
                    <a:lnTo>
                      <a:pt x="2958" y="4522"/>
                    </a:lnTo>
                    <a:lnTo>
                      <a:pt x="2954" y="4518"/>
                    </a:lnTo>
                    <a:lnTo>
                      <a:pt x="2952" y="4520"/>
                    </a:lnTo>
                    <a:lnTo>
                      <a:pt x="2952" y="4520"/>
                    </a:lnTo>
                    <a:lnTo>
                      <a:pt x="2948" y="4520"/>
                    </a:lnTo>
                    <a:lnTo>
                      <a:pt x="2946" y="4518"/>
                    </a:lnTo>
                    <a:lnTo>
                      <a:pt x="2944" y="4510"/>
                    </a:lnTo>
                    <a:lnTo>
                      <a:pt x="2942" y="4504"/>
                    </a:lnTo>
                    <a:lnTo>
                      <a:pt x="2940" y="4502"/>
                    </a:lnTo>
                    <a:lnTo>
                      <a:pt x="2938" y="4502"/>
                    </a:lnTo>
                    <a:lnTo>
                      <a:pt x="2938" y="4502"/>
                    </a:lnTo>
                    <a:lnTo>
                      <a:pt x="2936" y="4504"/>
                    </a:lnTo>
                    <a:lnTo>
                      <a:pt x="2934" y="4508"/>
                    </a:lnTo>
                    <a:lnTo>
                      <a:pt x="2932" y="4514"/>
                    </a:lnTo>
                    <a:lnTo>
                      <a:pt x="2928" y="4520"/>
                    </a:lnTo>
                    <a:lnTo>
                      <a:pt x="2928" y="4520"/>
                    </a:lnTo>
                    <a:lnTo>
                      <a:pt x="2926" y="4522"/>
                    </a:lnTo>
                    <a:lnTo>
                      <a:pt x="2924" y="4520"/>
                    </a:lnTo>
                    <a:lnTo>
                      <a:pt x="2926" y="4512"/>
                    </a:lnTo>
                    <a:lnTo>
                      <a:pt x="2928" y="4504"/>
                    </a:lnTo>
                    <a:lnTo>
                      <a:pt x="2926" y="4500"/>
                    </a:lnTo>
                    <a:lnTo>
                      <a:pt x="2924" y="4500"/>
                    </a:lnTo>
                    <a:lnTo>
                      <a:pt x="2924" y="4500"/>
                    </a:lnTo>
                    <a:lnTo>
                      <a:pt x="2920" y="4502"/>
                    </a:lnTo>
                    <a:lnTo>
                      <a:pt x="2918" y="4506"/>
                    </a:lnTo>
                    <a:lnTo>
                      <a:pt x="2916" y="4514"/>
                    </a:lnTo>
                    <a:lnTo>
                      <a:pt x="2910" y="4528"/>
                    </a:lnTo>
                    <a:lnTo>
                      <a:pt x="2910" y="4528"/>
                    </a:lnTo>
                    <a:lnTo>
                      <a:pt x="2904" y="4538"/>
                    </a:lnTo>
                    <a:lnTo>
                      <a:pt x="2900" y="4542"/>
                    </a:lnTo>
                    <a:lnTo>
                      <a:pt x="2896" y="4544"/>
                    </a:lnTo>
                    <a:lnTo>
                      <a:pt x="2896" y="4548"/>
                    </a:lnTo>
                    <a:lnTo>
                      <a:pt x="2896" y="4548"/>
                    </a:lnTo>
                    <a:lnTo>
                      <a:pt x="2894" y="4556"/>
                    </a:lnTo>
                    <a:lnTo>
                      <a:pt x="2892" y="4558"/>
                    </a:lnTo>
                    <a:lnTo>
                      <a:pt x="2890" y="4560"/>
                    </a:lnTo>
                    <a:lnTo>
                      <a:pt x="2890" y="4562"/>
                    </a:lnTo>
                    <a:lnTo>
                      <a:pt x="2890" y="4562"/>
                    </a:lnTo>
                    <a:lnTo>
                      <a:pt x="2888" y="4570"/>
                    </a:lnTo>
                    <a:lnTo>
                      <a:pt x="2884" y="4572"/>
                    </a:lnTo>
                    <a:lnTo>
                      <a:pt x="2882" y="4574"/>
                    </a:lnTo>
                    <a:lnTo>
                      <a:pt x="2880" y="4572"/>
                    </a:lnTo>
                    <a:lnTo>
                      <a:pt x="2880" y="4572"/>
                    </a:lnTo>
                    <a:lnTo>
                      <a:pt x="2876" y="4570"/>
                    </a:lnTo>
                    <a:lnTo>
                      <a:pt x="2874" y="4572"/>
                    </a:lnTo>
                    <a:lnTo>
                      <a:pt x="2868" y="4580"/>
                    </a:lnTo>
                    <a:lnTo>
                      <a:pt x="2868" y="4580"/>
                    </a:lnTo>
                    <a:lnTo>
                      <a:pt x="2868" y="4582"/>
                    </a:lnTo>
                    <a:lnTo>
                      <a:pt x="2868" y="4584"/>
                    </a:lnTo>
                    <a:lnTo>
                      <a:pt x="2872" y="4586"/>
                    </a:lnTo>
                    <a:lnTo>
                      <a:pt x="2876" y="4592"/>
                    </a:lnTo>
                    <a:lnTo>
                      <a:pt x="2874" y="4594"/>
                    </a:lnTo>
                    <a:lnTo>
                      <a:pt x="2872" y="4598"/>
                    </a:lnTo>
                    <a:lnTo>
                      <a:pt x="2872" y="4598"/>
                    </a:lnTo>
                    <a:lnTo>
                      <a:pt x="2868" y="4602"/>
                    </a:lnTo>
                    <a:lnTo>
                      <a:pt x="2864" y="4600"/>
                    </a:lnTo>
                    <a:lnTo>
                      <a:pt x="2862" y="4600"/>
                    </a:lnTo>
                    <a:lnTo>
                      <a:pt x="2858" y="4604"/>
                    </a:lnTo>
                    <a:lnTo>
                      <a:pt x="2854" y="4608"/>
                    </a:lnTo>
                    <a:lnTo>
                      <a:pt x="2854" y="4604"/>
                    </a:lnTo>
                    <a:lnTo>
                      <a:pt x="2854" y="4604"/>
                    </a:lnTo>
                    <a:lnTo>
                      <a:pt x="2856" y="4598"/>
                    </a:lnTo>
                    <a:lnTo>
                      <a:pt x="2856" y="4596"/>
                    </a:lnTo>
                    <a:lnTo>
                      <a:pt x="2854" y="4596"/>
                    </a:lnTo>
                    <a:lnTo>
                      <a:pt x="2850" y="4598"/>
                    </a:lnTo>
                    <a:lnTo>
                      <a:pt x="2850" y="4598"/>
                    </a:lnTo>
                    <a:lnTo>
                      <a:pt x="2844" y="4602"/>
                    </a:lnTo>
                    <a:lnTo>
                      <a:pt x="2836" y="4610"/>
                    </a:lnTo>
                    <a:lnTo>
                      <a:pt x="2828" y="4616"/>
                    </a:lnTo>
                    <a:lnTo>
                      <a:pt x="2822" y="4618"/>
                    </a:lnTo>
                    <a:lnTo>
                      <a:pt x="2816" y="4618"/>
                    </a:lnTo>
                    <a:lnTo>
                      <a:pt x="2816" y="4618"/>
                    </a:lnTo>
                    <a:lnTo>
                      <a:pt x="2814" y="4618"/>
                    </a:lnTo>
                    <a:lnTo>
                      <a:pt x="2812" y="4618"/>
                    </a:lnTo>
                    <a:lnTo>
                      <a:pt x="2812" y="4630"/>
                    </a:lnTo>
                    <a:lnTo>
                      <a:pt x="2812" y="4630"/>
                    </a:lnTo>
                    <a:lnTo>
                      <a:pt x="2810" y="4634"/>
                    </a:lnTo>
                    <a:lnTo>
                      <a:pt x="2806" y="4640"/>
                    </a:lnTo>
                    <a:lnTo>
                      <a:pt x="2798" y="4652"/>
                    </a:lnTo>
                    <a:lnTo>
                      <a:pt x="2786" y="4666"/>
                    </a:lnTo>
                    <a:lnTo>
                      <a:pt x="2780" y="4674"/>
                    </a:lnTo>
                    <a:lnTo>
                      <a:pt x="2778" y="4684"/>
                    </a:lnTo>
                    <a:lnTo>
                      <a:pt x="2778" y="4684"/>
                    </a:lnTo>
                    <a:lnTo>
                      <a:pt x="2774" y="4688"/>
                    </a:lnTo>
                    <a:lnTo>
                      <a:pt x="2766" y="4692"/>
                    </a:lnTo>
                    <a:lnTo>
                      <a:pt x="2746" y="4696"/>
                    </a:lnTo>
                    <a:lnTo>
                      <a:pt x="2724" y="4700"/>
                    </a:lnTo>
                    <a:lnTo>
                      <a:pt x="2716" y="4704"/>
                    </a:lnTo>
                    <a:lnTo>
                      <a:pt x="2712" y="4706"/>
                    </a:lnTo>
                    <a:lnTo>
                      <a:pt x="2712" y="4706"/>
                    </a:lnTo>
                    <a:lnTo>
                      <a:pt x="2710" y="4710"/>
                    </a:lnTo>
                    <a:lnTo>
                      <a:pt x="2708" y="4716"/>
                    </a:lnTo>
                    <a:lnTo>
                      <a:pt x="2710" y="4724"/>
                    </a:lnTo>
                    <a:lnTo>
                      <a:pt x="2708" y="4728"/>
                    </a:lnTo>
                    <a:lnTo>
                      <a:pt x="2708" y="4728"/>
                    </a:lnTo>
                    <a:lnTo>
                      <a:pt x="2704" y="4726"/>
                    </a:lnTo>
                    <a:lnTo>
                      <a:pt x="2704" y="4726"/>
                    </a:lnTo>
                    <a:lnTo>
                      <a:pt x="2702" y="4724"/>
                    </a:lnTo>
                    <a:lnTo>
                      <a:pt x="2700" y="4724"/>
                    </a:lnTo>
                    <a:lnTo>
                      <a:pt x="2698" y="4728"/>
                    </a:lnTo>
                    <a:lnTo>
                      <a:pt x="2698" y="4734"/>
                    </a:lnTo>
                    <a:lnTo>
                      <a:pt x="2700" y="4738"/>
                    </a:lnTo>
                    <a:lnTo>
                      <a:pt x="2700" y="4738"/>
                    </a:lnTo>
                    <a:lnTo>
                      <a:pt x="2702" y="4738"/>
                    </a:lnTo>
                    <a:lnTo>
                      <a:pt x="2702" y="4740"/>
                    </a:lnTo>
                    <a:lnTo>
                      <a:pt x="2700" y="4742"/>
                    </a:lnTo>
                    <a:lnTo>
                      <a:pt x="2698" y="4750"/>
                    </a:lnTo>
                    <a:lnTo>
                      <a:pt x="2698" y="4750"/>
                    </a:lnTo>
                    <a:lnTo>
                      <a:pt x="2696" y="4756"/>
                    </a:lnTo>
                    <a:lnTo>
                      <a:pt x="2692" y="4760"/>
                    </a:lnTo>
                    <a:lnTo>
                      <a:pt x="2692" y="4764"/>
                    </a:lnTo>
                    <a:lnTo>
                      <a:pt x="2696" y="4768"/>
                    </a:lnTo>
                    <a:lnTo>
                      <a:pt x="2696" y="4768"/>
                    </a:lnTo>
                    <a:lnTo>
                      <a:pt x="2698" y="4772"/>
                    </a:lnTo>
                    <a:lnTo>
                      <a:pt x="2698" y="4774"/>
                    </a:lnTo>
                    <a:lnTo>
                      <a:pt x="2690" y="4768"/>
                    </a:lnTo>
                    <a:lnTo>
                      <a:pt x="2690" y="4768"/>
                    </a:lnTo>
                    <a:lnTo>
                      <a:pt x="2684" y="4766"/>
                    </a:lnTo>
                    <a:lnTo>
                      <a:pt x="2678" y="4766"/>
                    </a:lnTo>
                    <a:lnTo>
                      <a:pt x="2672" y="4764"/>
                    </a:lnTo>
                    <a:lnTo>
                      <a:pt x="2672" y="4762"/>
                    </a:lnTo>
                    <a:lnTo>
                      <a:pt x="2672" y="4760"/>
                    </a:lnTo>
                    <a:lnTo>
                      <a:pt x="2672" y="4760"/>
                    </a:lnTo>
                    <a:lnTo>
                      <a:pt x="2674" y="4756"/>
                    </a:lnTo>
                    <a:lnTo>
                      <a:pt x="2672" y="4756"/>
                    </a:lnTo>
                    <a:lnTo>
                      <a:pt x="2670" y="4756"/>
                    </a:lnTo>
                    <a:lnTo>
                      <a:pt x="2666" y="4754"/>
                    </a:lnTo>
                    <a:lnTo>
                      <a:pt x="2666" y="4754"/>
                    </a:lnTo>
                    <a:lnTo>
                      <a:pt x="2664" y="4752"/>
                    </a:lnTo>
                    <a:lnTo>
                      <a:pt x="2664" y="4754"/>
                    </a:lnTo>
                    <a:lnTo>
                      <a:pt x="2662" y="4756"/>
                    </a:lnTo>
                    <a:lnTo>
                      <a:pt x="2656" y="4758"/>
                    </a:lnTo>
                    <a:lnTo>
                      <a:pt x="2656" y="4758"/>
                    </a:lnTo>
                    <a:lnTo>
                      <a:pt x="2650" y="4758"/>
                    </a:lnTo>
                    <a:lnTo>
                      <a:pt x="2644" y="4756"/>
                    </a:lnTo>
                    <a:lnTo>
                      <a:pt x="2640" y="4750"/>
                    </a:lnTo>
                    <a:lnTo>
                      <a:pt x="2638" y="4742"/>
                    </a:lnTo>
                    <a:lnTo>
                      <a:pt x="2638" y="4742"/>
                    </a:lnTo>
                    <a:lnTo>
                      <a:pt x="2632" y="4744"/>
                    </a:lnTo>
                    <a:lnTo>
                      <a:pt x="2628" y="4746"/>
                    </a:lnTo>
                    <a:lnTo>
                      <a:pt x="2622" y="4750"/>
                    </a:lnTo>
                    <a:lnTo>
                      <a:pt x="2620" y="4758"/>
                    </a:lnTo>
                    <a:lnTo>
                      <a:pt x="2618" y="4764"/>
                    </a:lnTo>
                    <a:lnTo>
                      <a:pt x="2618" y="4764"/>
                    </a:lnTo>
                    <a:lnTo>
                      <a:pt x="2614" y="4772"/>
                    </a:lnTo>
                    <a:lnTo>
                      <a:pt x="2610" y="4780"/>
                    </a:lnTo>
                    <a:lnTo>
                      <a:pt x="2606" y="4802"/>
                    </a:lnTo>
                    <a:lnTo>
                      <a:pt x="2606" y="4812"/>
                    </a:lnTo>
                    <a:lnTo>
                      <a:pt x="2608" y="4820"/>
                    </a:lnTo>
                    <a:lnTo>
                      <a:pt x="2610" y="4826"/>
                    </a:lnTo>
                    <a:lnTo>
                      <a:pt x="2616" y="4830"/>
                    </a:lnTo>
                    <a:lnTo>
                      <a:pt x="2616" y="4830"/>
                    </a:lnTo>
                    <a:lnTo>
                      <a:pt x="2620" y="4834"/>
                    </a:lnTo>
                    <a:lnTo>
                      <a:pt x="2620" y="4836"/>
                    </a:lnTo>
                    <a:lnTo>
                      <a:pt x="2616" y="4844"/>
                    </a:lnTo>
                    <a:lnTo>
                      <a:pt x="2614" y="4848"/>
                    </a:lnTo>
                    <a:lnTo>
                      <a:pt x="2614" y="4854"/>
                    </a:lnTo>
                    <a:lnTo>
                      <a:pt x="2614" y="4858"/>
                    </a:lnTo>
                    <a:lnTo>
                      <a:pt x="2618" y="4864"/>
                    </a:lnTo>
                    <a:lnTo>
                      <a:pt x="2618" y="4864"/>
                    </a:lnTo>
                    <a:lnTo>
                      <a:pt x="2622" y="4870"/>
                    </a:lnTo>
                    <a:lnTo>
                      <a:pt x="2624" y="4874"/>
                    </a:lnTo>
                    <a:lnTo>
                      <a:pt x="2624" y="4876"/>
                    </a:lnTo>
                    <a:lnTo>
                      <a:pt x="2622" y="4878"/>
                    </a:lnTo>
                    <a:lnTo>
                      <a:pt x="2620" y="4880"/>
                    </a:lnTo>
                    <a:lnTo>
                      <a:pt x="2626" y="4882"/>
                    </a:lnTo>
                    <a:lnTo>
                      <a:pt x="2626" y="4882"/>
                    </a:lnTo>
                    <a:lnTo>
                      <a:pt x="2630" y="4886"/>
                    </a:lnTo>
                    <a:lnTo>
                      <a:pt x="2632" y="4888"/>
                    </a:lnTo>
                    <a:lnTo>
                      <a:pt x="2632" y="4890"/>
                    </a:lnTo>
                    <a:lnTo>
                      <a:pt x="2630" y="4892"/>
                    </a:lnTo>
                    <a:lnTo>
                      <a:pt x="2628" y="4898"/>
                    </a:lnTo>
                    <a:lnTo>
                      <a:pt x="2626" y="4900"/>
                    </a:lnTo>
                    <a:lnTo>
                      <a:pt x="2628" y="4902"/>
                    </a:lnTo>
                    <a:lnTo>
                      <a:pt x="2628" y="4902"/>
                    </a:lnTo>
                    <a:lnTo>
                      <a:pt x="2632" y="4904"/>
                    </a:lnTo>
                    <a:lnTo>
                      <a:pt x="2634" y="4904"/>
                    </a:lnTo>
                    <a:lnTo>
                      <a:pt x="2640" y="4900"/>
                    </a:lnTo>
                    <a:lnTo>
                      <a:pt x="2646" y="4898"/>
                    </a:lnTo>
                    <a:lnTo>
                      <a:pt x="2650" y="4898"/>
                    </a:lnTo>
                    <a:lnTo>
                      <a:pt x="2652" y="4902"/>
                    </a:lnTo>
                    <a:lnTo>
                      <a:pt x="2652" y="4902"/>
                    </a:lnTo>
                    <a:lnTo>
                      <a:pt x="2652" y="4908"/>
                    </a:lnTo>
                    <a:lnTo>
                      <a:pt x="2652" y="4910"/>
                    </a:lnTo>
                    <a:lnTo>
                      <a:pt x="2650" y="4918"/>
                    </a:lnTo>
                    <a:lnTo>
                      <a:pt x="2648" y="4926"/>
                    </a:lnTo>
                    <a:lnTo>
                      <a:pt x="2648" y="4934"/>
                    </a:lnTo>
                    <a:lnTo>
                      <a:pt x="2652" y="4942"/>
                    </a:lnTo>
                    <a:lnTo>
                      <a:pt x="2652" y="4942"/>
                    </a:lnTo>
                    <a:lnTo>
                      <a:pt x="2658" y="4960"/>
                    </a:lnTo>
                    <a:lnTo>
                      <a:pt x="2660" y="4972"/>
                    </a:lnTo>
                    <a:lnTo>
                      <a:pt x="2660" y="4980"/>
                    </a:lnTo>
                    <a:lnTo>
                      <a:pt x="2660" y="4984"/>
                    </a:lnTo>
                    <a:lnTo>
                      <a:pt x="2660" y="4986"/>
                    </a:lnTo>
                    <a:lnTo>
                      <a:pt x="2666" y="4986"/>
                    </a:lnTo>
                    <a:lnTo>
                      <a:pt x="2666" y="4986"/>
                    </a:lnTo>
                    <a:lnTo>
                      <a:pt x="2678" y="4988"/>
                    </a:lnTo>
                    <a:lnTo>
                      <a:pt x="2684" y="4992"/>
                    </a:lnTo>
                    <a:lnTo>
                      <a:pt x="2692" y="4992"/>
                    </a:lnTo>
                    <a:lnTo>
                      <a:pt x="2698" y="4986"/>
                    </a:lnTo>
                    <a:lnTo>
                      <a:pt x="2698" y="4986"/>
                    </a:lnTo>
                    <a:lnTo>
                      <a:pt x="2702" y="4982"/>
                    </a:lnTo>
                    <a:lnTo>
                      <a:pt x="2706" y="4982"/>
                    </a:lnTo>
                    <a:lnTo>
                      <a:pt x="2712" y="4982"/>
                    </a:lnTo>
                    <a:lnTo>
                      <a:pt x="2716" y="4984"/>
                    </a:lnTo>
                    <a:lnTo>
                      <a:pt x="2720" y="4986"/>
                    </a:lnTo>
                    <a:lnTo>
                      <a:pt x="2722" y="4992"/>
                    </a:lnTo>
                    <a:lnTo>
                      <a:pt x="2724" y="4996"/>
                    </a:lnTo>
                    <a:lnTo>
                      <a:pt x="2724" y="5002"/>
                    </a:lnTo>
                    <a:lnTo>
                      <a:pt x="2724" y="5002"/>
                    </a:lnTo>
                    <a:lnTo>
                      <a:pt x="2724" y="5010"/>
                    </a:lnTo>
                    <a:lnTo>
                      <a:pt x="2726" y="5012"/>
                    </a:lnTo>
                    <a:lnTo>
                      <a:pt x="2728" y="5012"/>
                    </a:lnTo>
                    <a:lnTo>
                      <a:pt x="2734" y="5010"/>
                    </a:lnTo>
                    <a:lnTo>
                      <a:pt x="2740" y="5004"/>
                    </a:lnTo>
                    <a:lnTo>
                      <a:pt x="2740" y="5004"/>
                    </a:lnTo>
                    <a:lnTo>
                      <a:pt x="2742" y="5002"/>
                    </a:lnTo>
                    <a:lnTo>
                      <a:pt x="2746" y="5002"/>
                    </a:lnTo>
                    <a:lnTo>
                      <a:pt x="2754" y="5004"/>
                    </a:lnTo>
                    <a:lnTo>
                      <a:pt x="2756" y="5004"/>
                    </a:lnTo>
                    <a:lnTo>
                      <a:pt x="2760" y="5004"/>
                    </a:lnTo>
                    <a:lnTo>
                      <a:pt x="2764" y="5002"/>
                    </a:lnTo>
                    <a:lnTo>
                      <a:pt x="2768" y="4998"/>
                    </a:lnTo>
                    <a:lnTo>
                      <a:pt x="2768" y="4998"/>
                    </a:lnTo>
                    <a:lnTo>
                      <a:pt x="2770" y="4992"/>
                    </a:lnTo>
                    <a:lnTo>
                      <a:pt x="2774" y="4990"/>
                    </a:lnTo>
                    <a:lnTo>
                      <a:pt x="2776" y="4990"/>
                    </a:lnTo>
                    <a:lnTo>
                      <a:pt x="2778" y="4992"/>
                    </a:lnTo>
                    <a:lnTo>
                      <a:pt x="2784" y="4996"/>
                    </a:lnTo>
                    <a:lnTo>
                      <a:pt x="2788" y="4998"/>
                    </a:lnTo>
                    <a:lnTo>
                      <a:pt x="2792" y="4998"/>
                    </a:lnTo>
                    <a:lnTo>
                      <a:pt x="2792" y="4998"/>
                    </a:lnTo>
                    <a:lnTo>
                      <a:pt x="2794" y="4998"/>
                    </a:lnTo>
                    <a:lnTo>
                      <a:pt x="2796" y="5000"/>
                    </a:lnTo>
                    <a:lnTo>
                      <a:pt x="2796" y="5004"/>
                    </a:lnTo>
                    <a:lnTo>
                      <a:pt x="2796" y="5006"/>
                    </a:lnTo>
                    <a:lnTo>
                      <a:pt x="2798" y="5008"/>
                    </a:lnTo>
                    <a:lnTo>
                      <a:pt x="2800" y="5008"/>
                    </a:lnTo>
                    <a:lnTo>
                      <a:pt x="2806" y="5006"/>
                    </a:lnTo>
                    <a:lnTo>
                      <a:pt x="2806" y="5006"/>
                    </a:lnTo>
                    <a:lnTo>
                      <a:pt x="2814" y="5004"/>
                    </a:lnTo>
                    <a:lnTo>
                      <a:pt x="2820" y="5004"/>
                    </a:lnTo>
                    <a:lnTo>
                      <a:pt x="2826" y="5008"/>
                    </a:lnTo>
                    <a:lnTo>
                      <a:pt x="2830" y="5012"/>
                    </a:lnTo>
                    <a:lnTo>
                      <a:pt x="2834" y="5016"/>
                    </a:lnTo>
                    <a:lnTo>
                      <a:pt x="2836" y="5022"/>
                    </a:lnTo>
                    <a:lnTo>
                      <a:pt x="2836" y="5030"/>
                    </a:lnTo>
                    <a:lnTo>
                      <a:pt x="2836" y="5036"/>
                    </a:lnTo>
                    <a:lnTo>
                      <a:pt x="2836" y="5036"/>
                    </a:lnTo>
                    <a:lnTo>
                      <a:pt x="2836" y="5040"/>
                    </a:lnTo>
                    <a:lnTo>
                      <a:pt x="2840" y="5042"/>
                    </a:lnTo>
                    <a:lnTo>
                      <a:pt x="2846" y="5040"/>
                    </a:lnTo>
                    <a:lnTo>
                      <a:pt x="2852" y="5036"/>
                    </a:lnTo>
                    <a:lnTo>
                      <a:pt x="2868" y="5026"/>
                    </a:lnTo>
                    <a:lnTo>
                      <a:pt x="2876" y="5024"/>
                    </a:lnTo>
                    <a:lnTo>
                      <a:pt x="2882" y="5022"/>
                    </a:lnTo>
                    <a:lnTo>
                      <a:pt x="2882" y="5022"/>
                    </a:lnTo>
                    <a:lnTo>
                      <a:pt x="2886" y="5020"/>
                    </a:lnTo>
                    <a:lnTo>
                      <a:pt x="2890" y="5018"/>
                    </a:lnTo>
                    <a:lnTo>
                      <a:pt x="2894" y="5008"/>
                    </a:lnTo>
                    <a:lnTo>
                      <a:pt x="2896" y="4996"/>
                    </a:lnTo>
                    <a:lnTo>
                      <a:pt x="2898" y="4986"/>
                    </a:lnTo>
                    <a:lnTo>
                      <a:pt x="2898" y="4986"/>
                    </a:lnTo>
                    <a:lnTo>
                      <a:pt x="2898" y="4982"/>
                    </a:lnTo>
                    <a:lnTo>
                      <a:pt x="2902" y="4980"/>
                    </a:lnTo>
                    <a:lnTo>
                      <a:pt x="2904" y="4978"/>
                    </a:lnTo>
                    <a:lnTo>
                      <a:pt x="2906" y="4970"/>
                    </a:lnTo>
                    <a:lnTo>
                      <a:pt x="2906" y="4970"/>
                    </a:lnTo>
                    <a:close/>
                    <a:moveTo>
                      <a:pt x="2606" y="3938"/>
                    </a:moveTo>
                    <a:lnTo>
                      <a:pt x="2606" y="3938"/>
                    </a:lnTo>
                    <a:lnTo>
                      <a:pt x="2616" y="3942"/>
                    </a:lnTo>
                    <a:lnTo>
                      <a:pt x="2622" y="3944"/>
                    </a:lnTo>
                    <a:lnTo>
                      <a:pt x="2624" y="3944"/>
                    </a:lnTo>
                    <a:lnTo>
                      <a:pt x="2626" y="3944"/>
                    </a:lnTo>
                    <a:lnTo>
                      <a:pt x="2626" y="3944"/>
                    </a:lnTo>
                    <a:lnTo>
                      <a:pt x="2630" y="3948"/>
                    </a:lnTo>
                    <a:lnTo>
                      <a:pt x="2634" y="3950"/>
                    </a:lnTo>
                    <a:lnTo>
                      <a:pt x="2638" y="3948"/>
                    </a:lnTo>
                    <a:lnTo>
                      <a:pt x="2640" y="3942"/>
                    </a:lnTo>
                    <a:lnTo>
                      <a:pt x="2640" y="3942"/>
                    </a:lnTo>
                    <a:lnTo>
                      <a:pt x="2640" y="3940"/>
                    </a:lnTo>
                    <a:lnTo>
                      <a:pt x="2642" y="3940"/>
                    </a:lnTo>
                    <a:lnTo>
                      <a:pt x="2646" y="3940"/>
                    </a:lnTo>
                    <a:lnTo>
                      <a:pt x="2652" y="3938"/>
                    </a:lnTo>
                    <a:lnTo>
                      <a:pt x="2654" y="3938"/>
                    </a:lnTo>
                    <a:lnTo>
                      <a:pt x="2654" y="3934"/>
                    </a:lnTo>
                    <a:lnTo>
                      <a:pt x="2654" y="3934"/>
                    </a:lnTo>
                    <a:lnTo>
                      <a:pt x="2656" y="3930"/>
                    </a:lnTo>
                    <a:lnTo>
                      <a:pt x="2658" y="3928"/>
                    </a:lnTo>
                    <a:lnTo>
                      <a:pt x="2664" y="3926"/>
                    </a:lnTo>
                    <a:lnTo>
                      <a:pt x="2666" y="3924"/>
                    </a:lnTo>
                    <a:lnTo>
                      <a:pt x="2670" y="3922"/>
                    </a:lnTo>
                    <a:lnTo>
                      <a:pt x="2670" y="3918"/>
                    </a:lnTo>
                    <a:lnTo>
                      <a:pt x="2672" y="3912"/>
                    </a:lnTo>
                    <a:lnTo>
                      <a:pt x="2672" y="3912"/>
                    </a:lnTo>
                    <a:lnTo>
                      <a:pt x="2674" y="3902"/>
                    </a:lnTo>
                    <a:lnTo>
                      <a:pt x="2678" y="3892"/>
                    </a:lnTo>
                    <a:lnTo>
                      <a:pt x="2684" y="3884"/>
                    </a:lnTo>
                    <a:lnTo>
                      <a:pt x="2690" y="3878"/>
                    </a:lnTo>
                    <a:lnTo>
                      <a:pt x="2690" y="3878"/>
                    </a:lnTo>
                    <a:lnTo>
                      <a:pt x="2692" y="3874"/>
                    </a:lnTo>
                    <a:lnTo>
                      <a:pt x="2692" y="3868"/>
                    </a:lnTo>
                    <a:lnTo>
                      <a:pt x="2690" y="3862"/>
                    </a:lnTo>
                    <a:lnTo>
                      <a:pt x="2686" y="3858"/>
                    </a:lnTo>
                    <a:lnTo>
                      <a:pt x="2686" y="3858"/>
                    </a:lnTo>
                    <a:lnTo>
                      <a:pt x="2682" y="3856"/>
                    </a:lnTo>
                    <a:lnTo>
                      <a:pt x="2680" y="3854"/>
                    </a:lnTo>
                    <a:lnTo>
                      <a:pt x="2676" y="3852"/>
                    </a:lnTo>
                    <a:lnTo>
                      <a:pt x="2674" y="3854"/>
                    </a:lnTo>
                    <a:lnTo>
                      <a:pt x="2674" y="3854"/>
                    </a:lnTo>
                    <a:lnTo>
                      <a:pt x="2670" y="3856"/>
                    </a:lnTo>
                    <a:lnTo>
                      <a:pt x="2666" y="3856"/>
                    </a:lnTo>
                    <a:lnTo>
                      <a:pt x="2660" y="3856"/>
                    </a:lnTo>
                    <a:lnTo>
                      <a:pt x="2654" y="3858"/>
                    </a:lnTo>
                    <a:lnTo>
                      <a:pt x="2654" y="3858"/>
                    </a:lnTo>
                    <a:lnTo>
                      <a:pt x="2652" y="3860"/>
                    </a:lnTo>
                    <a:lnTo>
                      <a:pt x="2648" y="3860"/>
                    </a:lnTo>
                    <a:lnTo>
                      <a:pt x="2642" y="3858"/>
                    </a:lnTo>
                    <a:lnTo>
                      <a:pt x="2636" y="3858"/>
                    </a:lnTo>
                    <a:lnTo>
                      <a:pt x="2634" y="3858"/>
                    </a:lnTo>
                    <a:lnTo>
                      <a:pt x="2632" y="3862"/>
                    </a:lnTo>
                    <a:lnTo>
                      <a:pt x="2632" y="3862"/>
                    </a:lnTo>
                    <a:lnTo>
                      <a:pt x="2630" y="3864"/>
                    </a:lnTo>
                    <a:lnTo>
                      <a:pt x="2626" y="3864"/>
                    </a:lnTo>
                    <a:lnTo>
                      <a:pt x="2622" y="3862"/>
                    </a:lnTo>
                    <a:lnTo>
                      <a:pt x="2620" y="3864"/>
                    </a:lnTo>
                    <a:lnTo>
                      <a:pt x="2618" y="3866"/>
                    </a:lnTo>
                    <a:lnTo>
                      <a:pt x="2618" y="3866"/>
                    </a:lnTo>
                    <a:lnTo>
                      <a:pt x="2616" y="3870"/>
                    </a:lnTo>
                    <a:lnTo>
                      <a:pt x="2616" y="3872"/>
                    </a:lnTo>
                    <a:lnTo>
                      <a:pt x="2614" y="3874"/>
                    </a:lnTo>
                    <a:lnTo>
                      <a:pt x="2608" y="3882"/>
                    </a:lnTo>
                    <a:lnTo>
                      <a:pt x="2608" y="3882"/>
                    </a:lnTo>
                    <a:lnTo>
                      <a:pt x="2604" y="3886"/>
                    </a:lnTo>
                    <a:lnTo>
                      <a:pt x="2598" y="3890"/>
                    </a:lnTo>
                    <a:lnTo>
                      <a:pt x="2596" y="3896"/>
                    </a:lnTo>
                    <a:lnTo>
                      <a:pt x="2596" y="3908"/>
                    </a:lnTo>
                    <a:lnTo>
                      <a:pt x="2596" y="3908"/>
                    </a:lnTo>
                    <a:lnTo>
                      <a:pt x="2596" y="3920"/>
                    </a:lnTo>
                    <a:lnTo>
                      <a:pt x="2596" y="3926"/>
                    </a:lnTo>
                    <a:lnTo>
                      <a:pt x="2600" y="3932"/>
                    </a:lnTo>
                    <a:lnTo>
                      <a:pt x="2606" y="3938"/>
                    </a:lnTo>
                    <a:lnTo>
                      <a:pt x="2606" y="3938"/>
                    </a:lnTo>
                    <a:close/>
                    <a:moveTo>
                      <a:pt x="3234" y="3626"/>
                    </a:moveTo>
                    <a:lnTo>
                      <a:pt x="3234" y="3626"/>
                    </a:lnTo>
                    <a:lnTo>
                      <a:pt x="3234" y="3624"/>
                    </a:lnTo>
                    <a:lnTo>
                      <a:pt x="3232" y="3624"/>
                    </a:lnTo>
                    <a:lnTo>
                      <a:pt x="3226" y="3626"/>
                    </a:lnTo>
                    <a:lnTo>
                      <a:pt x="3222" y="3632"/>
                    </a:lnTo>
                    <a:lnTo>
                      <a:pt x="3222" y="3634"/>
                    </a:lnTo>
                    <a:lnTo>
                      <a:pt x="3224" y="3636"/>
                    </a:lnTo>
                    <a:lnTo>
                      <a:pt x="3224" y="3636"/>
                    </a:lnTo>
                    <a:lnTo>
                      <a:pt x="3226" y="3636"/>
                    </a:lnTo>
                    <a:lnTo>
                      <a:pt x="3230" y="3634"/>
                    </a:lnTo>
                    <a:lnTo>
                      <a:pt x="3234" y="3626"/>
                    </a:lnTo>
                    <a:lnTo>
                      <a:pt x="3234" y="3626"/>
                    </a:lnTo>
                    <a:close/>
                    <a:moveTo>
                      <a:pt x="3140" y="4236"/>
                    </a:moveTo>
                    <a:lnTo>
                      <a:pt x="3140" y="4236"/>
                    </a:lnTo>
                    <a:lnTo>
                      <a:pt x="3142" y="4224"/>
                    </a:lnTo>
                    <a:lnTo>
                      <a:pt x="3142" y="4222"/>
                    </a:lnTo>
                    <a:lnTo>
                      <a:pt x="3138" y="4224"/>
                    </a:lnTo>
                    <a:lnTo>
                      <a:pt x="3138" y="4224"/>
                    </a:lnTo>
                    <a:lnTo>
                      <a:pt x="3136" y="4226"/>
                    </a:lnTo>
                    <a:lnTo>
                      <a:pt x="3136" y="4226"/>
                    </a:lnTo>
                    <a:lnTo>
                      <a:pt x="3136" y="4230"/>
                    </a:lnTo>
                    <a:lnTo>
                      <a:pt x="3134" y="4236"/>
                    </a:lnTo>
                    <a:lnTo>
                      <a:pt x="3134" y="4236"/>
                    </a:lnTo>
                    <a:lnTo>
                      <a:pt x="3134" y="4240"/>
                    </a:lnTo>
                    <a:lnTo>
                      <a:pt x="3136" y="4242"/>
                    </a:lnTo>
                    <a:lnTo>
                      <a:pt x="3138" y="4242"/>
                    </a:lnTo>
                    <a:lnTo>
                      <a:pt x="3140" y="4236"/>
                    </a:lnTo>
                    <a:lnTo>
                      <a:pt x="3140" y="4236"/>
                    </a:lnTo>
                    <a:close/>
                    <a:moveTo>
                      <a:pt x="3216" y="3638"/>
                    </a:moveTo>
                    <a:lnTo>
                      <a:pt x="3216" y="3638"/>
                    </a:lnTo>
                    <a:lnTo>
                      <a:pt x="3216" y="3634"/>
                    </a:lnTo>
                    <a:lnTo>
                      <a:pt x="3212" y="3632"/>
                    </a:lnTo>
                    <a:lnTo>
                      <a:pt x="3208" y="3632"/>
                    </a:lnTo>
                    <a:lnTo>
                      <a:pt x="3208" y="3632"/>
                    </a:lnTo>
                    <a:lnTo>
                      <a:pt x="3206" y="3636"/>
                    </a:lnTo>
                    <a:lnTo>
                      <a:pt x="3206" y="3636"/>
                    </a:lnTo>
                    <a:lnTo>
                      <a:pt x="3208" y="3638"/>
                    </a:lnTo>
                    <a:lnTo>
                      <a:pt x="3210" y="3640"/>
                    </a:lnTo>
                    <a:lnTo>
                      <a:pt x="3214" y="3640"/>
                    </a:lnTo>
                    <a:lnTo>
                      <a:pt x="3216" y="3638"/>
                    </a:lnTo>
                    <a:lnTo>
                      <a:pt x="3216" y="3638"/>
                    </a:lnTo>
                    <a:close/>
                    <a:moveTo>
                      <a:pt x="3130" y="4102"/>
                    </a:moveTo>
                    <a:lnTo>
                      <a:pt x="3130" y="4102"/>
                    </a:lnTo>
                    <a:lnTo>
                      <a:pt x="3128" y="4106"/>
                    </a:lnTo>
                    <a:lnTo>
                      <a:pt x="3128" y="4108"/>
                    </a:lnTo>
                    <a:lnTo>
                      <a:pt x="3132" y="4120"/>
                    </a:lnTo>
                    <a:lnTo>
                      <a:pt x="3132" y="4120"/>
                    </a:lnTo>
                    <a:lnTo>
                      <a:pt x="3134" y="4124"/>
                    </a:lnTo>
                    <a:lnTo>
                      <a:pt x="3136" y="4124"/>
                    </a:lnTo>
                    <a:lnTo>
                      <a:pt x="3136" y="4120"/>
                    </a:lnTo>
                    <a:lnTo>
                      <a:pt x="3136" y="4116"/>
                    </a:lnTo>
                    <a:lnTo>
                      <a:pt x="3136" y="4116"/>
                    </a:lnTo>
                    <a:lnTo>
                      <a:pt x="3134" y="4104"/>
                    </a:lnTo>
                    <a:lnTo>
                      <a:pt x="3132" y="4102"/>
                    </a:lnTo>
                    <a:lnTo>
                      <a:pt x="3130" y="4102"/>
                    </a:lnTo>
                    <a:lnTo>
                      <a:pt x="3130" y="4102"/>
                    </a:lnTo>
                    <a:close/>
                    <a:moveTo>
                      <a:pt x="3462" y="5402"/>
                    </a:moveTo>
                    <a:lnTo>
                      <a:pt x="3462" y="5402"/>
                    </a:lnTo>
                    <a:lnTo>
                      <a:pt x="3462" y="5410"/>
                    </a:lnTo>
                    <a:lnTo>
                      <a:pt x="3462" y="5414"/>
                    </a:lnTo>
                    <a:lnTo>
                      <a:pt x="3466" y="5416"/>
                    </a:lnTo>
                    <a:lnTo>
                      <a:pt x="3472" y="5418"/>
                    </a:lnTo>
                    <a:lnTo>
                      <a:pt x="3472" y="5418"/>
                    </a:lnTo>
                    <a:lnTo>
                      <a:pt x="3476" y="5418"/>
                    </a:lnTo>
                    <a:lnTo>
                      <a:pt x="3478" y="5416"/>
                    </a:lnTo>
                    <a:lnTo>
                      <a:pt x="3478" y="5412"/>
                    </a:lnTo>
                    <a:lnTo>
                      <a:pt x="3474" y="5404"/>
                    </a:lnTo>
                    <a:lnTo>
                      <a:pt x="3474" y="5404"/>
                    </a:lnTo>
                    <a:lnTo>
                      <a:pt x="3468" y="5398"/>
                    </a:lnTo>
                    <a:lnTo>
                      <a:pt x="3464" y="5394"/>
                    </a:lnTo>
                    <a:lnTo>
                      <a:pt x="3462" y="5396"/>
                    </a:lnTo>
                    <a:lnTo>
                      <a:pt x="3462" y="5402"/>
                    </a:lnTo>
                    <a:lnTo>
                      <a:pt x="3462" y="5402"/>
                    </a:lnTo>
                    <a:close/>
                    <a:moveTo>
                      <a:pt x="4244" y="2492"/>
                    </a:moveTo>
                    <a:lnTo>
                      <a:pt x="4244" y="2492"/>
                    </a:lnTo>
                    <a:lnTo>
                      <a:pt x="4244" y="2496"/>
                    </a:lnTo>
                    <a:lnTo>
                      <a:pt x="4248" y="2496"/>
                    </a:lnTo>
                    <a:lnTo>
                      <a:pt x="4256" y="2492"/>
                    </a:lnTo>
                    <a:lnTo>
                      <a:pt x="4264" y="2486"/>
                    </a:lnTo>
                    <a:lnTo>
                      <a:pt x="4280" y="2470"/>
                    </a:lnTo>
                    <a:lnTo>
                      <a:pt x="4284" y="2464"/>
                    </a:lnTo>
                    <a:lnTo>
                      <a:pt x="4284" y="2460"/>
                    </a:lnTo>
                    <a:lnTo>
                      <a:pt x="4284" y="2460"/>
                    </a:lnTo>
                    <a:lnTo>
                      <a:pt x="4282" y="2460"/>
                    </a:lnTo>
                    <a:lnTo>
                      <a:pt x="4276" y="2460"/>
                    </a:lnTo>
                    <a:lnTo>
                      <a:pt x="4266" y="2466"/>
                    </a:lnTo>
                    <a:lnTo>
                      <a:pt x="4254" y="2476"/>
                    </a:lnTo>
                    <a:lnTo>
                      <a:pt x="4248" y="2484"/>
                    </a:lnTo>
                    <a:lnTo>
                      <a:pt x="4244" y="2492"/>
                    </a:lnTo>
                    <a:lnTo>
                      <a:pt x="4244" y="2492"/>
                    </a:lnTo>
                    <a:close/>
                    <a:moveTo>
                      <a:pt x="4364" y="2396"/>
                    </a:moveTo>
                    <a:lnTo>
                      <a:pt x="4364" y="2396"/>
                    </a:lnTo>
                    <a:lnTo>
                      <a:pt x="4368" y="2398"/>
                    </a:lnTo>
                    <a:lnTo>
                      <a:pt x="4370" y="2396"/>
                    </a:lnTo>
                    <a:lnTo>
                      <a:pt x="4370" y="2394"/>
                    </a:lnTo>
                    <a:lnTo>
                      <a:pt x="4368" y="2392"/>
                    </a:lnTo>
                    <a:lnTo>
                      <a:pt x="4368" y="2392"/>
                    </a:lnTo>
                    <a:lnTo>
                      <a:pt x="4366" y="2390"/>
                    </a:lnTo>
                    <a:lnTo>
                      <a:pt x="4364" y="2392"/>
                    </a:lnTo>
                    <a:lnTo>
                      <a:pt x="4364" y="2394"/>
                    </a:lnTo>
                    <a:lnTo>
                      <a:pt x="4364" y="2396"/>
                    </a:lnTo>
                    <a:lnTo>
                      <a:pt x="4364" y="2396"/>
                    </a:lnTo>
                    <a:close/>
                    <a:moveTo>
                      <a:pt x="4388" y="2374"/>
                    </a:moveTo>
                    <a:lnTo>
                      <a:pt x="4388" y="2374"/>
                    </a:lnTo>
                    <a:lnTo>
                      <a:pt x="4392" y="2376"/>
                    </a:lnTo>
                    <a:lnTo>
                      <a:pt x="4392" y="2374"/>
                    </a:lnTo>
                    <a:lnTo>
                      <a:pt x="4394" y="2370"/>
                    </a:lnTo>
                    <a:lnTo>
                      <a:pt x="4392" y="2368"/>
                    </a:lnTo>
                    <a:lnTo>
                      <a:pt x="4392" y="2368"/>
                    </a:lnTo>
                    <a:lnTo>
                      <a:pt x="4390" y="2366"/>
                    </a:lnTo>
                    <a:lnTo>
                      <a:pt x="4388" y="2368"/>
                    </a:lnTo>
                    <a:lnTo>
                      <a:pt x="4388" y="2372"/>
                    </a:lnTo>
                    <a:lnTo>
                      <a:pt x="4388" y="2374"/>
                    </a:lnTo>
                    <a:lnTo>
                      <a:pt x="4388" y="2374"/>
                    </a:lnTo>
                    <a:close/>
                    <a:moveTo>
                      <a:pt x="264" y="3518"/>
                    </a:moveTo>
                    <a:lnTo>
                      <a:pt x="264" y="3518"/>
                    </a:lnTo>
                    <a:lnTo>
                      <a:pt x="266" y="3518"/>
                    </a:lnTo>
                    <a:lnTo>
                      <a:pt x="264" y="3518"/>
                    </a:lnTo>
                    <a:lnTo>
                      <a:pt x="264" y="3518"/>
                    </a:lnTo>
                    <a:lnTo>
                      <a:pt x="264" y="3518"/>
                    </a:lnTo>
                    <a:lnTo>
                      <a:pt x="264" y="3518"/>
                    </a:lnTo>
                    <a:close/>
                    <a:moveTo>
                      <a:pt x="5798" y="1166"/>
                    </a:moveTo>
                    <a:lnTo>
                      <a:pt x="5798" y="1166"/>
                    </a:lnTo>
                    <a:lnTo>
                      <a:pt x="5790" y="1156"/>
                    </a:lnTo>
                    <a:lnTo>
                      <a:pt x="5782" y="1148"/>
                    </a:lnTo>
                    <a:lnTo>
                      <a:pt x="5772" y="1144"/>
                    </a:lnTo>
                    <a:lnTo>
                      <a:pt x="5760" y="1140"/>
                    </a:lnTo>
                    <a:lnTo>
                      <a:pt x="5732" y="1138"/>
                    </a:lnTo>
                    <a:lnTo>
                      <a:pt x="5698" y="1136"/>
                    </a:lnTo>
                    <a:lnTo>
                      <a:pt x="5698" y="1136"/>
                    </a:lnTo>
                    <a:lnTo>
                      <a:pt x="5692" y="1138"/>
                    </a:lnTo>
                    <a:lnTo>
                      <a:pt x="5688" y="1140"/>
                    </a:lnTo>
                    <a:lnTo>
                      <a:pt x="5686" y="1144"/>
                    </a:lnTo>
                    <a:lnTo>
                      <a:pt x="5686" y="1148"/>
                    </a:lnTo>
                    <a:lnTo>
                      <a:pt x="5690" y="1160"/>
                    </a:lnTo>
                    <a:lnTo>
                      <a:pt x="5696" y="1172"/>
                    </a:lnTo>
                    <a:lnTo>
                      <a:pt x="5702" y="1184"/>
                    </a:lnTo>
                    <a:lnTo>
                      <a:pt x="5704" y="1190"/>
                    </a:lnTo>
                    <a:lnTo>
                      <a:pt x="5704" y="1192"/>
                    </a:lnTo>
                    <a:lnTo>
                      <a:pt x="5700" y="1192"/>
                    </a:lnTo>
                    <a:lnTo>
                      <a:pt x="5684" y="1186"/>
                    </a:lnTo>
                    <a:lnTo>
                      <a:pt x="5684" y="1186"/>
                    </a:lnTo>
                    <a:lnTo>
                      <a:pt x="5676" y="1180"/>
                    </a:lnTo>
                    <a:lnTo>
                      <a:pt x="5670" y="1174"/>
                    </a:lnTo>
                    <a:lnTo>
                      <a:pt x="5666" y="1168"/>
                    </a:lnTo>
                    <a:lnTo>
                      <a:pt x="5664" y="1162"/>
                    </a:lnTo>
                    <a:lnTo>
                      <a:pt x="5664" y="1150"/>
                    </a:lnTo>
                    <a:lnTo>
                      <a:pt x="5666" y="1138"/>
                    </a:lnTo>
                    <a:lnTo>
                      <a:pt x="5666" y="1126"/>
                    </a:lnTo>
                    <a:lnTo>
                      <a:pt x="5664" y="1120"/>
                    </a:lnTo>
                    <a:lnTo>
                      <a:pt x="5660" y="1114"/>
                    </a:lnTo>
                    <a:lnTo>
                      <a:pt x="5654" y="1106"/>
                    </a:lnTo>
                    <a:lnTo>
                      <a:pt x="5646" y="1100"/>
                    </a:lnTo>
                    <a:lnTo>
                      <a:pt x="5634" y="1092"/>
                    </a:lnTo>
                    <a:lnTo>
                      <a:pt x="5618" y="1084"/>
                    </a:lnTo>
                    <a:lnTo>
                      <a:pt x="5618" y="1084"/>
                    </a:lnTo>
                    <a:lnTo>
                      <a:pt x="5580" y="1068"/>
                    </a:lnTo>
                    <a:lnTo>
                      <a:pt x="5546" y="1050"/>
                    </a:lnTo>
                    <a:lnTo>
                      <a:pt x="5478" y="1014"/>
                    </a:lnTo>
                    <a:lnTo>
                      <a:pt x="5478" y="1008"/>
                    </a:lnTo>
                    <a:lnTo>
                      <a:pt x="5478" y="1008"/>
                    </a:lnTo>
                    <a:lnTo>
                      <a:pt x="5448" y="994"/>
                    </a:lnTo>
                    <a:lnTo>
                      <a:pt x="5418" y="982"/>
                    </a:lnTo>
                    <a:lnTo>
                      <a:pt x="5386" y="970"/>
                    </a:lnTo>
                    <a:lnTo>
                      <a:pt x="5356" y="962"/>
                    </a:lnTo>
                    <a:lnTo>
                      <a:pt x="5356" y="962"/>
                    </a:lnTo>
                    <a:lnTo>
                      <a:pt x="5310" y="952"/>
                    </a:lnTo>
                    <a:lnTo>
                      <a:pt x="5294" y="946"/>
                    </a:lnTo>
                    <a:lnTo>
                      <a:pt x="5270" y="944"/>
                    </a:lnTo>
                    <a:lnTo>
                      <a:pt x="5210" y="940"/>
                    </a:lnTo>
                    <a:lnTo>
                      <a:pt x="5210" y="940"/>
                    </a:lnTo>
                    <a:lnTo>
                      <a:pt x="5170" y="936"/>
                    </a:lnTo>
                    <a:lnTo>
                      <a:pt x="5144" y="930"/>
                    </a:lnTo>
                    <a:lnTo>
                      <a:pt x="5126" y="924"/>
                    </a:lnTo>
                    <a:lnTo>
                      <a:pt x="5116" y="918"/>
                    </a:lnTo>
                    <a:lnTo>
                      <a:pt x="5108" y="916"/>
                    </a:lnTo>
                    <a:lnTo>
                      <a:pt x="5102" y="918"/>
                    </a:lnTo>
                    <a:lnTo>
                      <a:pt x="5096" y="926"/>
                    </a:lnTo>
                    <a:lnTo>
                      <a:pt x="5086" y="942"/>
                    </a:lnTo>
                    <a:lnTo>
                      <a:pt x="5086" y="942"/>
                    </a:lnTo>
                    <a:lnTo>
                      <a:pt x="5080" y="950"/>
                    </a:lnTo>
                    <a:lnTo>
                      <a:pt x="5078" y="958"/>
                    </a:lnTo>
                    <a:lnTo>
                      <a:pt x="5078" y="964"/>
                    </a:lnTo>
                    <a:lnTo>
                      <a:pt x="5080" y="968"/>
                    </a:lnTo>
                    <a:lnTo>
                      <a:pt x="5084" y="972"/>
                    </a:lnTo>
                    <a:lnTo>
                      <a:pt x="5088" y="974"/>
                    </a:lnTo>
                    <a:lnTo>
                      <a:pt x="5100" y="978"/>
                    </a:lnTo>
                    <a:lnTo>
                      <a:pt x="5110" y="982"/>
                    </a:lnTo>
                    <a:lnTo>
                      <a:pt x="5114" y="986"/>
                    </a:lnTo>
                    <a:lnTo>
                      <a:pt x="5116" y="988"/>
                    </a:lnTo>
                    <a:lnTo>
                      <a:pt x="5116" y="992"/>
                    </a:lnTo>
                    <a:lnTo>
                      <a:pt x="5114" y="998"/>
                    </a:lnTo>
                    <a:lnTo>
                      <a:pt x="5108" y="1004"/>
                    </a:lnTo>
                    <a:lnTo>
                      <a:pt x="5100" y="1012"/>
                    </a:lnTo>
                    <a:lnTo>
                      <a:pt x="5100" y="1012"/>
                    </a:lnTo>
                    <a:lnTo>
                      <a:pt x="5084" y="1024"/>
                    </a:lnTo>
                    <a:lnTo>
                      <a:pt x="5076" y="1028"/>
                    </a:lnTo>
                    <a:lnTo>
                      <a:pt x="5072" y="1030"/>
                    </a:lnTo>
                    <a:lnTo>
                      <a:pt x="5068" y="1028"/>
                    </a:lnTo>
                    <a:lnTo>
                      <a:pt x="5064" y="1026"/>
                    </a:lnTo>
                    <a:lnTo>
                      <a:pt x="5058" y="1020"/>
                    </a:lnTo>
                    <a:lnTo>
                      <a:pt x="5052" y="1012"/>
                    </a:lnTo>
                    <a:lnTo>
                      <a:pt x="5044" y="1004"/>
                    </a:lnTo>
                    <a:lnTo>
                      <a:pt x="5040" y="1000"/>
                    </a:lnTo>
                    <a:lnTo>
                      <a:pt x="5034" y="996"/>
                    </a:lnTo>
                    <a:lnTo>
                      <a:pt x="5028" y="996"/>
                    </a:lnTo>
                    <a:lnTo>
                      <a:pt x="5020" y="994"/>
                    </a:lnTo>
                    <a:lnTo>
                      <a:pt x="5020" y="994"/>
                    </a:lnTo>
                    <a:lnTo>
                      <a:pt x="5012" y="994"/>
                    </a:lnTo>
                    <a:lnTo>
                      <a:pt x="5006" y="992"/>
                    </a:lnTo>
                    <a:lnTo>
                      <a:pt x="5004" y="990"/>
                    </a:lnTo>
                    <a:lnTo>
                      <a:pt x="5002" y="988"/>
                    </a:lnTo>
                    <a:lnTo>
                      <a:pt x="5000" y="978"/>
                    </a:lnTo>
                    <a:lnTo>
                      <a:pt x="5000" y="970"/>
                    </a:lnTo>
                    <a:lnTo>
                      <a:pt x="5000" y="962"/>
                    </a:lnTo>
                    <a:lnTo>
                      <a:pt x="4998" y="960"/>
                    </a:lnTo>
                    <a:lnTo>
                      <a:pt x="4994" y="958"/>
                    </a:lnTo>
                    <a:lnTo>
                      <a:pt x="4988" y="956"/>
                    </a:lnTo>
                    <a:lnTo>
                      <a:pt x="4980" y="958"/>
                    </a:lnTo>
                    <a:lnTo>
                      <a:pt x="4958" y="964"/>
                    </a:lnTo>
                    <a:lnTo>
                      <a:pt x="4958" y="964"/>
                    </a:lnTo>
                    <a:lnTo>
                      <a:pt x="4944" y="968"/>
                    </a:lnTo>
                    <a:lnTo>
                      <a:pt x="4930" y="970"/>
                    </a:lnTo>
                    <a:lnTo>
                      <a:pt x="4920" y="972"/>
                    </a:lnTo>
                    <a:lnTo>
                      <a:pt x="4908" y="972"/>
                    </a:lnTo>
                    <a:lnTo>
                      <a:pt x="4890" y="968"/>
                    </a:lnTo>
                    <a:lnTo>
                      <a:pt x="4870" y="964"/>
                    </a:lnTo>
                    <a:lnTo>
                      <a:pt x="4850" y="958"/>
                    </a:lnTo>
                    <a:lnTo>
                      <a:pt x="4828" y="954"/>
                    </a:lnTo>
                    <a:lnTo>
                      <a:pt x="4814" y="954"/>
                    </a:lnTo>
                    <a:lnTo>
                      <a:pt x="4800" y="954"/>
                    </a:lnTo>
                    <a:lnTo>
                      <a:pt x="4784" y="956"/>
                    </a:lnTo>
                    <a:lnTo>
                      <a:pt x="4766" y="958"/>
                    </a:lnTo>
                    <a:lnTo>
                      <a:pt x="4766" y="958"/>
                    </a:lnTo>
                    <a:lnTo>
                      <a:pt x="4732" y="966"/>
                    </a:lnTo>
                    <a:lnTo>
                      <a:pt x="4706" y="966"/>
                    </a:lnTo>
                    <a:lnTo>
                      <a:pt x="4686" y="964"/>
                    </a:lnTo>
                    <a:lnTo>
                      <a:pt x="4674" y="960"/>
                    </a:lnTo>
                    <a:lnTo>
                      <a:pt x="4668" y="956"/>
                    </a:lnTo>
                    <a:lnTo>
                      <a:pt x="4666" y="952"/>
                    </a:lnTo>
                    <a:lnTo>
                      <a:pt x="4662" y="944"/>
                    </a:lnTo>
                    <a:lnTo>
                      <a:pt x="4664" y="934"/>
                    </a:lnTo>
                    <a:lnTo>
                      <a:pt x="4668" y="924"/>
                    </a:lnTo>
                    <a:lnTo>
                      <a:pt x="4668" y="924"/>
                    </a:lnTo>
                    <a:lnTo>
                      <a:pt x="4670" y="918"/>
                    </a:lnTo>
                    <a:lnTo>
                      <a:pt x="4670" y="912"/>
                    </a:lnTo>
                    <a:lnTo>
                      <a:pt x="4668" y="906"/>
                    </a:lnTo>
                    <a:lnTo>
                      <a:pt x="4662" y="898"/>
                    </a:lnTo>
                    <a:lnTo>
                      <a:pt x="4656" y="892"/>
                    </a:lnTo>
                    <a:lnTo>
                      <a:pt x="4648" y="884"/>
                    </a:lnTo>
                    <a:lnTo>
                      <a:pt x="4636" y="878"/>
                    </a:lnTo>
                    <a:lnTo>
                      <a:pt x="4624" y="872"/>
                    </a:lnTo>
                    <a:lnTo>
                      <a:pt x="4608" y="868"/>
                    </a:lnTo>
                    <a:lnTo>
                      <a:pt x="4592" y="862"/>
                    </a:lnTo>
                    <a:lnTo>
                      <a:pt x="4572" y="860"/>
                    </a:lnTo>
                    <a:lnTo>
                      <a:pt x="4552" y="856"/>
                    </a:lnTo>
                    <a:lnTo>
                      <a:pt x="4528" y="856"/>
                    </a:lnTo>
                    <a:lnTo>
                      <a:pt x="4504" y="856"/>
                    </a:lnTo>
                    <a:lnTo>
                      <a:pt x="4476" y="860"/>
                    </a:lnTo>
                    <a:lnTo>
                      <a:pt x="4448" y="864"/>
                    </a:lnTo>
                    <a:lnTo>
                      <a:pt x="4448" y="864"/>
                    </a:lnTo>
                    <a:lnTo>
                      <a:pt x="4420" y="868"/>
                    </a:lnTo>
                    <a:lnTo>
                      <a:pt x="4396" y="870"/>
                    </a:lnTo>
                    <a:lnTo>
                      <a:pt x="4374" y="868"/>
                    </a:lnTo>
                    <a:lnTo>
                      <a:pt x="4358" y="866"/>
                    </a:lnTo>
                    <a:lnTo>
                      <a:pt x="4342" y="860"/>
                    </a:lnTo>
                    <a:lnTo>
                      <a:pt x="4328" y="854"/>
                    </a:lnTo>
                    <a:lnTo>
                      <a:pt x="4318" y="848"/>
                    </a:lnTo>
                    <a:lnTo>
                      <a:pt x="4308" y="840"/>
                    </a:lnTo>
                    <a:lnTo>
                      <a:pt x="4292" y="822"/>
                    </a:lnTo>
                    <a:lnTo>
                      <a:pt x="4278" y="804"/>
                    </a:lnTo>
                    <a:lnTo>
                      <a:pt x="4264" y="788"/>
                    </a:lnTo>
                    <a:lnTo>
                      <a:pt x="4256" y="782"/>
                    </a:lnTo>
                    <a:lnTo>
                      <a:pt x="4246" y="778"/>
                    </a:lnTo>
                    <a:lnTo>
                      <a:pt x="4246" y="778"/>
                    </a:lnTo>
                    <a:lnTo>
                      <a:pt x="4228" y="772"/>
                    </a:lnTo>
                    <a:lnTo>
                      <a:pt x="4214" y="768"/>
                    </a:lnTo>
                    <a:lnTo>
                      <a:pt x="4186" y="768"/>
                    </a:lnTo>
                    <a:lnTo>
                      <a:pt x="4154" y="764"/>
                    </a:lnTo>
                    <a:lnTo>
                      <a:pt x="4130" y="762"/>
                    </a:lnTo>
                    <a:lnTo>
                      <a:pt x="4100" y="754"/>
                    </a:lnTo>
                    <a:lnTo>
                      <a:pt x="4100" y="754"/>
                    </a:lnTo>
                    <a:lnTo>
                      <a:pt x="4068" y="748"/>
                    </a:lnTo>
                    <a:lnTo>
                      <a:pt x="4044" y="744"/>
                    </a:lnTo>
                    <a:lnTo>
                      <a:pt x="4002" y="740"/>
                    </a:lnTo>
                    <a:lnTo>
                      <a:pt x="3964" y="738"/>
                    </a:lnTo>
                    <a:lnTo>
                      <a:pt x="3944" y="734"/>
                    </a:lnTo>
                    <a:lnTo>
                      <a:pt x="3922" y="730"/>
                    </a:lnTo>
                    <a:lnTo>
                      <a:pt x="3922" y="730"/>
                    </a:lnTo>
                    <a:lnTo>
                      <a:pt x="3902" y="724"/>
                    </a:lnTo>
                    <a:lnTo>
                      <a:pt x="3892" y="724"/>
                    </a:lnTo>
                    <a:lnTo>
                      <a:pt x="3892" y="726"/>
                    </a:lnTo>
                    <a:lnTo>
                      <a:pt x="3890" y="728"/>
                    </a:lnTo>
                    <a:lnTo>
                      <a:pt x="3890" y="734"/>
                    </a:lnTo>
                    <a:lnTo>
                      <a:pt x="3892" y="740"/>
                    </a:lnTo>
                    <a:lnTo>
                      <a:pt x="3890" y="744"/>
                    </a:lnTo>
                    <a:lnTo>
                      <a:pt x="3888" y="746"/>
                    </a:lnTo>
                    <a:lnTo>
                      <a:pt x="3882" y="750"/>
                    </a:lnTo>
                    <a:lnTo>
                      <a:pt x="3876" y="752"/>
                    </a:lnTo>
                    <a:lnTo>
                      <a:pt x="3854" y="754"/>
                    </a:lnTo>
                    <a:lnTo>
                      <a:pt x="3854" y="754"/>
                    </a:lnTo>
                    <a:lnTo>
                      <a:pt x="3842" y="756"/>
                    </a:lnTo>
                    <a:lnTo>
                      <a:pt x="3834" y="758"/>
                    </a:lnTo>
                    <a:lnTo>
                      <a:pt x="3830" y="764"/>
                    </a:lnTo>
                    <a:lnTo>
                      <a:pt x="3830" y="768"/>
                    </a:lnTo>
                    <a:lnTo>
                      <a:pt x="3832" y="776"/>
                    </a:lnTo>
                    <a:lnTo>
                      <a:pt x="3836" y="782"/>
                    </a:lnTo>
                    <a:lnTo>
                      <a:pt x="3846" y="798"/>
                    </a:lnTo>
                    <a:lnTo>
                      <a:pt x="3856" y="812"/>
                    </a:lnTo>
                    <a:lnTo>
                      <a:pt x="3860" y="818"/>
                    </a:lnTo>
                    <a:lnTo>
                      <a:pt x="3862" y="822"/>
                    </a:lnTo>
                    <a:lnTo>
                      <a:pt x="3860" y="826"/>
                    </a:lnTo>
                    <a:lnTo>
                      <a:pt x="3856" y="828"/>
                    </a:lnTo>
                    <a:lnTo>
                      <a:pt x="3848" y="826"/>
                    </a:lnTo>
                    <a:lnTo>
                      <a:pt x="3836" y="824"/>
                    </a:lnTo>
                    <a:lnTo>
                      <a:pt x="3836" y="824"/>
                    </a:lnTo>
                    <a:lnTo>
                      <a:pt x="3810" y="818"/>
                    </a:lnTo>
                    <a:lnTo>
                      <a:pt x="3792" y="818"/>
                    </a:lnTo>
                    <a:lnTo>
                      <a:pt x="3778" y="818"/>
                    </a:lnTo>
                    <a:lnTo>
                      <a:pt x="3770" y="820"/>
                    </a:lnTo>
                    <a:lnTo>
                      <a:pt x="3760" y="824"/>
                    </a:lnTo>
                    <a:lnTo>
                      <a:pt x="3750" y="824"/>
                    </a:lnTo>
                    <a:lnTo>
                      <a:pt x="3736" y="824"/>
                    </a:lnTo>
                    <a:lnTo>
                      <a:pt x="3716" y="820"/>
                    </a:lnTo>
                    <a:lnTo>
                      <a:pt x="3716" y="820"/>
                    </a:lnTo>
                    <a:lnTo>
                      <a:pt x="3704" y="818"/>
                    </a:lnTo>
                    <a:lnTo>
                      <a:pt x="3694" y="818"/>
                    </a:lnTo>
                    <a:lnTo>
                      <a:pt x="3686" y="818"/>
                    </a:lnTo>
                    <a:lnTo>
                      <a:pt x="3676" y="820"/>
                    </a:lnTo>
                    <a:lnTo>
                      <a:pt x="3662" y="826"/>
                    </a:lnTo>
                    <a:lnTo>
                      <a:pt x="3650" y="832"/>
                    </a:lnTo>
                    <a:lnTo>
                      <a:pt x="3638" y="836"/>
                    </a:lnTo>
                    <a:lnTo>
                      <a:pt x="3632" y="838"/>
                    </a:lnTo>
                    <a:lnTo>
                      <a:pt x="3624" y="836"/>
                    </a:lnTo>
                    <a:lnTo>
                      <a:pt x="3616" y="836"/>
                    </a:lnTo>
                    <a:lnTo>
                      <a:pt x="3608" y="832"/>
                    </a:lnTo>
                    <a:lnTo>
                      <a:pt x="3598" y="826"/>
                    </a:lnTo>
                    <a:lnTo>
                      <a:pt x="3586" y="818"/>
                    </a:lnTo>
                    <a:lnTo>
                      <a:pt x="3586" y="818"/>
                    </a:lnTo>
                    <a:lnTo>
                      <a:pt x="3576" y="812"/>
                    </a:lnTo>
                    <a:lnTo>
                      <a:pt x="3566" y="810"/>
                    </a:lnTo>
                    <a:lnTo>
                      <a:pt x="3558" y="810"/>
                    </a:lnTo>
                    <a:lnTo>
                      <a:pt x="3552" y="814"/>
                    </a:lnTo>
                    <a:lnTo>
                      <a:pt x="3546" y="820"/>
                    </a:lnTo>
                    <a:lnTo>
                      <a:pt x="3540" y="828"/>
                    </a:lnTo>
                    <a:lnTo>
                      <a:pt x="3530" y="848"/>
                    </a:lnTo>
                    <a:lnTo>
                      <a:pt x="3520" y="864"/>
                    </a:lnTo>
                    <a:lnTo>
                      <a:pt x="3514" y="872"/>
                    </a:lnTo>
                    <a:lnTo>
                      <a:pt x="3508" y="876"/>
                    </a:lnTo>
                    <a:lnTo>
                      <a:pt x="3500" y="878"/>
                    </a:lnTo>
                    <a:lnTo>
                      <a:pt x="3492" y="878"/>
                    </a:lnTo>
                    <a:lnTo>
                      <a:pt x="3482" y="872"/>
                    </a:lnTo>
                    <a:lnTo>
                      <a:pt x="3470" y="864"/>
                    </a:lnTo>
                    <a:lnTo>
                      <a:pt x="3470" y="864"/>
                    </a:lnTo>
                    <a:lnTo>
                      <a:pt x="3428" y="824"/>
                    </a:lnTo>
                    <a:lnTo>
                      <a:pt x="3402" y="796"/>
                    </a:lnTo>
                    <a:lnTo>
                      <a:pt x="3390" y="784"/>
                    </a:lnTo>
                    <a:lnTo>
                      <a:pt x="3380" y="776"/>
                    </a:lnTo>
                    <a:lnTo>
                      <a:pt x="3368" y="768"/>
                    </a:lnTo>
                    <a:lnTo>
                      <a:pt x="3352" y="762"/>
                    </a:lnTo>
                    <a:lnTo>
                      <a:pt x="3352" y="762"/>
                    </a:lnTo>
                    <a:lnTo>
                      <a:pt x="3346" y="760"/>
                    </a:lnTo>
                    <a:lnTo>
                      <a:pt x="3342" y="760"/>
                    </a:lnTo>
                    <a:lnTo>
                      <a:pt x="3338" y="762"/>
                    </a:lnTo>
                    <a:lnTo>
                      <a:pt x="3338" y="764"/>
                    </a:lnTo>
                    <a:lnTo>
                      <a:pt x="3340" y="772"/>
                    </a:lnTo>
                    <a:lnTo>
                      <a:pt x="3344" y="782"/>
                    </a:lnTo>
                    <a:lnTo>
                      <a:pt x="3348" y="792"/>
                    </a:lnTo>
                    <a:lnTo>
                      <a:pt x="3350" y="798"/>
                    </a:lnTo>
                    <a:lnTo>
                      <a:pt x="3348" y="798"/>
                    </a:lnTo>
                    <a:lnTo>
                      <a:pt x="3346" y="798"/>
                    </a:lnTo>
                    <a:lnTo>
                      <a:pt x="3336" y="790"/>
                    </a:lnTo>
                    <a:lnTo>
                      <a:pt x="3336" y="790"/>
                    </a:lnTo>
                    <a:lnTo>
                      <a:pt x="3318" y="778"/>
                    </a:lnTo>
                    <a:lnTo>
                      <a:pt x="3296" y="766"/>
                    </a:lnTo>
                    <a:lnTo>
                      <a:pt x="3270" y="754"/>
                    </a:lnTo>
                    <a:lnTo>
                      <a:pt x="3242" y="744"/>
                    </a:lnTo>
                    <a:lnTo>
                      <a:pt x="3208" y="734"/>
                    </a:lnTo>
                    <a:lnTo>
                      <a:pt x="3170" y="728"/>
                    </a:lnTo>
                    <a:lnTo>
                      <a:pt x="3128" y="722"/>
                    </a:lnTo>
                    <a:lnTo>
                      <a:pt x="3082" y="716"/>
                    </a:lnTo>
                    <a:lnTo>
                      <a:pt x="3082" y="716"/>
                    </a:lnTo>
                    <a:lnTo>
                      <a:pt x="3030" y="712"/>
                    </a:lnTo>
                    <a:lnTo>
                      <a:pt x="3012" y="708"/>
                    </a:lnTo>
                    <a:lnTo>
                      <a:pt x="3000" y="704"/>
                    </a:lnTo>
                    <a:lnTo>
                      <a:pt x="2994" y="702"/>
                    </a:lnTo>
                    <a:lnTo>
                      <a:pt x="2992" y="698"/>
                    </a:lnTo>
                    <a:lnTo>
                      <a:pt x="2992" y="694"/>
                    </a:lnTo>
                    <a:lnTo>
                      <a:pt x="2994" y="690"/>
                    </a:lnTo>
                    <a:lnTo>
                      <a:pt x="3002" y="684"/>
                    </a:lnTo>
                    <a:lnTo>
                      <a:pt x="3008" y="678"/>
                    </a:lnTo>
                    <a:lnTo>
                      <a:pt x="3008" y="676"/>
                    </a:lnTo>
                    <a:lnTo>
                      <a:pt x="3006" y="674"/>
                    </a:lnTo>
                    <a:lnTo>
                      <a:pt x="3002" y="672"/>
                    </a:lnTo>
                    <a:lnTo>
                      <a:pt x="2992" y="670"/>
                    </a:lnTo>
                    <a:lnTo>
                      <a:pt x="2992" y="670"/>
                    </a:lnTo>
                    <a:lnTo>
                      <a:pt x="2946" y="666"/>
                    </a:lnTo>
                    <a:lnTo>
                      <a:pt x="2904" y="664"/>
                    </a:lnTo>
                    <a:lnTo>
                      <a:pt x="2864" y="664"/>
                    </a:lnTo>
                    <a:lnTo>
                      <a:pt x="2844" y="666"/>
                    </a:lnTo>
                    <a:lnTo>
                      <a:pt x="2822" y="670"/>
                    </a:lnTo>
                    <a:lnTo>
                      <a:pt x="2822" y="670"/>
                    </a:lnTo>
                    <a:lnTo>
                      <a:pt x="2814" y="670"/>
                    </a:lnTo>
                    <a:lnTo>
                      <a:pt x="2806" y="670"/>
                    </a:lnTo>
                    <a:lnTo>
                      <a:pt x="2800" y="670"/>
                    </a:lnTo>
                    <a:lnTo>
                      <a:pt x="2794" y="668"/>
                    </a:lnTo>
                    <a:lnTo>
                      <a:pt x="2790" y="662"/>
                    </a:lnTo>
                    <a:lnTo>
                      <a:pt x="2786" y="654"/>
                    </a:lnTo>
                    <a:lnTo>
                      <a:pt x="2784" y="648"/>
                    </a:lnTo>
                    <a:lnTo>
                      <a:pt x="2780" y="644"/>
                    </a:lnTo>
                    <a:lnTo>
                      <a:pt x="2778" y="642"/>
                    </a:lnTo>
                    <a:lnTo>
                      <a:pt x="2774" y="642"/>
                    </a:lnTo>
                    <a:lnTo>
                      <a:pt x="2762" y="648"/>
                    </a:lnTo>
                    <a:lnTo>
                      <a:pt x="2762" y="648"/>
                    </a:lnTo>
                    <a:lnTo>
                      <a:pt x="2748" y="654"/>
                    </a:lnTo>
                    <a:lnTo>
                      <a:pt x="2738" y="654"/>
                    </a:lnTo>
                    <a:lnTo>
                      <a:pt x="2730" y="652"/>
                    </a:lnTo>
                    <a:lnTo>
                      <a:pt x="2722" y="648"/>
                    </a:lnTo>
                    <a:lnTo>
                      <a:pt x="2714" y="644"/>
                    </a:lnTo>
                    <a:lnTo>
                      <a:pt x="2704" y="640"/>
                    </a:lnTo>
                    <a:lnTo>
                      <a:pt x="2692" y="638"/>
                    </a:lnTo>
                    <a:lnTo>
                      <a:pt x="2676" y="640"/>
                    </a:lnTo>
                    <a:lnTo>
                      <a:pt x="2676" y="640"/>
                    </a:lnTo>
                    <a:lnTo>
                      <a:pt x="2660" y="644"/>
                    </a:lnTo>
                    <a:lnTo>
                      <a:pt x="2652" y="650"/>
                    </a:lnTo>
                    <a:lnTo>
                      <a:pt x="2650" y="658"/>
                    </a:lnTo>
                    <a:lnTo>
                      <a:pt x="2648" y="664"/>
                    </a:lnTo>
                    <a:lnTo>
                      <a:pt x="2642" y="672"/>
                    </a:lnTo>
                    <a:lnTo>
                      <a:pt x="2634" y="680"/>
                    </a:lnTo>
                    <a:lnTo>
                      <a:pt x="2614" y="686"/>
                    </a:lnTo>
                    <a:lnTo>
                      <a:pt x="2586" y="692"/>
                    </a:lnTo>
                    <a:lnTo>
                      <a:pt x="2586" y="692"/>
                    </a:lnTo>
                    <a:lnTo>
                      <a:pt x="2554" y="696"/>
                    </a:lnTo>
                    <a:lnTo>
                      <a:pt x="2530" y="698"/>
                    </a:lnTo>
                    <a:lnTo>
                      <a:pt x="2516" y="696"/>
                    </a:lnTo>
                    <a:lnTo>
                      <a:pt x="2512" y="694"/>
                    </a:lnTo>
                    <a:lnTo>
                      <a:pt x="2512" y="692"/>
                    </a:lnTo>
                    <a:lnTo>
                      <a:pt x="2512" y="690"/>
                    </a:lnTo>
                    <a:lnTo>
                      <a:pt x="2516" y="686"/>
                    </a:lnTo>
                    <a:lnTo>
                      <a:pt x="2528" y="676"/>
                    </a:lnTo>
                    <a:lnTo>
                      <a:pt x="2550" y="666"/>
                    </a:lnTo>
                    <a:lnTo>
                      <a:pt x="2580" y="652"/>
                    </a:lnTo>
                    <a:lnTo>
                      <a:pt x="2580" y="652"/>
                    </a:lnTo>
                    <a:lnTo>
                      <a:pt x="2610" y="640"/>
                    </a:lnTo>
                    <a:lnTo>
                      <a:pt x="2632" y="628"/>
                    </a:lnTo>
                    <a:lnTo>
                      <a:pt x="2660" y="610"/>
                    </a:lnTo>
                    <a:lnTo>
                      <a:pt x="2672" y="602"/>
                    </a:lnTo>
                    <a:lnTo>
                      <a:pt x="2688" y="594"/>
                    </a:lnTo>
                    <a:lnTo>
                      <a:pt x="2706" y="586"/>
                    </a:lnTo>
                    <a:lnTo>
                      <a:pt x="2734" y="576"/>
                    </a:lnTo>
                    <a:lnTo>
                      <a:pt x="2734" y="576"/>
                    </a:lnTo>
                    <a:lnTo>
                      <a:pt x="2762" y="566"/>
                    </a:lnTo>
                    <a:lnTo>
                      <a:pt x="2782" y="554"/>
                    </a:lnTo>
                    <a:lnTo>
                      <a:pt x="2788" y="548"/>
                    </a:lnTo>
                    <a:lnTo>
                      <a:pt x="2794" y="542"/>
                    </a:lnTo>
                    <a:lnTo>
                      <a:pt x="2802" y="528"/>
                    </a:lnTo>
                    <a:lnTo>
                      <a:pt x="2806" y="514"/>
                    </a:lnTo>
                    <a:lnTo>
                      <a:pt x="2806" y="502"/>
                    </a:lnTo>
                    <a:lnTo>
                      <a:pt x="2802" y="490"/>
                    </a:lnTo>
                    <a:lnTo>
                      <a:pt x="2798" y="478"/>
                    </a:lnTo>
                    <a:lnTo>
                      <a:pt x="2798" y="478"/>
                    </a:lnTo>
                    <a:lnTo>
                      <a:pt x="2792" y="470"/>
                    </a:lnTo>
                    <a:lnTo>
                      <a:pt x="2784" y="464"/>
                    </a:lnTo>
                    <a:lnTo>
                      <a:pt x="2776" y="462"/>
                    </a:lnTo>
                    <a:lnTo>
                      <a:pt x="2768" y="460"/>
                    </a:lnTo>
                    <a:lnTo>
                      <a:pt x="2748" y="454"/>
                    </a:lnTo>
                    <a:lnTo>
                      <a:pt x="2738" y="448"/>
                    </a:lnTo>
                    <a:lnTo>
                      <a:pt x="2724" y="438"/>
                    </a:lnTo>
                    <a:lnTo>
                      <a:pt x="2724" y="438"/>
                    </a:lnTo>
                    <a:lnTo>
                      <a:pt x="2712" y="430"/>
                    </a:lnTo>
                    <a:lnTo>
                      <a:pt x="2700" y="426"/>
                    </a:lnTo>
                    <a:lnTo>
                      <a:pt x="2686" y="424"/>
                    </a:lnTo>
                    <a:lnTo>
                      <a:pt x="2672" y="424"/>
                    </a:lnTo>
                    <a:lnTo>
                      <a:pt x="2644" y="428"/>
                    </a:lnTo>
                    <a:lnTo>
                      <a:pt x="2628" y="428"/>
                    </a:lnTo>
                    <a:lnTo>
                      <a:pt x="2612" y="426"/>
                    </a:lnTo>
                    <a:lnTo>
                      <a:pt x="2612" y="426"/>
                    </a:lnTo>
                    <a:lnTo>
                      <a:pt x="2598" y="424"/>
                    </a:lnTo>
                    <a:lnTo>
                      <a:pt x="2590" y="424"/>
                    </a:lnTo>
                    <a:lnTo>
                      <a:pt x="2582" y="426"/>
                    </a:lnTo>
                    <a:lnTo>
                      <a:pt x="2578" y="428"/>
                    </a:lnTo>
                    <a:lnTo>
                      <a:pt x="2574" y="432"/>
                    </a:lnTo>
                    <a:lnTo>
                      <a:pt x="2566" y="436"/>
                    </a:lnTo>
                    <a:lnTo>
                      <a:pt x="2554" y="440"/>
                    </a:lnTo>
                    <a:lnTo>
                      <a:pt x="2538" y="444"/>
                    </a:lnTo>
                    <a:lnTo>
                      <a:pt x="2538" y="444"/>
                    </a:lnTo>
                    <a:lnTo>
                      <a:pt x="2516" y="444"/>
                    </a:lnTo>
                    <a:lnTo>
                      <a:pt x="2512" y="444"/>
                    </a:lnTo>
                    <a:lnTo>
                      <a:pt x="2512" y="442"/>
                    </a:lnTo>
                    <a:lnTo>
                      <a:pt x="2516" y="436"/>
                    </a:lnTo>
                    <a:lnTo>
                      <a:pt x="2528" y="428"/>
                    </a:lnTo>
                    <a:lnTo>
                      <a:pt x="2538" y="420"/>
                    </a:lnTo>
                    <a:lnTo>
                      <a:pt x="2540" y="416"/>
                    </a:lnTo>
                    <a:lnTo>
                      <a:pt x="2542" y="412"/>
                    </a:lnTo>
                    <a:lnTo>
                      <a:pt x="2540" y="410"/>
                    </a:lnTo>
                    <a:lnTo>
                      <a:pt x="2534" y="406"/>
                    </a:lnTo>
                    <a:lnTo>
                      <a:pt x="2524" y="404"/>
                    </a:lnTo>
                    <a:lnTo>
                      <a:pt x="2508" y="402"/>
                    </a:lnTo>
                    <a:lnTo>
                      <a:pt x="2508" y="402"/>
                    </a:lnTo>
                    <a:lnTo>
                      <a:pt x="2478" y="400"/>
                    </a:lnTo>
                    <a:lnTo>
                      <a:pt x="2458" y="398"/>
                    </a:lnTo>
                    <a:lnTo>
                      <a:pt x="2448" y="394"/>
                    </a:lnTo>
                    <a:lnTo>
                      <a:pt x="2446" y="394"/>
                    </a:lnTo>
                    <a:lnTo>
                      <a:pt x="2446" y="392"/>
                    </a:lnTo>
                    <a:lnTo>
                      <a:pt x="2450" y="388"/>
                    </a:lnTo>
                    <a:lnTo>
                      <a:pt x="2458" y="386"/>
                    </a:lnTo>
                    <a:lnTo>
                      <a:pt x="2486" y="378"/>
                    </a:lnTo>
                    <a:lnTo>
                      <a:pt x="2486" y="378"/>
                    </a:lnTo>
                    <a:lnTo>
                      <a:pt x="2492" y="376"/>
                    </a:lnTo>
                    <a:lnTo>
                      <a:pt x="2496" y="374"/>
                    </a:lnTo>
                    <a:lnTo>
                      <a:pt x="2496" y="370"/>
                    </a:lnTo>
                    <a:lnTo>
                      <a:pt x="2496" y="366"/>
                    </a:lnTo>
                    <a:lnTo>
                      <a:pt x="2492" y="364"/>
                    </a:lnTo>
                    <a:lnTo>
                      <a:pt x="2486" y="360"/>
                    </a:lnTo>
                    <a:lnTo>
                      <a:pt x="2470" y="352"/>
                    </a:lnTo>
                    <a:lnTo>
                      <a:pt x="2448" y="348"/>
                    </a:lnTo>
                    <a:lnTo>
                      <a:pt x="2422" y="348"/>
                    </a:lnTo>
                    <a:lnTo>
                      <a:pt x="2408" y="348"/>
                    </a:lnTo>
                    <a:lnTo>
                      <a:pt x="2392" y="352"/>
                    </a:lnTo>
                    <a:lnTo>
                      <a:pt x="2378" y="356"/>
                    </a:lnTo>
                    <a:lnTo>
                      <a:pt x="2362" y="362"/>
                    </a:lnTo>
                    <a:lnTo>
                      <a:pt x="2362" y="362"/>
                    </a:lnTo>
                    <a:lnTo>
                      <a:pt x="2342" y="370"/>
                    </a:lnTo>
                    <a:lnTo>
                      <a:pt x="2326" y="380"/>
                    </a:lnTo>
                    <a:lnTo>
                      <a:pt x="2314" y="388"/>
                    </a:lnTo>
                    <a:lnTo>
                      <a:pt x="2304" y="396"/>
                    </a:lnTo>
                    <a:lnTo>
                      <a:pt x="2296" y="402"/>
                    </a:lnTo>
                    <a:lnTo>
                      <a:pt x="2292" y="408"/>
                    </a:lnTo>
                    <a:lnTo>
                      <a:pt x="2286" y="420"/>
                    </a:lnTo>
                    <a:lnTo>
                      <a:pt x="2284" y="428"/>
                    </a:lnTo>
                    <a:lnTo>
                      <a:pt x="2280" y="434"/>
                    </a:lnTo>
                    <a:lnTo>
                      <a:pt x="2276" y="436"/>
                    </a:lnTo>
                    <a:lnTo>
                      <a:pt x="2272" y="438"/>
                    </a:lnTo>
                    <a:lnTo>
                      <a:pt x="2256" y="440"/>
                    </a:lnTo>
                    <a:lnTo>
                      <a:pt x="2256" y="440"/>
                    </a:lnTo>
                    <a:lnTo>
                      <a:pt x="2224" y="442"/>
                    </a:lnTo>
                    <a:lnTo>
                      <a:pt x="2208" y="444"/>
                    </a:lnTo>
                    <a:lnTo>
                      <a:pt x="2206" y="444"/>
                    </a:lnTo>
                    <a:lnTo>
                      <a:pt x="2206" y="446"/>
                    </a:lnTo>
                    <a:lnTo>
                      <a:pt x="2206" y="448"/>
                    </a:lnTo>
                    <a:lnTo>
                      <a:pt x="2210" y="452"/>
                    </a:lnTo>
                    <a:lnTo>
                      <a:pt x="2208" y="456"/>
                    </a:lnTo>
                    <a:lnTo>
                      <a:pt x="2206" y="458"/>
                    </a:lnTo>
                    <a:lnTo>
                      <a:pt x="2192" y="464"/>
                    </a:lnTo>
                    <a:lnTo>
                      <a:pt x="2162" y="472"/>
                    </a:lnTo>
                    <a:lnTo>
                      <a:pt x="2162" y="472"/>
                    </a:lnTo>
                    <a:lnTo>
                      <a:pt x="2132" y="478"/>
                    </a:lnTo>
                    <a:lnTo>
                      <a:pt x="2118" y="478"/>
                    </a:lnTo>
                    <a:lnTo>
                      <a:pt x="2114" y="476"/>
                    </a:lnTo>
                    <a:lnTo>
                      <a:pt x="2112" y="474"/>
                    </a:lnTo>
                    <a:lnTo>
                      <a:pt x="2112" y="470"/>
                    </a:lnTo>
                    <a:lnTo>
                      <a:pt x="2110" y="468"/>
                    </a:lnTo>
                    <a:lnTo>
                      <a:pt x="2108" y="464"/>
                    </a:lnTo>
                    <a:lnTo>
                      <a:pt x="2106" y="462"/>
                    </a:lnTo>
                    <a:lnTo>
                      <a:pt x="2098" y="462"/>
                    </a:lnTo>
                    <a:lnTo>
                      <a:pt x="2076" y="460"/>
                    </a:lnTo>
                    <a:lnTo>
                      <a:pt x="2034" y="464"/>
                    </a:lnTo>
                    <a:lnTo>
                      <a:pt x="2034" y="464"/>
                    </a:lnTo>
                    <a:lnTo>
                      <a:pt x="1994" y="472"/>
                    </a:lnTo>
                    <a:lnTo>
                      <a:pt x="1982" y="474"/>
                    </a:lnTo>
                    <a:lnTo>
                      <a:pt x="1974" y="478"/>
                    </a:lnTo>
                    <a:lnTo>
                      <a:pt x="1970" y="482"/>
                    </a:lnTo>
                    <a:lnTo>
                      <a:pt x="1968" y="484"/>
                    </a:lnTo>
                    <a:lnTo>
                      <a:pt x="1970" y="490"/>
                    </a:lnTo>
                    <a:lnTo>
                      <a:pt x="1970" y="494"/>
                    </a:lnTo>
                    <a:lnTo>
                      <a:pt x="1970" y="496"/>
                    </a:lnTo>
                    <a:lnTo>
                      <a:pt x="1968" y="500"/>
                    </a:lnTo>
                    <a:lnTo>
                      <a:pt x="1964" y="502"/>
                    </a:lnTo>
                    <a:lnTo>
                      <a:pt x="1954" y="504"/>
                    </a:lnTo>
                    <a:lnTo>
                      <a:pt x="1942" y="506"/>
                    </a:lnTo>
                    <a:lnTo>
                      <a:pt x="1898" y="512"/>
                    </a:lnTo>
                    <a:lnTo>
                      <a:pt x="1898" y="512"/>
                    </a:lnTo>
                    <a:lnTo>
                      <a:pt x="1850" y="516"/>
                    </a:lnTo>
                    <a:lnTo>
                      <a:pt x="1818" y="522"/>
                    </a:lnTo>
                    <a:lnTo>
                      <a:pt x="1800" y="526"/>
                    </a:lnTo>
                    <a:lnTo>
                      <a:pt x="1790" y="532"/>
                    </a:lnTo>
                    <a:lnTo>
                      <a:pt x="1784" y="538"/>
                    </a:lnTo>
                    <a:lnTo>
                      <a:pt x="1776" y="542"/>
                    </a:lnTo>
                    <a:lnTo>
                      <a:pt x="1764" y="546"/>
                    </a:lnTo>
                    <a:lnTo>
                      <a:pt x="1742" y="550"/>
                    </a:lnTo>
                    <a:lnTo>
                      <a:pt x="1742" y="550"/>
                    </a:lnTo>
                    <a:lnTo>
                      <a:pt x="1728" y="550"/>
                    </a:lnTo>
                    <a:lnTo>
                      <a:pt x="1718" y="554"/>
                    </a:lnTo>
                    <a:lnTo>
                      <a:pt x="1708" y="558"/>
                    </a:lnTo>
                    <a:lnTo>
                      <a:pt x="1698" y="562"/>
                    </a:lnTo>
                    <a:lnTo>
                      <a:pt x="1692" y="566"/>
                    </a:lnTo>
                    <a:lnTo>
                      <a:pt x="1686" y="572"/>
                    </a:lnTo>
                    <a:lnTo>
                      <a:pt x="1682" y="578"/>
                    </a:lnTo>
                    <a:lnTo>
                      <a:pt x="1680" y="584"/>
                    </a:lnTo>
                    <a:lnTo>
                      <a:pt x="1678" y="590"/>
                    </a:lnTo>
                    <a:lnTo>
                      <a:pt x="1678" y="596"/>
                    </a:lnTo>
                    <a:lnTo>
                      <a:pt x="1680" y="602"/>
                    </a:lnTo>
                    <a:lnTo>
                      <a:pt x="1682" y="608"/>
                    </a:lnTo>
                    <a:lnTo>
                      <a:pt x="1686" y="612"/>
                    </a:lnTo>
                    <a:lnTo>
                      <a:pt x="1690" y="616"/>
                    </a:lnTo>
                    <a:lnTo>
                      <a:pt x="1696" y="618"/>
                    </a:lnTo>
                    <a:lnTo>
                      <a:pt x="1704" y="620"/>
                    </a:lnTo>
                    <a:lnTo>
                      <a:pt x="1704" y="620"/>
                    </a:lnTo>
                    <a:lnTo>
                      <a:pt x="1716" y="622"/>
                    </a:lnTo>
                    <a:lnTo>
                      <a:pt x="1724" y="624"/>
                    </a:lnTo>
                    <a:lnTo>
                      <a:pt x="1726" y="628"/>
                    </a:lnTo>
                    <a:lnTo>
                      <a:pt x="1724" y="634"/>
                    </a:lnTo>
                    <a:lnTo>
                      <a:pt x="1716" y="638"/>
                    </a:lnTo>
                    <a:lnTo>
                      <a:pt x="1704" y="644"/>
                    </a:lnTo>
                    <a:lnTo>
                      <a:pt x="1690" y="648"/>
                    </a:lnTo>
                    <a:lnTo>
                      <a:pt x="1672" y="652"/>
                    </a:lnTo>
                    <a:lnTo>
                      <a:pt x="1672" y="652"/>
                    </a:lnTo>
                    <a:lnTo>
                      <a:pt x="1638" y="658"/>
                    </a:lnTo>
                    <a:lnTo>
                      <a:pt x="1604" y="662"/>
                    </a:lnTo>
                    <a:lnTo>
                      <a:pt x="1542" y="662"/>
                    </a:lnTo>
                    <a:lnTo>
                      <a:pt x="1514" y="662"/>
                    </a:lnTo>
                    <a:lnTo>
                      <a:pt x="1490" y="666"/>
                    </a:lnTo>
                    <a:lnTo>
                      <a:pt x="1480" y="668"/>
                    </a:lnTo>
                    <a:lnTo>
                      <a:pt x="1470" y="672"/>
                    </a:lnTo>
                    <a:lnTo>
                      <a:pt x="1462" y="676"/>
                    </a:lnTo>
                    <a:lnTo>
                      <a:pt x="1458" y="682"/>
                    </a:lnTo>
                    <a:lnTo>
                      <a:pt x="1458" y="682"/>
                    </a:lnTo>
                    <a:lnTo>
                      <a:pt x="1450" y="692"/>
                    </a:lnTo>
                    <a:lnTo>
                      <a:pt x="1450" y="696"/>
                    </a:lnTo>
                    <a:lnTo>
                      <a:pt x="1452" y="698"/>
                    </a:lnTo>
                    <a:lnTo>
                      <a:pt x="1456" y="702"/>
                    </a:lnTo>
                    <a:lnTo>
                      <a:pt x="1462" y="704"/>
                    </a:lnTo>
                    <a:lnTo>
                      <a:pt x="1470" y="706"/>
                    </a:lnTo>
                    <a:lnTo>
                      <a:pt x="1476" y="710"/>
                    </a:lnTo>
                    <a:lnTo>
                      <a:pt x="1476" y="714"/>
                    </a:lnTo>
                    <a:lnTo>
                      <a:pt x="1476" y="718"/>
                    </a:lnTo>
                    <a:lnTo>
                      <a:pt x="1476" y="724"/>
                    </a:lnTo>
                    <a:lnTo>
                      <a:pt x="1472" y="732"/>
                    </a:lnTo>
                    <a:lnTo>
                      <a:pt x="1472" y="732"/>
                    </a:lnTo>
                    <a:lnTo>
                      <a:pt x="1468" y="738"/>
                    </a:lnTo>
                    <a:lnTo>
                      <a:pt x="1468" y="744"/>
                    </a:lnTo>
                    <a:lnTo>
                      <a:pt x="1468" y="748"/>
                    </a:lnTo>
                    <a:lnTo>
                      <a:pt x="1472" y="752"/>
                    </a:lnTo>
                    <a:lnTo>
                      <a:pt x="1480" y="756"/>
                    </a:lnTo>
                    <a:lnTo>
                      <a:pt x="1492" y="758"/>
                    </a:lnTo>
                    <a:lnTo>
                      <a:pt x="1506" y="760"/>
                    </a:lnTo>
                    <a:lnTo>
                      <a:pt x="1520" y="764"/>
                    </a:lnTo>
                    <a:lnTo>
                      <a:pt x="1524" y="766"/>
                    </a:lnTo>
                    <a:lnTo>
                      <a:pt x="1528" y="770"/>
                    </a:lnTo>
                    <a:lnTo>
                      <a:pt x="1532" y="774"/>
                    </a:lnTo>
                    <a:lnTo>
                      <a:pt x="1532" y="780"/>
                    </a:lnTo>
                    <a:lnTo>
                      <a:pt x="1532" y="780"/>
                    </a:lnTo>
                    <a:lnTo>
                      <a:pt x="1534" y="786"/>
                    </a:lnTo>
                    <a:lnTo>
                      <a:pt x="1536" y="790"/>
                    </a:lnTo>
                    <a:lnTo>
                      <a:pt x="1540" y="792"/>
                    </a:lnTo>
                    <a:lnTo>
                      <a:pt x="1546" y="794"/>
                    </a:lnTo>
                    <a:lnTo>
                      <a:pt x="1556" y="796"/>
                    </a:lnTo>
                    <a:lnTo>
                      <a:pt x="1568" y="796"/>
                    </a:lnTo>
                    <a:lnTo>
                      <a:pt x="1580" y="798"/>
                    </a:lnTo>
                    <a:lnTo>
                      <a:pt x="1584" y="800"/>
                    </a:lnTo>
                    <a:lnTo>
                      <a:pt x="1586" y="804"/>
                    </a:lnTo>
                    <a:lnTo>
                      <a:pt x="1588" y="806"/>
                    </a:lnTo>
                    <a:lnTo>
                      <a:pt x="1588" y="812"/>
                    </a:lnTo>
                    <a:lnTo>
                      <a:pt x="1586" y="818"/>
                    </a:lnTo>
                    <a:lnTo>
                      <a:pt x="1582" y="828"/>
                    </a:lnTo>
                    <a:lnTo>
                      <a:pt x="1582" y="828"/>
                    </a:lnTo>
                    <a:lnTo>
                      <a:pt x="1578" y="836"/>
                    </a:lnTo>
                    <a:lnTo>
                      <a:pt x="1576" y="844"/>
                    </a:lnTo>
                    <a:lnTo>
                      <a:pt x="1576" y="852"/>
                    </a:lnTo>
                    <a:lnTo>
                      <a:pt x="1578" y="858"/>
                    </a:lnTo>
                    <a:lnTo>
                      <a:pt x="1582" y="868"/>
                    </a:lnTo>
                    <a:lnTo>
                      <a:pt x="1590" y="876"/>
                    </a:lnTo>
                    <a:lnTo>
                      <a:pt x="1596" y="882"/>
                    </a:lnTo>
                    <a:lnTo>
                      <a:pt x="1598" y="886"/>
                    </a:lnTo>
                    <a:lnTo>
                      <a:pt x="1598" y="890"/>
                    </a:lnTo>
                    <a:lnTo>
                      <a:pt x="1598" y="896"/>
                    </a:lnTo>
                    <a:lnTo>
                      <a:pt x="1596" y="900"/>
                    </a:lnTo>
                    <a:lnTo>
                      <a:pt x="1590" y="906"/>
                    </a:lnTo>
                    <a:lnTo>
                      <a:pt x="1584" y="912"/>
                    </a:lnTo>
                    <a:lnTo>
                      <a:pt x="1584" y="912"/>
                    </a:lnTo>
                    <a:lnTo>
                      <a:pt x="1570" y="922"/>
                    </a:lnTo>
                    <a:lnTo>
                      <a:pt x="1566" y="924"/>
                    </a:lnTo>
                    <a:lnTo>
                      <a:pt x="1564" y="922"/>
                    </a:lnTo>
                    <a:lnTo>
                      <a:pt x="1566" y="912"/>
                    </a:lnTo>
                    <a:lnTo>
                      <a:pt x="1568" y="898"/>
                    </a:lnTo>
                    <a:lnTo>
                      <a:pt x="1572" y="884"/>
                    </a:lnTo>
                    <a:lnTo>
                      <a:pt x="1572" y="878"/>
                    </a:lnTo>
                    <a:lnTo>
                      <a:pt x="1572" y="872"/>
                    </a:lnTo>
                    <a:lnTo>
                      <a:pt x="1570" y="866"/>
                    </a:lnTo>
                    <a:lnTo>
                      <a:pt x="1566" y="864"/>
                    </a:lnTo>
                    <a:lnTo>
                      <a:pt x="1560" y="864"/>
                    </a:lnTo>
                    <a:lnTo>
                      <a:pt x="1552" y="866"/>
                    </a:lnTo>
                    <a:lnTo>
                      <a:pt x="1552" y="866"/>
                    </a:lnTo>
                    <a:lnTo>
                      <a:pt x="1542" y="868"/>
                    </a:lnTo>
                    <a:lnTo>
                      <a:pt x="1538" y="868"/>
                    </a:lnTo>
                    <a:lnTo>
                      <a:pt x="1536" y="866"/>
                    </a:lnTo>
                    <a:lnTo>
                      <a:pt x="1536" y="864"/>
                    </a:lnTo>
                    <a:lnTo>
                      <a:pt x="1542" y="856"/>
                    </a:lnTo>
                    <a:lnTo>
                      <a:pt x="1550" y="844"/>
                    </a:lnTo>
                    <a:lnTo>
                      <a:pt x="1560" y="832"/>
                    </a:lnTo>
                    <a:lnTo>
                      <a:pt x="1562" y="826"/>
                    </a:lnTo>
                    <a:lnTo>
                      <a:pt x="1564" y="820"/>
                    </a:lnTo>
                    <a:lnTo>
                      <a:pt x="1562" y="816"/>
                    </a:lnTo>
                    <a:lnTo>
                      <a:pt x="1558" y="812"/>
                    </a:lnTo>
                    <a:lnTo>
                      <a:pt x="1552" y="810"/>
                    </a:lnTo>
                    <a:lnTo>
                      <a:pt x="1540" y="810"/>
                    </a:lnTo>
                    <a:lnTo>
                      <a:pt x="1540" y="810"/>
                    </a:lnTo>
                    <a:lnTo>
                      <a:pt x="1518" y="810"/>
                    </a:lnTo>
                    <a:lnTo>
                      <a:pt x="1504" y="806"/>
                    </a:lnTo>
                    <a:lnTo>
                      <a:pt x="1492" y="798"/>
                    </a:lnTo>
                    <a:lnTo>
                      <a:pt x="1482" y="792"/>
                    </a:lnTo>
                    <a:lnTo>
                      <a:pt x="1472" y="782"/>
                    </a:lnTo>
                    <a:lnTo>
                      <a:pt x="1460" y="774"/>
                    </a:lnTo>
                    <a:lnTo>
                      <a:pt x="1442" y="768"/>
                    </a:lnTo>
                    <a:lnTo>
                      <a:pt x="1416" y="762"/>
                    </a:lnTo>
                    <a:lnTo>
                      <a:pt x="1416" y="762"/>
                    </a:lnTo>
                    <a:lnTo>
                      <a:pt x="1400" y="760"/>
                    </a:lnTo>
                    <a:lnTo>
                      <a:pt x="1386" y="760"/>
                    </a:lnTo>
                    <a:lnTo>
                      <a:pt x="1374" y="760"/>
                    </a:lnTo>
                    <a:lnTo>
                      <a:pt x="1364" y="762"/>
                    </a:lnTo>
                    <a:lnTo>
                      <a:pt x="1358" y="764"/>
                    </a:lnTo>
                    <a:lnTo>
                      <a:pt x="1352" y="768"/>
                    </a:lnTo>
                    <a:lnTo>
                      <a:pt x="1346" y="776"/>
                    </a:lnTo>
                    <a:lnTo>
                      <a:pt x="1342" y="784"/>
                    </a:lnTo>
                    <a:lnTo>
                      <a:pt x="1340" y="790"/>
                    </a:lnTo>
                    <a:lnTo>
                      <a:pt x="1336" y="794"/>
                    </a:lnTo>
                    <a:lnTo>
                      <a:pt x="1334" y="794"/>
                    </a:lnTo>
                    <a:lnTo>
                      <a:pt x="1330" y="792"/>
                    </a:lnTo>
                    <a:lnTo>
                      <a:pt x="1330" y="792"/>
                    </a:lnTo>
                    <a:lnTo>
                      <a:pt x="1316" y="788"/>
                    </a:lnTo>
                    <a:lnTo>
                      <a:pt x="1302" y="788"/>
                    </a:lnTo>
                    <a:lnTo>
                      <a:pt x="1292" y="792"/>
                    </a:lnTo>
                    <a:lnTo>
                      <a:pt x="1284" y="796"/>
                    </a:lnTo>
                    <a:lnTo>
                      <a:pt x="1282" y="800"/>
                    </a:lnTo>
                    <a:lnTo>
                      <a:pt x="1282" y="804"/>
                    </a:lnTo>
                    <a:lnTo>
                      <a:pt x="1282" y="808"/>
                    </a:lnTo>
                    <a:lnTo>
                      <a:pt x="1284" y="812"/>
                    </a:lnTo>
                    <a:lnTo>
                      <a:pt x="1288" y="816"/>
                    </a:lnTo>
                    <a:lnTo>
                      <a:pt x="1294" y="820"/>
                    </a:lnTo>
                    <a:lnTo>
                      <a:pt x="1314" y="828"/>
                    </a:lnTo>
                    <a:lnTo>
                      <a:pt x="1314" y="828"/>
                    </a:lnTo>
                    <a:lnTo>
                      <a:pt x="1332" y="834"/>
                    </a:lnTo>
                    <a:lnTo>
                      <a:pt x="1342" y="840"/>
                    </a:lnTo>
                    <a:lnTo>
                      <a:pt x="1344" y="842"/>
                    </a:lnTo>
                    <a:lnTo>
                      <a:pt x="1344" y="844"/>
                    </a:lnTo>
                    <a:lnTo>
                      <a:pt x="1340" y="846"/>
                    </a:lnTo>
                    <a:lnTo>
                      <a:pt x="1332" y="848"/>
                    </a:lnTo>
                    <a:lnTo>
                      <a:pt x="1318" y="848"/>
                    </a:lnTo>
                    <a:lnTo>
                      <a:pt x="1280" y="844"/>
                    </a:lnTo>
                    <a:lnTo>
                      <a:pt x="1280" y="844"/>
                    </a:lnTo>
                    <a:lnTo>
                      <a:pt x="1270" y="842"/>
                    </a:lnTo>
                    <a:lnTo>
                      <a:pt x="1264" y="840"/>
                    </a:lnTo>
                    <a:lnTo>
                      <a:pt x="1260" y="836"/>
                    </a:lnTo>
                    <a:lnTo>
                      <a:pt x="1256" y="830"/>
                    </a:lnTo>
                    <a:lnTo>
                      <a:pt x="1256" y="824"/>
                    </a:lnTo>
                    <a:lnTo>
                      <a:pt x="1256" y="818"/>
                    </a:lnTo>
                    <a:lnTo>
                      <a:pt x="1260" y="804"/>
                    </a:lnTo>
                    <a:lnTo>
                      <a:pt x="1264" y="788"/>
                    </a:lnTo>
                    <a:lnTo>
                      <a:pt x="1268" y="772"/>
                    </a:lnTo>
                    <a:lnTo>
                      <a:pt x="1270" y="758"/>
                    </a:lnTo>
                    <a:lnTo>
                      <a:pt x="1268" y="750"/>
                    </a:lnTo>
                    <a:lnTo>
                      <a:pt x="1266" y="744"/>
                    </a:lnTo>
                    <a:lnTo>
                      <a:pt x="1266" y="744"/>
                    </a:lnTo>
                    <a:lnTo>
                      <a:pt x="1258" y="734"/>
                    </a:lnTo>
                    <a:lnTo>
                      <a:pt x="1250" y="726"/>
                    </a:lnTo>
                    <a:lnTo>
                      <a:pt x="1244" y="722"/>
                    </a:lnTo>
                    <a:lnTo>
                      <a:pt x="1240" y="722"/>
                    </a:lnTo>
                    <a:lnTo>
                      <a:pt x="1236" y="724"/>
                    </a:lnTo>
                    <a:lnTo>
                      <a:pt x="1234" y="730"/>
                    </a:lnTo>
                    <a:lnTo>
                      <a:pt x="1234" y="738"/>
                    </a:lnTo>
                    <a:lnTo>
                      <a:pt x="1238" y="752"/>
                    </a:lnTo>
                    <a:lnTo>
                      <a:pt x="1238" y="752"/>
                    </a:lnTo>
                    <a:lnTo>
                      <a:pt x="1240" y="762"/>
                    </a:lnTo>
                    <a:lnTo>
                      <a:pt x="1238" y="772"/>
                    </a:lnTo>
                    <a:lnTo>
                      <a:pt x="1236" y="778"/>
                    </a:lnTo>
                    <a:lnTo>
                      <a:pt x="1230" y="784"/>
                    </a:lnTo>
                    <a:lnTo>
                      <a:pt x="1224" y="788"/>
                    </a:lnTo>
                    <a:lnTo>
                      <a:pt x="1216" y="792"/>
                    </a:lnTo>
                    <a:lnTo>
                      <a:pt x="1198" y="798"/>
                    </a:lnTo>
                    <a:lnTo>
                      <a:pt x="1182" y="804"/>
                    </a:lnTo>
                    <a:lnTo>
                      <a:pt x="1176" y="808"/>
                    </a:lnTo>
                    <a:lnTo>
                      <a:pt x="1170" y="812"/>
                    </a:lnTo>
                    <a:lnTo>
                      <a:pt x="1168" y="818"/>
                    </a:lnTo>
                    <a:lnTo>
                      <a:pt x="1168" y="824"/>
                    </a:lnTo>
                    <a:lnTo>
                      <a:pt x="1172" y="832"/>
                    </a:lnTo>
                    <a:lnTo>
                      <a:pt x="1178" y="842"/>
                    </a:lnTo>
                    <a:lnTo>
                      <a:pt x="1178" y="842"/>
                    </a:lnTo>
                    <a:lnTo>
                      <a:pt x="1200" y="870"/>
                    </a:lnTo>
                    <a:lnTo>
                      <a:pt x="1208" y="878"/>
                    </a:lnTo>
                    <a:lnTo>
                      <a:pt x="1212" y="886"/>
                    </a:lnTo>
                    <a:lnTo>
                      <a:pt x="1212" y="894"/>
                    </a:lnTo>
                    <a:lnTo>
                      <a:pt x="1210" y="902"/>
                    </a:lnTo>
                    <a:lnTo>
                      <a:pt x="1204" y="912"/>
                    </a:lnTo>
                    <a:lnTo>
                      <a:pt x="1194" y="926"/>
                    </a:lnTo>
                    <a:lnTo>
                      <a:pt x="1194" y="926"/>
                    </a:lnTo>
                    <a:lnTo>
                      <a:pt x="1184" y="940"/>
                    </a:lnTo>
                    <a:lnTo>
                      <a:pt x="1180" y="950"/>
                    </a:lnTo>
                    <a:lnTo>
                      <a:pt x="1180" y="956"/>
                    </a:lnTo>
                    <a:lnTo>
                      <a:pt x="1182" y="962"/>
                    </a:lnTo>
                    <a:lnTo>
                      <a:pt x="1190" y="974"/>
                    </a:lnTo>
                    <a:lnTo>
                      <a:pt x="1192" y="982"/>
                    </a:lnTo>
                    <a:lnTo>
                      <a:pt x="1194" y="992"/>
                    </a:lnTo>
                    <a:lnTo>
                      <a:pt x="1194" y="992"/>
                    </a:lnTo>
                    <a:lnTo>
                      <a:pt x="1194" y="996"/>
                    </a:lnTo>
                    <a:lnTo>
                      <a:pt x="1196" y="1000"/>
                    </a:lnTo>
                    <a:lnTo>
                      <a:pt x="1200" y="1002"/>
                    </a:lnTo>
                    <a:lnTo>
                      <a:pt x="1204" y="1002"/>
                    </a:lnTo>
                    <a:lnTo>
                      <a:pt x="1218" y="1000"/>
                    </a:lnTo>
                    <a:lnTo>
                      <a:pt x="1234" y="996"/>
                    </a:lnTo>
                    <a:lnTo>
                      <a:pt x="1254" y="992"/>
                    </a:lnTo>
                    <a:lnTo>
                      <a:pt x="1276" y="992"/>
                    </a:lnTo>
                    <a:lnTo>
                      <a:pt x="1288" y="992"/>
                    </a:lnTo>
                    <a:lnTo>
                      <a:pt x="1298" y="994"/>
                    </a:lnTo>
                    <a:lnTo>
                      <a:pt x="1310" y="998"/>
                    </a:lnTo>
                    <a:lnTo>
                      <a:pt x="1322" y="1004"/>
                    </a:lnTo>
                    <a:lnTo>
                      <a:pt x="1322" y="1004"/>
                    </a:lnTo>
                    <a:lnTo>
                      <a:pt x="1340" y="1016"/>
                    </a:lnTo>
                    <a:lnTo>
                      <a:pt x="1352" y="1028"/>
                    </a:lnTo>
                    <a:lnTo>
                      <a:pt x="1358" y="1036"/>
                    </a:lnTo>
                    <a:lnTo>
                      <a:pt x="1360" y="1044"/>
                    </a:lnTo>
                    <a:lnTo>
                      <a:pt x="1360" y="1050"/>
                    </a:lnTo>
                    <a:lnTo>
                      <a:pt x="1356" y="1054"/>
                    </a:lnTo>
                    <a:lnTo>
                      <a:pt x="1350" y="1066"/>
                    </a:lnTo>
                    <a:lnTo>
                      <a:pt x="1350" y="1066"/>
                    </a:lnTo>
                    <a:lnTo>
                      <a:pt x="1342" y="1078"/>
                    </a:lnTo>
                    <a:lnTo>
                      <a:pt x="1334" y="1092"/>
                    </a:lnTo>
                    <a:lnTo>
                      <a:pt x="1332" y="1096"/>
                    </a:lnTo>
                    <a:lnTo>
                      <a:pt x="1330" y="1098"/>
                    </a:lnTo>
                    <a:lnTo>
                      <a:pt x="1330" y="1092"/>
                    </a:lnTo>
                    <a:lnTo>
                      <a:pt x="1332" y="1082"/>
                    </a:lnTo>
                    <a:lnTo>
                      <a:pt x="1332" y="1082"/>
                    </a:lnTo>
                    <a:lnTo>
                      <a:pt x="1334" y="1066"/>
                    </a:lnTo>
                    <a:lnTo>
                      <a:pt x="1334" y="1052"/>
                    </a:lnTo>
                    <a:lnTo>
                      <a:pt x="1330" y="1038"/>
                    </a:lnTo>
                    <a:lnTo>
                      <a:pt x="1322" y="1026"/>
                    </a:lnTo>
                    <a:lnTo>
                      <a:pt x="1318" y="1020"/>
                    </a:lnTo>
                    <a:lnTo>
                      <a:pt x="1312" y="1016"/>
                    </a:lnTo>
                    <a:lnTo>
                      <a:pt x="1304" y="1014"/>
                    </a:lnTo>
                    <a:lnTo>
                      <a:pt x="1298" y="1012"/>
                    </a:lnTo>
                    <a:lnTo>
                      <a:pt x="1288" y="1010"/>
                    </a:lnTo>
                    <a:lnTo>
                      <a:pt x="1278" y="1010"/>
                    </a:lnTo>
                    <a:lnTo>
                      <a:pt x="1266" y="1012"/>
                    </a:lnTo>
                    <a:lnTo>
                      <a:pt x="1254" y="1016"/>
                    </a:lnTo>
                    <a:lnTo>
                      <a:pt x="1254" y="1016"/>
                    </a:lnTo>
                    <a:lnTo>
                      <a:pt x="1242" y="1020"/>
                    </a:lnTo>
                    <a:lnTo>
                      <a:pt x="1234" y="1026"/>
                    </a:lnTo>
                    <a:lnTo>
                      <a:pt x="1228" y="1032"/>
                    </a:lnTo>
                    <a:lnTo>
                      <a:pt x="1224" y="1036"/>
                    </a:lnTo>
                    <a:lnTo>
                      <a:pt x="1222" y="1044"/>
                    </a:lnTo>
                    <a:lnTo>
                      <a:pt x="1222" y="1050"/>
                    </a:lnTo>
                    <a:lnTo>
                      <a:pt x="1226" y="1062"/>
                    </a:lnTo>
                    <a:lnTo>
                      <a:pt x="1230" y="1076"/>
                    </a:lnTo>
                    <a:lnTo>
                      <a:pt x="1234" y="1088"/>
                    </a:lnTo>
                    <a:lnTo>
                      <a:pt x="1234" y="1092"/>
                    </a:lnTo>
                    <a:lnTo>
                      <a:pt x="1232" y="1098"/>
                    </a:lnTo>
                    <a:lnTo>
                      <a:pt x="1228" y="1102"/>
                    </a:lnTo>
                    <a:lnTo>
                      <a:pt x="1222" y="1106"/>
                    </a:lnTo>
                    <a:lnTo>
                      <a:pt x="1222" y="1106"/>
                    </a:lnTo>
                    <a:lnTo>
                      <a:pt x="1210" y="1112"/>
                    </a:lnTo>
                    <a:lnTo>
                      <a:pt x="1202" y="1120"/>
                    </a:lnTo>
                    <a:lnTo>
                      <a:pt x="1198" y="1128"/>
                    </a:lnTo>
                    <a:lnTo>
                      <a:pt x="1196" y="1136"/>
                    </a:lnTo>
                    <a:lnTo>
                      <a:pt x="1194" y="1144"/>
                    </a:lnTo>
                    <a:lnTo>
                      <a:pt x="1188" y="1152"/>
                    </a:lnTo>
                    <a:lnTo>
                      <a:pt x="1180" y="1160"/>
                    </a:lnTo>
                    <a:lnTo>
                      <a:pt x="1166" y="1168"/>
                    </a:lnTo>
                    <a:lnTo>
                      <a:pt x="1166" y="1168"/>
                    </a:lnTo>
                    <a:lnTo>
                      <a:pt x="1152" y="1176"/>
                    </a:lnTo>
                    <a:lnTo>
                      <a:pt x="1144" y="1184"/>
                    </a:lnTo>
                    <a:lnTo>
                      <a:pt x="1136" y="1196"/>
                    </a:lnTo>
                    <a:lnTo>
                      <a:pt x="1130" y="1200"/>
                    </a:lnTo>
                    <a:lnTo>
                      <a:pt x="1118" y="1202"/>
                    </a:lnTo>
                    <a:lnTo>
                      <a:pt x="1100" y="1200"/>
                    </a:lnTo>
                    <a:lnTo>
                      <a:pt x="1070" y="1196"/>
                    </a:lnTo>
                    <a:lnTo>
                      <a:pt x="1070" y="1196"/>
                    </a:lnTo>
                    <a:lnTo>
                      <a:pt x="1044" y="1190"/>
                    </a:lnTo>
                    <a:lnTo>
                      <a:pt x="1036" y="1186"/>
                    </a:lnTo>
                    <a:lnTo>
                      <a:pt x="1036" y="1186"/>
                    </a:lnTo>
                    <a:lnTo>
                      <a:pt x="1040" y="1184"/>
                    </a:lnTo>
                    <a:lnTo>
                      <a:pt x="1052" y="1180"/>
                    </a:lnTo>
                    <a:lnTo>
                      <a:pt x="1072" y="1176"/>
                    </a:lnTo>
                    <a:lnTo>
                      <a:pt x="1094" y="1168"/>
                    </a:lnTo>
                    <a:lnTo>
                      <a:pt x="1104" y="1162"/>
                    </a:lnTo>
                    <a:lnTo>
                      <a:pt x="1114" y="1156"/>
                    </a:lnTo>
                    <a:lnTo>
                      <a:pt x="1122" y="1148"/>
                    </a:lnTo>
                    <a:lnTo>
                      <a:pt x="1128" y="1138"/>
                    </a:lnTo>
                    <a:lnTo>
                      <a:pt x="1128" y="1138"/>
                    </a:lnTo>
                    <a:lnTo>
                      <a:pt x="1138" y="1122"/>
                    </a:lnTo>
                    <a:lnTo>
                      <a:pt x="1146" y="1112"/>
                    </a:lnTo>
                    <a:lnTo>
                      <a:pt x="1154" y="1106"/>
                    </a:lnTo>
                    <a:lnTo>
                      <a:pt x="1160" y="1104"/>
                    </a:lnTo>
                    <a:lnTo>
                      <a:pt x="1166" y="1100"/>
                    </a:lnTo>
                    <a:lnTo>
                      <a:pt x="1170" y="1096"/>
                    </a:lnTo>
                    <a:lnTo>
                      <a:pt x="1174" y="1088"/>
                    </a:lnTo>
                    <a:lnTo>
                      <a:pt x="1176" y="1072"/>
                    </a:lnTo>
                    <a:lnTo>
                      <a:pt x="1176" y="1072"/>
                    </a:lnTo>
                    <a:lnTo>
                      <a:pt x="1176" y="1058"/>
                    </a:lnTo>
                    <a:lnTo>
                      <a:pt x="1174" y="1044"/>
                    </a:lnTo>
                    <a:lnTo>
                      <a:pt x="1166" y="1034"/>
                    </a:lnTo>
                    <a:lnTo>
                      <a:pt x="1160" y="1026"/>
                    </a:lnTo>
                    <a:lnTo>
                      <a:pt x="1152" y="1016"/>
                    </a:lnTo>
                    <a:lnTo>
                      <a:pt x="1146" y="1004"/>
                    </a:lnTo>
                    <a:lnTo>
                      <a:pt x="1142" y="988"/>
                    </a:lnTo>
                    <a:lnTo>
                      <a:pt x="1142" y="968"/>
                    </a:lnTo>
                    <a:lnTo>
                      <a:pt x="1142" y="968"/>
                    </a:lnTo>
                    <a:lnTo>
                      <a:pt x="1150" y="928"/>
                    </a:lnTo>
                    <a:lnTo>
                      <a:pt x="1152" y="910"/>
                    </a:lnTo>
                    <a:lnTo>
                      <a:pt x="1154" y="896"/>
                    </a:lnTo>
                    <a:lnTo>
                      <a:pt x="1152" y="882"/>
                    </a:lnTo>
                    <a:lnTo>
                      <a:pt x="1148" y="868"/>
                    </a:lnTo>
                    <a:lnTo>
                      <a:pt x="1140" y="856"/>
                    </a:lnTo>
                    <a:lnTo>
                      <a:pt x="1126" y="844"/>
                    </a:lnTo>
                    <a:lnTo>
                      <a:pt x="1126" y="844"/>
                    </a:lnTo>
                    <a:lnTo>
                      <a:pt x="1116" y="832"/>
                    </a:lnTo>
                    <a:lnTo>
                      <a:pt x="1114" y="828"/>
                    </a:lnTo>
                    <a:lnTo>
                      <a:pt x="1112" y="824"/>
                    </a:lnTo>
                    <a:lnTo>
                      <a:pt x="1114" y="822"/>
                    </a:lnTo>
                    <a:lnTo>
                      <a:pt x="1118" y="818"/>
                    </a:lnTo>
                    <a:lnTo>
                      <a:pt x="1126" y="812"/>
                    </a:lnTo>
                    <a:lnTo>
                      <a:pt x="1136" y="804"/>
                    </a:lnTo>
                    <a:lnTo>
                      <a:pt x="1146" y="796"/>
                    </a:lnTo>
                    <a:lnTo>
                      <a:pt x="1150" y="790"/>
                    </a:lnTo>
                    <a:lnTo>
                      <a:pt x="1154" y="782"/>
                    </a:lnTo>
                    <a:lnTo>
                      <a:pt x="1156" y="774"/>
                    </a:lnTo>
                    <a:lnTo>
                      <a:pt x="1156" y="764"/>
                    </a:lnTo>
                    <a:lnTo>
                      <a:pt x="1156" y="764"/>
                    </a:lnTo>
                    <a:lnTo>
                      <a:pt x="1156" y="754"/>
                    </a:lnTo>
                    <a:lnTo>
                      <a:pt x="1152" y="744"/>
                    </a:lnTo>
                    <a:lnTo>
                      <a:pt x="1148" y="738"/>
                    </a:lnTo>
                    <a:lnTo>
                      <a:pt x="1142" y="732"/>
                    </a:lnTo>
                    <a:lnTo>
                      <a:pt x="1134" y="728"/>
                    </a:lnTo>
                    <a:lnTo>
                      <a:pt x="1126" y="724"/>
                    </a:lnTo>
                    <a:lnTo>
                      <a:pt x="1106" y="722"/>
                    </a:lnTo>
                    <a:lnTo>
                      <a:pt x="1086" y="722"/>
                    </a:lnTo>
                    <a:lnTo>
                      <a:pt x="1064" y="724"/>
                    </a:lnTo>
                    <a:lnTo>
                      <a:pt x="1044" y="724"/>
                    </a:lnTo>
                    <a:lnTo>
                      <a:pt x="1028" y="722"/>
                    </a:lnTo>
                    <a:lnTo>
                      <a:pt x="1028" y="722"/>
                    </a:lnTo>
                    <a:lnTo>
                      <a:pt x="1020" y="722"/>
                    </a:lnTo>
                    <a:lnTo>
                      <a:pt x="1012" y="722"/>
                    </a:lnTo>
                    <a:lnTo>
                      <a:pt x="1006" y="726"/>
                    </a:lnTo>
                    <a:lnTo>
                      <a:pt x="1002" y="732"/>
                    </a:lnTo>
                    <a:lnTo>
                      <a:pt x="994" y="748"/>
                    </a:lnTo>
                    <a:lnTo>
                      <a:pt x="988" y="766"/>
                    </a:lnTo>
                    <a:lnTo>
                      <a:pt x="980" y="788"/>
                    </a:lnTo>
                    <a:lnTo>
                      <a:pt x="970" y="808"/>
                    </a:lnTo>
                    <a:lnTo>
                      <a:pt x="964" y="816"/>
                    </a:lnTo>
                    <a:lnTo>
                      <a:pt x="958" y="824"/>
                    </a:lnTo>
                    <a:lnTo>
                      <a:pt x="948" y="832"/>
                    </a:lnTo>
                    <a:lnTo>
                      <a:pt x="938" y="838"/>
                    </a:lnTo>
                    <a:lnTo>
                      <a:pt x="938" y="838"/>
                    </a:lnTo>
                    <a:lnTo>
                      <a:pt x="916" y="848"/>
                    </a:lnTo>
                    <a:lnTo>
                      <a:pt x="908" y="854"/>
                    </a:lnTo>
                    <a:lnTo>
                      <a:pt x="906" y="858"/>
                    </a:lnTo>
                    <a:lnTo>
                      <a:pt x="904" y="862"/>
                    </a:lnTo>
                    <a:lnTo>
                      <a:pt x="906" y="866"/>
                    </a:lnTo>
                    <a:lnTo>
                      <a:pt x="912" y="874"/>
                    </a:lnTo>
                    <a:lnTo>
                      <a:pt x="920" y="884"/>
                    </a:lnTo>
                    <a:lnTo>
                      <a:pt x="922" y="888"/>
                    </a:lnTo>
                    <a:lnTo>
                      <a:pt x="926" y="894"/>
                    </a:lnTo>
                    <a:lnTo>
                      <a:pt x="926" y="902"/>
                    </a:lnTo>
                    <a:lnTo>
                      <a:pt x="926" y="910"/>
                    </a:lnTo>
                    <a:lnTo>
                      <a:pt x="922" y="918"/>
                    </a:lnTo>
                    <a:lnTo>
                      <a:pt x="916" y="928"/>
                    </a:lnTo>
                    <a:lnTo>
                      <a:pt x="916" y="928"/>
                    </a:lnTo>
                    <a:lnTo>
                      <a:pt x="912" y="938"/>
                    </a:lnTo>
                    <a:lnTo>
                      <a:pt x="910" y="948"/>
                    </a:lnTo>
                    <a:lnTo>
                      <a:pt x="912" y="954"/>
                    </a:lnTo>
                    <a:lnTo>
                      <a:pt x="916" y="962"/>
                    </a:lnTo>
                    <a:lnTo>
                      <a:pt x="924" y="968"/>
                    </a:lnTo>
                    <a:lnTo>
                      <a:pt x="932" y="974"/>
                    </a:lnTo>
                    <a:lnTo>
                      <a:pt x="952" y="986"/>
                    </a:lnTo>
                    <a:lnTo>
                      <a:pt x="974" y="996"/>
                    </a:lnTo>
                    <a:lnTo>
                      <a:pt x="982" y="1002"/>
                    </a:lnTo>
                    <a:lnTo>
                      <a:pt x="990" y="1008"/>
                    </a:lnTo>
                    <a:lnTo>
                      <a:pt x="996" y="1014"/>
                    </a:lnTo>
                    <a:lnTo>
                      <a:pt x="998" y="1022"/>
                    </a:lnTo>
                    <a:lnTo>
                      <a:pt x="998" y="1030"/>
                    </a:lnTo>
                    <a:lnTo>
                      <a:pt x="992" y="1040"/>
                    </a:lnTo>
                    <a:lnTo>
                      <a:pt x="992" y="1040"/>
                    </a:lnTo>
                    <a:lnTo>
                      <a:pt x="982" y="1054"/>
                    </a:lnTo>
                    <a:lnTo>
                      <a:pt x="978" y="1058"/>
                    </a:lnTo>
                    <a:lnTo>
                      <a:pt x="974" y="1060"/>
                    </a:lnTo>
                    <a:lnTo>
                      <a:pt x="970" y="1060"/>
                    </a:lnTo>
                    <a:lnTo>
                      <a:pt x="966" y="1060"/>
                    </a:lnTo>
                    <a:lnTo>
                      <a:pt x="956" y="1052"/>
                    </a:lnTo>
                    <a:lnTo>
                      <a:pt x="942" y="1040"/>
                    </a:lnTo>
                    <a:lnTo>
                      <a:pt x="918" y="1024"/>
                    </a:lnTo>
                    <a:lnTo>
                      <a:pt x="884" y="1004"/>
                    </a:lnTo>
                    <a:lnTo>
                      <a:pt x="862" y="994"/>
                    </a:lnTo>
                    <a:lnTo>
                      <a:pt x="838" y="984"/>
                    </a:lnTo>
                    <a:lnTo>
                      <a:pt x="838" y="984"/>
                    </a:lnTo>
                    <a:lnTo>
                      <a:pt x="810" y="974"/>
                    </a:lnTo>
                    <a:lnTo>
                      <a:pt x="786" y="966"/>
                    </a:lnTo>
                    <a:lnTo>
                      <a:pt x="762" y="960"/>
                    </a:lnTo>
                    <a:lnTo>
                      <a:pt x="742" y="956"/>
                    </a:lnTo>
                    <a:lnTo>
                      <a:pt x="724" y="954"/>
                    </a:lnTo>
                    <a:lnTo>
                      <a:pt x="706" y="952"/>
                    </a:lnTo>
                    <a:lnTo>
                      <a:pt x="692" y="952"/>
                    </a:lnTo>
                    <a:lnTo>
                      <a:pt x="678" y="954"/>
                    </a:lnTo>
                    <a:lnTo>
                      <a:pt x="668" y="956"/>
                    </a:lnTo>
                    <a:lnTo>
                      <a:pt x="660" y="960"/>
                    </a:lnTo>
                    <a:lnTo>
                      <a:pt x="654" y="964"/>
                    </a:lnTo>
                    <a:lnTo>
                      <a:pt x="650" y="968"/>
                    </a:lnTo>
                    <a:lnTo>
                      <a:pt x="650" y="974"/>
                    </a:lnTo>
                    <a:lnTo>
                      <a:pt x="650" y="980"/>
                    </a:lnTo>
                    <a:lnTo>
                      <a:pt x="654" y="986"/>
                    </a:lnTo>
                    <a:lnTo>
                      <a:pt x="660" y="994"/>
                    </a:lnTo>
                    <a:lnTo>
                      <a:pt x="660" y="994"/>
                    </a:lnTo>
                    <a:lnTo>
                      <a:pt x="664" y="998"/>
                    </a:lnTo>
                    <a:lnTo>
                      <a:pt x="664" y="1004"/>
                    </a:lnTo>
                    <a:lnTo>
                      <a:pt x="664" y="1010"/>
                    </a:lnTo>
                    <a:lnTo>
                      <a:pt x="662" y="1016"/>
                    </a:lnTo>
                    <a:lnTo>
                      <a:pt x="654" y="1028"/>
                    </a:lnTo>
                    <a:lnTo>
                      <a:pt x="642" y="1038"/>
                    </a:lnTo>
                    <a:lnTo>
                      <a:pt x="628" y="1044"/>
                    </a:lnTo>
                    <a:lnTo>
                      <a:pt x="622" y="1046"/>
                    </a:lnTo>
                    <a:lnTo>
                      <a:pt x="618" y="1046"/>
                    </a:lnTo>
                    <a:lnTo>
                      <a:pt x="612" y="1046"/>
                    </a:lnTo>
                    <a:lnTo>
                      <a:pt x="608" y="1042"/>
                    </a:lnTo>
                    <a:lnTo>
                      <a:pt x="606" y="1038"/>
                    </a:lnTo>
                    <a:lnTo>
                      <a:pt x="606" y="1030"/>
                    </a:lnTo>
                    <a:lnTo>
                      <a:pt x="606" y="1030"/>
                    </a:lnTo>
                    <a:lnTo>
                      <a:pt x="604" y="1018"/>
                    </a:lnTo>
                    <a:lnTo>
                      <a:pt x="602" y="1010"/>
                    </a:lnTo>
                    <a:lnTo>
                      <a:pt x="596" y="1006"/>
                    </a:lnTo>
                    <a:lnTo>
                      <a:pt x="590" y="1006"/>
                    </a:lnTo>
                    <a:lnTo>
                      <a:pt x="582" y="1010"/>
                    </a:lnTo>
                    <a:lnTo>
                      <a:pt x="570" y="1016"/>
                    </a:lnTo>
                    <a:lnTo>
                      <a:pt x="542" y="1034"/>
                    </a:lnTo>
                    <a:lnTo>
                      <a:pt x="542" y="1034"/>
                    </a:lnTo>
                    <a:lnTo>
                      <a:pt x="526" y="1042"/>
                    </a:lnTo>
                    <a:lnTo>
                      <a:pt x="520" y="1042"/>
                    </a:lnTo>
                    <a:lnTo>
                      <a:pt x="516" y="1042"/>
                    </a:lnTo>
                    <a:lnTo>
                      <a:pt x="506" y="1040"/>
                    </a:lnTo>
                    <a:lnTo>
                      <a:pt x="498" y="1036"/>
                    </a:lnTo>
                    <a:lnTo>
                      <a:pt x="488" y="1032"/>
                    </a:lnTo>
                    <a:lnTo>
                      <a:pt x="478" y="1032"/>
                    </a:lnTo>
                    <a:lnTo>
                      <a:pt x="470" y="1032"/>
                    </a:lnTo>
                    <a:lnTo>
                      <a:pt x="462" y="1034"/>
                    </a:lnTo>
                    <a:lnTo>
                      <a:pt x="440" y="1046"/>
                    </a:lnTo>
                    <a:lnTo>
                      <a:pt x="440" y="1046"/>
                    </a:lnTo>
                    <a:lnTo>
                      <a:pt x="420" y="1056"/>
                    </a:lnTo>
                    <a:lnTo>
                      <a:pt x="412" y="1060"/>
                    </a:lnTo>
                    <a:lnTo>
                      <a:pt x="406" y="1060"/>
                    </a:lnTo>
                    <a:lnTo>
                      <a:pt x="400" y="1060"/>
                    </a:lnTo>
                    <a:lnTo>
                      <a:pt x="396" y="1058"/>
                    </a:lnTo>
                    <a:lnTo>
                      <a:pt x="392" y="1054"/>
                    </a:lnTo>
                    <a:lnTo>
                      <a:pt x="390" y="1052"/>
                    </a:lnTo>
                    <a:lnTo>
                      <a:pt x="388" y="1042"/>
                    </a:lnTo>
                    <a:lnTo>
                      <a:pt x="392" y="1030"/>
                    </a:lnTo>
                    <a:lnTo>
                      <a:pt x="396" y="1020"/>
                    </a:lnTo>
                    <a:lnTo>
                      <a:pt x="406" y="1012"/>
                    </a:lnTo>
                    <a:lnTo>
                      <a:pt x="406" y="1012"/>
                    </a:lnTo>
                    <a:lnTo>
                      <a:pt x="410" y="1006"/>
                    </a:lnTo>
                    <a:lnTo>
                      <a:pt x="412" y="1004"/>
                    </a:lnTo>
                    <a:lnTo>
                      <a:pt x="410" y="1004"/>
                    </a:lnTo>
                    <a:lnTo>
                      <a:pt x="402" y="1004"/>
                    </a:lnTo>
                    <a:lnTo>
                      <a:pt x="388" y="1008"/>
                    </a:lnTo>
                    <a:lnTo>
                      <a:pt x="368" y="1014"/>
                    </a:lnTo>
                    <a:lnTo>
                      <a:pt x="342" y="1024"/>
                    </a:lnTo>
                    <a:lnTo>
                      <a:pt x="312" y="1038"/>
                    </a:lnTo>
                    <a:lnTo>
                      <a:pt x="276" y="1054"/>
                    </a:lnTo>
                    <a:lnTo>
                      <a:pt x="276" y="1054"/>
                    </a:lnTo>
                    <a:lnTo>
                      <a:pt x="242" y="1070"/>
                    </a:lnTo>
                    <a:lnTo>
                      <a:pt x="216" y="1078"/>
                    </a:lnTo>
                    <a:lnTo>
                      <a:pt x="196" y="1084"/>
                    </a:lnTo>
                    <a:lnTo>
                      <a:pt x="180" y="1086"/>
                    </a:lnTo>
                    <a:lnTo>
                      <a:pt x="168" y="1088"/>
                    </a:lnTo>
                    <a:lnTo>
                      <a:pt x="158" y="1094"/>
                    </a:lnTo>
                    <a:lnTo>
                      <a:pt x="152" y="1106"/>
                    </a:lnTo>
                    <a:lnTo>
                      <a:pt x="144" y="1124"/>
                    </a:lnTo>
                    <a:lnTo>
                      <a:pt x="144" y="1124"/>
                    </a:lnTo>
                    <a:lnTo>
                      <a:pt x="138" y="1142"/>
                    </a:lnTo>
                    <a:lnTo>
                      <a:pt x="132" y="1152"/>
                    </a:lnTo>
                    <a:lnTo>
                      <a:pt x="126" y="1158"/>
                    </a:lnTo>
                    <a:lnTo>
                      <a:pt x="120" y="1158"/>
                    </a:lnTo>
                    <a:lnTo>
                      <a:pt x="106" y="1156"/>
                    </a:lnTo>
                    <a:lnTo>
                      <a:pt x="98" y="1156"/>
                    </a:lnTo>
                    <a:lnTo>
                      <a:pt x="86" y="1160"/>
                    </a:lnTo>
                    <a:lnTo>
                      <a:pt x="86" y="1160"/>
                    </a:lnTo>
                    <a:lnTo>
                      <a:pt x="78" y="1164"/>
                    </a:lnTo>
                    <a:lnTo>
                      <a:pt x="78" y="1164"/>
                    </a:lnTo>
                    <a:lnTo>
                      <a:pt x="54" y="1230"/>
                    </a:lnTo>
                    <a:lnTo>
                      <a:pt x="44" y="1256"/>
                    </a:lnTo>
                    <a:lnTo>
                      <a:pt x="36" y="1274"/>
                    </a:lnTo>
                    <a:lnTo>
                      <a:pt x="36" y="1274"/>
                    </a:lnTo>
                    <a:lnTo>
                      <a:pt x="28" y="1292"/>
                    </a:lnTo>
                    <a:lnTo>
                      <a:pt x="20" y="1312"/>
                    </a:lnTo>
                    <a:lnTo>
                      <a:pt x="8" y="1346"/>
                    </a:lnTo>
                    <a:lnTo>
                      <a:pt x="0" y="1382"/>
                    </a:lnTo>
                    <a:lnTo>
                      <a:pt x="0" y="1562"/>
                    </a:lnTo>
                    <a:lnTo>
                      <a:pt x="60" y="1706"/>
                    </a:lnTo>
                    <a:lnTo>
                      <a:pt x="180" y="1898"/>
                    </a:lnTo>
                    <a:lnTo>
                      <a:pt x="236" y="2142"/>
                    </a:lnTo>
                    <a:lnTo>
                      <a:pt x="172" y="2176"/>
                    </a:lnTo>
                    <a:lnTo>
                      <a:pt x="166" y="2200"/>
                    </a:lnTo>
                    <a:lnTo>
                      <a:pt x="124" y="2214"/>
                    </a:lnTo>
                    <a:lnTo>
                      <a:pt x="124" y="2214"/>
                    </a:lnTo>
                    <a:lnTo>
                      <a:pt x="104" y="2206"/>
                    </a:lnTo>
                    <a:lnTo>
                      <a:pt x="92" y="2204"/>
                    </a:lnTo>
                    <a:lnTo>
                      <a:pt x="86" y="2204"/>
                    </a:lnTo>
                    <a:lnTo>
                      <a:pt x="84" y="2208"/>
                    </a:lnTo>
                    <a:lnTo>
                      <a:pt x="84" y="2208"/>
                    </a:lnTo>
                    <a:lnTo>
                      <a:pt x="70" y="2258"/>
                    </a:lnTo>
                    <a:lnTo>
                      <a:pt x="60" y="2304"/>
                    </a:lnTo>
                    <a:lnTo>
                      <a:pt x="76" y="2364"/>
                    </a:lnTo>
                    <a:lnTo>
                      <a:pt x="114" y="2388"/>
                    </a:lnTo>
                    <a:lnTo>
                      <a:pt x="142" y="2422"/>
                    </a:lnTo>
                    <a:lnTo>
                      <a:pt x="148" y="2454"/>
                    </a:lnTo>
                    <a:lnTo>
                      <a:pt x="130" y="2486"/>
                    </a:lnTo>
                    <a:lnTo>
                      <a:pt x="98" y="2508"/>
                    </a:lnTo>
                    <a:lnTo>
                      <a:pt x="70" y="2552"/>
                    </a:lnTo>
                    <a:lnTo>
                      <a:pt x="80" y="2588"/>
                    </a:lnTo>
                    <a:lnTo>
                      <a:pt x="132" y="2652"/>
                    </a:lnTo>
                    <a:lnTo>
                      <a:pt x="156" y="2704"/>
                    </a:lnTo>
                    <a:lnTo>
                      <a:pt x="182" y="2744"/>
                    </a:lnTo>
                    <a:lnTo>
                      <a:pt x="180" y="2776"/>
                    </a:lnTo>
                    <a:lnTo>
                      <a:pt x="182" y="2792"/>
                    </a:lnTo>
                    <a:lnTo>
                      <a:pt x="186" y="2844"/>
                    </a:lnTo>
                    <a:lnTo>
                      <a:pt x="190" y="2864"/>
                    </a:lnTo>
                    <a:lnTo>
                      <a:pt x="190" y="2864"/>
                    </a:lnTo>
                    <a:lnTo>
                      <a:pt x="186" y="2882"/>
                    </a:lnTo>
                    <a:lnTo>
                      <a:pt x="188" y="2896"/>
                    </a:lnTo>
                    <a:lnTo>
                      <a:pt x="188" y="2896"/>
                    </a:lnTo>
                    <a:lnTo>
                      <a:pt x="182" y="2898"/>
                    </a:lnTo>
                    <a:lnTo>
                      <a:pt x="178" y="2898"/>
                    </a:lnTo>
                    <a:lnTo>
                      <a:pt x="176" y="2896"/>
                    </a:lnTo>
                    <a:lnTo>
                      <a:pt x="176" y="2894"/>
                    </a:lnTo>
                    <a:lnTo>
                      <a:pt x="174" y="2888"/>
                    </a:lnTo>
                    <a:lnTo>
                      <a:pt x="172" y="2886"/>
                    </a:lnTo>
                    <a:lnTo>
                      <a:pt x="170" y="2886"/>
                    </a:lnTo>
                    <a:lnTo>
                      <a:pt x="170" y="2886"/>
                    </a:lnTo>
                    <a:lnTo>
                      <a:pt x="172" y="2886"/>
                    </a:lnTo>
                    <a:lnTo>
                      <a:pt x="174" y="2888"/>
                    </a:lnTo>
                    <a:lnTo>
                      <a:pt x="176" y="2894"/>
                    </a:lnTo>
                    <a:lnTo>
                      <a:pt x="176" y="2896"/>
                    </a:lnTo>
                    <a:lnTo>
                      <a:pt x="178" y="2898"/>
                    </a:lnTo>
                    <a:lnTo>
                      <a:pt x="182" y="2898"/>
                    </a:lnTo>
                    <a:lnTo>
                      <a:pt x="188" y="2896"/>
                    </a:lnTo>
                    <a:lnTo>
                      <a:pt x="174" y="2986"/>
                    </a:lnTo>
                    <a:lnTo>
                      <a:pt x="174" y="3028"/>
                    </a:lnTo>
                    <a:lnTo>
                      <a:pt x="168" y="3124"/>
                    </a:lnTo>
                    <a:lnTo>
                      <a:pt x="174" y="3168"/>
                    </a:lnTo>
                    <a:lnTo>
                      <a:pt x="210" y="3264"/>
                    </a:lnTo>
                    <a:lnTo>
                      <a:pt x="248" y="3338"/>
                    </a:lnTo>
                    <a:lnTo>
                      <a:pt x="248" y="3362"/>
                    </a:lnTo>
                    <a:lnTo>
                      <a:pt x="248" y="3362"/>
                    </a:lnTo>
                    <a:lnTo>
                      <a:pt x="248" y="3362"/>
                    </a:lnTo>
                    <a:lnTo>
                      <a:pt x="248" y="3362"/>
                    </a:lnTo>
                    <a:lnTo>
                      <a:pt x="254" y="3368"/>
                    </a:lnTo>
                    <a:lnTo>
                      <a:pt x="258" y="3372"/>
                    </a:lnTo>
                    <a:lnTo>
                      <a:pt x="262" y="3384"/>
                    </a:lnTo>
                    <a:lnTo>
                      <a:pt x="264" y="3394"/>
                    </a:lnTo>
                    <a:lnTo>
                      <a:pt x="268" y="3400"/>
                    </a:lnTo>
                    <a:lnTo>
                      <a:pt x="272" y="3406"/>
                    </a:lnTo>
                    <a:lnTo>
                      <a:pt x="272" y="3406"/>
                    </a:lnTo>
                    <a:lnTo>
                      <a:pt x="276" y="3412"/>
                    </a:lnTo>
                    <a:lnTo>
                      <a:pt x="278" y="3416"/>
                    </a:lnTo>
                    <a:lnTo>
                      <a:pt x="278" y="3424"/>
                    </a:lnTo>
                    <a:lnTo>
                      <a:pt x="280" y="3432"/>
                    </a:lnTo>
                    <a:lnTo>
                      <a:pt x="282" y="3438"/>
                    </a:lnTo>
                    <a:lnTo>
                      <a:pt x="286" y="3444"/>
                    </a:lnTo>
                    <a:lnTo>
                      <a:pt x="286" y="3444"/>
                    </a:lnTo>
                    <a:lnTo>
                      <a:pt x="294" y="3452"/>
                    </a:lnTo>
                    <a:lnTo>
                      <a:pt x="302" y="3456"/>
                    </a:lnTo>
                    <a:lnTo>
                      <a:pt x="320" y="3464"/>
                    </a:lnTo>
                    <a:lnTo>
                      <a:pt x="334" y="3470"/>
                    </a:lnTo>
                    <a:lnTo>
                      <a:pt x="338" y="3474"/>
                    </a:lnTo>
                    <a:lnTo>
                      <a:pt x="338" y="3478"/>
                    </a:lnTo>
                    <a:lnTo>
                      <a:pt x="338" y="3478"/>
                    </a:lnTo>
                    <a:lnTo>
                      <a:pt x="338" y="3480"/>
                    </a:lnTo>
                    <a:lnTo>
                      <a:pt x="340" y="3484"/>
                    </a:lnTo>
                    <a:lnTo>
                      <a:pt x="350" y="3490"/>
                    </a:lnTo>
                    <a:lnTo>
                      <a:pt x="360" y="3496"/>
                    </a:lnTo>
                    <a:lnTo>
                      <a:pt x="366" y="3500"/>
                    </a:lnTo>
                    <a:lnTo>
                      <a:pt x="366" y="3500"/>
                    </a:lnTo>
                    <a:lnTo>
                      <a:pt x="374" y="3508"/>
                    </a:lnTo>
                    <a:lnTo>
                      <a:pt x="382" y="3512"/>
                    </a:lnTo>
                    <a:lnTo>
                      <a:pt x="388" y="3514"/>
                    </a:lnTo>
                    <a:lnTo>
                      <a:pt x="394" y="3514"/>
                    </a:lnTo>
                    <a:lnTo>
                      <a:pt x="404" y="3516"/>
                    </a:lnTo>
                    <a:lnTo>
                      <a:pt x="410" y="3516"/>
                    </a:lnTo>
                    <a:lnTo>
                      <a:pt x="414" y="3522"/>
                    </a:lnTo>
                    <a:lnTo>
                      <a:pt x="414" y="3522"/>
                    </a:lnTo>
                    <a:lnTo>
                      <a:pt x="420" y="3524"/>
                    </a:lnTo>
                    <a:lnTo>
                      <a:pt x="424" y="3526"/>
                    </a:lnTo>
                    <a:lnTo>
                      <a:pt x="428" y="3524"/>
                    </a:lnTo>
                    <a:lnTo>
                      <a:pt x="432" y="3522"/>
                    </a:lnTo>
                    <a:lnTo>
                      <a:pt x="442" y="3514"/>
                    </a:lnTo>
                    <a:lnTo>
                      <a:pt x="446" y="3512"/>
                    </a:lnTo>
                    <a:lnTo>
                      <a:pt x="450" y="3512"/>
                    </a:lnTo>
                    <a:lnTo>
                      <a:pt x="450" y="3512"/>
                    </a:lnTo>
                    <a:lnTo>
                      <a:pt x="456" y="3510"/>
                    </a:lnTo>
                    <a:lnTo>
                      <a:pt x="458" y="3508"/>
                    </a:lnTo>
                    <a:lnTo>
                      <a:pt x="462" y="3504"/>
                    </a:lnTo>
                    <a:lnTo>
                      <a:pt x="464" y="3502"/>
                    </a:lnTo>
                    <a:lnTo>
                      <a:pt x="468" y="3502"/>
                    </a:lnTo>
                    <a:lnTo>
                      <a:pt x="468" y="3502"/>
                    </a:lnTo>
                    <a:lnTo>
                      <a:pt x="472" y="3500"/>
                    </a:lnTo>
                    <a:lnTo>
                      <a:pt x="476" y="3498"/>
                    </a:lnTo>
                    <a:lnTo>
                      <a:pt x="480" y="3494"/>
                    </a:lnTo>
                    <a:lnTo>
                      <a:pt x="482" y="3492"/>
                    </a:lnTo>
                    <a:lnTo>
                      <a:pt x="488" y="3490"/>
                    </a:lnTo>
                    <a:lnTo>
                      <a:pt x="492" y="3490"/>
                    </a:lnTo>
                    <a:lnTo>
                      <a:pt x="500" y="3492"/>
                    </a:lnTo>
                    <a:lnTo>
                      <a:pt x="500" y="3492"/>
                    </a:lnTo>
                    <a:lnTo>
                      <a:pt x="508" y="3496"/>
                    </a:lnTo>
                    <a:lnTo>
                      <a:pt x="514" y="3502"/>
                    </a:lnTo>
                    <a:lnTo>
                      <a:pt x="518" y="3512"/>
                    </a:lnTo>
                    <a:lnTo>
                      <a:pt x="520" y="3522"/>
                    </a:lnTo>
                    <a:lnTo>
                      <a:pt x="524" y="3542"/>
                    </a:lnTo>
                    <a:lnTo>
                      <a:pt x="526" y="3558"/>
                    </a:lnTo>
                    <a:lnTo>
                      <a:pt x="526" y="3558"/>
                    </a:lnTo>
                    <a:lnTo>
                      <a:pt x="528" y="3562"/>
                    </a:lnTo>
                    <a:lnTo>
                      <a:pt x="532" y="3564"/>
                    </a:lnTo>
                    <a:lnTo>
                      <a:pt x="542" y="3566"/>
                    </a:lnTo>
                    <a:lnTo>
                      <a:pt x="550" y="3568"/>
                    </a:lnTo>
                    <a:lnTo>
                      <a:pt x="554" y="3570"/>
                    </a:lnTo>
                    <a:lnTo>
                      <a:pt x="558" y="3572"/>
                    </a:lnTo>
                    <a:lnTo>
                      <a:pt x="558" y="3572"/>
                    </a:lnTo>
                    <a:lnTo>
                      <a:pt x="562" y="3576"/>
                    </a:lnTo>
                    <a:lnTo>
                      <a:pt x="566" y="3574"/>
                    </a:lnTo>
                    <a:lnTo>
                      <a:pt x="570" y="3574"/>
                    </a:lnTo>
                    <a:lnTo>
                      <a:pt x="580" y="3574"/>
                    </a:lnTo>
                    <a:lnTo>
                      <a:pt x="580" y="3574"/>
                    </a:lnTo>
                    <a:lnTo>
                      <a:pt x="586" y="3574"/>
                    </a:lnTo>
                    <a:lnTo>
                      <a:pt x="590" y="3576"/>
                    </a:lnTo>
                    <a:lnTo>
                      <a:pt x="596" y="3580"/>
                    </a:lnTo>
                    <a:lnTo>
                      <a:pt x="600" y="3584"/>
                    </a:lnTo>
                    <a:lnTo>
                      <a:pt x="604" y="3584"/>
                    </a:lnTo>
                    <a:lnTo>
                      <a:pt x="608" y="3582"/>
                    </a:lnTo>
                    <a:lnTo>
                      <a:pt x="608" y="3582"/>
                    </a:lnTo>
                    <a:lnTo>
                      <a:pt x="614" y="3580"/>
                    </a:lnTo>
                    <a:lnTo>
                      <a:pt x="620" y="3582"/>
                    </a:lnTo>
                    <a:lnTo>
                      <a:pt x="636" y="3584"/>
                    </a:lnTo>
                    <a:lnTo>
                      <a:pt x="650" y="3588"/>
                    </a:lnTo>
                    <a:lnTo>
                      <a:pt x="652" y="3588"/>
                    </a:lnTo>
                    <a:lnTo>
                      <a:pt x="654" y="3586"/>
                    </a:lnTo>
                    <a:lnTo>
                      <a:pt x="654" y="3586"/>
                    </a:lnTo>
                    <a:lnTo>
                      <a:pt x="654" y="3582"/>
                    </a:lnTo>
                    <a:lnTo>
                      <a:pt x="656" y="3580"/>
                    </a:lnTo>
                    <a:lnTo>
                      <a:pt x="658" y="3582"/>
                    </a:lnTo>
                    <a:lnTo>
                      <a:pt x="662" y="3586"/>
                    </a:lnTo>
                    <a:lnTo>
                      <a:pt x="662" y="3586"/>
                    </a:lnTo>
                    <a:lnTo>
                      <a:pt x="664" y="3590"/>
                    </a:lnTo>
                    <a:lnTo>
                      <a:pt x="670" y="3592"/>
                    </a:lnTo>
                    <a:lnTo>
                      <a:pt x="678" y="3594"/>
                    </a:lnTo>
                    <a:lnTo>
                      <a:pt x="688" y="3598"/>
                    </a:lnTo>
                    <a:lnTo>
                      <a:pt x="688" y="3598"/>
                    </a:lnTo>
                    <a:lnTo>
                      <a:pt x="692" y="3600"/>
                    </a:lnTo>
                    <a:lnTo>
                      <a:pt x="696" y="3600"/>
                    </a:lnTo>
                    <a:lnTo>
                      <a:pt x="696" y="3596"/>
                    </a:lnTo>
                    <a:lnTo>
                      <a:pt x="698" y="3592"/>
                    </a:lnTo>
                    <a:lnTo>
                      <a:pt x="700" y="3592"/>
                    </a:lnTo>
                    <a:lnTo>
                      <a:pt x="702" y="3592"/>
                    </a:lnTo>
                    <a:lnTo>
                      <a:pt x="702" y="3592"/>
                    </a:lnTo>
                    <a:lnTo>
                      <a:pt x="706" y="3598"/>
                    </a:lnTo>
                    <a:lnTo>
                      <a:pt x="710" y="3600"/>
                    </a:lnTo>
                    <a:lnTo>
                      <a:pt x="712" y="3600"/>
                    </a:lnTo>
                    <a:lnTo>
                      <a:pt x="716" y="3598"/>
                    </a:lnTo>
                    <a:lnTo>
                      <a:pt x="724" y="3594"/>
                    </a:lnTo>
                    <a:lnTo>
                      <a:pt x="726" y="3592"/>
                    </a:lnTo>
                    <a:lnTo>
                      <a:pt x="730" y="3594"/>
                    </a:lnTo>
                    <a:lnTo>
                      <a:pt x="730" y="3594"/>
                    </a:lnTo>
                    <a:lnTo>
                      <a:pt x="732" y="3594"/>
                    </a:lnTo>
                    <a:lnTo>
                      <a:pt x="734" y="3594"/>
                    </a:lnTo>
                    <a:lnTo>
                      <a:pt x="738" y="3590"/>
                    </a:lnTo>
                    <a:lnTo>
                      <a:pt x="740" y="3588"/>
                    </a:lnTo>
                    <a:lnTo>
                      <a:pt x="746" y="3588"/>
                    </a:lnTo>
                    <a:lnTo>
                      <a:pt x="752" y="3588"/>
                    </a:lnTo>
                    <a:lnTo>
                      <a:pt x="762" y="3590"/>
                    </a:lnTo>
                    <a:lnTo>
                      <a:pt x="762" y="3590"/>
                    </a:lnTo>
                    <a:lnTo>
                      <a:pt x="770" y="3594"/>
                    </a:lnTo>
                    <a:lnTo>
                      <a:pt x="774" y="3594"/>
                    </a:lnTo>
                    <a:lnTo>
                      <a:pt x="776" y="3592"/>
                    </a:lnTo>
                    <a:lnTo>
                      <a:pt x="778" y="3590"/>
                    </a:lnTo>
                    <a:lnTo>
                      <a:pt x="780" y="3588"/>
                    </a:lnTo>
                    <a:lnTo>
                      <a:pt x="782" y="3586"/>
                    </a:lnTo>
                    <a:lnTo>
                      <a:pt x="786" y="3586"/>
                    </a:lnTo>
                    <a:lnTo>
                      <a:pt x="794" y="3586"/>
                    </a:lnTo>
                    <a:lnTo>
                      <a:pt x="794" y="3586"/>
                    </a:lnTo>
                    <a:lnTo>
                      <a:pt x="810" y="3590"/>
                    </a:lnTo>
                    <a:lnTo>
                      <a:pt x="820" y="3594"/>
                    </a:lnTo>
                    <a:lnTo>
                      <a:pt x="824" y="3594"/>
                    </a:lnTo>
                    <a:lnTo>
                      <a:pt x="828" y="3590"/>
                    </a:lnTo>
                    <a:lnTo>
                      <a:pt x="828" y="3590"/>
                    </a:lnTo>
                    <a:lnTo>
                      <a:pt x="832" y="3588"/>
                    </a:lnTo>
                    <a:lnTo>
                      <a:pt x="840" y="3586"/>
                    </a:lnTo>
                    <a:lnTo>
                      <a:pt x="866" y="3582"/>
                    </a:lnTo>
                    <a:lnTo>
                      <a:pt x="892" y="3582"/>
                    </a:lnTo>
                    <a:lnTo>
                      <a:pt x="900" y="3584"/>
                    </a:lnTo>
                    <a:lnTo>
                      <a:pt x="904" y="3586"/>
                    </a:lnTo>
                    <a:lnTo>
                      <a:pt x="904" y="3588"/>
                    </a:lnTo>
                    <a:lnTo>
                      <a:pt x="904" y="3588"/>
                    </a:lnTo>
                    <a:lnTo>
                      <a:pt x="904" y="3598"/>
                    </a:lnTo>
                    <a:lnTo>
                      <a:pt x="904" y="3606"/>
                    </a:lnTo>
                    <a:lnTo>
                      <a:pt x="904" y="3608"/>
                    </a:lnTo>
                    <a:lnTo>
                      <a:pt x="906" y="3610"/>
                    </a:lnTo>
                    <a:lnTo>
                      <a:pt x="916" y="3612"/>
                    </a:lnTo>
                    <a:lnTo>
                      <a:pt x="916" y="3612"/>
                    </a:lnTo>
                    <a:lnTo>
                      <a:pt x="920" y="3612"/>
                    </a:lnTo>
                    <a:lnTo>
                      <a:pt x="924" y="3614"/>
                    </a:lnTo>
                    <a:lnTo>
                      <a:pt x="926" y="3616"/>
                    </a:lnTo>
                    <a:lnTo>
                      <a:pt x="926" y="3620"/>
                    </a:lnTo>
                    <a:lnTo>
                      <a:pt x="926" y="3626"/>
                    </a:lnTo>
                    <a:lnTo>
                      <a:pt x="926" y="3630"/>
                    </a:lnTo>
                    <a:lnTo>
                      <a:pt x="928" y="3634"/>
                    </a:lnTo>
                    <a:lnTo>
                      <a:pt x="928" y="3634"/>
                    </a:lnTo>
                    <a:lnTo>
                      <a:pt x="932" y="3638"/>
                    </a:lnTo>
                    <a:lnTo>
                      <a:pt x="932" y="3642"/>
                    </a:lnTo>
                    <a:lnTo>
                      <a:pt x="932" y="3646"/>
                    </a:lnTo>
                    <a:lnTo>
                      <a:pt x="934" y="3652"/>
                    </a:lnTo>
                    <a:lnTo>
                      <a:pt x="934" y="3652"/>
                    </a:lnTo>
                    <a:lnTo>
                      <a:pt x="938" y="3654"/>
                    </a:lnTo>
                    <a:lnTo>
                      <a:pt x="936" y="3656"/>
                    </a:lnTo>
                    <a:lnTo>
                      <a:pt x="936" y="3658"/>
                    </a:lnTo>
                    <a:lnTo>
                      <a:pt x="940" y="3662"/>
                    </a:lnTo>
                    <a:lnTo>
                      <a:pt x="940" y="3662"/>
                    </a:lnTo>
                    <a:lnTo>
                      <a:pt x="944" y="3664"/>
                    </a:lnTo>
                    <a:lnTo>
                      <a:pt x="946" y="3664"/>
                    </a:lnTo>
                    <a:lnTo>
                      <a:pt x="950" y="3664"/>
                    </a:lnTo>
                    <a:lnTo>
                      <a:pt x="952" y="3662"/>
                    </a:lnTo>
                    <a:lnTo>
                      <a:pt x="956" y="3664"/>
                    </a:lnTo>
                    <a:lnTo>
                      <a:pt x="958" y="3666"/>
                    </a:lnTo>
                    <a:lnTo>
                      <a:pt x="962" y="3670"/>
                    </a:lnTo>
                    <a:lnTo>
                      <a:pt x="962" y="3670"/>
                    </a:lnTo>
                    <a:lnTo>
                      <a:pt x="966" y="3674"/>
                    </a:lnTo>
                    <a:lnTo>
                      <a:pt x="972" y="3676"/>
                    </a:lnTo>
                    <a:lnTo>
                      <a:pt x="976" y="3680"/>
                    </a:lnTo>
                    <a:lnTo>
                      <a:pt x="982" y="3690"/>
                    </a:lnTo>
                    <a:lnTo>
                      <a:pt x="982" y="3690"/>
                    </a:lnTo>
                    <a:lnTo>
                      <a:pt x="986" y="3696"/>
                    </a:lnTo>
                    <a:lnTo>
                      <a:pt x="992" y="3702"/>
                    </a:lnTo>
                    <a:lnTo>
                      <a:pt x="1000" y="3708"/>
                    </a:lnTo>
                    <a:lnTo>
                      <a:pt x="1008" y="3712"/>
                    </a:lnTo>
                    <a:lnTo>
                      <a:pt x="1016" y="3716"/>
                    </a:lnTo>
                    <a:lnTo>
                      <a:pt x="1024" y="3716"/>
                    </a:lnTo>
                    <a:lnTo>
                      <a:pt x="1032" y="3716"/>
                    </a:lnTo>
                    <a:lnTo>
                      <a:pt x="1038" y="3712"/>
                    </a:lnTo>
                    <a:lnTo>
                      <a:pt x="1038" y="3712"/>
                    </a:lnTo>
                    <a:lnTo>
                      <a:pt x="1044" y="3708"/>
                    </a:lnTo>
                    <a:lnTo>
                      <a:pt x="1048" y="3708"/>
                    </a:lnTo>
                    <a:lnTo>
                      <a:pt x="1052" y="3710"/>
                    </a:lnTo>
                    <a:lnTo>
                      <a:pt x="1052" y="3714"/>
                    </a:lnTo>
                    <a:lnTo>
                      <a:pt x="1050" y="3720"/>
                    </a:lnTo>
                    <a:lnTo>
                      <a:pt x="1046" y="3726"/>
                    </a:lnTo>
                    <a:lnTo>
                      <a:pt x="1040" y="3730"/>
                    </a:lnTo>
                    <a:lnTo>
                      <a:pt x="1028" y="3734"/>
                    </a:lnTo>
                    <a:lnTo>
                      <a:pt x="1028" y="3734"/>
                    </a:lnTo>
                    <a:lnTo>
                      <a:pt x="1016" y="3736"/>
                    </a:lnTo>
                    <a:lnTo>
                      <a:pt x="1006" y="3734"/>
                    </a:lnTo>
                    <a:lnTo>
                      <a:pt x="992" y="3732"/>
                    </a:lnTo>
                    <a:lnTo>
                      <a:pt x="992" y="3734"/>
                    </a:lnTo>
                    <a:lnTo>
                      <a:pt x="992" y="3734"/>
                    </a:lnTo>
                    <a:lnTo>
                      <a:pt x="994" y="3740"/>
                    </a:lnTo>
                    <a:lnTo>
                      <a:pt x="1018" y="3770"/>
                    </a:lnTo>
                    <a:lnTo>
                      <a:pt x="1018" y="3770"/>
                    </a:lnTo>
                    <a:lnTo>
                      <a:pt x="1048" y="3804"/>
                    </a:lnTo>
                    <a:lnTo>
                      <a:pt x="1060" y="3814"/>
                    </a:lnTo>
                    <a:lnTo>
                      <a:pt x="1070" y="3820"/>
                    </a:lnTo>
                    <a:lnTo>
                      <a:pt x="1078" y="3822"/>
                    </a:lnTo>
                    <a:lnTo>
                      <a:pt x="1090" y="3818"/>
                    </a:lnTo>
                    <a:lnTo>
                      <a:pt x="1102" y="3810"/>
                    </a:lnTo>
                    <a:lnTo>
                      <a:pt x="1116" y="3798"/>
                    </a:lnTo>
                    <a:lnTo>
                      <a:pt x="1116" y="3798"/>
                    </a:lnTo>
                    <a:lnTo>
                      <a:pt x="1124" y="3790"/>
                    </a:lnTo>
                    <a:lnTo>
                      <a:pt x="1128" y="3782"/>
                    </a:lnTo>
                    <a:lnTo>
                      <a:pt x="1128" y="3772"/>
                    </a:lnTo>
                    <a:lnTo>
                      <a:pt x="1128" y="3764"/>
                    </a:lnTo>
                    <a:lnTo>
                      <a:pt x="1128" y="3756"/>
                    </a:lnTo>
                    <a:lnTo>
                      <a:pt x="1128" y="3750"/>
                    </a:lnTo>
                    <a:lnTo>
                      <a:pt x="1132" y="3744"/>
                    </a:lnTo>
                    <a:lnTo>
                      <a:pt x="1138" y="3742"/>
                    </a:lnTo>
                    <a:lnTo>
                      <a:pt x="1138" y="3742"/>
                    </a:lnTo>
                    <a:lnTo>
                      <a:pt x="1144" y="3740"/>
                    </a:lnTo>
                    <a:lnTo>
                      <a:pt x="1148" y="3740"/>
                    </a:lnTo>
                    <a:lnTo>
                      <a:pt x="1148" y="3742"/>
                    </a:lnTo>
                    <a:lnTo>
                      <a:pt x="1146" y="3746"/>
                    </a:lnTo>
                    <a:lnTo>
                      <a:pt x="1142" y="3754"/>
                    </a:lnTo>
                    <a:lnTo>
                      <a:pt x="1142" y="3760"/>
                    </a:lnTo>
                    <a:lnTo>
                      <a:pt x="1144" y="3764"/>
                    </a:lnTo>
                    <a:lnTo>
                      <a:pt x="1144" y="3764"/>
                    </a:lnTo>
                    <a:lnTo>
                      <a:pt x="1146" y="3770"/>
                    </a:lnTo>
                    <a:lnTo>
                      <a:pt x="1146" y="3774"/>
                    </a:lnTo>
                    <a:lnTo>
                      <a:pt x="1144" y="3778"/>
                    </a:lnTo>
                    <a:lnTo>
                      <a:pt x="1144" y="3782"/>
                    </a:lnTo>
                    <a:lnTo>
                      <a:pt x="1144" y="3788"/>
                    </a:lnTo>
                    <a:lnTo>
                      <a:pt x="1146" y="3794"/>
                    </a:lnTo>
                    <a:lnTo>
                      <a:pt x="1150" y="3804"/>
                    </a:lnTo>
                    <a:lnTo>
                      <a:pt x="1150" y="3804"/>
                    </a:lnTo>
                    <a:lnTo>
                      <a:pt x="1154" y="3814"/>
                    </a:lnTo>
                    <a:lnTo>
                      <a:pt x="1154" y="3822"/>
                    </a:lnTo>
                    <a:lnTo>
                      <a:pt x="1150" y="3838"/>
                    </a:lnTo>
                    <a:lnTo>
                      <a:pt x="1148" y="3848"/>
                    </a:lnTo>
                    <a:lnTo>
                      <a:pt x="1148" y="3864"/>
                    </a:lnTo>
                    <a:lnTo>
                      <a:pt x="1148" y="3884"/>
                    </a:lnTo>
                    <a:lnTo>
                      <a:pt x="1152" y="3912"/>
                    </a:lnTo>
                    <a:lnTo>
                      <a:pt x="1152" y="3912"/>
                    </a:lnTo>
                    <a:lnTo>
                      <a:pt x="1170" y="4010"/>
                    </a:lnTo>
                    <a:lnTo>
                      <a:pt x="1176" y="4042"/>
                    </a:lnTo>
                    <a:lnTo>
                      <a:pt x="1184" y="4060"/>
                    </a:lnTo>
                    <a:lnTo>
                      <a:pt x="1184" y="4060"/>
                    </a:lnTo>
                    <a:lnTo>
                      <a:pt x="1194" y="4084"/>
                    </a:lnTo>
                    <a:lnTo>
                      <a:pt x="1210" y="4122"/>
                    </a:lnTo>
                    <a:lnTo>
                      <a:pt x="1224" y="4164"/>
                    </a:lnTo>
                    <a:lnTo>
                      <a:pt x="1230" y="4184"/>
                    </a:lnTo>
                    <a:lnTo>
                      <a:pt x="1232" y="4204"/>
                    </a:lnTo>
                    <a:lnTo>
                      <a:pt x="1232" y="4204"/>
                    </a:lnTo>
                    <a:lnTo>
                      <a:pt x="1236" y="4220"/>
                    </a:lnTo>
                    <a:lnTo>
                      <a:pt x="1240" y="4232"/>
                    </a:lnTo>
                    <a:lnTo>
                      <a:pt x="1254" y="4256"/>
                    </a:lnTo>
                    <a:lnTo>
                      <a:pt x="1262" y="4268"/>
                    </a:lnTo>
                    <a:lnTo>
                      <a:pt x="1268" y="4284"/>
                    </a:lnTo>
                    <a:lnTo>
                      <a:pt x="1276" y="4304"/>
                    </a:lnTo>
                    <a:lnTo>
                      <a:pt x="1282" y="4330"/>
                    </a:lnTo>
                    <a:lnTo>
                      <a:pt x="1282" y="4330"/>
                    </a:lnTo>
                    <a:lnTo>
                      <a:pt x="1290" y="4358"/>
                    </a:lnTo>
                    <a:lnTo>
                      <a:pt x="1296" y="4384"/>
                    </a:lnTo>
                    <a:lnTo>
                      <a:pt x="1306" y="4406"/>
                    </a:lnTo>
                    <a:lnTo>
                      <a:pt x="1314" y="4424"/>
                    </a:lnTo>
                    <a:lnTo>
                      <a:pt x="1324" y="4436"/>
                    </a:lnTo>
                    <a:lnTo>
                      <a:pt x="1328" y="4442"/>
                    </a:lnTo>
                    <a:lnTo>
                      <a:pt x="1334" y="4444"/>
                    </a:lnTo>
                    <a:lnTo>
                      <a:pt x="1338" y="4446"/>
                    </a:lnTo>
                    <a:lnTo>
                      <a:pt x="1344" y="4446"/>
                    </a:lnTo>
                    <a:lnTo>
                      <a:pt x="1348" y="4444"/>
                    </a:lnTo>
                    <a:lnTo>
                      <a:pt x="1354" y="4440"/>
                    </a:lnTo>
                    <a:lnTo>
                      <a:pt x="1354" y="4440"/>
                    </a:lnTo>
                    <a:lnTo>
                      <a:pt x="1362" y="4432"/>
                    </a:lnTo>
                    <a:lnTo>
                      <a:pt x="1366" y="4424"/>
                    </a:lnTo>
                    <a:lnTo>
                      <a:pt x="1368" y="4416"/>
                    </a:lnTo>
                    <a:lnTo>
                      <a:pt x="1368" y="4410"/>
                    </a:lnTo>
                    <a:lnTo>
                      <a:pt x="1368" y="4406"/>
                    </a:lnTo>
                    <a:lnTo>
                      <a:pt x="1372" y="4400"/>
                    </a:lnTo>
                    <a:lnTo>
                      <a:pt x="1376" y="4396"/>
                    </a:lnTo>
                    <a:lnTo>
                      <a:pt x="1384" y="4394"/>
                    </a:lnTo>
                    <a:lnTo>
                      <a:pt x="1384" y="4394"/>
                    </a:lnTo>
                    <a:lnTo>
                      <a:pt x="1402" y="4390"/>
                    </a:lnTo>
                    <a:lnTo>
                      <a:pt x="1412" y="4390"/>
                    </a:lnTo>
                    <a:lnTo>
                      <a:pt x="1418" y="4390"/>
                    </a:lnTo>
                    <a:lnTo>
                      <a:pt x="1420" y="4390"/>
                    </a:lnTo>
                    <a:lnTo>
                      <a:pt x="1420" y="4388"/>
                    </a:lnTo>
                    <a:lnTo>
                      <a:pt x="1420" y="4388"/>
                    </a:lnTo>
                    <a:lnTo>
                      <a:pt x="1420" y="4386"/>
                    </a:lnTo>
                    <a:lnTo>
                      <a:pt x="1416" y="4384"/>
                    </a:lnTo>
                    <a:lnTo>
                      <a:pt x="1408" y="4382"/>
                    </a:lnTo>
                    <a:lnTo>
                      <a:pt x="1404" y="4380"/>
                    </a:lnTo>
                    <a:lnTo>
                      <a:pt x="1400" y="4376"/>
                    </a:lnTo>
                    <a:lnTo>
                      <a:pt x="1402" y="4370"/>
                    </a:lnTo>
                    <a:lnTo>
                      <a:pt x="1406" y="4362"/>
                    </a:lnTo>
                    <a:lnTo>
                      <a:pt x="1406" y="4362"/>
                    </a:lnTo>
                    <a:lnTo>
                      <a:pt x="1410" y="4354"/>
                    </a:lnTo>
                    <a:lnTo>
                      <a:pt x="1412" y="4348"/>
                    </a:lnTo>
                    <a:lnTo>
                      <a:pt x="1412" y="4342"/>
                    </a:lnTo>
                    <a:lnTo>
                      <a:pt x="1414" y="4340"/>
                    </a:lnTo>
                    <a:lnTo>
                      <a:pt x="1414" y="4340"/>
                    </a:lnTo>
                    <a:lnTo>
                      <a:pt x="1428" y="4338"/>
                    </a:lnTo>
                    <a:lnTo>
                      <a:pt x="1428" y="4338"/>
                    </a:lnTo>
                    <a:lnTo>
                      <a:pt x="1434" y="4336"/>
                    </a:lnTo>
                    <a:lnTo>
                      <a:pt x="1436" y="4334"/>
                    </a:lnTo>
                    <a:lnTo>
                      <a:pt x="1438" y="4332"/>
                    </a:lnTo>
                    <a:lnTo>
                      <a:pt x="1438" y="4322"/>
                    </a:lnTo>
                    <a:lnTo>
                      <a:pt x="1436" y="4312"/>
                    </a:lnTo>
                    <a:lnTo>
                      <a:pt x="1434" y="4298"/>
                    </a:lnTo>
                    <a:lnTo>
                      <a:pt x="1432" y="4284"/>
                    </a:lnTo>
                    <a:lnTo>
                      <a:pt x="1434" y="4266"/>
                    </a:lnTo>
                    <a:lnTo>
                      <a:pt x="1440" y="4246"/>
                    </a:lnTo>
                    <a:lnTo>
                      <a:pt x="1440" y="4246"/>
                    </a:lnTo>
                    <a:lnTo>
                      <a:pt x="1448" y="4226"/>
                    </a:lnTo>
                    <a:lnTo>
                      <a:pt x="1454" y="4206"/>
                    </a:lnTo>
                    <a:lnTo>
                      <a:pt x="1456" y="4196"/>
                    </a:lnTo>
                    <a:lnTo>
                      <a:pt x="1454" y="4186"/>
                    </a:lnTo>
                    <a:lnTo>
                      <a:pt x="1452" y="4172"/>
                    </a:lnTo>
                    <a:lnTo>
                      <a:pt x="1448" y="4154"/>
                    </a:lnTo>
                    <a:lnTo>
                      <a:pt x="1448" y="4154"/>
                    </a:lnTo>
                    <a:lnTo>
                      <a:pt x="1448" y="4144"/>
                    </a:lnTo>
                    <a:lnTo>
                      <a:pt x="1450" y="4138"/>
                    </a:lnTo>
                    <a:lnTo>
                      <a:pt x="1450" y="4128"/>
                    </a:lnTo>
                    <a:lnTo>
                      <a:pt x="1446" y="4108"/>
                    </a:lnTo>
                    <a:lnTo>
                      <a:pt x="1446" y="4108"/>
                    </a:lnTo>
                    <a:lnTo>
                      <a:pt x="1444" y="4098"/>
                    </a:lnTo>
                    <a:lnTo>
                      <a:pt x="1442" y="4088"/>
                    </a:lnTo>
                    <a:lnTo>
                      <a:pt x="1444" y="4082"/>
                    </a:lnTo>
                    <a:lnTo>
                      <a:pt x="1444" y="4076"/>
                    </a:lnTo>
                    <a:lnTo>
                      <a:pt x="1448" y="4074"/>
                    </a:lnTo>
                    <a:lnTo>
                      <a:pt x="1452" y="4070"/>
                    </a:lnTo>
                    <a:lnTo>
                      <a:pt x="1460" y="4068"/>
                    </a:lnTo>
                    <a:lnTo>
                      <a:pt x="1470" y="4066"/>
                    </a:lnTo>
                    <a:lnTo>
                      <a:pt x="1480" y="4064"/>
                    </a:lnTo>
                    <a:lnTo>
                      <a:pt x="1488" y="4058"/>
                    </a:lnTo>
                    <a:lnTo>
                      <a:pt x="1490" y="4054"/>
                    </a:lnTo>
                    <a:lnTo>
                      <a:pt x="1492" y="4050"/>
                    </a:lnTo>
                    <a:lnTo>
                      <a:pt x="1492" y="4050"/>
                    </a:lnTo>
                    <a:lnTo>
                      <a:pt x="1494" y="4040"/>
                    </a:lnTo>
                    <a:lnTo>
                      <a:pt x="1496" y="4038"/>
                    </a:lnTo>
                    <a:lnTo>
                      <a:pt x="1498" y="4038"/>
                    </a:lnTo>
                    <a:lnTo>
                      <a:pt x="1502" y="4040"/>
                    </a:lnTo>
                    <a:lnTo>
                      <a:pt x="1506" y="4042"/>
                    </a:lnTo>
                    <a:lnTo>
                      <a:pt x="1512" y="4042"/>
                    </a:lnTo>
                    <a:lnTo>
                      <a:pt x="1520" y="4040"/>
                    </a:lnTo>
                    <a:lnTo>
                      <a:pt x="1530" y="4032"/>
                    </a:lnTo>
                    <a:lnTo>
                      <a:pt x="1530" y="4032"/>
                    </a:lnTo>
                    <a:lnTo>
                      <a:pt x="1536" y="4024"/>
                    </a:lnTo>
                    <a:lnTo>
                      <a:pt x="1538" y="4020"/>
                    </a:lnTo>
                    <a:lnTo>
                      <a:pt x="1538" y="4016"/>
                    </a:lnTo>
                    <a:lnTo>
                      <a:pt x="1538" y="4014"/>
                    </a:lnTo>
                    <a:lnTo>
                      <a:pt x="1538" y="4010"/>
                    </a:lnTo>
                    <a:lnTo>
                      <a:pt x="1542" y="4004"/>
                    </a:lnTo>
                    <a:lnTo>
                      <a:pt x="1550" y="3996"/>
                    </a:lnTo>
                    <a:lnTo>
                      <a:pt x="1566" y="3982"/>
                    </a:lnTo>
                    <a:lnTo>
                      <a:pt x="1566" y="3982"/>
                    </a:lnTo>
                    <a:lnTo>
                      <a:pt x="1584" y="3966"/>
                    </a:lnTo>
                    <a:lnTo>
                      <a:pt x="1600" y="3950"/>
                    </a:lnTo>
                    <a:lnTo>
                      <a:pt x="1624" y="3918"/>
                    </a:lnTo>
                    <a:lnTo>
                      <a:pt x="1644" y="3892"/>
                    </a:lnTo>
                    <a:lnTo>
                      <a:pt x="1654" y="3880"/>
                    </a:lnTo>
                    <a:lnTo>
                      <a:pt x="1666" y="3870"/>
                    </a:lnTo>
                    <a:lnTo>
                      <a:pt x="1666" y="3870"/>
                    </a:lnTo>
                    <a:lnTo>
                      <a:pt x="1674" y="3866"/>
                    </a:lnTo>
                    <a:lnTo>
                      <a:pt x="1680" y="3864"/>
                    </a:lnTo>
                    <a:lnTo>
                      <a:pt x="1688" y="3864"/>
                    </a:lnTo>
                    <a:lnTo>
                      <a:pt x="1692" y="3864"/>
                    </a:lnTo>
                    <a:lnTo>
                      <a:pt x="1696" y="3860"/>
                    </a:lnTo>
                    <a:lnTo>
                      <a:pt x="1704" y="3852"/>
                    </a:lnTo>
                    <a:lnTo>
                      <a:pt x="1714" y="3840"/>
                    </a:lnTo>
                    <a:lnTo>
                      <a:pt x="1714" y="3840"/>
                    </a:lnTo>
                    <a:lnTo>
                      <a:pt x="1722" y="3828"/>
                    </a:lnTo>
                    <a:lnTo>
                      <a:pt x="1724" y="3816"/>
                    </a:lnTo>
                    <a:lnTo>
                      <a:pt x="1724" y="3808"/>
                    </a:lnTo>
                    <a:lnTo>
                      <a:pt x="1722" y="3802"/>
                    </a:lnTo>
                    <a:lnTo>
                      <a:pt x="1720" y="3796"/>
                    </a:lnTo>
                    <a:lnTo>
                      <a:pt x="1720" y="3790"/>
                    </a:lnTo>
                    <a:lnTo>
                      <a:pt x="1724" y="3784"/>
                    </a:lnTo>
                    <a:lnTo>
                      <a:pt x="1736" y="3778"/>
                    </a:lnTo>
                    <a:lnTo>
                      <a:pt x="1736" y="3778"/>
                    </a:lnTo>
                    <a:lnTo>
                      <a:pt x="1748" y="3772"/>
                    </a:lnTo>
                    <a:lnTo>
                      <a:pt x="1756" y="3766"/>
                    </a:lnTo>
                    <a:lnTo>
                      <a:pt x="1768" y="3758"/>
                    </a:lnTo>
                    <a:lnTo>
                      <a:pt x="1770" y="3756"/>
                    </a:lnTo>
                    <a:lnTo>
                      <a:pt x="1772" y="3756"/>
                    </a:lnTo>
                    <a:lnTo>
                      <a:pt x="1774" y="3766"/>
                    </a:lnTo>
                    <a:lnTo>
                      <a:pt x="1774" y="3766"/>
                    </a:lnTo>
                    <a:lnTo>
                      <a:pt x="1774" y="3772"/>
                    </a:lnTo>
                    <a:lnTo>
                      <a:pt x="1778" y="3776"/>
                    </a:lnTo>
                    <a:lnTo>
                      <a:pt x="1780" y="3778"/>
                    </a:lnTo>
                    <a:lnTo>
                      <a:pt x="1784" y="3778"/>
                    </a:lnTo>
                    <a:lnTo>
                      <a:pt x="1790" y="3774"/>
                    </a:lnTo>
                    <a:lnTo>
                      <a:pt x="1794" y="3774"/>
                    </a:lnTo>
                    <a:lnTo>
                      <a:pt x="1798" y="3774"/>
                    </a:lnTo>
                    <a:lnTo>
                      <a:pt x="1798" y="3774"/>
                    </a:lnTo>
                    <a:lnTo>
                      <a:pt x="1804" y="3776"/>
                    </a:lnTo>
                    <a:lnTo>
                      <a:pt x="1808" y="3776"/>
                    </a:lnTo>
                    <a:lnTo>
                      <a:pt x="1810" y="3774"/>
                    </a:lnTo>
                    <a:lnTo>
                      <a:pt x="1808" y="3768"/>
                    </a:lnTo>
                    <a:lnTo>
                      <a:pt x="1808" y="3768"/>
                    </a:lnTo>
                    <a:lnTo>
                      <a:pt x="1806" y="3760"/>
                    </a:lnTo>
                    <a:lnTo>
                      <a:pt x="1806" y="3758"/>
                    </a:lnTo>
                    <a:lnTo>
                      <a:pt x="1810" y="3756"/>
                    </a:lnTo>
                    <a:lnTo>
                      <a:pt x="1810" y="3756"/>
                    </a:lnTo>
                    <a:lnTo>
                      <a:pt x="1812" y="3762"/>
                    </a:lnTo>
                    <a:lnTo>
                      <a:pt x="1816" y="3766"/>
                    </a:lnTo>
                    <a:lnTo>
                      <a:pt x="1818" y="3766"/>
                    </a:lnTo>
                    <a:lnTo>
                      <a:pt x="1820" y="3766"/>
                    </a:lnTo>
                    <a:lnTo>
                      <a:pt x="1824" y="3766"/>
                    </a:lnTo>
                    <a:lnTo>
                      <a:pt x="1826" y="3766"/>
                    </a:lnTo>
                    <a:lnTo>
                      <a:pt x="1828" y="3768"/>
                    </a:lnTo>
                    <a:lnTo>
                      <a:pt x="1828" y="3768"/>
                    </a:lnTo>
                    <a:lnTo>
                      <a:pt x="1830" y="3770"/>
                    </a:lnTo>
                    <a:lnTo>
                      <a:pt x="1832" y="3770"/>
                    </a:lnTo>
                    <a:lnTo>
                      <a:pt x="1836" y="3764"/>
                    </a:lnTo>
                    <a:lnTo>
                      <a:pt x="1842" y="3760"/>
                    </a:lnTo>
                    <a:lnTo>
                      <a:pt x="1844" y="3760"/>
                    </a:lnTo>
                    <a:lnTo>
                      <a:pt x="1848" y="3762"/>
                    </a:lnTo>
                    <a:lnTo>
                      <a:pt x="1848" y="3762"/>
                    </a:lnTo>
                    <a:lnTo>
                      <a:pt x="1852" y="3766"/>
                    </a:lnTo>
                    <a:lnTo>
                      <a:pt x="1856" y="3764"/>
                    </a:lnTo>
                    <a:lnTo>
                      <a:pt x="1860" y="3762"/>
                    </a:lnTo>
                    <a:lnTo>
                      <a:pt x="1864" y="3756"/>
                    </a:lnTo>
                    <a:lnTo>
                      <a:pt x="1866" y="3748"/>
                    </a:lnTo>
                    <a:lnTo>
                      <a:pt x="1868" y="3740"/>
                    </a:lnTo>
                    <a:lnTo>
                      <a:pt x="1868" y="3734"/>
                    </a:lnTo>
                    <a:lnTo>
                      <a:pt x="1866" y="3726"/>
                    </a:lnTo>
                    <a:lnTo>
                      <a:pt x="1866" y="3726"/>
                    </a:lnTo>
                    <a:lnTo>
                      <a:pt x="1864" y="3716"/>
                    </a:lnTo>
                    <a:lnTo>
                      <a:pt x="1866" y="3706"/>
                    </a:lnTo>
                    <a:lnTo>
                      <a:pt x="1866" y="3698"/>
                    </a:lnTo>
                    <a:lnTo>
                      <a:pt x="1866" y="3690"/>
                    </a:lnTo>
                    <a:lnTo>
                      <a:pt x="1866" y="3690"/>
                    </a:lnTo>
                    <a:lnTo>
                      <a:pt x="1864" y="3686"/>
                    </a:lnTo>
                    <a:lnTo>
                      <a:pt x="1866" y="3684"/>
                    </a:lnTo>
                    <a:lnTo>
                      <a:pt x="1868" y="3680"/>
                    </a:lnTo>
                    <a:lnTo>
                      <a:pt x="1868" y="3680"/>
                    </a:lnTo>
                    <a:lnTo>
                      <a:pt x="1870" y="3676"/>
                    </a:lnTo>
                    <a:lnTo>
                      <a:pt x="1872" y="3678"/>
                    </a:lnTo>
                    <a:lnTo>
                      <a:pt x="1872" y="3684"/>
                    </a:lnTo>
                    <a:lnTo>
                      <a:pt x="1876" y="3710"/>
                    </a:lnTo>
                    <a:lnTo>
                      <a:pt x="1876" y="3710"/>
                    </a:lnTo>
                    <a:lnTo>
                      <a:pt x="1880" y="3720"/>
                    </a:lnTo>
                    <a:lnTo>
                      <a:pt x="1882" y="3724"/>
                    </a:lnTo>
                    <a:lnTo>
                      <a:pt x="1884" y="3726"/>
                    </a:lnTo>
                    <a:lnTo>
                      <a:pt x="1888" y="3726"/>
                    </a:lnTo>
                    <a:lnTo>
                      <a:pt x="1890" y="3726"/>
                    </a:lnTo>
                    <a:lnTo>
                      <a:pt x="1898" y="3722"/>
                    </a:lnTo>
                    <a:lnTo>
                      <a:pt x="1898" y="3722"/>
                    </a:lnTo>
                    <a:lnTo>
                      <a:pt x="1900" y="3720"/>
                    </a:lnTo>
                    <a:lnTo>
                      <a:pt x="1904" y="3720"/>
                    </a:lnTo>
                    <a:lnTo>
                      <a:pt x="1906" y="3722"/>
                    </a:lnTo>
                    <a:lnTo>
                      <a:pt x="1910" y="3726"/>
                    </a:lnTo>
                    <a:lnTo>
                      <a:pt x="1916" y="3738"/>
                    </a:lnTo>
                    <a:lnTo>
                      <a:pt x="1922" y="3760"/>
                    </a:lnTo>
                    <a:lnTo>
                      <a:pt x="1922" y="3760"/>
                    </a:lnTo>
                    <a:lnTo>
                      <a:pt x="1926" y="3768"/>
                    </a:lnTo>
                    <a:lnTo>
                      <a:pt x="1928" y="3772"/>
                    </a:lnTo>
                    <a:lnTo>
                      <a:pt x="1928" y="3774"/>
                    </a:lnTo>
                    <a:lnTo>
                      <a:pt x="1928" y="3780"/>
                    </a:lnTo>
                    <a:lnTo>
                      <a:pt x="1928" y="3780"/>
                    </a:lnTo>
                    <a:lnTo>
                      <a:pt x="1926" y="3786"/>
                    </a:lnTo>
                    <a:lnTo>
                      <a:pt x="1926" y="3792"/>
                    </a:lnTo>
                    <a:lnTo>
                      <a:pt x="1930" y="3804"/>
                    </a:lnTo>
                    <a:lnTo>
                      <a:pt x="1930" y="3804"/>
                    </a:lnTo>
                    <a:lnTo>
                      <a:pt x="1934" y="3814"/>
                    </a:lnTo>
                    <a:lnTo>
                      <a:pt x="1936" y="3810"/>
                    </a:lnTo>
                    <a:lnTo>
                      <a:pt x="1936" y="3800"/>
                    </a:lnTo>
                    <a:lnTo>
                      <a:pt x="1936" y="3800"/>
                    </a:lnTo>
                    <a:lnTo>
                      <a:pt x="1938" y="3806"/>
                    </a:lnTo>
                    <a:lnTo>
                      <a:pt x="1942" y="3816"/>
                    </a:lnTo>
                    <a:lnTo>
                      <a:pt x="1946" y="3828"/>
                    </a:lnTo>
                    <a:lnTo>
                      <a:pt x="1952" y="3838"/>
                    </a:lnTo>
                    <a:lnTo>
                      <a:pt x="1952" y="3838"/>
                    </a:lnTo>
                    <a:lnTo>
                      <a:pt x="1968" y="3862"/>
                    </a:lnTo>
                    <a:lnTo>
                      <a:pt x="1972" y="3864"/>
                    </a:lnTo>
                    <a:lnTo>
                      <a:pt x="1974" y="3860"/>
                    </a:lnTo>
                    <a:lnTo>
                      <a:pt x="1974" y="3860"/>
                    </a:lnTo>
                    <a:lnTo>
                      <a:pt x="1976" y="3856"/>
                    </a:lnTo>
                    <a:lnTo>
                      <a:pt x="1978" y="3854"/>
                    </a:lnTo>
                    <a:lnTo>
                      <a:pt x="1980" y="3854"/>
                    </a:lnTo>
                    <a:lnTo>
                      <a:pt x="1982" y="3854"/>
                    </a:lnTo>
                    <a:lnTo>
                      <a:pt x="1990" y="3862"/>
                    </a:lnTo>
                    <a:lnTo>
                      <a:pt x="1994" y="3870"/>
                    </a:lnTo>
                    <a:lnTo>
                      <a:pt x="1994" y="3870"/>
                    </a:lnTo>
                    <a:lnTo>
                      <a:pt x="1998" y="3876"/>
                    </a:lnTo>
                    <a:lnTo>
                      <a:pt x="2004" y="3882"/>
                    </a:lnTo>
                    <a:lnTo>
                      <a:pt x="2008" y="3886"/>
                    </a:lnTo>
                    <a:lnTo>
                      <a:pt x="2008" y="3888"/>
                    </a:lnTo>
                    <a:lnTo>
                      <a:pt x="2006" y="3890"/>
                    </a:lnTo>
                    <a:lnTo>
                      <a:pt x="2006" y="3890"/>
                    </a:lnTo>
                    <a:lnTo>
                      <a:pt x="2002" y="3892"/>
                    </a:lnTo>
                    <a:lnTo>
                      <a:pt x="2000" y="3892"/>
                    </a:lnTo>
                    <a:lnTo>
                      <a:pt x="1996" y="3890"/>
                    </a:lnTo>
                    <a:lnTo>
                      <a:pt x="1992" y="3886"/>
                    </a:lnTo>
                    <a:lnTo>
                      <a:pt x="1990" y="3886"/>
                    </a:lnTo>
                    <a:lnTo>
                      <a:pt x="1988" y="3888"/>
                    </a:lnTo>
                    <a:lnTo>
                      <a:pt x="1988" y="3888"/>
                    </a:lnTo>
                    <a:lnTo>
                      <a:pt x="1986" y="3890"/>
                    </a:lnTo>
                    <a:lnTo>
                      <a:pt x="1986" y="3894"/>
                    </a:lnTo>
                    <a:lnTo>
                      <a:pt x="1992" y="3904"/>
                    </a:lnTo>
                    <a:lnTo>
                      <a:pt x="1998" y="3910"/>
                    </a:lnTo>
                    <a:lnTo>
                      <a:pt x="2000" y="3912"/>
                    </a:lnTo>
                    <a:lnTo>
                      <a:pt x="2000" y="3910"/>
                    </a:lnTo>
                    <a:lnTo>
                      <a:pt x="2000" y="3910"/>
                    </a:lnTo>
                    <a:lnTo>
                      <a:pt x="2002" y="3904"/>
                    </a:lnTo>
                    <a:lnTo>
                      <a:pt x="2004" y="3900"/>
                    </a:lnTo>
                    <a:lnTo>
                      <a:pt x="2006" y="3900"/>
                    </a:lnTo>
                    <a:lnTo>
                      <a:pt x="2006" y="3900"/>
                    </a:lnTo>
                    <a:lnTo>
                      <a:pt x="2010" y="3912"/>
                    </a:lnTo>
                    <a:lnTo>
                      <a:pt x="2010" y="3912"/>
                    </a:lnTo>
                    <a:lnTo>
                      <a:pt x="2016" y="3930"/>
                    </a:lnTo>
                    <a:lnTo>
                      <a:pt x="2024" y="3950"/>
                    </a:lnTo>
                    <a:lnTo>
                      <a:pt x="2028" y="3960"/>
                    </a:lnTo>
                    <a:lnTo>
                      <a:pt x="2032" y="3972"/>
                    </a:lnTo>
                    <a:lnTo>
                      <a:pt x="2032" y="3982"/>
                    </a:lnTo>
                    <a:lnTo>
                      <a:pt x="2030" y="3992"/>
                    </a:lnTo>
                    <a:lnTo>
                      <a:pt x="2030" y="3992"/>
                    </a:lnTo>
                    <a:lnTo>
                      <a:pt x="2016" y="4034"/>
                    </a:lnTo>
                    <a:lnTo>
                      <a:pt x="2014" y="4050"/>
                    </a:lnTo>
                    <a:lnTo>
                      <a:pt x="2014" y="4056"/>
                    </a:lnTo>
                    <a:lnTo>
                      <a:pt x="2016" y="4058"/>
                    </a:lnTo>
                    <a:lnTo>
                      <a:pt x="2016" y="4058"/>
                    </a:lnTo>
                    <a:lnTo>
                      <a:pt x="2020" y="4058"/>
                    </a:lnTo>
                    <a:lnTo>
                      <a:pt x="2022" y="4056"/>
                    </a:lnTo>
                    <a:lnTo>
                      <a:pt x="2026" y="4050"/>
                    </a:lnTo>
                    <a:lnTo>
                      <a:pt x="2028" y="4044"/>
                    </a:lnTo>
                    <a:lnTo>
                      <a:pt x="2030" y="4042"/>
                    </a:lnTo>
                    <a:lnTo>
                      <a:pt x="2034" y="4042"/>
                    </a:lnTo>
                    <a:lnTo>
                      <a:pt x="2034" y="4042"/>
                    </a:lnTo>
                    <a:lnTo>
                      <a:pt x="2036" y="4042"/>
                    </a:lnTo>
                    <a:lnTo>
                      <a:pt x="2036" y="4044"/>
                    </a:lnTo>
                    <a:lnTo>
                      <a:pt x="2032" y="4048"/>
                    </a:lnTo>
                    <a:lnTo>
                      <a:pt x="2032" y="4054"/>
                    </a:lnTo>
                    <a:lnTo>
                      <a:pt x="2032" y="4056"/>
                    </a:lnTo>
                    <a:lnTo>
                      <a:pt x="2036" y="4060"/>
                    </a:lnTo>
                    <a:lnTo>
                      <a:pt x="2036" y="4060"/>
                    </a:lnTo>
                    <a:lnTo>
                      <a:pt x="2040" y="4064"/>
                    </a:lnTo>
                    <a:lnTo>
                      <a:pt x="2042" y="4064"/>
                    </a:lnTo>
                    <a:lnTo>
                      <a:pt x="2046" y="4062"/>
                    </a:lnTo>
                    <a:lnTo>
                      <a:pt x="2048" y="4060"/>
                    </a:lnTo>
                    <a:lnTo>
                      <a:pt x="2050" y="4060"/>
                    </a:lnTo>
                    <a:lnTo>
                      <a:pt x="2052" y="4062"/>
                    </a:lnTo>
                    <a:lnTo>
                      <a:pt x="2056" y="4066"/>
                    </a:lnTo>
                    <a:lnTo>
                      <a:pt x="2056" y="4066"/>
                    </a:lnTo>
                    <a:lnTo>
                      <a:pt x="2062" y="4070"/>
                    </a:lnTo>
                    <a:lnTo>
                      <a:pt x="2066" y="4068"/>
                    </a:lnTo>
                    <a:lnTo>
                      <a:pt x="2068" y="4066"/>
                    </a:lnTo>
                    <a:lnTo>
                      <a:pt x="2072" y="4060"/>
                    </a:lnTo>
                    <a:lnTo>
                      <a:pt x="2080" y="4048"/>
                    </a:lnTo>
                    <a:lnTo>
                      <a:pt x="2086" y="4042"/>
                    </a:lnTo>
                    <a:lnTo>
                      <a:pt x="2092" y="4038"/>
                    </a:lnTo>
                    <a:lnTo>
                      <a:pt x="2092" y="4038"/>
                    </a:lnTo>
                    <a:lnTo>
                      <a:pt x="2106" y="4032"/>
                    </a:lnTo>
                    <a:lnTo>
                      <a:pt x="2112" y="4028"/>
                    </a:lnTo>
                    <a:lnTo>
                      <a:pt x="2118" y="4024"/>
                    </a:lnTo>
                    <a:lnTo>
                      <a:pt x="2122" y="4016"/>
                    </a:lnTo>
                    <a:lnTo>
                      <a:pt x="2124" y="4008"/>
                    </a:lnTo>
                    <a:lnTo>
                      <a:pt x="2126" y="3998"/>
                    </a:lnTo>
                    <a:lnTo>
                      <a:pt x="2122" y="3986"/>
                    </a:lnTo>
                    <a:lnTo>
                      <a:pt x="2122" y="3986"/>
                    </a:lnTo>
                    <a:lnTo>
                      <a:pt x="2128" y="3990"/>
                    </a:lnTo>
                    <a:lnTo>
                      <a:pt x="2130" y="3992"/>
                    </a:lnTo>
                    <a:lnTo>
                      <a:pt x="2132" y="3998"/>
                    </a:lnTo>
                    <a:lnTo>
                      <a:pt x="2132" y="3998"/>
                    </a:lnTo>
                    <a:lnTo>
                      <a:pt x="2132" y="4002"/>
                    </a:lnTo>
                    <a:lnTo>
                      <a:pt x="2136" y="4004"/>
                    </a:lnTo>
                    <a:lnTo>
                      <a:pt x="2138" y="4008"/>
                    </a:lnTo>
                    <a:lnTo>
                      <a:pt x="2140" y="4020"/>
                    </a:lnTo>
                    <a:lnTo>
                      <a:pt x="2140" y="4020"/>
                    </a:lnTo>
                    <a:lnTo>
                      <a:pt x="2144" y="4028"/>
                    </a:lnTo>
                    <a:lnTo>
                      <a:pt x="2146" y="4030"/>
                    </a:lnTo>
                    <a:lnTo>
                      <a:pt x="2148" y="4032"/>
                    </a:lnTo>
                    <a:lnTo>
                      <a:pt x="2152" y="4030"/>
                    </a:lnTo>
                    <a:lnTo>
                      <a:pt x="2156" y="4028"/>
                    </a:lnTo>
                    <a:lnTo>
                      <a:pt x="2156" y="4028"/>
                    </a:lnTo>
                    <a:lnTo>
                      <a:pt x="2158" y="4028"/>
                    </a:lnTo>
                    <a:lnTo>
                      <a:pt x="2158" y="4028"/>
                    </a:lnTo>
                    <a:lnTo>
                      <a:pt x="2156" y="4032"/>
                    </a:lnTo>
                    <a:lnTo>
                      <a:pt x="2152" y="4040"/>
                    </a:lnTo>
                    <a:lnTo>
                      <a:pt x="2150" y="4046"/>
                    </a:lnTo>
                    <a:lnTo>
                      <a:pt x="2150" y="4046"/>
                    </a:lnTo>
                    <a:lnTo>
                      <a:pt x="2150" y="4052"/>
                    </a:lnTo>
                    <a:lnTo>
                      <a:pt x="2154" y="4060"/>
                    </a:lnTo>
                    <a:lnTo>
                      <a:pt x="2156" y="4070"/>
                    </a:lnTo>
                    <a:lnTo>
                      <a:pt x="2158" y="4092"/>
                    </a:lnTo>
                    <a:lnTo>
                      <a:pt x="2158" y="4092"/>
                    </a:lnTo>
                    <a:lnTo>
                      <a:pt x="2160" y="4114"/>
                    </a:lnTo>
                    <a:lnTo>
                      <a:pt x="2164" y="4128"/>
                    </a:lnTo>
                    <a:lnTo>
                      <a:pt x="2168" y="4140"/>
                    </a:lnTo>
                    <a:lnTo>
                      <a:pt x="2172" y="4154"/>
                    </a:lnTo>
                    <a:lnTo>
                      <a:pt x="2172" y="4154"/>
                    </a:lnTo>
                    <a:lnTo>
                      <a:pt x="2172" y="4172"/>
                    </a:lnTo>
                    <a:lnTo>
                      <a:pt x="2174" y="4172"/>
                    </a:lnTo>
                    <a:lnTo>
                      <a:pt x="2174" y="4172"/>
                    </a:lnTo>
                    <a:lnTo>
                      <a:pt x="2176" y="4166"/>
                    </a:lnTo>
                    <a:lnTo>
                      <a:pt x="2178" y="4168"/>
                    </a:lnTo>
                    <a:lnTo>
                      <a:pt x="2180" y="4172"/>
                    </a:lnTo>
                    <a:lnTo>
                      <a:pt x="2180" y="4172"/>
                    </a:lnTo>
                    <a:lnTo>
                      <a:pt x="2184" y="4186"/>
                    </a:lnTo>
                    <a:lnTo>
                      <a:pt x="2188" y="4198"/>
                    </a:lnTo>
                    <a:lnTo>
                      <a:pt x="2190" y="4208"/>
                    </a:lnTo>
                    <a:lnTo>
                      <a:pt x="2192" y="4216"/>
                    </a:lnTo>
                    <a:lnTo>
                      <a:pt x="2192" y="4216"/>
                    </a:lnTo>
                    <a:lnTo>
                      <a:pt x="2194" y="4224"/>
                    </a:lnTo>
                    <a:lnTo>
                      <a:pt x="2192" y="4232"/>
                    </a:lnTo>
                    <a:lnTo>
                      <a:pt x="2192" y="4240"/>
                    </a:lnTo>
                    <a:lnTo>
                      <a:pt x="2192" y="4242"/>
                    </a:lnTo>
                    <a:lnTo>
                      <a:pt x="2194" y="4246"/>
                    </a:lnTo>
                    <a:lnTo>
                      <a:pt x="2194" y="4246"/>
                    </a:lnTo>
                    <a:lnTo>
                      <a:pt x="2194" y="4248"/>
                    </a:lnTo>
                    <a:lnTo>
                      <a:pt x="2194" y="4250"/>
                    </a:lnTo>
                    <a:lnTo>
                      <a:pt x="2192" y="4258"/>
                    </a:lnTo>
                    <a:lnTo>
                      <a:pt x="2190" y="4266"/>
                    </a:lnTo>
                    <a:lnTo>
                      <a:pt x="2192" y="4268"/>
                    </a:lnTo>
                    <a:lnTo>
                      <a:pt x="2196" y="4268"/>
                    </a:lnTo>
                    <a:lnTo>
                      <a:pt x="2196" y="4268"/>
                    </a:lnTo>
                    <a:lnTo>
                      <a:pt x="2198" y="4268"/>
                    </a:lnTo>
                    <a:lnTo>
                      <a:pt x="2200" y="4270"/>
                    </a:lnTo>
                    <a:lnTo>
                      <a:pt x="2200" y="4276"/>
                    </a:lnTo>
                    <a:lnTo>
                      <a:pt x="2196" y="4286"/>
                    </a:lnTo>
                    <a:lnTo>
                      <a:pt x="2196" y="4298"/>
                    </a:lnTo>
                    <a:lnTo>
                      <a:pt x="2196" y="4298"/>
                    </a:lnTo>
                    <a:lnTo>
                      <a:pt x="2194" y="4306"/>
                    </a:lnTo>
                    <a:lnTo>
                      <a:pt x="2192" y="4310"/>
                    </a:lnTo>
                    <a:lnTo>
                      <a:pt x="2190" y="4320"/>
                    </a:lnTo>
                    <a:lnTo>
                      <a:pt x="2188" y="4344"/>
                    </a:lnTo>
                    <a:lnTo>
                      <a:pt x="2188" y="4344"/>
                    </a:lnTo>
                    <a:lnTo>
                      <a:pt x="2188" y="4352"/>
                    </a:lnTo>
                    <a:lnTo>
                      <a:pt x="2190" y="4352"/>
                    </a:lnTo>
                    <a:lnTo>
                      <a:pt x="2190" y="4352"/>
                    </a:lnTo>
                    <a:lnTo>
                      <a:pt x="2198" y="4336"/>
                    </a:lnTo>
                    <a:lnTo>
                      <a:pt x="2198" y="4336"/>
                    </a:lnTo>
                    <a:lnTo>
                      <a:pt x="2198" y="4340"/>
                    </a:lnTo>
                    <a:lnTo>
                      <a:pt x="2198" y="4346"/>
                    </a:lnTo>
                    <a:lnTo>
                      <a:pt x="2190" y="4360"/>
                    </a:lnTo>
                    <a:lnTo>
                      <a:pt x="2190" y="4360"/>
                    </a:lnTo>
                    <a:lnTo>
                      <a:pt x="2186" y="4368"/>
                    </a:lnTo>
                    <a:lnTo>
                      <a:pt x="2188" y="4372"/>
                    </a:lnTo>
                    <a:lnTo>
                      <a:pt x="2188" y="4374"/>
                    </a:lnTo>
                    <a:lnTo>
                      <a:pt x="2186" y="4380"/>
                    </a:lnTo>
                    <a:lnTo>
                      <a:pt x="2186" y="4380"/>
                    </a:lnTo>
                    <a:lnTo>
                      <a:pt x="2182" y="4390"/>
                    </a:lnTo>
                    <a:lnTo>
                      <a:pt x="2182" y="4396"/>
                    </a:lnTo>
                    <a:lnTo>
                      <a:pt x="2182" y="4400"/>
                    </a:lnTo>
                    <a:lnTo>
                      <a:pt x="2180" y="4406"/>
                    </a:lnTo>
                    <a:lnTo>
                      <a:pt x="2180" y="4406"/>
                    </a:lnTo>
                    <a:lnTo>
                      <a:pt x="2178" y="4416"/>
                    </a:lnTo>
                    <a:lnTo>
                      <a:pt x="2176" y="4426"/>
                    </a:lnTo>
                    <a:lnTo>
                      <a:pt x="2178" y="4434"/>
                    </a:lnTo>
                    <a:lnTo>
                      <a:pt x="2180" y="4440"/>
                    </a:lnTo>
                    <a:lnTo>
                      <a:pt x="2180" y="4440"/>
                    </a:lnTo>
                    <a:lnTo>
                      <a:pt x="2182" y="4442"/>
                    </a:lnTo>
                    <a:lnTo>
                      <a:pt x="2184" y="4442"/>
                    </a:lnTo>
                    <a:lnTo>
                      <a:pt x="2186" y="4438"/>
                    </a:lnTo>
                    <a:lnTo>
                      <a:pt x="2190" y="4432"/>
                    </a:lnTo>
                    <a:lnTo>
                      <a:pt x="2190" y="4430"/>
                    </a:lnTo>
                    <a:lnTo>
                      <a:pt x="2192" y="4430"/>
                    </a:lnTo>
                    <a:lnTo>
                      <a:pt x="2192" y="4430"/>
                    </a:lnTo>
                    <a:lnTo>
                      <a:pt x="2198" y="4438"/>
                    </a:lnTo>
                    <a:lnTo>
                      <a:pt x="2204" y="4450"/>
                    </a:lnTo>
                    <a:lnTo>
                      <a:pt x="2210" y="4464"/>
                    </a:lnTo>
                    <a:lnTo>
                      <a:pt x="2220" y="4480"/>
                    </a:lnTo>
                    <a:lnTo>
                      <a:pt x="2220" y="4480"/>
                    </a:lnTo>
                    <a:lnTo>
                      <a:pt x="2224" y="4484"/>
                    </a:lnTo>
                    <a:lnTo>
                      <a:pt x="2228" y="4484"/>
                    </a:lnTo>
                    <a:lnTo>
                      <a:pt x="2232" y="4486"/>
                    </a:lnTo>
                    <a:lnTo>
                      <a:pt x="2234" y="4488"/>
                    </a:lnTo>
                    <a:lnTo>
                      <a:pt x="2234" y="4488"/>
                    </a:lnTo>
                    <a:lnTo>
                      <a:pt x="2234" y="4494"/>
                    </a:lnTo>
                    <a:lnTo>
                      <a:pt x="2234" y="4498"/>
                    </a:lnTo>
                    <a:lnTo>
                      <a:pt x="2236" y="4502"/>
                    </a:lnTo>
                    <a:lnTo>
                      <a:pt x="2238" y="4508"/>
                    </a:lnTo>
                    <a:lnTo>
                      <a:pt x="2238" y="4508"/>
                    </a:lnTo>
                    <a:lnTo>
                      <a:pt x="2248" y="4516"/>
                    </a:lnTo>
                    <a:lnTo>
                      <a:pt x="2254" y="4526"/>
                    </a:lnTo>
                    <a:lnTo>
                      <a:pt x="2254" y="4526"/>
                    </a:lnTo>
                    <a:lnTo>
                      <a:pt x="2258" y="4536"/>
                    </a:lnTo>
                    <a:lnTo>
                      <a:pt x="2262" y="4544"/>
                    </a:lnTo>
                    <a:lnTo>
                      <a:pt x="2266" y="4562"/>
                    </a:lnTo>
                    <a:lnTo>
                      <a:pt x="2266" y="4578"/>
                    </a:lnTo>
                    <a:lnTo>
                      <a:pt x="2266" y="4588"/>
                    </a:lnTo>
                    <a:lnTo>
                      <a:pt x="2266" y="4588"/>
                    </a:lnTo>
                    <a:lnTo>
                      <a:pt x="2264" y="4592"/>
                    </a:lnTo>
                    <a:lnTo>
                      <a:pt x="2264" y="4596"/>
                    </a:lnTo>
                    <a:lnTo>
                      <a:pt x="2268" y="4600"/>
                    </a:lnTo>
                    <a:lnTo>
                      <a:pt x="2270" y="4602"/>
                    </a:lnTo>
                    <a:lnTo>
                      <a:pt x="2272" y="4606"/>
                    </a:lnTo>
                    <a:lnTo>
                      <a:pt x="2274" y="4612"/>
                    </a:lnTo>
                    <a:lnTo>
                      <a:pt x="2272" y="4622"/>
                    </a:lnTo>
                    <a:lnTo>
                      <a:pt x="2272" y="4622"/>
                    </a:lnTo>
                    <a:lnTo>
                      <a:pt x="2272" y="4634"/>
                    </a:lnTo>
                    <a:lnTo>
                      <a:pt x="2276" y="4638"/>
                    </a:lnTo>
                    <a:lnTo>
                      <a:pt x="2278" y="4640"/>
                    </a:lnTo>
                    <a:lnTo>
                      <a:pt x="2278" y="4644"/>
                    </a:lnTo>
                    <a:lnTo>
                      <a:pt x="2278" y="4644"/>
                    </a:lnTo>
                    <a:lnTo>
                      <a:pt x="2278" y="4648"/>
                    </a:lnTo>
                    <a:lnTo>
                      <a:pt x="2282" y="4654"/>
                    </a:lnTo>
                    <a:lnTo>
                      <a:pt x="2292" y="4666"/>
                    </a:lnTo>
                    <a:lnTo>
                      <a:pt x="2296" y="4672"/>
                    </a:lnTo>
                    <a:lnTo>
                      <a:pt x="2300" y="4680"/>
                    </a:lnTo>
                    <a:lnTo>
                      <a:pt x="2302" y="4688"/>
                    </a:lnTo>
                    <a:lnTo>
                      <a:pt x="2302" y="4696"/>
                    </a:lnTo>
                    <a:lnTo>
                      <a:pt x="2302" y="4696"/>
                    </a:lnTo>
                    <a:lnTo>
                      <a:pt x="2302" y="4700"/>
                    </a:lnTo>
                    <a:lnTo>
                      <a:pt x="2302" y="4702"/>
                    </a:lnTo>
                    <a:lnTo>
                      <a:pt x="2308" y="4708"/>
                    </a:lnTo>
                    <a:lnTo>
                      <a:pt x="2320" y="4716"/>
                    </a:lnTo>
                    <a:lnTo>
                      <a:pt x="2330" y="4724"/>
                    </a:lnTo>
                    <a:lnTo>
                      <a:pt x="2344" y="4736"/>
                    </a:lnTo>
                    <a:lnTo>
                      <a:pt x="2344" y="4736"/>
                    </a:lnTo>
                    <a:lnTo>
                      <a:pt x="2354" y="4746"/>
                    </a:lnTo>
                    <a:lnTo>
                      <a:pt x="2364" y="4754"/>
                    </a:lnTo>
                    <a:lnTo>
                      <a:pt x="2376" y="4760"/>
                    </a:lnTo>
                    <a:lnTo>
                      <a:pt x="2382" y="4764"/>
                    </a:lnTo>
                    <a:lnTo>
                      <a:pt x="2384" y="4766"/>
                    </a:lnTo>
                    <a:lnTo>
                      <a:pt x="2386" y="4770"/>
                    </a:lnTo>
                    <a:lnTo>
                      <a:pt x="2386" y="4770"/>
                    </a:lnTo>
                    <a:lnTo>
                      <a:pt x="2390" y="4776"/>
                    </a:lnTo>
                    <a:lnTo>
                      <a:pt x="2392" y="4774"/>
                    </a:lnTo>
                    <a:lnTo>
                      <a:pt x="2396" y="4770"/>
                    </a:lnTo>
                    <a:lnTo>
                      <a:pt x="2400" y="4770"/>
                    </a:lnTo>
                    <a:lnTo>
                      <a:pt x="2404" y="4770"/>
                    </a:lnTo>
                    <a:lnTo>
                      <a:pt x="2404" y="4770"/>
                    </a:lnTo>
                    <a:lnTo>
                      <a:pt x="2408" y="4770"/>
                    </a:lnTo>
                    <a:lnTo>
                      <a:pt x="2410" y="4768"/>
                    </a:lnTo>
                    <a:lnTo>
                      <a:pt x="2410" y="4764"/>
                    </a:lnTo>
                    <a:lnTo>
                      <a:pt x="2414" y="4764"/>
                    </a:lnTo>
                    <a:lnTo>
                      <a:pt x="2414" y="4764"/>
                    </a:lnTo>
                    <a:lnTo>
                      <a:pt x="2416" y="4766"/>
                    </a:lnTo>
                    <a:lnTo>
                      <a:pt x="2414" y="4770"/>
                    </a:lnTo>
                    <a:lnTo>
                      <a:pt x="2414" y="4772"/>
                    </a:lnTo>
                    <a:lnTo>
                      <a:pt x="2418" y="4774"/>
                    </a:lnTo>
                    <a:lnTo>
                      <a:pt x="2418" y="4774"/>
                    </a:lnTo>
                    <a:lnTo>
                      <a:pt x="2420" y="4774"/>
                    </a:lnTo>
                    <a:lnTo>
                      <a:pt x="2422" y="4772"/>
                    </a:lnTo>
                    <a:lnTo>
                      <a:pt x="2422" y="4766"/>
                    </a:lnTo>
                    <a:lnTo>
                      <a:pt x="2420" y="4756"/>
                    </a:lnTo>
                    <a:lnTo>
                      <a:pt x="2416" y="4750"/>
                    </a:lnTo>
                    <a:lnTo>
                      <a:pt x="2416" y="4750"/>
                    </a:lnTo>
                    <a:lnTo>
                      <a:pt x="2414" y="4744"/>
                    </a:lnTo>
                    <a:lnTo>
                      <a:pt x="2412" y="4740"/>
                    </a:lnTo>
                    <a:lnTo>
                      <a:pt x="2410" y="4730"/>
                    </a:lnTo>
                    <a:lnTo>
                      <a:pt x="2406" y="4718"/>
                    </a:lnTo>
                    <a:lnTo>
                      <a:pt x="2402" y="4714"/>
                    </a:lnTo>
                    <a:lnTo>
                      <a:pt x="2398" y="4708"/>
                    </a:lnTo>
                    <a:lnTo>
                      <a:pt x="2398" y="4708"/>
                    </a:lnTo>
                    <a:lnTo>
                      <a:pt x="2392" y="4704"/>
                    </a:lnTo>
                    <a:lnTo>
                      <a:pt x="2388" y="4698"/>
                    </a:lnTo>
                    <a:lnTo>
                      <a:pt x="2388" y="4690"/>
                    </a:lnTo>
                    <a:lnTo>
                      <a:pt x="2388" y="4684"/>
                    </a:lnTo>
                    <a:lnTo>
                      <a:pt x="2390" y="4672"/>
                    </a:lnTo>
                    <a:lnTo>
                      <a:pt x="2390" y="4668"/>
                    </a:lnTo>
                    <a:lnTo>
                      <a:pt x="2386" y="4664"/>
                    </a:lnTo>
                    <a:lnTo>
                      <a:pt x="2386" y="4664"/>
                    </a:lnTo>
                    <a:lnTo>
                      <a:pt x="2384" y="4658"/>
                    </a:lnTo>
                    <a:lnTo>
                      <a:pt x="2386" y="4654"/>
                    </a:lnTo>
                    <a:lnTo>
                      <a:pt x="2386" y="4648"/>
                    </a:lnTo>
                    <a:lnTo>
                      <a:pt x="2388" y="4642"/>
                    </a:lnTo>
                    <a:lnTo>
                      <a:pt x="2388" y="4642"/>
                    </a:lnTo>
                    <a:lnTo>
                      <a:pt x="2388" y="4636"/>
                    </a:lnTo>
                    <a:lnTo>
                      <a:pt x="2388" y="4628"/>
                    </a:lnTo>
                    <a:lnTo>
                      <a:pt x="2390" y="4616"/>
                    </a:lnTo>
                    <a:lnTo>
                      <a:pt x="2386" y="4600"/>
                    </a:lnTo>
                    <a:lnTo>
                      <a:pt x="2386" y="4600"/>
                    </a:lnTo>
                    <a:lnTo>
                      <a:pt x="2384" y="4592"/>
                    </a:lnTo>
                    <a:lnTo>
                      <a:pt x="2378" y="4584"/>
                    </a:lnTo>
                    <a:lnTo>
                      <a:pt x="2366" y="4570"/>
                    </a:lnTo>
                    <a:lnTo>
                      <a:pt x="2354" y="4558"/>
                    </a:lnTo>
                    <a:lnTo>
                      <a:pt x="2350" y="4552"/>
                    </a:lnTo>
                    <a:lnTo>
                      <a:pt x="2348" y="4546"/>
                    </a:lnTo>
                    <a:lnTo>
                      <a:pt x="2348" y="4546"/>
                    </a:lnTo>
                    <a:lnTo>
                      <a:pt x="2344" y="4540"/>
                    </a:lnTo>
                    <a:lnTo>
                      <a:pt x="2342" y="4538"/>
                    </a:lnTo>
                    <a:lnTo>
                      <a:pt x="2334" y="4536"/>
                    </a:lnTo>
                    <a:lnTo>
                      <a:pt x="2334" y="4536"/>
                    </a:lnTo>
                    <a:lnTo>
                      <a:pt x="2324" y="4526"/>
                    </a:lnTo>
                    <a:lnTo>
                      <a:pt x="2310" y="4508"/>
                    </a:lnTo>
                    <a:lnTo>
                      <a:pt x="2310" y="4508"/>
                    </a:lnTo>
                    <a:lnTo>
                      <a:pt x="2306" y="4502"/>
                    </a:lnTo>
                    <a:lnTo>
                      <a:pt x="2304" y="4502"/>
                    </a:lnTo>
                    <a:lnTo>
                      <a:pt x="2300" y="4504"/>
                    </a:lnTo>
                    <a:lnTo>
                      <a:pt x="2296" y="4504"/>
                    </a:lnTo>
                    <a:lnTo>
                      <a:pt x="2292" y="4504"/>
                    </a:lnTo>
                    <a:lnTo>
                      <a:pt x="2286" y="4500"/>
                    </a:lnTo>
                    <a:lnTo>
                      <a:pt x="2276" y="4494"/>
                    </a:lnTo>
                    <a:lnTo>
                      <a:pt x="2276" y="4494"/>
                    </a:lnTo>
                    <a:lnTo>
                      <a:pt x="2272" y="4486"/>
                    </a:lnTo>
                    <a:lnTo>
                      <a:pt x="2270" y="4476"/>
                    </a:lnTo>
                    <a:lnTo>
                      <a:pt x="2264" y="4454"/>
                    </a:lnTo>
                    <a:lnTo>
                      <a:pt x="2262" y="4434"/>
                    </a:lnTo>
                    <a:lnTo>
                      <a:pt x="2260" y="4428"/>
                    </a:lnTo>
                    <a:lnTo>
                      <a:pt x="2258" y="4426"/>
                    </a:lnTo>
                    <a:lnTo>
                      <a:pt x="2258" y="4426"/>
                    </a:lnTo>
                    <a:lnTo>
                      <a:pt x="2258" y="4426"/>
                    </a:lnTo>
                    <a:lnTo>
                      <a:pt x="2254" y="4426"/>
                    </a:lnTo>
                    <a:lnTo>
                      <a:pt x="2252" y="4424"/>
                    </a:lnTo>
                    <a:lnTo>
                      <a:pt x="2248" y="4416"/>
                    </a:lnTo>
                    <a:lnTo>
                      <a:pt x="2244" y="4402"/>
                    </a:lnTo>
                    <a:lnTo>
                      <a:pt x="2244" y="4388"/>
                    </a:lnTo>
                    <a:lnTo>
                      <a:pt x="2244" y="4388"/>
                    </a:lnTo>
                    <a:lnTo>
                      <a:pt x="2242" y="4386"/>
                    </a:lnTo>
                    <a:lnTo>
                      <a:pt x="2240" y="4384"/>
                    </a:lnTo>
                    <a:lnTo>
                      <a:pt x="2230" y="4388"/>
                    </a:lnTo>
                    <a:lnTo>
                      <a:pt x="2226" y="4390"/>
                    </a:lnTo>
                    <a:lnTo>
                      <a:pt x="2222" y="4390"/>
                    </a:lnTo>
                    <a:lnTo>
                      <a:pt x="2220" y="4388"/>
                    </a:lnTo>
                    <a:lnTo>
                      <a:pt x="2220" y="4382"/>
                    </a:lnTo>
                    <a:lnTo>
                      <a:pt x="2220" y="4382"/>
                    </a:lnTo>
                    <a:lnTo>
                      <a:pt x="2218" y="4352"/>
                    </a:lnTo>
                    <a:lnTo>
                      <a:pt x="2218" y="4330"/>
                    </a:lnTo>
                    <a:lnTo>
                      <a:pt x="2220" y="4320"/>
                    </a:lnTo>
                    <a:lnTo>
                      <a:pt x="2224" y="4316"/>
                    </a:lnTo>
                    <a:lnTo>
                      <a:pt x="2224" y="4316"/>
                    </a:lnTo>
                    <a:lnTo>
                      <a:pt x="2226" y="4310"/>
                    </a:lnTo>
                    <a:lnTo>
                      <a:pt x="2228" y="4306"/>
                    </a:lnTo>
                    <a:lnTo>
                      <a:pt x="2232" y="4296"/>
                    </a:lnTo>
                    <a:lnTo>
                      <a:pt x="2234" y="4284"/>
                    </a:lnTo>
                    <a:lnTo>
                      <a:pt x="2236" y="4274"/>
                    </a:lnTo>
                    <a:lnTo>
                      <a:pt x="2236" y="4274"/>
                    </a:lnTo>
                    <a:lnTo>
                      <a:pt x="2242" y="4258"/>
                    </a:lnTo>
                    <a:lnTo>
                      <a:pt x="2248" y="4232"/>
                    </a:lnTo>
                    <a:lnTo>
                      <a:pt x="2252" y="4208"/>
                    </a:lnTo>
                    <a:lnTo>
                      <a:pt x="2252" y="4200"/>
                    </a:lnTo>
                    <a:lnTo>
                      <a:pt x="2252" y="4196"/>
                    </a:lnTo>
                    <a:lnTo>
                      <a:pt x="2252" y="4196"/>
                    </a:lnTo>
                    <a:lnTo>
                      <a:pt x="2248" y="4192"/>
                    </a:lnTo>
                    <a:lnTo>
                      <a:pt x="2248" y="4190"/>
                    </a:lnTo>
                    <a:lnTo>
                      <a:pt x="2248" y="4186"/>
                    </a:lnTo>
                    <a:lnTo>
                      <a:pt x="2250" y="4184"/>
                    </a:lnTo>
                    <a:lnTo>
                      <a:pt x="2252" y="4180"/>
                    </a:lnTo>
                    <a:lnTo>
                      <a:pt x="2256" y="4178"/>
                    </a:lnTo>
                    <a:lnTo>
                      <a:pt x="2272" y="4176"/>
                    </a:lnTo>
                    <a:lnTo>
                      <a:pt x="2272" y="4176"/>
                    </a:lnTo>
                    <a:lnTo>
                      <a:pt x="2278" y="4178"/>
                    </a:lnTo>
                    <a:lnTo>
                      <a:pt x="2282" y="4180"/>
                    </a:lnTo>
                    <a:lnTo>
                      <a:pt x="2286" y="4182"/>
                    </a:lnTo>
                    <a:lnTo>
                      <a:pt x="2286" y="4184"/>
                    </a:lnTo>
                    <a:lnTo>
                      <a:pt x="2284" y="4194"/>
                    </a:lnTo>
                    <a:lnTo>
                      <a:pt x="2282" y="4210"/>
                    </a:lnTo>
                    <a:lnTo>
                      <a:pt x="2282" y="4210"/>
                    </a:lnTo>
                    <a:lnTo>
                      <a:pt x="2282" y="4220"/>
                    </a:lnTo>
                    <a:lnTo>
                      <a:pt x="2284" y="4222"/>
                    </a:lnTo>
                    <a:lnTo>
                      <a:pt x="2286" y="4222"/>
                    </a:lnTo>
                    <a:lnTo>
                      <a:pt x="2292" y="4222"/>
                    </a:lnTo>
                    <a:lnTo>
                      <a:pt x="2296" y="4222"/>
                    </a:lnTo>
                    <a:lnTo>
                      <a:pt x="2300" y="4222"/>
                    </a:lnTo>
                    <a:lnTo>
                      <a:pt x="2300" y="4222"/>
                    </a:lnTo>
                    <a:lnTo>
                      <a:pt x="2304" y="4224"/>
                    </a:lnTo>
                    <a:lnTo>
                      <a:pt x="2306" y="4224"/>
                    </a:lnTo>
                    <a:lnTo>
                      <a:pt x="2310" y="4220"/>
                    </a:lnTo>
                    <a:lnTo>
                      <a:pt x="2316" y="4218"/>
                    </a:lnTo>
                    <a:lnTo>
                      <a:pt x="2318" y="4218"/>
                    </a:lnTo>
                    <a:lnTo>
                      <a:pt x="2322" y="4220"/>
                    </a:lnTo>
                    <a:lnTo>
                      <a:pt x="2322" y="4220"/>
                    </a:lnTo>
                    <a:lnTo>
                      <a:pt x="2330" y="4228"/>
                    </a:lnTo>
                    <a:lnTo>
                      <a:pt x="2336" y="4236"/>
                    </a:lnTo>
                    <a:lnTo>
                      <a:pt x="2342" y="4244"/>
                    </a:lnTo>
                    <a:lnTo>
                      <a:pt x="2346" y="4246"/>
                    </a:lnTo>
                    <a:lnTo>
                      <a:pt x="2350" y="4248"/>
                    </a:lnTo>
                    <a:lnTo>
                      <a:pt x="2350" y="4248"/>
                    </a:lnTo>
                    <a:lnTo>
                      <a:pt x="2354" y="4250"/>
                    </a:lnTo>
                    <a:lnTo>
                      <a:pt x="2356" y="4252"/>
                    </a:lnTo>
                    <a:lnTo>
                      <a:pt x="2360" y="4258"/>
                    </a:lnTo>
                    <a:lnTo>
                      <a:pt x="2362" y="4266"/>
                    </a:lnTo>
                    <a:lnTo>
                      <a:pt x="2364" y="4268"/>
                    </a:lnTo>
                    <a:lnTo>
                      <a:pt x="2368" y="4268"/>
                    </a:lnTo>
                    <a:lnTo>
                      <a:pt x="2368" y="4268"/>
                    </a:lnTo>
                    <a:lnTo>
                      <a:pt x="2362" y="4256"/>
                    </a:lnTo>
                    <a:lnTo>
                      <a:pt x="2362" y="4246"/>
                    </a:lnTo>
                    <a:lnTo>
                      <a:pt x="2362" y="4246"/>
                    </a:lnTo>
                    <a:lnTo>
                      <a:pt x="2362" y="4256"/>
                    </a:lnTo>
                    <a:lnTo>
                      <a:pt x="2368" y="4268"/>
                    </a:lnTo>
                    <a:lnTo>
                      <a:pt x="2368" y="4268"/>
                    </a:lnTo>
                    <a:lnTo>
                      <a:pt x="2374" y="4280"/>
                    </a:lnTo>
                    <a:lnTo>
                      <a:pt x="2376" y="4286"/>
                    </a:lnTo>
                    <a:lnTo>
                      <a:pt x="2374" y="4292"/>
                    </a:lnTo>
                    <a:lnTo>
                      <a:pt x="2374" y="4300"/>
                    </a:lnTo>
                    <a:lnTo>
                      <a:pt x="2374" y="4300"/>
                    </a:lnTo>
                    <a:lnTo>
                      <a:pt x="2376" y="4310"/>
                    </a:lnTo>
                    <a:lnTo>
                      <a:pt x="2376" y="4310"/>
                    </a:lnTo>
                    <a:lnTo>
                      <a:pt x="2378" y="4310"/>
                    </a:lnTo>
                    <a:lnTo>
                      <a:pt x="2380" y="4308"/>
                    </a:lnTo>
                    <a:lnTo>
                      <a:pt x="2386" y="4308"/>
                    </a:lnTo>
                    <a:lnTo>
                      <a:pt x="2386" y="4308"/>
                    </a:lnTo>
                    <a:lnTo>
                      <a:pt x="2388" y="4308"/>
                    </a:lnTo>
                    <a:lnTo>
                      <a:pt x="2388" y="4304"/>
                    </a:lnTo>
                    <a:lnTo>
                      <a:pt x="2388" y="4298"/>
                    </a:lnTo>
                    <a:lnTo>
                      <a:pt x="2388" y="4296"/>
                    </a:lnTo>
                    <a:lnTo>
                      <a:pt x="2390" y="4294"/>
                    </a:lnTo>
                    <a:lnTo>
                      <a:pt x="2392" y="4296"/>
                    </a:lnTo>
                    <a:lnTo>
                      <a:pt x="2396" y="4300"/>
                    </a:lnTo>
                    <a:lnTo>
                      <a:pt x="2396" y="4300"/>
                    </a:lnTo>
                    <a:lnTo>
                      <a:pt x="2398" y="4304"/>
                    </a:lnTo>
                    <a:lnTo>
                      <a:pt x="2398" y="4308"/>
                    </a:lnTo>
                    <a:lnTo>
                      <a:pt x="2394" y="4314"/>
                    </a:lnTo>
                    <a:lnTo>
                      <a:pt x="2390" y="4320"/>
                    </a:lnTo>
                    <a:lnTo>
                      <a:pt x="2390" y="4322"/>
                    </a:lnTo>
                    <a:lnTo>
                      <a:pt x="2392" y="4324"/>
                    </a:lnTo>
                    <a:lnTo>
                      <a:pt x="2392" y="4324"/>
                    </a:lnTo>
                    <a:lnTo>
                      <a:pt x="2396" y="4326"/>
                    </a:lnTo>
                    <a:lnTo>
                      <a:pt x="2398" y="4326"/>
                    </a:lnTo>
                    <a:lnTo>
                      <a:pt x="2402" y="4324"/>
                    </a:lnTo>
                    <a:lnTo>
                      <a:pt x="2404" y="4322"/>
                    </a:lnTo>
                    <a:lnTo>
                      <a:pt x="2406" y="4320"/>
                    </a:lnTo>
                    <a:lnTo>
                      <a:pt x="2406" y="4322"/>
                    </a:lnTo>
                    <a:lnTo>
                      <a:pt x="2406" y="4322"/>
                    </a:lnTo>
                    <a:lnTo>
                      <a:pt x="2412" y="4324"/>
                    </a:lnTo>
                    <a:lnTo>
                      <a:pt x="2416" y="4324"/>
                    </a:lnTo>
                    <a:lnTo>
                      <a:pt x="2422" y="4326"/>
                    </a:lnTo>
                    <a:lnTo>
                      <a:pt x="2424" y="4328"/>
                    </a:lnTo>
                    <a:lnTo>
                      <a:pt x="2428" y="4334"/>
                    </a:lnTo>
                    <a:lnTo>
                      <a:pt x="2428" y="4334"/>
                    </a:lnTo>
                    <a:lnTo>
                      <a:pt x="2430" y="4340"/>
                    </a:lnTo>
                    <a:lnTo>
                      <a:pt x="2434" y="4344"/>
                    </a:lnTo>
                    <a:lnTo>
                      <a:pt x="2436" y="4344"/>
                    </a:lnTo>
                    <a:lnTo>
                      <a:pt x="2438" y="4344"/>
                    </a:lnTo>
                    <a:lnTo>
                      <a:pt x="2444" y="4342"/>
                    </a:lnTo>
                    <a:lnTo>
                      <a:pt x="2446" y="4342"/>
                    </a:lnTo>
                    <a:lnTo>
                      <a:pt x="2450" y="4346"/>
                    </a:lnTo>
                    <a:lnTo>
                      <a:pt x="2450" y="4346"/>
                    </a:lnTo>
                    <a:lnTo>
                      <a:pt x="2452" y="4350"/>
                    </a:lnTo>
                    <a:lnTo>
                      <a:pt x="2452" y="4352"/>
                    </a:lnTo>
                    <a:lnTo>
                      <a:pt x="2448" y="4360"/>
                    </a:lnTo>
                    <a:lnTo>
                      <a:pt x="2444" y="4370"/>
                    </a:lnTo>
                    <a:lnTo>
                      <a:pt x="2442" y="4378"/>
                    </a:lnTo>
                    <a:lnTo>
                      <a:pt x="2440" y="4388"/>
                    </a:lnTo>
                    <a:lnTo>
                      <a:pt x="2440" y="4388"/>
                    </a:lnTo>
                    <a:lnTo>
                      <a:pt x="2440" y="4410"/>
                    </a:lnTo>
                    <a:lnTo>
                      <a:pt x="2442" y="4422"/>
                    </a:lnTo>
                    <a:lnTo>
                      <a:pt x="2444" y="4424"/>
                    </a:lnTo>
                    <a:lnTo>
                      <a:pt x="2446" y="4424"/>
                    </a:lnTo>
                    <a:lnTo>
                      <a:pt x="2450" y="4422"/>
                    </a:lnTo>
                    <a:lnTo>
                      <a:pt x="2456" y="4416"/>
                    </a:lnTo>
                    <a:lnTo>
                      <a:pt x="2456" y="4416"/>
                    </a:lnTo>
                    <a:lnTo>
                      <a:pt x="2478" y="4396"/>
                    </a:lnTo>
                    <a:lnTo>
                      <a:pt x="2488" y="4388"/>
                    </a:lnTo>
                    <a:lnTo>
                      <a:pt x="2496" y="4384"/>
                    </a:lnTo>
                    <a:lnTo>
                      <a:pt x="2496" y="4384"/>
                    </a:lnTo>
                    <a:lnTo>
                      <a:pt x="2500" y="4382"/>
                    </a:lnTo>
                    <a:lnTo>
                      <a:pt x="2502" y="4380"/>
                    </a:lnTo>
                    <a:lnTo>
                      <a:pt x="2502" y="4376"/>
                    </a:lnTo>
                    <a:lnTo>
                      <a:pt x="2502" y="4374"/>
                    </a:lnTo>
                    <a:lnTo>
                      <a:pt x="2508" y="4372"/>
                    </a:lnTo>
                    <a:lnTo>
                      <a:pt x="2508" y="4372"/>
                    </a:lnTo>
                    <a:lnTo>
                      <a:pt x="2512" y="4370"/>
                    </a:lnTo>
                    <a:lnTo>
                      <a:pt x="2516" y="4364"/>
                    </a:lnTo>
                    <a:lnTo>
                      <a:pt x="2520" y="4346"/>
                    </a:lnTo>
                    <a:lnTo>
                      <a:pt x="2524" y="4328"/>
                    </a:lnTo>
                    <a:lnTo>
                      <a:pt x="2526" y="4324"/>
                    </a:lnTo>
                    <a:lnTo>
                      <a:pt x="2526" y="4322"/>
                    </a:lnTo>
                    <a:lnTo>
                      <a:pt x="2528" y="4324"/>
                    </a:lnTo>
                    <a:lnTo>
                      <a:pt x="2528" y="4324"/>
                    </a:lnTo>
                    <a:lnTo>
                      <a:pt x="2534" y="4328"/>
                    </a:lnTo>
                    <a:lnTo>
                      <a:pt x="2536" y="4330"/>
                    </a:lnTo>
                    <a:lnTo>
                      <a:pt x="2538" y="4332"/>
                    </a:lnTo>
                    <a:lnTo>
                      <a:pt x="2544" y="4332"/>
                    </a:lnTo>
                    <a:lnTo>
                      <a:pt x="2548" y="4330"/>
                    </a:lnTo>
                    <a:lnTo>
                      <a:pt x="2556" y="4326"/>
                    </a:lnTo>
                    <a:lnTo>
                      <a:pt x="2566" y="4318"/>
                    </a:lnTo>
                    <a:lnTo>
                      <a:pt x="2566" y="4318"/>
                    </a:lnTo>
                    <a:lnTo>
                      <a:pt x="2576" y="4310"/>
                    </a:lnTo>
                    <a:lnTo>
                      <a:pt x="2584" y="4304"/>
                    </a:lnTo>
                    <a:lnTo>
                      <a:pt x="2598" y="4296"/>
                    </a:lnTo>
                    <a:lnTo>
                      <a:pt x="2604" y="4292"/>
                    </a:lnTo>
                    <a:lnTo>
                      <a:pt x="2610" y="4286"/>
                    </a:lnTo>
                    <a:lnTo>
                      <a:pt x="2614" y="4280"/>
                    </a:lnTo>
                    <a:lnTo>
                      <a:pt x="2618" y="4272"/>
                    </a:lnTo>
                    <a:lnTo>
                      <a:pt x="2618" y="4272"/>
                    </a:lnTo>
                    <a:lnTo>
                      <a:pt x="2622" y="4252"/>
                    </a:lnTo>
                    <a:lnTo>
                      <a:pt x="2622" y="4238"/>
                    </a:lnTo>
                    <a:lnTo>
                      <a:pt x="2624" y="4228"/>
                    </a:lnTo>
                    <a:lnTo>
                      <a:pt x="2624" y="4224"/>
                    </a:lnTo>
                    <a:lnTo>
                      <a:pt x="2626" y="4222"/>
                    </a:lnTo>
                    <a:lnTo>
                      <a:pt x="2626" y="4222"/>
                    </a:lnTo>
                    <a:lnTo>
                      <a:pt x="2628" y="4222"/>
                    </a:lnTo>
                    <a:lnTo>
                      <a:pt x="2630" y="4220"/>
                    </a:lnTo>
                    <a:lnTo>
                      <a:pt x="2630" y="4214"/>
                    </a:lnTo>
                    <a:lnTo>
                      <a:pt x="2628" y="4206"/>
                    </a:lnTo>
                    <a:lnTo>
                      <a:pt x="2624" y="4198"/>
                    </a:lnTo>
                    <a:lnTo>
                      <a:pt x="2624" y="4198"/>
                    </a:lnTo>
                    <a:lnTo>
                      <a:pt x="2622" y="4194"/>
                    </a:lnTo>
                    <a:lnTo>
                      <a:pt x="2622" y="4190"/>
                    </a:lnTo>
                    <a:lnTo>
                      <a:pt x="2624" y="4174"/>
                    </a:lnTo>
                    <a:lnTo>
                      <a:pt x="2624" y="4152"/>
                    </a:lnTo>
                    <a:lnTo>
                      <a:pt x="2622" y="4138"/>
                    </a:lnTo>
                    <a:lnTo>
                      <a:pt x="2616" y="4122"/>
                    </a:lnTo>
                    <a:lnTo>
                      <a:pt x="2616" y="4122"/>
                    </a:lnTo>
                    <a:lnTo>
                      <a:pt x="2606" y="4096"/>
                    </a:lnTo>
                    <a:lnTo>
                      <a:pt x="2598" y="4080"/>
                    </a:lnTo>
                    <a:lnTo>
                      <a:pt x="2590" y="4068"/>
                    </a:lnTo>
                    <a:lnTo>
                      <a:pt x="2584" y="4056"/>
                    </a:lnTo>
                    <a:lnTo>
                      <a:pt x="2584" y="4056"/>
                    </a:lnTo>
                    <a:lnTo>
                      <a:pt x="2580" y="4046"/>
                    </a:lnTo>
                    <a:lnTo>
                      <a:pt x="2572" y="4042"/>
                    </a:lnTo>
                    <a:lnTo>
                      <a:pt x="2562" y="4034"/>
                    </a:lnTo>
                    <a:lnTo>
                      <a:pt x="2548" y="4020"/>
                    </a:lnTo>
                    <a:lnTo>
                      <a:pt x="2548" y="4020"/>
                    </a:lnTo>
                    <a:lnTo>
                      <a:pt x="2534" y="4002"/>
                    </a:lnTo>
                    <a:lnTo>
                      <a:pt x="2522" y="3986"/>
                    </a:lnTo>
                    <a:lnTo>
                      <a:pt x="2514" y="3972"/>
                    </a:lnTo>
                    <a:lnTo>
                      <a:pt x="2510" y="3966"/>
                    </a:lnTo>
                    <a:lnTo>
                      <a:pt x="2510" y="3960"/>
                    </a:lnTo>
                    <a:lnTo>
                      <a:pt x="2510" y="3960"/>
                    </a:lnTo>
                    <a:lnTo>
                      <a:pt x="2508" y="3954"/>
                    </a:lnTo>
                    <a:lnTo>
                      <a:pt x="2506" y="3950"/>
                    </a:lnTo>
                    <a:lnTo>
                      <a:pt x="2500" y="3946"/>
                    </a:lnTo>
                    <a:lnTo>
                      <a:pt x="2492" y="3940"/>
                    </a:lnTo>
                    <a:lnTo>
                      <a:pt x="2486" y="3934"/>
                    </a:lnTo>
                    <a:lnTo>
                      <a:pt x="2482" y="3926"/>
                    </a:lnTo>
                    <a:lnTo>
                      <a:pt x="2482" y="3926"/>
                    </a:lnTo>
                    <a:lnTo>
                      <a:pt x="2478" y="3916"/>
                    </a:lnTo>
                    <a:lnTo>
                      <a:pt x="2478" y="3904"/>
                    </a:lnTo>
                    <a:lnTo>
                      <a:pt x="2480" y="3894"/>
                    </a:lnTo>
                    <a:lnTo>
                      <a:pt x="2482" y="3884"/>
                    </a:lnTo>
                    <a:lnTo>
                      <a:pt x="2486" y="3874"/>
                    </a:lnTo>
                    <a:lnTo>
                      <a:pt x="2492" y="3864"/>
                    </a:lnTo>
                    <a:lnTo>
                      <a:pt x="2498" y="3856"/>
                    </a:lnTo>
                    <a:lnTo>
                      <a:pt x="2506" y="3848"/>
                    </a:lnTo>
                    <a:lnTo>
                      <a:pt x="2506" y="3848"/>
                    </a:lnTo>
                    <a:lnTo>
                      <a:pt x="2512" y="3842"/>
                    </a:lnTo>
                    <a:lnTo>
                      <a:pt x="2516" y="3836"/>
                    </a:lnTo>
                    <a:lnTo>
                      <a:pt x="2518" y="3826"/>
                    </a:lnTo>
                    <a:lnTo>
                      <a:pt x="2520" y="3816"/>
                    </a:lnTo>
                    <a:lnTo>
                      <a:pt x="2522" y="3812"/>
                    </a:lnTo>
                    <a:lnTo>
                      <a:pt x="2526" y="3808"/>
                    </a:lnTo>
                    <a:lnTo>
                      <a:pt x="2526" y="3808"/>
                    </a:lnTo>
                    <a:lnTo>
                      <a:pt x="2532" y="3806"/>
                    </a:lnTo>
                    <a:lnTo>
                      <a:pt x="2534" y="3806"/>
                    </a:lnTo>
                    <a:lnTo>
                      <a:pt x="2536" y="3808"/>
                    </a:lnTo>
                    <a:lnTo>
                      <a:pt x="2540" y="3808"/>
                    </a:lnTo>
                    <a:lnTo>
                      <a:pt x="2540" y="3808"/>
                    </a:lnTo>
                    <a:lnTo>
                      <a:pt x="2544" y="3804"/>
                    </a:lnTo>
                    <a:lnTo>
                      <a:pt x="2546" y="3800"/>
                    </a:lnTo>
                    <a:lnTo>
                      <a:pt x="2548" y="3794"/>
                    </a:lnTo>
                    <a:lnTo>
                      <a:pt x="2554" y="3790"/>
                    </a:lnTo>
                    <a:lnTo>
                      <a:pt x="2554" y="3790"/>
                    </a:lnTo>
                    <a:lnTo>
                      <a:pt x="2562" y="3784"/>
                    </a:lnTo>
                    <a:lnTo>
                      <a:pt x="2568" y="3782"/>
                    </a:lnTo>
                    <a:lnTo>
                      <a:pt x="2572" y="3782"/>
                    </a:lnTo>
                    <a:lnTo>
                      <a:pt x="2574" y="3778"/>
                    </a:lnTo>
                    <a:lnTo>
                      <a:pt x="2574" y="3778"/>
                    </a:lnTo>
                    <a:lnTo>
                      <a:pt x="2576" y="3780"/>
                    </a:lnTo>
                    <a:lnTo>
                      <a:pt x="2578" y="3780"/>
                    </a:lnTo>
                    <a:lnTo>
                      <a:pt x="2582" y="3780"/>
                    </a:lnTo>
                    <a:lnTo>
                      <a:pt x="2584" y="3776"/>
                    </a:lnTo>
                    <a:lnTo>
                      <a:pt x="2584" y="3776"/>
                    </a:lnTo>
                    <a:lnTo>
                      <a:pt x="2584" y="3774"/>
                    </a:lnTo>
                    <a:lnTo>
                      <a:pt x="2586" y="3776"/>
                    </a:lnTo>
                    <a:lnTo>
                      <a:pt x="2590" y="3778"/>
                    </a:lnTo>
                    <a:lnTo>
                      <a:pt x="2592" y="3778"/>
                    </a:lnTo>
                    <a:lnTo>
                      <a:pt x="2592" y="3778"/>
                    </a:lnTo>
                    <a:lnTo>
                      <a:pt x="2594" y="3774"/>
                    </a:lnTo>
                    <a:lnTo>
                      <a:pt x="2592" y="3772"/>
                    </a:lnTo>
                    <a:lnTo>
                      <a:pt x="2592" y="3768"/>
                    </a:lnTo>
                    <a:lnTo>
                      <a:pt x="2592" y="3762"/>
                    </a:lnTo>
                    <a:lnTo>
                      <a:pt x="2592" y="3762"/>
                    </a:lnTo>
                    <a:lnTo>
                      <a:pt x="2592" y="3760"/>
                    </a:lnTo>
                    <a:lnTo>
                      <a:pt x="2594" y="3762"/>
                    </a:lnTo>
                    <a:lnTo>
                      <a:pt x="2596" y="3766"/>
                    </a:lnTo>
                    <a:lnTo>
                      <a:pt x="2602" y="3772"/>
                    </a:lnTo>
                    <a:lnTo>
                      <a:pt x="2604" y="3774"/>
                    </a:lnTo>
                    <a:lnTo>
                      <a:pt x="2610" y="3776"/>
                    </a:lnTo>
                    <a:lnTo>
                      <a:pt x="2610" y="3776"/>
                    </a:lnTo>
                    <a:lnTo>
                      <a:pt x="2614" y="3776"/>
                    </a:lnTo>
                    <a:lnTo>
                      <a:pt x="2616" y="3778"/>
                    </a:lnTo>
                    <a:lnTo>
                      <a:pt x="2614" y="3782"/>
                    </a:lnTo>
                    <a:lnTo>
                      <a:pt x="2614" y="3784"/>
                    </a:lnTo>
                    <a:lnTo>
                      <a:pt x="2616" y="3786"/>
                    </a:lnTo>
                    <a:lnTo>
                      <a:pt x="2620" y="3786"/>
                    </a:lnTo>
                    <a:lnTo>
                      <a:pt x="2620" y="3786"/>
                    </a:lnTo>
                    <a:lnTo>
                      <a:pt x="2630" y="3784"/>
                    </a:lnTo>
                    <a:lnTo>
                      <a:pt x="2632" y="3782"/>
                    </a:lnTo>
                    <a:lnTo>
                      <a:pt x="2634" y="3778"/>
                    </a:lnTo>
                    <a:lnTo>
                      <a:pt x="2634" y="3778"/>
                    </a:lnTo>
                    <a:lnTo>
                      <a:pt x="2632" y="3772"/>
                    </a:lnTo>
                    <a:lnTo>
                      <a:pt x="2634" y="3772"/>
                    </a:lnTo>
                    <a:lnTo>
                      <a:pt x="2636" y="3778"/>
                    </a:lnTo>
                    <a:lnTo>
                      <a:pt x="2636" y="3778"/>
                    </a:lnTo>
                    <a:lnTo>
                      <a:pt x="2640" y="3782"/>
                    </a:lnTo>
                    <a:lnTo>
                      <a:pt x="2642" y="3782"/>
                    </a:lnTo>
                    <a:lnTo>
                      <a:pt x="2644" y="3782"/>
                    </a:lnTo>
                    <a:lnTo>
                      <a:pt x="2648" y="3784"/>
                    </a:lnTo>
                    <a:lnTo>
                      <a:pt x="2648" y="3784"/>
                    </a:lnTo>
                    <a:lnTo>
                      <a:pt x="2648" y="3786"/>
                    </a:lnTo>
                    <a:lnTo>
                      <a:pt x="2646" y="3788"/>
                    </a:lnTo>
                    <a:lnTo>
                      <a:pt x="2642" y="3794"/>
                    </a:lnTo>
                    <a:lnTo>
                      <a:pt x="2640" y="3802"/>
                    </a:lnTo>
                    <a:lnTo>
                      <a:pt x="2640" y="3802"/>
                    </a:lnTo>
                    <a:lnTo>
                      <a:pt x="2638" y="3810"/>
                    </a:lnTo>
                    <a:lnTo>
                      <a:pt x="2640" y="3816"/>
                    </a:lnTo>
                    <a:lnTo>
                      <a:pt x="2642" y="3818"/>
                    </a:lnTo>
                    <a:lnTo>
                      <a:pt x="2642" y="3820"/>
                    </a:lnTo>
                    <a:lnTo>
                      <a:pt x="2642" y="3820"/>
                    </a:lnTo>
                    <a:lnTo>
                      <a:pt x="2642" y="3824"/>
                    </a:lnTo>
                    <a:lnTo>
                      <a:pt x="2644" y="3828"/>
                    </a:lnTo>
                    <a:lnTo>
                      <a:pt x="2646" y="3832"/>
                    </a:lnTo>
                    <a:lnTo>
                      <a:pt x="2648" y="3836"/>
                    </a:lnTo>
                    <a:lnTo>
                      <a:pt x="2648" y="3836"/>
                    </a:lnTo>
                    <a:lnTo>
                      <a:pt x="2648" y="3840"/>
                    </a:lnTo>
                    <a:lnTo>
                      <a:pt x="2648" y="3842"/>
                    </a:lnTo>
                    <a:lnTo>
                      <a:pt x="2652" y="3844"/>
                    </a:lnTo>
                    <a:lnTo>
                      <a:pt x="2664" y="3842"/>
                    </a:lnTo>
                    <a:lnTo>
                      <a:pt x="2664" y="3842"/>
                    </a:lnTo>
                    <a:lnTo>
                      <a:pt x="2672" y="3838"/>
                    </a:lnTo>
                    <a:lnTo>
                      <a:pt x="2674" y="3836"/>
                    </a:lnTo>
                    <a:lnTo>
                      <a:pt x="2674" y="3834"/>
                    </a:lnTo>
                    <a:lnTo>
                      <a:pt x="2670" y="3828"/>
                    </a:lnTo>
                    <a:lnTo>
                      <a:pt x="2668" y="3820"/>
                    </a:lnTo>
                    <a:lnTo>
                      <a:pt x="2668" y="3820"/>
                    </a:lnTo>
                    <a:lnTo>
                      <a:pt x="2666" y="3814"/>
                    </a:lnTo>
                    <a:lnTo>
                      <a:pt x="2662" y="3812"/>
                    </a:lnTo>
                    <a:lnTo>
                      <a:pt x="2660" y="3812"/>
                    </a:lnTo>
                    <a:lnTo>
                      <a:pt x="2658" y="3810"/>
                    </a:lnTo>
                    <a:lnTo>
                      <a:pt x="2658" y="3810"/>
                    </a:lnTo>
                    <a:lnTo>
                      <a:pt x="2660" y="3804"/>
                    </a:lnTo>
                    <a:lnTo>
                      <a:pt x="2666" y="3800"/>
                    </a:lnTo>
                    <a:lnTo>
                      <a:pt x="2684" y="3788"/>
                    </a:lnTo>
                    <a:lnTo>
                      <a:pt x="2684" y="3788"/>
                    </a:lnTo>
                    <a:lnTo>
                      <a:pt x="2692" y="3784"/>
                    </a:lnTo>
                    <a:lnTo>
                      <a:pt x="2698" y="3782"/>
                    </a:lnTo>
                    <a:lnTo>
                      <a:pt x="2704" y="3784"/>
                    </a:lnTo>
                    <a:lnTo>
                      <a:pt x="2716" y="3780"/>
                    </a:lnTo>
                    <a:lnTo>
                      <a:pt x="2716" y="3780"/>
                    </a:lnTo>
                    <a:lnTo>
                      <a:pt x="2722" y="3778"/>
                    </a:lnTo>
                    <a:lnTo>
                      <a:pt x="2726" y="3774"/>
                    </a:lnTo>
                    <a:lnTo>
                      <a:pt x="2730" y="3768"/>
                    </a:lnTo>
                    <a:lnTo>
                      <a:pt x="2730" y="3764"/>
                    </a:lnTo>
                    <a:lnTo>
                      <a:pt x="2736" y="3766"/>
                    </a:lnTo>
                    <a:lnTo>
                      <a:pt x="2736" y="3766"/>
                    </a:lnTo>
                    <a:lnTo>
                      <a:pt x="2740" y="3768"/>
                    </a:lnTo>
                    <a:lnTo>
                      <a:pt x="2742" y="3772"/>
                    </a:lnTo>
                    <a:lnTo>
                      <a:pt x="2742" y="3772"/>
                    </a:lnTo>
                    <a:lnTo>
                      <a:pt x="2746" y="3768"/>
                    </a:lnTo>
                    <a:lnTo>
                      <a:pt x="2746" y="3768"/>
                    </a:lnTo>
                    <a:lnTo>
                      <a:pt x="2750" y="3764"/>
                    </a:lnTo>
                    <a:lnTo>
                      <a:pt x="2752" y="3766"/>
                    </a:lnTo>
                    <a:lnTo>
                      <a:pt x="2754" y="3768"/>
                    </a:lnTo>
                    <a:lnTo>
                      <a:pt x="2758" y="3764"/>
                    </a:lnTo>
                    <a:lnTo>
                      <a:pt x="2758" y="3764"/>
                    </a:lnTo>
                    <a:lnTo>
                      <a:pt x="2762" y="3760"/>
                    </a:lnTo>
                    <a:lnTo>
                      <a:pt x="2764" y="3760"/>
                    </a:lnTo>
                    <a:lnTo>
                      <a:pt x="2768" y="3760"/>
                    </a:lnTo>
                    <a:lnTo>
                      <a:pt x="2772" y="3762"/>
                    </a:lnTo>
                    <a:lnTo>
                      <a:pt x="2774" y="3760"/>
                    </a:lnTo>
                    <a:lnTo>
                      <a:pt x="2774" y="3756"/>
                    </a:lnTo>
                    <a:lnTo>
                      <a:pt x="2774" y="3756"/>
                    </a:lnTo>
                    <a:lnTo>
                      <a:pt x="2776" y="3750"/>
                    </a:lnTo>
                    <a:lnTo>
                      <a:pt x="2778" y="3752"/>
                    </a:lnTo>
                    <a:lnTo>
                      <a:pt x="2780" y="3754"/>
                    </a:lnTo>
                    <a:lnTo>
                      <a:pt x="2782" y="3754"/>
                    </a:lnTo>
                    <a:lnTo>
                      <a:pt x="2784" y="3752"/>
                    </a:lnTo>
                    <a:lnTo>
                      <a:pt x="2784" y="3752"/>
                    </a:lnTo>
                    <a:lnTo>
                      <a:pt x="2788" y="3748"/>
                    </a:lnTo>
                    <a:lnTo>
                      <a:pt x="2790" y="3748"/>
                    </a:lnTo>
                    <a:lnTo>
                      <a:pt x="2792" y="3748"/>
                    </a:lnTo>
                    <a:lnTo>
                      <a:pt x="2796" y="3744"/>
                    </a:lnTo>
                    <a:lnTo>
                      <a:pt x="2796" y="3744"/>
                    </a:lnTo>
                    <a:lnTo>
                      <a:pt x="2798" y="3740"/>
                    </a:lnTo>
                    <a:lnTo>
                      <a:pt x="2798" y="3736"/>
                    </a:lnTo>
                    <a:lnTo>
                      <a:pt x="2794" y="3724"/>
                    </a:lnTo>
                    <a:lnTo>
                      <a:pt x="2792" y="3714"/>
                    </a:lnTo>
                    <a:lnTo>
                      <a:pt x="2790" y="3712"/>
                    </a:lnTo>
                    <a:lnTo>
                      <a:pt x="2792" y="3708"/>
                    </a:lnTo>
                    <a:lnTo>
                      <a:pt x="2792" y="3708"/>
                    </a:lnTo>
                    <a:lnTo>
                      <a:pt x="2794" y="3708"/>
                    </a:lnTo>
                    <a:lnTo>
                      <a:pt x="2796" y="3710"/>
                    </a:lnTo>
                    <a:lnTo>
                      <a:pt x="2804" y="3720"/>
                    </a:lnTo>
                    <a:lnTo>
                      <a:pt x="2804" y="3720"/>
                    </a:lnTo>
                    <a:lnTo>
                      <a:pt x="2808" y="3726"/>
                    </a:lnTo>
                    <a:lnTo>
                      <a:pt x="2808" y="3726"/>
                    </a:lnTo>
                    <a:lnTo>
                      <a:pt x="2812" y="3730"/>
                    </a:lnTo>
                    <a:lnTo>
                      <a:pt x="2810" y="3734"/>
                    </a:lnTo>
                    <a:lnTo>
                      <a:pt x="2810" y="3738"/>
                    </a:lnTo>
                    <a:lnTo>
                      <a:pt x="2812" y="3738"/>
                    </a:lnTo>
                    <a:lnTo>
                      <a:pt x="2812" y="3738"/>
                    </a:lnTo>
                    <a:lnTo>
                      <a:pt x="2818" y="3740"/>
                    </a:lnTo>
                    <a:lnTo>
                      <a:pt x="2820" y="3742"/>
                    </a:lnTo>
                    <a:lnTo>
                      <a:pt x="2824" y="3742"/>
                    </a:lnTo>
                    <a:lnTo>
                      <a:pt x="2826" y="3740"/>
                    </a:lnTo>
                    <a:lnTo>
                      <a:pt x="2826" y="3740"/>
                    </a:lnTo>
                    <a:lnTo>
                      <a:pt x="2828" y="3736"/>
                    </a:lnTo>
                    <a:lnTo>
                      <a:pt x="2828" y="3734"/>
                    </a:lnTo>
                    <a:lnTo>
                      <a:pt x="2826" y="3730"/>
                    </a:lnTo>
                    <a:lnTo>
                      <a:pt x="2826" y="3726"/>
                    </a:lnTo>
                    <a:lnTo>
                      <a:pt x="2826" y="3726"/>
                    </a:lnTo>
                    <a:lnTo>
                      <a:pt x="2826" y="3724"/>
                    </a:lnTo>
                    <a:lnTo>
                      <a:pt x="2828" y="3724"/>
                    </a:lnTo>
                    <a:lnTo>
                      <a:pt x="2830" y="3728"/>
                    </a:lnTo>
                    <a:lnTo>
                      <a:pt x="2834" y="3730"/>
                    </a:lnTo>
                    <a:lnTo>
                      <a:pt x="2836" y="3732"/>
                    </a:lnTo>
                    <a:lnTo>
                      <a:pt x="2838" y="3730"/>
                    </a:lnTo>
                    <a:lnTo>
                      <a:pt x="2838" y="3730"/>
                    </a:lnTo>
                    <a:lnTo>
                      <a:pt x="2840" y="3728"/>
                    </a:lnTo>
                    <a:lnTo>
                      <a:pt x="2838" y="3724"/>
                    </a:lnTo>
                    <a:lnTo>
                      <a:pt x="2838" y="3724"/>
                    </a:lnTo>
                    <a:lnTo>
                      <a:pt x="2836" y="3720"/>
                    </a:lnTo>
                    <a:lnTo>
                      <a:pt x="2838" y="3718"/>
                    </a:lnTo>
                    <a:lnTo>
                      <a:pt x="2840" y="3716"/>
                    </a:lnTo>
                    <a:lnTo>
                      <a:pt x="2840" y="3716"/>
                    </a:lnTo>
                    <a:lnTo>
                      <a:pt x="2842" y="3716"/>
                    </a:lnTo>
                    <a:lnTo>
                      <a:pt x="2844" y="3718"/>
                    </a:lnTo>
                    <a:lnTo>
                      <a:pt x="2846" y="3724"/>
                    </a:lnTo>
                    <a:lnTo>
                      <a:pt x="2846" y="3726"/>
                    </a:lnTo>
                    <a:lnTo>
                      <a:pt x="2848" y="3728"/>
                    </a:lnTo>
                    <a:lnTo>
                      <a:pt x="2850" y="3728"/>
                    </a:lnTo>
                    <a:lnTo>
                      <a:pt x="2854" y="3724"/>
                    </a:lnTo>
                    <a:lnTo>
                      <a:pt x="2854" y="3724"/>
                    </a:lnTo>
                    <a:lnTo>
                      <a:pt x="2860" y="3718"/>
                    </a:lnTo>
                    <a:lnTo>
                      <a:pt x="2864" y="3716"/>
                    </a:lnTo>
                    <a:lnTo>
                      <a:pt x="2874" y="3722"/>
                    </a:lnTo>
                    <a:lnTo>
                      <a:pt x="2874" y="3722"/>
                    </a:lnTo>
                    <a:lnTo>
                      <a:pt x="2876" y="3722"/>
                    </a:lnTo>
                    <a:lnTo>
                      <a:pt x="2878" y="3722"/>
                    </a:lnTo>
                    <a:lnTo>
                      <a:pt x="2878" y="3718"/>
                    </a:lnTo>
                    <a:lnTo>
                      <a:pt x="2878" y="3714"/>
                    </a:lnTo>
                    <a:lnTo>
                      <a:pt x="2878" y="3712"/>
                    </a:lnTo>
                    <a:lnTo>
                      <a:pt x="2880" y="3712"/>
                    </a:lnTo>
                    <a:lnTo>
                      <a:pt x="2880" y="3712"/>
                    </a:lnTo>
                    <a:lnTo>
                      <a:pt x="2882" y="3712"/>
                    </a:lnTo>
                    <a:lnTo>
                      <a:pt x="2882" y="3712"/>
                    </a:lnTo>
                    <a:lnTo>
                      <a:pt x="2884" y="3716"/>
                    </a:lnTo>
                    <a:lnTo>
                      <a:pt x="2886" y="3718"/>
                    </a:lnTo>
                    <a:lnTo>
                      <a:pt x="2894" y="3716"/>
                    </a:lnTo>
                    <a:lnTo>
                      <a:pt x="2894" y="3716"/>
                    </a:lnTo>
                    <a:lnTo>
                      <a:pt x="2902" y="3712"/>
                    </a:lnTo>
                    <a:lnTo>
                      <a:pt x="2910" y="3710"/>
                    </a:lnTo>
                    <a:lnTo>
                      <a:pt x="2914" y="3706"/>
                    </a:lnTo>
                    <a:lnTo>
                      <a:pt x="2916" y="3702"/>
                    </a:lnTo>
                    <a:lnTo>
                      <a:pt x="2916" y="3702"/>
                    </a:lnTo>
                    <a:lnTo>
                      <a:pt x="2918" y="3698"/>
                    </a:lnTo>
                    <a:lnTo>
                      <a:pt x="2918" y="3696"/>
                    </a:lnTo>
                    <a:lnTo>
                      <a:pt x="2922" y="3694"/>
                    </a:lnTo>
                    <a:lnTo>
                      <a:pt x="2926" y="3692"/>
                    </a:lnTo>
                    <a:lnTo>
                      <a:pt x="2924" y="3690"/>
                    </a:lnTo>
                    <a:lnTo>
                      <a:pt x="2924" y="3690"/>
                    </a:lnTo>
                    <a:lnTo>
                      <a:pt x="2922" y="3688"/>
                    </a:lnTo>
                    <a:lnTo>
                      <a:pt x="2924" y="3686"/>
                    </a:lnTo>
                    <a:lnTo>
                      <a:pt x="2926" y="3684"/>
                    </a:lnTo>
                    <a:lnTo>
                      <a:pt x="2930" y="3678"/>
                    </a:lnTo>
                    <a:lnTo>
                      <a:pt x="2930" y="3678"/>
                    </a:lnTo>
                    <a:lnTo>
                      <a:pt x="2932" y="3674"/>
                    </a:lnTo>
                    <a:lnTo>
                      <a:pt x="2936" y="3674"/>
                    </a:lnTo>
                    <a:lnTo>
                      <a:pt x="2940" y="3674"/>
                    </a:lnTo>
                    <a:lnTo>
                      <a:pt x="2944" y="3672"/>
                    </a:lnTo>
                    <a:lnTo>
                      <a:pt x="2948" y="3668"/>
                    </a:lnTo>
                    <a:lnTo>
                      <a:pt x="2948" y="3668"/>
                    </a:lnTo>
                    <a:lnTo>
                      <a:pt x="2954" y="3662"/>
                    </a:lnTo>
                    <a:lnTo>
                      <a:pt x="2956" y="3662"/>
                    </a:lnTo>
                    <a:lnTo>
                      <a:pt x="2956" y="3664"/>
                    </a:lnTo>
                    <a:lnTo>
                      <a:pt x="2958" y="3666"/>
                    </a:lnTo>
                    <a:lnTo>
                      <a:pt x="2960" y="3662"/>
                    </a:lnTo>
                    <a:lnTo>
                      <a:pt x="2960" y="3662"/>
                    </a:lnTo>
                    <a:lnTo>
                      <a:pt x="2974" y="3648"/>
                    </a:lnTo>
                    <a:lnTo>
                      <a:pt x="2980" y="3642"/>
                    </a:lnTo>
                    <a:lnTo>
                      <a:pt x="2980" y="3638"/>
                    </a:lnTo>
                    <a:lnTo>
                      <a:pt x="2978" y="3636"/>
                    </a:lnTo>
                    <a:lnTo>
                      <a:pt x="2978" y="3636"/>
                    </a:lnTo>
                    <a:lnTo>
                      <a:pt x="2976" y="3632"/>
                    </a:lnTo>
                    <a:lnTo>
                      <a:pt x="2978" y="3626"/>
                    </a:lnTo>
                    <a:lnTo>
                      <a:pt x="2980" y="3624"/>
                    </a:lnTo>
                    <a:lnTo>
                      <a:pt x="2982" y="3624"/>
                    </a:lnTo>
                    <a:lnTo>
                      <a:pt x="2984" y="3626"/>
                    </a:lnTo>
                    <a:lnTo>
                      <a:pt x="2984" y="3626"/>
                    </a:lnTo>
                    <a:lnTo>
                      <a:pt x="2986" y="3628"/>
                    </a:lnTo>
                    <a:lnTo>
                      <a:pt x="2988" y="3626"/>
                    </a:lnTo>
                    <a:lnTo>
                      <a:pt x="2990" y="3626"/>
                    </a:lnTo>
                    <a:lnTo>
                      <a:pt x="2994" y="3628"/>
                    </a:lnTo>
                    <a:lnTo>
                      <a:pt x="2994" y="3628"/>
                    </a:lnTo>
                    <a:lnTo>
                      <a:pt x="2998" y="3630"/>
                    </a:lnTo>
                    <a:lnTo>
                      <a:pt x="2998" y="3630"/>
                    </a:lnTo>
                    <a:lnTo>
                      <a:pt x="3000" y="3624"/>
                    </a:lnTo>
                    <a:lnTo>
                      <a:pt x="3004" y="3616"/>
                    </a:lnTo>
                    <a:lnTo>
                      <a:pt x="3008" y="3614"/>
                    </a:lnTo>
                    <a:lnTo>
                      <a:pt x="3012" y="3610"/>
                    </a:lnTo>
                    <a:lnTo>
                      <a:pt x="3012" y="3610"/>
                    </a:lnTo>
                    <a:lnTo>
                      <a:pt x="3016" y="3608"/>
                    </a:lnTo>
                    <a:lnTo>
                      <a:pt x="3016" y="3606"/>
                    </a:lnTo>
                    <a:lnTo>
                      <a:pt x="3012" y="3602"/>
                    </a:lnTo>
                    <a:lnTo>
                      <a:pt x="3010" y="3598"/>
                    </a:lnTo>
                    <a:lnTo>
                      <a:pt x="3010" y="3594"/>
                    </a:lnTo>
                    <a:lnTo>
                      <a:pt x="3010" y="3594"/>
                    </a:lnTo>
                    <a:lnTo>
                      <a:pt x="3012" y="3590"/>
                    </a:lnTo>
                    <a:lnTo>
                      <a:pt x="3014" y="3594"/>
                    </a:lnTo>
                    <a:lnTo>
                      <a:pt x="3018" y="3596"/>
                    </a:lnTo>
                    <a:lnTo>
                      <a:pt x="3022" y="3596"/>
                    </a:lnTo>
                    <a:lnTo>
                      <a:pt x="3026" y="3594"/>
                    </a:lnTo>
                    <a:lnTo>
                      <a:pt x="3026" y="3594"/>
                    </a:lnTo>
                    <a:lnTo>
                      <a:pt x="3030" y="3590"/>
                    </a:lnTo>
                    <a:lnTo>
                      <a:pt x="3030" y="3588"/>
                    </a:lnTo>
                    <a:lnTo>
                      <a:pt x="3028" y="3588"/>
                    </a:lnTo>
                    <a:lnTo>
                      <a:pt x="3024" y="3588"/>
                    </a:lnTo>
                    <a:lnTo>
                      <a:pt x="3020" y="3586"/>
                    </a:lnTo>
                    <a:lnTo>
                      <a:pt x="3020" y="3586"/>
                    </a:lnTo>
                    <a:lnTo>
                      <a:pt x="3020" y="3582"/>
                    </a:lnTo>
                    <a:lnTo>
                      <a:pt x="3022" y="3578"/>
                    </a:lnTo>
                    <a:lnTo>
                      <a:pt x="3024" y="3576"/>
                    </a:lnTo>
                    <a:lnTo>
                      <a:pt x="3026" y="3576"/>
                    </a:lnTo>
                    <a:lnTo>
                      <a:pt x="3030" y="3578"/>
                    </a:lnTo>
                    <a:lnTo>
                      <a:pt x="3032" y="3580"/>
                    </a:lnTo>
                    <a:lnTo>
                      <a:pt x="3032" y="3580"/>
                    </a:lnTo>
                    <a:lnTo>
                      <a:pt x="3038" y="3586"/>
                    </a:lnTo>
                    <a:lnTo>
                      <a:pt x="3040" y="3586"/>
                    </a:lnTo>
                    <a:lnTo>
                      <a:pt x="3042" y="3582"/>
                    </a:lnTo>
                    <a:lnTo>
                      <a:pt x="3038" y="3576"/>
                    </a:lnTo>
                    <a:lnTo>
                      <a:pt x="3038" y="3576"/>
                    </a:lnTo>
                    <a:lnTo>
                      <a:pt x="3036" y="3572"/>
                    </a:lnTo>
                    <a:lnTo>
                      <a:pt x="3038" y="3568"/>
                    </a:lnTo>
                    <a:lnTo>
                      <a:pt x="3042" y="3558"/>
                    </a:lnTo>
                    <a:lnTo>
                      <a:pt x="3044" y="3552"/>
                    </a:lnTo>
                    <a:lnTo>
                      <a:pt x="3044" y="3552"/>
                    </a:lnTo>
                    <a:lnTo>
                      <a:pt x="3040" y="3552"/>
                    </a:lnTo>
                    <a:lnTo>
                      <a:pt x="3040" y="3552"/>
                    </a:lnTo>
                    <a:lnTo>
                      <a:pt x="3038" y="3552"/>
                    </a:lnTo>
                    <a:lnTo>
                      <a:pt x="3036" y="3550"/>
                    </a:lnTo>
                    <a:lnTo>
                      <a:pt x="3038" y="3546"/>
                    </a:lnTo>
                    <a:lnTo>
                      <a:pt x="3042" y="3540"/>
                    </a:lnTo>
                    <a:lnTo>
                      <a:pt x="3048" y="3536"/>
                    </a:lnTo>
                    <a:lnTo>
                      <a:pt x="3048" y="3536"/>
                    </a:lnTo>
                    <a:lnTo>
                      <a:pt x="3052" y="3534"/>
                    </a:lnTo>
                    <a:lnTo>
                      <a:pt x="3052" y="3532"/>
                    </a:lnTo>
                    <a:lnTo>
                      <a:pt x="3050" y="3532"/>
                    </a:lnTo>
                    <a:lnTo>
                      <a:pt x="3046" y="3526"/>
                    </a:lnTo>
                    <a:lnTo>
                      <a:pt x="3046" y="3526"/>
                    </a:lnTo>
                    <a:lnTo>
                      <a:pt x="3042" y="3522"/>
                    </a:lnTo>
                    <a:lnTo>
                      <a:pt x="3040" y="3518"/>
                    </a:lnTo>
                    <a:lnTo>
                      <a:pt x="3038" y="3518"/>
                    </a:lnTo>
                    <a:lnTo>
                      <a:pt x="3042" y="3516"/>
                    </a:lnTo>
                    <a:lnTo>
                      <a:pt x="3042" y="3516"/>
                    </a:lnTo>
                    <a:lnTo>
                      <a:pt x="3046" y="3514"/>
                    </a:lnTo>
                    <a:lnTo>
                      <a:pt x="3046" y="3516"/>
                    </a:lnTo>
                    <a:lnTo>
                      <a:pt x="3048" y="3520"/>
                    </a:lnTo>
                    <a:lnTo>
                      <a:pt x="3050" y="3524"/>
                    </a:lnTo>
                    <a:lnTo>
                      <a:pt x="3054" y="3524"/>
                    </a:lnTo>
                    <a:lnTo>
                      <a:pt x="3058" y="3522"/>
                    </a:lnTo>
                    <a:lnTo>
                      <a:pt x="3058" y="3522"/>
                    </a:lnTo>
                    <a:lnTo>
                      <a:pt x="3060" y="3520"/>
                    </a:lnTo>
                    <a:lnTo>
                      <a:pt x="3062" y="3518"/>
                    </a:lnTo>
                    <a:lnTo>
                      <a:pt x="3062" y="3512"/>
                    </a:lnTo>
                    <a:lnTo>
                      <a:pt x="3060" y="3510"/>
                    </a:lnTo>
                    <a:lnTo>
                      <a:pt x="3060" y="3508"/>
                    </a:lnTo>
                    <a:lnTo>
                      <a:pt x="3062" y="3506"/>
                    </a:lnTo>
                    <a:lnTo>
                      <a:pt x="3062" y="3506"/>
                    </a:lnTo>
                    <a:lnTo>
                      <a:pt x="3068" y="3502"/>
                    </a:lnTo>
                    <a:lnTo>
                      <a:pt x="3074" y="3492"/>
                    </a:lnTo>
                    <a:lnTo>
                      <a:pt x="3080" y="3482"/>
                    </a:lnTo>
                    <a:lnTo>
                      <a:pt x="3080" y="3478"/>
                    </a:lnTo>
                    <a:lnTo>
                      <a:pt x="3080" y="3474"/>
                    </a:lnTo>
                    <a:lnTo>
                      <a:pt x="3080" y="3474"/>
                    </a:lnTo>
                    <a:lnTo>
                      <a:pt x="3080" y="3470"/>
                    </a:lnTo>
                    <a:lnTo>
                      <a:pt x="3080" y="3468"/>
                    </a:lnTo>
                    <a:lnTo>
                      <a:pt x="3084" y="3462"/>
                    </a:lnTo>
                    <a:lnTo>
                      <a:pt x="3090" y="3454"/>
                    </a:lnTo>
                    <a:lnTo>
                      <a:pt x="3098" y="3440"/>
                    </a:lnTo>
                    <a:lnTo>
                      <a:pt x="3098" y="3440"/>
                    </a:lnTo>
                    <a:lnTo>
                      <a:pt x="3100" y="3436"/>
                    </a:lnTo>
                    <a:lnTo>
                      <a:pt x="3102" y="3432"/>
                    </a:lnTo>
                    <a:lnTo>
                      <a:pt x="3104" y="3434"/>
                    </a:lnTo>
                    <a:lnTo>
                      <a:pt x="3106" y="3436"/>
                    </a:lnTo>
                    <a:lnTo>
                      <a:pt x="3108" y="3440"/>
                    </a:lnTo>
                    <a:lnTo>
                      <a:pt x="3110" y="3440"/>
                    </a:lnTo>
                    <a:lnTo>
                      <a:pt x="3112" y="3440"/>
                    </a:lnTo>
                    <a:lnTo>
                      <a:pt x="3112" y="3440"/>
                    </a:lnTo>
                    <a:lnTo>
                      <a:pt x="3116" y="3436"/>
                    </a:lnTo>
                    <a:lnTo>
                      <a:pt x="3120" y="3434"/>
                    </a:lnTo>
                    <a:lnTo>
                      <a:pt x="3120" y="3434"/>
                    </a:lnTo>
                    <a:lnTo>
                      <a:pt x="3122" y="3432"/>
                    </a:lnTo>
                    <a:lnTo>
                      <a:pt x="3118" y="3424"/>
                    </a:lnTo>
                    <a:lnTo>
                      <a:pt x="3118" y="3424"/>
                    </a:lnTo>
                    <a:lnTo>
                      <a:pt x="3116" y="3420"/>
                    </a:lnTo>
                    <a:lnTo>
                      <a:pt x="3116" y="3416"/>
                    </a:lnTo>
                    <a:lnTo>
                      <a:pt x="3118" y="3414"/>
                    </a:lnTo>
                    <a:lnTo>
                      <a:pt x="3118" y="3414"/>
                    </a:lnTo>
                    <a:lnTo>
                      <a:pt x="3122" y="3412"/>
                    </a:lnTo>
                    <a:lnTo>
                      <a:pt x="3122" y="3410"/>
                    </a:lnTo>
                    <a:lnTo>
                      <a:pt x="3122" y="3408"/>
                    </a:lnTo>
                    <a:lnTo>
                      <a:pt x="3122" y="3408"/>
                    </a:lnTo>
                    <a:lnTo>
                      <a:pt x="3122" y="3402"/>
                    </a:lnTo>
                    <a:lnTo>
                      <a:pt x="3122" y="3400"/>
                    </a:lnTo>
                    <a:lnTo>
                      <a:pt x="3124" y="3398"/>
                    </a:lnTo>
                    <a:lnTo>
                      <a:pt x="3120" y="3392"/>
                    </a:lnTo>
                    <a:lnTo>
                      <a:pt x="3120" y="3392"/>
                    </a:lnTo>
                    <a:lnTo>
                      <a:pt x="3118" y="3390"/>
                    </a:lnTo>
                    <a:lnTo>
                      <a:pt x="3118" y="3390"/>
                    </a:lnTo>
                    <a:lnTo>
                      <a:pt x="3124" y="3390"/>
                    </a:lnTo>
                    <a:lnTo>
                      <a:pt x="3128" y="3390"/>
                    </a:lnTo>
                    <a:lnTo>
                      <a:pt x="3132" y="3388"/>
                    </a:lnTo>
                    <a:lnTo>
                      <a:pt x="3134" y="3384"/>
                    </a:lnTo>
                    <a:lnTo>
                      <a:pt x="3134" y="3376"/>
                    </a:lnTo>
                    <a:lnTo>
                      <a:pt x="3134" y="3376"/>
                    </a:lnTo>
                    <a:lnTo>
                      <a:pt x="3134" y="3370"/>
                    </a:lnTo>
                    <a:lnTo>
                      <a:pt x="3132" y="3366"/>
                    </a:lnTo>
                    <a:lnTo>
                      <a:pt x="3128" y="3362"/>
                    </a:lnTo>
                    <a:lnTo>
                      <a:pt x="3128" y="3362"/>
                    </a:lnTo>
                    <a:lnTo>
                      <a:pt x="3128" y="3362"/>
                    </a:lnTo>
                    <a:lnTo>
                      <a:pt x="3136" y="3356"/>
                    </a:lnTo>
                    <a:lnTo>
                      <a:pt x="3136" y="3356"/>
                    </a:lnTo>
                    <a:lnTo>
                      <a:pt x="3140" y="3352"/>
                    </a:lnTo>
                    <a:lnTo>
                      <a:pt x="3136" y="3350"/>
                    </a:lnTo>
                    <a:lnTo>
                      <a:pt x="3128" y="3348"/>
                    </a:lnTo>
                    <a:lnTo>
                      <a:pt x="3122" y="3344"/>
                    </a:lnTo>
                    <a:lnTo>
                      <a:pt x="3118" y="3338"/>
                    </a:lnTo>
                    <a:lnTo>
                      <a:pt x="3118" y="3338"/>
                    </a:lnTo>
                    <a:lnTo>
                      <a:pt x="3112" y="3332"/>
                    </a:lnTo>
                    <a:lnTo>
                      <a:pt x="3108" y="3330"/>
                    </a:lnTo>
                    <a:lnTo>
                      <a:pt x="3102" y="3330"/>
                    </a:lnTo>
                    <a:lnTo>
                      <a:pt x="3096" y="3334"/>
                    </a:lnTo>
                    <a:lnTo>
                      <a:pt x="3086" y="3338"/>
                    </a:lnTo>
                    <a:lnTo>
                      <a:pt x="3082" y="3338"/>
                    </a:lnTo>
                    <a:lnTo>
                      <a:pt x="3078" y="3334"/>
                    </a:lnTo>
                    <a:lnTo>
                      <a:pt x="3078" y="3334"/>
                    </a:lnTo>
                    <a:lnTo>
                      <a:pt x="3076" y="3332"/>
                    </a:lnTo>
                    <a:lnTo>
                      <a:pt x="3074" y="3330"/>
                    </a:lnTo>
                    <a:lnTo>
                      <a:pt x="3070" y="3332"/>
                    </a:lnTo>
                    <a:lnTo>
                      <a:pt x="3070" y="3332"/>
                    </a:lnTo>
                    <a:lnTo>
                      <a:pt x="3070" y="3328"/>
                    </a:lnTo>
                    <a:lnTo>
                      <a:pt x="3070" y="3328"/>
                    </a:lnTo>
                    <a:lnTo>
                      <a:pt x="3072" y="3326"/>
                    </a:lnTo>
                    <a:lnTo>
                      <a:pt x="3074" y="3324"/>
                    </a:lnTo>
                    <a:lnTo>
                      <a:pt x="3082" y="3326"/>
                    </a:lnTo>
                    <a:lnTo>
                      <a:pt x="3088" y="3326"/>
                    </a:lnTo>
                    <a:lnTo>
                      <a:pt x="3090" y="3326"/>
                    </a:lnTo>
                    <a:lnTo>
                      <a:pt x="3092" y="3324"/>
                    </a:lnTo>
                    <a:lnTo>
                      <a:pt x="3092" y="3324"/>
                    </a:lnTo>
                    <a:lnTo>
                      <a:pt x="3098" y="3316"/>
                    </a:lnTo>
                    <a:lnTo>
                      <a:pt x="3106" y="3310"/>
                    </a:lnTo>
                    <a:lnTo>
                      <a:pt x="3116" y="3304"/>
                    </a:lnTo>
                    <a:lnTo>
                      <a:pt x="3124" y="3302"/>
                    </a:lnTo>
                    <a:lnTo>
                      <a:pt x="3124" y="3302"/>
                    </a:lnTo>
                    <a:lnTo>
                      <a:pt x="3128" y="3300"/>
                    </a:lnTo>
                    <a:lnTo>
                      <a:pt x="3132" y="3298"/>
                    </a:lnTo>
                    <a:lnTo>
                      <a:pt x="3132" y="3294"/>
                    </a:lnTo>
                    <a:lnTo>
                      <a:pt x="3130" y="3290"/>
                    </a:lnTo>
                    <a:lnTo>
                      <a:pt x="3122" y="3278"/>
                    </a:lnTo>
                    <a:lnTo>
                      <a:pt x="3110" y="3268"/>
                    </a:lnTo>
                    <a:lnTo>
                      <a:pt x="3110" y="3268"/>
                    </a:lnTo>
                    <a:lnTo>
                      <a:pt x="3100" y="3258"/>
                    </a:lnTo>
                    <a:lnTo>
                      <a:pt x="3090" y="3254"/>
                    </a:lnTo>
                    <a:lnTo>
                      <a:pt x="3086" y="3252"/>
                    </a:lnTo>
                    <a:lnTo>
                      <a:pt x="3086" y="3250"/>
                    </a:lnTo>
                    <a:lnTo>
                      <a:pt x="3086" y="3248"/>
                    </a:lnTo>
                    <a:lnTo>
                      <a:pt x="3086" y="3248"/>
                    </a:lnTo>
                    <a:lnTo>
                      <a:pt x="3086" y="3246"/>
                    </a:lnTo>
                    <a:lnTo>
                      <a:pt x="3086" y="3244"/>
                    </a:lnTo>
                    <a:lnTo>
                      <a:pt x="3082" y="3242"/>
                    </a:lnTo>
                    <a:lnTo>
                      <a:pt x="3078" y="3240"/>
                    </a:lnTo>
                    <a:lnTo>
                      <a:pt x="3074" y="3242"/>
                    </a:lnTo>
                    <a:lnTo>
                      <a:pt x="3074" y="3242"/>
                    </a:lnTo>
                    <a:lnTo>
                      <a:pt x="3068" y="3246"/>
                    </a:lnTo>
                    <a:lnTo>
                      <a:pt x="3062" y="3246"/>
                    </a:lnTo>
                    <a:lnTo>
                      <a:pt x="3056" y="3244"/>
                    </a:lnTo>
                    <a:lnTo>
                      <a:pt x="3050" y="3242"/>
                    </a:lnTo>
                    <a:lnTo>
                      <a:pt x="3046" y="3236"/>
                    </a:lnTo>
                    <a:lnTo>
                      <a:pt x="3044" y="3232"/>
                    </a:lnTo>
                    <a:lnTo>
                      <a:pt x="3042" y="3228"/>
                    </a:lnTo>
                    <a:lnTo>
                      <a:pt x="3044" y="3224"/>
                    </a:lnTo>
                    <a:lnTo>
                      <a:pt x="3044" y="3224"/>
                    </a:lnTo>
                    <a:lnTo>
                      <a:pt x="3046" y="3224"/>
                    </a:lnTo>
                    <a:lnTo>
                      <a:pt x="3048" y="3224"/>
                    </a:lnTo>
                    <a:lnTo>
                      <a:pt x="3052" y="3230"/>
                    </a:lnTo>
                    <a:lnTo>
                      <a:pt x="3056" y="3238"/>
                    </a:lnTo>
                    <a:lnTo>
                      <a:pt x="3060" y="3242"/>
                    </a:lnTo>
                    <a:lnTo>
                      <a:pt x="3060" y="3242"/>
                    </a:lnTo>
                    <a:lnTo>
                      <a:pt x="3062" y="3244"/>
                    </a:lnTo>
                    <a:lnTo>
                      <a:pt x="3066" y="3242"/>
                    </a:lnTo>
                    <a:lnTo>
                      <a:pt x="3072" y="3240"/>
                    </a:lnTo>
                    <a:lnTo>
                      <a:pt x="3078" y="3236"/>
                    </a:lnTo>
                    <a:lnTo>
                      <a:pt x="3080" y="3236"/>
                    </a:lnTo>
                    <a:lnTo>
                      <a:pt x="3084" y="3236"/>
                    </a:lnTo>
                    <a:lnTo>
                      <a:pt x="3084" y="3236"/>
                    </a:lnTo>
                    <a:lnTo>
                      <a:pt x="3088" y="3240"/>
                    </a:lnTo>
                    <a:lnTo>
                      <a:pt x="3090" y="3242"/>
                    </a:lnTo>
                    <a:lnTo>
                      <a:pt x="3092" y="3246"/>
                    </a:lnTo>
                    <a:lnTo>
                      <a:pt x="3094" y="3248"/>
                    </a:lnTo>
                    <a:lnTo>
                      <a:pt x="3094" y="3248"/>
                    </a:lnTo>
                    <a:lnTo>
                      <a:pt x="3098" y="3248"/>
                    </a:lnTo>
                    <a:lnTo>
                      <a:pt x="3104" y="3248"/>
                    </a:lnTo>
                    <a:lnTo>
                      <a:pt x="3110" y="3250"/>
                    </a:lnTo>
                    <a:lnTo>
                      <a:pt x="3122" y="3256"/>
                    </a:lnTo>
                    <a:lnTo>
                      <a:pt x="3122" y="3256"/>
                    </a:lnTo>
                    <a:lnTo>
                      <a:pt x="3128" y="3258"/>
                    </a:lnTo>
                    <a:lnTo>
                      <a:pt x="3130" y="3258"/>
                    </a:lnTo>
                    <a:lnTo>
                      <a:pt x="3132" y="3256"/>
                    </a:lnTo>
                    <a:lnTo>
                      <a:pt x="3132" y="3254"/>
                    </a:lnTo>
                    <a:lnTo>
                      <a:pt x="3128" y="3244"/>
                    </a:lnTo>
                    <a:lnTo>
                      <a:pt x="3120" y="3236"/>
                    </a:lnTo>
                    <a:lnTo>
                      <a:pt x="3120" y="3236"/>
                    </a:lnTo>
                    <a:lnTo>
                      <a:pt x="3114" y="3230"/>
                    </a:lnTo>
                    <a:lnTo>
                      <a:pt x="3112" y="3226"/>
                    </a:lnTo>
                    <a:lnTo>
                      <a:pt x="3108" y="3220"/>
                    </a:lnTo>
                    <a:lnTo>
                      <a:pt x="3100" y="3212"/>
                    </a:lnTo>
                    <a:lnTo>
                      <a:pt x="3100" y="3212"/>
                    </a:lnTo>
                    <a:lnTo>
                      <a:pt x="3092" y="3206"/>
                    </a:lnTo>
                    <a:lnTo>
                      <a:pt x="3090" y="3200"/>
                    </a:lnTo>
                    <a:lnTo>
                      <a:pt x="3090" y="3192"/>
                    </a:lnTo>
                    <a:lnTo>
                      <a:pt x="3088" y="3186"/>
                    </a:lnTo>
                    <a:lnTo>
                      <a:pt x="3086" y="3178"/>
                    </a:lnTo>
                    <a:lnTo>
                      <a:pt x="3086" y="3178"/>
                    </a:lnTo>
                    <a:lnTo>
                      <a:pt x="3082" y="3168"/>
                    </a:lnTo>
                    <a:lnTo>
                      <a:pt x="3078" y="3158"/>
                    </a:lnTo>
                    <a:lnTo>
                      <a:pt x="3072" y="3138"/>
                    </a:lnTo>
                    <a:lnTo>
                      <a:pt x="3070" y="3130"/>
                    </a:lnTo>
                    <a:lnTo>
                      <a:pt x="3066" y="3122"/>
                    </a:lnTo>
                    <a:lnTo>
                      <a:pt x="3060" y="3116"/>
                    </a:lnTo>
                    <a:lnTo>
                      <a:pt x="3052" y="3112"/>
                    </a:lnTo>
                    <a:lnTo>
                      <a:pt x="3052" y="3112"/>
                    </a:lnTo>
                    <a:lnTo>
                      <a:pt x="3044" y="3108"/>
                    </a:lnTo>
                    <a:lnTo>
                      <a:pt x="3040" y="3104"/>
                    </a:lnTo>
                    <a:lnTo>
                      <a:pt x="3036" y="3098"/>
                    </a:lnTo>
                    <a:lnTo>
                      <a:pt x="3034" y="3094"/>
                    </a:lnTo>
                    <a:lnTo>
                      <a:pt x="3032" y="3094"/>
                    </a:lnTo>
                    <a:lnTo>
                      <a:pt x="3026" y="3096"/>
                    </a:lnTo>
                    <a:lnTo>
                      <a:pt x="3026" y="3096"/>
                    </a:lnTo>
                    <a:lnTo>
                      <a:pt x="3022" y="3096"/>
                    </a:lnTo>
                    <a:lnTo>
                      <a:pt x="3022" y="3092"/>
                    </a:lnTo>
                    <a:lnTo>
                      <a:pt x="3024" y="3084"/>
                    </a:lnTo>
                    <a:lnTo>
                      <a:pt x="3026" y="3076"/>
                    </a:lnTo>
                    <a:lnTo>
                      <a:pt x="3038" y="3058"/>
                    </a:lnTo>
                    <a:lnTo>
                      <a:pt x="3044" y="3052"/>
                    </a:lnTo>
                    <a:lnTo>
                      <a:pt x="3048" y="3048"/>
                    </a:lnTo>
                    <a:lnTo>
                      <a:pt x="3048" y="3048"/>
                    </a:lnTo>
                    <a:lnTo>
                      <a:pt x="3054" y="3044"/>
                    </a:lnTo>
                    <a:lnTo>
                      <a:pt x="3056" y="3042"/>
                    </a:lnTo>
                    <a:lnTo>
                      <a:pt x="3058" y="3038"/>
                    </a:lnTo>
                    <a:lnTo>
                      <a:pt x="3062" y="3034"/>
                    </a:lnTo>
                    <a:lnTo>
                      <a:pt x="3062" y="3034"/>
                    </a:lnTo>
                    <a:lnTo>
                      <a:pt x="3064" y="3032"/>
                    </a:lnTo>
                    <a:lnTo>
                      <a:pt x="3064" y="3028"/>
                    </a:lnTo>
                    <a:lnTo>
                      <a:pt x="3062" y="3024"/>
                    </a:lnTo>
                    <a:lnTo>
                      <a:pt x="3060" y="3020"/>
                    </a:lnTo>
                    <a:lnTo>
                      <a:pt x="3060" y="3018"/>
                    </a:lnTo>
                    <a:lnTo>
                      <a:pt x="3062" y="3018"/>
                    </a:lnTo>
                    <a:lnTo>
                      <a:pt x="3062" y="3018"/>
                    </a:lnTo>
                    <a:lnTo>
                      <a:pt x="3064" y="3016"/>
                    </a:lnTo>
                    <a:lnTo>
                      <a:pt x="3066" y="3016"/>
                    </a:lnTo>
                    <a:lnTo>
                      <a:pt x="3066" y="3020"/>
                    </a:lnTo>
                    <a:lnTo>
                      <a:pt x="3068" y="3022"/>
                    </a:lnTo>
                    <a:lnTo>
                      <a:pt x="3070" y="3024"/>
                    </a:lnTo>
                    <a:lnTo>
                      <a:pt x="3072" y="3024"/>
                    </a:lnTo>
                    <a:lnTo>
                      <a:pt x="3076" y="3022"/>
                    </a:lnTo>
                    <a:lnTo>
                      <a:pt x="3076" y="3022"/>
                    </a:lnTo>
                    <a:lnTo>
                      <a:pt x="3080" y="3020"/>
                    </a:lnTo>
                    <a:lnTo>
                      <a:pt x="3082" y="3018"/>
                    </a:lnTo>
                    <a:lnTo>
                      <a:pt x="3084" y="3012"/>
                    </a:lnTo>
                    <a:lnTo>
                      <a:pt x="3086" y="3008"/>
                    </a:lnTo>
                    <a:lnTo>
                      <a:pt x="3088" y="3006"/>
                    </a:lnTo>
                    <a:lnTo>
                      <a:pt x="3090" y="3008"/>
                    </a:lnTo>
                    <a:lnTo>
                      <a:pt x="3090" y="3008"/>
                    </a:lnTo>
                    <a:lnTo>
                      <a:pt x="3092" y="3008"/>
                    </a:lnTo>
                    <a:lnTo>
                      <a:pt x="3094" y="3006"/>
                    </a:lnTo>
                    <a:lnTo>
                      <a:pt x="3096" y="3002"/>
                    </a:lnTo>
                    <a:lnTo>
                      <a:pt x="3100" y="2996"/>
                    </a:lnTo>
                    <a:lnTo>
                      <a:pt x="3106" y="2990"/>
                    </a:lnTo>
                    <a:lnTo>
                      <a:pt x="3106" y="2990"/>
                    </a:lnTo>
                    <a:lnTo>
                      <a:pt x="3114" y="2988"/>
                    </a:lnTo>
                    <a:lnTo>
                      <a:pt x="3118" y="2988"/>
                    </a:lnTo>
                    <a:lnTo>
                      <a:pt x="3122" y="2986"/>
                    </a:lnTo>
                    <a:lnTo>
                      <a:pt x="3128" y="2982"/>
                    </a:lnTo>
                    <a:lnTo>
                      <a:pt x="3128" y="2982"/>
                    </a:lnTo>
                    <a:lnTo>
                      <a:pt x="3134" y="2976"/>
                    </a:lnTo>
                    <a:lnTo>
                      <a:pt x="3136" y="2976"/>
                    </a:lnTo>
                    <a:lnTo>
                      <a:pt x="3138" y="2978"/>
                    </a:lnTo>
                    <a:lnTo>
                      <a:pt x="3140" y="2978"/>
                    </a:lnTo>
                    <a:lnTo>
                      <a:pt x="3140" y="2978"/>
                    </a:lnTo>
                    <a:lnTo>
                      <a:pt x="3142" y="2976"/>
                    </a:lnTo>
                    <a:lnTo>
                      <a:pt x="3142" y="2978"/>
                    </a:lnTo>
                    <a:lnTo>
                      <a:pt x="3144" y="2980"/>
                    </a:lnTo>
                    <a:lnTo>
                      <a:pt x="3144" y="2982"/>
                    </a:lnTo>
                    <a:lnTo>
                      <a:pt x="3144" y="2982"/>
                    </a:lnTo>
                    <a:lnTo>
                      <a:pt x="3148" y="2984"/>
                    </a:lnTo>
                    <a:lnTo>
                      <a:pt x="3152" y="2982"/>
                    </a:lnTo>
                    <a:lnTo>
                      <a:pt x="3152" y="2982"/>
                    </a:lnTo>
                    <a:lnTo>
                      <a:pt x="3156" y="2980"/>
                    </a:lnTo>
                    <a:lnTo>
                      <a:pt x="3158" y="2978"/>
                    </a:lnTo>
                    <a:lnTo>
                      <a:pt x="3156" y="2974"/>
                    </a:lnTo>
                    <a:lnTo>
                      <a:pt x="3156" y="2972"/>
                    </a:lnTo>
                    <a:lnTo>
                      <a:pt x="3156" y="2970"/>
                    </a:lnTo>
                    <a:lnTo>
                      <a:pt x="3158" y="2966"/>
                    </a:lnTo>
                    <a:lnTo>
                      <a:pt x="3162" y="2960"/>
                    </a:lnTo>
                    <a:lnTo>
                      <a:pt x="3162" y="2960"/>
                    </a:lnTo>
                    <a:lnTo>
                      <a:pt x="3164" y="2958"/>
                    </a:lnTo>
                    <a:lnTo>
                      <a:pt x="3164" y="2956"/>
                    </a:lnTo>
                    <a:lnTo>
                      <a:pt x="3158" y="2952"/>
                    </a:lnTo>
                    <a:lnTo>
                      <a:pt x="3150" y="2950"/>
                    </a:lnTo>
                    <a:lnTo>
                      <a:pt x="3144" y="2946"/>
                    </a:lnTo>
                    <a:lnTo>
                      <a:pt x="3144" y="2946"/>
                    </a:lnTo>
                    <a:lnTo>
                      <a:pt x="3140" y="2942"/>
                    </a:lnTo>
                    <a:lnTo>
                      <a:pt x="3138" y="2944"/>
                    </a:lnTo>
                    <a:lnTo>
                      <a:pt x="3134" y="2948"/>
                    </a:lnTo>
                    <a:lnTo>
                      <a:pt x="3132" y="2948"/>
                    </a:lnTo>
                    <a:lnTo>
                      <a:pt x="3126" y="2950"/>
                    </a:lnTo>
                    <a:lnTo>
                      <a:pt x="3126" y="2950"/>
                    </a:lnTo>
                    <a:lnTo>
                      <a:pt x="3116" y="2948"/>
                    </a:lnTo>
                    <a:lnTo>
                      <a:pt x="3114" y="2944"/>
                    </a:lnTo>
                    <a:lnTo>
                      <a:pt x="3112" y="2942"/>
                    </a:lnTo>
                    <a:lnTo>
                      <a:pt x="3108" y="2942"/>
                    </a:lnTo>
                    <a:lnTo>
                      <a:pt x="3108" y="2942"/>
                    </a:lnTo>
                    <a:lnTo>
                      <a:pt x="3102" y="2942"/>
                    </a:lnTo>
                    <a:lnTo>
                      <a:pt x="3102" y="2942"/>
                    </a:lnTo>
                    <a:lnTo>
                      <a:pt x="3100" y="2938"/>
                    </a:lnTo>
                    <a:lnTo>
                      <a:pt x="3096" y="2934"/>
                    </a:lnTo>
                    <a:lnTo>
                      <a:pt x="3096" y="2934"/>
                    </a:lnTo>
                    <a:lnTo>
                      <a:pt x="3094" y="2930"/>
                    </a:lnTo>
                    <a:lnTo>
                      <a:pt x="3090" y="2930"/>
                    </a:lnTo>
                    <a:lnTo>
                      <a:pt x="3080" y="2930"/>
                    </a:lnTo>
                    <a:lnTo>
                      <a:pt x="3072" y="2934"/>
                    </a:lnTo>
                    <a:lnTo>
                      <a:pt x="3066" y="2940"/>
                    </a:lnTo>
                    <a:lnTo>
                      <a:pt x="3066" y="2940"/>
                    </a:lnTo>
                    <a:lnTo>
                      <a:pt x="3062" y="2946"/>
                    </a:lnTo>
                    <a:lnTo>
                      <a:pt x="3056" y="2950"/>
                    </a:lnTo>
                    <a:lnTo>
                      <a:pt x="3052" y="2952"/>
                    </a:lnTo>
                    <a:lnTo>
                      <a:pt x="3050" y="2954"/>
                    </a:lnTo>
                    <a:lnTo>
                      <a:pt x="3050" y="2958"/>
                    </a:lnTo>
                    <a:lnTo>
                      <a:pt x="3050" y="2958"/>
                    </a:lnTo>
                    <a:lnTo>
                      <a:pt x="3052" y="2962"/>
                    </a:lnTo>
                    <a:lnTo>
                      <a:pt x="3050" y="2964"/>
                    </a:lnTo>
                    <a:lnTo>
                      <a:pt x="3044" y="2966"/>
                    </a:lnTo>
                    <a:lnTo>
                      <a:pt x="3032" y="2968"/>
                    </a:lnTo>
                    <a:lnTo>
                      <a:pt x="3032" y="2968"/>
                    </a:lnTo>
                    <a:lnTo>
                      <a:pt x="3026" y="2968"/>
                    </a:lnTo>
                    <a:lnTo>
                      <a:pt x="3020" y="2964"/>
                    </a:lnTo>
                    <a:lnTo>
                      <a:pt x="3018" y="2960"/>
                    </a:lnTo>
                    <a:lnTo>
                      <a:pt x="3014" y="2956"/>
                    </a:lnTo>
                    <a:lnTo>
                      <a:pt x="3014" y="2946"/>
                    </a:lnTo>
                    <a:lnTo>
                      <a:pt x="3014" y="2940"/>
                    </a:lnTo>
                    <a:lnTo>
                      <a:pt x="3016" y="2938"/>
                    </a:lnTo>
                    <a:lnTo>
                      <a:pt x="3016" y="2938"/>
                    </a:lnTo>
                    <a:lnTo>
                      <a:pt x="3018" y="2934"/>
                    </a:lnTo>
                    <a:lnTo>
                      <a:pt x="3018" y="2930"/>
                    </a:lnTo>
                    <a:lnTo>
                      <a:pt x="3014" y="2922"/>
                    </a:lnTo>
                    <a:lnTo>
                      <a:pt x="3008" y="2914"/>
                    </a:lnTo>
                    <a:lnTo>
                      <a:pt x="3004" y="2912"/>
                    </a:lnTo>
                    <a:lnTo>
                      <a:pt x="3002" y="2912"/>
                    </a:lnTo>
                    <a:lnTo>
                      <a:pt x="3002" y="2912"/>
                    </a:lnTo>
                    <a:lnTo>
                      <a:pt x="2996" y="2914"/>
                    </a:lnTo>
                    <a:lnTo>
                      <a:pt x="2988" y="2914"/>
                    </a:lnTo>
                    <a:lnTo>
                      <a:pt x="2980" y="2914"/>
                    </a:lnTo>
                    <a:lnTo>
                      <a:pt x="2976" y="2912"/>
                    </a:lnTo>
                    <a:lnTo>
                      <a:pt x="2974" y="2910"/>
                    </a:lnTo>
                    <a:lnTo>
                      <a:pt x="2974" y="2910"/>
                    </a:lnTo>
                    <a:lnTo>
                      <a:pt x="2970" y="2906"/>
                    </a:lnTo>
                    <a:lnTo>
                      <a:pt x="2966" y="2904"/>
                    </a:lnTo>
                    <a:lnTo>
                      <a:pt x="2962" y="2900"/>
                    </a:lnTo>
                    <a:lnTo>
                      <a:pt x="2958" y="2890"/>
                    </a:lnTo>
                    <a:lnTo>
                      <a:pt x="2958" y="2890"/>
                    </a:lnTo>
                    <a:lnTo>
                      <a:pt x="2958" y="2880"/>
                    </a:lnTo>
                    <a:lnTo>
                      <a:pt x="2960" y="2872"/>
                    </a:lnTo>
                    <a:lnTo>
                      <a:pt x="2962" y="2868"/>
                    </a:lnTo>
                    <a:lnTo>
                      <a:pt x="2964" y="2862"/>
                    </a:lnTo>
                    <a:lnTo>
                      <a:pt x="2964" y="2862"/>
                    </a:lnTo>
                    <a:lnTo>
                      <a:pt x="2966" y="2856"/>
                    </a:lnTo>
                    <a:lnTo>
                      <a:pt x="2970" y="2854"/>
                    </a:lnTo>
                    <a:lnTo>
                      <a:pt x="2976" y="2854"/>
                    </a:lnTo>
                    <a:lnTo>
                      <a:pt x="2982" y="2860"/>
                    </a:lnTo>
                    <a:lnTo>
                      <a:pt x="2982" y="2860"/>
                    </a:lnTo>
                    <a:lnTo>
                      <a:pt x="2986" y="2864"/>
                    </a:lnTo>
                    <a:lnTo>
                      <a:pt x="2988" y="2864"/>
                    </a:lnTo>
                    <a:lnTo>
                      <a:pt x="2992" y="2862"/>
                    </a:lnTo>
                    <a:lnTo>
                      <a:pt x="2996" y="2856"/>
                    </a:lnTo>
                    <a:lnTo>
                      <a:pt x="3000" y="2856"/>
                    </a:lnTo>
                    <a:lnTo>
                      <a:pt x="3002" y="2856"/>
                    </a:lnTo>
                    <a:lnTo>
                      <a:pt x="3002" y="2856"/>
                    </a:lnTo>
                    <a:lnTo>
                      <a:pt x="3010" y="2856"/>
                    </a:lnTo>
                    <a:lnTo>
                      <a:pt x="3018" y="2854"/>
                    </a:lnTo>
                    <a:lnTo>
                      <a:pt x="3024" y="2846"/>
                    </a:lnTo>
                    <a:lnTo>
                      <a:pt x="3026" y="2836"/>
                    </a:lnTo>
                    <a:lnTo>
                      <a:pt x="3026" y="2836"/>
                    </a:lnTo>
                    <a:lnTo>
                      <a:pt x="3026" y="2830"/>
                    </a:lnTo>
                    <a:lnTo>
                      <a:pt x="3032" y="2824"/>
                    </a:lnTo>
                    <a:lnTo>
                      <a:pt x="3044" y="2814"/>
                    </a:lnTo>
                    <a:lnTo>
                      <a:pt x="3058" y="2806"/>
                    </a:lnTo>
                    <a:lnTo>
                      <a:pt x="3070" y="2802"/>
                    </a:lnTo>
                    <a:lnTo>
                      <a:pt x="3070" y="2802"/>
                    </a:lnTo>
                    <a:lnTo>
                      <a:pt x="3076" y="2798"/>
                    </a:lnTo>
                    <a:lnTo>
                      <a:pt x="3078" y="2794"/>
                    </a:lnTo>
                    <a:lnTo>
                      <a:pt x="3080" y="2786"/>
                    </a:lnTo>
                    <a:lnTo>
                      <a:pt x="3088" y="2778"/>
                    </a:lnTo>
                    <a:lnTo>
                      <a:pt x="3088" y="2778"/>
                    </a:lnTo>
                    <a:lnTo>
                      <a:pt x="3094" y="2770"/>
                    </a:lnTo>
                    <a:lnTo>
                      <a:pt x="3094" y="2768"/>
                    </a:lnTo>
                    <a:lnTo>
                      <a:pt x="3096" y="2766"/>
                    </a:lnTo>
                    <a:lnTo>
                      <a:pt x="3100" y="2762"/>
                    </a:lnTo>
                    <a:lnTo>
                      <a:pt x="3100" y="2762"/>
                    </a:lnTo>
                    <a:lnTo>
                      <a:pt x="3104" y="2760"/>
                    </a:lnTo>
                    <a:lnTo>
                      <a:pt x="3108" y="2760"/>
                    </a:lnTo>
                    <a:lnTo>
                      <a:pt x="3114" y="2760"/>
                    </a:lnTo>
                    <a:lnTo>
                      <a:pt x="3120" y="2762"/>
                    </a:lnTo>
                    <a:lnTo>
                      <a:pt x="3122" y="2762"/>
                    </a:lnTo>
                    <a:lnTo>
                      <a:pt x="3124" y="2762"/>
                    </a:lnTo>
                    <a:lnTo>
                      <a:pt x="3124" y="2762"/>
                    </a:lnTo>
                    <a:lnTo>
                      <a:pt x="3128" y="2760"/>
                    </a:lnTo>
                    <a:lnTo>
                      <a:pt x="3130" y="2760"/>
                    </a:lnTo>
                    <a:lnTo>
                      <a:pt x="3132" y="2764"/>
                    </a:lnTo>
                    <a:lnTo>
                      <a:pt x="3138" y="2770"/>
                    </a:lnTo>
                    <a:lnTo>
                      <a:pt x="3138" y="2770"/>
                    </a:lnTo>
                    <a:lnTo>
                      <a:pt x="3144" y="2778"/>
                    </a:lnTo>
                    <a:lnTo>
                      <a:pt x="3146" y="2782"/>
                    </a:lnTo>
                    <a:lnTo>
                      <a:pt x="3144" y="2790"/>
                    </a:lnTo>
                    <a:lnTo>
                      <a:pt x="3138" y="2800"/>
                    </a:lnTo>
                    <a:lnTo>
                      <a:pt x="3138" y="2800"/>
                    </a:lnTo>
                    <a:lnTo>
                      <a:pt x="3132" y="2806"/>
                    </a:lnTo>
                    <a:lnTo>
                      <a:pt x="3128" y="2810"/>
                    </a:lnTo>
                    <a:lnTo>
                      <a:pt x="3120" y="2816"/>
                    </a:lnTo>
                    <a:lnTo>
                      <a:pt x="3114" y="2820"/>
                    </a:lnTo>
                    <a:lnTo>
                      <a:pt x="3114" y="2822"/>
                    </a:lnTo>
                    <a:lnTo>
                      <a:pt x="3114" y="2824"/>
                    </a:lnTo>
                    <a:lnTo>
                      <a:pt x="3114" y="2824"/>
                    </a:lnTo>
                    <a:lnTo>
                      <a:pt x="3116" y="2826"/>
                    </a:lnTo>
                    <a:lnTo>
                      <a:pt x="3114" y="2828"/>
                    </a:lnTo>
                    <a:lnTo>
                      <a:pt x="3110" y="2832"/>
                    </a:lnTo>
                    <a:lnTo>
                      <a:pt x="3104" y="2834"/>
                    </a:lnTo>
                    <a:lnTo>
                      <a:pt x="3104" y="2836"/>
                    </a:lnTo>
                    <a:lnTo>
                      <a:pt x="3106" y="2836"/>
                    </a:lnTo>
                    <a:lnTo>
                      <a:pt x="3106" y="2836"/>
                    </a:lnTo>
                    <a:lnTo>
                      <a:pt x="3110" y="2840"/>
                    </a:lnTo>
                    <a:lnTo>
                      <a:pt x="3116" y="2844"/>
                    </a:lnTo>
                    <a:lnTo>
                      <a:pt x="3120" y="2850"/>
                    </a:lnTo>
                    <a:lnTo>
                      <a:pt x="3122" y="2854"/>
                    </a:lnTo>
                    <a:lnTo>
                      <a:pt x="3122" y="2858"/>
                    </a:lnTo>
                    <a:lnTo>
                      <a:pt x="3122" y="2858"/>
                    </a:lnTo>
                    <a:lnTo>
                      <a:pt x="3120" y="2862"/>
                    </a:lnTo>
                    <a:lnTo>
                      <a:pt x="3118" y="2864"/>
                    </a:lnTo>
                    <a:lnTo>
                      <a:pt x="3116" y="2862"/>
                    </a:lnTo>
                    <a:lnTo>
                      <a:pt x="3112" y="2860"/>
                    </a:lnTo>
                    <a:lnTo>
                      <a:pt x="3110" y="2862"/>
                    </a:lnTo>
                    <a:lnTo>
                      <a:pt x="3108" y="2864"/>
                    </a:lnTo>
                    <a:lnTo>
                      <a:pt x="3108" y="2864"/>
                    </a:lnTo>
                    <a:lnTo>
                      <a:pt x="3106" y="2868"/>
                    </a:lnTo>
                    <a:lnTo>
                      <a:pt x="3102" y="2868"/>
                    </a:lnTo>
                    <a:lnTo>
                      <a:pt x="3102" y="2868"/>
                    </a:lnTo>
                    <a:lnTo>
                      <a:pt x="3100" y="2876"/>
                    </a:lnTo>
                    <a:lnTo>
                      <a:pt x="3100" y="2876"/>
                    </a:lnTo>
                    <a:lnTo>
                      <a:pt x="3100" y="2880"/>
                    </a:lnTo>
                    <a:lnTo>
                      <a:pt x="3102" y="2882"/>
                    </a:lnTo>
                    <a:lnTo>
                      <a:pt x="3104" y="2882"/>
                    </a:lnTo>
                    <a:lnTo>
                      <a:pt x="3106" y="2880"/>
                    </a:lnTo>
                    <a:lnTo>
                      <a:pt x="3112" y="2878"/>
                    </a:lnTo>
                    <a:lnTo>
                      <a:pt x="3120" y="2874"/>
                    </a:lnTo>
                    <a:lnTo>
                      <a:pt x="3120" y="2874"/>
                    </a:lnTo>
                    <a:lnTo>
                      <a:pt x="3124" y="2874"/>
                    </a:lnTo>
                    <a:lnTo>
                      <a:pt x="3124" y="2872"/>
                    </a:lnTo>
                    <a:lnTo>
                      <a:pt x="3124" y="2868"/>
                    </a:lnTo>
                    <a:lnTo>
                      <a:pt x="3124" y="2866"/>
                    </a:lnTo>
                    <a:lnTo>
                      <a:pt x="3124" y="2866"/>
                    </a:lnTo>
                    <a:lnTo>
                      <a:pt x="3128" y="2866"/>
                    </a:lnTo>
                    <a:lnTo>
                      <a:pt x="3132" y="2866"/>
                    </a:lnTo>
                    <a:lnTo>
                      <a:pt x="3136" y="2864"/>
                    </a:lnTo>
                    <a:lnTo>
                      <a:pt x="3142" y="2856"/>
                    </a:lnTo>
                    <a:lnTo>
                      <a:pt x="3142" y="2856"/>
                    </a:lnTo>
                    <a:lnTo>
                      <a:pt x="3148" y="2848"/>
                    </a:lnTo>
                    <a:lnTo>
                      <a:pt x="3152" y="2844"/>
                    </a:lnTo>
                    <a:lnTo>
                      <a:pt x="3156" y="2840"/>
                    </a:lnTo>
                    <a:lnTo>
                      <a:pt x="3162" y="2836"/>
                    </a:lnTo>
                    <a:lnTo>
                      <a:pt x="3162" y="2836"/>
                    </a:lnTo>
                    <a:lnTo>
                      <a:pt x="3164" y="2834"/>
                    </a:lnTo>
                    <a:lnTo>
                      <a:pt x="3168" y="2832"/>
                    </a:lnTo>
                    <a:lnTo>
                      <a:pt x="3176" y="2830"/>
                    </a:lnTo>
                    <a:lnTo>
                      <a:pt x="3182" y="2830"/>
                    </a:lnTo>
                    <a:lnTo>
                      <a:pt x="3186" y="2828"/>
                    </a:lnTo>
                    <a:lnTo>
                      <a:pt x="3188" y="2826"/>
                    </a:lnTo>
                    <a:lnTo>
                      <a:pt x="3188" y="2826"/>
                    </a:lnTo>
                    <a:lnTo>
                      <a:pt x="3190" y="2822"/>
                    </a:lnTo>
                    <a:lnTo>
                      <a:pt x="3194" y="2822"/>
                    </a:lnTo>
                    <a:lnTo>
                      <a:pt x="3196" y="2824"/>
                    </a:lnTo>
                    <a:lnTo>
                      <a:pt x="3200" y="2822"/>
                    </a:lnTo>
                    <a:lnTo>
                      <a:pt x="3200" y="2822"/>
                    </a:lnTo>
                    <a:lnTo>
                      <a:pt x="3202" y="2820"/>
                    </a:lnTo>
                    <a:lnTo>
                      <a:pt x="3206" y="2820"/>
                    </a:lnTo>
                    <a:lnTo>
                      <a:pt x="3212" y="2820"/>
                    </a:lnTo>
                    <a:lnTo>
                      <a:pt x="3220" y="2818"/>
                    </a:lnTo>
                    <a:lnTo>
                      <a:pt x="3226" y="2816"/>
                    </a:lnTo>
                    <a:lnTo>
                      <a:pt x="3230" y="2812"/>
                    </a:lnTo>
                    <a:lnTo>
                      <a:pt x="3232" y="2808"/>
                    </a:lnTo>
                    <a:lnTo>
                      <a:pt x="3230" y="2812"/>
                    </a:lnTo>
                    <a:lnTo>
                      <a:pt x="3230" y="2812"/>
                    </a:lnTo>
                    <a:lnTo>
                      <a:pt x="3232" y="2818"/>
                    </a:lnTo>
                    <a:lnTo>
                      <a:pt x="3236" y="2824"/>
                    </a:lnTo>
                    <a:lnTo>
                      <a:pt x="3242" y="2828"/>
                    </a:lnTo>
                    <a:lnTo>
                      <a:pt x="3244" y="2830"/>
                    </a:lnTo>
                    <a:lnTo>
                      <a:pt x="3246" y="2828"/>
                    </a:lnTo>
                    <a:lnTo>
                      <a:pt x="3246" y="2828"/>
                    </a:lnTo>
                    <a:lnTo>
                      <a:pt x="3250" y="2828"/>
                    </a:lnTo>
                    <a:lnTo>
                      <a:pt x="3254" y="2828"/>
                    </a:lnTo>
                    <a:lnTo>
                      <a:pt x="3264" y="2832"/>
                    </a:lnTo>
                    <a:lnTo>
                      <a:pt x="3268" y="2836"/>
                    </a:lnTo>
                    <a:lnTo>
                      <a:pt x="3272" y="2840"/>
                    </a:lnTo>
                    <a:lnTo>
                      <a:pt x="3274" y="2846"/>
                    </a:lnTo>
                    <a:lnTo>
                      <a:pt x="3272" y="2850"/>
                    </a:lnTo>
                    <a:lnTo>
                      <a:pt x="3272" y="2850"/>
                    </a:lnTo>
                    <a:lnTo>
                      <a:pt x="3264" y="2868"/>
                    </a:lnTo>
                    <a:lnTo>
                      <a:pt x="3262" y="2876"/>
                    </a:lnTo>
                    <a:lnTo>
                      <a:pt x="3262" y="2878"/>
                    </a:lnTo>
                    <a:lnTo>
                      <a:pt x="3264" y="2880"/>
                    </a:lnTo>
                    <a:lnTo>
                      <a:pt x="3264" y="2880"/>
                    </a:lnTo>
                    <a:lnTo>
                      <a:pt x="3266" y="2884"/>
                    </a:lnTo>
                    <a:lnTo>
                      <a:pt x="3262" y="2886"/>
                    </a:lnTo>
                    <a:lnTo>
                      <a:pt x="3258" y="2892"/>
                    </a:lnTo>
                    <a:lnTo>
                      <a:pt x="3254" y="2900"/>
                    </a:lnTo>
                    <a:lnTo>
                      <a:pt x="3254" y="2900"/>
                    </a:lnTo>
                    <a:lnTo>
                      <a:pt x="3250" y="2906"/>
                    </a:lnTo>
                    <a:lnTo>
                      <a:pt x="3248" y="2910"/>
                    </a:lnTo>
                    <a:lnTo>
                      <a:pt x="3244" y="2914"/>
                    </a:lnTo>
                    <a:lnTo>
                      <a:pt x="3242" y="2914"/>
                    </a:lnTo>
                    <a:lnTo>
                      <a:pt x="3242" y="2914"/>
                    </a:lnTo>
                    <a:lnTo>
                      <a:pt x="3252" y="2916"/>
                    </a:lnTo>
                    <a:lnTo>
                      <a:pt x="3252" y="2916"/>
                    </a:lnTo>
                    <a:lnTo>
                      <a:pt x="3258" y="2918"/>
                    </a:lnTo>
                    <a:lnTo>
                      <a:pt x="3260" y="2918"/>
                    </a:lnTo>
                    <a:lnTo>
                      <a:pt x="3258" y="2920"/>
                    </a:lnTo>
                    <a:lnTo>
                      <a:pt x="3258" y="2922"/>
                    </a:lnTo>
                    <a:lnTo>
                      <a:pt x="3254" y="2924"/>
                    </a:lnTo>
                    <a:lnTo>
                      <a:pt x="3256" y="2926"/>
                    </a:lnTo>
                    <a:lnTo>
                      <a:pt x="3262" y="2928"/>
                    </a:lnTo>
                    <a:lnTo>
                      <a:pt x="3262" y="2928"/>
                    </a:lnTo>
                    <a:lnTo>
                      <a:pt x="3268" y="2928"/>
                    </a:lnTo>
                    <a:lnTo>
                      <a:pt x="3270" y="2930"/>
                    </a:lnTo>
                    <a:lnTo>
                      <a:pt x="3270" y="2932"/>
                    </a:lnTo>
                    <a:lnTo>
                      <a:pt x="3270" y="2934"/>
                    </a:lnTo>
                    <a:lnTo>
                      <a:pt x="3270" y="2938"/>
                    </a:lnTo>
                    <a:lnTo>
                      <a:pt x="3274" y="2936"/>
                    </a:lnTo>
                    <a:lnTo>
                      <a:pt x="3274" y="2936"/>
                    </a:lnTo>
                    <a:lnTo>
                      <a:pt x="3278" y="2934"/>
                    </a:lnTo>
                    <a:lnTo>
                      <a:pt x="3280" y="2930"/>
                    </a:lnTo>
                    <a:lnTo>
                      <a:pt x="3282" y="2924"/>
                    </a:lnTo>
                    <a:lnTo>
                      <a:pt x="3284" y="2922"/>
                    </a:lnTo>
                    <a:lnTo>
                      <a:pt x="3284" y="2922"/>
                    </a:lnTo>
                    <a:lnTo>
                      <a:pt x="3292" y="2926"/>
                    </a:lnTo>
                    <a:lnTo>
                      <a:pt x="3292" y="2926"/>
                    </a:lnTo>
                    <a:lnTo>
                      <a:pt x="3300" y="2934"/>
                    </a:lnTo>
                    <a:lnTo>
                      <a:pt x="3302" y="2934"/>
                    </a:lnTo>
                    <a:lnTo>
                      <a:pt x="3304" y="2930"/>
                    </a:lnTo>
                    <a:lnTo>
                      <a:pt x="3304" y="2930"/>
                    </a:lnTo>
                    <a:lnTo>
                      <a:pt x="3304" y="2928"/>
                    </a:lnTo>
                    <a:lnTo>
                      <a:pt x="3306" y="2926"/>
                    </a:lnTo>
                    <a:lnTo>
                      <a:pt x="3312" y="2928"/>
                    </a:lnTo>
                    <a:lnTo>
                      <a:pt x="3318" y="2930"/>
                    </a:lnTo>
                    <a:lnTo>
                      <a:pt x="3324" y="2930"/>
                    </a:lnTo>
                    <a:lnTo>
                      <a:pt x="3324" y="2930"/>
                    </a:lnTo>
                    <a:lnTo>
                      <a:pt x="3324" y="2934"/>
                    </a:lnTo>
                    <a:lnTo>
                      <a:pt x="3324" y="2934"/>
                    </a:lnTo>
                    <a:lnTo>
                      <a:pt x="3322" y="2934"/>
                    </a:lnTo>
                    <a:lnTo>
                      <a:pt x="3320" y="2938"/>
                    </a:lnTo>
                    <a:lnTo>
                      <a:pt x="3320" y="2938"/>
                    </a:lnTo>
                    <a:lnTo>
                      <a:pt x="3320" y="2942"/>
                    </a:lnTo>
                    <a:lnTo>
                      <a:pt x="3324" y="2948"/>
                    </a:lnTo>
                    <a:lnTo>
                      <a:pt x="3326" y="2954"/>
                    </a:lnTo>
                    <a:lnTo>
                      <a:pt x="3326" y="2958"/>
                    </a:lnTo>
                    <a:lnTo>
                      <a:pt x="3324" y="2960"/>
                    </a:lnTo>
                    <a:lnTo>
                      <a:pt x="3324" y="2960"/>
                    </a:lnTo>
                    <a:lnTo>
                      <a:pt x="3324" y="2962"/>
                    </a:lnTo>
                    <a:lnTo>
                      <a:pt x="3324" y="2966"/>
                    </a:lnTo>
                    <a:lnTo>
                      <a:pt x="3328" y="2970"/>
                    </a:lnTo>
                    <a:lnTo>
                      <a:pt x="3332" y="2974"/>
                    </a:lnTo>
                    <a:lnTo>
                      <a:pt x="3334" y="2976"/>
                    </a:lnTo>
                    <a:lnTo>
                      <a:pt x="3334" y="2980"/>
                    </a:lnTo>
                    <a:lnTo>
                      <a:pt x="3334" y="2980"/>
                    </a:lnTo>
                    <a:lnTo>
                      <a:pt x="3332" y="2982"/>
                    </a:lnTo>
                    <a:lnTo>
                      <a:pt x="3330" y="2980"/>
                    </a:lnTo>
                    <a:lnTo>
                      <a:pt x="3328" y="2976"/>
                    </a:lnTo>
                    <a:lnTo>
                      <a:pt x="3326" y="2974"/>
                    </a:lnTo>
                    <a:lnTo>
                      <a:pt x="3322" y="2974"/>
                    </a:lnTo>
                    <a:lnTo>
                      <a:pt x="3322" y="2974"/>
                    </a:lnTo>
                    <a:lnTo>
                      <a:pt x="3312" y="2974"/>
                    </a:lnTo>
                    <a:lnTo>
                      <a:pt x="3310" y="2974"/>
                    </a:lnTo>
                    <a:lnTo>
                      <a:pt x="3312" y="2978"/>
                    </a:lnTo>
                    <a:lnTo>
                      <a:pt x="3312" y="2978"/>
                    </a:lnTo>
                    <a:lnTo>
                      <a:pt x="3312" y="2980"/>
                    </a:lnTo>
                    <a:lnTo>
                      <a:pt x="3312" y="2982"/>
                    </a:lnTo>
                    <a:lnTo>
                      <a:pt x="3310" y="2982"/>
                    </a:lnTo>
                    <a:lnTo>
                      <a:pt x="3308" y="2980"/>
                    </a:lnTo>
                    <a:lnTo>
                      <a:pt x="3308" y="2980"/>
                    </a:lnTo>
                    <a:lnTo>
                      <a:pt x="3306" y="2980"/>
                    </a:lnTo>
                    <a:lnTo>
                      <a:pt x="3302" y="2984"/>
                    </a:lnTo>
                    <a:lnTo>
                      <a:pt x="3302" y="2988"/>
                    </a:lnTo>
                    <a:lnTo>
                      <a:pt x="3304" y="2992"/>
                    </a:lnTo>
                    <a:lnTo>
                      <a:pt x="3304" y="2992"/>
                    </a:lnTo>
                    <a:lnTo>
                      <a:pt x="3308" y="2994"/>
                    </a:lnTo>
                    <a:lnTo>
                      <a:pt x="3312" y="2992"/>
                    </a:lnTo>
                    <a:lnTo>
                      <a:pt x="3314" y="2992"/>
                    </a:lnTo>
                    <a:lnTo>
                      <a:pt x="3316" y="2998"/>
                    </a:lnTo>
                    <a:lnTo>
                      <a:pt x="3316" y="2998"/>
                    </a:lnTo>
                    <a:lnTo>
                      <a:pt x="3318" y="3014"/>
                    </a:lnTo>
                    <a:lnTo>
                      <a:pt x="3318" y="3020"/>
                    </a:lnTo>
                    <a:lnTo>
                      <a:pt x="3320" y="3022"/>
                    </a:lnTo>
                    <a:lnTo>
                      <a:pt x="3320" y="3022"/>
                    </a:lnTo>
                    <a:lnTo>
                      <a:pt x="3324" y="3026"/>
                    </a:lnTo>
                    <a:lnTo>
                      <a:pt x="3324" y="3028"/>
                    </a:lnTo>
                    <a:lnTo>
                      <a:pt x="3322" y="3030"/>
                    </a:lnTo>
                    <a:lnTo>
                      <a:pt x="3324" y="3034"/>
                    </a:lnTo>
                    <a:lnTo>
                      <a:pt x="3324" y="3034"/>
                    </a:lnTo>
                    <a:lnTo>
                      <a:pt x="3326" y="3038"/>
                    </a:lnTo>
                    <a:lnTo>
                      <a:pt x="3324" y="3042"/>
                    </a:lnTo>
                    <a:lnTo>
                      <a:pt x="3320" y="3046"/>
                    </a:lnTo>
                    <a:lnTo>
                      <a:pt x="3316" y="3054"/>
                    </a:lnTo>
                    <a:lnTo>
                      <a:pt x="3316" y="3054"/>
                    </a:lnTo>
                    <a:lnTo>
                      <a:pt x="3308" y="3070"/>
                    </a:lnTo>
                    <a:lnTo>
                      <a:pt x="3308" y="3076"/>
                    </a:lnTo>
                    <a:lnTo>
                      <a:pt x="3308" y="3078"/>
                    </a:lnTo>
                    <a:lnTo>
                      <a:pt x="3308" y="3078"/>
                    </a:lnTo>
                    <a:lnTo>
                      <a:pt x="3310" y="3082"/>
                    </a:lnTo>
                    <a:lnTo>
                      <a:pt x="3310" y="3084"/>
                    </a:lnTo>
                    <a:lnTo>
                      <a:pt x="3312" y="3088"/>
                    </a:lnTo>
                    <a:lnTo>
                      <a:pt x="3312" y="3092"/>
                    </a:lnTo>
                    <a:lnTo>
                      <a:pt x="3312" y="3092"/>
                    </a:lnTo>
                    <a:lnTo>
                      <a:pt x="3314" y="3096"/>
                    </a:lnTo>
                    <a:lnTo>
                      <a:pt x="3312" y="3096"/>
                    </a:lnTo>
                    <a:lnTo>
                      <a:pt x="3308" y="3096"/>
                    </a:lnTo>
                    <a:lnTo>
                      <a:pt x="3308" y="3100"/>
                    </a:lnTo>
                    <a:lnTo>
                      <a:pt x="3308" y="3100"/>
                    </a:lnTo>
                    <a:lnTo>
                      <a:pt x="3310" y="3104"/>
                    </a:lnTo>
                    <a:lnTo>
                      <a:pt x="3312" y="3104"/>
                    </a:lnTo>
                    <a:lnTo>
                      <a:pt x="3316" y="3104"/>
                    </a:lnTo>
                    <a:lnTo>
                      <a:pt x="3316" y="3110"/>
                    </a:lnTo>
                    <a:lnTo>
                      <a:pt x="3316" y="3110"/>
                    </a:lnTo>
                    <a:lnTo>
                      <a:pt x="3316" y="3116"/>
                    </a:lnTo>
                    <a:lnTo>
                      <a:pt x="3318" y="3118"/>
                    </a:lnTo>
                    <a:lnTo>
                      <a:pt x="3322" y="3116"/>
                    </a:lnTo>
                    <a:lnTo>
                      <a:pt x="3326" y="3110"/>
                    </a:lnTo>
                    <a:lnTo>
                      <a:pt x="3326" y="3110"/>
                    </a:lnTo>
                    <a:lnTo>
                      <a:pt x="3330" y="3104"/>
                    </a:lnTo>
                    <a:lnTo>
                      <a:pt x="3330" y="3104"/>
                    </a:lnTo>
                    <a:lnTo>
                      <a:pt x="3330" y="3106"/>
                    </a:lnTo>
                    <a:lnTo>
                      <a:pt x="3330" y="3110"/>
                    </a:lnTo>
                    <a:lnTo>
                      <a:pt x="3330" y="3112"/>
                    </a:lnTo>
                    <a:lnTo>
                      <a:pt x="3330" y="3112"/>
                    </a:lnTo>
                    <a:lnTo>
                      <a:pt x="3334" y="3110"/>
                    </a:lnTo>
                    <a:lnTo>
                      <a:pt x="3334" y="3108"/>
                    </a:lnTo>
                    <a:lnTo>
                      <a:pt x="3338" y="3102"/>
                    </a:lnTo>
                    <a:lnTo>
                      <a:pt x="3342" y="3098"/>
                    </a:lnTo>
                    <a:lnTo>
                      <a:pt x="3342" y="3098"/>
                    </a:lnTo>
                    <a:lnTo>
                      <a:pt x="3346" y="3094"/>
                    </a:lnTo>
                    <a:lnTo>
                      <a:pt x="3348" y="3094"/>
                    </a:lnTo>
                    <a:lnTo>
                      <a:pt x="3348" y="3096"/>
                    </a:lnTo>
                    <a:lnTo>
                      <a:pt x="3346" y="3100"/>
                    </a:lnTo>
                    <a:lnTo>
                      <a:pt x="3346" y="3100"/>
                    </a:lnTo>
                    <a:lnTo>
                      <a:pt x="3344" y="3106"/>
                    </a:lnTo>
                    <a:lnTo>
                      <a:pt x="3346" y="3108"/>
                    </a:lnTo>
                    <a:lnTo>
                      <a:pt x="3350" y="3110"/>
                    </a:lnTo>
                    <a:lnTo>
                      <a:pt x="3354" y="3108"/>
                    </a:lnTo>
                    <a:lnTo>
                      <a:pt x="3354" y="3108"/>
                    </a:lnTo>
                    <a:lnTo>
                      <a:pt x="3356" y="3106"/>
                    </a:lnTo>
                    <a:lnTo>
                      <a:pt x="3356" y="3104"/>
                    </a:lnTo>
                    <a:lnTo>
                      <a:pt x="3354" y="3096"/>
                    </a:lnTo>
                    <a:lnTo>
                      <a:pt x="3354" y="3096"/>
                    </a:lnTo>
                    <a:lnTo>
                      <a:pt x="3354" y="3094"/>
                    </a:lnTo>
                    <a:lnTo>
                      <a:pt x="3356" y="3092"/>
                    </a:lnTo>
                    <a:lnTo>
                      <a:pt x="3358" y="3092"/>
                    </a:lnTo>
                    <a:lnTo>
                      <a:pt x="3358" y="3094"/>
                    </a:lnTo>
                    <a:lnTo>
                      <a:pt x="3358" y="3094"/>
                    </a:lnTo>
                    <a:lnTo>
                      <a:pt x="3360" y="3102"/>
                    </a:lnTo>
                    <a:lnTo>
                      <a:pt x="3362" y="3100"/>
                    </a:lnTo>
                    <a:lnTo>
                      <a:pt x="3366" y="3096"/>
                    </a:lnTo>
                    <a:lnTo>
                      <a:pt x="3366" y="3096"/>
                    </a:lnTo>
                    <a:lnTo>
                      <a:pt x="3368" y="3094"/>
                    </a:lnTo>
                    <a:lnTo>
                      <a:pt x="3368" y="3092"/>
                    </a:lnTo>
                    <a:lnTo>
                      <a:pt x="3364" y="3088"/>
                    </a:lnTo>
                    <a:lnTo>
                      <a:pt x="3362" y="3086"/>
                    </a:lnTo>
                    <a:lnTo>
                      <a:pt x="3366" y="3084"/>
                    </a:lnTo>
                    <a:lnTo>
                      <a:pt x="3366" y="3084"/>
                    </a:lnTo>
                    <a:lnTo>
                      <a:pt x="3376" y="3084"/>
                    </a:lnTo>
                    <a:lnTo>
                      <a:pt x="3384" y="3086"/>
                    </a:lnTo>
                    <a:lnTo>
                      <a:pt x="3390" y="3090"/>
                    </a:lnTo>
                    <a:lnTo>
                      <a:pt x="3394" y="3090"/>
                    </a:lnTo>
                    <a:lnTo>
                      <a:pt x="3394" y="3090"/>
                    </a:lnTo>
                    <a:lnTo>
                      <a:pt x="3396" y="3088"/>
                    </a:lnTo>
                    <a:lnTo>
                      <a:pt x="3396" y="3084"/>
                    </a:lnTo>
                    <a:lnTo>
                      <a:pt x="3396" y="3082"/>
                    </a:lnTo>
                    <a:lnTo>
                      <a:pt x="3400" y="3078"/>
                    </a:lnTo>
                    <a:lnTo>
                      <a:pt x="3400" y="3078"/>
                    </a:lnTo>
                    <a:lnTo>
                      <a:pt x="3406" y="3076"/>
                    </a:lnTo>
                    <a:lnTo>
                      <a:pt x="3412" y="3078"/>
                    </a:lnTo>
                    <a:lnTo>
                      <a:pt x="3418" y="3078"/>
                    </a:lnTo>
                    <a:lnTo>
                      <a:pt x="3422" y="3076"/>
                    </a:lnTo>
                    <a:lnTo>
                      <a:pt x="3422" y="3076"/>
                    </a:lnTo>
                    <a:lnTo>
                      <a:pt x="3428" y="3070"/>
                    </a:lnTo>
                    <a:lnTo>
                      <a:pt x="3434" y="3058"/>
                    </a:lnTo>
                    <a:lnTo>
                      <a:pt x="3438" y="3044"/>
                    </a:lnTo>
                    <a:lnTo>
                      <a:pt x="3440" y="3032"/>
                    </a:lnTo>
                    <a:lnTo>
                      <a:pt x="3440" y="3032"/>
                    </a:lnTo>
                    <a:lnTo>
                      <a:pt x="3440" y="3026"/>
                    </a:lnTo>
                    <a:lnTo>
                      <a:pt x="3436" y="3026"/>
                    </a:lnTo>
                    <a:lnTo>
                      <a:pt x="3434" y="3026"/>
                    </a:lnTo>
                    <a:lnTo>
                      <a:pt x="3432" y="3018"/>
                    </a:lnTo>
                    <a:lnTo>
                      <a:pt x="3432" y="3018"/>
                    </a:lnTo>
                    <a:lnTo>
                      <a:pt x="3434" y="3008"/>
                    </a:lnTo>
                    <a:lnTo>
                      <a:pt x="3436" y="3002"/>
                    </a:lnTo>
                    <a:lnTo>
                      <a:pt x="3436" y="2994"/>
                    </a:lnTo>
                    <a:lnTo>
                      <a:pt x="3436" y="2980"/>
                    </a:lnTo>
                    <a:lnTo>
                      <a:pt x="3436" y="2980"/>
                    </a:lnTo>
                    <a:lnTo>
                      <a:pt x="3432" y="2964"/>
                    </a:lnTo>
                    <a:lnTo>
                      <a:pt x="3426" y="2948"/>
                    </a:lnTo>
                    <a:lnTo>
                      <a:pt x="3418" y="2934"/>
                    </a:lnTo>
                    <a:lnTo>
                      <a:pt x="3410" y="2922"/>
                    </a:lnTo>
                    <a:lnTo>
                      <a:pt x="3410" y="2922"/>
                    </a:lnTo>
                    <a:lnTo>
                      <a:pt x="3402" y="2910"/>
                    </a:lnTo>
                    <a:lnTo>
                      <a:pt x="3398" y="2902"/>
                    </a:lnTo>
                    <a:lnTo>
                      <a:pt x="3392" y="2886"/>
                    </a:lnTo>
                    <a:lnTo>
                      <a:pt x="3392" y="2886"/>
                    </a:lnTo>
                    <a:lnTo>
                      <a:pt x="3388" y="2882"/>
                    </a:lnTo>
                    <a:lnTo>
                      <a:pt x="3386" y="2880"/>
                    </a:lnTo>
                    <a:lnTo>
                      <a:pt x="3380" y="2876"/>
                    </a:lnTo>
                    <a:lnTo>
                      <a:pt x="3374" y="2866"/>
                    </a:lnTo>
                    <a:lnTo>
                      <a:pt x="3374" y="2866"/>
                    </a:lnTo>
                    <a:lnTo>
                      <a:pt x="3370" y="2862"/>
                    </a:lnTo>
                    <a:lnTo>
                      <a:pt x="3366" y="2858"/>
                    </a:lnTo>
                    <a:lnTo>
                      <a:pt x="3360" y="2856"/>
                    </a:lnTo>
                    <a:lnTo>
                      <a:pt x="3354" y="2856"/>
                    </a:lnTo>
                    <a:lnTo>
                      <a:pt x="3352" y="2852"/>
                    </a:lnTo>
                    <a:lnTo>
                      <a:pt x="3352" y="2852"/>
                    </a:lnTo>
                    <a:lnTo>
                      <a:pt x="3352" y="2850"/>
                    </a:lnTo>
                    <a:lnTo>
                      <a:pt x="3354" y="2848"/>
                    </a:lnTo>
                    <a:lnTo>
                      <a:pt x="3356" y="2848"/>
                    </a:lnTo>
                    <a:lnTo>
                      <a:pt x="3358" y="2848"/>
                    </a:lnTo>
                    <a:lnTo>
                      <a:pt x="3360" y="2848"/>
                    </a:lnTo>
                    <a:lnTo>
                      <a:pt x="3360" y="2838"/>
                    </a:lnTo>
                    <a:lnTo>
                      <a:pt x="3360" y="2838"/>
                    </a:lnTo>
                    <a:lnTo>
                      <a:pt x="3358" y="2830"/>
                    </a:lnTo>
                    <a:lnTo>
                      <a:pt x="3358" y="2826"/>
                    </a:lnTo>
                    <a:lnTo>
                      <a:pt x="3360" y="2822"/>
                    </a:lnTo>
                    <a:lnTo>
                      <a:pt x="3362" y="2822"/>
                    </a:lnTo>
                    <a:lnTo>
                      <a:pt x="3368" y="2820"/>
                    </a:lnTo>
                    <a:lnTo>
                      <a:pt x="3372" y="2818"/>
                    </a:lnTo>
                    <a:lnTo>
                      <a:pt x="3374" y="2814"/>
                    </a:lnTo>
                    <a:lnTo>
                      <a:pt x="3374" y="2814"/>
                    </a:lnTo>
                    <a:lnTo>
                      <a:pt x="3376" y="2810"/>
                    </a:lnTo>
                    <a:lnTo>
                      <a:pt x="3378" y="2808"/>
                    </a:lnTo>
                    <a:lnTo>
                      <a:pt x="3384" y="2810"/>
                    </a:lnTo>
                    <a:lnTo>
                      <a:pt x="3386" y="2810"/>
                    </a:lnTo>
                    <a:lnTo>
                      <a:pt x="3390" y="2810"/>
                    </a:lnTo>
                    <a:lnTo>
                      <a:pt x="3396" y="2806"/>
                    </a:lnTo>
                    <a:lnTo>
                      <a:pt x="3402" y="2800"/>
                    </a:lnTo>
                    <a:lnTo>
                      <a:pt x="3402" y="2800"/>
                    </a:lnTo>
                    <a:lnTo>
                      <a:pt x="3426" y="2776"/>
                    </a:lnTo>
                    <a:lnTo>
                      <a:pt x="3434" y="2768"/>
                    </a:lnTo>
                    <a:lnTo>
                      <a:pt x="3442" y="2766"/>
                    </a:lnTo>
                    <a:lnTo>
                      <a:pt x="3442" y="2766"/>
                    </a:lnTo>
                    <a:lnTo>
                      <a:pt x="3444" y="2764"/>
                    </a:lnTo>
                    <a:lnTo>
                      <a:pt x="3446" y="2762"/>
                    </a:lnTo>
                    <a:lnTo>
                      <a:pt x="3448" y="2754"/>
                    </a:lnTo>
                    <a:lnTo>
                      <a:pt x="3448" y="2746"/>
                    </a:lnTo>
                    <a:lnTo>
                      <a:pt x="3448" y="2738"/>
                    </a:lnTo>
                    <a:lnTo>
                      <a:pt x="3448" y="2738"/>
                    </a:lnTo>
                    <a:lnTo>
                      <a:pt x="3448" y="2734"/>
                    </a:lnTo>
                    <a:lnTo>
                      <a:pt x="3448" y="2732"/>
                    </a:lnTo>
                    <a:lnTo>
                      <a:pt x="3446" y="2730"/>
                    </a:lnTo>
                    <a:lnTo>
                      <a:pt x="3444" y="2728"/>
                    </a:lnTo>
                    <a:lnTo>
                      <a:pt x="3444" y="2724"/>
                    </a:lnTo>
                    <a:lnTo>
                      <a:pt x="3450" y="2714"/>
                    </a:lnTo>
                    <a:lnTo>
                      <a:pt x="3450" y="2714"/>
                    </a:lnTo>
                    <a:lnTo>
                      <a:pt x="3464" y="2694"/>
                    </a:lnTo>
                    <a:lnTo>
                      <a:pt x="3474" y="2684"/>
                    </a:lnTo>
                    <a:lnTo>
                      <a:pt x="3474" y="2684"/>
                    </a:lnTo>
                    <a:lnTo>
                      <a:pt x="3478" y="2682"/>
                    </a:lnTo>
                    <a:lnTo>
                      <a:pt x="3480" y="2684"/>
                    </a:lnTo>
                    <a:lnTo>
                      <a:pt x="3482" y="2684"/>
                    </a:lnTo>
                    <a:lnTo>
                      <a:pt x="3488" y="2682"/>
                    </a:lnTo>
                    <a:lnTo>
                      <a:pt x="3488" y="2682"/>
                    </a:lnTo>
                    <a:lnTo>
                      <a:pt x="3488" y="2682"/>
                    </a:lnTo>
                    <a:lnTo>
                      <a:pt x="3492" y="2678"/>
                    </a:lnTo>
                    <a:lnTo>
                      <a:pt x="3492" y="2674"/>
                    </a:lnTo>
                    <a:lnTo>
                      <a:pt x="3492" y="2666"/>
                    </a:lnTo>
                    <a:lnTo>
                      <a:pt x="3492" y="2664"/>
                    </a:lnTo>
                    <a:lnTo>
                      <a:pt x="3498" y="2664"/>
                    </a:lnTo>
                    <a:lnTo>
                      <a:pt x="3498" y="2664"/>
                    </a:lnTo>
                    <a:lnTo>
                      <a:pt x="3506" y="2666"/>
                    </a:lnTo>
                    <a:lnTo>
                      <a:pt x="3510" y="2664"/>
                    </a:lnTo>
                    <a:lnTo>
                      <a:pt x="3514" y="2658"/>
                    </a:lnTo>
                    <a:lnTo>
                      <a:pt x="3518" y="2650"/>
                    </a:lnTo>
                    <a:lnTo>
                      <a:pt x="3518" y="2650"/>
                    </a:lnTo>
                    <a:lnTo>
                      <a:pt x="3524" y="2640"/>
                    </a:lnTo>
                    <a:lnTo>
                      <a:pt x="3524" y="2632"/>
                    </a:lnTo>
                    <a:lnTo>
                      <a:pt x="3526" y="2628"/>
                    </a:lnTo>
                    <a:lnTo>
                      <a:pt x="3528" y="2626"/>
                    </a:lnTo>
                    <a:lnTo>
                      <a:pt x="3532" y="2626"/>
                    </a:lnTo>
                    <a:lnTo>
                      <a:pt x="3532" y="2626"/>
                    </a:lnTo>
                    <a:lnTo>
                      <a:pt x="3536" y="2626"/>
                    </a:lnTo>
                    <a:lnTo>
                      <a:pt x="3536" y="2628"/>
                    </a:lnTo>
                    <a:lnTo>
                      <a:pt x="3536" y="2634"/>
                    </a:lnTo>
                    <a:lnTo>
                      <a:pt x="3534" y="2638"/>
                    </a:lnTo>
                    <a:lnTo>
                      <a:pt x="3536" y="2638"/>
                    </a:lnTo>
                    <a:lnTo>
                      <a:pt x="3538" y="2638"/>
                    </a:lnTo>
                    <a:lnTo>
                      <a:pt x="3542" y="2636"/>
                    </a:lnTo>
                    <a:lnTo>
                      <a:pt x="3542" y="2636"/>
                    </a:lnTo>
                    <a:lnTo>
                      <a:pt x="3548" y="2632"/>
                    </a:lnTo>
                    <a:lnTo>
                      <a:pt x="3550" y="2632"/>
                    </a:lnTo>
                    <a:lnTo>
                      <a:pt x="3552" y="2634"/>
                    </a:lnTo>
                    <a:lnTo>
                      <a:pt x="3552" y="2638"/>
                    </a:lnTo>
                    <a:lnTo>
                      <a:pt x="3552" y="2646"/>
                    </a:lnTo>
                    <a:lnTo>
                      <a:pt x="3554" y="2648"/>
                    </a:lnTo>
                    <a:lnTo>
                      <a:pt x="3556" y="2650"/>
                    </a:lnTo>
                    <a:lnTo>
                      <a:pt x="3556" y="2650"/>
                    </a:lnTo>
                    <a:lnTo>
                      <a:pt x="3570" y="2654"/>
                    </a:lnTo>
                    <a:lnTo>
                      <a:pt x="3580" y="2660"/>
                    </a:lnTo>
                    <a:lnTo>
                      <a:pt x="3580" y="2660"/>
                    </a:lnTo>
                    <a:lnTo>
                      <a:pt x="3584" y="2660"/>
                    </a:lnTo>
                    <a:lnTo>
                      <a:pt x="3590" y="2658"/>
                    </a:lnTo>
                    <a:lnTo>
                      <a:pt x="3598" y="2656"/>
                    </a:lnTo>
                    <a:lnTo>
                      <a:pt x="3608" y="2652"/>
                    </a:lnTo>
                    <a:lnTo>
                      <a:pt x="3608" y="2652"/>
                    </a:lnTo>
                    <a:lnTo>
                      <a:pt x="3616" y="2650"/>
                    </a:lnTo>
                    <a:lnTo>
                      <a:pt x="3622" y="2644"/>
                    </a:lnTo>
                    <a:lnTo>
                      <a:pt x="3632" y="2638"/>
                    </a:lnTo>
                    <a:lnTo>
                      <a:pt x="3648" y="2628"/>
                    </a:lnTo>
                    <a:lnTo>
                      <a:pt x="3648" y="2628"/>
                    </a:lnTo>
                    <a:lnTo>
                      <a:pt x="3658" y="2620"/>
                    </a:lnTo>
                    <a:lnTo>
                      <a:pt x="3666" y="2610"/>
                    </a:lnTo>
                    <a:lnTo>
                      <a:pt x="3686" y="2584"/>
                    </a:lnTo>
                    <a:lnTo>
                      <a:pt x="3712" y="2550"/>
                    </a:lnTo>
                    <a:lnTo>
                      <a:pt x="3728" y="2530"/>
                    </a:lnTo>
                    <a:lnTo>
                      <a:pt x="3748" y="2508"/>
                    </a:lnTo>
                    <a:lnTo>
                      <a:pt x="3748" y="2508"/>
                    </a:lnTo>
                    <a:lnTo>
                      <a:pt x="3768" y="2488"/>
                    </a:lnTo>
                    <a:lnTo>
                      <a:pt x="3780" y="2468"/>
                    </a:lnTo>
                    <a:lnTo>
                      <a:pt x="3790" y="2454"/>
                    </a:lnTo>
                    <a:lnTo>
                      <a:pt x="3796" y="2440"/>
                    </a:lnTo>
                    <a:lnTo>
                      <a:pt x="3804" y="2418"/>
                    </a:lnTo>
                    <a:lnTo>
                      <a:pt x="3808" y="2408"/>
                    </a:lnTo>
                    <a:lnTo>
                      <a:pt x="3816" y="2400"/>
                    </a:lnTo>
                    <a:lnTo>
                      <a:pt x="3816" y="2400"/>
                    </a:lnTo>
                    <a:lnTo>
                      <a:pt x="3824" y="2394"/>
                    </a:lnTo>
                    <a:lnTo>
                      <a:pt x="3828" y="2388"/>
                    </a:lnTo>
                    <a:lnTo>
                      <a:pt x="3832" y="2378"/>
                    </a:lnTo>
                    <a:lnTo>
                      <a:pt x="3834" y="2372"/>
                    </a:lnTo>
                    <a:lnTo>
                      <a:pt x="3838" y="2366"/>
                    </a:lnTo>
                    <a:lnTo>
                      <a:pt x="3844" y="2358"/>
                    </a:lnTo>
                    <a:lnTo>
                      <a:pt x="3854" y="2346"/>
                    </a:lnTo>
                    <a:lnTo>
                      <a:pt x="3854" y="2346"/>
                    </a:lnTo>
                    <a:lnTo>
                      <a:pt x="3860" y="2340"/>
                    </a:lnTo>
                    <a:lnTo>
                      <a:pt x="3866" y="2334"/>
                    </a:lnTo>
                    <a:lnTo>
                      <a:pt x="3874" y="2316"/>
                    </a:lnTo>
                    <a:lnTo>
                      <a:pt x="3880" y="2296"/>
                    </a:lnTo>
                    <a:lnTo>
                      <a:pt x="3882" y="2276"/>
                    </a:lnTo>
                    <a:lnTo>
                      <a:pt x="3884" y="2256"/>
                    </a:lnTo>
                    <a:lnTo>
                      <a:pt x="3884" y="2238"/>
                    </a:lnTo>
                    <a:lnTo>
                      <a:pt x="3882" y="2224"/>
                    </a:lnTo>
                    <a:lnTo>
                      <a:pt x="3880" y="2212"/>
                    </a:lnTo>
                    <a:lnTo>
                      <a:pt x="3880" y="2212"/>
                    </a:lnTo>
                    <a:lnTo>
                      <a:pt x="3878" y="2204"/>
                    </a:lnTo>
                    <a:lnTo>
                      <a:pt x="3878" y="2198"/>
                    </a:lnTo>
                    <a:lnTo>
                      <a:pt x="3880" y="2192"/>
                    </a:lnTo>
                    <a:lnTo>
                      <a:pt x="3882" y="2188"/>
                    </a:lnTo>
                    <a:lnTo>
                      <a:pt x="3888" y="2178"/>
                    </a:lnTo>
                    <a:lnTo>
                      <a:pt x="3892" y="2170"/>
                    </a:lnTo>
                    <a:lnTo>
                      <a:pt x="3896" y="2160"/>
                    </a:lnTo>
                    <a:lnTo>
                      <a:pt x="3896" y="2160"/>
                    </a:lnTo>
                    <a:lnTo>
                      <a:pt x="3898" y="2150"/>
                    </a:lnTo>
                    <a:lnTo>
                      <a:pt x="3904" y="2142"/>
                    </a:lnTo>
                    <a:lnTo>
                      <a:pt x="3914" y="2128"/>
                    </a:lnTo>
                    <a:lnTo>
                      <a:pt x="3920" y="2122"/>
                    </a:lnTo>
                    <a:lnTo>
                      <a:pt x="3922" y="2116"/>
                    </a:lnTo>
                    <a:lnTo>
                      <a:pt x="3920" y="2110"/>
                    </a:lnTo>
                    <a:lnTo>
                      <a:pt x="3916" y="2104"/>
                    </a:lnTo>
                    <a:lnTo>
                      <a:pt x="3916" y="2104"/>
                    </a:lnTo>
                    <a:lnTo>
                      <a:pt x="3910" y="2098"/>
                    </a:lnTo>
                    <a:lnTo>
                      <a:pt x="3908" y="2094"/>
                    </a:lnTo>
                    <a:lnTo>
                      <a:pt x="3908" y="2090"/>
                    </a:lnTo>
                    <a:lnTo>
                      <a:pt x="3910" y="2086"/>
                    </a:lnTo>
                    <a:lnTo>
                      <a:pt x="3910" y="2078"/>
                    </a:lnTo>
                    <a:lnTo>
                      <a:pt x="3910" y="2072"/>
                    </a:lnTo>
                    <a:lnTo>
                      <a:pt x="3906" y="2066"/>
                    </a:lnTo>
                    <a:lnTo>
                      <a:pt x="3906" y="2066"/>
                    </a:lnTo>
                    <a:lnTo>
                      <a:pt x="3904" y="2062"/>
                    </a:lnTo>
                    <a:lnTo>
                      <a:pt x="3906" y="2058"/>
                    </a:lnTo>
                    <a:lnTo>
                      <a:pt x="3914" y="2052"/>
                    </a:lnTo>
                    <a:lnTo>
                      <a:pt x="3918" y="2050"/>
                    </a:lnTo>
                    <a:lnTo>
                      <a:pt x="3920" y="2046"/>
                    </a:lnTo>
                    <a:lnTo>
                      <a:pt x="3918" y="2042"/>
                    </a:lnTo>
                    <a:lnTo>
                      <a:pt x="3910" y="2034"/>
                    </a:lnTo>
                    <a:lnTo>
                      <a:pt x="3910" y="2034"/>
                    </a:lnTo>
                    <a:lnTo>
                      <a:pt x="3892" y="2020"/>
                    </a:lnTo>
                    <a:lnTo>
                      <a:pt x="3880" y="2010"/>
                    </a:lnTo>
                    <a:lnTo>
                      <a:pt x="3864" y="1990"/>
                    </a:lnTo>
                    <a:lnTo>
                      <a:pt x="3864" y="1990"/>
                    </a:lnTo>
                    <a:lnTo>
                      <a:pt x="3858" y="1986"/>
                    </a:lnTo>
                    <a:lnTo>
                      <a:pt x="3854" y="1984"/>
                    </a:lnTo>
                    <a:lnTo>
                      <a:pt x="3842" y="1984"/>
                    </a:lnTo>
                    <a:lnTo>
                      <a:pt x="3832" y="1986"/>
                    </a:lnTo>
                    <a:lnTo>
                      <a:pt x="3826" y="1986"/>
                    </a:lnTo>
                    <a:lnTo>
                      <a:pt x="3820" y="1984"/>
                    </a:lnTo>
                    <a:lnTo>
                      <a:pt x="3820" y="1984"/>
                    </a:lnTo>
                    <a:lnTo>
                      <a:pt x="3814" y="1982"/>
                    </a:lnTo>
                    <a:lnTo>
                      <a:pt x="3812" y="1984"/>
                    </a:lnTo>
                    <a:lnTo>
                      <a:pt x="3808" y="1996"/>
                    </a:lnTo>
                    <a:lnTo>
                      <a:pt x="3804" y="2004"/>
                    </a:lnTo>
                    <a:lnTo>
                      <a:pt x="3800" y="2012"/>
                    </a:lnTo>
                    <a:lnTo>
                      <a:pt x="3792" y="2018"/>
                    </a:lnTo>
                    <a:lnTo>
                      <a:pt x="3780" y="2024"/>
                    </a:lnTo>
                    <a:lnTo>
                      <a:pt x="3780" y="2024"/>
                    </a:lnTo>
                    <a:lnTo>
                      <a:pt x="3772" y="2026"/>
                    </a:lnTo>
                    <a:lnTo>
                      <a:pt x="3766" y="2026"/>
                    </a:lnTo>
                    <a:lnTo>
                      <a:pt x="3764" y="2024"/>
                    </a:lnTo>
                    <a:lnTo>
                      <a:pt x="3762" y="2022"/>
                    </a:lnTo>
                    <a:lnTo>
                      <a:pt x="3760" y="2018"/>
                    </a:lnTo>
                    <a:lnTo>
                      <a:pt x="3762" y="2014"/>
                    </a:lnTo>
                    <a:lnTo>
                      <a:pt x="3764" y="2002"/>
                    </a:lnTo>
                    <a:lnTo>
                      <a:pt x="3768" y="1992"/>
                    </a:lnTo>
                    <a:lnTo>
                      <a:pt x="3772" y="1984"/>
                    </a:lnTo>
                    <a:lnTo>
                      <a:pt x="3770" y="1982"/>
                    </a:lnTo>
                    <a:lnTo>
                      <a:pt x="3768" y="1980"/>
                    </a:lnTo>
                    <a:lnTo>
                      <a:pt x="3766" y="1980"/>
                    </a:lnTo>
                    <a:lnTo>
                      <a:pt x="3760" y="1982"/>
                    </a:lnTo>
                    <a:lnTo>
                      <a:pt x="3760" y="1982"/>
                    </a:lnTo>
                    <a:lnTo>
                      <a:pt x="3750" y="1986"/>
                    </a:lnTo>
                    <a:lnTo>
                      <a:pt x="3746" y="1992"/>
                    </a:lnTo>
                    <a:lnTo>
                      <a:pt x="3746" y="1996"/>
                    </a:lnTo>
                    <a:lnTo>
                      <a:pt x="3748" y="2000"/>
                    </a:lnTo>
                    <a:lnTo>
                      <a:pt x="3750" y="2002"/>
                    </a:lnTo>
                    <a:lnTo>
                      <a:pt x="3750" y="2004"/>
                    </a:lnTo>
                    <a:lnTo>
                      <a:pt x="3746" y="2008"/>
                    </a:lnTo>
                    <a:lnTo>
                      <a:pt x="3738" y="2008"/>
                    </a:lnTo>
                    <a:lnTo>
                      <a:pt x="3738" y="2008"/>
                    </a:lnTo>
                    <a:lnTo>
                      <a:pt x="3732" y="2008"/>
                    </a:lnTo>
                    <a:lnTo>
                      <a:pt x="3730" y="2008"/>
                    </a:lnTo>
                    <a:lnTo>
                      <a:pt x="3728" y="2006"/>
                    </a:lnTo>
                    <a:lnTo>
                      <a:pt x="3728" y="2002"/>
                    </a:lnTo>
                    <a:lnTo>
                      <a:pt x="3730" y="1994"/>
                    </a:lnTo>
                    <a:lnTo>
                      <a:pt x="3734" y="1986"/>
                    </a:lnTo>
                    <a:lnTo>
                      <a:pt x="3736" y="1976"/>
                    </a:lnTo>
                    <a:lnTo>
                      <a:pt x="3736" y="1972"/>
                    </a:lnTo>
                    <a:lnTo>
                      <a:pt x="3734" y="1968"/>
                    </a:lnTo>
                    <a:lnTo>
                      <a:pt x="3732" y="1966"/>
                    </a:lnTo>
                    <a:lnTo>
                      <a:pt x="3728" y="1962"/>
                    </a:lnTo>
                    <a:lnTo>
                      <a:pt x="3722" y="1962"/>
                    </a:lnTo>
                    <a:lnTo>
                      <a:pt x="3714" y="1960"/>
                    </a:lnTo>
                    <a:lnTo>
                      <a:pt x="3714" y="1960"/>
                    </a:lnTo>
                    <a:lnTo>
                      <a:pt x="3696" y="1962"/>
                    </a:lnTo>
                    <a:lnTo>
                      <a:pt x="3682" y="1960"/>
                    </a:lnTo>
                    <a:lnTo>
                      <a:pt x="3672" y="1958"/>
                    </a:lnTo>
                    <a:lnTo>
                      <a:pt x="3666" y="1954"/>
                    </a:lnTo>
                    <a:lnTo>
                      <a:pt x="3666" y="1950"/>
                    </a:lnTo>
                    <a:lnTo>
                      <a:pt x="3666" y="1948"/>
                    </a:lnTo>
                    <a:lnTo>
                      <a:pt x="3674" y="1938"/>
                    </a:lnTo>
                    <a:lnTo>
                      <a:pt x="3686" y="1928"/>
                    </a:lnTo>
                    <a:lnTo>
                      <a:pt x="3706" y="1912"/>
                    </a:lnTo>
                    <a:lnTo>
                      <a:pt x="3706" y="1912"/>
                    </a:lnTo>
                    <a:lnTo>
                      <a:pt x="3746" y="1886"/>
                    </a:lnTo>
                    <a:lnTo>
                      <a:pt x="3768" y="1868"/>
                    </a:lnTo>
                    <a:lnTo>
                      <a:pt x="3776" y="1862"/>
                    </a:lnTo>
                    <a:lnTo>
                      <a:pt x="3782" y="1852"/>
                    </a:lnTo>
                    <a:lnTo>
                      <a:pt x="3788" y="1844"/>
                    </a:lnTo>
                    <a:lnTo>
                      <a:pt x="3794" y="1832"/>
                    </a:lnTo>
                    <a:lnTo>
                      <a:pt x="3794" y="1832"/>
                    </a:lnTo>
                    <a:lnTo>
                      <a:pt x="3802" y="1818"/>
                    </a:lnTo>
                    <a:lnTo>
                      <a:pt x="3812" y="1808"/>
                    </a:lnTo>
                    <a:lnTo>
                      <a:pt x="3824" y="1800"/>
                    </a:lnTo>
                    <a:lnTo>
                      <a:pt x="3838" y="1790"/>
                    </a:lnTo>
                    <a:lnTo>
                      <a:pt x="3852" y="1782"/>
                    </a:lnTo>
                    <a:lnTo>
                      <a:pt x="3866" y="1772"/>
                    </a:lnTo>
                    <a:lnTo>
                      <a:pt x="3878" y="1760"/>
                    </a:lnTo>
                    <a:lnTo>
                      <a:pt x="3882" y="1752"/>
                    </a:lnTo>
                    <a:lnTo>
                      <a:pt x="3886" y="1746"/>
                    </a:lnTo>
                    <a:lnTo>
                      <a:pt x="3886" y="1746"/>
                    </a:lnTo>
                    <a:lnTo>
                      <a:pt x="3894" y="1728"/>
                    </a:lnTo>
                    <a:lnTo>
                      <a:pt x="3908" y="1712"/>
                    </a:lnTo>
                    <a:lnTo>
                      <a:pt x="3926" y="1696"/>
                    </a:lnTo>
                    <a:lnTo>
                      <a:pt x="3944" y="1682"/>
                    </a:lnTo>
                    <a:lnTo>
                      <a:pt x="3966" y="1672"/>
                    </a:lnTo>
                    <a:lnTo>
                      <a:pt x="3986" y="1664"/>
                    </a:lnTo>
                    <a:lnTo>
                      <a:pt x="4006" y="1660"/>
                    </a:lnTo>
                    <a:lnTo>
                      <a:pt x="4014" y="1660"/>
                    </a:lnTo>
                    <a:lnTo>
                      <a:pt x="4022" y="1662"/>
                    </a:lnTo>
                    <a:lnTo>
                      <a:pt x="4022" y="1662"/>
                    </a:lnTo>
                    <a:lnTo>
                      <a:pt x="4036" y="1664"/>
                    </a:lnTo>
                    <a:lnTo>
                      <a:pt x="4048" y="1666"/>
                    </a:lnTo>
                    <a:lnTo>
                      <a:pt x="4068" y="1664"/>
                    </a:lnTo>
                    <a:lnTo>
                      <a:pt x="4082" y="1664"/>
                    </a:lnTo>
                    <a:lnTo>
                      <a:pt x="4090" y="1666"/>
                    </a:lnTo>
                    <a:lnTo>
                      <a:pt x="4098" y="1670"/>
                    </a:lnTo>
                    <a:lnTo>
                      <a:pt x="4098" y="1670"/>
                    </a:lnTo>
                    <a:lnTo>
                      <a:pt x="4104" y="1672"/>
                    </a:lnTo>
                    <a:lnTo>
                      <a:pt x="4108" y="1672"/>
                    </a:lnTo>
                    <a:lnTo>
                      <a:pt x="4110" y="1670"/>
                    </a:lnTo>
                    <a:lnTo>
                      <a:pt x="4112" y="1666"/>
                    </a:lnTo>
                    <a:lnTo>
                      <a:pt x="4116" y="1662"/>
                    </a:lnTo>
                    <a:lnTo>
                      <a:pt x="4124" y="1660"/>
                    </a:lnTo>
                    <a:lnTo>
                      <a:pt x="4136" y="1658"/>
                    </a:lnTo>
                    <a:lnTo>
                      <a:pt x="4154" y="1660"/>
                    </a:lnTo>
                    <a:lnTo>
                      <a:pt x="4154" y="1660"/>
                    </a:lnTo>
                    <a:lnTo>
                      <a:pt x="4188" y="1668"/>
                    </a:lnTo>
                    <a:lnTo>
                      <a:pt x="4200" y="1670"/>
                    </a:lnTo>
                    <a:lnTo>
                      <a:pt x="4208" y="1670"/>
                    </a:lnTo>
                    <a:lnTo>
                      <a:pt x="4214" y="1670"/>
                    </a:lnTo>
                    <a:lnTo>
                      <a:pt x="4220" y="1666"/>
                    </a:lnTo>
                    <a:lnTo>
                      <a:pt x="4224" y="1658"/>
                    </a:lnTo>
                    <a:lnTo>
                      <a:pt x="4228" y="1648"/>
                    </a:lnTo>
                    <a:lnTo>
                      <a:pt x="4228" y="1648"/>
                    </a:lnTo>
                    <a:lnTo>
                      <a:pt x="4230" y="1646"/>
                    </a:lnTo>
                    <a:lnTo>
                      <a:pt x="4236" y="1644"/>
                    </a:lnTo>
                    <a:lnTo>
                      <a:pt x="4250" y="1642"/>
                    </a:lnTo>
                    <a:lnTo>
                      <a:pt x="4272" y="1642"/>
                    </a:lnTo>
                    <a:lnTo>
                      <a:pt x="4294" y="1644"/>
                    </a:lnTo>
                    <a:lnTo>
                      <a:pt x="4314" y="1648"/>
                    </a:lnTo>
                    <a:lnTo>
                      <a:pt x="4322" y="1652"/>
                    </a:lnTo>
                    <a:lnTo>
                      <a:pt x="4328" y="1656"/>
                    </a:lnTo>
                    <a:lnTo>
                      <a:pt x="4330" y="1660"/>
                    </a:lnTo>
                    <a:lnTo>
                      <a:pt x="4330" y="1664"/>
                    </a:lnTo>
                    <a:lnTo>
                      <a:pt x="4328" y="1670"/>
                    </a:lnTo>
                    <a:lnTo>
                      <a:pt x="4320" y="1676"/>
                    </a:lnTo>
                    <a:lnTo>
                      <a:pt x="4320" y="1676"/>
                    </a:lnTo>
                    <a:lnTo>
                      <a:pt x="4314" y="1682"/>
                    </a:lnTo>
                    <a:lnTo>
                      <a:pt x="4312" y="1686"/>
                    </a:lnTo>
                    <a:lnTo>
                      <a:pt x="4312" y="1688"/>
                    </a:lnTo>
                    <a:lnTo>
                      <a:pt x="4314" y="1690"/>
                    </a:lnTo>
                    <a:lnTo>
                      <a:pt x="4324" y="1692"/>
                    </a:lnTo>
                    <a:lnTo>
                      <a:pt x="4340" y="1690"/>
                    </a:lnTo>
                    <a:lnTo>
                      <a:pt x="4358" y="1688"/>
                    </a:lnTo>
                    <a:lnTo>
                      <a:pt x="4374" y="1684"/>
                    </a:lnTo>
                    <a:lnTo>
                      <a:pt x="4386" y="1680"/>
                    </a:lnTo>
                    <a:lnTo>
                      <a:pt x="4394" y="1676"/>
                    </a:lnTo>
                    <a:lnTo>
                      <a:pt x="4394" y="1676"/>
                    </a:lnTo>
                    <a:lnTo>
                      <a:pt x="4398" y="1670"/>
                    </a:lnTo>
                    <a:lnTo>
                      <a:pt x="4404" y="1670"/>
                    </a:lnTo>
                    <a:lnTo>
                      <a:pt x="4410" y="1674"/>
                    </a:lnTo>
                    <a:lnTo>
                      <a:pt x="4418" y="1678"/>
                    </a:lnTo>
                    <a:lnTo>
                      <a:pt x="4426" y="1682"/>
                    </a:lnTo>
                    <a:lnTo>
                      <a:pt x="4436" y="1684"/>
                    </a:lnTo>
                    <a:lnTo>
                      <a:pt x="4448" y="1682"/>
                    </a:lnTo>
                    <a:lnTo>
                      <a:pt x="4454" y="1680"/>
                    </a:lnTo>
                    <a:lnTo>
                      <a:pt x="4462" y="1676"/>
                    </a:lnTo>
                    <a:lnTo>
                      <a:pt x="4462" y="1676"/>
                    </a:lnTo>
                    <a:lnTo>
                      <a:pt x="4466" y="1672"/>
                    </a:lnTo>
                    <a:lnTo>
                      <a:pt x="4468" y="1668"/>
                    </a:lnTo>
                    <a:lnTo>
                      <a:pt x="4468" y="1664"/>
                    </a:lnTo>
                    <a:lnTo>
                      <a:pt x="4466" y="1660"/>
                    </a:lnTo>
                    <a:lnTo>
                      <a:pt x="4458" y="1652"/>
                    </a:lnTo>
                    <a:lnTo>
                      <a:pt x="4448" y="1646"/>
                    </a:lnTo>
                    <a:lnTo>
                      <a:pt x="4442" y="1642"/>
                    </a:lnTo>
                    <a:lnTo>
                      <a:pt x="4440" y="1636"/>
                    </a:lnTo>
                    <a:lnTo>
                      <a:pt x="4438" y="1632"/>
                    </a:lnTo>
                    <a:lnTo>
                      <a:pt x="4438" y="1626"/>
                    </a:lnTo>
                    <a:lnTo>
                      <a:pt x="4440" y="1618"/>
                    </a:lnTo>
                    <a:lnTo>
                      <a:pt x="4446" y="1612"/>
                    </a:lnTo>
                    <a:lnTo>
                      <a:pt x="4456" y="1602"/>
                    </a:lnTo>
                    <a:lnTo>
                      <a:pt x="4468" y="1592"/>
                    </a:lnTo>
                    <a:lnTo>
                      <a:pt x="4468" y="1592"/>
                    </a:lnTo>
                    <a:lnTo>
                      <a:pt x="4496" y="1572"/>
                    </a:lnTo>
                    <a:lnTo>
                      <a:pt x="4514" y="1556"/>
                    </a:lnTo>
                    <a:lnTo>
                      <a:pt x="4536" y="1530"/>
                    </a:lnTo>
                    <a:lnTo>
                      <a:pt x="4546" y="1522"/>
                    </a:lnTo>
                    <a:lnTo>
                      <a:pt x="4562" y="1514"/>
                    </a:lnTo>
                    <a:lnTo>
                      <a:pt x="4584" y="1508"/>
                    </a:lnTo>
                    <a:lnTo>
                      <a:pt x="4616" y="1502"/>
                    </a:lnTo>
                    <a:lnTo>
                      <a:pt x="4616" y="1502"/>
                    </a:lnTo>
                    <a:lnTo>
                      <a:pt x="4630" y="1502"/>
                    </a:lnTo>
                    <a:lnTo>
                      <a:pt x="4642" y="1504"/>
                    </a:lnTo>
                    <a:lnTo>
                      <a:pt x="4650" y="1508"/>
                    </a:lnTo>
                    <a:lnTo>
                      <a:pt x="4656" y="1514"/>
                    </a:lnTo>
                    <a:lnTo>
                      <a:pt x="4660" y="1520"/>
                    </a:lnTo>
                    <a:lnTo>
                      <a:pt x="4664" y="1528"/>
                    </a:lnTo>
                    <a:lnTo>
                      <a:pt x="4664" y="1546"/>
                    </a:lnTo>
                    <a:lnTo>
                      <a:pt x="4666" y="1562"/>
                    </a:lnTo>
                    <a:lnTo>
                      <a:pt x="4666" y="1568"/>
                    </a:lnTo>
                    <a:lnTo>
                      <a:pt x="4668" y="1574"/>
                    </a:lnTo>
                    <a:lnTo>
                      <a:pt x="4672" y="1578"/>
                    </a:lnTo>
                    <a:lnTo>
                      <a:pt x="4676" y="1580"/>
                    </a:lnTo>
                    <a:lnTo>
                      <a:pt x="4684" y="1578"/>
                    </a:lnTo>
                    <a:lnTo>
                      <a:pt x="4694" y="1574"/>
                    </a:lnTo>
                    <a:lnTo>
                      <a:pt x="4694" y="1574"/>
                    </a:lnTo>
                    <a:lnTo>
                      <a:pt x="4714" y="1562"/>
                    </a:lnTo>
                    <a:lnTo>
                      <a:pt x="4728" y="1550"/>
                    </a:lnTo>
                    <a:lnTo>
                      <a:pt x="4738" y="1540"/>
                    </a:lnTo>
                    <a:lnTo>
                      <a:pt x="4746" y="1530"/>
                    </a:lnTo>
                    <a:lnTo>
                      <a:pt x="4752" y="1524"/>
                    </a:lnTo>
                    <a:lnTo>
                      <a:pt x="4758" y="1520"/>
                    </a:lnTo>
                    <a:lnTo>
                      <a:pt x="4766" y="1518"/>
                    </a:lnTo>
                    <a:lnTo>
                      <a:pt x="4778" y="1520"/>
                    </a:lnTo>
                    <a:lnTo>
                      <a:pt x="4778" y="1520"/>
                    </a:lnTo>
                    <a:lnTo>
                      <a:pt x="4784" y="1522"/>
                    </a:lnTo>
                    <a:lnTo>
                      <a:pt x="4788" y="1520"/>
                    </a:lnTo>
                    <a:lnTo>
                      <a:pt x="4790" y="1518"/>
                    </a:lnTo>
                    <a:lnTo>
                      <a:pt x="4792" y="1514"/>
                    </a:lnTo>
                    <a:lnTo>
                      <a:pt x="4790" y="1502"/>
                    </a:lnTo>
                    <a:lnTo>
                      <a:pt x="4788" y="1486"/>
                    </a:lnTo>
                    <a:lnTo>
                      <a:pt x="4788" y="1472"/>
                    </a:lnTo>
                    <a:lnTo>
                      <a:pt x="4790" y="1464"/>
                    </a:lnTo>
                    <a:lnTo>
                      <a:pt x="4792" y="1458"/>
                    </a:lnTo>
                    <a:lnTo>
                      <a:pt x="4796" y="1452"/>
                    </a:lnTo>
                    <a:lnTo>
                      <a:pt x="4802" y="1448"/>
                    </a:lnTo>
                    <a:lnTo>
                      <a:pt x="4812" y="1446"/>
                    </a:lnTo>
                    <a:lnTo>
                      <a:pt x="4824" y="1446"/>
                    </a:lnTo>
                    <a:lnTo>
                      <a:pt x="4824" y="1446"/>
                    </a:lnTo>
                    <a:lnTo>
                      <a:pt x="4854" y="1446"/>
                    </a:lnTo>
                    <a:lnTo>
                      <a:pt x="4856" y="1448"/>
                    </a:lnTo>
                    <a:lnTo>
                      <a:pt x="4858" y="1448"/>
                    </a:lnTo>
                    <a:lnTo>
                      <a:pt x="4854" y="1452"/>
                    </a:lnTo>
                    <a:lnTo>
                      <a:pt x="4848" y="1460"/>
                    </a:lnTo>
                    <a:lnTo>
                      <a:pt x="4838" y="1472"/>
                    </a:lnTo>
                    <a:lnTo>
                      <a:pt x="4830" y="1490"/>
                    </a:lnTo>
                    <a:lnTo>
                      <a:pt x="4828" y="1500"/>
                    </a:lnTo>
                    <a:lnTo>
                      <a:pt x="4824" y="1512"/>
                    </a:lnTo>
                    <a:lnTo>
                      <a:pt x="4824" y="1512"/>
                    </a:lnTo>
                    <a:lnTo>
                      <a:pt x="4822" y="1526"/>
                    </a:lnTo>
                    <a:lnTo>
                      <a:pt x="4818" y="1536"/>
                    </a:lnTo>
                    <a:lnTo>
                      <a:pt x="4814" y="1544"/>
                    </a:lnTo>
                    <a:lnTo>
                      <a:pt x="4810" y="1552"/>
                    </a:lnTo>
                    <a:lnTo>
                      <a:pt x="4798" y="1564"/>
                    </a:lnTo>
                    <a:lnTo>
                      <a:pt x="4784" y="1572"/>
                    </a:lnTo>
                    <a:lnTo>
                      <a:pt x="4766" y="1582"/>
                    </a:lnTo>
                    <a:lnTo>
                      <a:pt x="4748" y="1594"/>
                    </a:lnTo>
                    <a:lnTo>
                      <a:pt x="4726" y="1612"/>
                    </a:lnTo>
                    <a:lnTo>
                      <a:pt x="4716" y="1622"/>
                    </a:lnTo>
                    <a:lnTo>
                      <a:pt x="4704" y="1636"/>
                    </a:lnTo>
                    <a:lnTo>
                      <a:pt x="4704" y="1636"/>
                    </a:lnTo>
                    <a:lnTo>
                      <a:pt x="4664" y="1686"/>
                    </a:lnTo>
                    <a:lnTo>
                      <a:pt x="4646" y="1706"/>
                    </a:lnTo>
                    <a:lnTo>
                      <a:pt x="4630" y="1722"/>
                    </a:lnTo>
                    <a:lnTo>
                      <a:pt x="4614" y="1734"/>
                    </a:lnTo>
                    <a:lnTo>
                      <a:pt x="4600" y="1744"/>
                    </a:lnTo>
                    <a:lnTo>
                      <a:pt x="4584" y="1752"/>
                    </a:lnTo>
                    <a:lnTo>
                      <a:pt x="4568" y="1756"/>
                    </a:lnTo>
                    <a:lnTo>
                      <a:pt x="4568" y="1756"/>
                    </a:lnTo>
                    <a:lnTo>
                      <a:pt x="4554" y="1760"/>
                    </a:lnTo>
                    <a:lnTo>
                      <a:pt x="4546" y="1764"/>
                    </a:lnTo>
                    <a:lnTo>
                      <a:pt x="4544" y="1770"/>
                    </a:lnTo>
                    <a:lnTo>
                      <a:pt x="4542" y="1776"/>
                    </a:lnTo>
                    <a:lnTo>
                      <a:pt x="4542" y="1784"/>
                    </a:lnTo>
                    <a:lnTo>
                      <a:pt x="4540" y="1792"/>
                    </a:lnTo>
                    <a:lnTo>
                      <a:pt x="4532" y="1802"/>
                    </a:lnTo>
                    <a:lnTo>
                      <a:pt x="4520" y="1812"/>
                    </a:lnTo>
                    <a:lnTo>
                      <a:pt x="4520" y="1812"/>
                    </a:lnTo>
                    <a:lnTo>
                      <a:pt x="4514" y="1820"/>
                    </a:lnTo>
                    <a:lnTo>
                      <a:pt x="4508" y="1828"/>
                    </a:lnTo>
                    <a:lnTo>
                      <a:pt x="4502" y="1840"/>
                    </a:lnTo>
                    <a:lnTo>
                      <a:pt x="4498" y="1854"/>
                    </a:lnTo>
                    <a:lnTo>
                      <a:pt x="4496" y="1868"/>
                    </a:lnTo>
                    <a:lnTo>
                      <a:pt x="4494" y="1886"/>
                    </a:lnTo>
                    <a:lnTo>
                      <a:pt x="4494" y="1922"/>
                    </a:lnTo>
                    <a:lnTo>
                      <a:pt x="4496" y="1962"/>
                    </a:lnTo>
                    <a:lnTo>
                      <a:pt x="4502" y="2006"/>
                    </a:lnTo>
                    <a:lnTo>
                      <a:pt x="4508" y="2050"/>
                    </a:lnTo>
                    <a:lnTo>
                      <a:pt x="4518" y="2092"/>
                    </a:lnTo>
                    <a:lnTo>
                      <a:pt x="4518" y="2092"/>
                    </a:lnTo>
                    <a:lnTo>
                      <a:pt x="4520" y="2110"/>
                    </a:lnTo>
                    <a:lnTo>
                      <a:pt x="4522" y="2132"/>
                    </a:lnTo>
                    <a:lnTo>
                      <a:pt x="4526" y="2152"/>
                    </a:lnTo>
                    <a:lnTo>
                      <a:pt x="4530" y="2168"/>
                    </a:lnTo>
                    <a:lnTo>
                      <a:pt x="4532" y="2172"/>
                    </a:lnTo>
                    <a:lnTo>
                      <a:pt x="4536" y="2176"/>
                    </a:lnTo>
                    <a:lnTo>
                      <a:pt x="4542" y="2178"/>
                    </a:lnTo>
                    <a:lnTo>
                      <a:pt x="4548" y="2176"/>
                    </a:lnTo>
                    <a:lnTo>
                      <a:pt x="4556" y="2172"/>
                    </a:lnTo>
                    <a:lnTo>
                      <a:pt x="4564" y="2164"/>
                    </a:lnTo>
                    <a:lnTo>
                      <a:pt x="4574" y="2152"/>
                    </a:lnTo>
                    <a:lnTo>
                      <a:pt x="4588" y="2136"/>
                    </a:lnTo>
                    <a:lnTo>
                      <a:pt x="4588" y="2136"/>
                    </a:lnTo>
                    <a:lnTo>
                      <a:pt x="4594" y="2124"/>
                    </a:lnTo>
                    <a:lnTo>
                      <a:pt x="4600" y="2114"/>
                    </a:lnTo>
                    <a:lnTo>
                      <a:pt x="4608" y="2094"/>
                    </a:lnTo>
                    <a:lnTo>
                      <a:pt x="4610" y="2080"/>
                    </a:lnTo>
                    <a:lnTo>
                      <a:pt x="4612" y="2068"/>
                    </a:lnTo>
                    <a:lnTo>
                      <a:pt x="4612" y="2060"/>
                    </a:lnTo>
                    <a:lnTo>
                      <a:pt x="4614" y="2056"/>
                    </a:lnTo>
                    <a:lnTo>
                      <a:pt x="4618" y="2054"/>
                    </a:lnTo>
                    <a:lnTo>
                      <a:pt x="4626" y="2050"/>
                    </a:lnTo>
                    <a:lnTo>
                      <a:pt x="4644" y="2050"/>
                    </a:lnTo>
                    <a:lnTo>
                      <a:pt x="4644" y="2050"/>
                    </a:lnTo>
                    <a:lnTo>
                      <a:pt x="4654" y="2048"/>
                    </a:lnTo>
                    <a:lnTo>
                      <a:pt x="4660" y="2046"/>
                    </a:lnTo>
                    <a:lnTo>
                      <a:pt x="4664" y="2042"/>
                    </a:lnTo>
                    <a:lnTo>
                      <a:pt x="4668" y="2038"/>
                    </a:lnTo>
                    <a:lnTo>
                      <a:pt x="4670" y="2024"/>
                    </a:lnTo>
                    <a:lnTo>
                      <a:pt x="4670" y="2010"/>
                    </a:lnTo>
                    <a:lnTo>
                      <a:pt x="4670" y="1996"/>
                    </a:lnTo>
                    <a:lnTo>
                      <a:pt x="4672" y="1988"/>
                    </a:lnTo>
                    <a:lnTo>
                      <a:pt x="4676" y="1982"/>
                    </a:lnTo>
                    <a:lnTo>
                      <a:pt x="4680" y="1976"/>
                    </a:lnTo>
                    <a:lnTo>
                      <a:pt x="4686" y="1972"/>
                    </a:lnTo>
                    <a:lnTo>
                      <a:pt x="4694" y="1968"/>
                    </a:lnTo>
                    <a:lnTo>
                      <a:pt x="4704" y="1968"/>
                    </a:lnTo>
                    <a:lnTo>
                      <a:pt x="4704" y="1968"/>
                    </a:lnTo>
                    <a:lnTo>
                      <a:pt x="4730" y="1964"/>
                    </a:lnTo>
                    <a:lnTo>
                      <a:pt x="4740" y="1960"/>
                    </a:lnTo>
                    <a:lnTo>
                      <a:pt x="4744" y="1956"/>
                    </a:lnTo>
                    <a:lnTo>
                      <a:pt x="4748" y="1952"/>
                    </a:lnTo>
                    <a:lnTo>
                      <a:pt x="4750" y="1948"/>
                    </a:lnTo>
                    <a:lnTo>
                      <a:pt x="4750" y="1944"/>
                    </a:lnTo>
                    <a:lnTo>
                      <a:pt x="4748" y="1938"/>
                    </a:lnTo>
                    <a:lnTo>
                      <a:pt x="4744" y="1926"/>
                    </a:lnTo>
                    <a:lnTo>
                      <a:pt x="4740" y="1912"/>
                    </a:lnTo>
                    <a:lnTo>
                      <a:pt x="4738" y="1904"/>
                    </a:lnTo>
                    <a:lnTo>
                      <a:pt x="4738" y="1896"/>
                    </a:lnTo>
                    <a:lnTo>
                      <a:pt x="4740" y="1888"/>
                    </a:lnTo>
                    <a:lnTo>
                      <a:pt x="4744" y="1880"/>
                    </a:lnTo>
                    <a:lnTo>
                      <a:pt x="4744" y="1880"/>
                    </a:lnTo>
                    <a:lnTo>
                      <a:pt x="4748" y="1874"/>
                    </a:lnTo>
                    <a:lnTo>
                      <a:pt x="4752" y="1870"/>
                    </a:lnTo>
                    <a:lnTo>
                      <a:pt x="4756" y="1866"/>
                    </a:lnTo>
                    <a:lnTo>
                      <a:pt x="4760" y="1866"/>
                    </a:lnTo>
                    <a:lnTo>
                      <a:pt x="4770" y="1866"/>
                    </a:lnTo>
                    <a:lnTo>
                      <a:pt x="4778" y="1870"/>
                    </a:lnTo>
                    <a:lnTo>
                      <a:pt x="4784" y="1874"/>
                    </a:lnTo>
                    <a:lnTo>
                      <a:pt x="4792" y="1874"/>
                    </a:lnTo>
                    <a:lnTo>
                      <a:pt x="4794" y="1874"/>
                    </a:lnTo>
                    <a:lnTo>
                      <a:pt x="4796" y="1872"/>
                    </a:lnTo>
                    <a:lnTo>
                      <a:pt x="4800" y="1862"/>
                    </a:lnTo>
                    <a:lnTo>
                      <a:pt x="4800" y="1862"/>
                    </a:lnTo>
                    <a:lnTo>
                      <a:pt x="4800" y="1854"/>
                    </a:lnTo>
                    <a:lnTo>
                      <a:pt x="4800" y="1846"/>
                    </a:lnTo>
                    <a:lnTo>
                      <a:pt x="4798" y="1840"/>
                    </a:lnTo>
                    <a:lnTo>
                      <a:pt x="4796" y="1836"/>
                    </a:lnTo>
                    <a:lnTo>
                      <a:pt x="4788" y="1828"/>
                    </a:lnTo>
                    <a:lnTo>
                      <a:pt x="4782" y="1822"/>
                    </a:lnTo>
                    <a:lnTo>
                      <a:pt x="4774" y="1816"/>
                    </a:lnTo>
                    <a:lnTo>
                      <a:pt x="4772" y="1814"/>
                    </a:lnTo>
                    <a:lnTo>
                      <a:pt x="4772" y="1810"/>
                    </a:lnTo>
                    <a:lnTo>
                      <a:pt x="4772" y="1806"/>
                    </a:lnTo>
                    <a:lnTo>
                      <a:pt x="4774" y="1802"/>
                    </a:lnTo>
                    <a:lnTo>
                      <a:pt x="4782" y="1790"/>
                    </a:lnTo>
                    <a:lnTo>
                      <a:pt x="4782" y="1790"/>
                    </a:lnTo>
                    <a:lnTo>
                      <a:pt x="4790" y="1780"/>
                    </a:lnTo>
                    <a:lnTo>
                      <a:pt x="4794" y="1772"/>
                    </a:lnTo>
                    <a:lnTo>
                      <a:pt x="4794" y="1766"/>
                    </a:lnTo>
                    <a:lnTo>
                      <a:pt x="4792" y="1760"/>
                    </a:lnTo>
                    <a:lnTo>
                      <a:pt x="4788" y="1756"/>
                    </a:lnTo>
                    <a:lnTo>
                      <a:pt x="4782" y="1752"/>
                    </a:lnTo>
                    <a:lnTo>
                      <a:pt x="4768" y="1748"/>
                    </a:lnTo>
                    <a:lnTo>
                      <a:pt x="4756" y="1744"/>
                    </a:lnTo>
                    <a:lnTo>
                      <a:pt x="4750" y="1740"/>
                    </a:lnTo>
                    <a:lnTo>
                      <a:pt x="4746" y="1738"/>
                    </a:lnTo>
                    <a:lnTo>
                      <a:pt x="4746" y="1732"/>
                    </a:lnTo>
                    <a:lnTo>
                      <a:pt x="4748" y="1728"/>
                    </a:lnTo>
                    <a:lnTo>
                      <a:pt x="4752" y="1720"/>
                    </a:lnTo>
                    <a:lnTo>
                      <a:pt x="4762" y="1712"/>
                    </a:lnTo>
                    <a:lnTo>
                      <a:pt x="4762" y="1712"/>
                    </a:lnTo>
                    <a:lnTo>
                      <a:pt x="4782" y="1694"/>
                    </a:lnTo>
                    <a:lnTo>
                      <a:pt x="4794" y="1678"/>
                    </a:lnTo>
                    <a:lnTo>
                      <a:pt x="4800" y="1664"/>
                    </a:lnTo>
                    <a:lnTo>
                      <a:pt x="4804" y="1652"/>
                    </a:lnTo>
                    <a:lnTo>
                      <a:pt x="4806" y="1642"/>
                    </a:lnTo>
                    <a:lnTo>
                      <a:pt x="4810" y="1634"/>
                    </a:lnTo>
                    <a:lnTo>
                      <a:pt x="4816" y="1628"/>
                    </a:lnTo>
                    <a:lnTo>
                      <a:pt x="4828" y="1622"/>
                    </a:lnTo>
                    <a:lnTo>
                      <a:pt x="4828" y="1622"/>
                    </a:lnTo>
                    <a:lnTo>
                      <a:pt x="4840" y="1618"/>
                    </a:lnTo>
                    <a:lnTo>
                      <a:pt x="4848" y="1618"/>
                    </a:lnTo>
                    <a:lnTo>
                      <a:pt x="4852" y="1620"/>
                    </a:lnTo>
                    <a:lnTo>
                      <a:pt x="4854" y="1622"/>
                    </a:lnTo>
                    <a:lnTo>
                      <a:pt x="4856" y="1624"/>
                    </a:lnTo>
                    <a:lnTo>
                      <a:pt x="4862" y="1622"/>
                    </a:lnTo>
                    <a:lnTo>
                      <a:pt x="4872" y="1616"/>
                    </a:lnTo>
                    <a:lnTo>
                      <a:pt x="4888" y="1606"/>
                    </a:lnTo>
                    <a:lnTo>
                      <a:pt x="4888" y="1606"/>
                    </a:lnTo>
                    <a:lnTo>
                      <a:pt x="4900" y="1598"/>
                    </a:lnTo>
                    <a:lnTo>
                      <a:pt x="4908" y="1592"/>
                    </a:lnTo>
                    <a:lnTo>
                      <a:pt x="4914" y="1592"/>
                    </a:lnTo>
                    <a:lnTo>
                      <a:pt x="4916" y="1592"/>
                    </a:lnTo>
                    <a:lnTo>
                      <a:pt x="4918" y="1596"/>
                    </a:lnTo>
                    <a:lnTo>
                      <a:pt x="4918" y="1600"/>
                    </a:lnTo>
                    <a:lnTo>
                      <a:pt x="4914" y="1612"/>
                    </a:lnTo>
                    <a:lnTo>
                      <a:pt x="4910" y="1624"/>
                    </a:lnTo>
                    <a:lnTo>
                      <a:pt x="4910" y="1628"/>
                    </a:lnTo>
                    <a:lnTo>
                      <a:pt x="4910" y="1632"/>
                    </a:lnTo>
                    <a:lnTo>
                      <a:pt x="4912" y="1632"/>
                    </a:lnTo>
                    <a:lnTo>
                      <a:pt x="4916" y="1632"/>
                    </a:lnTo>
                    <a:lnTo>
                      <a:pt x="4934" y="1618"/>
                    </a:lnTo>
                    <a:lnTo>
                      <a:pt x="4934" y="1618"/>
                    </a:lnTo>
                    <a:lnTo>
                      <a:pt x="4958" y="1600"/>
                    </a:lnTo>
                    <a:lnTo>
                      <a:pt x="4980" y="1588"/>
                    </a:lnTo>
                    <a:lnTo>
                      <a:pt x="4990" y="1586"/>
                    </a:lnTo>
                    <a:lnTo>
                      <a:pt x="5000" y="1584"/>
                    </a:lnTo>
                    <a:lnTo>
                      <a:pt x="5016" y="1584"/>
                    </a:lnTo>
                    <a:lnTo>
                      <a:pt x="5032" y="1588"/>
                    </a:lnTo>
                    <a:lnTo>
                      <a:pt x="5048" y="1596"/>
                    </a:lnTo>
                    <a:lnTo>
                      <a:pt x="5060" y="1606"/>
                    </a:lnTo>
                    <a:lnTo>
                      <a:pt x="5072" y="1618"/>
                    </a:lnTo>
                    <a:lnTo>
                      <a:pt x="5072" y="1618"/>
                    </a:lnTo>
                    <a:lnTo>
                      <a:pt x="5080" y="1628"/>
                    </a:lnTo>
                    <a:lnTo>
                      <a:pt x="5082" y="1630"/>
                    </a:lnTo>
                    <a:lnTo>
                      <a:pt x="5084" y="1628"/>
                    </a:lnTo>
                    <a:lnTo>
                      <a:pt x="5086" y="1620"/>
                    </a:lnTo>
                    <a:lnTo>
                      <a:pt x="5094" y="1608"/>
                    </a:lnTo>
                    <a:lnTo>
                      <a:pt x="5108" y="1592"/>
                    </a:lnTo>
                    <a:lnTo>
                      <a:pt x="5118" y="1584"/>
                    </a:lnTo>
                    <a:lnTo>
                      <a:pt x="5132" y="1574"/>
                    </a:lnTo>
                    <a:lnTo>
                      <a:pt x="5148" y="1564"/>
                    </a:lnTo>
                    <a:lnTo>
                      <a:pt x="5168" y="1552"/>
                    </a:lnTo>
                    <a:lnTo>
                      <a:pt x="5168" y="1552"/>
                    </a:lnTo>
                    <a:lnTo>
                      <a:pt x="5186" y="1542"/>
                    </a:lnTo>
                    <a:lnTo>
                      <a:pt x="5202" y="1532"/>
                    </a:lnTo>
                    <a:lnTo>
                      <a:pt x="5236" y="1508"/>
                    </a:lnTo>
                    <a:lnTo>
                      <a:pt x="5252" y="1496"/>
                    </a:lnTo>
                    <a:lnTo>
                      <a:pt x="5272" y="1484"/>
                    </a:lnTo>
                    <a:lnTo>
                      <a:pt x="5290" y="1474"/>
                    </a:lnTo>
                    <a:lnTo>
                      <a:pt x="5312" y="1466"/>
                    </a:lnTo>
                    <a:lnTo>
                      <a:pt x="5312" y="1466"/>
                    </a:lnTo>
                    <a:lnTo>
                      <a:pt x="5330" y="1460"/>
                    </a:lnTo>
                    <a:lnTo>
                      <a:pt x="5348" y="1456"/>
                    </a:lnTo>
                    <a:lnTo>
                      <a:pt x="5362" y="1454"/>
                    </a:lnTo>
                    <a:lnTo>
                      <a:pt x="5374" y="1454"/>
                    </a:lnTo>
                    <a:lnTo>
                      <a:pt x="5396" y="1456"/>
                    </a:lnTo>
                    <a:lnTo>
                      <a:pt x="5410" y="1460"/>
                    </a:lnTo>
                    <a:lnTo>
                      <a:pt x="5422" y="1464"/>
                    </a:lnTo>
                    <a:lnTo>
                      <a:pt x="5430" y="1466"/>
                    </a:lnTo>
                    <a:lnTo>
                      <a:pt x="5434" y="1466"/>
                    </a:lnTo>
                    <a:lnTo>
                      <a:pt x="5438" y="1464"/>
                    </a:lnTo>
                    <a:lnTo>
                      <a:pt x="5448" y="1458"/>
                    </a:lnTo>
                    <a:lnTo>
                      <a:pt x="5448" y="1458"/>
                    </a:lnTo>
                    <a:lnTo>
                      <a:pt x="5454" y="1448"/>
                    </a:lnTo>
                    <a:lnTo>
                      <a:pt x="5458" y="1440"/>
                    </a:lnTo>
                    <a:lnTo>
                      <a:pt x="5456" y="1432"/>
                    </a:lnTo>
                    <a:lnTo>
                      <a:pt x="5450" y="1422"/>
                    </a:lnTo>
                    <a:lnTo>
                      <a:pt x="5436" y="1400"/>
                    </a:lnTo>
                    <a:lnTo>
                      <a:pt x="5428" y="1386"/>
                    </a:lnTo>
                    <a:lnTo>
                      <a:pt x="5420" y="1368"/>
                    </a:lnTo>
                    <a:lnTo>
                      <a:pt x="5420" y="1368"/>
                    </a:lnTo>
                    <a:lnTo>
                      <a:pt x="5412" y="1348"/>
                    </a:lnTo>
                    <a:lnTo>
                      <a:pt x="5404" y="1338"/>
                    </a:lnTo>
                    <a:lnTo>
                      <a:pt x="5400" y="1336"/>
                    </a:lnTo>
                    <a:lnTo>
                      <a:pt x="5396" y="1336"/>
                    </a:lnTo>
                    <a:lnTo>
                      <a:pt x="5390" y="1336"/>
                    </a:lnTo>
                    <a:lnTo>
                      <a:pt x="5384" y="1338"/>
                    </a:lnTo>
                    <a:lnTo>
                      <a:pt x="5378" y="1338"/>
                    </a:lnTo>
                    <a:lnTo>
                      <a:pt x="5376" y="1336"/>
                    </a:lnTo>
                    <a:lnTo>
                      <a:pt x="5374" y="1334"/>
                    </a:lnTo>
                    <a:lnTo>
                      <a:pt x="5368" y="1322"/>
                    </a:lnTo>
                    <a:lnTo>
                      <a:pt x="5368" y="1322"/>
                    </a:lnTo>
                    <a:lnTo>
                      <a:pt x="5368" y="1316"/>
                    </a:lnTo>
                    <a:lnTo>
                      <a:pt x="5368" y="1312"/>
                    </a:lnTo>
                    <a:lnTo>
                      <a:pt x="5372" y="1310"/>
                    </a:lnTo>
                    <a:lnTo>
                      <a:pt x="5374" y="1308"/>
                    </a:lnTo>
                    <a:lnTo>
                      <a:pt x="5384" y="1308"/>
                    </a:lnTo>
                    <a:lnTo>
                      <a:pt x="5398" y="1310"/>
                    </a:lnTo>
                    <a:lnTo>
                      <a:pt x="5414" y="1312"/>
                    </a:lnTo>
                    <a:lnTo>
                      <a:pt x="5432" y="1310"/>
                    </a:lnTo>
                    <a:lnTo>
                      <a:pt x="5440" y="1308"/>
                    </a:lnTo>
                    <a:lnTo>
                      <a:pt x="5448" y="1304"/>
                    </a:lnTo>
                    <a:lnTo>
                      <a:pt x="5454" y="1298"/>
                    </a:lnTo>
                    <a:lnTo>
                      <a:pt x="5462" y="1292"/>
                    </a:lnTo>
                    <a:lnTo>
                      <a:pt x="5462" y="1292"/>
                    </a:lnTo>
                    <a:lnTo>
                      <a:pt x="5478" y="1272"/>
                    </a:lnTo>
                    <a:lnTo>
                      <a:pt x="5478" y="1258"/>
                    </a:lnTo>
                    <a:lnTo>
                      <a:pt x="5478" y="1258"/>
                    </a:lnTo>
                    <a:lnTo>
                      <a:pt x="5486" y="1248"/>
                    </a:lnTo>
                    <a:lnTo>
                      <a:pt x="5490" y="1244"/>
                    </a:lnTo>
                    <a:lnTo>
                      <a:pt x="5490" y="1240"/>
                    </a:lnTo>
                    <a:lnTo>
                      <a:pt x="5490" y="1236"/>
                    </a:lnTo>
                    <a:lnTo>
                      <a:pt x="5488" y="1232"/>
                    </a:lnTo>
                    <a:lnTo>
                      <a:pt x="5480" y="1220"/>
                    </a:lnTo>
                    <a:lnTo>
                      <a:pt x="5480" y="1220"/>
                    </a:lnTo>
                    <a:lnTo>
                      <a:pt x="5478" y="1216"/>
                    </a:lnTo>
                    <a:lnTo>
                      <a:pt x="5478" y="1204"/>
                    </a:lnTo>
                    <a:lnTo>
                      <a:pt x="5478" y="1204"/>
                    </a:lnTo>
                    <a:lnTo>
                      <a:pt x="5480" y="1200"/>
                    </a:lnTo>
                    <a:lnTo>
                      <a:pt x="5484" y="1200"/>
                    </a:lnTo>
                    <a:lnTo>
                      <a:pt x="5490" y="1200"/>
                    </a:lnTo>
                    <a:lnTo>
                      <a:pt x="5496" y="1202"/>
                    </a:lnTo>
                    <a:lnTo>
                      <a:pt x="5502" y="1206"/>
                    </a:lnTo>
                    <a:lnTo>
                      <a:pt x="5510" y="1212"/>
                    </a:lnTo>
                    <a:lnTo>
                      <a:pt x="5516" y="1220"/>
                    </a:lnTo>
                    <a:lnTo>
                      <a:pt x="5520" y="1230"/>
                    </a:lnTo>
                    <a:lnTo>
                      <a:pt x="5520" y="1230"/>
                    </a:lnTo>
                    <a:lnTo>
                      <a:pt x="5524" y="1238"/>
                    </a:lnTo>
                    <a:lnTo>
                      <a:pt x="5530" y="1242"/>
                    </a:lnTo>
                    <a:lnTo>
                      <a:pt x="5536" y="1244"/>
                    </a:lnTo>
                    <a:lnTo>
                      <a:pt x="5542" y="1246"/>
                    </a:lnTo>
                    <a:lnTo>
                      <a:pt x="5556" y="1244"/>
                    </a:lnTo>
                    <a:lnTo>
                      <a:pt x="5572" y="1242"/>
                    </a:lnTo>
                    <a:lnTo>
                      <a:pt x="5588" y="1238"/>
                    </a:lnTo>
                    <a:lnTo>
                      <a:pt x="5596" y="1238"/>
                    </a:lnTo>
                    <a:lnTo>
                      <a:pt x="5604" y="1238"/>
                    </a:lnTo>
                    <a:lnTo>
                      <a:pt x="5610" y="1242"/>
                    </a:lnTo>
                    <a:lnTo>
                      <a:pt x="5618" y="1246"/>
                    </a:lnTo>
                    <a:lnTo>
                      <a:pt x="5624" y="1252"/>
                    </a:lnTo>
                    <a:lnTo>
                      <a:pt x="5628" y="1262"/>
                    </a:lnTo>
                    <a:lnTo>
                      <a:pt x="5628" y="1262"/>
                    </a:lnTo>
                    <a:lnTo>
                      <a:pt x="5638" y="1278"/>
                    </a:lnTo>
                    <a:lnTo>
                      <a:pt x="5648" y="1290"/>
                    </a:lnTo>
                    <a:lnTo>
                      <a:pt x="5656" y="1294"/>
                    </a:lnTo>
                    <a:lnTo>
                      <a:pt x="5664" y="1296"/>
                    </a:lnTo>
                    <a:lnTo>
                      <a:pt x="5674" y="1298"/>
                    </a:lnTo>
                    <a:lnTo>
                      <a:pt x="5682" y="1298"/>
                    </a:lnTo>
                    <a:lnTo>
                      <a:pt x="5690" y="1302"/>
                    </a:lnTo>
                    <a:lnTo>
                      <a:pt x="5696" y="1310"/>
                    </a:lnTo>
                    <a:lnTo>
                      <a:pt x="5696" y="1310"/>
                    </a:lnTo>
                    <a:lnTo>
                      <a:pt x="5700" y="1316"/>
                    </a:lnTo>
                    <a:lnTo>
                      <a:pt x="5706" y="1320"/>
                    </a:lnTo>
                    <a:lnTo>
                      <a:pt x="5710" y="1322"/>
                    </a:lnTo>
                    <a:lnTo>
                      <a:pt x="5716" y="1322"/>
                    </a:lnTo>
                    <a:lnTo>
                      <a:pt x="5726" y="1322"/>
                    </a:lnTo>
                    <a:lnTo>
                      <a:pt x="5738" y="1318"/>
                    </a:lnTo>
                    <a:lnTo>
                      <a:pt x="5748" y="1310"/>
                    </a:lnTo>
                    <a:lnTo>
                      <a:pt x="5756" y="1298"/>
                    </a:lnTo>
                    <a:lnTo>
                      <a:pt x="5764" y="1284"/>
                    </a:lnTo>
                    <a:lnTo>
                      <a:pt x="5766" y="1268"/>
                    </a:lnTo>
                    <a:lnTo>
                      <a:pt x="5766" y="1268"/>
                    </a:lnTo>
                    <a:lnTo>
                      <a:pt x="5768" y="1254"/>
                    </a:lnTo>
                    <a:lnTo>
                      <a:pt x="5770" y="1248"/>
                    </a:lnTo>
                    <a:lnTo>
                      <a:pt x="5774" y="1246"/>
                    </a:lnTo>
                    <a:lnTo>
                      <a:pt x="5782" y="1240"/>
                    </a:lnTo>
                    <a:lnTo>
                      <a:pt x="5792" y="1238"/>
                    </a:lnTo>
                    <a:lnTo>
                      <a:pt x="5802" y="1238"/>
                    </a:lnTo>
                    <a:lnTo>
                      <a:pt x="5816" y="1234"/>
                    </a:lnTo>
                    <a:lnTo>
                      <a:pt x="5830" y="1228"/>
                    </a:lnTo>
                    <a:lnTo>
                      <a:pt x="5836" y="1222"/>
                    </a:lnTo>
                    <a:lnTo>
                      <a:pt x="5844" y="1216"/>
                    </a:lnTo>
                    <a:lnTo>
                      <a:pt x="5844" y="1216"/>
                    </a:lnTo>
                    <a:lnTo>
                      <a:pt x="5854" y="1204"/>
                    </a:lnTo>
                    <a:lnTo>
                      <a:pt x="5856" y="1198"/>
                    </a:lnTo>
                    <a:lnTo>
                      <a:pt x="5856" y="1196"/>
                    </a:lnTo>
                    <a:lnTo>
                      <a:pt x="5854" y="1194"/>
                    </a:lnTo>
                    <a:lnTo>
                      <a:pt x="5846" y="1194"/>
                    </a:lnTo>
                    <a:lnTo>
                      <a:pt x="5836" y="1192"/>
                    </a:lnTo>
                    <a:lnTo>
                      <a:pt x="5824" y="1188"/>
                    </a:lnTo>
                    <a:lnTo>
                      <a:pt x="5816" y="1184"/>
                    </a:lnTo>
                    <a:lnTo>
                      <a:pt x="5810" y="1180"/>
                    </a:lnTo>
                    <a:lnTo>
                      <a:pt x="5804" y="1174"/>
                    </a:lnTo>
                    <a:lnTo>
                      <a:pt x="5798" y="1166"/>
                    </a:lnTo>
                    <a:lnTo>
                      <a:pt x="5798" y="116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grpSp>
        <p:sp>
          <p:nvSpPr>
            <p:cNvPr id="52" name="Freeform 16"/>
            <p:cNvSpPr>
              <a:spLocks/>
            </p:cNvSpPr>
            <p:nvPr/>
          </p:nvSpPr>
          <p:spPr bwMode="auto">
            <a:xfrm>
              <a:off x="2253323" y="2479274"/>
              <a:ext cx="1970740" cy="3370286"/>
            </a:xfrm>
            <a:custGeom>
              <a:avLst/>
              <a:gdLst/>
              <a:ahLst/>
              <a:cxnLst>
                <a:cxn ang="0">
                  <a:pos x="5457" y="16108"/>
                </a:cxn>
                <a:cxn ang="0">
                  <a:pos x="5123" y="16028"/>
                </a:cxn>
                <a:cxn ang="0">
                  <a:pos x="4795" y="15934"/>
                </a:cxn>
                <a:cxn ang="0">
                  <a:pos x="4474" y="15829"/>
                </a:cxn>
                <a:cxn ang="0">
                  <a:pos x="4161" y="15715"/>
                </a:cxn>
                <a:cxn ang="0">
                  <a:pos x="3853" y="15595"/>
                </a:cxn>
                <a:cxn ang="0">
                  <a:pos x="3553" y="15471"/>
                </a:cxn>
                <a:cxn ang="0">
                  <a:pos x="2968" y="15220"/>
                </a:cxn>
                <a:cxn ang="0">
                  <a:pos x="2405" y="14982"/>
                </a:cxn>
                <a:cxn ang="0">
                  <a:pos x="2341" y="14581"/>
                </a:cxn>
                <a:cxn ang="0">
                  <a:pos x="2273" y="14148"/>
                </a:cxn>
                <a:cxn ang="0">
                  <a:pos x="2202" y="13687"/>
                </a:cxn>
                <a:cxn ang="0">
                  <a:pos x="2130" y="13206"/>
                </a:cxn>
                <a:cxn ang="0">
                  <a:pos x="2057" y="12714"/>
                </a:cxn>
                <a:cxn ang="0">
                  <a:pos x="1975" y="12181"/>
                </a:cxn>
                <a:cxn ang="0">
                  <a:pos x="1857" y="11570"/>
                </a:cxn>
                <a:cxn ang="0">
                  <a:pos x="1711" y="10900"/>
                </a:cxn>
                <a:cxn ang="0">
                  <a:pos x="1539" y="10187"/>
                </a:cxn>
                <a:cxn ang="0">
                  <a:pos x="1349" y="9445"/>
                </a:cxn>
                <a:cxn ang="0">
                  <a:pos x="1147" y="8689"/>
                </a:cxn>
                <a:cxn ang="0">
                  <a:pos x="939" y="7933"/>
                </a:cxn>
                <a:cxn ang="0">
                  <a:pos x="528" y="6479"/>
                </a:cxn>
                <a:cxn ang="0">
                  <a:pos x="163" y="5200"/>
                </a:cxn>
                <a:cxn ang="0">
                  <a:pos x="99" y="4916"/>
                </a:cxn>
                <a:cxn ang="0">
                  <a:pos x="51" y="4589"/>
                </a:cxn>
                <a:cxn ang="0">
                  <a:pos x="20" y="4226"/>
                </a:cxn>
                <a:cxn ang="0">
                  <a:pos x="4" y="3831"/>
                </a:cxn>
                <a:cxn ang="0">
                  <a:pos x="2" y="3409"/>
                </a:cxn>
                <a:cxn ang="0">
                  <a:pos x="12" y="2964"/>
                </a:cxn>
                <a:cxn ang="0">
                  <a:pos x="32" y="2503"/>
                </a:cxn>
                <a:cxn ang="0">
                  <a:pos x="63" y="2029"/>
                </a:cxn>
                <a:cxn ang="0">
                  <a:pos x="101" y="1550"/>
                </a:cxn>
                <a:cxn ang="0">
                  <a:pos x="146" y="1067"/>
                </a:cxn>
                <a:cxn ang="0">
                  <a:pos x="204" y="648"/>
                </a:cxn>
                <a:cxn ang="0">
                  <a:pos x="276" y="362"/>
                </a:cxn>
                <a:cxn ang="0">
                  <a:pos x="347" y="89"/>
                </a:cxn>
                <a:cxn ang="0">
                  <a:pos x="343" y="433"/>
                </a:cxn>
                <a:cxn ang="0">
                  <a:pos x="319" y="980"/>
                </a:cxn>
                <a:cxn ang="0">
                  <a:pos x="311" y="1306"/>
                </a:cxn>
                <a:cxn ang="0">
                  <a:pos x="308" y="1628"/>
                </a:cxn>
                <a:cxn ang="0">
                  <a:pos x="312" y="1945"/>
                </a:cxn>
                <a:cxn ang="0">
                  <a:pos x="322" y="2253"/>
                </a:cxn>
                <a:cxn ang="0">
                  <a:pos x="340" y="2552"/>
                </a:cxn>
                <a:cxn ang="0">
                  <a:pos x="367" y="2839"/>
                </a:cxn>
                <a:cxn ang="0">
                  <a:pos x="402" y="3112"/>
                </a:cxn>
                <a:cxn ang="0">
                  <a:pos x="472" y="3506"/>
                </a:cxn>
                <a:cxn ang="0">
                  <a:pos x="653" y="4297"/>
                </a:cxn>
                <a:cxn ang="0">
                  <a:pos x="902" y="5247"/>
                </a:cxn>
                <a:cxn ang="0">
                  <a:pos x="1207" y="6314"/>
                </a:cxn>
                <a:cxn ang="0">
                  <a:pos x="1556" y="7453"/>
                </a:cxn>
                <a:cxn ang="0">
                  <a:pos x="1933" y="8619"/>
                </a:cxn>
                <a:cxn ang="0">
                  <a:pos x="2328" y="9768"/>
                </a:cxn>
                <a:cxn ang="0">
                  <a:pos x="2726" y="10857"/>
                </a:cxn>
                <a:cxn ang="0">
                  <a:pos x="3113" y="11842"/>
                </a:cxn>
                <a:cxn ang="0">
                  <a:pos x="3477" y="12677"/>
                </a:cxn>
                <a:cxn ang="0">
                  <a:pos x="3806" y="13320"/>
                </a:cxn>
                <a:cxn ang="0">
                  <a:pos x="4161" y="13883"/>
                </a:cxn>
                <a:cxn ang="0">
                  <a:pos x="4542" y="14464"/>
                </a:cxn>
                <a:cxn ang="0">
                  <a:pos x="4904" y="15008"/>
                </a:cxn>
                <a:cxn ang="0">
                  <a:pos x="5236" y="15499"/>
                </a:cxn>
                <a:cxn ang="0">
                  <a:pos x="5524" y="15920"/>
                </a:cxn>
              </a:cxnLst>
              <a:rect l="0" t="0" r="r" b="b"/>
              <a:pathLst>
                <a:path w="5685" h="16153">
                  <a:moveTo>
                    <a:pt x="5685" y="16153"/>
                  </a:moveTo>
                  <a:lnTo>
                    <a:pt x="5571" y="16132"/>
                  </a:lnTo>
                  <a:lnTo>
                    <a:pt x="5457" y="16108"/>
                  </a:lnTo>
                  <a:lnTo>
                    <a:pt x="5346" y="16083"/>
                  </a:lnTo>
                  <a:lnTo>
                    <a:pt x="5234" y="16057"/>
                  </a:lnTo>
                  <a:lnTo>
                    <a:pt x="5123" y="16028"/>
                  </a:lnTo>
                  <a:lnTo>
                    <a:pt x="5013" y="15999"/>
                  </a:lnTo>
                  <a:lnTo>
                    <a:pt x="4903" y="15967"/>
                  </a:lnTo>
                  <a:lnTo>
                    <a:pt x="4795" y="15934"/>
                  </a:lnTo>
                  <a:lnTo>
                    <a:pt x="4688" y="15901"/>
                  </a:lnTo>
                  <a:lnTo>
                    <a:pt x="4580" y="15866"/>
                  </a:lnTo>
                  <a:lnTo>
                    <a:pt x="4474" y="15829"/>
                  </a:lnTo>
                  <a:lnTo>
                    <a:pt x="4369" y="15792"/>
                  </a:lnTo>
                  <a:lnTo>
                    <a:pt x="4265" y="15755"/>
                  </a:lnTo>
                  <a:lnTo>
                    <a:pt x="4161" y="15715"/>
                  </a:lnTo>
                  <a:lnTo>
                    <a:pt x="4058" y="15676"/>
                  </a:lnTo>
                  <a:lnTo>
                    <a:pt x="3955" y="15636"/>
                  </a:lnTo>
                  <a:lnTo>
                    <a:pt x="3853" y="15595"/>
                  </a:lnTo>
                  <a:lnTo>
                    <a:pt x="3753" y="15554"/>
                  </a:lnTo>
                  <a:lnTo>
                    <a:pt x="3652" y="15512"/>
                  </a:lnTo>
                  <a:lnTo>
                    <a:pt x="3553" y="15471"/>
                  </a:lnTo>
                  <a:lnTo>
                    <a:pt x="3355" y="15387"/>
                  </a:lnTo>
                  <a:lnTo>
                    <a:pt x="3160" y="15302"/>
                  </a:lnTo>
                  <a:lnTo>
                    <a:pt x="2968" y="15220"/>
                  </a:lnTo>
                  <a:lnTo>
                    <a:pt x="2777" y="15138"/>
                  </a:lnTo>
                  <a:lnTo>
                    <a:pt x="2590" y="15059"/>
                  </a:lnTo>
                  <a:lnTo>
                    <a:pt x="2405" y="14982"/>
                  </a:lnTo>
                  <a:lnTo>
                    <a:pt x="2384" y="14852"/>
                  </a:lnTo>
                  <a:lnTo>
                    <a:pt x="2363" y="14719"/>
                  </a:lnTo>
                  <a:lnTo>
                    <a:pt x="2341" y="14581"/>
                  </a:lnTo>
                  <a:lnTo>
                    <a:pt x="2319" y="14440"/>
                  </a:lnTo>
                  <a:lnTo>
                    <a:pt x="2295" y="14295"/>
                  </a:lnTo>
                  <a:lnTo>
                    <a:pt x="2273" y="14148"/>
                  </a:lnTo>
                  <a:lnTo>
                    <a:pt x="2249" y="13996"/>
                  </a:lnTo>
                  <a:lnTo>
                    <a:pt x="2225" y="13843"/>
                  </a:lnTo>
                  <a:lnTo>
                    <a:pt x="2202" y="13687"/>
                  </a:lnTo>
                  <a:lnTo>
                    <a:pt x="2178" y="13529"/>
                  </a:lnTo>
                  <a:lnTo>
                    <a:pt x="2154" y="13369"/>
                  </a:lnTo>
                  <a:lnTo>
                    <a:pt x="2130" y="13206"/>
                  </a:lnTo>
                  <a:lnTo>
                    <a:pt x="2106" y="13044"/>
                  </a:lnTo>
                  <a:lnTo>
                    <a:pt x="2081" y="12880"/>
                  </a:lnTo>
                  <a:lnTo>
                    <a:pt x="2057" y="12714"/>
                  </a:lnTo>
                  <a:lnTo>
                    <a:pt x="2034" y="12549"/>
                  </a:lnTo>
                  <a:lnTo>
                    <a:pt x="2006" y="12370"/>
                  </a:lnTo>
                  <a:lnTo>
                    <a:pt x="1975" y="12181"/>
                  </a:lnTo>
                  <a:lnTo>
                    <a:pt x="1940" y="11985"/>
                  </a:lnTo>
                  <a:lnTo>
                    <a:pt x="1900" y="11781"/>
                  </a:lnTo>
                  <a:lnTo>
                    <a:pt x="1857" y="11570"/>
                  </a:lnTo>
                  <a:lnTo>
                    <a:pt x="1811" y="11352"/>
                  </a:lnTo>
                  <a:lnTo>
                    <a:pt x="1763" y="11128"/>
                  </a:lnTo>
                  <a:lnTo>
                    <a:pt x="1711" y="10900"/>
                  </a:lnTo>
                  <a:lnTo>
                    <a:pt x="1655" y="10667"/>
                  </a:lnTo>
                  <a:lnTo>
                    <a:pt x="1598" y="10428"/>
                  </a:lnTo>
                  <a:lnTo>
                    <a:pt x="1539" y="10187"/>
                  </a:lnTo>
                  <a:lnTo>
                    <a:pt x="1477" y="9942"/>
                  </a:lnTo>
                  <a:lnTo>
                    <a:pt x="1414" y="9695"/>
                  </a:lnTo>
                  <a:lnTo>
                    <a:pt x="1349" y="9445"/>
                  </a:lnTo>
                  <a:lnTo>
                    <a:pt x="1283" y="9194"/>
                  </a:lnTo>
                  <a:lnTo>
                    <a:pt x="1215" y="8942"/>
                  </a:lnTo>
                  <a:lnTo>
                    <a:pt x="1147" y="8689"/>
                  </a:lnTo>
                  <a:lnTo>
                    <a:pt x="1079" y="8436"/>
                  </a:lnTo>
                  <a:lnTo>
                    <a:pt x="1009" y="8183"/>
                  </a:lnTo>
                  <a:lnTo>
                    <a:pt x="939" y="7933"/>
                  </a:lnTo>
                  <a:lnTo>
                    <a:pt x="800" y="7436"/>
                  </a:lnTo>
                  <a:lnTo>
                    <a:pt x="662" y="6950"/>
                  </a:lnTo>
                  <a:lnTo>
                    <a:pt x="528" y="6479"/>
                  </a:lnTo>
                  <a:lnTo>
                    <a:pt x="399" y="6027"/>
                  </a:lnTo>
                  <a:lnTo>
                    <a:pt x="277" y="5600"/>
                  </a:lnTo>
                  <a:lnTo>
                    <a:pt x="163" y="5200"/>
                  </a:lnTo>
                  <a:lnTo>
                    <a:pt x="139" y="5110"/>
                  </a:lnTo>
                  <a:lnTo>
                    <a:pt x="118" y="5015"/>
                  </a:lnTo>
                  <a:lnTo>
                    <a:pt x="99" y="4916"/>
                  </a:lnTo>
                  <a:lnTo>
                    <a:pt x="81" y="4811"/>
                  </a:lnTo>
                  <a:lnTo>
                    <a:pt x="65" y="4702"/>
                  </a:lnTo>
                  <a:lnTo>
                    <a:pt x="51" y="4589"/>
                  </a:lnTo>
                  <a:lnTo>
                    <a:pt x="39" y="4472"/>
                  </a:lnTo>
                  <a:lnTo>
                    <a:pt x="29" y="4350"/>
                  </a:lnTo>
                  <a:lnTo>
                    <a:pt x="20" y="4226"/>
                  </a:lnTo>
                  <a:lnTo>
                    <a:pt x="13" y="4097"/>
                  </a:lnTo>
                  <a:lnTo>
                    <a:pt x="7" y="3965"/>
                  </a:lnTo>
                  <a:lnTo>
                    <a:pt x="4" y="3831"/>
                  </a:lnTo>
                  <a:lnTo>
                    <a:pt x="2" y="3692"/>
                  </a:lnTo>
                  <a:lnTo>
                    <a:pt x="0" y="3552"/>
                  </a:lnTo>
                  <a:lnTo>
                    <a:pt x="2" y="3409"/>
                  </a:lnTo>
                  <a:lnTo>
                    <a:pt x="4" y="3262"/>
                  </a:lnTo>
                  <a:lnTo>
                    <a:pt x="7" y="3114"/>
                  </a:lnTo>
                  <a:lnTo>
                    <a:pt x="12" y="2964"/>
                  </a:lnTo>
                  <a:lnTo>
                    <a:pt x="17" y="2812"/>
                  </a:lnTo>
                  <a:lnTo>
                    <a:pt x="24" y="2658"/>
                  </a:lnTo>
                  <a:lnTo>
                    <a:pt x="32" y="2503"/>
                  </a:lnTo>
                  <a:lnTo>
                    <a:pt x="41" y="2347"/>
                  </a:lnTo>
                  <a:lnTo>
                    <a:pt x="51" y="2189"/>
                  </a:lnTo>
                  <a:lnTo>
                    <a:pt x="63" y="2029"/>
                  </a:lnTo>
                  <a:lnTo>
                    <a:pt x="74" y="1870"/>
                  </a:lnTo>
                  <a:lnTo>
                    <a:pt x="87" y="1710"/>
                  </a:lnTo>
                  <a:lnTo>
                    <a:pt x="101" y="1550"/>
                  </a:lnTo>
                  <a:lnTo>
                    <a:pt x="115" y="1388"/>
                  </a:lnTo>
                  <a:lnTo>
                    <a:pt x="130" y="1227"/>
                  </a:lnTo>
                  <a:lnTo>
                    <a:pt x="146" y="1067"/>
                  </a:lnTo>
                  <a:lnTo>
                    <a:pt x="162" y="906"/>
                  </a:lnTo>
                  <a:lnTo>
                    <a:pt x="179" y="746"/>
                  </a:lnTo>
                  <a:lnTo>
                    <a:pt x="204" y="648"/>
                  </a:lnTo>
                  <a:lnTo>
                    <a:pt x="227" y="552"/>
                  </a:lnTo>
                  <a:lnTo>
                    <a:pt x="252" y="456"/>
                  </a:lnTo>
                  <a:lnTo>
                    <a:pt x="276" y="362"/>
                  </a:lnTo>
                  <a:lnTo>
                    <a:pt x="300" y="270"/>
                  </a:lnTo>
                  <a:lnTo>
                    <a:pt x="323" y="178"/>
                  </a:lnTo>
                  <a:lnTo>
                    <a:pt x="347" y="89"/>
                  </a:lnTo>
                  <a:lnTo>
                    <a:pt x="371" y="0"/>
                  </a:lnTo>
                  <a:lnTo>
                    <a:pt x="356" y="217"/>
                  </a:lnTo>
                  <a:lnTo>
                    <a:pt x="343" y="433"/>
                  </a:lnTo>
                  <a:lnTo>
                    <a:pt x="331" y="652"/>
                  </a:lnTo>
                  <a:lnTo>
                    <a:pt x="322" y="870"/>
                  </a:lnTo>
                  <a:lnTo>
                    <a:pt x="319" y="980"/>
                  </a:lnTo>
                  <a:lnTo>
                    <a:pt x="315" y="1088"/>
                  </a:lnTo>
                  <a:lnTo>
                    <a:pt x="312" y="1197"/>
                  </a:lnTo>
                  <a:lnTo>
                    <a:pt x="311" y="1306"/>
                  </a:lnTo>
                  <a:lnTo>
                    <a:pt x="309" y="1413"/>
                  </a:lnTo>
                  <a:lnTo>
                    <a:pt x="309" y="1520"/>
                  </a:lnTo>
                  <a:lnTo>
                    <a:pt x="308" y="1628"/>
                  </a:lnTo>
                  <a:lnTo>
                    <a:pt x="309" y="1734"/>
                  </a:lnTo>
                  <a:lnTo>
                    <a:pt x="310" y="1840"/>
                  </a:lnTo>
                  <a:lnTo>
                    <a:pt x="312" y="1945"/>
                  </a:lnTo>
                  <a:lnTo>
                    <a:pt x="314" y="2049"/>
                  </a:lnTo>
                  <a:lnTo>
                    <a:pt x="318" y="2151"/>
                  </a:lnTo>
                  <a:lnTo>
                    <a:pt x="322" y="2253"/>
                  </a:lnTo>
                  <a:lnTo>
                    <a:pt x="328" y="2353"/>
                  </a:lnTo>
                  <a:lnTo>
                    <a:pt x="334" y="2454"/>
                  </a:lnTo>
                  <a:lnTo>
                    <a:pt x="340" y="2552"/>
                  </a:lnTo>
                  <a:lnTo>
                    <a:pt x="348" y="2649"/>
                  </a:lnTo>
                  <a:lnTo>
                    <a:pt x="357" y="2745"/>
                  </a:lnTo>
                  <a:lnTo>
                    <a:pt x="367" y="2839"/>
                  </a:lnTo>
                  <a:lnTo>
                    <a:pt x="378" y="2931"/>
                  </a:lnTo>
                  <a:lnTo>
                    <a:pt x="389" y="3023"/>
                  </a:lnTo>
                  <a:lnTo>
                    <a:pt x="402" y="3112"/>
                  </a:lnTo>
                  <a:lnTo>
                    <a:pt x="416" y="3200"/>
                  </a:lnTo>
                  <a:lnTo>
                    <a:pt x="431" y="3285"/>
                  </a:lnTo>
                  <a:lnTo>
                    <a:pt x="472" y="3506"/>
                  </a:lnTo>
                  <a:lnTo>
                    <a:pt x="524" y="3748"/>
                  </a:lnTo>
                  <a:lnTo>
                    <a:pt x="584" y="4014"/>
                  </a:lnTo>
                  <a:lnTo>
                    <a:pt x="653" y="4297"/>
                  </a:lnTo>
                  <a:lnTo>
                    <a:pt x="729" y="4598"/>
                  </a:lnTo>
                  <a:lnTo>
                    <a:pt x="812" y="4916"/>
                  </a:lnTo>
                  <a:lnTo>
                    <a:pt x="902" y="5247"/>
                  </a:lnTo>
                  <a:lnTo>
                    <a:pt x="998" y="5593"/>
                  </a:lnTo>
                  <a:lnTo>
                    <a:pt x="1100" y="5948"/>
                  </a:lnTo>
                  <a:lnTo>
                    <a:pt x="1207" y="6314"/>
                  </a:lnTo>
                  <a:lnTo>
                    <a:pt x="1319" y="6688"/>
                  </a:lnTo>
                  <a:lnTo>
                    <a:pt x="1435" y="7068"/>
                  </a:lnTo>
                  <a:lnTo>
                    <a:pt x="1556" y="7453"/>
                  </a:lnTo>
                  <a:lnTo>
                    <a:pt x="1679" y="7840"/>
                  </a:lnTo>
                  <a:lnTo>
                    <a:pt x="1806" y="8230"/>
                  </a:lnTo>
                  <a:lnTo>
                    <a:pt x="1933" y="8619"/>
                  </a:lnTo>
                  <a:lnTo>
                    <a:pt x="2064" y="9006"/>
                  </a:lnTo>
                  <a:lnTo>
                    <a:pt x="2195" y="9390"/>
                  </a:lnTo>
                  <a:lnTo>
                    <a:pt x="2328" y="9768"/>
                  </a:lnTo>
                  <a:lnTo>
                    <a:pt x="2460" y="10139"/>
                  </a:lnTo>
                  <a:lnTo>
                    <a:pt x="2593" y="10503"/>
                  </a:lnTo>
                  <a:lnTo>
                    <a:pt x="2726" y="10857"/>
                  </a:lnTo>
                  <a:lnTo>
                    <a:pt x="2857" y="11199"/>
                  </a:lnTo>
                  <a:lnTo>
                    <a:pt x="2986" y="11528"/>
                  </a:lnTo>
                  <a:lnTo>
                    <a:pt x="3113" y="11842"/>
                  </a:lnTo>
                  <a:lnTo>
                    <a:pt x="3238" y="12138"/>
                  </a:lnTo>
                  <a:lnTo>
                    <a:pt x="3360" y="12418"/>
                  </a:lnTo>
                  <a:lnTo>
                    <a:pt x="3477" y="12677"/>
                  </a:lnTo>
                  <a:lnTo>
                    <a:pt x="3591" y="12915"/>
                  </a:lnTo>
                  <a:lnTo>
                    <a:pt x="3701" y="13131"/>
                  </a:lnTo>
                  <a:lnTo>
                    <a:pt x="3806" y="13320"/>
                  </a:lnTo>
                  <a:lnTo>
                    <a:pt x="3904" y="13485"/>
                  </a:lnTo>
                  <a:lnTo>
                    <a:pt x="4033" y="13685"/>
                  </a:lnTo>
                  <a:lnTo>
                    <a:pt x="4161" y="13883"/>
                  </a:lnTo>
                  <a:lnTo>
                    <a:pt x="4289" y="14080"/>
                  </a:lnTo>
                  <a:lnTo>
                    <a:pt x="4417" y="14274"/>
                  </a:lnTo>
                  <a:lnTo>
                    <a:pt x="4542" y="14464"/>
                  </a:lnTo>
                  <a:lnTo>
                    <a:pt x="4665" y="14650"/>
                  </a:lnTo>
                  <a:lnTo>
                    <a:pt x="4787" y="14832"/>
                  </a:lnTo>
                  <a:lnTo>
                    <a:pt x="4904" y="15008"/>
                  </a:lnTo>
                  <a:lnTo>
                    <a:pt x="5019" y="15178"/>
                  </a:lnTo>
                  <a:lnTo>
                    <a:pt x="5130" y="15342"/>
                  </a:lnTo>
                  <a:lnTo>
                    <a:pt x="5236" y="15499"/>
                  </a:lnTo>
                  <a:lnTo>
                    <a:pt x="5338" y="15648"/>
                  </a:lnTo>
                  <a:lnTo>
                    <a:pt x="5434" y="15789"/>
                  </a:lnTo>
                  <a:lnTo>
                    <a:pt x="5524" y="15920"/>
                  </a:lnTo>
                  <a:lnTo>
                    <a:pt x="5608" y="16042"/>
                  </a:lnTo>
                  <a:lnTo>
                    <a:pt x="5685" y="16153"/>
                  </a:lnTo>
                  <a:close/>
                </a:path>
              </a:pathLst>
            </a:custGeom>
            <a:gradFill flip="none" rotWithShape="1">
              <a:gsLst>
                <a:gs pos="0">
                  <a:schemeClr val="bg1">
                    <a:lumMod val="100000"/>
                    <a:alpha val="0"/>
                  </a:schemeClr>
                </a:gs>
                <a:gs pos="100000">
                  <a:schemeClr val="bg1">
                    <a:alpha val="46000"/>
                    <a:lumMod val="86000"/>
                  </a:schemeClr>
                </a:gs>
              </a:gsLst>
              <a:lin ang="18900000" scaled="1"/>
              <a:tileRect/>
            </a:gradFill>
            <a:ln w="9525">
              <a:noFill/>
              <a:round/>
              <a:headEnd/>
              <a:tailEnd/>
            </a:ln>
            <a:effectLst>
              <a:outerShdw blurRad="50800" dist="38100" dir="5400000" algn="t" rotWithShape="0">
                <a:prstClr val="black">
                  <a:alpha val="20000"/>
                </a:prstClr>
              </a:outerShdw>
            </a:effectLst>
          </p:spPr>
          <p:txBody>
            <a:bodyPr/>
            <a:lstStyle/>
            <a:p>
              <a:pPr defTabSz="457200">
                <a:defRPr/>
              </a:pPr>
              <a:endParaRPr lang="id-ID">
                <a:solidFill>
                  <a:prstClr val="black"/>
                </a:solidFill>
                <a:latin typeface="+mn-lt"/>
                <a:ea typeface="MS PGothic" pitchFamily="34" charset="-128"/>
                <a:cs typeface="+mn-cs"/>
              </a:endParaRPr>
            </a:p>
          </p:txBody>
        </p:sp>
        <p:sp>
          <p:nvSpPr>
            <p:cNvPr id="53" name="Freeform 17"/>
            <p:cNvSpPr>
              <a:spLocks/>
            </p:cNvSpPr>
            <p:nvPr/>
          </p:nvSpPr>
          <p:spPr bwMode="auto">
            <a:xfrm>
              <a:off x="3596192" y="2687994"/>
              <a:ext cx="579467" cy="1565397"/>
            </a:xfrm>
            <a:custGeom>
              <a:avLst/>
              <a:gdLst/>
              <a:ahLst/>
              <a:cxnLst>
                <a:cxn ang="0">
                  <a:pos x="604" y="38"/>
                </a:cxn>
                <a:cxn ang="0">
                  <a:pos x="679" y="112"/>
                </a:cxn>
                <a:cxn ang="0">
                  <a:pos x="787" y="226"/>
                </a:cxn>
                <a:cxn ang="0">
                  <a:pos x="923" y="366"/>
                </a:cxn>
                <a:cxn ang="0">
                  <a:pos x="1051" y="493"/>
                </a:cxn>
                <a:cxn ang="0">
                  <a:pos x="1174" y="607"/>
                </a:cxn>
                <a:cxn ang="0">
                  <a:pos x="1292" y="709"/>
                </a:cxn>
                <a:cxn ang="0">
                  <a:pos x="1405" y="801"/>
                </a:cxn>
                <a:cxn ang="0">
                  <a:pos x="1513" y="882"/>
                </a:cxn>
                <a:cxn ang="0">
                  <a:pos x="1620" y="953"/>
                </a:cxn>
                <a:cxn ang="0">
                  <a:pos x="1643" y="1050"/>
                </a:cxn>
                <a:cxn ang="0">
                  <a:pos x="1585" y="1181"/>
                </a:cxn>
                <a:cxn ang="0">
                  <a:pos x="1528" y="1313"/>
                </a:cxn>
                <a:cxn ang="0">
                  <a:pos x="1472" y="1444"/>
                </a:cxn>
                <a:cxn ang="0">
                  <a:pos x="1418" y="1575"/>
                </a:cxn>
                <a:cxn ang="0">
                  <a:pos x="1367" y="1705"/>
                </a:cxn>
                <a:cxn ang="0">
                  <a:pos x="1319" y="1834"/>
                </a:cxn>
                <a:cxn ang="0">
                  <a:pos x="1273" y="1960"/>
                </a:cxn>
                <a:cxn ang="0">
                  <a:pos x="1209" y="2151"/>
                </a:cxn>
                <a:cxn ang="0">
                  <a:pos x="1135" y="2455"/>
                </a:cxn>
                <a:cxn ang="0">
                  <a:pos x="1067" y="2812"/>
                </a:cxn>
                <a:cxn ang="0">
                  <a:pos x="1006" y="3211"/>
                </a:cxn>
                <a:cxn ang="0">
                  <a:pos x="953" y="3641"/>
                </a:cxn>
                <a:cxn ang="0">
                  <a:pos x="907" y="4092"/>
                </a:cxn>
                <a:cxn ang="0">
                  <a:pos x="866" y="4555"/>
                </a:cxn>
                <a:cxn ang="0">
                  <a:pos x="831" y="5017"/>
                </a:cxn>
                <a:cxn ang="0">
                  <a:pos x="802" y="5469"/>
                </a:cxn>
                <a:cxn ang="0">
                  <a:pos x="778" y="5902"/>
                </a:cxn>
                <a:cxn ang="0">
                  <a:pos x="750" y="6490"/>
                </a:cxn>
                <a:cxn ang="0">
                  <a:pos x="727" y="7105"/>
                </a:cxn>
                <a:cxn ang="0">
                  <a:pos x="717" y="7452"/>
                </a:cxn>
                <a:cxn ang="0">
                  <a:pos x="706" y="7463"/>
                </a:cxn>
                <a:cxn ang="0">
                  <a:pos x="631" y="7183"/>
                </a:cxn>
                <a:cxn ang="0">
                  <a:pos x="541" y="6818"/>
                </a:cxn>
                <a:cxn ang="0">
                  <a:pos x="471" y="6514"/>
                </a:cxn>
                <a:cxn ang="0">
                  <a:pos x="397" y="6170"/>
                </a:cxn>
                <a:cxn ang="0">
                  <a:pos x="320" y="5791"/>
                </a:cxn>
                <a:cxn ang="0">
                  <a:pos x="244" y="5385"/>
                </a:cxn>
                <a:cxn ang="0">
                  <a:pos x="174" y="4956"/>
                </a:cxn>
                <a:cxn ang="0">
                  <a:pos x="112" y="4513"/>
                </a:cxn>
                <a:cxn ang="0">
                  <a:pos x="60" y="4063"/>
                </a:cxn>
                <a:cxn ang="0">
                  <a:pos x="23" y="3610"/>
                </a:cxn>
                <a:cxn ang="0">
                  <a:pos x="3" y="3163"/>
                </a:cxn>
                <a:cxn ang="0">
                  <a:pos x="3" y="2727"/>
                </a:cxn>
                <a:cxn ang="0">
                  <a:pos x="26" y="2311"/>
                </a:cxn>
                <a:cxn ang="0">
                  <a:pos x="58" y="2037"/>
                </a:cxn>
                <a:cxn ang="0">
                  <a:pos x="79" y="1890"/>
                </a:cxn>
                <a:cxn ang="0">
                  <a:pos x="103" y="1744"/>
                </a:cxn>
                <a:cxn ang="0">
                  <a:pos x="128" y="1601"/>
                </a:cxn>
                <a:cxn ang="0">
                  <a:pos x="170" y="1389"/>
                </a:cxn>
                <a:cxn ang="0">
                  <a:pos x="232" y="1114"/>
                </a:cxn>
                <a:cxn ang="0">
                  <a:pos x="300" y="848"/>
                </a:cxn>
                <a:cxn ang="0">
                  <a:pos x="373" y="593"/>
                </a:cxn>
                <a:cxn ang="0">
                  <a:pos x="449" y="347"/>
                </a:cxn>
                <a:cxn ang="0">
                  <a:pos x="528" y="113"/>
                </a:cxn>
              </a:cxnLst>
              <a:rect l="0" t="0" r="r" b="b"/>
              <a:pathLst>
                <a:path w="1673" h="7500">
                  <a:moveTo>
                    <a:pt x="567" y="0"/>
                  </a:moveTo>
                  <a:lnTo>
                    <a:pt x="604" y="38"/>
                  </a:lnTo>
                  <a:lnTo>
                    <a:pt x="642" y="74"/>
                  </a:lnTo>
                  <a:lnTo>
                    <a:pt x="679" y="112"/>
                  </a:lnTo>
                  <a:lnTo>
                    <a:pt x="716" y="152"/>
                  </a:lnTo>
                  <a:lnTo>
                    <a:pt x="787" y="226"/>
                  </a:lnTo>
                  <a:lnTo>
                    <a:pt x="856" y="298"/>
                  </a:lnTo>
                  <a:lnTo>
                    <a:pt x="923" y="366"/>
                  </a:lnTo>
                  <a:lnTo>
                    <a:pt x="988" y="432"/>
                  </a:lnTo>
                  <a:lnTo>
                    <a:pt x="1051" y="493"/>
                  </a:lnTo>
                  <a:lnTo>
                    <a:pt x="1113" y="551"/>
                  </a:lnTo>
                  <a:lnTo>
                    <a:pt x="1174" y="607"/>
                  </a:lnTo>
                  <a:lnTo>
                    <a:pt x="1233" y="660"/>
                  </a:lnTo>
                  <a:lnTo>
                    <a:pt x="1292" y="709"/>
                  </a:lnTo>
                  <a:lnTo>
                    <a:pt x="1348" y="757"/>
                  </a:lnTo>
                  <a:lnTo>
                    <a:pt x="1405" y="801"/>
                  </a:lnTo>
                  <a:lnTo>
                    <a:pt x="1459" y="842"/>
                  </a:lnTo>
                  <a:lnTo>
                    <a:pt x="1513" y="882"/>
                  </a:lnTo>
                  <a:lnTo>
                    <a:pt x="1567" y="918"/>
                  </a:lnTo>
                  <a:lnTo>
                    <a:pt x="1620" y="953"/>
                  </a:lnTo>
                  <a:lnTo>
                    <a:pt x="1673" y="985"/>
                  </a:lnTo>
                  <a:lnTo>
                    <a:pt x="1643" y="1050"/>
                  </a:lnTo>
                  <a:lnTo>
                    <a:pt x="1614" y="1116"/>
                  </a:lnTo>
                  <a:lnTo>
                    <a:pt x="1585" y="1181"/>
                  </a:lnTo>
                  <a:lnTo>
                    <a:pt x="1556" y="1248"/>
                  </a:lnTo>
                  <a:lnTo>
                    <a:pt x="1528" y="1313"/>
                  </a:lnTo>
                  <a:lnTo>
                    <a:pt x="1499" y="1379"/>
                  </a:lnTo>
                  <a:lnTo>
                    <a:pt x="1472" y="1444"/>
                  </a:lnTo>
                  <a:lnTo>
                    <a:pt x="1445" y="1510"/>
                  </a:lnTo>
                  <a:lnTo>
                    <a:pt x="1418" y="1575"/>
                  </a:lnTo>
                  <a:lnTo>
                    <a:pt x="1392" y="1640"/>
                  </a:lnTo>
                  <a:lnTo>
                    <a:pt x="1367" y="1705"/>
                  </a:lnTo>
                  <a:lnTo>
                    <a:pt x="1343" y="1769"/>
                  </a:lnTo>
                  <a:lnTo>
                    <a:pt x="1319" y="1834"/>
                  </a:lnTo>
                  <a:lnTo>
                    <a:pt x="1295" y="1897"/>
                  </a:lnTo>
                  <a:lnTo>
                    <a:pt x="1273" y="1960"/>
                  </a:lnTo>
                  <a:lnTo>
                    <a:pt x="1250" y="2022"/>
                  </a:lnTo>
                  <a:lnTo>
                    <a:pt x="1209" y="2151"/>
                  </a:lnTo>
                  <a:lnTo>
                    <a:pt x="1171" y="2296"/>
                  </a:lnTo>
                  <a:lnTo>
                    <a:pt x="1135" y="2455"/>
                  </a:lnTo>
                  <a:lnTo>
                    <a:pt x="1100" y="2628"/>
                  </a:lnTo>
                  <a:lnTo>
                    <a:pt x="1067" y="2812"/>
                  </a:lnTo>
                  <a:lnTo>
                    <a:pt x="1036" y="3007"/>
                  </a:lnTo>
                  <a:lnTo>
                    <a:pt x="1006" y="3211"/>
                  </a:lnTo>
                  <a:lnTo>
                    <a:pt x="979" y="3423"/>
                  </a:lnTo>
                  <a:lnTo>
                    <a:pt x="953" y="3641"/>
                  </a:lnTo>
                  <a:lnTo>
                    <a:pt x="929" y="3865"/>
                  </a:lnTo>
                  <a:lnTo>
                    <a:pt x="907" y="4092"/>
                  </a:lnTo>
                  <a:lnTo>
                    <a:pt x="885" y="4322"/>
                  </a:lnTo>
                  <a:lnTo>
                    <a:pt x="866" y="4555"/>
                  </a:lnTo>
                  <a:lnTo>
                    <a:pt x="848" y="4786"/>
                  </a:lnTo>
                  <a:lnTo>
                    <a:pt x="831" y="5017"/>
                  </a:lnTo>
                  <a:lnTo>
                    <a:pt x="817" y="5246"/>
                  </a:lnTo>
                  <a:lnTo>
                    <a:pt x="802" y="5469"/>
                  </a:lnTo>
                  <a:lnTo>
                    <a:pt x="789" y="5689"/>
                  </a:lnTo>
                  <a:lnTo>
                    <a:pt x="778" y="5902"/>
                  </a:lnTo>
                  <a:lnTo>
                    <a:pt x="768" y="6107"/>
                  </a:lnTo>
                  <a:lnTo>
                    <a:pt x="750" y="6490"/>
                  </a:lnTo>
                  <a:lnTo>
                    <a:pt x="736" y="6826"/>
                  </a:lnTo>
                  <a:lnTo>
                    <a:pt x="727" y="7105"/>
                  </a:lnTo>
                  <a:lnTo>
                    <a:pt x="721" y="7318"/>
                  </a:lnTo>
                  <a:lnTo>
                    <a:pt x="717" y="7452"/>
                  </a:lnTo>
                  <a:lnTo>
                    <a:pt x="716" y="7500"/>
                  </a:lnTo>
                  <a:lnTo>
                    <a:pt x="706" y="7463"/>
                  </a:lnTo>
                  <a:lnTo>
                    <a:pt x="677" y="7354"/>
                  </a:lnTo>
                  <a:lnTo>
                    <a:pt x="631" y="7183"/>
                  </a:lnTo>
                  <a:lnTo>
                    <a:pt x="574" y="6952"/>
                  </a:lnTo>
                  <a:lnTo>
                    <a:pt x="541" y="6818"/>
                  </a:lnTo>
                  <a:lnTo>
                    <a:pt x="507" y="6671"/>
                  </a:lnTo>
                  <a:lnTo>
                    <a:pt x="471" y="6514"/>
                  </a:lnTo>
                  <a:lnTo>
                    <a:pt x="434" y="6347"/>
                  </a:lnTo>
                  <a:lnTo>
                    <a:pt x="397" y="6170"/>
                  </a:lnTo>
                  <a:lnTo>
                    <a:pt x="358" y="5984"/>
                  </a:lnTo>
                  <a:lnTo>
                    <a:pt x="320" y="5791"/>
                  </a:lnTo>
                  <a:lnTo>
                    <a:pt x="281" y="5590"/>
                  </a:lnTo>
                  <a:lnTo>
                    <a:pt x="244" y="5385"/>
                  </a:lnTo>
                  <a:lnTo>
                    <a:pt x="209" y="5172"/>
                  </a:lnTo>
                  <a:lnTo>
                    <a:pt x="174" y="4956"/>
                  </a:lnTo>
                  <a:lnTo>
                    <a:pt x="141" y="4736"/>
                  </a:lnTo>
                  <a:lnTo>
                    <a:pt x="112" y="4513"/>
                  </a:lnTo>
                  <a:lnTo>
                    <a:pt x="84" y="4289"/>
                  </a:lnTo>
                  <a:lnTo>
                    <a:pt x="60" y="4063"/>
                  </a:lnTo>
                  <a:lnTo>
                    <a:pt x="40" y="3836"/>
                  </a:lnTo>
                  <a:lnTo>
                    <a:pt x="23" y="3610"/>
                  </a:lnTo>
                  <a:lnTo>
                    <a:pt x="11" y="3386"/>
                  </a:lnTo>
                  <a:lnTo>
                    <a:pt x="3" y="3163"/>
                  </a:lnTo>
                  <a:lnTo>
                    <a:pt x="0" y="2943"/>
                  </a:lnTo>
                  <a:lnTo>
                    <a:pt x="3" y="2727"/>
                  </a:lnTo>
                  <a:lnTo>
                    <a:pt x="12" y="2516"/>
                  </a:lnTo>
                  <a:lnTo>
                    <a:pt x="26" y="2311"/>
                  </a:lnTo>
                  <a:lnTo>
                    <a:pt x="48" y="2111"/>
                  </a:lnTo>
                  <a:lnTo>
                    <a:pt x="58" y="2037"/>
                  </a:lnTo>
                  <a:lnTo>
                    <a:pt x="68" y="1963"/>
                  </a:lnTo>
                  <a:lnTo>
                    <a:pt x="79" y="1890"/>
                  </a:lnTo>
                  <a:lnTo>
                    <a:pt x="91" y="1817"/>
                  </a:lnTo>
                  <a:lnTo>
                    <a:pt x="103" y="1744"/>
                  </a:lnTo>
                  <a:lnTo>
                    <a:pt x="116" y="1672"/>
                  </a:lnTo>
                  <a:lnTo>
                    <a:pt x="128" y="1601"/>
                  </a:lnTo>
                  <a:lnTo>
                    <a:pt x="141" y="1530"/>
                  </a:lnTo>
                  <a:lnTo>
                    <a:pt x="170" y="1389"/>
                  </a:lnTo>
                  <a:lnTo>
                    <a:pt x="200" y="1250"/>
                  </a:lnTo>
                  <a:lnTo>
                    <a:pt x="232" y="1114"/>
                  </a:lnTo>
                  <a:lnTo>
                    <a:pt x="266" y="980"/>
                  </a:lnTo>
                  <a:lnTo>
                    <a:pt x="300" y="848"/>
                  </a:lnTo>
                  <a:lnTo>
                    <a:pt x="336" y="719"/>
                  </a:lnTo>
                  <a:lnTo>
                    <a:pt x="373" y="593"/>
                  </a:lnTo>
                  <a:lnTo>
                    <a:pt x="410" y="469"/>
                  </a:lnTo>
                  <a:lnTo>
                    <a:pt x="449" y="347"/>
                  </a:lnTo>
                  <a:lnTo>
                    <a:pt x="488" y="228"/>
                  </a:lnTo>
                  <a:lnTo>
                    <a:pt x="528" y="113"/>
                  </a:lnTo>
                  <a:lnTo>
                    <a:pt x="567" y="0"/>
                  </a:lnTo>
                  <a:close/>
                </a:path>
              </a:pathLst>
            </a:custGeom>
            <a:gradFill flip="none" rotWithShape="1">
              <a:gsLst>
                <a:gs pos="0">
                  <a:schemeClr val="bg1">
                    <a:alpha val="0"/>
                  </a:schemeClr>
                </a:gs>
                <a:gs pos="100000">
                  <a:schemeClr val="bg1">
                    <a:alpha val="24000"/>
                  </a:schemeClr>
                </a:gs>
                <a:gs pos="39000">
                  <a:schemeClr val="bg1">
                    <a:lumMod val="85000"/>
                    <a:alpha val="11000"/>
                  </a:schemeClr>
                </a:gs>
              </a:gsLst>
              <a:lin ang="600000" scaled="0"/>
              <a:tileRect/>
            </a:gradFill>
            <a:ln w="9525">
              <a:noFill/>
              <a:round/>
              <a:headEnd/>
              <a:tailEnd/>
            </a:ln>
            <a:effectLst>
              <a:outerShdw blurRad="50800" dist="38100" dir="5400000" algn="t" rotWithShape="0">
                <a:prstClr val="black">
                  <a:alpha val="20000"/>
                </a:prstClr>
              </a:outerShdw>
            </a:effectLst>
          </p:spPr>
          <p:txBody>
            <a:bodyPr/>
            <a:lstStyle/>
            <a:p>
              <a:pPr defTabSz="457200">
                <a:defRPr/>
              </a:pPr>
              <a:endParaRPr lang="id-ID">
                <a:solidFill>
                  <a:prstClr val="black"/>
                </a:solidFill>
                <a:latin typeface="+mn-lt"/>
                <a:ea typeface="MS PGothic" pitchFamily="34" charset="-128"/>
                <a:cs typeface="+mn-cs"/>
              </a:endParaRPr>
            </a:p>
          </p:txBody>
        </p:sp>
        <p:sp>
          <p:nvSpPr>
            <p:cNvPr id="54" name="Freeform 17"/>
            <p:cNvSpPr>
              <a:spLocks/>
            </p:cNvSpPr>
            <p:nvPr/>
          </p:nvSpPr>
          <p:spPr bwMode="auto">
            <a:xfrm>
              <a:off x="3445448" y="1855791"/>
              <a:ext cx="618190" cy="1517231"/>
            </a:xfrm>
            <a:custGeom>
              <a:avLst/>
              <a:gdLst/>
              <a:ahLst/>
              <a:cxnLst>
                <a:cxn ang="0">
                  <a:pos x="604" y="38"/>
                </a:cxn>
                <a:cxn ang="0">
                  <a:pos x="679" y="112"/>
                </a:cxn>
                <a:cxn ang="0">
                  <a:pos x="787" y="226"/>
                </a:cxn>
                <a:cxn ang="0">
                  <a:pos x="923" y="366"/>
                </a:cxn>
                <a:cxn ang="0">
                  <a:pos x="1051" y="493"/>
                </a:cxn>
                <a:cxn ang="0">
                  <a:pos x="1174" y="607"/>
                </a:cxn>
                <a:cxn ang="0">
                  <a:pos x="1292" y="709"/>
                </a:cxn>
                <a:cxn ang="0">
                  <a:pos x="1405" y="801"/>
                </a:cxn>
                <a:cxn ang="0">
                  <a:pos x="1513" y="882"/>
                </a:cxn>
                <a:cxn ang="0">
                  <a:pos x="1620" y="953"/>
                </a:cxn>
                <a:cxn ang="0">
                  <a:pos x="1643" y="1050"/>
                </a:cxn>
                <a:cxn ang="0">
                  <a:pos x="1585" y="1181"/>
                </a:cxn>
                <a:cxn ang="0">
                  <a:pos x="1528" y="1313"/>
                </a:cxn>
                <a:cxn ang="0">
                  <a:pos x="1472" y="1444"/>
                </a:cxn>
                <a:cxn ang="0">
                  <a:pos x="1418" y="1575"/>
                </a:cxn>
                <a:cxn ang="0">
                  <a:pos x="1367" y="1705"/>
                </a:cxn>
                <a:cxn ang="0">
                  <a:pos x="1319" y="1834"/>
                </a:cxn>
                <a:cxn ang="0">
                  <a:pos x="1273" y="1960"/>
                </a:cxn>
                <a:cxn ang="0">
                  <a:pos x="1209" y="2151"/>
                </a:cxn>
                <a:cxn ang="0">
                  <a:pos x="1135" y="2455"/>
                </a:cxn>
                <a:cxn ang="0">
                  <a:pos x="1067" y="2812"/>
                </a:cxn>
                <a:cxn ang="0">
                  <a:pos x="1006" y="3211"/>
                </a:cxn>
                <a:cxn ang="0">
                  <a:pos x="953" y="3641"/>
                </a:cxn>
                <a:cxn ang="0">
                  <a:pos x="907" y="4092"/>
                </a:cxn>
                <a:cxn ang="0">
                  <a:pos x="866" y="4555"/>
                </a:cxn>
                <a:cxn ang="0">
                  <a:pos x="831" y="5017"/>
                </a:cxn>
                <a:cxn ang="0">
                  <a:pos x="802" y="5469"/>
                </a:cxn>
                <a:cxn ang="0">
                  <a:pos x="778" y="5902"/>
                </a:cxn>
                <a:cxn ang="0">
                  <a:pos x="750" y="6490"/>
                </a:cxn>
                <a:cxn ang="0">
                  <a:pos x="727" y="7105"/>
                </a:cxn>
                <a:cxn ang="0">
                  <a:pos x="717" y="7452"/>
                </a:cxn>
                <a:cxn ang="0">
                  <a:pos x="706" y="7463"/>
                </a:cxn>
                <a:cxn ang="0">
                  <a:pos x="631" y="7183"/>
                </a:cxn>
                <a:cxn ang="0">
                  <a:pos x="541" y="6818"/>
                </a:cxn>
                <a:cxn ang="0">
                  <a:pos x="471" y="6514"/>
                </a:cxn>
                <a:cxn ang="0">
                  <a:pos x="397" y="6170"/>
                </a:cxn>
                <a:cxn ang="0">
                  <a:pos x="320" y="5791"/>
                </a:cxn>
                <a:cxn ang="0">
                  <a:pos x="244" y="5385"/>
                </a:cxn>
                <a:cxn ang="0">
                  <a:pos x="174" y="4956"/>
                </a:cxn>
                <a:cxn ang="0">
                  <a:pos x="112" y="4513"/>
                </a:cxn>
                <a:cxn ang="0">
                  <a:pos x="60" y="4063"/>
                </a:cxn>
                <a:cxn ang="0">
                  <a:pos x="23" y="3610"/>
                </a:cxn>
                <a:cxn ang="0">
                  <a:pos x="3" y="3163"/>
                </a:cxn>
                <a:cxn ang="0">
                  <a:pos x="3" y="2727"/>
                </a:cxn>
                <a:cxn ang="0">
                  <a:pos x="26" y="2311"/>
                </a:cxn>
                <a:cxn ang="0">
                  <a:pos x="58" y="2037"/>
                </a:cxn>
                <a:cxn ang="0">
                  <a:pos x="79" y="1890"/>
                </a:cxn>
                <a:cxn ang="0">
                  <a:pos x="103" y="1744"/>
                </a:cxn>
                <a:cxn ang="0">
                  <a:pos x="128" y="1601"/>
                </a:cxn>
                <a:cxn ang="0">
                  <a:pos x="170" y="1389"/>
                </a:cxn>
                <a:cxn ang="0">
                  <a:pos x="232" y="1114"/>
                </a:cxn>
                <a:cxn ang="0">
                  <a:pos x="300" y="848"/>
                </a:cxn>
                <a:cxn ang="0">
                  <a:pos x="373" y="593"/>
                </a:cxn>
                <a:cxn ang="0">
                  <a:pos x="449" y="347"/>
                </a:cxn>
                <a:cxn ang="0">
                  <a:pos x="528" y="113"/>
                </a:cxn>
              </a:cxnLst>
              <a:rect l="0" t="0" r="r" b="b"/>
              <a:pathLst>
                <a:path w="1673" h="7500">
                  <a:moveTo>
                    <a:pt x="567" y="0"/>
                  </a:moveTo>
                  <a:lnTo>
                    <a:pt x="604" y="38"/>
                  </a:lnTo>
                  <a:lnTo>
                    <a:pt x="642" y="74"/>
                  </a:lnTo>
                  <a:lnTo>
                    <a:pt x="679" y="112"/>
                  </a:lnTo>
                  <a:lnTo>
                    <a:pt x="716" y="152"/>
                  </a:lnTo>
                  <a:lnTo>
                    <a:pt x="787" y="226"/>
                  </a:lnTo>
                  <a:lnTo>
                    <a:pt x="856" y="298"/>
                  </a:lnTo>
                  <a:lnTo>
                    <a:pt x="923" y="366"/>
                  </a:lnTo>
                  <a:lnTo>
                    <a:pt x="988" y="432"/>
                  </a:lnTo>
                  <a:lnTo>
                    <a:pt x="1051" y="493"/>
                  </a:lnTo>
                  <a:lnTo>
                    <a:pt x="1113" y="551"/>
                  </a:lnTo>
                  <a:lnTo>
                    <a:pt x="1174" y="607"/>
                  </a:lnTo>
                  <a:lnTo>
                    <a:pt x="1233" y="660"/>
                  </a:lnTo>
                  <a:lnTo>
                    <a:pt x="1292" y="709"/>
                  </a:lnTo>
                  <a:lnTo>
                    <a:pt x="1348" y="757"/>
                  </a:lnTo>
                  <a:lnTo>
                    <a:pt x="1405" y="801"/>
                  </a:lnTo>
                  <a:lnTo>
                    <a:pt x="1459" y="842"/>
                  </a:lnTo>
                  <a:lnTo>
                    <a:pt x="1513" y="882"/>
                  </a:lnTo>
                  <a:lnTo>
                    <a:pt x="1567" y="918"/>
                  </a:lnTo>
                  <a:lnTo>
                    <a:pt x="1620" y="953"/>
                  </a:lnTo>
                  <a:lnTo>
                    <a:pt x="1673" y="985"/>
                  </a:lnTo>
                  <a:lnTo>
                    <a:pt x="1643" y="1050"/>
                  </a:lnTo>
                  <a:lnTo>
                    <a:pt x="1614" y="1116"/>
                  </a:lnTo>
                  <a:lnTo>
                    <a:pt x="1585" y="1181"/>
                  </a:lnTo>
                  <a:lnTo>
                    <a:pt x="1556" y="1248"/>
                  </a:lnTo>
                  <a:lnTo>
                    <a:pt x="1528" y="1313"/>
                  </a:lnTo>
                  <a:lnTo>
                    <a:pt x="1499" y="1379"/>
                  </a:lnTo>
                  <a:lnTo>
                    <a:pt x="1472" y="1444"/>
                  </a:lnTo>
                  <a:lnTo>
                    <a:pt x="1445" y="1510"/>
                  </a:lnTo>
                  <a:lnTo>
                    <a:pt x="1418" y="1575"/>
                  </a:lnTo>
                  <a:lnTo>
                    <a:pt x="1392" y="1640"/>
                  </a:lnTo>
                  <a:lnTo>
                    <a:pt x="1367" y="1705"/>
                  </a:lnTo>
                  <a:lnTo>
                    <a:pt x="1343" y="1769"/>
                  </a:lnTo>
                  <a:lnTo>
                    <a:pt x="1319" y="1834"/>
                  </a:lnTo>
                  <a:lnTo>
                    <a:pt x="1295" y="1897"/>
                  </a:lnTo>
                  <a:lnTo>
                    <a:pt x="1273" y="1960"/>
                  </a:lnTo>
                  <a:lnTo>
                    <a:pt x="1250" y="2022"/>
                  </a:lnTo>
                  <a:lnTo>
                    <a:pt x="1209" y="2151"/>
                  </a:lnTo>
                  <a:lnTo>
                    <a:pt x="1171" y="2296"/>
                  </a:lnTo>
                  <a:lnTo>
                    <a:pt x="1135" y="2455"/>
                  </a:lnTo>
                  <a:lnTo>
                    <a:pt x="1100" y="2628"/>
                  </a:lnTo>
                  <a:lnTo>
                    <a:pt x="1067" y="2812"/>
                  </a:lnTo>
                  <a:lnTo>
                    <a:pt x="1036" y="3007"/>
                  </a:lnTo>
                  <a:lnTo>
                    <a:pt x="1006" y="3211"/>
                  </a:lnTo>
                  <a:lnTo>
                    <a:pt x="979" y="3423"/>
                  </a:lnTo>
                  <a:lnTo>
                    <a:pt x="953" y="3641"/>
                  </a:lnTo>
                  <a:lnTo>
                    <a:pt x="929" y="3865"/>
                  </a:lnTo>
                  <a:lnTo>
                    <a:pt x="907" y="4092"/>
                  </a:lnTo>
                  <a:lnTo>
                    <a:pt x="885" y="4322"/>
                  </a:lnTo>
                  <a:lnTo>
                    <a:pt x="866" y="4555"/>
                  </a:lnTo>
                  <a:lnTo>
                    <a:pt x="848" y="4786"/>
                  </a:lnTo>
                  <a:lnTo>
                    <a:pt x="831" y="5017"/>
                  </a:lnTo>
                  <a:lnTo>
                    <a:pt x="817" y="5246"/>
                  </a:lnTo>
                  <a:lnTo>
                    <a:pt x="802" y="5469"/>
                  </a:lnTo>
                  <a:lnTo>
                    <a:pt x="789" y="5689"/>
                  </a:lnTo>
                  <a:lnTo>
                    <a:pt x="778" y="5902"/>
                  </a:lnTo>
                  <a:lnTo>
                    <a:pt x="768" y="6107"/>
                  </a:lnTo>
                  <a:lnTo>
                    <a:pt x="750" y="6490"/>
                  </a:lnTo>
                  <a:lnTo>
                    <a:pt x="736" y="6826"/>
                  </a:lnTo>
                  <a:lnTo>
                    <a:pt x="727" y="7105"/>
                  </a:lnTo>
                  <a:lnTo>
                    <a:pt x="721" y="7318"/>
                  </a:lnTo>
                  <a:lnTo>
                    <a:pt x="717" y="7452"/>
                  </a:lnTo>
                  <a:lnTo>
                    <a:pt x="716" y="7500"/>
                  </a:lnTo>
                  <a:lnTo>
                    <a:pt x="706" y="7463"/>
                  </a:lnTo>
                  <a:lnTo>
                    <a:pt x="677" y="7354"/>
                  </a:lnTo>
                  <a:lnTo>
                    <a:pt x="631" y="7183"/>
                  </a:lnTo>
                  <a:lnTo>
                    <a:pt x="574" y="6952"/>
                  </a:lnTo>
                  <a:lnTo>
                    <a:pt x="541" y="6818"/>
                  </a:lnTo>
                  <a:lnTo>
                    <a:pt x="507" y="6671"/>
                  </a:lnTo>
                  <a:lnTo>
                    <a:pt x="471" y="6514"/>
                  </a:lnTo>
                  <a:lnTo>
                    <a:pt x="434" y="6347"/>
                  </a:lnTo>
                  <a:lnTo>
                    <a:pt x="397" y="6170"/>
                  </a:lnTo>
                  <a:lnTo>
                    <a:pt x="358" y="5984"/>
                  </a:lnTo>
                  <a:lnTo>
                    <a:pt x="320" y="5791"/>
                  </a:lnTo>
                  <a:lnTo>
                    <a:pt x="281" y="5590"/>
                  </a:lnTo>
                  <a:lnTo>
                    <a:pt x="244" y="5385"/>
                  </a:lnTo>
                  <a:lnTo>
                    <a:pt x="209" y="5172"/>
                  </a:lnTo>
                  <a:lnTo>
                    <a:pt x="174" y="4956"/>
                  </a:lnTo>
                  <a:lnTo>
                    <a:pt x="141" y="4736"/>
                  </a:lnTo>
                  <a:lnTo>
                    <a:pt x="112" y="4513"/>
                  </a:lnTo>
                  <a:lnTo>
                    <a:pt x="84" y="4289"/>
                  </a:lnTo>
                  <a:lnTo>
                    <a:pt x="60" y="4063"/>
                  </a:lnTo>
                  <a:lnTo>
                    <a:pt x="40" y="3836"/>
                  </a:lnTo>
                  <a:lnTo>
                    <a:pt x="23" y="3610"/>
                  </a:lnTo>
                  <a:lnTo>
                    <a:pt x="11" y="3386"/>
                  </a:lnTo>
                  <a:lnTo>
                    <a:pt x="3" y="3163"/>
                  </a:lnTo>
                  <a:lnTo>
                    <a:pt x="0" y="2943"/>
                  </a:lnTo>
                  <a:lnTo>
                    <a:pt x="3" y="2727"/>
                  </a:lnTo>
                  <a:lnTo>
                    <a:pt x="12" y="2516"/>
                  </a:lnTo>
                  <a:lnTo>
                    <a:pt x="26" y="2311"/>
                  </a:lnTo>
                  <a:lnTo>
                    <a:pt x="48" y="2111"/>
                  </a:lnTo>
                  <a:lnTo>
                    <a:pt x="58" y="2037"/>
                  </a:lnTo>
                  <a:lnTo>
                    <a:pt x="68" y="1963"/>
                  </a:lnTo>
                  <a:lnTo>
                    <a:pt x="79" y="1890"/>
                  </a:lnTo>
                  <a:lnTo>
                    <a:pt x="91" y="1817"/>
                  </a:lnTo>
                  <a:lnTo>
                    <a:pt x="103" y="1744"/>
                  </a:lnTo>
                  <a:lnTo>
                    <a:pt x="116" y="1672"/>
                  </a:lnTo>
                  <a:lnTo>
                    <a:pt x="128" y="1601"/>
                  </a:lnTo>
                  <a:lnTo>
                    <a:pt x="141" y="1530"/>
                  </a:lnTo>
                  <a:lnTo>
                    <a:pt x="170" y="1389"/>
                  </a:lnTo>
                  <a:lnTo>
                    <a:pt x="200" y="1250"/>
                  </a:lnTo>
                  <a:lnTo>
                    <a:pt x="232" y="1114"/>
                  </a:lnTo>
                  <a:lnTo>
                    <a:pt x="266" y="980"/>
                  </a:lnTo>
                  <a:lnTo>
                    <a:pt x="300" y="848"/>
                  </a:lnTo>
                  <a:lnTo>
                    <a:pt x="336" y="719"/>
                  </a:lnTo>
                  <a:lnTo>
                    <a:pt x="373" y="593"/>
                  </a:lnTo>
                  <a:lnTo>
                    <a:pt x="410" y="469"/>
                  </a:lnTo>
                  <a:lnTo>
                    <a:pt x="449" y="347"/>
                  </a:lnTo>
                  <a:lnTo>
                    <a:pt x="488" y="228"/>
                  </a:lnTo>
                  <a:lnTo>
                    <a:pt x="528" y="113"/>
                  </a:lnTo>
                  <a:lnTo>
                    <a:pt x="567" y="0"/>
                  </a:lnTo>
                  <a:close/>
                </a:path>
              </a:pathLst>
            </a:custGeom>
            <a:gradFill flip="none" rotWithShape="1">
              <a:gsLst>
                <a:gs pos="0">
                  <a:schemeClr val="bg1">
                    <a:alpha val="0"/>
                  </a:schemeClr>
                </a:gs>
                <a:gs pos="100000">
                  <a:schemeClr val="bg1">
                    <a:alpha val="24000"/>
                  </a:schemeClr>
                </a:gs>
                <a:gs pos="39000">
                  <a:schemeClr val="bg1">
                    <a:lumMod val="85000"/>
                    <a:alpha val="11000"/>
                  </a:schemeClr>
                </a:gs>
              </a:gsLst>
              <a:lin ang="600000" scaled="0"/>
              <a:tileRect/>
            </a:gradFill>
            <a:ln w="9525">
              <a:noFill/>
              <a:round/>
              <a:headEnd/>
              <a:tailEnd/>
            </a:ln>
            <a:effectLst>
              <a:outerShdw blurRad="50800" dist="38100" dir="5400000" algn="t" rotWithShape="0">
                <a:prstClr val="black">
                  <a:alpha val="20000"/>
                </a:prstClr>
              </a:outerShdw>
            </a:effectLst>
          </p:spPr>
          <p:txBody>
            <a:bodyPr/>
            <a:lstStyle/>
            <a:p>
              <a:pPr defTabSz="457200">
                <a:defRPr/>
              </a:pPr>
              <a:endParaRPr lang="id-ID">
                <a:solidFill>
                  <a:prstClr val="black"/>
                </a:solidFill>
                <a:latin typeface="+mn-lt"/>
                <a:ea typeface="MS PGothic" pitchFamily="34" charset="-128"/>
                <a:cs typeface="+mn-cs"/>
              </a:endParaRPr>
            </a:p>
          </p:txBody>
        </p:sp>
      </p:grpSp>
      <p:grpSp>
        <p:nvGrpSpPr>
          <p:cNvPr id="9" name="Group 71"/>
          <p:cNvGrpSpPr>
            <a:grpSpLocks/>
          </p:cNvGrpSpPr>
          <p:nvPr/>
        </p:nvGrpSpPr>
        <p:grpSpPr bwMode="auto">
          <a:xfrm>
            <a:off x="2051720" y="4797152"/>
            <a:ext cx="360040" cy="432048"/>
            <a:chOff x="4212399" y="2500313"/>
            <a:chExt cx="975551" cy="1435364"/>
          </a:xfrm>
        </p:grpSpPr>
        <p:grpSp>
          <p:nvGrpSpPr>
            <p:cNvPr id="10" name="Group 72"/>
            <p:cNvGrpSpPr>
              <a:grpSpLocks/>
            </p:cNvGrpSpPr>
            <p:nvPr/>
          </p:nvGrpSpPr>
          <p:grpSpPr bwMode="auto">
            <a:xfrm>
              <a:off x="4212399" y="3437110"/>
              <a:ext cx="498086" cy="498567"/>
              <a:chOff x="5627209" y="1515183"/>
              <a:chExt cx="498086" cy="498567"/>
            </a:xfrm>
          </p:grpSpPr>
          <p:sp>
            <p:nvSpPr>
              <p:cNvPr id="257" name="Oval 256"/>
              <p:cNvSpPr>
                <a:spLocks noChangeArrowheads="1"/>
              </p:cNvSpPr>
              <p:nvPr/>
            </p:nvSpPr>
            <p:spPr bwMode="auto">
              <a:xfrm>
                <a:off x="5627209" y="1516204"/>
                <a:ext cx="496708" cy="497546"/>
              </a:xfrm>
              <a:prstGeom prst="ellipse">
                <a:avLst/>
              </a:prstGeom>
              <a:gradFill rotWithShape="0">
                <a:gsLst>
                  <a:gs pos="0">
                    <a:schemeClr val="bg1"/>
                  </a:gs>
                  <a:gs pos="100000">
                    <a:srgbClr val="D9D9D9"/>
                  </a:gs>
                </a:gsLst>
                <a:lin ang="5400000"/>
              </a:gradFill>
              <a:ln w="3175">
                <a:solidFill>
                  <a:schemeClr val="tx1"/>
                </a:solidFill>
                <a:round/>
                <a:headEnd/>
                <a:tailEnd/>
              </a:ln>
              <a:effectLst>
                <a:outerShdw blurRad="63500" sx="102000" sy="102000" algn="ctr" rotWithShape="0">
                  <a:srgbClr val="000000">
                    <a:alpha val="39999"/>
                  </a:srgbClr>
                </a:outerShdw>
              </a:effectLst>
            </p:spPr>
            <p:txBody>
              <a:bodyPr anchor="ctr"/>
              <a:lstStyle/>
              <a:p>
                <a:pPr algn="ctr" defTabSz="457200"/>
                <a:endParaRPr lang="nb-NO">
                  <a:solidFill>
                    <a:srgbClr val="FFFFFF"/>
                  </a:solidFill>
                  <a:ea typeface="MS PGothic" pitchFamily="34" charset="-128"/>
                </a:endParaRPr>
              </a:p>
            </p:txBody>
          </p:sp>
          <p:sp>
            <p:nvSpPr>
              <p:cNvPr id="258" name="Oval 257"/>
              <p:cNvSpPr/>
              <p:nvPr/>
            </p:nvSpPr>
            <p:spPr>
              <a:xfrm>
                <a:off x="5766572" y="1652224"/>
                <a:ext cx="225128" cy="225507"/>
              </a:xfrm>
              <a:prstGeom prst="ellipse">
                <a:avLst/>
              </a:prstGeom>
              <a:solidFill>
                <a:srgbClr val="92D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sp>
          <p:nvSpPr>
            <p:cNvPr id="253" name="Freeform 57"/>
            <p:cNvSpPr>
              <a:spLocks/>
            </p:cNvSpPr>
            <p:nvPr/>
          </p:nvSpPr>
          <p:spPr bwMode="auto">
            <a:xfrm rot="15813706" flipH="1" flipV="1">
              <a:off x="4658866" y="3156031"/>
              <a:ext cx="254143" cy="804025"/>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grpSp>
          <p:nvGrpSpPr>
            <p:cNvPr id="11" name="Group 133"/>
            <p:cNvGrpSpPr>
              <a:grpSpLocks/>
            </p:cNvGrpSpPr>
            <p:nvPr/>
          </p:nvGrpSpPr>
          <p:grpSpPr bwMode="auto">
            <a:xfrm flipH="1">
              <a:off x="4436064" y="2500313"/>
              <a:ext cx="650367" cy="1241653"/>
              <a:chOff x="7000949" y="2143116"/>
              <a:chExt cx="999336" cy="1834351"/>
            </a:xfrm>
          </p:grpSpPr>
          <p:sp>
            <p:nvSpPr>
              <p:cNvPr id="255" name="Freeform 57"/>
              <p:cNvSpPr>
                <a:spLocks/>
              </p:cNvSpPr>
              <p:nvPr/>
            </p:nvSpPr>
            <p:spPr bwMode="auto">
              <a:xfrm>
                <a:off x="6998704" y="2143116"/>
                <a:ext cx="999336" cy="183497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rgbClr val="FF0066"/>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sp>
            <p:nvSpPr>
              <p:cNvPr id="256" name="Oval 255"/>
              <p:cNvSpPr/>
              <p:nvPr/>
            </p:nvSpPr>
            <p:spPr>
              <a:xfrm flipV="1">
                <a:off x="7128300" y="2206820"/>
                <a:ext cx="687491" cy="623788"/>
              </a:xfrm>
              <a:prstGeom prst="ellipse">
                <a:avLst/>
              </a:prstGeom>
              <a:gradFill>
                <a:gsLst>
                  <a:gs pos="15000">
                    <a:schemeClr val="accent1">
                      <a:tint val="66000"/>
                      <a:satMod val="160000"/>
                      <a:alpha val="13000"/>
                    </a:schemeClr>
                  </a:gs>
                  <a:gs pos="100000">
                    <a:schemeClr val="accent1">
                      <a:tint val="44500"/>
                      <a:satMod val="160000"/>
                      <a:alpha val="59000"/>
                    </a:schemeClr>
                  </a:gs>
                  <a:gs pos="100000">
                    <a:schemeClr val="accent1">
                      <a:tint val="23500"/>
                      <a:satMod val="160000"/>
                      <a:alpha val="41000"/>
                    </a:schemeClr>
                  </a:gs>
                  <a:gs pos="100000">
                    <a:schemeClr val="accent1">
                      <a:tint val="23500"/>
                      <a:satMod val="16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grpSp>
      <p:grpSp>
        <p:nvGrpSpPr>
          <p:cNvPr id="12" name="Group 71"/>
          <p:cNvGrpSpPr>
            <a:grpSpLocks/>
          </p:cNvGrpSpPr>
          <p:nvPr/>
        </p:nvGrpSpPr>
        <p:grpSpPr bwMode="auto">
          <a:xfrm>
            <a:off x="2627784" y="4293096"/>
            <a:ext cx="360040" cy="432048"/>
            <a:chOff x="4212399" y="2500313"/>
            <a:chExt cx="975551" cy="1435364"/>
          </a:xfrm>
        </p:grpSpPr>
        <p:grpSp>
          <p:nvGrpSpPr>
            <p:cNvPr id="13" name="Group 72"/>
            <p:cNvGrpSpPr>
              <a:grpSpLocks/>
            </p:cNvGrpSpPr>
            <p:nvPr/>
          </p:nvGrpSpPr>
          <p:grpSpPr bwMode="auto">
            <a:xfrm>
              <a:off x="4212399" y="3437110"/>
              <a:ext cx="498086" cy="498567"/>
              <a:chOff x="5627209" y="1515183"/>
              <a:chExt cx="498086" cy="498567"/>
            </a:xfrm>
          </p:grpSpPr>
          <p:sp>
            <p:nvSpPr>
              <p:cNvPr id="265" name="Oval 264"/>
              <p:cNvSpPr>
                <a:spLocks noChangeArrowheads="1"/>
              </p:cNvSpPr>
              <p:nvPr/>
            </p:nvSpPr>
            <p:spPr bwMode="auto">
              <a:xfrm>
                <a:off x="5627209" y="1516204"/>
                <a:ext cx="496708" cy="497546"/>
              </a:xfrm>
              <a:prstGeom prst="ellipse">
                <a:avLst/>
              </a:prstGeom>
              <a:gradFill rotWithShape="0">
                <a:gsLst>
                  <a:gs pos="0">
                    <a:schemeClr val="bg1"/>
                  </a:gs>
                  <a:gs pos="100000">
                    <a:srgbClr val="D9D9D9"/>
                  </a:gs>
                </a:gsLst>
                <a:lin ang="5400000"/>
              </a:gradFill>
              <a:ln w="3175">
                <a:solidFill>
                  <a:schemeClr val="tx1"/>
                </a:solidFill>
                <a:round/>
                <a:headEnd/>
                <a:tailEnd/>
              </a:ln>
              <a:effectLst>
                <a:outerShdw blurRad="63500" sx="102000" sy="102000" algn="ctr" rotWithShape="0">
                  <a:srgbClr val="000000">
                    <a:alpha val="39999"/>
                  </a:srgbClr>
                </a:outerShdw>
              </a:effectLst>
            </p:spPr>
            <p:txBody>
              <a:bodyPr anchor="ctr"/>
              <a:lstStyle/>
              <a:p>
                <a:pPr algn="ctr" defTabSz="457200"/>
                <a:endParaRPr lang="nb-NO">
                  <a:solidFill>
                    <a:srgbClr val="FFFFFF"/>
                  </a:solidFill>
                  <a:ea typeface="MS PGothic" pitchFamily="34" charset="-128"/>
                </a:endParaRPr>
              </a:p>
            </p:txBody>
          </p:sp>
          <p:sp>
            <p:nvSpPr>
              <p:cNvPr id="266" name="Oval 265"/>
              <p:cNvSpPr/>
              <p:nvPr/>
            </p:nvSpPr>
            <p:spPr>
              <a:xfrm>
                <a:off x="5766572" y="1652224"/>
                <a:ext cx="225128" cy="225507"/>
              </a:xfrm>
              <a:prstGeom prst="ellipse">
                <a:avLst/>
              </a:prstGeom>
              <a:solidFill>
                <a:srgbClr val="92D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sp>
          <p:nvSpPr>
            <p:cNvPr id="261" name="Freeform 57"/>
            <p:cNvSpPr>
              <a:spLocks/>
            </p:cNvSpPr>
            <p:nvPr/>
          </p:nvSpPr>
          <p:spPr bwMode="auto">
            <a:xfrm rot="15813706" flipH="1" flipV="1">
              <a:off x="4658866" y="3156031"/>
              <a:ext cx="254143" cy="804025"/>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grpSp>
          <p:nvGrpSpPr>
            <p:cNvPr id="21" name="Group 133"/>
            <p:cNvGrpSpPr>
              <a:grpSpLocks/>
            </p:cNvGrpSpPr>
            <p:nvPr/>
          </p:nvGrpSpPr>
          <p:grpSpPr bwMode="auto">
            <a:xfrm flipH="1">
              <a:off x="4436064" y="2500313"/>
              <a:ext cx="650367" cy="1241653"/>
              <a:chOff x="7000949" y="2143116"/>
              <a:chExt cx="999336" cy="1834351"/>
            </a:xfrm>
          </p:grpSpPr>
          <p:sp>
            <p:nvSpPr>
              <p:cNvPr id="263" name="Freeform 57"/>
              <p:cNvSpPr>
                <a:spLocks/>
              </p:cNvSpPr>
              <p:nvPr/>
            </p:nvSpPr>
            <p:spPr bwMode="auto">
              <a:xfrm>
                <a:off x="6998704" y="2143116"/>
                <a:ext cx="999336" cy="183497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rgbClr val="7030A0"/>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sp>
            <p:nvSpPr>
              <p:cNvPr id="264" name="Oval 263"/>
              <p:cNvSpPr/>
              <p:nvPr/>
            </p:nvSpPr>
            <p:spPr>
              <a:xfrm flipV="1">
                <a:off x="7128300" y="2206820"/>
                <a:ext cx="687491" cy="623788"/>
              </a:xfrm>
              <a:prstGeom prst="ellipse">
                <a:avLst/>
              </a:prstGeom>
              <a:gradFill>
                <a:gsLst>
                  <a:gs pos="15000">
                    <a:schemeClr val="accent1">
                      <a:tint val="66000"/>
                      <a:satMod val="160000"/>
                      <a:alpha val="13000"/>
                    </a:schemeClr>
                  </a:gs>
                  <a:gs pos="100000">
                    <a:schemeClr val="accent1">
                      <a:tint val="44500"/>
                      <a:satMod val="160000"/>
                      <a:alpha val="59000"/>
                    </a:schemeClr>
                  </a:gs>
                  <a:gs pos="100000">
                    <a:schemeClr val="accent1">
                      <a:tint val="23500"/>
                      <a:satMod val="160000"/>
                      <a:alpha val="41000"/>
                    </a:schemeClr>
                  </a:gs>
                  <a:gs pos="100000">
                    <a:schemeClr val="accent1">
                      <a:tint val="23500"/>
                      <a:satMod val="16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grpSp>
      <p:sp>
        <p:nvSpPr>
          <p:cNvPr id="267" name="Rounded Rectangular Callout 266"/>
          <p:cNvSpPr/>
          <p:nvPr/>
        </p:nvSpPr>
        <p:spPr>
          <a:xfrm>
            <a:off x="755576" y="4797152"/>
            <a:ext cx="1295896" cy="432048"/>
          </a:xfrm>
          <a:prstGeom prst="wedgeRoundRectCallout">
            <a:avLst>
              <a:gd name="adj1" fmla="val 66537"/>
              <a:gd name="adj2" fmla="val -35182"/>
              <a:gd name="adj3" fmla="val 16667"/>
            </a:avLst>
          </a:prstGeom>
          <a:solidFill>
            <a:srgbClr val="FFFFFF">
              <a:alpha val="69804"/>
            </a:srgbClr>
          </a:solid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rPr>
              <a:t>Brazil</a:t>
            </a:r>
            <a:endParaRPr lang="en-IN" dirty="0">
              <a:solidFill>
                <a:schemeClr val="tx1"/>
              </a:solidFill>
            </a:endParaRPr>
          </a:p>
        </p:txBody>
      </p:sp>
      <p:sp>
        <p:nvSpPr>
          <p:cNvPr id="268" name="Rounded Rectangular Callout 267"/>
          <p:cNvSpPr/>
          <p:nvPr/>
        </p:nvSpPr>
        <p:spPr>
          <a:xfrm>
            <a:off x="3203848" y="4365104"/>
            <a:ext cx="1079872" cy="432048"/>
          </a:xfrm>
          <a:prstGeom prst="wedgeRoundRectCallout">
            <a:avLst>
              <a:gd name="adj1" fmla="val -78214"/>
              <a:gd name="adj2" fmla="val -31926"/>
              <a:gd name="adj3" fmla="val 16667"/>
            </a:avLst>
          </a:prstGeom>
          <a:solidFill>
            <a:srgbClr val="FFFFFF">
              <a:alpha val="69804"/>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rPr>
              <a:t>Africa</a:t>
            </a:r>
            <a:endParaRPr lang="en-IN" dirty="0">
              <a:solidFill>
                <a:schemeClr val="tx1"/>
              </a:solidFill>
            </a:endParaRPr>
          </a:p>
        </p:txBody>
      </p:sp>
      <p:pic>
        <p:nvPicPr>
          <p:cNvPr id="254" name="Picture 253" descr="11645580_l.jpg"/>
          <p:cNvPicPr>
            <a:picLocks noChangeAspect="1"/>
          </p:cNvPicPr>
          <p:nvPr/>
        </p:nvPicPr>
        <p:blipFill>
          <a:blip r:embed="rId17" cstate="print"/>
          <a:stretch>
            <a:fillRect/>
          </a:stretch>
        </p:blipFill>
        <p:spPr>
          <a:xfrm>
            <a:off x="6660232" y="5013176"/>
            <a:ext cx="2088232" cy="1440160"/>
          </a:xfrm>
          <a:prstGeom prst="rect">
            <a:avLst/>
          </a:prstGeom>
        </p:spPr>
      </p:pic>
      <p:pic>
        <p:nvPicPr>
          <p:cNvPr id="259" name="Picture 258" descr="12414830_l.jpg"/>
          <p:cNvPicPr>
            <a:picLocks noChangeAspect="1"/>
          </p:cNvPicPr>
          <p:nvPr/>
        </p:nvPicPr>
        <p:blipFill>
          <a:blip r:embed="rId18" cstate="print"/>
          <a:stretch>
            <a:fillRect/>
          </a:stretch>
        </p:blipFill>
        <p:spPr>
          <a:xfrm>
            <a:off x="6660232" y="2961112"/>
            <a:ext cx="2088232" cy="1440000"/>
          </a:xfrm>
          <a:prstGeom prst="rect">
            <a:avLst/>
          </a:prstGeom>
        </p:spPr>
      </p:pic>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500"/>
                                        <p:tgtEl>
                                          <p:spTgt spid="26"/>
                                        </p:tgtEl>
                                      </p:cBhvr>
                                    </p:animEffect>
                                  </p:childTnLst>
                                </p:cTn>
                              </p:par>
                            </p:childTnLst>
                          </p:cTn>
                        </p:par>
                        <p:par>
                          <p:cTn id="12" fill="hold">
                            <p:stCondLst>
                              <p:cond delay="1000"/>
                            </p:stCondLst>
                            <p:childTnLst>
                              <p:par>
                                <p:cTn id="13" presetID="10" presetClass="entr" presetSubtype="0" fill="hold" nodeType="afterEffect">
                                  <p:stCondLst>
                                    <p:cond delay="1750"/>
                                  </p:stCondLst>
                                  <p:childTnLst>
                                    <p:set>
                                      <p:cBhvr>
                                        <p:cTn id="14" dur="1" fill="hold">
                                          <p:stCondLst>
                                            <p:cond delay="0"/>
                                          </p:stCondLst>
                                        </p:cTn>
                                        <p:tgtEl>
                                          <p:spTgt spid="43"/>
                                        </p:tgtEl>
                                        <p:attrNameLst>
                                          <p:attrName>style.visibility</p:attrName>
                                        </p:attrNameLst>
                                      </p:cBhvr>
                                      <p:to>
                                        <p:strVal val="visible"/>
                                      </p:to>
                                    </p:set>
                                    <p:animEffect transition="in" filter="fade">
                                      <p:cBhvr>
                                        <p:cTn id="15" dur="500"/>
                                        <p:tgtEl>
                                          <p:spTgt spid="43"/>
                                        </p:tgtEl>
                                      </p:cBhvr>
                                    </p:animEffect>
                                  </p:childTnLst>
                                </p:cTn>
                              </p:par>
                            </p:childTnLst>
                          </p:cTn>
                        </p:par>
                        <p:par>
                          <p:cTn id="16" fill="hold">
                            <p:stCondLst>
                              <p:cond delay="3250"/>
                            </p:stCondLst>
                            <p:childTnLst>
                              <p:par>
                                <p:cTn id="17" presetID="53" presetClass="entr" presetSubtype="0" fill="hold" nodeType="afterEffect">
                                  <p:stCondLst>
                                    <p:cond delay="0"/>
                                  </p:stCondLst>
                                  <p:childTnLst>
                                    <p:set>
                                      <p:cBhvr>
                                        <p:cTn id="18" dur="1" fill="hold">
                                          <p:stCondLst>
                                            <p:cond delay="0"/>
                                          </p:stCondLst>
                                        </p:cTn>
                                        <p:tgtEl>
                                          <p:spTgt spid="259"/>
                                        </p:tgtEl>
                                        <p:attrNameLst>
                                          <p:attrName>style.visibility</p:attrName>
                                        </p:attrNameLst>
                                      </p:cBhvr>
                                      <p:to>
                                        <p:strVal val="visible"/>
                                      </p:to>
                                    </p:set>
                                    <p:anim calcmode="lin" valueType="num">
                                      <p:cBhvr>
                                        <p:cTn id="19" dur="500" fill="hold"/>
                                        <p:tgtEl>
                                          <p:spTgt spid="259"/>
                                        </p:tgtEl>
                                        <p:attrNameLst>
                                          <p:attrName>ppt_w</p:attrName>
                                        </p:attrNameLst>
                                      </p:cBhvr>
                                      <p:tavLst>
                                        <p:tav tm="0">
                                          <p:val>
                                            <p:fltVal val="0"/>
                                          </p:val>
                                        </p:tav>
                                        <p:tav tm="100000">
                                          <p:val>
                                            <p:strVal val="#ppt_w"/>
                                          </p:val>
                                        </p:tav>
                                      </p:tavLst>
                                    </p:anim>
                                    <p:anim calcmode="lin" valueType="num">
                                      <p:cBhvr>
                                        <p:cTn id="20" dur="500" fill="hold"/>
                                        <p:tgtEl>
                                          <p:spTgt spid="259"/>
                                        </p:tgtEl>
                                        <p:attrNameLst>
                                          <p:attrName>ppt_h</p:attrName>
                                        </p:attrNameLst>
                                      </p:cBhvr>
                                      <p:tavLst>
                                        <p:tav tm="0">
                                          <p:val>
                                            <p:fltVal val="0"/>
                                          </p:val>
                                        </p:tav>
                                        <p:tav tm="100000">
                                          <p:val>
                                            <p:strVal val="#ppt_h"/>
                                          </p:val>
                                        </p:tav>
                                      </p:tavLst>
                                    </p:anim>
                                    <p:animEffect transition="in" filter="fade">
                                      <p:cBhvr>
                                        <p:cTn id="21" dur="500"/>
                                        <p:tgtEl>
                                          <p:spTgt spid="259"/>
                                        </p:tgtEl>
                                      </p:cBhvr>
                                    </p:animEffect>
                                  </p:childTnLst>
                                </p:cTn>
                              </p:par>
                            </p:childTnLst>
                          </p:cTn>
                        </p:par>
                        <p:par>
                          <p:cTn id="22" fill="hold">
                            <p:stCondLst>
                              <p:cond delay="3750"/>
                            </p:stCondLst>
                            <p:childTnLst>
                              <p:par>
                                <p:cTn id="23" presetID="10" presetClass="entr" presetSubtype="0" fill="hold" nodeType="after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childTnLst>
                          </p:cTn>
                        </p:par>
                        <p:par>
                          <p:cTn id="26" fill="hold">
                            <p:stCondLst>
                              <p:cond delay="4250"/>
                            </p:stCondLst>
                            <p:childTnLst>
                              <p:par>
                                <p:cTn id="27" presetID="53" presetClass="entr" presetSubtype="0" fill="hold" nodeType="afterEffect">
                                  <p:stCondLst>
                                    <p:cond delay="0"/>
                                  </p:stCondLst>
                                  <p:childTnLst>
                                    <p:set>
                                      <p:cBhvr>
                                        <p:cTn id="28" dur="1" fill="hold">
                                          <p:stCondLst>
                                            <p:cond delay="0"/>
                                          </p:stCondLst>
                                        </p:cTn>
                                        <p:tgtEl>
                                          <p:spTgt spid="254"/>
                                        </p:tgtEl>
                                        <p:attrNameLst>
                                          <p:attrName>style.visibility</p:attrName>
                                        </p:attrNameLst>
                                      </p:cBhvr>
                                      <p:to>
                                        <p:strVal val="visible"/>
                                      </p:to>
                                    </p:set>
                                    <p:anim calcmode="lin" valueType="num">
                                      <p:cBhvr>
                                        <p:cTn id="29" dur="500" fill="hold"/>
                                        <p:tgtEl>
                                          <p:spTgt spid="254"/>
                                        </p:tgtEl>
                                        <p:attrNameLst>
                                          <p:attrName>ppt_w</p:attrName>
                                        </p:attrNameLst>
                                      </p:cBhvr>
                                      <p:tavLst>
                                        <p:tav tm="0">
                                          <p:val>
                                            <p:fltVal val="0"/>
                                          </p:val>
                                        </p:tav>
                                        <p:tav tm="100000">
                                          <p:val>
                                            <p:strVal val="#ppt_w"/>
                                          </p:val>
                                        </p:tav>
                                      </p:tavLst>
                                    </p:anim>
                                    <p:anim calcmode="lin" valueType="num">
                                      <p:cBhvr>
                                        <p:cTn id="30" dur="500" fill="hold"/>
                                        <p:tgtEl>
                                          <p:spTgt spid="254"/>
                                        </p:tgtEl>
                                        <p:attrNameLst>
                                          <p:attrName>ppt_h</p:attrName>
                                        </p:attrNameLst>
                                      </p:cBhvr>
                                      <p:tavLst>
                                        <p:tav tm="0">
                                          <p:val>
                                            <p:fltVal val="0"/>
                                          </p:val>
                                        </p:tav>
                                        <p:tav tm="100000">
                                          <p:val>
                                            <p:strVal val="#ppt_h"/>
                                          </p:val>
                                        </p:tav>
                                      </p:tavLst>
                                    </p:anim>
                                    <p:animEffect transition="in" filter="fade">
                                      <p:cBhvr>
                                        <p:cTn id="31" dur="500"/>
                                        <p:tgtEl>
                                          <p:spTgt spid="254"/>
                                        </p:tgtEl>
                                      </p:cBhvr>
                                    </p:animEffect>
                                  </p:childTnLst>
                                </p:cTn>
                              </p:par>
                            </p:childTnLst>
                          </p:cTn>
                        </p:par>
                        <p:par>
                          <p:cTn id="32" fill="hold">
                            <p:stCondLst>
                              <p:cond delay="4750"/>
                            </p:stCondLst>
                            <p:childTnLst>
                              <p:par>
                                <p:cTn id="33" presetID="10" presetClass="entr" presetSubtype="0" fill="hold" nodeType="after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childTnLst>
                          </p:cTn>
                        </p:par>
                        <p:par>
                          <p:cTn id="36" fill="hold">
                            <p:stCondLst>
                              <p:cond delay="5250"/>
                            </p:stCondLst>
                            <p:childTnLst>
                              <p:par>
                                <p:cTn id="37" presetID="10" presetClass="entr" presetSubtype="0" fill="hold" nodeType="after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childTnLst>
                          </p:cTn>
                        </p:par>
                        <p:par>
                          <p:cTn id="40" fill="hold">
                            <p:stCondLst>
                              <p:cond delay="5750"/>
                            </p:stCondLst>
                            <p:childTnLst>
                              <p:par>
                                <p:cTn id="41" presetID="22" presetClass="entr" presetSubtype="8" fill="hold" grpId="0" nodeType="afterEffect">
                                  <p:stCondLst>
                                    <p:cond delay="0"/>
                                  </p:stCondLst>
                                  <p:childTnLst>
                                    <p:set>
                                      <p:cBhvr>
                                        <p:cTn id="42" dur="1" fill="hold">
                                          <p:stCondLst>
                                            <p:cond delay="0"/>
                                          </p:stCondLst>
                                        </p:cTn>
                                        <p:tgtEl>
                                          <p:spTgt spid="268"/>
                                        </p:tgtEl>
                                        <p:attrNameLst>
                                          <p:attrName>style.visibility</p:attrName>
                                        </p:attrNameLst>
                                      </p:cBhvr>
                                      <p:to>
                                        <p:strVal val="visible"/>
                                      </p:to>
                                    </p:set>
                                    <p:animEffect transition="in" filter="wipe(left)">
                                      <p:cBhvr>
                                        <p:cTn id="43" dur="500"/>
                                        <p:tgtEl>
                                          <p:spTgt spid="268"/>
                                        </p:tgtEl>
                                      </p:cBhvr>
                                    </p:animEffect>
                                  </p:childTnLst>
                                </p:cTn>
                              </p:par>
                            </p:childTnLst>
                          </p:cTn>
                        </p:par>
                        <p:par>
                          <p:cTn id="44" fill="hold">
                            <p:stCondLst>
                              <p:cond delay="6250"/>
                            </p:stCondLst>
                            <p:childTnLst>
                              <p:par>
                                <p:cTn id="45" presetID="10" presetClass="entr" presetSubtype="0" fill="hold" nodeType="after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500"/>
                                        <p:tgtEl>
                                          <p:spTgt spid="9"/>
                                        </p:tgtEl>
                                      </p:cBhvr>
                                    </p:animEffect>
                                  </p:childTnLst>
                                </p:cTn>
                              </p:par>
                            </p:childTnLst>
                          </p:cTn>
                        </p:par>
                        <p:par>
                          <p:cTn id="48" fill="hold">
                            <p:stCondLst>
                              <p:cond delay="6750"/>
                            </p:stCondLst>
                            <p:childTnLst>
                              <p:par>
                                <p:cTn id="49" presetID="22" presetClass="entr" presetSubtype="2" fill="hold" grpId="0" nodeType="afterEffect">
                                  <p:stCondLst>
                                    <p:cond delay="0"/>
                                  </p:stCondLst>
                                  <p:childTnLst>
                                    <p:set>
                                      <p:cBhvr>
                                        <p:cTn id="50" dur="1" fill="hold">
                                          <p:stCondLst>
                                            <p:cond delay="0"/>
                                          </p:stCondLst>
                                        </p:cTn>
                                        <p:tgtEl>
                                          <p:spTgt spid="267"/>
                                        </p:tgtEl>
                                        <p:attrNameLst>
                                          <p:attrName>style.visibility</p:attrName>
                                        </p:attrNameLst>
                                      </p:cBhvr>
                                      <p:to>
                                        <p:strVal val="visible"/>
                                      </p:to>
                                    </p:set>
                                    <p:animEffect transition="in" filter="wipe(right)">
                                      <p:cBhvr>
                                        <p:cTn id="51" dur="500"/>
                                        <p:tgtEl>
                                          <p:spTgt spid="2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7" grpId="0" animBg="1"/>
      <p:bldP spid="26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12801607_l.jpg"/>
          <p:cNvPicPr>
            <a:picLocks noChangeAspect="1"/>
          </p:cNvPicPr>
          <p:nvPr/>
        </p:nvPicPr>
        <p:blipFill>
          <a:blip r:embed="rId4" cstate="print">
            <a:lum contrast="40000"/>
          </a:blip>
          <a:stretch>
            <a:fillRect/>
          </a:stretch>
        </p:blipFill>
        <p:spPr>
          <a:xfrm>
            <a:off x="0" y="836712"/>
            <a:ext cx="9144000" cy="6021288"/>
          </a:xfrm>
          <a:prstGeom prst="rect">
            <a:avLst/>
          </a:prstGeom>
        </p:spPr>
      </p:pic>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5"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6"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7"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8"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9"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10"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1"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2"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3"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smtClean="0"/>
                <a:t>Introduction</a:t>
              </a:r>
              <a:endParaRPr lang="en-IN" sz="3200" dirty="0"/>
            </a:p>
          </p:txBody>
        </p:sp>
      </p:grpSp>
      <p:grpSp>
        <p:nvGrpSpPr>
          <p:cNvPr id="4" name="Group 24"/>
          <p:cNvGrpSpPr/>
          <p:nvPr/>
        </p:nvGrpSpPr>
        <p:grpSpPr>
          <a:xfrm>
            <a:off x="1187624" y="980728"/>
            <a:ext cx="7632848" cy="1656184"/>
            <a:chOff x="1187624" y="980728"/>
            <a:chExt cx="7632848" cy="1944216"/>
          </a:xfrm>
        </p:grpSpPr>
        <p:pic>
          <p:nvPicPr>
            <p:cNvPr id="23" name="Picture 22" descr="13436110_xl.jpg"/>
            <p:cNvPicPr>
              <a:picLocks noChangeAspect="1"/>
            </p:cNvPicPr>
            <p:nvPr/>
          </p:nvPicPr>
          <p:blipFill>
            <a:blip r:embed="rId14" cstate="print">
              <a:clrChange>
                <a:clrFrom>
                  <a:srgbClr val="8F8677"/>
                </a:clrFrom>
                <a:clrTo>
                  <a:srgbClr val="8F8677">
                    <a:alpha val="0"/>
                  </a:srgbClr>
                </a:clrTo>
              </a:clrChange>
            </a:blip>
            <a:srcRect r="50000" b="80450"/>
            <a:stretch>
              <a:fillRect/>
            </a:stretch>
          </p:blipFill>
          <p:spPr>
            <a:xfrm>
              <a:off x="1187624" y="980728"/>
              <a:ext cx="7632848" cy="1944216"/>
            </a:xfrm>
            <a:prstGeom prst="rect">
              <a:avLst/>
            </a:prstGeom>
          </p:spPr>
        </p:pic>
        <p:sp>
          <p:nvSpPr>
            <p:cNvPr id="24" name="TextBox 23"/>
            <p:cNvSpPr txBox="1"/>
            <p:nvPr/>
          </p:nvSpPr>
          <p:spPr>
            <a:xfrm>
              <a:off x="2195736" y="1457489"/>
              <a:ext cx="6192687" cy="1192300"/>
            </a:xfrm>
            <a:prstGeom prst="rect">
              <a:avLst/>
            </a:prstGeom>
            <a:noFill/>
          </p:spPr>
          <p:txBody>
            <a:bodyPr wrap="square" rtlCol="0">
              <a:spAutoFit/>
            </a:bodyPr>
            <a:lstStyle/>
            <a:p>
              <a:r>
                <a:rPr lang="en-IN" sz="2000" dirty="0" smtClean="0"/>
                <a:t>Most of the computers have been shipped out of South American Factories and Soft furnishings on the shelves are from India and Hong Kong.</a:t>
              </a:r>
              <a:endParaRPr lang="en-IN" sz="2000" dirty="0"/>
            </a:p>
          </p:txBody>
        </p:sp>
      </p:grpSp>
      <p:pic>
        <p:nvPicPr>
          <p:cNvPr id="26" name="Picture 5" descr="Tessafilm_4"/>
          <p:cNvPicPr>
            <a:picLocks noChangeAspect="1" noChangeArrowheads="1"/>
          </p:cNvPicPr>
          <p:nvPr/>
        </p:nvPicPr>
        <p:blipFill>
          <a:blip r:embed="rId15" cstate="print">
            <a:duotone>
              <a:prstClr val="black"/>
              <a:srgbClr val="00B0F0">
                <a:tint val="45000"/>
                <a:satMod val="400000"/>
              </a:srgbClr>
            </a:duotone>
          </a:blip>
          <a:srcRect l="59392" b="89844"/>
          <a:stretch>
            <a:fillRect/>
          </a:stretch>
        </p:blipFill>
        <p:spPr bwMode="gray">
          <a:xfrm rot="20222041">
            <a:off x="1130174" y="1049435"/>
            <a:ext cx="1538105" cy="387075"/>
          </a:xfrm>
          <a:prstGeom prst="rect">
            <a:avLst/>
          </a:prstGeom>
          <a:noFill/>
        </p:spPr>
      </p:pic>
      <p:pic>
        <p:nvPicPr>
          <p:cNvPr id="43" name="Picture 42" descr="10046322_xxl.jpg"/>
          <p:cNvPicPr>
            <a:picLocks noChangeAspect="1"/>
          </p:cNvPicPr>
          <p:nvPr/>
        </p:nvPicPr>
        <p:blipFill>
          <a:blip r:embed="rId16" cstate="print">
            <a:clrChange>
              <a:clrFrom>
                <a:srgbClr val="FFFFFF"/>
              </a:clrFrom>
              <a:clrTo>
                <a:srgbClr val="FFFFFF">
                  <a:alpha val="0"/>
                </a:srgbClr>
              </a:clrTo>
            </a:clrChange>
          </a:blip>
          <a:srcRect l="33282" t="64700" r="29939"/>
          <a:stretch>
            <a:fillRect/>
          </a:stretch>
        </p:blipFill>
        <p:spPr>
          <a:xfrm>
            <a:off x="6358387" y="2492896"/>
            <a:ext cx="2822125" cy="2343568"/>
          </a:xfrm>
          <a:prstGeom prst="rect">
            <a:avLst/>
          </a:prstGeom>
        </p:spPr>
      </p:pic>
      <p:pic>
        <p:nvPicPr>
          <p:cNvPr id="44" name="Picture 43" descr="10046322_xxl.jpg"/>
          <p:cNvPicPr>
            <a:picLocks noChangeAspect="1"/>
          </p:cNvPicPr>
          <p:nvPr/>
        </p:nvPicPr>
        <p:blipFill>
          <a:blip r:embed="rId16" cstate="print">
            <a:clrChange>
              <a:clrFrom>
                <a:srgbClr val="FFFFFF"/>
              </a:clrFrom>
              <a:clrTo>
                <a:srgbClr val="FFFFFF">
                  <a:alpha val="0"/>
                </a:srgbClr>
              </a:clrTo>
            </a:clrChange>
          </a:blip>
          <a:srcRect l="33282" t="64700" r="29939"/>
          <a:stretch>
            <a:fillRect/>
          </a:stretch>
        </p:blipFill>
        <p:spPr>
          <a:xfrm>
            <a:off x="6358387" y="4514432"/>
            <a:ext cx="2822125" cy="2343568"/>
          </a:xfrm>
          <a:prstGeom prst="rect">
            <a:avLst/>
          </a:prstGeom>
        </p:spPr>
      </p:pic>
      <p:grpSp>
        <p:nvGrpSpPr>
          <p:cNvPr id="5" name="Group 267"/>
          <p:cNvGrpSpPr/>
          <p:nvPr/>
        </p:nvGrpSpPr>
        <p:grpSpPr>
          <a:xfrm>
            <a:off x="179512" y="2780928"/>
            <a:ext cx="5957706" cy="3744416"/>
            <a:chOff x="2051720" y="1844824"/>
            <a:chExt cx="6965818" cy="4176464"/>
          </a:xfrm>
        </p:grpSpPr>
        <p:sp>
          <p:nvSpPr>
            <p:cNvPr id="50" name="Rectangle 2"/>
            <p:cNvSpPr/>
            <p:nvPr/>
          </p:nvSpPr>
          <p:spPr>
            <a:xfrm>
              <a:off x="2051720" y="1844824"/>
              <a:ext cx="6965818" cy="4176464"/>
            </a:xfrm>
            <a:custGeom>
              <a:avLst/>
              <a:gdLst>
                <a:gd name="connsiteX0" fmla="*/ 0 w 8037871"/>
                <a:gd name="connsiteY0" fmla="*/ 0 h 4881716"/>
                <a:gd name="connsiteX1" fmla="*/ 8037871 w 8037871"/>
                <a:gd name="connsiteY1" fmla="*/ 0 h 4881716"/>
                <a:gd name="connsiteX2" fmla="*/ 8037871 w 8037871"/>
                <a:gd name="connsiteY2" fmla="*/ 4881716 h 4881716"/>
                <a:gd name="connsiteX3" fmla="*/ 0 w 8037871"/>
                <a:gd name="connsiteY3" fmla="*/ 4881716 h 4881716"/>
                <a:gd name="connsiteX4" fmla="*/ 0 w 8037871"/>
                <a:gd name="connsiteY4" fmla="*/ 0 h 4881716"/>
                <a:gd name="connsiteX0" fmla="*/ 0 w 8037871"/>
                <a:gd name="connsiteY0" fmla="*/ 0 h 4881716"/>
                <a:gd name="connsiteX1" fmla="*/ 8037871 w 8037871"/>
                <a:gd name="connsiteY1" fmla="*/ 0 h 4881716"/>
                <a:gd name="connsiteX2" fmla="*/ 8037871 w 8037871"/>
                <a:gd name="connsiteY2" fmla="*/ 4881716 h 4881716"/>
                <a:gd name="connsiteX3" fmla="*/ 0 w 8037871"/>
                <a:gd name="connsiteY3" fmla="*/ 4881716 h 4881716"/>
                <a:gd name="connsiteX4" fmla="*/ 0 w 8037871"/>
                <a:gd name="connsiteY4" fmla="*/ 0 h 4881716"/>
                <a:gd name="connsiteX0" fmla="*/ 0 w 8037871"/>
                <a:gd name="connsiteY0" fmla="*/ 0 h 4881716"/>
                <a:gd name="connsiteX1" fmla="*/ 8037871 w 8037871"/>
                <a:gd name="connsiteY1" fmla="*/ 0 h 4881716"/>
                <a:gd name="connsiteX2" fmla="*/ 8037871 w 8037871"/>
                <a:gd name="connsiteY2" fmla="*/ 4881716 h 4881716"/>
                <a:gd name="connsiteX3" fmla="*/ 0 w 8037871"/>
                <a:gd name="connsiteY3" fmla="*/ 4881716 h 4881716"/>
                <a:gd name="connsiteX4" fmla="*/ 0 w 8037871"/>
                <a:gd name="connsiteY4" fmla="*/ 0 h 4881716"/>
                <a:gd name="connsiteX0" fmla="*/ 0 w 8037871"/>
                <a:gd name="connsiteY0" fmla="*/ 0 h 4955458"/>
                <a:gd name="connsiteX1" fmla="*/ 8037871 w 8037871"/>
                <a:gd name="connsiteY1" fmla="*/ 0 h 4955458"/>
                <a:gd name="connsiteX2" fmla="*/ 7905135 w 8037871"/>
                <a:gd name="connsiteY2" fmla="*/ 4955458 h 4955458"/>
                <a:gd name="connsiteX3" fmla="*/ 0 w 8037871"/>
                <a:gd name="connsiteY3" fmla="*/ 4881716 h 4955458"/>
                <a:gd name="connsiteX4" fmla="*/ 0 w 8037871"/>
                <a:gd name="connsiteY4" fmla="*/ 0 h 4955458"/>
                <a:gd name="connsiteX0" fmla="*/ 0 w 8037871"/>
                <a:gd name="connsiteY0" fmla="*/ 0 h 4955458"/>
                <a:gd name="connsiteX1" fmla="*/ 8037871 w 8037871"/>
                <a:gd name="connsiteY1" fmla="*/ 0 h 4955458"/>
                <a:gd name="connsiteX2" fmla="*/ 7905135 w 8037871"/>
                <a:gd name="connsiteY2" fmla="*/ 4955458 h 4955458"/>
                <a:gd name="connsiteX3" fmla="*/ 0 w 8037871"/>
                <a:gd name="connsiteY3" fmla="*/ 4881716 h 4955458"/>
                <a:gd name="connsiteX4" fmla="*/ 0 w 8037871"/>
                <a:gd name="connsiteY4" fmla="*/ 0 h 4955458"/>
                <a:gd name="connsiteX0" fmla="*/ 0 w 7975542"/>
                <a:gd name="connsiteY0" fmla="*/ 0 h 4955458"/>
                <a:gd name="connsiteX1" fmla="*/ 7875639 w 7975542"/>
                <a:gd name="connsiteY1" fmla="*/ 73742 h 4955458"/>
                <a:gd name="connsiteX2" fmla="*/ 7905135 w 7975542"/>
                <a:gd name="connsiteY2" fmla="*/ 4955458 h 4955458"/>
                <a:gd name="connsiteX3" fmla="*/ 0 w 7975542"/>
                <a:gd name="connsiteY3" fmla="*/ 4881716 h 4955458"/>
                <a:gd name="connsiteX4" fmla="*/ 0 w 7975542"/>
                <a:gd name="connsiteY4" fmla="*/ 0 h 4955458"/>
                <a:gd name="connsiteX0" fmla="*/ 0 w 7995971"/>
                <a:gd name="connsiteY0" fmla="*/ 0 h 4955458"/>
                <a:gd name="connsiteX1" fmla="*/ 7875639 w 7995971"/>
                <a:gd name="connsiteY1" fmla="*/ 73742 h 4955458"/>
                <a:gd name="connsiteX2" fmla="*/ 7905135 w 7995971"/>
                <a:gd name="connsiteY2" fmla="*/ 4955458 h 4955458"/>
                <a:gd name="connsiteX3" fmla="*/ 0 w 7995971"/>
                <a:gd name="connsiteY3" fmla="*/ 4881716 h 4955458"/>
                <a:gd name="connsiteX4" fmla="*/ 0 w 7995971"/>
                <a:gd name="connsiteY4" fmla="*/ 0 h 4955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5971" h="4955458">
                  <a:moveTo>
                    <a:pt x="0" y="0"/>
                  </a:moveTo>
                  <a:cubicBezTo>
                    <a:pt x="2738283" y="147484"/>
                    <a:pt x="5196349" y="73742"/>
                    <a:pt x="7875639" y="73742"/>
                  </a:cubicBezTo>
                  <a:cubicBezTo>
                    <a:pt x="7934632" y="1755058"/>
                    <a:pt x="8096863" y="3362632"/>
                    <a:pt x="7905135" y="4955458"/>
                  </a:cubicBezTo>
                  <a:cubicBezTo>
                    <a:pt x="5225845" y="4955458"/>
                    <a:pt x="2723535" y="4660490"/>
                    <a:pt x="0" y="4881716"/>
                  </a:cubicBezTo>
                  <a:lnTo>
                    <a:pt x="0" y="0"/>
                  </a:lnTo>
                  <a:close/>
                </a:path>
              </a:pathLst>
            </a:custGeom>
            <a:gradFill>
              <a:gsLst>
                <a:gs pos="21000">
                  <a:schemeClr val="bg1"/>
                </a:gs>
                <a:gs pos="87000">
                  <a:schemeClr val="bg1">
                    <a:lumMod val="95000"/>
                  </a:schemeClr>
                </a:gs>
              </a:gsLst>
              <a:path path="circle">
                <a:fillToRect l="50000" t="50000" r="50000" b="50000"/>
              </a:path>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endParaRPr lang="en-US" dirty="0">
                <a:solidFill>
                  <a:srgbClr val="000000"/>
                </a:solidFill>
              </a:endParaRPr>
            </a:p>
          </p:txBody>
        </p:sp>
        <p:grpSp>
          <p:nvGrpSpPr>
            <p:cNvPr id="6" name="Group 724"/>
            <p:cNvGrpSpPr>
              <a:grpSpLocks/>
            </p:cNvGrpSpPr>
            <p:nvPr/>
          </p:nvGrpSpPr>
          <p:grpSpPr bwMode="auto">
            <a:xfrm>
              <a:off x="2183819" y="2080972"/>
              <a:ext cx="6317304" cy="3553840"/>
              <a:chOff x="543561" y="1157858"/>
              <a:chExt cx="7838439" cy="4557142"/>
            </a:xfrm>
            <a:gradFill>
              <a:gsLst>
                <a:gs pos="21000">
                  <a:schemeClr val="accent1">
                    <a:lumMod val="60000"/>
                    <a:lumOff val="40000"/>
                  </a:schemeClr>
                </a:gs>
                <a:gs pos="87000">
                  <a:schemeClr val="accent1">
                    <a:lumMod val="50000"/>
                  </a:schemeClr>
                </a:gs>
              </a:gsLst>
              <a:path path="circle">
                <a:fillToRect l="50000" t="50000" r="50000" b="50000"/>
              </a:path>
            </a:gradFill>
          </p:grpSpPr>
          <p:grpSp>
            <p:nvGrpSpPr>
              <p:cNvPr id="7" name="Gruppe 226"/>
              <p:cNvGrpSpPr/>
              <p:nvPr/>
            </p:nvGrpSpPr>
            <p:grpSpPr>
              <a:xfrm>
                <a:off x="543561" y="1157864"/>
                <a:ext cx="3592897" cy="2659943"/>
                <a:chOff x="106680" y="699453"/>
                <a:chExt cx="3986530" cy="2951480"/>
              </a:xfrm>
              <a:grpFill/>
              <a:effectLst/>
            </p:grpSpPr>
            <p:sp>
              <p:nvSpPr>
                <p:cNvPr id="113" name="Freeform 5961"/>
                <p:cNvSpPr>
                  <a:spLocks/>
                </p:cNvSpPr>
                <p:nvPr/>
              </p:nvSpPr>
              <p:spPr bwMode="auto">
                <a:xfrm>
                  <a:off x="2439670" y="3591243"/>
                  <a:ext cx="12700" cy="20320"/>
                </a:xfrm>
                <a:custGeom>
                  <a:avLst/>
                  <a:gdLst/>
                  <a:ahLst/>
                  <a:cxnLst>
                    <a:cxn ang="0">
                      <a:pos x="2" y="26"/>
                    </a:cxn>
                    <a:cxn ang="0">
                      <a:pos x="2" y="26"/>
                    </a:cxn>
                    <a:cxn ang="0">
                      <a:pos x="2" y="32"/>
                    </a:cxn>
                    <a:cxn ang="0">
                      <a:pos x="20" y="0"/>
                    </a:cxn>
                    <a:cxn ang="0">
                      <a:pos x="20" y="0"/>
                    </a:cxn>
                    <a:cxn ang="0">
                      <a:pos x="6" y="10"/>
                    </a:cxn>
                    <a:cxn ang="0">
                      <a:pos x="2" y="12"/>
                    </a:cxn>
                    <a:cxn ang="0">
                      <a:pos x="0" y="16"/>
                    </a:cxn>
                    <a:cxn ang="0">
                      <a:pos x="0" y="20"/>
                    </a:cxn>
                    <a:cxn ang="0">
                      <a:pos x="2" y="26"/>
                    </a:cxn>
                    <a:cxn ang="0">
                      <a:pos x="2" y="26"/>
                    </a:cxn>
                  </a:cxnLst>
                  <a:rect l="0" t="0" r="r" b="b"/>
                  <a:pathLst>
                    <a:path w="20" h="32">
                      <a:moveTo>
                        <a:pt x="2" y="26"/>
                      </a:moveTo>
                      <a:lnTo>
                        <a:pt x="2" y="26"/>
                      </a:lnTo>
                      <a:lnTo>
                        <a:pt x="2" y="32"/>
                      </a:lnTo>
                      <a:lnTo>
                        <a:pt x="20" y="0"/>
                      </a:lnTo>
                      <a:lnTo>
                        <a:pt x="20" y="0"/>
                      </a:lnTo>
                      <a:lnTo>
                        <a:pt x="6" y="10"/>
                      </a:lnTo>
                      <a:lnTo>
                        <a:pt x="2" y="12"/>
                      </a:lnTo>
                      <a:lnTo>
                        <a:pt x="0" y="16"/>
                      </a:lnTo>
                      <a:lnTo>
                        <a:pt x="0" y="20"/>
                      </a:lnTo>
                      <a:lnTo>
                        <a:pt x="2" y="26"/>
                      </a:lnTo>
                      <a:lnTo>
                        <a:pt x="2" y="2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4" name="Freeform 6004"/>
                <p:cNvSpPr>
                  <a:spLocks/>
                </p:cNvSpPr>
                <p:nvPr/>
              </p:nvSpPr>
              <p:spPr bwMode="auto">
                <a:xfrm>
                  <a:off x="3569970" y="3551873"/>
                  <a:ext cx="5080" cy="6350"/>
                </a:xfrm>
                <a:custGeom>
                  <a:avLst/>
                  <a:gdLst/>
                  <a:ahLst/>
                  <a:cxnLst>
                    <a:cxn ang="0">
                      <a:pos x="0" y="6"/>
                    </a:cxn>
                    <a:cxn ang="0">
                      <a:pos x="0" y="6"/>
                    </a:cxn>
                    <a:cxn ang="0">
                      <a:pos x="2" y="8"/>
                    </a:cxn>
                    <a:cxn ang="0">
                      <a:pos x="4" y="10"/>
                    </a:cxn>
                    <a:cxn ang="0">
                      <a:pos x="6" y="8"/>
                    </a:cxn>
                    <a:cxn ang="0">
                      <a:pos x="8" y="4"/>
                    </a:cxn>
                    <a:cxn ang="0">
                      <a:pos x="8" y="4"/>
                    </a:cxn>
                    <a:cxn ang="0">
                      <a:pos x="6" y="0"/>
                    </a:cxn>
                    <a:cxn ang="0">
                      <a:pos x="4" y="2"/>
                    </a:cxn>
                    <a:cxn ang="0">
                      <a:pos x="2" y="4"/>
                    </a:cxn>
                    <a:cxn ang="0">
                      <a:pos x="0" y="6"/>
                    </a:cxn>
                    <a:cxn ang="0">
                      <a:pos x="0" y="6"/>
                    </a:cxn>
                  </a:cxnLst>
                  <a:rect l="0" t="0" r="r" b="b"/>
                  <a:pathLst>
                    <a:path w="8" h="10">
                      <a:moveTo>
                        <a:pt x="0" y="6"/>
                      </a:moveTo>
                      <a:lnTo>
                        <a:pt x="0" y="6"/>
                      </a:lnTo>
                      <a:lnTo>
                        <a:pt x="2" y="8"/>
                      </a:lnTo>
                      <a:lnTo>
                        <a:pt x="4" y="10"/>
                      </a:lnTo>
                      <a:lnTo>
                        <a:pt x="6" y="8"/>
                      </a:lnTo>
                      <a:lnTo>
                        <a:pt x="8" y="4"/>
                      </a:lnTo>
                      <a:lnTo>
                        <a:pt x="8" y="4"/>
                      </a:lnTo>
                      <a:lnTo>
                        <a:pt x="6" y="0"/>
                      </a:lnTo>
                      <a:lnTo>
                        <a:pt x="4" y="2"/>
                      </a:lnTo>
                      <a:lnTo>
                        <a:pt x="2" y="4"/>
                      </a:lnTo>
                      <a:lnTo>
                        <a:pt x="0" y="6"/>
                      </a:lnTo>
                      <a:lnTo>
                        <a:pt x="0"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5" name="Freeform 6005"/>
                <p:cNvSpPr>
                  <a:spLocks/>
                </p:cNvSpPr>
                <p:nvPr/>
              </p:nvSpPr>
              <p:spPr bwMode="auto">
                <a:xfrm>
                  <a:off x="2840990" y="3593783"/>
                  <a:ext cx="7620" cy="6350"/>
                </a:xfrm>
                <a:custGeom>
                  <a:avLst/>
                  <a:gdLst/>
                  <a:ahLst/>
                  <a:cxnLst>
                    <a:cxn ang="0">
                      <a:pos x="10" y="0"/>
                    </a:cxn>
                    <a:cxn ang="0">
                      <a:pos x="10" y="0"/>
                    </a:cxn>
                    <a:cxn ang="0">
                      <a:pos x="6" y="2"/>
                    </a:cxn>
                    <a:cxn ang="0">
                      <a:pos x="2" y="4"/>
                    </a:cxn>
                    <a:cxn ang="0">
                      <a:pos x="2" y="4"/>
                    </a:cxn>
                    <a:cxn ang="0">
                      <a:pos x="0" y="8"/>
                    </a:cxn>
                    <a:cxn ang="0">
                      <a:pos x="2" y="10"/>
                    </a:cxn>
                    <a:cxn ang="0">
                      <a:pos x="8" y="10"/>
                    </a:cxn>
                    <a:cxn ang="0">
                      <a:pos x="8" y="10"/>
                    </a:cxn>
                    <a:cxn ang="0">
                      <a:pos x="10" y="8"/>
                    </a:cxn>
                    <a:cxn ang="0">
                      <a:pos x="12" y="6"/>
                    </a:cxn>
                    <a:cxn ang="0">
                      <a:pos x="12" y="2"/>
                    </a:cxn>
                    <a:cxn ang="0">
                      <a:pos x="10" y="0"/>
                    </a:cxn>
                    <a:cxn ang="0">
                      <a:pos x="10" y="0"/>
                    </a:cxn>
                  </a:cxnLst>
                  <a:rect l="0" t="0" r="r" b="b"/>
                  <a:pathLst>
                    <a:path w="12" h="10">
                      <a:moveTo>
                        <a:pt x="10" y="0"/>
                      </a:moveTo>
                      <a:lnTo>
                        <a:pt x="10" y="0"/>
                      </a:lnTo>
                      <a:lnTo>
                        <a:pt x="6" y="2"/>
                      </a:lnTo>
                      <a:lnTo>
                        <a:pt x="2" y="4"/>
                      </a:lnTo>
                      <a:lnTo>
                        <a:pt x="2" y="4"/>
                      </a:lnTo>
                      <a:lnTo>
                        <a:pt x="0" y="8"/>
                      </a:lnTo>
                      <a:lnTo>
                        <a:pt x="2" y="10"/>
                      </a:lnTo>
                      <a:lnTo>
                        <a:pt x="8" y="10"/>
                      </a:lnTo>
                      <a:lnTo>
                        <a:pt x="8" y="10"/>
                      </a:lnTo>
                      <a:lnTo>
                        <a:pt x="10" y="8"/>
                      </a:lnTo>
                      <a:lnTo>
                        <a:pt x="12" y="6"/>
                      </a:lnTo>
                      <a:lnTo>
                        <a:pt x="12" y="2"/>
                      </a:lnTo>
                      <a:lnTo>
                        <a:pt x="10" y="0"/>
                      </a:lnTo>
                      <a:lnTo>
                        <a:pt x="10"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6" name="Freeform 6006"/>
                <p:cNvSpPr>
                  <a:spLocks/>
                </p:cNvSpPr>
                <p:nvPr/>
              </p:nvSpPr>
              <p:spPr bwMode="auto">
                <a:xfrm>
                  <a:off x="2839720" y="3601403"/>
                  <a:ext cx="6350" cy="2540"/>
                </a:xfrm>
                <a:custGeom>
                  <a:avLst/>
                  <a:gdLst/>
                  <a:ahLst/>
                  <a:cxnLst>
                    <a:cxn ang="0">
                      <a:pos x="2" y="2"/>
                    </a:cxn>
                    <a:cxn ang="0">
                      <a:pos x="2" y="2"/>
                    </a:cxn>
                    <a:cxn ang="0">
                      <a:pos x="0" y="2"/>
                    </a:cxn>
                    <a:cxn ang="0">
                      <a:pos x="2" y="4"/>
                    </a:cxn>
                    <a:cxn ang="0">
                      <a:pos x="4" y="4"/>
                    </a:cxn>
                    <a:cxn ang="0">
                      <a:pos x="8" y="2"/>
                    </a:cxn>
                    <a:cxn ang="0">
                      <a:pos x="8" y="2"/>
                    </a:cxn>
                    <a:cxn ang="0">
                      <a:pos x="10" y="0"/>
                    </a:cxn>
                    <a:cxn ang="0">
                      <a:pos x="8" y="0"/>
                    </a:cxn>
                    <a:cxn ang="0">
                      <a:pos x="2" y="2"/>
                    </a:cxn>
                    <a:cxn ang="0">
                      <a:pos x="2" y="2"/>
                    </a:cxn>
                  </a:cxnLst>
                  <a:rect l="0" t="0" r="r" b="b"/>
                  <a:pathLst>
                    <a:path w="10" h="4">
                      <a:moveTo>
                        <a:pt x="2" y="2"/>
                      </a:moveTo>
                      <a:lnTo>
                        <a:pt x="2" y="2"/>
                      </a:lnTo>
                      <a:lnTo>
                        <a:pt x="0" y="2"/>
                      </a:lnTo>
                      <a:lnTo>
                        <a:pt x="2" y="4"/>
                      </a:lnTo>
                      <a:lnTo>
                        <a:pt x="4" y="4"/>
                      </a:lnTo>
                      <a:lnTo>
                        <a:pt x="8" y="2"/>
                      </a:lnTo>
                      <a:lnTo>
                        <a:pt x="8" y="2"/>
                      </a:lnTo>
                      <a:lnTo>
                        <a:pt x="10" y="0"/>
                      </a:lnTo>
                      <a:lnTo>
                        <a:pt x="8" y="0"/>
                      </a:lnTo>
                      <a:lnTo>
                        <a:pt x="2" y="2"/>
                      </a:lnTo>
                      <a:lnTo>
                        <a:pt x="2"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7" name="Freeform 6008"/>
                <p:cNvSpPr>
                  <a:spLocks/>
                </p:cNvSpPr>
                <p:nvPr/>
              </p:nvSpPr>
              <p:spPr bwMode="auto">
                <a:xfrm>
                  <a:off x="2847340" y="3597593"/>
                  <a:ext cx="3810" cy="3810"/>
                </a:xfrm>
                <a:custGeom>
                  <a:avLst/>
                  <a:gdLst/>
                  <a:ahLst/>
                  <a:cxnLst>
                    <a:cxn ang="0">
                      <a:pos x="6" y="0"/>
                    </a:cxn>
                    <a:cxn ang="0">
                      <a:pos x="6" y="0"/>
                    </a:cxn>
                    <a:cxn ang="0">
                      <a:pos x="4" y="0"/>
                    </a:cxn>
                    <a:cxn ang="0">
                      <a:pos x="2" y="2"/>
                    </a:cxn>
                    <a:cxn ang="0">
                      <a:pos x="0" y="4"/>
                    </a:cxn>
                    <a:cxn ang="0">
                      <a:pos x="2" y="6"/>
                    </a:cxn>
                    <a:cxn ang="0">
                      <a:pos x="2" y="6"/>
                    </a:cxn>
                    <a:cxn ang="0">
                      <a:pos x="4" y="4"/>
                    </a:cxn>
                    <a:cxn ang="0">
                      <a:pos x="6" y="0"/>
                    </a:cxn>
                    <a:cxn ang="0">
                      <a:pos x="6" y="0"/>
                    </a:cxn>
                  </a:cxnLst>
                  <a:rect l="0" t="0" r="r" b="b"/>
                  <a:pathLst>
                    <a:path w="6" h="6">
                      <a:moveTo>
                        <a:pt x="6" y="0"/>
                      </a:moveTo>
                      <a:lnTo>
                        <a:pt x="6" y="0"/>
                      </a:lnTo>
                      <a:lnTo>
                        <a:pt x="4" y="0"/>
                      </a:lnTo>
                      <a:lnTo>
                        <a:pt x="2" y="2"/>
                      </a:lnTo>
                      <a:lnTo>
                        <a:pt x="0" y="4"/>
                      </a:lnTo>
                      <a:lnTo>
                        <a:pt x="2" y="6"/>
                      </a:lnTo>
                      <a:lnTo>
                        <a:pt x="2" y="6"/>
                      </a:lnTo>
                      <a:lnTo>
                        <a:pt x="4" y="4"/>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8" name="Freeform 6009"/>
                <p:cNvSpPr>
                  <a:spLocks/>
                </p:cNvSpPr>
                <p:nvPr/>
              </p:nvSpPr>
              <p:spPr bwMode="auto">
                <a:xfrm>
                  <a:off x="2847340" y="3583623"/>
                  <a:ext cx="2540" cy="2540"/>
                </a:xfrm>
                <a:custGeom>
                  <a:avLst/>
                  <a:gdLst/>
                  <a:ahLst/>
                  <a:cxnLst>
                    <a:cxn ang="0">
                      <a:pos x="0" y="2"/>
                    </a:cxn>
                    <a:cxn ang="0">
                      <a:pos x="0" y="2"/>
                    </a:cxn>
                    <a:cxn ang="0">
                      <a:pos x="0" y="4"/>
                    </a:cxn>
                    <a:cxn ang="0">
                      <a:pos x="2" y="4"/>
                    </a:cxn>
                    <a:cxn ang="0">
                      <a:pos x="4" y="2"/>
                    </a:cxn>
                    <a:cxn ang="0">
                      <a:pos x="4" y="2"/>
                    </a:cxn>
                    <a:cxn ang="0">
                      <a:pos x="4" y="0"/>
                    </a:cxn>
                    <a:cxn ang="0">
                      <a:pos x="2" y="0"/>
                    </a:cxn>
                    <a:cxn ang="0">
                      <a:pos x="0" y="2"/>
                    </a:cxn>
                    <a:cxn ang="0">
                      <a:pos x="0" y="2"/>
                    </a:cxn>
                  </a:cxnLst>
                  <a:rect l="0" t="0" r="r" b="b"/>
                  <a:pathLst>
                    <a:path w="4" h="4">
                      <a:moveTo>
                        <a:pt x="0" y="2"/>
                      </a:moveTo>
                      <a:lnTo>
                        <a:pt x="0" y="2"/>
                      </a:lnTo>
                      <a:lnTo>
                        <a:pt x="0" y="4"/>
                      </a:lnTo>
                      <a:lnTo>
                        <a:pt x="2" y="4"/>
                      </a:lnTo>
                      <a:lnTo>
                        <a:pt x="4" y="2"/>
                      </a:lnTo>
                      <a:lnTo>
                        <a:pt x="4" y="2"/>
                      </a:lnTo>
                      <a:lnTo>
                        <a:pt x="4" y="0"/>
                      </a:lnTo>
                      <a:lnTo>
                        <a:pt x="2" y="0"/>
                      </a:lnTo>
                      <a:lnTo>
                        <a:pt x="0" y="2"/>
                      </a:lnTo>
                      <a:lnTo>
                        <a:pt x="0"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19" name="Freeform 6010"/>
                <p:cNvSpPr>
                  <a:spLocks/>
                </p:cNvSpPr>
                <p:nvPr/>
              </p:nvSpPr>
              <p:spPr bwMode="auto">
                <a:xfrm>
                  <a:off x="2843530" y="3587433"/>
                  <a:ext cx="5080" cy="5080"/>
                </a:xfrm>
                <a:custGeom>
                  <a:avLst/>
                  <a:gdLst/>
                  <a:ahLst/>
                  <a:cxnLst>
                    <a:cxn ang="0">
                      <a:pos x="0" y="8"/>
                    </a:cxn>
                    <a:cxn ang="0">
                      <a:pos x="0" y="8"/>
                    </a:cxn>
                    <a:cxn ang="0">
                      <a:pos x="0" y="8"/>
                    </a:cxn>
                    <a:cxn ang="0">
                      <a:pos x="2" y="8"/>
                    </a:cxn>
                    <a:cxn ang="0">
                      <a:pos x="4" y="4"/>
                    </a:cxn>
                    <a:cxn ang="0">
                      <a:pos x="8" y="0"/>
                    </a:cxn>
                    <a:cxn ang="0">
                      <a:pos x="8" y="0"/>
                    </a:cxn>
                    <a:cxn ang="0">
                      <a:pos x="6" y="0"/>
                    </a:cxn>
                    <a:cxn ang="0">
                      <a:pos x="6" y="0"/>
                    </a:cxn>
                    <a:cxn ang="0">
                      <a:pos x="4" y="0"/>
                    </a:cxn>
                    <a:cxn ang="0">
                      <a:pos x="2" y="2"/>
                    </a:cxn>
                    <a:cxn ang="0">
                      <a:pos x="0" y="8"/>
                    </a:cxn>
                    <a:cxn ang="0">
                      <a:pos x="0" y="8"/>
                    </a:cxn>
                  </a:cxnLst>
                  <a:rect l="0" t="0" r="r" b="b"/>
                  <a:pathLst>
                    <a:path w="8" h="8">
                      <a:moveTo>
                        <a:pt x="0" y="8"/>
                      </a:moveTo>
                      <a:lnTo>
                        <a:pt x="0" y="8"/>
                      </a:lnTo>
                      <a:lnTo>
                        <a:pt x="0" y="8"/>
                      </a:lnTo>
                      <a:lnTo>
                        <a:pt x="2" y="8"/>
                      </a:lnTo>
                      <a:lnTo>
                        <a:pt x="4" y="4"/>
                      </a:lnTo>
                      <a:lnTo>
                        <a:pt x="8" y="0"/>
                      </a:lnTo>
                      <a:lnTo>
                        <a:pt x="8" y="0"/>
                      </a:lnTo>
                      <a:lnTo>
                        <a:pt x="6" y="0"/>
                      </a:lnTo>
                      <a:lnTo>
                        <a:pt x="6" y="0"/>
                      </a:lnTo>
                      <a:lnTo>
                        <a:pt x="4" y="0"/>
                      </a:lnTo>
                      <a:lnTo>
                        <a:pt x="2" y="2"/>
                      </a:lnTo>
                      <a:lnTo>
                        <a:pt x="0" y="8"/>
                      </a:lnTo>
                      <a:lnTo>
                        <a:pt x="0"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0" name="Freeform 6011"/>
                <p:cNvSpPr>
                  <a:spLocks/>
                </p:cNvSpPr>
                <p:nvPr/>
              </p:nvSpPr>
              <p:spPr bwMode="auto">
                <a:xfrm>
                  <a:off x="2846070" y="3588703"/>
                  <a:ext cx="3810" cy="3810"/>
                </a:xfrm>
                <a:custGeom>
                  <a:avLst/>
                  <a:gdLst/>
                  <a:ahLst/>
                  <a:cxnLst>
                    <a:cxn ang="0">
                      <a:pos x="4" y="0"/>
                    </a:cxn>
                    <a:cxn ang="0">
                      <a:pos x="4" y="0"/>
                    </a:cxn>
                    <a:cxn ang="0">
                      <a:pos x="2" y="2"/>
                    </a:cxn>
                    <a:cxn ang="0">
                      <a:pos x="2" y="4"/>
                    </a:cxn>
                    <a:cxn ang="0">
                      <a:pos x="0" y="6"/>
                    </a:cxn>
                    <a:cxn ang="0">
                      <a:pos x="2" y="6"/>
                    </a:cxn>
                    <a:cxn ang="0">
                      <a:pos x="2" y="6"/>
                    </a:cxn>
                    <a:cxn ang="0">
                      <a:pos x="4" y="6"/>
                    </a:cxn>
                    <a:cxn ang="0">
                      <a:pos x="6" y="4"/>
                    </a:cxn>
                    <a:cxn ang="0">
                      <a:pos x="6" y="2"/>
                    </a:cxn>
                    <a:cxn ang="0">
                      <a:pos x="4" y="0"/>
                    </a:cxn>
                    <a:cxn ang="0">
                      <a:pos x="4" y="0"/>
                    </a:cxn>
                  </a:cxnLst>
                  <a:rect l="0" t="0" r="r" b="b"/>
                  <a:pathLst>
                    <a:path w="6" h="6">
                      <a:moveTo>
                        <a:pt x="4" y="0"/>
                      </a:moveTo>
                      <a:lnTo>
                        <a:pt x="4" y="0"/>
                      </a:lnTo>
                      <a:lnTo>
                        <a:pt x="2" y="2"/>
                      </a:lnTo>
                      <a:lnTo>
                        <a:pt x="2" y="4"/>
                      </a:lnTo>
                      <a:lnTo>
                        <a:pt x="0" y="6"/>
                      </a:lnTo>
                      <a:lnTo>
                        <a:pt x="2" y="6"/>
                      </a:lnTo>
                      <a:lnTo>
                        <a:pt x="2" y="6"/>
                      </a:lnTo>
                      <a:lnTo>
                        <a:pt x="4" y="6"/>
                      </a:lnTo>
                      <a:lnTo>
                        <a:pt x="6" y="4"/>
                      </a:lnTo>
                      <a:lnTo>
                        <a:pt x="6" y="2"/>
                      </a:lnTo>
                      <a:lnTo>
                        <a:pt x="4" y="0"/>
                      </a:lnTo>
                      <a:lnTo>
                        <a:pt x="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1" name="Freeform 6012"/>
                <p:cNvSpPr>
                  <a:spLocks/>
                </p:cNvSpPr>
                <p:nvPr/>
              </p:nvSpPr>
              <p:spPr bwMode="auto">
                <a:xfrm>
                  <a:off x="2269490" y="2471103"/>
                  <a:ext cx="119380" cy="58420"/>
                </a:xfrm>
                <a:custGeom>
                  <a:avLst/>
                  <a:gdLst/>
                  <a:ahLst/>
                  <a:cxnLst>
                    <a:cxn ang="0">
                      <a:pos x="182" y="0"/>
                    </a:cxn>
                    <a:cxn ang="0">
                      <a:pos x="180" y="4"/>
                    </a:cxn>
                    <a:cxn ang="0">
                      <a:pos x="180" y="8"/>
                    </a:cxn>
                    <a:cxn ang="0">
                      <a:pos x="174" y="10"/>
                    </a:cxn>
                    <a:cxn ang="0">
                      <a:pos x="154" y="12"/>
                    </a:cxn>
                    <a:cxn ang="0">
                      <a:pos x="130" y="16"/>
                    </a:cxn>
                    <a:cxn ang="0">
                      <a:pos x="126" y="20"/>
                    </a:cxn>
                    <a:cxn ang="0">
                      <a:pos x="126" y="26"/>
                    </a:cxn>
                    <a:cxn ang="0">
                      <a:pos x="132" y="30"/>
                    </a:cxn>
                    <a:cxn ang="0">
                      <a:pos x="112" y="26"/>
                    </a:cxn>
                    <a:cxn ang="0">
                      <a:pos x="98" y="24"/>
                    </a:cxn>
                    <a:cxn ang="0">
                      <a:pos x="82" y="26"/>
                    </a:cxn>
                    <a:cxn ang="0">
                      <a:pos x="68" y="38"/>
                    </a:cxn>
                    <a:cxn ang="0">
                      <a:pos x="60" y="46"/>
                    </a:cxn>
                    <a:cxn ang="0">
                      <a:pos x="50" y="50"/>
                    </a:cxn>
                    <a:cxn ang="0">
                      <a:pos x="40" y="60"/>
                    </a:cxn>
                    <a:cxn ang="0">
                      <a:pos x="38" y="62"/>
                    </a:cxn>
                    <a:cxn ang="0">
                      <a:pos x="32" y="58"/>
                    </a:cxn>
                    <a:cxn ang="0">
                      <a:pos x="26" y="58"/>
                    </a:cxn>
                    <a:cxn ang="0">
                      <a:pos x="18" y="56"/>
                    </a:cxn>
                    <a:cxn ang="0">
                      <a:pos x="16" y="52"/>
                    </a:cxn>
                    <a:cxn ang="0">
                      <a:pos x="18" y="46"/>
                    </a:cxn>
                    <a:cxn ang="0">
                      <a:pos x="26" y="44"/>
                    </a:cxn>
                    <a:cxn ang="0">
                      <a:pos x="36" y="42"/>
                    </a:cxn>
                    <a:cxn ang="0">
                      <a:pos x="44" y="36"/>
                    </a:cxn>
                    <a:cxn ang="0">
                      <a:pos x="40" y="32"/>
                    </a:cxn>
                    <a:cxn ang="0">
                      <a:pos x="34" y="30"/>
                    </a:cxn>
                    <a:cxn ang="0">
                      <a:pos x="30" y="20"/>
                    </a:cxn>
                    <a:cxn ang="0">
                      <a:pos x="24" y="30"/>
                    </a:cxn>
                    <a:cxn ang="0">
                      <a:pos x="20" y="36"/>
                    </a:cxn>
                    <a:cxn ang="0">
                      <a:pos x="14" y="42"/>
                    </a:cxn>
                    <a:cxn ang="0">
                      <a:pos x="10" y="50"/>
                    </a:cxn>
                    <a:cxn ang="0">
                      <a:pos x="4" y="66"/>
                    </a:cxn>
                    <a:cxn ang="0">
                      <a:pos x="0" y="76"/>
                    </a:cxn>
                    <a:cxn ang="0">
                      <a:pos x="2" y="78"/>
                    </a:cxn>
                    <a:cxn ang="0">
                      <a:pos x="12" y="80"/>
                    </a:cxn>
                    <a:cxn ang="0">
                      <a:pos x="28" y="84"/>
                    </a:cxn>
                    <a:cxn ang="0">
                      <a:pos x="28" y="84"/>
                    </a:cxn>
                    <a:cxn ang="0">
                      <a:pos x="24" y="86"/>
                    </a:cxn>
                    <a:cxn ang="0">
                      <a:pos x="18" y="88"/>
                    </a:cxn>
                    <a:cxn ang="0">
                      <a:pos x="20" y="90"/>
                    </a:cxn>
                    <a:cxn ang="0">
                      <a:pos x="42" y="92"/>
                    </a:cxn>
                    <a:cxn ang="0">
                      <a:pos x="82" y="82"/>
                    </a:cxn>
                    <a:cxn ang="0">
                      <a:pos x="102" y="70"/>
                    </a:cxn>
                    <a:cxn ang="0">
                      <a:pos x="130" y="54"/>
                    </a:cxn>
                    <a:cxn ang="0">
                      <a:pos x="140" y="50"/>
                    </a:cxn>
                    <a:cxn ang="0">
                      <a:pos x="164" y="36"/>
                    </a:cxn>
                    <a:cxn ang="0">
                      <a:pos x="184" y="20"/>
                    </a:cxn>
                    <a:cxn ang="0">
                      <a:pos x="188" y="8"/>
                    </a:cxn>
                    <a:cxn ang="0">
                      <a:pos x="184" y="0"/>
                    </a:cxn>
                    <a:cxn ang="0">
                      <a:pos x="182" y="0"/>
                    </a:cxn>
                  </a:cxnLst>
                  <a:rect l="0" t="0" r="r" b="b"/>
                  <a:pathLst>
                    <a:path w="188" h="92">
                      <a:moveTo>
                        <a:pt x="182" y="0"/>
                      </a:moveTo>
                      <a:lnTo>
                        <a:pt x="182" y="0"/>
                      </a:lnTo>
                      <a:lnTo>
                        <a:pt x="180" y="2"/>
                      </a:lnTo>
                      <a:lnTo>
                        <a:pt x="180" y="4"/>
                      </a:lnTo>
                      <a:lnTo>
                        <a:pt x="180" y="8"/>
                      </a:lnTo>
                      <a:lnTo>
                        <a:pt x="180" y="8"/>
                      </a:lnTo>
                      <a:lnTo>
                        <a:pt x="178" y="10"/>
                      </a:lnTo>
                      <a:lnTo>
                        <a:pt x="174" y="10"/>
                      </a:lnTo>
                      <a:lnTo>
                        <a:pt x="154" y="12"/>
                      </a:lnTo>
                      <a:lnTo>
                        <a:pt x="154" y="12"/>
                      </a:lnTo>
                      <a:lnTo>
                        <a:pt x="134" y="14"/>
                      </a:lnTo>
                      <a:lnTo>
                        <a:pt x="130" y="16"/>
                      </a:lnTo>
                      <a:lnTo>
                        <a:pt x="126" y="20"/>
                      </a:lnTo>
                      <a:lnTo>
                        <a:pt x="126" y="20"/>
                      </a:lnTo>
                      <a:lnTo>
                        <a:pt x="126" y="22"/>
                      </a:lnTo>
                      <a:lnTo>
                        <a:pt x="126" y="26"/>
                      </a:lnTo>
                      <a:lnTo>
                        <a:pt x="130" y="28"/>
                      </a:lnTo>
                      <a:lnTo>
                        <a:pt x="132" y="30"/>
                      </a:lnTo>
                      <a:lnTo>
                        <a:pt x="128" y="30"/>
                      </a:lnTo>
                      <a:lnTo>
                        <a:pt x="112" y="26"/>
                      </a:lnTo>
                      <a:lnTo>
                        <a:pt x="112" y="26"/>
                      </a:lnTo>
                      <a:lnTo>
                        <a:pt x="98" y="24"/>
                      </a:lnTo>
                      <a:lnTo>
                        <a:pt x="90" y="24"/>
                      </a:lnTo>
                      <a:lnTo>
                        <a:pt x="82" y="26"/>
                      </a:lnTo>
                      <a:lnTo>
                        <a:pt x="76" y="30"/>
                      </a:lnTo>
                      <a:lnTo>
                        <a:pt x="68" y="38"/>
                      </a:lnTo>
                      <a:lnTo>
                        <a:pt x="64" y="42"/>
                      </a:lnTo>
                      <a:lnTo>
                        <a:pt x="60" y="46"/>
                      </a:lnTo>
                      <a:lnTo>
                        <a:pt x="60" y="46"/>
                      </a:lnTo>
                      <a:lnTo>
                        <a:pt x="50" y="50"/>
                      </a:lnTo>
                      <a:lnTo>
                        <a:pt x="44" y="54"/>
                      </a:lnTo>
                      <a:lnTo>
                        <a:pt x="40" y="60"/>
                      </a:lnTo>
                      <a:lnTo>
                        <a:pt x="40" y="60"/>
                      </a:lnTo>
                      <a:lnTo>
                        <a:pt x="38" y="62"/>
                      </a:lnTo>
                      <a:lnTo>
                        <a:pt x="36" y="60"/>
                      </a:lnTo>
                      <a:lnTo>
                        <a:pt x="32" y="58"/>
                      </a:lnTo>
                      <a:lnTo>
                        <a:pt x="26" y="58"/>
                      </a:lnTo>
                      <a:lnTo>
                        <a:pt x="26" y="58"/>
                      </a:lnTo>
                      <a:lnTo>
                        <a:pt x="22" y="58"/>
                      </a:lnTo>
                      <a:lnTo>
                        <a:pt x="18" y="56"/>
                      </a:lnTo>
                      <a:lnTo>
                        <a:pt x="16" y="54"/>
                      </a:lnTo>
                      <a:lnTo>
                        <a:pt x="16" y="52"/>
                      </a:lnTo>
                      <a:lnTo>
                        <a:pt x="16" y="48"/>
                      </a:lnTo>
                      <a:lnTo>
                        <a:pt x="18" y="46"/>
                      </a:lnTo>
                      <a:lnTo>
                        <a:pt x="20" y="44"/>
                      </a:lnTo>
                      <a:lnTo>
                        <a:pt x="26" y="44"/>
                      </a:lnTo>
                      <a:lnTo>
                        <a:pt x="26" y="44"/>
                      </a:lnTo>
                      <a:lnTo>
                        <a:pt x="36" y="42"/>
                      </a:lnTo>
                      <a:lnTo>
                        <a:pt x="42" y="38"/>
                      </a:lnTo>
                      <a:lnTo>
                        <a:pt x="44" y="36"/>
                      </a:lnTo>
                      <a:lnTo>
                        <a:pt x="42" y="34"/>
                      </a:lnTo>
                      <a:lnTo>
                        <a:pt x="40" y="32"/>
                      </a:lnTo>
                      <a:lnTo>
                        <a:pt x="34" y="30"/>
                      </a:lnTo>
                      <a:lnTo>
                        <a:pt x="34" y="30"/>
                      </a:lnTo>
                      <a:lnTo>
                        <a:pt x="32" y="22"/>
                      </a:lnTo>
                      <a:lnTo>
                        <a:pt x="30" y="20"/>
                      </a:lnTo>
                      <a:lnTo>
                        <a:pt x="28" y="22"/>
                      </a:lnTo>
                      <a:lnTo>
                        <a:pt x="24" y="30"/>
                      </a:lnTo>
                      <a:lnTo>
                        <a:pt x="24" y="30"/>
                      </a:lnTo>
                      <a:lnTo>
                        <a:pt x="20" y="36"/>
                      </a:lnTo>
                      <a:lnTo>
                        <a:pt x="16" y="40"/>
                      </a:lnTo>
                      <a:lnTo>
                        <a:pt x="14" y="42"/>
                      </a:lnTo>
                      <a:lnTo>
                        <a:pt x="10" y="50"/>
                      </a:lnTo>
                      <a:lnTo>
                        <a:pt x="10" y="50"/>
                      </a:lnTo>
                      <a:lnTo>
                        <a:pt x="8" y="60"/>
                      </a:lnTo>
                      <a:lnTo>
                        <a:pt x="4" y="66"/>
                      </a:lnTo>
                      <a:lnTo>
                        <a:pt x="2" y="72"/>
                      </a:lnTo>
                      <a:lnTo>
                        <a:pt x="0" y="76"/>
                      </a:lnTo>
                      <a:lnTo>
                        <a:pt x="0" y="76"/>
                      </a:lnTo>
                      <a:lnTo>
                        <a:pt x="2" y="78"/>
                      </a:lnTo>
                      <a:lnTo>
                        <a:pt x="4" y="80"/>
                      </a:lnTo>
                      <a:lnTo>
                        <a:pt x="12" y="80"/>
                      </a:lnTo>
                      <a:lnTo>
                        <a:pt x="20" y="82"/>
                      </a:lnTo>
                      <a:lnTo>
                        <a:pt x="28" y="84"/>
                      </a:lnTo>
                      <a:lnTo>
                        <a:pt x="28" y="84"/>
                      </a:lnTo>
                      <a:lnTo>
                        <a:pt x="28" y="84"/>
                      </a:lnTo>
                      <a:lnTo>
                        <a:pt x="28" y="86"/>
                      </a:lnTo>
                      <a:lnTo>
                        <a:pt x="24" y="86"/>
                      </a:lnTo>
                      <a:lnTo>
                        <a:pt x="18" y="88"/>
                      </a:lnTo>
                      <a:lnTo>
                        <a:pt x="18" y="88"/>
                      </a:lnTo>
                      <a:lnTo>
                        <a:pt x="20" y="90"/>
                      </a:lnTo>
                      <a:lnTo>
                        <a:pt x="20" y="90"/>
                      </a:lnTo>
                      <a:lnTo>
                        <a:pt x="28" y="92"/>
                      </a:lnTo>
                      <a:lnTo>
                        <a:pt x="42" y="92"/>
                      </a:lnTo>
                      <a:lnTo>
                        <a:pt x="60" y="88"/>
                      </a:lnTo>
                      <a:lnTo>
                        <a:pt x="82" y="82"/>
                      </a:lnTo>
                      <a:lnTo>
                        <a:pt x="82" y="82"/>
                      </a:lnTo>
                      <a:lnTo>
                        <a:pt x="102" y="70"/>
                      </a:lnTo>
                      <a:lnTo>
                        <a:pt x="118" y="60"/>
                      </a:lnTo>
                      <a:lnTo>
                        <a:pt x="130" y="54"/>
                      </a:lnTo>
                      <a:lnTo>
                        <a:pt x="140" y="50"/>
                      </a:lnTo>
                      <a:lnTo>
                        <a:pt x="140" y="50"/>
                      </a:lnTo>
                      <a:lnTo>
                        <a:pt x="152" y="44"/>
                      </a:lnTo>
                      <a:lnTo>
                        <a:pt x="164" y="36"/>
                      </a:lnTo>
                      <a:lnTo>
                        <a:pt x="184" y="20"/>
                      </a:lnTo>
                      <a:lnTo>
                        <a:pt x="184" y="20"/>
                      </a:lnTo>
                      <a:lnTo>
                        <a:pt x="186" y="14"/>
                      </a:lnTo>
                      <a:lnTo>
                        <a:pt x="188" y="8"/>
                      </a:lnTo>
                      <a:lnTo>
                        <a:pt x="186" y="2"/>
                      </a:lnTo>
                      <a:lnTo>
                        <a:pt x="184" y="0"/>
                      </a:lnTo>
                      <a:lnTo>
                        <a:pt x="182" y="0"/>
                      </a:lnTo>
                      <a:lnTo>
                        <a:pt x="18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2" name="Freeform 6013"/>
                <p:cNvSpPr>
                  <a:spLocks/>
                </p:cNvSpPr>
                <p:nvPr/>
              </p:nvSpPr>
              <p:spPr bwMode="auto">
                <a:xfrm>
                  <a:off x="2048510" y="2253933"/>
                  <a:ext cx="318770" cy="267970"/>
                </a:xfrm>
                <a:custGeom>
                  <a:avLst/>
                  <a:gdLst/>
                  <a:ahLst/>
                  <a:cxnLst>
                    <a:cxn ang="0">
                      <a:pos x="50" y="120"/>
                    </a:cxn>
                    <a:cxn ang="0">
                      <a:pos x="52" y="140"/>
                    </a:cxn>
                    <a:cxn ang="0">
                      <a:pos x="106" y="128"/>
                    </a:cxn>
                    <a:cxn ang="0">
                      <a:pos x="144" y="110"/>
                    </a:cxn>
                    <a:cxn ang="0">
                      <a:pos x="164" y="120"/>
                    </a:cxn>
                    <a:cxn ang="0">
                      <a:pos x="200" y="146"/>
                    </a:cxn>
                    <a:cxn ang="0">
                      <a:pos x="242" y="138"/>
                    </a:cxn>
                    <a:cxn ang="0">
                      <a:pos x="286" y="142"/>
                    </a:cxn>
                    <a:cxn ang="0">
                      <a:pos x="316" y="154"/>
                    </a:cxn>
                    <a:cxn ang="0">
                      <a:pos x="328" y="176"/>
                    </a:cxn>
                    <a:cxn ang="0">
                      <a:pos x="298" y="180"/>
                    </a:cxn>
                    <a:cxn ang="0">
                      <a:pos x="262" y="170"/>
                    </a:cxn>
                    <a:cxn ang="0">
                      <a:pos x="220" y="194"/>
                    </a:cxn>
                    <a:cxn ang="0">
                      <a:pos x="210" y="188"/>
                    </a:cxn>
                    <a:cxn ang="0">
                      <a:pos x="186" y="218"/>
                    </a:cxn>
                    <a:cxn ang="0">
                      <a:pos x="166" y="250"/>
                    </a:cxn>
                    <a:cxn ang="0">
                      <a:pos x="188" y="240"/>
                    </a:cxn>
                    <a:cxn ang="0">
                      <a:pos x="184" y="276"/>
                    </a:cxn>
                    <a:cxn ang="0">
                      <a:pos x="174" y="316"/>
                    </a:cxn>
                    <a:cxn ang="0">
                      <a:pos x="172" y="390"/>
                    </a:cxn>
                    <a:cxn ang="0">
                      <a:pos x="206" y="420"/>
                    </a:cxn>
                    <a:cxn ang="0">
                      <a:pos x="238" y="354"/>
                    </a:cxn>
                    <a:cxn ang="0">
                      <a:pos x="228" y="292"/>
                    </a:cxn>
                    <a:cxn ang="0">
                      <a:pos x="236" y="258"/>
                    </a:cxn>
                    <a:cxn ang="0">
                      <a:pos x="260" y="226"/>
                    </a:cxn>
                    <a:cxn ang="0">
                      <a:pos x="270" y="230"/>
                    </a:cxn>
                    <a:cxn ang="0">
                      <a:pos x="284" y="204"/>
                    </a:cxn>
                    <a:cxn ang="0">
                      <a:pos x="304" y="190"/>
                    </a:cxn>
                    <a:cxn ang="0">
                      <a:pos x="334" y="208"/>
                    </a:cxn>
                    <a:cxn ang="0">
                      <a:pos x="350" y="232"/>
                    </a:cxn>
                    <a:cxn ang="0">
                      <a:pos x="342" y="282"/>
                    </a:cxn>
                    <a:cxn ang="0">
                      <a:pos x="340" y="312"/>
                    </a:cxn>
                    <a:cxn ang="0">
                      <a:pos x="366" y="288"/>
                    </a:cxn>
                    <a:cxn ang="0">
                      <a:pos x="390" y="344"/>
                    </a:cxn>
                    <a:cxn ang="0">
                      <a:pos x="418" y="288"/>
                    </a:cxn>
                    <a:cxn ang="0">
                      <a:pos x="432" y="236"/>
                    </a:cxn>
                    <a:cxn ang="0">
                      <a:pos x="432" y="218"/>
                    </a:cxn>
                    <a:cxn ang="0">
                      <a:pos x="444" y="234"/>
                    </a:cxn>
                    <a:cxn ang="0">
                      <a:pos x="450" y="246"/>
                    </a:cxn>
                    <a:cxn ang="0">
                      <a:pos x="472" y="256"/>
                    </a:cxn>
                    <a:cxn ang="0">
                      <a:pos x="484" y="246"/>
                    </a:cxn>
                    <a:cxn ang="0">
                      <a:pos x="500" y="250"/>
                    </a:cxn>
                    <a:cxn ang="0">
                      <a:pos x="486" y="218"/>
                    </a:cxn>
                    <a:cxn ang="0">
                      <a:pos x="468" y="196"/>
                    </a:cxn>
                    <a:cxn ang="0">
                      <a:pos x="426" y="172"/>
                    </a:cxn>
                    <a:cxn ang="0">
                      <a:pos x="388" y="166"/>
                    </a:cxn>
                    <a:cxn ang="0">
                      <a:pos x="324" y="148"/>
                    </a:cxn>
                    <a:cxn ang="0">
                      <a:pos x="304" y="140"/>
                    </a:cxn>
                    <a:cxn ang="0">
                      <a:pos x="306" y="122"/>
                    </a:cxn>
                    <a:cxn ang="0">
                      <a:pos x="302" y="98"/>
                    </a:cxn>
                    <a:cxn ang="0">
                      <a:pos x="290" y="62"/>
                    </a:cxn>
                    <a:cxn ang="0">
                      <a:pos x="244" y="50"/>
                    </a:cxn>
                    <a:cxn ang="0">
                      <a:pos x="214" y="14"/>
                    </a:cxn>
                    <a:cxn ang="0">
                      <a:pos x="162" y="0"/>
                    </a:cxn>
                    <a:cxn ang="0">
                      <a:pos x="158" y="24"/>
                    </a:cxn>
                    <a:cxn ang="0">
                      <a:pos x="150" y="8"/>
                    </a:cxn>
                    <a:cxn ang="0">
                      <a:pos x="132" y="34"/>
                    </a:cxn>
                    <a:cxn ang="0">
                      <a:pos x="118" y="36"/>
                    </a:cxn>
                    <a:cxn ang="0">
                      <a:pos x="46" y="86"/>
                    </a:cxn>
                    <a:cxn ang="0">
                      <a:pos x="4" y="134"/>
                    </a:cxn>
                  </a:cxnLst>
                  <a:rect l="0" t="0" r="r" b="b"/>
                  <a:pathLst>
                    <a:path w="502" h="422">
                      <a:moveTo>
                        <a:pt x="4" y="134"/>
                      </a:moveTo>
                      <a:lnTo>
                        <a:pt x="4" y="134"/>
                      </a:lnTo>
                      <a:lnTo>
                        <a:pt x="10" y="134"/>
                      </a:lnTo>
                      <a:lnTo>
                        <a:pt x="16" y="134"/>
                      </a:lnTo>
                      <a:lnTo>
                        <a:pt x="28" y="128"/>
                      </a:lnTo>
                      <a:lnTo>
                        <a:pt x="40" y="122"/>
                      </a:lnTo>
                      <a:lnTo>
                        <a:pt x="46" y="120"/>
                      </a:lnTo>
                      <a:lnTo>
                        <a:pt x="50" y="120"/>
                      </a:lnTo>
                      <a:lnTo>
                        <a:pt x="50" y="120"/>
                      </a:lnTo>
                      <a:lnTo>
                        <a:pt x="52" y="122"/>
                      </a:lnTo>
                      <a:lnTo>
                        <a:pt x="54" y="124"/>
                      </a:lnTo>
                      <a:lnTo>
                        <a:pt x="50" y="132"/>
                      </a:lnTo>
                      <a:lnTo>
                        <a:pt x="46" y="140"/>
                      </a:lnTo>
                      <a:lnTo>
                        <a:pt x="48" y="142"/>
                      </a:lnTo>
                      <a:lnTo>
                        <a:pt x="52" y="140"/>
                      </a:lnTo>
                      <a:lnTo>
                        <a:pt x="52" y="140"/>
                      </a:lnTo>
                      <a:lnTo>
                        <a:pt x="60" y="140"/>
                      </a:lnTo>
                      <a:lnTo>
                        <a:pt x="68" y="142"/>
                      </a:lnTo>
                      <a:lnTo>
                        <a:pt x="76" y="140"/>
                      </a:lnTo>
                      <a:lnTo>
                        <a:pt x="86" y="134"/>
                      </a:lnTo>
                      <a:lnTo>
                        <a:pt x="86" y="134"/>
                      </a:lnTo>
                      <a:lnTo>
                        <a:pt x="92" y="130"/>
                      </a:lnTo>
                      <a:lnTo>
                        <a:pt x="98" y="128"/>
                      </a:lnTo>
                      <a:lnTo>
                        <a:pt x="106" y="128"/>
                      </a:lnTo>
                      <a:lnTo>
                        <a:pt x="112" y="126"/>
                      </a:lnTo>
                      <a:lnTo>
                        <a:pt x="118" y="124"/>
                      </a:lnTo>
                      <a:lnTo>
                        <a:pt x="122" y="120"/>
                      </a:lnTo>
                      <a:lnTo>
                        <a:pt x="122" y="120"/>
                      </a:lnTo>
                      <a:lnTo>
                        <a:pt x="132" y="110"/>
                      </a:lnTo>
                      <a:lnTo>
                        <a:pt x="140" y="106"/>
                      </a:lnTo>
                      <a:lnTo>
                        <a:pt x="142" y="108"/>
                      </a:lnTo>
                      <a:lnTo>
                        <a:pt x="144" y="110"/>
                      </a:lnTo>
                      <a:lnTo>
                        <a:pt x="146" y="120"/>
                      </a:lnTo>
                      <a:lnTo>
                        <a:pt x="146" y="120"/>
                      </a:lnTo>
                      <a:lnTo>
                        <a:pt x="148" y="124"/>
                      </a:lnTo>
                      <a:lnTo>
                        <a:pt x="148" y="126"/>
                      </a:lnTo>
                      <a:lnTo>
                        <a:pt x="150" y="126"/>
                      </a:lnTo>
                      <a:lnTo>
                        <a:pt x="152" y="124"/>
                      </a:lnTo>
                      <a:lnTo>
                        <a:pt x="160" y="120"/>
                      </a:lnTo>
                      <a:lnTo>
                        <a:pt x="164" y="120"/>
                      </a:lnTo>
                      <a:lnTo>
                        <a:pt x="170" y="122"/>
                      </a:lnTo>
                      <a:lnTo>
                        <a:pt x="170" y="122"/>
                      </a:lnTo>
                      <a:lnTo>
                        <a:pt x="176" y="124"/>
                      </a:lnTo>
                      <a:lnTo>
                        <a:pt x="180" y="128"/>
                      </a:lnTo>
                      <a:lnTo>
                        <a:pt x="186" y="138"/>
                      </a:lnTo>
                      <a:lnTo>
                        <a:pt x="192" y="144"/>
                      </a:lnTo>
                      <a:lnTo>
                        <a:pt x="194" y="146"/>
                      </a:lnTo>
                      <a:lnTo>
                        <a:pt x="200" y="146"/>
                      </a:lnTo>
                      <a:lnTo>
                        <a:pt x="200" y="146"/>
                      </a:lnTo>
                      <a:lnTo>
                        <a:pt x="210" y="148"/>
                      </a:lnTo>
                      <a:lnTo>
                        <a:pt x="216" y="148"/>
                      </a:lnTo>
                      <a:lnTo>
                        <a:pt x="222" y="148"/>
                      </a:lnTo>
                      <a:lnTo>
                        <a:pt x="230" y="144"/>
                      </a:lnTo>
                      <a:lnTo>
                        <a:pt x="230" y="144"/>
                      </a:lnTo>
                      <a:lnTo>
                        <a:pt x="236" y="140"/>
                      </a:lnTo>
                      <a:lnTo>
                        <a:pt x="242" y="138"/>
                      </a:lnTo>
                      <a:lnTo>
                        <a:pt x="256" y="136"/>
                      </a:lnTo>
                      <a:lnTo>
                        <a:pt x="272" y="134"/>
                      </a:lnTo>
                      <a:lnTo>
                        <a:pt x="282" y="132"/>
                      </a:lnTo>
                      <a:lnTo>
                        <a:pt x="282" y="132"/>
                      </a:lnTo>
                      <a:lnTo>
                        <a:pt x="286" y="130"/>
                      </a:lnTo>
                      <a:lnTo>
                        <a:pt x="288" y="130"/>
                      </a:lnTo>
                      <a:lnTo>
                        <a:pt x="286" y="136"/>
                      </a:lnTo>
                      <a:lnTo>
                        <a:pt x="286" y="142"/>
                      </a:lnTo>
                      <a:lnTo>
                        <a:pt x="288" y="144"/>
                      </a:lnTo>
                      <a:lnTo>
                        <a:pt x="290" y="146"/>
                      </a:lnTo>
                      <a:lnTo>
                        <a:pt x="290" y="146"/>
                      </a:lnTo>
                      <a:lnTo>
                        <a:pt x="302" y="150"/>
                      </a:lnTo>
                      <a:lnTo>
                        <a:pt x="310" y="150"/>
                      </a:lnTo>
                      <a:lnTo>
                        <a:pt x="314" y="150"/>
                      </a:lnTo>
                      <a:lnTo>
                        <a:pt x="316" y="150"/>
                      </a:lnTo>
                      <a:lnTo>
                        <a:pt x="316" y="154"/>
                      </a:lnTo>
                      <a:lnTo>
                        <a:pt x="316" y="154"/>
                      </a:lnTo>
                      <a:lnTo>
                        <a:pt x="318" y="162"/>
                      </a:lnTo>
                      <a:lnTo>
                        <a:pt x="322" y="164"/>
                      </a:lnTo>
                      <a:lnTo>
                        <a:pt x="326" y="166"/>
                      </a:lnTo>
                      <a:lnTo>
                        <a:pt x="330" y="170"/>
                      </a:lnTo>
                      <a:lnTo>
                        <a:pt x="330" y="170"/>
                      </a:lnTo>
                      <a:lnTo>
                        <a:pt x="330" y="174"/>
                      </a:lnTo>
                      <a:lnTo>
                        <a:pt x="328" y="176"/>
                      </a:lnTo>
                      <a:lnTo>
                        <a:pt x="322" y="178"/>
                      </a:lnTo>
                      <a:lnTo>
                        <a:pt x="312" y="176"/>
                      </a:lnTo>
                      <a:lnTo>
                        <a:pt x="304" y="172"/>
                      </a:lnTo>
                      <a:lnTo>
                        <a:pt x="304" y="172"/>
                      </a:lnTo>
                      <a:lnTo>
                        <a:pt x="302" y="172"/>
                      </a:lnTo>
                      <a:lnTo>
                        <a:pt x="300" y="174"/>
                      </a:lnTo>
                      <a:lnTo>
                        <a:pt x="300" y="178"/>
                      </a:lnTo>
                      <a:lnTo>
                        <a:pt x="298" y="180"/>
                      </a:lnTo>
                      <a:lnTo>
                        <a:pt x="296" y="182"/>
                      </a:lnTo>
                      <a:lnTo>
                        <a:pt x="294" y="182"/>
                      </a:lnTo>
                      <a:lnTo>
                        <a:pt x="288" y="178"/>
                      </a:lnTo>
                      <a:lnTo>
                        <a:pt x="288" y="178"/>
                      </a:lnTo>
                      <a:lnTo>
                        <a:pt x="278" y="172"/>
                      </a:lnTo>
                      <a:lnTo>
                        <a:pt x="270" y="170"/>
                      </a:lnTo>
                      <a:lnTo>
                        <a:pt x="266" y="168"/>
                      </a:lnTo>
                      <a:lnTo>
                        <a:pt x="262" y="170"/>
                      </a:lnTo>
                      <a:lnTo>
                        <a:pt x="256" y="176"/>
                      </a:lnTo>
                      <a:lnTo>
                        <a:pt x="252" y="176"/>
                      </a:lnTo>
                      <a:lnTo>
                        <a:pt x="242" y="176"/>
                      </a:lnTo>
                      <a:lnTo>
                        <a:pt x="242" y="176"/>
                      </a:lnTo>
                      <a:lnTo>
                        <a:pt x="238" y="178"/>
                      </a:lnTo>
                      <a:lnTo>
                        <a:pt x="234" y="180"/>
                      </a:lnTo>
                      <a:lnTo>
                        <a:pt x="226" y="188"/>
                      </a:lnTo>
                      <a:lnTo>
                        <a:pt x="220" y="194"/>
                      </a:lnTo>
                      <a:lnTo>
                        <a:pt x="220" y="194"/>
                      </a:lnTo>
                      <a:lnTo>
                        <a:pt x="220" y="190"/>
                      </a:lnTo>
                      <a:lnTo>
                        <a:pt x="220" y="190"/>
                      </a:lnTo>
                      <a:lnTo>
                        <a:pt x="222" y="184"/>
                      </a:lnTo>
                      <a:lnTo>
                        <a:pt x="220" y="184"/>
                      </a:lnTo>
                      <a:lnTo>
                        <a:pt x="216" y="186"/>
                      </a:lnTo>
                      <a:lnTo>
                        <a:pt x="212" y="188"/>
                      </a:lnTo>
                      <a:lnTo>
                        <a:pt x="210" y="188"/>
                      </a:lnTo>
                      <a:lnTo>
                        <a:pt x="208" y="184"/>
                      </a:lnTo>
                      <a:lnTo>
                        <a:pt x="208" y="184"/>
                      </a:lnTo>
                      <a:lnTo>
                        <a:pt x="208" y="182"/>
                      </a:lnTo>
                      <a:lnTo>
                        <a:pt x="206" y="184"/>
                      </a:lnTo>
                      <a:lnTo>
                        <a:pt x="200" y="192"/>
                      </a:lnTo>
                      <a:lnTo>
                        <a:pt x="194" y="206"/>
                      </a:lnTo>
                      <a:lnTo>
                        <a:pt x="186" y="218"/>
                      </a:lnTo>
                      <a:lnTo>
                        <a:pt x="186" y="218"/>
                      </a:lnTo>
                      <a:lnTo>
                        <a:pt x="182" y="224"/>
                      </a:lnTo>
                      <a:lnTo>
                        <a:pt x="180" y="228"/>
                      </a:lnTo>
                      <a:lnTo>
                        <a:pt x="178" y="232"/>
                      </a:lnTo>
                      <a:lnTo>
                        <a:pt x="174" y="234"/>
                      </a:lnTo>
                      <a:lnTo>
                        <a:pt x="174" y="234"/>
                      </a:lnTo>
                      <a:lnTo>
                        <a:pt x="172" y="238"/>
                      </a:lnTo>
                      <a:lnTo>
                        <a:pt x="168" y="242"/>
                      </a:lnTo>
                      <a:lnTo>
                        <a:pt x="166" y="250"/>
                      </a:lnTo>
                      <a:lnTo>
                        <a:pt x="166" y="258"/>
                      </a:lnTo>
                      <a:lnTo>
                        <a:pt x="168" y="258"/>
                      </a:lnTo>
                      <a:lnTo>
                        <a:pt x="170" y="256"/>
                      </a:lnTo>
                      <a:lnTo>
                        <a:pt x="170" y="256"/>
                      </a:lnTo>
                      <a:lnTo>
                        <a:pt x="176" y="250"/>
                      </a:lnTo>
                      <a:lnTo>
                        <a:pt x="180" y="244"/>
                      </a:lnTo>
                      <a:lnTo>
                        <a:pt x="182" y="240"/>
                      </a:lnTo>
                      <a:lnTo>
                        <a:pt x="188" y="240"/>
                      </a:lnTo>
                      <a:lnTo>
                        <a:pt x="188" y="240"/>
                      </a:lnTo>
                      <a:lnTo>
                        <a:pt x="190" y="244"/>
                      </a:lnTo>
                      <a:lnTo>
                        <a:pt x="190" y="246"/>
                      </a:lnTo>
                      <a:lnTo>
                        <a:pt x="188" y="256"/>
                      </a:lnTo>
                      <a:lnTo>
                        <a:pt x="184" y="268"/>
                      </a:lnTo>
                      <a:lnTo>
                        <a:pt x="182" y="272"/>
                      </a:lnTo>
                      <a:lnTo>
                        <a:pt x="184" y="276"/>
                      </a:lnTo>
                      <a:lnTo>
                        <a:pt x="184" y="276"/>
                      </a:lnTo>
                      <a:lnTo>
                        <a:pt x="184" y="282"/>
                      </a:lnTo>
                      <a:lnTo>
                        <a:pt x="182" y="284"/>
                      </a:lnTo>
                      <a:lnTo>
                        <a:pt x="180" y="284"/>
                      </a:lnTo>
                      <a:lnTo>
                        <a:pt x="178" y="288"/>
                      </a:lnTo>
                      <a:lnTo>
                        <a:pt x="176" y="294"/>
                      </a:lnTo>
                      <a:lnTo>
                        <a:pt x="176" y="302"/>
                      </a:lnTo>
                      <a:lnTo>
                        <a:pt x="176" y="302"/>
                      </a:lnTo>
                      <a:lnTo>
                        <a:pt x="174" y="316"/>
                      </a:lnTo>
                      <a:lnTo>
                        <a:pt x="170" y="326"/>
                      </a:lnTo>
                      <a:lnTo>
                        <a:pt x="170" y="334"/>
                      </a:lnTo>
                      <a:lnTo>
                        <a:pt x="172" y="348"/>
                      </a:lnTo>
                      <a:lnTo>
                        <a:pt x="172" y="348"/>
                      </a:lnTo>
                      <a:lnTo>
                        <a:pt x="172" y="356"/>
                      </a:lnTo>
                      <a:lnTo>
                        <a:pt x="172" y="364"/>
                      </a:lnTo>
                      <a:lnTo>
                        <a:pt x="172" y="376"/>
                      </a:lnTo>
                      <a:lnTo>
                        <a:pt x="172" y="390"/>
                      </a:lnTo>
                      <a:lnTo>
                        <a:pt x="174" y="396"/>
                      </a:lnTo>
                      <a:lnTo>
                        <a:pt x="178" y="406"/>
                      </a:lnTo>
                      <a:lnTo>
                        <a:pt x="178" y="406"/>
                      </a:lnTo>
                      <a:lnTo>
                        <a:pt x="184" y="414"/>
                      </a:lnTo>
                      <a:lnTo>
                        <a:pt x="188" y="418"/>
                      </a:lnTo>
                      <a:lnTo>
                        <a:pt x="194" y="422"/>
                      </a:lnTo>
                      <a:lnTo>
                        <a:pt x="200" y="422"/>
                      </a:lnTo>
                      <a:lnTo>
                        <a:pt x="206" y="420"/>
                      </a:lnTo>
                      <a:lnTo>
                        <a:pt x="212" y="414"/>
                      </a:lnTo>
                      <a:lnTo>
                        <a:pt x="218" y="408"/>
                      </a:lnTo>
                      <a:lnTo>
                        <a:pt x="224" y="400"/>
                      </a:lnTo>
                      <a:lnTo>
                        <a:pt x="224" y="400"/>
                      </a:lnTo>
                      <a:lnTo>
                        <a:pt x="232" y="382"/>
                      </a:lnTo>
                      <a:lnTo>
                        <a:pt x="236" y="372"/>
                      </a:lnTo>
                      <a:lnTo>
                        <a:pt x="236" y="364"/>
                      </a:lnTo>
                      <a:lnTo>
                        <a:pt x="238" y="354"/>
                      </a:lnTo>
                      <a:lnTo>
                        <a:pt x="236" y="344"/>
                      </a:lnTo>
                      <a:lnTo>
                        <a:pt x="234" y="332"/>
                      </a:lnTo>
                      <a:lnTo>
                        <a:pt x="228" y="320"/>
                      </a:lnTo>
                      <a:lnTo>
                        <a:pt x="228" y="320"/>
                      </a:lnTo>
                      <a:lnTo>
                        <a:pt x="226" y="310"/>
                      </a:lnTo>
                      <a:lnTo>
                        <a:pt x="228" y="304"/>
                      </a:lnTo>
                      <a:lnTo>
                        <a:pt x="230" y="300"/>
                      </a:lnTo>
                      <a:lnTo>
                        <a:pt x="228" y="292"/>
                      </a:lnTo>
                      <a:lnTo>
                        <a:pt x="228" y="292"/>
                      </a:lnTo>
                      <a:lnTo>
                        <a:pt x="228" y="288"/>
                      </a:lnTo>
                      <a:lnTo>
                        <a:pt x="228" y="284"/>
                      </a:lnTo>
                      <a:lnTo>
                        <a:pt x="232" y="278"/>
                      </a:lnTo>
                      <a:lnTo>
                        <a:pt x="236" y="270"/>
                      </a:lnTo>
                      <a:lnTo>
                        <a:pt x="238" y="264"/>
                      </a:lnTo>
                      <a:lnTo>
                        <a:pt x="236" y="258"/>
                      </a:lnTo>
                      <a:lnTo>
                        <a:pt x="236" y="258"/>
                      </a:lnTo>
                      <a:lnTo>
                        <a:pt x="236" y="248"/>
                      </a:lnTo>
                      <a:lnTo>
                        <a:pt x="238" y="246"/>
                      </a:lnTo>
                      <a:lnTo>
                        <a:pt x="242" y="244"/>
                      </a:lnTo>
                      <a:lnTo>
                        <a:pt x="250" y="236"/>
                      </a:lnTo>
                      <a:lnTo>
                        <a:pt x="250" y="236"/>
                      </a:lnTo>
                      <a:lnTo>
                        <a:pt x="256" y="228"/>
                      </a:lnTo>
                      <a:lnTo>
                        <a:pt x="258" y="226"/>
                      </a:lnTo>
                      <a:lnTo>
                        <a:pt x="260" y="226"/>
                      </a:lnTo>
                      <a:lnTo>
                        <a:pt x="260" y="230"/>
                      </a:lnTo>
                      <a:lnTo>
                        <a:pt x="260" y="240"/>
                      </a:lnTo>
                      <a:lnTo>
                        <a:pt x="262" y="244"/>
                      </a:lnTo>
                      <a:lnTo>
                        <a:pt x="264" y="244"/>
                      </a:lnTo>
                      <a:lnTo>
                        <a:pt x="264" y="244"/>
                      </a:lnTo>
                      <a:lnTo>
                        <a:pt x="266" y="244"/>
                      </a:lnTo>
                      <a:lnTo>
                        <a:pt x="268" y="240"/>
                      </a:lnTo>
                      <a:lnTo>
                        <a:pt x="270" y="230"/>
                      </a:lnTo>
                      <a:lnTo>
                        <a:pt x="270" y="224"/>
                      </a:lnTo>
                      <a:lnTo>
                        <a:pt x="272" y="218"/>
                      </a:lnTo>
                      <a:lnTo>
                        <a:pt x="276" y="214"/>
                      </a:lnTo>
                      <a:lnTo>
                        <a:pt x="282" y="212"/>
                      </a:lnTo>
                      <a:lnTo>
                        <a:pt x="282" y="212"/>
                      </a:lnTo>
                      <a:lnTo>
                        <a:pt x="288" y="210"/>
                      </a:lnTo>
                      <a:lnTo>
                        <a:pt x="286" y="206"/>
                      </a:lnTo>
                      <a:lnTo>
                        <a:pt x="284" y="204"/>
                      </a:lnTo>
                      <a:lnTo>
                        <a:pt x="282" y="202"/>
                      </a:lnTo>
                      <a:lnTo>
                        <a:pt x="284" y="198"/>
                      </a:lnTo>
                      <a:lnTo>
                        <a:pt x="288" y="194"/>
                      </a:lnTo>
                      <a:lnTo>
                        <a:pt x="288" y="194"/>
                      </a:lnTo>
                      <a:lnTo>
                        <a:pt x="294" y="190"/>
                      </a:lnTo>
                      <a:lnTo>
                        <a:pt x="298" y="188"/>
                      </a:lnTo>
                      <a:lnTo>
                        <a:pt x="300" y="188"/>
                      </a:lnTo>
                      <a:lnTo>
                        <a:pt x="304" y="190"/>
                      </a:lnTo>
                      <a:lnTo>
                        <a:pt x="308" y="194"/>
                      </a:lnTo>
                      <a:lnTo>
                        <a:pt x="314" y="196"/>
                      </a:lnTo>
                      <a:lnTo>
                        <a:pt x="314" y="196"/>
                      </a:lnTo>
                      <a:lnTo>
                        <a:pt x="320" y="198"/>
                      </a:lnTo>
                      <a:lnTo>
                        <a:pt x="322" y="200"/>
                      </a:lnTo>
                      <a:lnTo>
                        <a:pt x="324" y="204"/>
                      </a:lnTo>
                      <a:lnTo>
                        <a:pt x="334" y="208"/>
                      </a:lnTo>
                      <a:lnTo>
                        <a:pt x="334" y="208"/>
                      </a:lnTo>
                      <a:lnTo>
                        <a:pt x="344" y="214"/>
                      </a:lnTo>
                      <a:lnTo>
                        <a:pt x="352" y="220"/>
                      </a:lnTo>
                      <a:lnTo>
                        <a:pt x="356" y="226"/>
                      </a:lnTo>
                      <a:lnTo>
                        <a:pt x="356" y="228"/>
                      </a:lnTo>
                      <a:lnTo>
                        <a:pt x="352" y="230"/>
                      </a:lnTo>
                      <a:lnTo>
                        <a:pt x="352" y="230"/>
                      </a:lnTo>
                      <a:lnTo>
                        <a:pt x="350" y="230"/>
                      </a:lnTo>
                      <a:lnTo>
                        <a:pt x="350" y="232"/>
                      </a:lnTo>
                      <a:lnTo>
                        <a:pt x="352" y="238"/>
                      </a:lnTo>
                      <a:lnTo>
                        <a:pt x="354" y="246"/>
                      </a:lnTo>
                      <a:lnTo>
                        <a:pt x="354" y="250"/>
                      </a:lnTo>
                      <a:lnTo>
                        <a:pt x="354" y="256"/>
                      </a:lnTo>
                      <a:lnTo>
                        <a:pt x="354" y="256"/>
                      </a:lnTo>
                      <a:lnTo>
                        <a:pt x="352" y="268"/>
                      </a:lnTo>
                      <a:lnTo>
                        <a:pt x="348" y="276"/>
                      </a:lnTo>
                      <a:lnTo>
                        <a:pt x="342" y="282"/>
                      </a:lnTo>
                      <a:lnTo>
                        <a:pt x="336" y="288"/>
                      </a:lnTo>
                      <a:lnTo>
                        <a:pt x="336" y="288"/>
                      </a:lnTo>
                      <a:lnTo>
                        <a:pt x="334" y="290"/>
                      </a:lnTo>
                      <a:lnTo>
                        <a:pt x="332" y="294"/>
                      </a:lnTo>
                      <a:lnTo>
                        <a:pt x="330" y="302"/>
                      </a:lnTo>
                      <a:lnTo>
                        <a:pt x="334" y="308"/>
                      </a:lnTo>
                      <a:lnTo>
                        <a:pt x="336" y="310"/>
                      </a:lnTo>
                      <a:lnTo>
                        <a:pt x="340" y="312"/>
                      </a:lnTo>
                      <a:lnTo>
                        <a:pt x="340" y="312"/>
                      </a:lnTo>
                      <a:lnTo>
                        <a:pt x="342" y="310"/>
                      </a:lnTo>
                      <a:lnTo>
                        <a:pt x="346" y="308"/>
                      </a:lnTo>
                      <a:lnTo>
                        <a:pt x="350" y="300"/>
                      </a:lnTo>
                      <a:lnTo>
                        <a:pt x="356" y="292"/>
                      </a:lnTo>
                      <a:lnTo>
                        <a:pt x="360" y="290"/>
                      </a:lnTo>
                      <a:lnTo>
                        <a:pt x="366" y="288"/>
                      </a:lnTo>
                      <a:lnTo>
                        <a:pt x="366" y="288"/>
                      </a:lnTo>
                      <a:lnTo>
                        <a:pt x="370" y="288"/>
                      </a:lnTo>
                      <a:lnTo>
                        <a:pt x="376" y="294"/>
                      </a:lnTo>
                      <a:lnTo>
                        <a:pt x="380" y="300"/>
                      </a:lnTo>
                      <a:lnTo>
                        <a:pt x="382" y="310"/>
                      </a:lnTo>
                      <a:lnTo>
                        <a:pt x="386" y="330"/>
                      </a:lnTo>
                      <a:lnTo>
                        <a:pt x="388" y="338"/>
                      </a:lnTo>
                      <a:lnTo>
                        <a:pt x="390" y="344"/>
                      </a:lnTo>
                      <a:lnTo>
                        <a:pt x="390" y="344"/>
                      </a:lnTo>
                      <a:lnTo>
                        <a:pt x="406" y="336"/>
                      </a:lnTo>
                      <a:lnTo>
                        <a:pt x="410" y="334"/>
                      </a:lnTo>
                      <a:lnTo>
                        <a:pt x="414" y="330"/>
                      </a:lnTo>
                      <a:lnTo>
                        <a:pt x="418" y="324"/>
                      </a:lnTo>
                      <a:lnTo>
                        <a:pt x="418" y="318"/>
                      </a:lnTo>
                      <a:lnTo>
                        <a:pt x="418" y="298"/>
                      </a:lnTo>
                      <a:lnTo>
                        <a:pt x="418" y="298"/>
                      </a:lnTo>
                      <a:lnTo>
                        <a:pt x="418" y="288"/>
                      </a:lnTo>
                      <a:lnTo>
                        <a:pt x="422" y="280"/>
                      </a:lnTo>
                      <a:lnTo>
                        <a:pt x="424" y="274"/>
                      </a:lnTo>
                      <a:lnTo>
                        <a:pt x="428" y="268"/>
                      </a:lnTo>
                      <a:lnTo>
                        <a:pt x="436" y="258"/>
                      </a:lnTo>
                      <a:lnTo>
                        <a:pt x="438" y="254"/>
                      </a:lnTo>
                      <a:lnTo>
                        <a:pt x="438" y="248"/>
                      </a:lnTo>
                      <a:lnTo>
                        <a:pt x="438" y="248"/>
                      </a:lnTo>
                      <a:lnTo>
                        <a:pt x="432" y="236"/>
                      </a:lnTo>
                      <a:lnTo>
                        <a:pt x="426" y="228"/>
                      </a:lnTo>
                      <a:lnTo>
                        <a:pt x="422" y="222"/>
                      </a:lnTo>
                      <a:lnTo>
                        <a:pt x="420" y="218"/>
                      </a:lnTo>
                      <a:lnTo>
                        <a:pt x="420" y="218"/>
                      </a:lnTo>
                      <a:lnTo>
                        <a:pt x="422" y="216"/>
                      </a:lnTo>
                      <a:lnTo>
                        <a:pt x="424" y="218"/>
                      </a:lnTo>
                      <a:lnTo>
                        <a:pt x="428" y="218"/>
                      </a:lnTo>
                      <a:lnTo>
                        <a:pt x="432" y="218"/>
                      </a:lnTo>
                      <a:lnTo>
                        <a:pt x="432" y="218"/>
                      </a:lnTo>
                      <a:lnTo>
                        <a:pt x="434" y="220"/>
                      </a:lnTo>
                      <a:lnTo>
                        <a:pt x="436" y="220"/>
                      </a:lnTo>
                      <a:lnTo>
                        <a:pt x="436" y="226"/>
                      </a:lnTo>
                      <a:lnTo>
                        <a:pt x="438" y="232"/>
                      </a:lnTo>
                      <a:lnTo>
                        <a:pt x="440" y="234"/>
                      </a:lnTo>
                      <a:lnTo>
                        <a:pt x="444" y="234"/>
                      </a:lnTo>
                      <a:lnTo>
                        <a:pt x="444" y="234"/>
                      </a:lnTo>
                      <a:lnTo>
                        <a:pt x="446" y="236"/>
                      </a:lnTo>
                      <a:lnTo>
                        <a:pt x="448" y="238"/>
                      </a:lnTo>
                      <a:lnTo>
                        <a:pt x="446" y="242"/>
                      </a:lnTo>
                      <a:lnTo>
                        <a:pt x="444" y="246"/>
                      </a:lnTo>
                      <a:lnTo>
                        <a:pt x="444" y="246"/>
                      </a:lnTo>
                      <a:lnTo>
                        <a:pt x="446" y="246"/>
                      </a:lnTo>
                      <a:lnTo>
                        <a:pt x="446" y="246"/>
                      </a:lnTo>
                      <a:lnTo>
                        <a:pt x="450" y="246"/>
                      </a:lnTo>
                      <a:lnTo>
                        <a:pt x="450" y="246"/>
                      </a:lnTo>
                      <a:lnTo>
                        <a:pt x="450" y="250"/>
                      </a:lnTo>
                      <a:lnTo>
                        <a:pt x="450" y="254"/>
                      </a:lnTo>
                      <a:lnTo>
                        <a:pt x="454" y="252"/>
                      </a:lnTo>
                      <a:lnTo>
                        <a:pt x="454" y="252"/>
                      </a:lnTo>
                      <a:lnTo>
                        <a:pt x="458" y="250"/>
                      </a:lnTo>
                      <a:lnTo>
                        <a:pt x="462" y="252"/>
                      </a:lnTo>
                      <a:lnTo>
                        <a:pt x="472" y="256"/>
                      </a:lnTo>
                      <a:lnTo>
                        <a:pt x="480" y="262"/>
                      </a:lnTo>
                      <a:lnTo>
                        <a:pt x="484" y="264"/>
                      </a:lnTo>
                      <a:lnTo>
                        <a:pt x="486" y="262"/>
                      </a:lnTo>
                      <a:lnTo>
                        <a:pt x="486" y="262"/>
                      </a:lnTo>
                      <a:lnTo>
                        <a:pt x="488" y="260"/>
                      </a:lnTo>
                      <a:lnTo>
                        <a:pt x="490" y="258"/>
                      </a:lnTo>
                      <a:lnTo>
                        <a:pt x="488" y="252"/>
                      </a:lnTo>
                      <a:lnTo>
                        <a:pt x="484" y="246"/>
                      </a:lnTo>
                      <a:lnTo>
                        <a:pt x="484" y="244"/>
                      </a:lnTo>
                      <a:lnTo>
                        <a:pt x="486" y="242"/>
                      </a:lnTo>
                      <a:lnTo>
                        <a:pt x="486" y="242"/>
                      </a:lnTo>
                      <a:lnTo>
                        <a:pt x="488" y="242"/>
                      </a:lnTo>
                      <a:lnTo>
                        <a:pt x="490" y="242"/>
                      </a:lnTo>
                      <a:lnTo>
                        <a:pt x="496" y="246"/>
                      </a:lnTo>
                      <a:lnTo>
                        <a:pt x="500" y="250"/>
                      </a:lnTo>
                      <a:lnTo>
                        <a:pt x="500" y="250"/>
                      </a:lnTo>
                      <a:lnTo>
                        <a:pt x="502" y="248"/>
                      </a:lnTo>
                      <a:lnTo>
                        <a:pt x="502" y="248"/>
                      </a:lnTo>
                      <a:lnTo>
                        <a:pt x="498" y="240"/>
                      </a:lnTo>
                      <a:lnTo>
                        <a:pt x="494" y="234"/>
                      </a:lnTo>
                      <a:lnTo>
                        <a:pt x="488" y="226"/>
                      </a:lnTo>
                      <a:lnTo>
                        <a:pt x="486" y="222"/>
                      </a:lnTo>
                      <a:lnTo>
                        <a:pt x="486" y="218"/>
                      </a:lnTo>
                      <a:lnTo>
                        <a:pt x="486" y="218"/>
                      </a:lnTo>
                      <a:lnTo>
                        <a:pt x="486" y="212"/>
                      </a:lnTo>
                      <a:lnTo>
                        <a:pt x="484" y="208"/>
                      </a:lnTo>
                      <a:lnTo>
                        <a:pt x="482" y="208"/>
                      </a:lnTo>
                      <a:lnTo>
                        <a:pt x="478" y="210"/>
                      </a:lnTo>
                      <a:lnTo>
                        <a:pt x="478" y="210"/>
                      </a:lnTo>
                      <a:lnTo>
                        <a:pt x="476" y="210"/>
                      </a:lnTo>
                      <a:lnTo>
                        <a:pt x="474" y="208"/>
                      </a:lnTo>
                      <a:lnTo>
                        <a:pt x="468" y="196"/>
                      </a:lnTo>
                      <a:lnTo>
                        <a:pt x="460" y="184"/>
                      </a:lnTo>
                      <a:lnTo>
                        <a:pt x="456" y="180"/>
                      </a:lnTo>
                      <a:lnTo>
                        <a:pt x="450" y="178"/>
                      </a:lnTo>
                      <a:lnTo>
                        <a:pt x="450" y="178"/>
                      </a:lnTo>
                      <a:lnTo>
                        <a:pt x="432" y="178"/>
                      </a:lnTo>
                      <a:lnTo>
                        <a:pt x="426" y="176"/>
                      </a:lnTo>
                      <a:lnTo>
                        <a:pt x="426" y="174"/>
                      </a:lnTo>
                      <a:lnTo>
                        <a:pt x="426" y="172"/>
                      </a:lnTo>
                      <a:lnTo>
                        <a:pt x="426" y="172"/>
                      </a:lnTo>
                      <a:lnTo>
                        <a:pt x="426" y="170"/>
                      </a:lnTo>
                      <a:lnTo>
                        <a:pt x="426" y="170"/>
                      </a:lnTo>
                      <a:lnTo>
                        <a:pt x="420" y="168"/>
                      </a:lnTo>
                      <a:lnTo>
                        <a:pt x="412" y="168"/>
                      </a:lnTo>
                      <a:lnTo>
                        <a:pt x="402" y="168"/>
                      </a:lnTo>
                      <a:lnTo>
                        <a:pt x="402" y="168"/>
                      </a:lnTo>
                      <a:lnTo>
                        <a:pt x="388" y="166"/>
                      </a:lnTo>
                      <a:lnTo>
                        <a:pt x="372" y="166"/>
                      </a:lnTo>
                      <a:lnTo>
                        <a:pt x="358" y="164"/>
                      </a:lnTo>
                      <a:lnTo>
                        <a:pt x="344" y="160"/>
                      </a:lnTo>
                      <a:lnTo>
                        <a:pt x="344" y="160"/>
                      </a:lnTo>
                      <a:lnTo>
                        <a:pt x="334" y="158"/>
                      </a:lnTo>
                      <a:lnTo>
                        <a:pt x="328" y="156"/>
                      </a:lnTo>
                      <a:lnTo>
                        <a:pt x="324" y="154"/>
                      </a:lnTo>
                      <a:lnTo>
                        <a:pt x="324" y="148"/>
                      </a:lnTo>
                      <a:lnTo>
                        <a:pt x="324" y="148"/>
                      </a:lnTo>
                      <a:lnTo>
                        <a:pt x="324" y="144"/>
                      </a:lnTo>
                      <a:lnTo>
                        <a:pt x="322" y="144"/>
                      </a:lnTo>
                      <a:lnTo>
                        <a:pt x="314" y="144"/>
                      </a:lnTo>
                      <a:lnTo>
                        <a:pt x="306" y="146"/>
                      </a:lnTo>
                      <a:lnTo>
                        <a:pt x="304" y="144"/>
                      </a:lnTo>
                      <a:lnTo>
                        <a:pt x="304" y="140"/>
                      </a:lnTo>
                      <a:lnTo>
                        <a:pt x="304" y="140"/>
                      </a:lnTo>
                      <a:lnTo>
                        <a:pt x="304" y="134"/>
                      </a:lnTo>
                      <a:lnTo>
                        <a:pt x="306" y="132"/>
                      </a:lnTo>
                      <a:lnTo>
                        <a:pt x="310" y="128"/>
                      </a:lnTo>
                      <a:lnTo>
                        <a:pt x="312" y="126"/>
                      </a:lnTo>
                      <a:lnTo>
                        <a:pt x="310" y="124"/>
                      </a:lnTo>
                      <a:lnTo>
                        <a:pt x="310" y="124"/>
                      </a:lnTo>
                      <a:lnTo>
                        <a:pt x="308" y="122"/>
                      </a:lnTo>
                      <a:lnTo>
                        <a:pt x="306" y="122"/>
                      </a:lnTo>
                      <a:lnTo>
                        <a:pt x="304" y="122"/>
                      </a:lnTo>
                      <a:lnTo>
                        <a:pt x="298" y="122"/>
                      </a:lnTo>
                      <a:lnTo>
                        <a:pt x="298" y="122"/>
                      </a:lnTo>
                      <a:lnTo>
                        <a:pt x="296" y="118"/>
                      </a:lnTo>
                      <a:lnTo>
                        <a:pt x="296" y="116"/>
                      </a:lnTo>
                      <a:lnTo>
                        <a:pt x="300" y="110"/>
                      </a:lnTo>
                      <a:lnTo>
                        <a:pt x="302" y="102"/>
                      </a:lnTo>
                      <a:lnTo>
                        <a:pt x="302" y="98"/>
                      </a:lnTo>
                      <a:lnTo>
                        <a:pt x="300" y="96"/>
                      </a:lnTo>
                      <a:lnTo>
                        <a:pt x="300" y="96"/>
                      </a:lnTo>
                      <a:lnTo>
                        <a:pt x="288" y="86"/>
                      </a:lnTo>
                      <a:lnTo>
                        <a:pt x="286" y="80"/>
                      </a:lnTo>
                      <a:lnTo>
                        <a:pt x="288" y="72"/>
                      </a:lnTo>
                      <a:lnTo>
                        <a:pt x="288" y="72"/>
                      </a:lnTo>
                      <a:lnTo>
                        <a:pt x="290" y="66"/>
                      </a:lnTo>
                      <a:lnTo>
                        <a:pt x="290" y="62"/>
                      </a:lnTo>
                      <a:lnTo>
                        <a:pt x="286" y="62"/>
                      </a:lnTo>
                      <a:lnTo>
                        <a:pt x="282" y="62"/>
                      </a:lnTo>
                      <a:lnTo>
                        <a:pt x="270" y="64"/>
                      </a:lnTo>
                      <a:lnTo>
                        <a:pt x="262" y="64"/>
                      </a:lnTo>
                      <a:lnTo>
                        <a:pt x="256" y="62"/>
                      </a:lnTo>
                      <a:lnTo>
                        <a:pt x="256" y="62"/>
                      </a:lnTo>
                      <a:lnTo>
                        <a:pt x="250" y="58"/>
                      </a:lnTo>
                      <a:lnTo>
                        <a:pt x="244" y="50"/>
                      </a:lnTo>
                      <a:lnTo>
                        <a:pt x="240" y="42"/>
                      </a:lnTo>
                      <a:lnTo>
                        <a:pt x="238" y="34"/>
                      </a:lnTo>
                      <a:lnTo>
                        <a:pt x="234" y="20"/>
                      </a:lnTo>
                      <a:lnTo>
                        <a:pt x="230" y="16"/>
                      </a:lnTo>
                      <a:lnTo>
                        <a:pt x="226" y="14"/>
                      </a:lnTo>
                      <a:lnTo>
                        <a:pt x="226" y="14"/>
                      </a:lnTo>
                      <a:lnTo>
                        <a:pt x="218" y="14"/>
                      </a:lnTo>
                      <a:lnTo>
                        <a:pt x="214" y="14"/>
                      </a:lnTo>
                      <a:lnTo>
                        <a:pt x="210" y="14"/>
                      </a:lnTo>
                      <a:lnTo>
                        <a:pt x="202" y="14"/>
                      </a:lnTo>
                      <a:lnTo>
                        <a:pt x="202" y="14"/>
                      </a:lnTo>
                      <a:lnTo>
                        <a:pt x="196" y="14"/>
                      </a:lnTo>
                      <a:lnTo>
                        <a:pt x="190" y="12"/>
                      </a:lnTo>
                      <a:lnTo>
                        <a:pt x="178" y="6"/>
                      </a:lnTo>
                      <a:lnTo>
                        <a:pt x="166" y="2"/>
                      </a:lnTo>
                      <a:lnTo>
                        <a:pt x="162" y="0"/>
                      </a:lnTo>
                      <a:lnTo>
                        <a:pt x="158" y="2"/>
                      </a:lnTo>
                      <a:lnTo>
                        <a:pt x="158" y="2"/>
                      </a:lnTo>
                      <a:lnTo>
                        <a:pt x="158" y="4"/>
                      </a:lnTo>
                      <a:lnTo>
                        <a:pt x="158" y="6"/>
                      </a:lnTo>
                      <a:lnTo>
                        <a:pt x="160" y="12"/>
                      </a:lnTo>
                      <a:lnTo>
                        <a:pt x="162" y="18"/>
                      </a:lnTo>
                      <a:lnTo>
                        <a:pt x="160" y="22"/>
                      </a:lnTo>
                      <a:lnTo>
                        <a:pt x="158" y="24"/>
                      </a:lnTo>
                      <a:lnTo>
                        <a:pt x="158" y="24"/>
                      </a:lnTo>
                      <a:lnTo>
                        <a:pt x="146" y="32"/>
                      </a:lnTo>
                      <a:lnTo>
                        <a:pt x="146" y="32"/>
                      </a:lnTo>
                      <a:lnTo>
                        <a:pt x="146" y="30"/>
                      </a:lnTo>
                      <a:lnTo>
                        <a:pt x="148" y="24"/>
                      </a:lnTo>
                      <a:lnTo>
                        <a:pt x="148" y="24"/>
                      </a:lnTo>
                      <a:lnTo>
                        <a:pt x="150" y="14"/>
                      </a:lnTo>
                      <a:lnTo>
                        <a:pt x="150" y="8"/>
                      </a:lnTo>
                      <a:lnTo>
                        <a:pt x="148" y="8"/>
                      </a:lnTo>
                      <a:lnTo>
                        <a:pt x="146" y="8"/>
                      </a:lnTo>
                      <a:lnTo>
                        <a:pt x="142" y="16"/>
                      </a:lnTo>
                      <a:lnTo>
                        <a:pt x="142" y="16"/>
                      </a:lnTo>
                      <a:lnTo>
                        <a:pt x="138" y="28"/>
                      </a:lnTo>
                      <a:lnTo>
                        <a:pt x="134" y="36"/>
                      </a:lnTo>
                      <a:lnTo>
                        <a:pt x="130" y="40"/>
                      </a:lnTo>
                      <a:lnTo>
                        <a:pt x="132" y="34"/>
                      </a:lnTo>
                      <a:lnTo>
                        <a:pt x="132" y="34"/>
                      </a:lnTo>
                      <a:lnTo>
                        <a:pt x="132" y="30"/>
                      </a:lnTo>
                      <a:lnTo>
                        <a:pt x="132" y="28"/>
                      </a:lnTo>
                      <a:lnTo>
                        <a:pt x="130" y="26"/>
                      </a:lnTo>
                      <a:lnTo>
                        <a:pt x="126" y="26"/>
                      </a:lnTo>
                      <a:lnTo>
                        <a:pt x="122" y="30"/>
                      </a:lnTo>
                      <a:lnTo>
                        <a:pt x="118" y="36"/>
                      </a:lnTo>
                      <a:lnTo>
                        <a:pt x="118" y="36"/>
                      </a:lnTo>
                      <a:lnTo>
                        <a:pt x="114" y="48"/>
                      </a:lnTo>
                      <a:lnTo>
                        <a:pt x="110" y="52"/>
                      </a:lnTo>
                      <a:lnTo>
                        <a:pt x="106" y="56"/>
                      </a:lnTo>
                      <a:lnTo>
                        <a:pt x="106" y="56"/>
                      </a:lnTo>
                      <a:lnTo>
                        <a:pt x="100" y="58"/>
                      </a:lnTo>
                      <a:lnTo>
                        <a:pt x="100" y="58"/>
                      </a:lnTo>
                      <a:lnTo>
                        <a:pt x="60" y="78"/>
                      </a:lnTo>
                      <a:lnTo>
                        <a:pt x="46" y="86"/>
                      </a:lnTo>
                      <a:lnTo>
                        <a:pt x="34" y="98"/>
                      </a:lnTo>
                      <a:lnTo>
                        <a:pt x="34" y="98"/>
                      </a:lnTo>
                      <a:lnTo>
                        <a:pt x="18" y="112"/>
                      </a:lnTo>
                      <a:lnTo>
                        <a:pt x="6" y="124"/>
                      </a:lnTo>
                      <a:lnTo>
                        <a:pt x="2" y="128"/>
                      </a:lnTo>
                      <a:lnTo>
                        <a:pt x="0" y="130"/>
                      </a:lnTo>
                      <a:lnTo>
                        <a:pt x="0" y="132"/>
                      </a:lnTo>
                      <a:lnTo>
                        <a:pt x="4" y="134"/>
                      </a:lnTo>
                      <a:lnTo>
                        <a:pt x="4" y="13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3" name="Freeform 6014"/>
                <p:cNvSpPr>
                  <a:spLocks/>
                </p:cNvSpPr>
                <p:nvPr/>
              </p:nvSpPr>
              <p:spPr bwMode="auto">
                <a:xfrm>
                  <a:off x="2366010" y="2420303"/>
                  <a:ext cx="100330" cy="45720"/>
                </a:xfrm>
                <a:custGeom>
                  <a:avLst/>
                  <a:gdLst/>
                  <a:ahLst/>
                  <a:cxnLst>
                    <a:cxn ang="0">
                      <a:pos x="16" y="72"/>
                    </a:cxn>
                    <a:cxn ang="0">
                      <a:pos x="30" y="68"/>
                    </a:cxn>
                    <a:cxn ang="0">
                      <a:pos x="36" y="64"/>
                    </a:cxn>
                    <a:cxn ang="0">
                      <a:pos x="58" y="60"/>
                    </a:cxn>
                    <a:cxn ang="0">
                      <a:pos x="80" y="64"/>
                    </a:cxn>
                    <a:cxn ang="0">
                      <a:pos x="90" y="68"/>
                    </a:cxn>
                    <a:cxn ang="0">
                      <a:pos x="118" y="66"/>
                    </a:cxn>
                    <a:cxn ang="0">
                      <a:pos x="126" y="60"/>
                    </a:cxn>
                    <a:cxn ang="0">
                      <a:pos x="132" y="56"/>
                    </a:cxn>
                    <a:cxn ang="0">
                      <a:pos x="142" y="50"/>
                    </a:cxn>
                    <a:cxn ang="0">
                      <a:pos x="142" y="44"/>
                    </a:cxn>
                    <a:cxn ang="0">
                      <a:pos x="144" y="32"/>
                    </a:cxn>
                    <a:cxn ang="0">
                      <a:pos x="140" y="28"/>
                    </a:cxn>
                    <a:cxn ang="0">
                      <a:pos x="138" y="24"/>
                    </a:cxn>
                    <a:cxn ang="0">
                      <a:pos x="140" y="16"/>
                    </a:cxn>
                    <a:cxn ang="0">
                      <a:pos x="144" y="14"/>
                    </a:cxn>
                    <a:cxn ang="0">
                      <a:pos x="154" y="8"/>
                    </a:cxn>
                    <a:cxn ang="0">
                      <a:pos x="158" y="0"/>
                    </a:cxn>
                    <a:cxn ang="0">
                      <a:pos x="148" y="6"/>
                    </a:cxn>
                    <a:cxn ang="0">
                      <a:pos x="128" y="12"/>
                    </a:cxn>
                    <a:cxn ang="0">
                      <a:pos x="120" y="18"/>
                    </a:cxn>
                    <a:cxn ang="0">
                      <a:pos x="114" y="24"/>
                    </a:cxn>
                    <a:cxn ang="0">
                      <a:pos x="110" y="34"/>
                    </a:cxn>
                    <a:cxn ang="0">
                      <a:pos x="104" y="34"/>
                    </a:cxn>
                    <a:cxn ang="0">
                      <a:pos x="98" y="32"/>
                    </a:cxn>
                    <a:cxn ang="0">
                      <a:pos x="78" y="26"/>
                    </a:cxn>
                    <a:cxn ang="0">
                      <a:pos x="66" y="28"/>
                    </a:cxn>
                    <a:cxn ang="0">
                      <a:pos x="28" y="36"/>
                    </a:cxn>
                    <a:cxn ang="0">
                      <a:pos x="20" y="42"/>
                    </a:cxn>
                    <a:cxn ang="0">
                      <a:pos x="12" y="48"/>
                    </a:cxn>
                    <a:cxn ang="0">
                      <a:pos x="2" y="58"/>
                    </a:cxn>
                    <a:cxn ang="0">
                      <a:pos x="0" y="64"/>
                    </a:cxn>
                    <a:cxn ang="0">
                      <a:pos x="2" y="70"/>
                    </a:cxn>
                    <a:cxn ang="0">
                      <a:pos x="10" y="72"/>
                    </a:cxn>
                    <a:cxn ang="0">
                      <a:pos x="16" y="72"/>
                    </a:cxn>
                  </a:cxnLst>
                  <a:rect l="0" t="0" r="r" b="b"/>
                  <a:pathLst>
                    <a:path w="158" h="72">
                      <a:moveTo>
                        <a:pt x="16" y="72"/>
                      </a:moveTo>
                      <a:lnTo>
                        <a:pt x="16" y="72"/>
                      </a:lnTo>
                      <a:lnTo>
                        <a:pt x="24" y="70"/>
                      </a:lnTo>
                      <a:lnTo>
                        <a:pt x="30" y="68"/>
                      </a:lnTo>
                      <a:lnTo>
                        <a:pt x="36" y="64"/>
                      </a:lnTo>
                      <a:lnTo>
                        <a:pt x="36" y="64"/>
                      </a:lnTo>
                      <a:lnTo>
                        <a:pt x="46" y="62"/>
                      </a:lnTo>
                      <a:lnTo>
                        <a:pt x="58" y="60"/>
                      </a:lnTo>
                      <a:lnTo>
                        <a:pt x="70" y="62"/>
                      </a:lnTo>
                      <a:lnTo>
                        <a:pt x="80" y="64"/>
                      </a:lnTo>
                      <a:lnTo>
                        <a:pt x="80" y="64"/>
                      </a:lnTo>
                      <a:lnTo>
                        <a:pt x="90" y="68"/>
                      </a:lnTo>
                      <a:lnTo>
                        <a:pt x="104" y="68"/>
                      </a:lnTo>
                      <a:lnTo>
                        <a:pt x="118" y="66"/>
                      </a:lnTo>
                      <a:lnTo>
                        <a:pt x="122" y="64"/>
                      </a:lnTo>
                      <a:lnTo>
                        <a:pt x="126" y="60"/>
                      </a:lnTo>
                      <a:lnTo>
                        <a:pt x="126" y="60"/>
                      </a:lnTo>
                      <a:lnTo>
                        <a:pt x="132" y="56"/>
                      </a:lnTo>
                      <a:lnTo>
                        <a:pt x="138" y="52"/>
                      </a:lnTo>
                      <a:lnTo>
                        <a:pt x="142" y="50"/>
                      </a:lnTo>
                      <a:lnTo>
                        <a:pt x="142" y="44"/>
                      </a:lnTo>
                      <a:lnTo>
                        <a:pt x="142" y="44"/>
                      </a:lnTo>
                      <a:lnTo>
                        <a:pt x="142" y="36"/>
                      </a:lnTo>
                      <a:lnTo>
                        <a:pt x="144" y="32"/>
                      </a:lnTo>
                      <a:lnTo>
                        <a:pt x="144" y="30"/>
                      </a:lnTo>
                      <a:lnTo>
                        <a:pt x="140" y="28"/>
                      </a:lnTo>
                      <a:lnTo>
                        <a:pt x="140" y="28"/>
                      </a:lnTo>
                      <a:lnTo>
                        <a:pt x="138" y="24"/>
                      </a:lnTo>
                      <a:lnTo>
                        <a:pt x="136" y="20"/>
                      </a:lnTo>
                      <a:lnTo>
                        <a:pt x="140" y="16"/>
                      </a:lnTo>
                      <a:lnTo>
                        <a:pt x="144" y="14"/>
                      </a:lnTo>
                      <a:lnTo>
                        <a:pt x="144" y="14"/>
                      </a:lnTo>
                      <a:lnTo>
                        <a:pt x="150" y="12"/>
                      </a:lnTo>
                      <a:lnTo>
                        <a:pt x="154" y="8"/>
                      </a:lnTo>
                      <a:lnTo>
                        <a:pt x="156" y="4"/>
                      </a:lnTo>
                      <a:lnTo>
                        <a:pt x="158" y="0"/>
                      </a:lnTo>
                      <a:lnTo>
                        <a:pt x="158" y="0"/>
                      </a:lnTo>
                      <a:lnTo>
                        <a:pt x="148" y="6"/>
                      </a:lnTo>
                      <a:lnTo>
                        <a:pt x="138" y="8"/>
                      </a:lnTo>
                      <a:lnTo>
                        <a:pt x="128" y="12"/>
                      </a:lnTo>
                      <a:lnTo>
                        <a:pt x="120" y="18"/>
                      </a:lnTo>
                      <a:lnTo>
                        <a:pt x="120" y="18"/>
                      </a:lnTo>
                      <a:lnTo>
                        <a:pt x="116" y="20"/>
                      </a:lnTo>
                      <a:lnTo>
                        <a:pt x="114" y="24"/>
                      </a:lnTo>
                      <a:lnTo>
                        <a:pt x="110" y="32"/>
                      </a:lnTo>
                      <a:lnTo>
                        <a:pt x="110" y="34"/>
                      </a:lnTo>
                      <a:lnTo>
                        <a:pt x="106" y="34"/>
                      </a:lnTo>
                      <a:lnTo>
                        <a:pt x="104" y="34"/>
                      </a:lnTo>
                      <a:lnTo>
                        <a:pt x="98" y="32"/>
                      </a:lnTo>
                      <a:lnTo>
                        <a:pt x="98" y="32"/>
                      </a:lnTo>
                      <a:lnTo>
                        <a:pt x="84" y="24"/>
                      </a:lnTo>
                      <a:lnTo>
                        <a:pt x="78" y="26"/>
                      </a:lnTo>
                      <a:lnTo>
                        <a:pt x="66" y="28"/>
                      </a:lnTo>
                      <a:lnTo>
                        <a:pt x="66" y="28"/>
                      </a:lnTo>
                      <a:lnTo>
                        <a:pt x="38" y="34"/>
                      </a:lnTo>
                      <a:lnTo>
                        <a:pt x="28" y="36"/>
                      </a:lnTo>
                      <a:lnTo>
                        <a:pt x="20" y="42"/>
                      </a:lnTo>
                      <a:lnTo>
                        <a:pt x="20" y="42"/>
                      </a:lnTo>
                      <a:lnTo>
                        <a:pt x="16" y="46"/>
                      </a:lnTo>
                      <a:lnTo>
                        <a:pt x="12" y="48"/>
                      </a:lnTo>
                      <a:lnTo>
                        <a:pt x="6" y="50"/>
                      </a:lnTo>
                      <a:lnTo>
                        <a:pt x="2" y="58"/>
                      </a:lnTo>
                      <a:lnTo>
                        <a:pt x="2" y="58"/>
                      </a:lnTo>
                      <a:lnTo>
                        <a:pt x="0" y="64"/>
                      </a:lnTo>
                      <a:lnTo>
                        <a:pt x="0" y="68"/>
                      </a:lnTo>
                      <a:lnTo>
                        <a:pt x="2" y="70"/>
                      </a:lnTo>
                      <a:lnTo>
                        <a:pt x="4" y="72"/>
                      </a:lnTo>
                      <a:lnTo>
                        <a:pt x="10" y="72"/>
                      </a:lnTo>
                      <a:lnTo>
                        <a:pt x="16" y="72"/>
                      </a:lnTo>
                      <a:lnTo>
                        <a:pt x="16" y="7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4" name="Freeform 6015"/>
                <p:cNvSpPr>
                  <a:spLocks/>
                </p:cNvSpPr>
                <p:nvPr/>
              </p:nvSpPr>
              <p:spPr bwMode="auto">
                <a:xfrm>
                  <a:off x="2385060" y="3023553"/>
                  <a:ext cx="27940" cy="10160"/>
                </a:xfrm>
                <a:custGeom>
                  <a:avLst/>
                  <a:gdLst/>
                  <a:ahLst/>
                  <a:cxnLst>
                    <a:cxn ang="0">
                      <a:pos x="8" y="10"/>
                    </a:cxn>
                    <a:cxn ang="0">
                      <a:pos x="8" y="10"/>
                    </a:cxn>
                    <a:cxn ang="0">
                      <a:pos x="0" y="8"/>
                    </a:cxn>
                    <a:cxn ang="0">
                      <a:pos x="2" y="10"/>
                    </a:cxn>
                    <a:cxn ang="0">
                      <a:pos x="6" y="14"/>
                    </a:cxn>
                    <a:cxn ang="0">
                      <a:pos x="6" y="14"/>
                    </a:cxn>
                    <a:cxn ang="0">
                      <a:pos x="10" y="16"/>
                    </a:cxn>
                    <a:cxn ang="0">
                      <a:pos x="12" y="16"/>
                    </a:cxn>
                    <a:cxn ang="0">
                      <a:pos x="26" y="10"/>
                    </a:cxn>
                    <a:cxn ang="0">
                      <a:pos x="26" y="10"/>
                    </a:cxn>
                    <a:cxn ang="0">
                      <a:pos x="36" y="8"/>
                    </a:cxn>
                    <a:cxn ang="0">
                      <a:pos x="40" y="10"/>
                    </a:cxn>
                    <a:cxn ang="0">
                      <a:pos x="44" y="10"/>
                    </a:cxn>
                    <a:cxn ang="0">
                      <a:pos x="44" y="6"/>
                    </a:cxn>
                    <a:cxn ang="0">
                      <a:pos x="44" y="6"/>
                    </a:cxn>
                    <a:cxn ang="0">
                      <a:pos x="44" y="4"/>
                    </a:cxn>
                    <a:cxn ang="0">
                      <a:pos x="44" y="4"/>
                    </a:cxn>
                    <a:cxn ang="0">
                      <a:pos x="38" y="4"/>
                    </a:cxn>
                    <a:cxn ang="0">
                      <a:pos x="30" y="4"/>
                    </a:cxn>
                    <a:cxn ang="0">
                      <a:pos x="18" y="2"/>
                    </a:cxn>
                    <a:cxn ang="0">
                      <a:pos x="18" y="2"/>
                    </a:cxn>
                    <a:cxn ang="0">
                      <a:pos x="14" y="0"/>
                    </a:cxn>
                    <a:cxn ang="0">
                      <a:pos x="14" y="2"/>
                    </a:cxn>
                    <a:cxn ang="0">
                      <a:pos x="14" y="6"/>
                    </a:cxn>
                    <a:cxn ang="0">
                      <a:pos x="14" y="10"/>
                    </a:cxn>
                    <a:cxn ang="0">
                      <a:pos x="12" y="10"/>
                    </a:cxn>
                    <a:cxn ang="0">
                      <a:pos x="8" y="10"/>
                    </a:cxn>
                    <a:cxn ang="0">
                      <a:pos x="8" y="10"/>
                    </a:cxn>
                  </a:cxnLst>
                  <a:rect l="0" t="0" r="r" b="b"/>
                  <a:pathLst>
                    <a:path w="44" h="16">
                      <a:moveTo>
                        <a:pt x="8" y="10"/>
                      </a:moveTo>
                      <a:lnTo>
                        <a:pt x="8" y="10"/>
                      </a:lnTo>
                      <a:lnTo>
                        <a:pt x="0" y="8"/>
                      </a:lnTo>
                      <a:lnTo>
                        <a:pt x="2" y="10"/>
                      </a:lnTo>
                      <a:lnTo>
                        <a:pt x="6" y="14"/>
                      </a:lnTo>
                      <a:lnTo>
                        <a:pt x="6" y="14"/>
                      </a:lnTo>
                      <a:lnTo>
                        <a:pt x="10" y="16"/>
                      </a:lnTo>
                      <a:lnTo>
                        <a:pt x="12" y="16"/>
                      </a:lnTo>
                      <a:lnTo>
                        <a:pt x="26" y="10"/>
                      </a:lnTo>
                      <a:lnTo>
                        <a:pt x="26" y="10"/>
                      </a:lnTo>
                      <a:lnTo>
                        <a:pt x="36" y="8"/>
                      </a:lnTo>
                      <a:lnTo>
                        <a:pt x="40" y="10"/>
                      </a:lnTo>
                      <a:lnTo>
                        <a:pt x="44" y="10"/>
                      </a:lnTo>
                      <a:lnTo>
                        <a:pt x="44" y="6"/>
                      </a:lnTo>
                      <a:lnTo>
                        <a:pt x="44" y="6"/>
                      </a:lnTo>
                      <a:lnTo>
                        <a:pt x="44" y="4"/>
                      </a:lnTo>
                      <a:lnTo>
                        <a:pt x="44" y="4"/>
                      </a:lnTo>
                      <a:lnTo>
                        <a:pt x="38" y="4"/>
                      </a:lnTo>
                      <a:lnTo>
                        <a:pt x="30" y="4"/>
                      </a:lnTo>
                      <a:lnTo>
                        <a:pt x="18" y="2"/>
                      </a:lnTo>
                      <a:lnTo>
                        <a:pt x="18" y="2"/>
                      </a:lnTo>
                      <a:lnTo>
                        <a:pt x="14" y="0"/>
                      </a:lnTo>
                      <a:lnTo>
                        <a:pt x="14" y="2"/>
                      </a:lnTo>
                      <a:lnTo>
                        <a:pt x="14" y="6"/>
                      </a:lnTo>
                      <a:lnTo>
                        <a:pt x="14" y="10"/>
                      </a:lnTo>
                      <a:lnTo>
                        <a:pt x="12" y="10"/>
                      </a:lnTo>
                      <a:lnTo>
                        <a:pt x="8" y="10"/>
                      </a:lnTo>
                      <a:lnTo>
                        <a:pt x="8" y="1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5" name="Freeform 6028"/>
                <p:cNvSpPr>
                  <a:spLocks/>
                </p:cNvSpPr>
                <p:nvPr/>
              </p:nvSpPr>
              <p:spPr bwMode="auto">
                <a:xfrm>
                  <a:off x="443230" y="1907223"/>
                  <a:ext cx="64770" cy="50800"/>
                </a:xfrm>
                <a:custGeom>
                  <a:avLst/>
                  <a:gdLst/>
                  <a:ahLst/>
                  <a:cxnLst>
                    <a:cxn ang="0">
                      <a:pos x="98" y="20"/>
                    </a:cxn>
                    <a:cxn ang="0">
                      <a:pos x="94" y="14"/>
                    </a:cxn>
                    <a:cxn ang="0">
                      <a:pos x="92" y="8"/>
                    </a:cxn>
                    <a:cxn ang="0">
                      <a:pos x="88" y="6"/>
                    </a:cxn>
                    <a:cxn ang="0">
                      <a:pos x="82" y="6"/>
                    </a:cxn>
                    <a:cxn ang="0">
                      <a:pos x="78" y="4"/>
                    </a:cxn>
                    <a:cxn ang="0">
                      <a:pos x="64" y="0"/>
                    </a:cxn>
                    <a:cxn ang="0">
                      <a:pos x="60" y="2"/>
                    </a:cxn>
                    <a:cxn ang="0">
                      <a:pos x="62" y="4"/>
                    </a:cxn>
                    <a:cxn ang="0">
                      <a:pos x="62" y="8"/>
                    </a:cxn>
                    <a:cxn ang="0">
                      <a:pos x="50" y="12"/>
                    </a:cxn>
                    <a:cxn ang="0">
                      <a:pos x="44" y="8"/>
                    </a:cxn>
                    <a:cxn ang="0">
                      <a:pos x="40" y="4"/>
                    </a:cxn>
                    <a:cxn ang="0">
                      <a:pos x="38" y="4"/>
                    </a:cxn>
                    <a:cxn ang="0">
                      <a:pos x="34" y="18"/>
                    </a:cxn>
                    <a:cxn ang="0">
                      <a:pos x="32" y="20"/>
                    </a:cxn>
                    <a:cxn ang="0">
                      <a:pos x="26" y="22"/>
                    </a:cxn>
                    <a:cxn ang="0">
                      <a:pos x="14" y="22"/>
                    </a:cxn>
                    <a:cxn ang="0">
                      <a:pos x="8" y="26"/>
                    </a:cxn>
                    <a:cxn ang="0">
                      <a:pos x="0" y="34"/>
                    </a:cxn>
                    <a:cxn ang="0">
                      <a:pos x="0" y="42"/>
                    </a:cxn>
                    <a:cxn ang="0">
                      <a:pos x="8" y="62"/>
                    </a:cxn>
                    <a:cxn ang="0">
                      <a:pos x="10" y="68"/>
                    </a:cxn>
                    <a:cxn ang="0">
                      <a:pos x="16" y="70"/>
                    </a:cxn>
                    <a:cxn ang="0">
                      <a:pos x="20" y="66"/>
                    </a:cxn>
                    <a:cxn ang="0">
                      <a:pos x="30" y="62"/>
                    </a:cxn>
                    <a:cxn ang="0">
                      <a:pos x="34" y="64"/>
                    </a:cxn>
                    <a:cxn ang="0">
                      <a:pos x="30" y="70"/>
                    </a:cxn>
                    <a:cxn ang="0">
                      <a:pos x="24" y="76"/>
                    </a:cxn>
                    <a:cxn ang="0">
                      <a:pos x="26" y="80"/>
                    </a:cxn>
                    <a:cxn ang="0">
                      <a:pos x="36" y="74"/>
                    </a:cxn>
                    <a:cxn ang="0">
                      <a:pos x="44" y="68"/>
                    </a:cxn>
                    <a:cxn ang="0">
                      <a:pos x="46" y="60"/>
                    </a:cxn>
                    <a:cxn ang="0">
                      <a:pos x="48" y="56"/>
                    </a:cxn>
                    <a:cxn ang="0">
                      <a:pos x="56" y="48"/>
                    </a:cxn>
                    <a:cxn ang="0">
                      <a:pos x="66" y="46"/>
                    </a:cxn>
                    <a:cxn ang="0">
                      <a:pos x="90" y="38"/>
                    </a:cxn>
                    <a:cxn ang="0">
                      <a:pos x="98" y="34"/>
                    </a:cxn>
                    <a:cxn ang="0">
                      <a:pos x="102" y="24"/>
                    </a:cxn>
                    <a:cxn ang="0">
                      <a:pos x="98" y="20"/>
                    </a:cxn>
                  </a:cxnLst>
                  <a:rect l="0" t="0" r="r" b="b"/>
                  <a:pathLst>
                    <a:path w="102" h="80">
                      <a:moveTo>
                        <a:pt x="98" y="20"/>
                      </a:moveTo>
                      <a:lnTo>
                        <a:pt x="98" y="20"/>
                      </a:lnTo>
                      <a:lnTo>
                        <a:pt x="94" y="18"/>
                      </a:lnTo>
                      <a:lnTo>
                        <a:pt x="94" y="14"/>
                      </a:lnTo>
                      <a:lnTo>
                        <a:pt x="94" y="12"/>
                      </a:lnTo>
                      <a:lnTo>
                        <a:pt x="92" y="8"/>
                      </a:lnTo>
                      <a:lnTo>
                        <a:pt x="92" y="8"/>
                      </a:lnTo>
                      <a:lnTo>
                        <a:pt x="88" y="6"/>
                      </a:lnTo>
                      <a:lnTo>
                        <a:pt x="86" y="6"/>
                      </a:lnTo>
                      <a:lnTo>
                        <a:pt x="82" y="6"/>
                      </a:lnTo>
                      <a:lnTo>
                        <a:pt x="78" y="4"/>
                      </a:lnTo>
                      <a:lnTo>
                        <a:pt x="78" y="4"/>
                      </a:lnTo>
                      <a:lnTo>
                        <a:pt x="70" y="0"/>
                      </a:lnTo>
                      <a:lnTo>
                        <a:pt x="64" y="0"/>
                      </a:lnTo>
                      <a:lnTo>
                        <a:pt x="60" y="0"/>
                      </a:lnTo>
                      <a:lnTo>
                        <a:pt x="60" y="2"/>
                      </a:lnTo>
                      <a:lnTo>
                        <a:pt x="62" y="4"/>
                      </a:lnTo>
                      <a:lnTo>
                        <a:pt x="62" y="4"/>
                      </a:lnTo>
                      <a:lnTo>
                        <a:pt x="64" y="6"/>
                      </a:lnTo>
                      <a:lnTo>
                        <a:pt x="62" y="8"/>
                      </a:lnTo>
                      <a:lnTo>
                        <a:pt x="58" y="12"/>
                      </a:lnTo>
                      <a:lnTo>
                        <a:pt x="50" y="12"/>
                      </a:lnTo>
                      <a:lnTo>
                        <a:pt x="46" y="10"/>
                      </a:lnTo>
                      <a:lnTo>
                        <a:pt x="44" y="8"/>
                      </a:lnTo>
                      <a:lnTo>
                        <a:pt x="44" y="8"/>
                      </a:lnTo>
                      <a:lnTo>
                        <a:pt x="40" y="4"/>
                      </a:lnTo>
                      <a:lnTo>
                        <a:pt x="38" y="4"/>
                      </a:lnTo>
                      <a:lnTo>
                        <a:pt x="38" y="4"/>
                      </a:lnTo>
                      <a:lnTo>
                        <a:pt x="34" y="10"/>
                      </a:lnTo>
                      <a:lnTo>
                        <a:pt x="34" y="18"/>
                      </a:lnTo>
                      <a:lnTo>
                        <a:pt x="34" y="18"/>
                      </a:lnTo>
                      <a:lnTo>
                        <a:pt x="32" y="20"/>
                      </a:lnTo>
                      <a:lnTo>
                        <a:pt x="32" y="22"/>
                      </a:lnTo>
                      <a:lnTo>
                        <a:pt x="26" y="22"/>
                      </a:lnTo>
                      <a:lnTo>
                        <a:pt x="18" y="20"/>
                      </a:lnTo>
                      <a:lnTo>
                        <a:pt x="14" y="22"/>
                      </a:lnTo>
                      <a:lnTo>
                        <a:pt x="8" y="26"/>
                      </a:lnTo>
                      <a:lnTo>
                        <a:pt x="8" y="26"/>
                      </a:lnTo>
                      <a:lnTo>
                        <a:pt x="4" y="30"/>
                      </a:lnTo>
                      <a:lnTo>
                        <a:pt x="0" y="34"/>
                      </a:lnTo>
                      <a:lnTo>
                        <a:pt x="0" y="38"/>
                      </a:lnTo>
                      <a:lnTo>
                        <a:pt x="0" y="42"/>
                      </a:lnTo>
                      <a:lnTo>
                        <a:pt x="4" y="50"/>
                      </a:lnTo>
                      <a:lnTo>
                        <a:pt x="8" y="62"/>
                      </a:lnTo>
                      <a:lnTo>
                        <a:pt x="8" y="62"/>
                      </a:lnTo>
                      <a:lnTo>
                        <a:pt x="10" y="68"/>
                      </a:lnTo>
                      <a:lnTo>
                        <a:pt x="14" y="70"/>
                      </a:lnTo>
                      <a:lnTo>
                        <a:pt x="16" y="70"/>
                      </a:lnTo>
                      <a:lnTo>
                        <a:pt x="20" y="66"/>
                      </a:lnTo>
                      <a:lnTo>
                        <a:pt x="20" y="66"/>
                      </a:lnTo>
                      <a:lnTo>
                        <a:pt x="24" y="64"/>
                      </a:lnTo>
                      <a:lnTo>
                        <a:pt x="30" y="62"/>
                      </a:lnTo>
                      <a:lnTo>
                        <a:pt x="32" y="62"/>
                      </a:lnTo>
                      <a:lnTo>
                        <a:pt x="34" y="64"/>
                      </a:lnTo>
                      <a:lnTo>
                        <a:pt x="32" y="66"/>
                      </a:lnTo>
                      <a:lnTo>
                        <a:pt x="30" y="70"/>
                      </a:lnTo>
                      <a:lnTo>
                        <a:pt x="30" y="70"/>
                      </a:lnTo>
                      <a:lnTo>
                        <a:pt x="24" y="76"/>
                      </a:lnTo>
                      <a:lnTo>
                        <a:pt x="24" y="78"/>
                      </a:lnTo>
                      <a:lnTo>
                        <a:pt x="26" y="80"/>
                      </a:lnTo>
                      <a:lnTo>
                        <a:pt x="30" y="78"/>
                      </a:lnTo>
                      <a:lnTo>
                        <a:pt x="36" y="74"/>
                      </a:lnTo>
                      <a:lnTo>
                        <a:pt x="36" y="74"/>
                      </a:lnTo>
                      <a:lnTo>
                        <a:pt x="44" y="68"/>
                      </a:lnTo>
                      <a:lnTo>
                        <a:pt x="46" y="66"/>
                      </a:lnTo>
                      <a:lnTo>
                        <a:pt x="46" y="60"/>
                      </a:lnTo>
                      <a:lnTo>
                        <a:pt x="46" y="60"/>
                      </a:lnTo>
                      <a:lnTo>
                        <a:pt x="48" y="56"/>
                      </a:lnTo>
                      <a:lnTo>
                        <a:pt x="50" y="52"/>
                      </a:lnTo>
                      <a:lnTo>
                        <a:pt x="56" y="48"/>
                      </a:lnTo>
                      <a:lnTo>
                        <a:pt x="66" y="46"/>
                      </a:lnTo>
                      <a:lnTo>
                        <a:pt x="66" y="46"/>
                      </a:lnTo>
                      <a:lnTo>
                        <a:pt x="80" y="44"/>
                      </a:lnTo>
                      <a:lnTo>
                        <a:pt x="90" y="38"/>
                      </a:lnTo>
                      <a:lnTo>
                        <a:pt x="90" y="38"/>
                      </a:lnTo>
                      <a:lnTo>
                        <a:pt x="98" y="34"/>
                      </a:lnTo>
                      <a:lnTo>
                        <a:pt x="102" y="28"/>
                      </a:lnTo>
                      <a:lnTo>
                        <a:pt x="102" y="24"/>
                      </a:lnTo>
                      <a:lnTo>
                        <a:pt x="100" y="22"/>
                      </a:lnTo>
                      <a:lnTo>
                        <a:pt x="98" y="20"/>
                      </a:lnTo>
                      <a:lnTo>
                        <a:pt x="98" y="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6" name="Freeform 6029"/>
                <p:cNvSpPr>
                  <a:spLocks/>
                </p:cNvSpPr>
                <p:nvPr/>
              </p:nvSpPr>
              <p:spPr bwMode="auto">
                <a:xfrm>
                  <a:off x="927100" y="1931353"/>
                  <a:ext cx="5080" cy="15240"/>
                </a:xfrm>
                <a:custGeom>
                  <a:avLst/>
                  <a:gdLst/>
                  <a:ahLst/>
                  <a:cxnLst>
                    <a:cxn ang="0">
                      <a:pos x="0" y="2"/>
                    </a:cxn>
                    <a:cxn ang="0">
                      <a:pos x="0" y="2"/>
                    </a:cxn>
                    <a:cxn ang="0">
                      <a:pos x="0" y="4"/>
                    </a:cxn>
                    <a:cxn ang="0">
                      <a:pos x="0" y="6"/>
                    </a:cxn>
                    <a:cxn ang="0">
                      <a:pos x="0" y="14"/>
                    </a:cxn>
                    <a:cxn ang="0">
                      <a:pos x="0" y="14"/>
                    </a:cxn>
                    <a:cxn ang="0">
                      <a:pos x="0" y="22"/>
                    </a:cxn>
                    <a:cxn ang="0">
                      <a:pos x="2" y="24"/>
                    </a:cxn>
                    <a:cxn ang="0">
                      <a:pos x="4" y="22"/>
                    </a:cxn>
                    <a:cxn ang="0">
                      <a:pos x="4" y="22"/>
                    </a:cxn>
                    <a:cxn ang="0">
                      <a:pos x="6" y="20"/>
                    </a:cxn>
                    <a:cxn ang="0">
                      <a:pos x="8" y="16"/>
                    </a:cxn>
                    <a:cxn ang="0">
                      <a:pos x="8" y="8"/>
                    </a:cxn>
                    <a:cxn ang="0">
                      <a:pos x="4" y="2"/>
                    </a:cxn>
                    <a:cxn ang="0">
                      <a:pos x="2" y="0"/>
                    </a:cxn>
                    <a:cxn ang="0">
                      <a:pos x="0" y="2"/>
                    </a:cxn>
                    <a:cxn ang="0">
                      <a:pos x="0" y="2"/>
                    </a:cxn>
                  </a:cxnLst>
                  <a:rect l="0" t="0" r="r" b="b"/>
                  <a:pathLst>
                    <a:path w="8" h="24">
                      <a:moveTo>
                        <a:pt x="0" y="2"/>
                      </a:moveTo>
                      <a:lnTo>
                        <a:pt x="0" y="2"/>
                      </a:lnTo>
                      <a:lnTo>
                        <a:pt x="0" y="4"/>
                      </a:lnTo>
                      <a:lnTo>
                        <a:pt x="0" y="6"/>
                      </a:lnTo>
                      <a:lnTo>
                        <a:pt x="0" y="14"/>
                      </a:lnTo>
                      <a:lnTo>
                        <a:pt x="0" y="14"/>
                      </a:lnTo>
                      <a:lnTo>
                        <a:pt x="0" y="22"/>
                      </a:lnTo>
                      <a:lnTo>
                        <a:pt x="2" y="24"/>
                      </a:lnTo>
                      <a:lnTo>
                        <a:pt x="4" y="22"/>
                      </a:lnTo>
                      <a:lnTo>
                        <a:pt x="4" y="22"/>
                      </a:lnTo>
                      <a:lnTo>
                        <a:pt x="6" y="20"/>
                      </a:lnTo>
                      <a:lnTo>
                        <a:pt x="8" y="16"/>
                      </a:lnTo>
                      <a:lnTo>
                        <a:pt x="8" y="8"/>
                      </a:lnTo>
                      <a:lnTo>
                        <a:pt x="4" y="2"/>
                      </a:lnTo>
                      <a:lnTo>
                        <a:pt x="2" y="0"/>
                      </a:lnTo>
                      <a:lnTo>
                        <a:pt x="0" y="2"/>
                      </a:lnTo>
                      <a:lnTo>
                        <a:pt x="0"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7" name="Freeform 6030"/>
                <p:cNvSpPr>
                  <a:spLocks/>
                </p:cNvSpPr>
                <p:nvPr/>
              </p:nvSpPr>
              <p:spPr bwMode="auto">
                <a:xfrm>
                  <a:off x="933450" y="1925003"/>
                  <a:ext cx="25400" cy="54610"/>
                </a:xfrm>
                <a:custGeom>
                  <a:avLst/>
                  <a:gdLst/>
                  <a:ahLst/>
                  <a:cxnLst>
                    <a:cxn ang="0">
                      <a:pos x="36" y="42"/>
                    </a:cxn>
                    <a:cxn ang="0">
                      <a:pos x="36" y="42"/>
                    </a:cxn>
                    <a:cxn ang="0">
                      <a:pos x="32" y="26"/>
                    </a:cxn>
                    <a:cxn ang="0">
                      <a:pos x="28" y="16"/>
                    </a:cxn>
                    <a:cxn ang="0">
                      <a:pos x="24" y="8"/>
                    </a:cxn>
                    <a:cxn ang="0">
                      <a:pos x="14" y="2"/>
                    </a:cxn>
                    <a:cxn ang="0">
                      <a:pos x="14" y="2"/>
                    </a:cxn>
                    <a:cxn ang="0">
                      <a:pos x="10" y="0"/>
                    </a:cxn>
                    <a:cxn ang="0">
                      <a:pos x="6" y="0"/>
                    </a:cxn>
                    <a:cxn ang="0">
                      <a:pos x="2" y="2"/>
                    </a:cxn>
                    <a:cxn ang="0">
                      <a:pos x="0" y="6"/>
                    </a:cxn>
                    <a:cxn ang="0">
                      <a:pos x="0" y="12"/>
                    </a:cxn>
                    <a:cxn ang="0">
                      <a:pos x="0" y="18"/>
                    </a:cxn>
                    <a:cxn ang="0">
                      <a:pos x="0" y="18"/>
                    </a:cxn>
                    <a:cxn ang="0">
                      <a:pos x="8" y="24"/>
                    </a:cxn>
                    <a:cxn ang="0">
                      <a:pos x="10" y="30"/>
                    </a:cxn>
                    <a:cxn ang="0">
                      <a:pos x="10" y="38"/>
                    </a:cxn>
                    <a:cxn ang="0">
                      <a:pos x="10" y="38"/>
                    </a:cxn>
                    <a:cxn ang="0">
                      <a:pos x="10" y="42"/>
                    </a:cxn>
                    <a:cxn ang="0">
                      <a:pos x="10" y="44"/>
                    </a:cxn>
                    <a:cxn ang="0">
                      <a:pos x="14" y="46"/>
                    </a:cxn>
                    <a:cxn ang="0">
                      <a:pos x="18" y="48"/>
                    </a:cxn>
                    <a:cxn ang="0">
                      <a:pos x="18" y="50"/>
                    </a:cxn>
                    <a:cxn ang="0">
                      <a:pos x="18" y="54"/>
                    </a:cxn>
                    <a:cxn ang="0">
                      <a:pos x="18" y="54"/>
                    </a:cxn>
                    <a:cxn ang="0">
                      <a:pos x="18" y="58"/>
                    </a:cxn>
                    <a:cxn ang="0">
                      <a:pos x="20" y="58"/>
                    </a:cxn>
                    <a:cxn ang="0">
                      <a:pos x="22" y="58"/>
                    </a:cxn>
                    <a:cxn ang="0">
                      <a:pos x="22" y="62"/>
                    </a:cxn>
                    <a:cxn ang="0">
                      <a:pos x="22" y="62"/>
                    </a:cxn>
                    <a:cxn ang="0">
                      <a:pos x="22" y="68"/>
                    </a:cxn>
                    <a:cxn ang="0">
                      <a:pos x="24" y="72"/>
                    </a:cxn>
                    <a:cxn ang="0">
                      <a:pos x="28" y="76"/>
                    </a:cxn>
                    <a:cxn ang="0">
                      <a:pos x="28" y="76"/>
                    </a:cxn>
                    <a:cxn ang="0">
                      <a:pos x="36" y="86"/>
                    </a:cxn>
                    <a:cxn ang="0">
                      <a:pos x="38" y="86"/>
                    </a:cxn>
                    <a:cxn ang="0">
                      <a:pos x="40" y="86"/>
                    </a:cxn>
                    <a:cxn ang="0">
                      <a:pos x="40" y="80"/>
                    </a:cxn>
                    <a:cxn ang="0">
                      <a:pos x="38" y="70"/>
                    </a:cxn>
                    <a:cxn ang="0">
                      <a:pos x="38" y="70"/>
                    </a:cxn>
                    <a:cxn ang="0">
                      <a:pos x="36" y="62"/>
                    </a:cxn>
                    <a:cxn ang="0">
                      <a:pos x="38" y="60"/>
                    </a:cxn>
                    <a:cxn ang="0">
                      <a:pos x="40" y="54"/>
                    </a:cxn>
                    <a:cxn ang="0">
                      <a:pos x="36" y="42"/>
                    </a:cxn>
                    <a:cxn ang="0">
                      <a:pos x="36" y="42"/>
                    </a:cxn>
                  </a:cxnLst>
                  <a:rect l="0" t="0" r="r" b="b"/>
                  <a:pathLst>
                    <a:path w="40" h="86">
                      <a:moveTo>
                        <a:pt x="36" y="42"/>
                      </a:moveTo>
                      <a:lnTo>
                        <a:pt x="36" y="42"/>
                      </a:lnTo>
                      <a:lnTo>
                        <a:pt x="32" y="26"/>
                      </a:lnTo>
                      <a:lnTo>
                        <a:pt x="28" y="16"/>
                      </a:lnTo>
                      <a:lnTo>
                        <a:pt x="24" y="8"/>
                      </a:lnTo>
                      <a:lnTo>
                        <a:pt x="14" y="2"/>
                      </a:lnTo>
                      <a:lnTo>
                        <a:pt x="14" y="2"/>
                      </a:lnTo>
                      <a:lnTo>
                        <a:pt x="10" y="0"/>
                      </a:lnTo>
                      <a:lnTo>
                        <a:pt x="6" y="0"/>
                      </a:lnTo>
                      <a:lnTo>
                        <a:pt x="2" y="2"/>
                      </a:lnTo>
                      <a:lnTo>
                        <a:pt x="0" y="6"/>
                      </a:lnTo>
                      <a:lnTo>
                        <a:pt x="0" y="12"/>
                      </a:lnTo>
                      <a:lnTo>
                        <a:pt x="0" y="18"/>
                      </a:lnTo>
                      <a:lnTo>
                        <a:pt x="0" y="18"/>
                      </a:lnTo>
                      <a:lnTo>
                        <a:pt x="8" y="24"/>
                      </a:lnTo>
                      <a:lnTo>
                        <a:pt x="10" y="30"/>
                      </a:lnTo>
                      <a:lnTo>
                        <a:pt x="10" y="38"/>
                      </a:lnTo>
                      <a:lnTo>
                        <a:pt x="10" y="38"/>
                      </a:lnTo>
                      <a:lnTo>
                        <a:pt x="10" y="42"/>
                      </a:lnTo>
                      <a:lnTo>
                        <a:pt x="10" y="44"/>
                      </a:lnTo>
                      <a:lnTo>
                        <a:pt x="14" y="46"/>
                      </a:lnTo>
                      <a:lnTo>
                        <a:pt x="18" y="48"/>
                      </a:lnTo>
                      <a:lnTo>
                        <a:pt x="18" y="50"/>
                      </a:lnTo>
                      <a:lnTo>
                        <a:pt x="18" y="54"/>
                      </a:lnTo>
                      <a:lnTo>
                        <a:pt x="18" y="54"/>
                      </a:lnTo>
                      <a:lnTo>
                        <a:pt x="18" y="58"/>
                      </a:lnTo>
                      <a:lnTo>
                        <a:pt x="20" y="58"/>
                      </a:lnTo>
                      <a:lnTo>
                        <a:pt x="22" y="58"/>
                      </a:lnTo>
                      <a:lnTo>
                        <a:pt x="22" y="62"/>
                      </a:lnTo>
                      <a:lnTo>
                        <a:pt x="22" y="62"/>
                      </a:lnTo>
                      <a:lnTo>
                        <a:pt x="22" y="68"/>
                      </a:lnTo>
                      <a:lnTo>
                        <a:pt x="24" y="72"/>
                      </a:lnTo>
                      <a:lnTo>
                        <a:pt x="28" y="76"/>
                      </a:lnTo>
                      <a:lnTo>
                        <a:pt x="28" y="76"/>
                      </a:lnTo>
                      <a:lnTo>
                        <a:pt x="36" y="86"/>
                      </a:lnTo>
                      <a:lnTo>
                        <a:pt x="38" y="86"/>
                      </a:lnTo>
                      <a:lnTo>
                        <a:pt x="40" y="86"/>
                      </a:lnTo>
                      <a:lnTo>
                        <a:pt x="40" y="80"/>
                      </a:lnTo>
                      <a:lnTo>
                        <a:pt x="38" y="70"/>
                      </a:lnTo>
                      <a:lnTo>
                        <a:pt x="38" y="70"/>
                      </a:lnTo>
                      <a:lnTo>
                        <a:pt x="36" y="62"/>
                      </a:lnTo>
                      <a:lnTo>
                        <a:pt x="38" y="60"/>
                      </a:lnTo>
                      <a:lnTo>
                        <a:pt x="40" y="54"/>
                      </a:lnTo>
                      <a:lnTo>
                        <a:pt x="36" y="42"/>
                      </a:lnTo>
                      <a:lnTo>
                        <a:pt x="36" y="4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8" name="Freeform 6031"/>
                <p:cNvSpPr>
                  <a:spLocks/>
                </p:cNvSpPr>
                <p:nvPr/>
              </p:nvSpPr>
              <p:spPr bwMode="auto">
                <a:xfrm>
                  <a:off x="951230" y="1890713"/>
                  <a:ext cx="26670" cy="54610"/>
                </a:xfrm>
                <a:custGeom>
                  <a:avLst/>
                  <a:gdLst/>
                  <a:ahLst/>
                  <a:cxnLst>
                    <a:cxn ang="0">
                      <a:pos x="38" y="66"/>
                    </a:cxn>
                    <a:cxn ang="0">
                      <a:pos x="38" y="66"/>
                    </a:cxn>
                    <a:cxn ang="0">
                      <a:pos x="40" y="66"/>
                    </a:cxn>
                    <a:cxn ang="0">
                      <a:pos x="42" y="64"/>
                    </a:cxn>
                    <a:cxn ang="0">
                      <a:pos x="42" y="58"/>
                    </a:cxn>
                    <a:cxn ang="0">
                      <a:pos x="40" y="52"/>
                    </a:cxn>
                    <a:cxn ang="0">
                      <a:pos x="40" y="50"/>
                    </a:cxn>
                    <a:cxn ang="0">
                      <a:pos x="40" y="48"/>
                    </a:cxn>
                    <a:cxn ang="0">
                      <a:pos x="40" y="48"/>
                    </a:cxn>
                    <a:cxn ang="0">
                      <a:pos x="42" y="48"/>
                    </a:cxn>
                    <a:cxn ang="0">
                      <a:pos x="42" y="44"/>
                    </a:cxn>
                    <a:cxn ang="0">
                      <a:pos x="40" y="36"/>
                    </a:cxn>
                    <a:cxn ang="0">
                      <a:pos x="30" y="16"/>
                    </a:cxn>
                    <a:cxn ang="0">
                      <a:pos x="30" y="16"/>
                    </a:cxn>
                    <a:cxn ang="0">
                      <a:pos x="28" y="12"/>
                    </a:cxn>
                    <a:cxn ang="0">
                      <a:pos x="24" y="10"/>
                    </a:cxn>
                    <a:cxn ang="0">
                      <a:pos x="20" y="10"/>
                    </a:cxn>
                    <a:cxn ang="0">
                      <a:pos x="14" y="10"/>
                    </a:cxn>
                    <a:cxn ang="0">
                      <a:pos x="10" y="8"/>
                    </a:cxn>
                    <a:cxn ang="0">
                      <a:pos x="8" y="4"/>
                    </a:cxn>
                    <a:cxn ang="0">
                      <a:pos x="8" y="4"/>
                    </a:cxn>
                    <a:cxn ang="0">
                      <a:pos x="2" y="0"/>
                    </a:cxn>
                    <a:cxn ang="0">
                      <a:pos x="2" y="2"/>
                    </a:cxn>
                    <a:cxn ang="0">
                      <a:pos x="0" y="4"/>
                    </a:cxn>
                    <a:cxn ang="0">
                      <a:pos x="4" y="20"/>
                    </a:cxn>
                    <a:cxn ang="0">
                      <a:pos x="4" y="20"/>
                    </a:cxn>
                    <a:cxn ang="0">
                      <a:pos x="8" y="36"/>
                    </a:cxn>
                    <a:cxn ang="0">
                      <a:pos x="10" y="46"/>
                    </a:cxn>
                    <a:cxn ang="0">
                      <a:pos x="14" y="58"/>
                    </a:cxn>
                    <a:cxn ang="0">
                      <a:pos x="14" y="58"/>
                    </a:cxn>
                    <a:cxn ang="0">
                      <a:pos x="16" y="66"/>
                    </a:cxn>
                    <a:cxn ang="0">
                      <a:pos x="16" y="66"/>
                    </a:cxn>
                    <a:cxn ang="0">
                      <a:pos x="14" y="68"/>
                    </a:cxn>
                    <a:cxn ang="0">
                      <a:pos x="12" y="70"/>
                    </a:cxn>
                    <a:cxn ang="0">
                      <a:pos x="10" y="74"/>
                    </a:cxn>
                    <a:cxn ang="0">
                      <a:pos x="10" y="82"/>
                    </a:cxn>
                    <a:cxn ang="0">
                      <a:pos x="10" y="82"/>
                    </a:cxn>
                    <a:cxn ang="0">
                      <a:pos x="12" y="86"/>
                    </a:cxn>
                    <a:cxn ang="0">
                      <a:pos x="16" y="86"/>
                    </a:cxn>
                    <a:cxn ang="0">
                      <a:pos x="28" y="80"/>
                    </a:cxn>
                    <a:cxn ang="0">
                      <a:pos x="28" y="80"/>
                    </a:cxn>
                    <a:cxn ang="0">
                      <a:pos x="30" y="78"/>
                    </a:cxn>
                    <a:cxn ang="0">
                      <a:pos x="32" y="74"/>
                    </a:cxn>
                    <a:cxn ang="0">
                      <a:pos x="32" y="70"/>
                    </a:cxn>
                    <a:cxn ang="0">
                      <a:pos x="32" y="68"/>
                    </a:cxn>
                    <a:cxn ang="0">
                      <a:pos x="38" y="66"/>
                    </a:cxn>
                    <a:cxn ang="0">
                      <a:pos x="38" y="66"/>
                    </a:cxn>
                  </a:cxnLst>
                  <a:rect l="0" t="0" r="r" b="b"/>
                  <a:pathLst>
                    <a:path w="42" h="86">
                      <a:moveTo>
                        <a:pt x="38" y="66"/>
                      </a:moveTo>
                      <a:lnTo>
                        <a:pt x="38" y="66"/>
                      </a:lnTo>
                      <a:lnTo>
                        <a:pt x="40" y="66"/>
                      </a:lnTo>
                      <a:lnTo>
                        <a:pt x="42" y="64"/>
                      </a:lnTo>
                      <a:lnTo>
                        <a:pt x="42" y="58"/>
                      </a:lnTo>
                      <a:lnTo>
                        <a:pt x="40" y="52"/>
                      </a:lnTo>
                      <a:lnTo>
                        <a:pt x="40" y="50"/>
                      </a:lnTo>
                      <a:lnTo>
                        <a:pt x="40" y="48"/>
                      </a:lnTo>
                      <a:lnTo>
                        <a:pt x="40" y="48"/>
                      </a:lnTo>
                      <a:lnTo>
                        <a:pt x="42" y="48"/>
                      </a:lnTo>
                      <a:lnTo>
                        <a:pt x="42" y="44"/>
                      </a:lnTo>
                      <a:lnTo>
                        <a:pt x="40" y="36"/>
                      </a:lnTo>
                      <a:lnTo>
                        <a:pt x="30" y="16"/>
                      </a:lnTo>
                      <a:lnTo>
                        <a:pt x="30" y="16"/>
                      </a:lnTo>
                      <a:lnTo>
                        <a:pt x="28" y="12"/>
                      </a:lnTo>
                      <a:lnTo>
                        <a:pt x="24" y="10"/>
                      </a:lnTo>
                      <a:lnTo>
                        <a:pt x="20" y="10"/>
                      </a:lnTo>
                      <a:lnTo>
                        <a:pt x="14" y="10"/>
                      </a:lnTo>
                      <a:lnTo>
                        <a:pt x="10" y="8"/>
                      </a:lnTo>
                      <a:lnTo>
                        <a:pt x="8" y="4"/>
                      </a:lnTo>
                      <a:lnTo>
                        <a:pt x="8" y="4"/>
                      </a:lnTo>
                      <a:lnTo>
                        <a:pt x="2" y="0"/>
                      </a:lnTo>
                      <a:lnTo>
                        <a:pt x="2" y="2"/>
                      </a:lnTo>
                      <a:lnTo>
                        <a:pt x="0" y="4"/>
                      </a:lnTo>
                      <a:lnTo>
                        <a:pt x="4" y="20"/>
                      </a:lnTo>
                      <a:lnTo>
                        <a:pt x="4" y="20"/>
                      </a:lnTo>
                      <a:lnTo>
                        <a:pt x="8" y="36"/>
                      </a:lnTo>
                      <a:lnTo>
                        <a:pt x="10" y="46"/>
                      </a:lnTo>
                      <a:lnTo>
                        <a:pt x="14" y="58"/>
                      </a:lnTo>
                      <a:lnTo>
                        <a:pt x="14" y="58"/>
                      </a:lnTo>
                      <a:lnTo>
                        <a:pt x="16" y="66"/>
                      </a:lnTo>
                      <a:lnTo>
                        <a:pt x="16" y="66"/>
                      </a:lnTo>
                      <a:lnTo>
                        <a:pt x="14" y="68"/>
                      </a:lnTo>
                      <a:lnTo>
                        <a:pt x="12" y="70"/>
                      </a:lnTo>
                      <a:lnTo>
                        <a:pt x="10" y="74"/>
                      </a:lnTo>
                      <a:lnTo>
                        <a:pt x="10" y="82"/>
                      </a:lnTo>
                      <a:lnTo>
                        <a:pt x="10" y="82"/>
                      </a:lnTo>
                      <a:lnTo>
                        <a:pt x="12" y="86"/>
                      </a:lnTo>
                      <a:lnTo>
                        <a:pt x="16" y="86"/>
                      </a:lnTo>
                      <a:lnTo>
                        <a:pt x="28" y="80"/>
                      </a:lnTo>
                      <a:lnTo>
                        <a:pt x="28" y="80"/>
                      </a:lnTo>
                      <a:lnTo>
                        <a:pt x="30" y="78"/>
                      </a:lnTo>
                      <a:lnTo>
                        <a:pt x="32" y="74"/>
                      </a:lnTo>
                      <a:lnTo>
                        <a:pt x="32" y="70"/>
                      </a:lnTo>
                      <a:lnTo>
                        <a:pt x="32" y="68"/>
                      </a:lnTo>
                      <a:lnTo>
                        <a:pt x="38" y="66"/>
                      </a:lnTo>
                      <a:lnTo>
                        <a:pt x="38" y="6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29" name="Freeform 6032"/>
                <p:cNvSpPr>
                  <a:spLocks/>
                </p:cNvSpPr>
                <p:nvPr/>
              </p:nvSpPr>
              <p:spPr bwMode="auto">
                <a:xfrm>
                  <a:off x="994410" y="2016443"/>
                  <a:ext cx="13970" cy="22860"/>
                </a:xfrm>
                <a:custGeom>
                  <a:avLst/>
                  <a:gdLst/>
                  <a:ahLst/>
                  <a:cxnLst>
                    <a:cxn ang="0">
                      <a:pos x="22" y="30"/>
                    </a:cxn>
                    <a:cxn ang="0">
                      <a:pos x="22" y="30"/>
                    </a:cxn>
                    <a:cxn ang="0">
                      <a:pos x="20" y="26"/>
                    </a:cxn>
                    <a:cxn ang="0">
                      <a:pos x="18" y="22"/>
                    </a:cxn>
                    <a:cxn ang="0">
                      <a:pos x="10" y="14"/>
                    </a:cxn>
                    <a:cxn ang="0">
                      <a:pos x="10" y="14"/>
                    </a:cxn>
                    <a:cxn ang="0">
                      <a:pos x="8" y="10"/>
                    </a:cxn>
                    <a:cxn ang="0">
                      <a:pos x="8" y="8"/>
                    </a:cxn>
                    <a:cxn ang="0">
                      <a:pos x="8" y="8"/>
                    </a:cxn>
                    <a:cxn ang="0">
                      <a:pos x="8" y="4"/>
                    </a:cxn>
                    <a:cxn ang="0">
                      <a:pos x="8" y="4"/>
                    </a:cxn>
                    <a:cxn ang="0">
                      <a:pos x="6" y="0"/>
                    </a:cxn>
                    <a:cxn ang="0">
                      <a:pos x="4" y="0"/>
                    </a:cxn>
                    <a:cxn ang="0">
                      <a:pos x="2" y="0"/>
                    </a:cxn>
                    <a:cxn ang="0">
                      <a:pos x="2" y="0"/>
                    </a:cxn>
                    <a:cxn ang="0">
                      <a:pos x="0" y="4"/>
                    </a:cxn>
                    <a:cxn ang="0">
                      <a:pos x="0" y="6"/>
                    </a:cxn>
                    <a:cxn ang="0">
                      <a:pos x="2" y="14"/>
                    </a:cxn>
                    <a:cxn ang="0">
                      <a:pos x="2" y="14"/>
                    </a:cxn>
                    <a:cxn ang="0">
                      <a:pos x="12" y="26"/>
                    </a:cxn>
                    <a:cxn ang="0">
                      <a:pos x="12" y="26"/>
                    </a:cxn>
                    <a:cxn ang="0">
                      <a:pos x="16" y="32"/>
                    </a:cxn>
                    <a:cxn ang="0">
                      <a:pos x="20" y="36"/>
                    </a:cxn>
                    <a:cxn ang="0">
                      <a:pos x="22" y="34"/>
                    </a:cxn>
                    <a:cxn ang="0">
                      <a:pos x="22" y="30"/>
                    </a:cxn>
                    <a:cxn ang="0">
                      <a:pos x="22" y="30"/>
                    </a:cxn>
                  </a:cxnLst>
                  <a:rect l="0" t="0" r="r" b="b"/>
                  <a:pathLst>
                    <a:path w="22" h="36">
                      <a:moveTo>
                        <a:pt x="22" y="30"/>
                      </a:moveTo>
                      <a:lnTo>
                        <a:pt x="22" y="30"/>
                      </a:lnTo>
                      <a:lnTo>
                        <a:pt x="20" y="26"/>
                      </a:lnTo>
                      <a:lnTo>
                        <a:pt x="18" y="22"/>
                      </a:lnTo>
                      <a:lnTo>
                        <a:pt x="10" y="14"/>
                      </a:lnTo>
                      <a:lnTo>
                        <a:pt x="10" y="14"/>
                      </a:lnTo>
                      <a:lnTo>
                        <a:pt x="8" y="10"/>
                      </a:lnTo>
                      <a:lnTo>
                        <a:pt x="8" y="8"/>
                      </a:lnTo>
                      <a:lnTo>
                        <a:pt x="8" y="8"/>
                      </a:lnTo>
                      <a:lnTo>
                        <a:pt x="8" y="4"/>
                      </a:lnTo>
                      <a:lnTo>
                        <a:pt x="8" y="4"/>
                      </a:lnTo>
                      <a:lnTo>
                        <a:pt x="6" y="0"/>
                      </a:lnTo>
                      <a:lnTo>
                        <a:pt x="4" y="0"/>
                      </a:lnTo>
                      <a:lnTo>
                        <a:pt x="2" y="0"/>
                      </a:lnTo>
                      <a:lnTo>
                        <a:pt x="2" y="0"/>
                      </a:lnTo>
                      <a:lnTo>
                        <a:pt x="0" y="4"/>
                      </a:lnTo>
                      <a:lnTo>
                        <a:pt x="0" y="6"/>
                      </a:lnTo>
                      <a:lnTo>
                        <a:pt x="2" y="14"/>
                      </a:lnTo>
                      <a:lnTo>
                        <a:pt x="2" y="14"/>
                      </a:lnTo>
                      <a:lnTo>
                        <a:pt x="12" y="26"/>
                      </a:lnTo>
                      <a:lnTo>
                        <a:pt x="12" y="26"/>
                      </a:lnTo>
                      <a:lnTo>
                        <a:pt x="16" y="32"/>
                      </a:lnTo>
                      <a:lnTo>
                        <a:pt x="20" y="36"/>
                      </a:lnTo>
                      <a:lnTo>
                        <a:pt x="22" y="34"/>
                      </a:lnTo>
                      <a:lnTo>
                        <a:pt x="22" y="30"/>
                      </a:lnTo>
                      <a:lnTo>
                        <a:pt x="22" y="3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0" name="Freeform 6034"/>
                <p:cNvSpPr>
                  <a:spLocks/>
                </p:cNvSpPr>
                <p:nvPr/>
              </p:nvSpPr>
              <p:spPr bwMode="auto">
                <a:xfrm>
                  <a:off x="976630" y="1941513"/>
                  <a:ext cx="25400" cy="26670"/>
                </a:xfrm>
                <a:custGeom>
                  <a:avLst/>
                  <a:gdLst/>
                  <a:ahLst/>
                  <a:cxnLst>
                    <a:cxn ang="0">
                      <a:pos x="34" y="30"/>
                    </a:cxn>
                    <a:cxn ang="0">
                      <a:pos x="34" y="30"/>
                    </a:cxn>
                    <a:cxn ang="0">
                      <a:pos x="36" y="26"/>
                    </a:cxn>
                    <a:cxn ang="0">
                      <a:pos x="38" y="22"/>
                    </a:cxn>
                    <a:cxn ang="0">
                      <a:pos x="40" y="16"/>
                    </a:cxn>
                    <a:cxn ang="0">
                      <a:pos x="36" y="10"/>
                    </a:cxn>
                    <a:cxn ang="0">
                      <a:pos x="36" y="10"/>
                    </a:cxn>
                    <a:cxn ang="0">
                      <a:pos x="32" y="6"/>
                    </a:cxn>
                    <a:cxn ang="0">
                      <a:pos x="28" y="6"/>
                    </a:cxn>
                    <a:cxn ang="0">
                      <a:pos x="24" y="6"/>
                    </a:cxn>
                    <a:cxn ang="0">
                      <a:pos x="18" y="4"/>
                    </a:cxn>
                    <a:cxn ang="0">
                      <a:pos x="18" y="4"/>
                    </a:cxn>
                    <a:cxn ang="0">
                      <a:pos x="12" y="0"/>
                    </a:cxn>
                    <a:cxn ang="0">
                      <a:pos x="4" y="0"/>
                    </a:cxn>
                    <a:cxn ang="0">
                      <a:pos x="0" y="4"/>
                    </a:cxn>
                    <a:cxn ang="0">
                      <a:pos x="0" y="6"/>
                    </a:cxn>
                    <a:cxn ang="0">
                      <a:pos x="0" y="10"/>
                    </a:cxn>
                    <a:cxn ang="0">
                      <a:pos x="0" y="10"/>
                    </a:cxn>
                    <a:cxn ang="0">
                      <a:pos x="0" y="14"/>
                    </a:cxn>
                    <a:cxn ang="0">
                      <a:pos x="2" y="16"/>
                    </a:cxn>
                    <a:cxn ang="0">
                      <a:pos x="6" y="16"/>
                    </a:cxn>
                    <a:cxn ang="0">
                      <a:pos x="10" y="16"/>
                    </a:cxn>
                    <a:cxn ang="0">
                      <a:pos x="12" y="16"/>
                    </a:cxn>
                    <a:cxn ang="0">
                      <a:pos x="12" y="20"/>
                    </a:cxn>
                    <a:cxn ang="0">
                      <a:pos x="12" y="26"/>
                    </a:cxn>
                    <a:cxn ang="0">
                      <a:pos x="12" y="26"/>
                    </a:cxn>
                    <a:cxn ang="0">
                      <a:pos x="12" y="36"/>
                    </a:cxn>
                    <a:cxn ang="0">
                      <a:pos x="14" y="38"/>
                    </a:cxn>
                    <a:cxn ang="0">
                      <a:pos x="16" y="40"/>
                    </a:cxn>
                    <a:cxn ang="0">
                      <a:pos x="20" y="40"/>
                    </a:cxn>
                    <a:cxn ang="0">
                      <a:pos x="28" y="40"/>
                    </a:cxn>
                    <a:cxn ang="0">
                      <a:pos x="28" y="40"/>
                    </a:cxn>
                    <a:cxn ang="0">
                      <a:pos x="32" y="42"/>
                    </a:cxn>
                    <a:cxn ang="0">
                      <a:pos x="34" y="40"/>
                    </a:cxn>
                    <a:cxn ang="0">
                      <a:pos x="34" y="38"/>
                    </a:cxn>
                    <a:cxn ang="0">
                      <a:pos x="32" y="32"/>
                    </a:cxn>
                    <a:cxn ang="0">
                      <a:pos x="32" y="30"/>
                    </a:cxn>
                    <a:cxn ang="0">
                      <a:pos x="34" y="30"/>
                    </a:cxn>
                    <a:cxn ang="0">
                      <a:pos x="34" y="30"/>
                    </a:cxn>
                  </a:cxnLst>
                  <a:rect l="0" t="0" r="r" b="b"/>
                  <a:pathLst>
                    <a:path w="40" h="42">
                      <a:moveTo>
                        <a:pt x="34" y="30"/>
                      </a:moveTo>
                      <a:lnTo>
                        <a:pt x="34" y="30"/>
                      </a:lnTo>
                      <a:lnTo>
                        <a:pt x="36" y="26"/>
                      </a:lnTo>
                      <a:lnTo>
                        <a:pt x="38" y="22"/>
                      </a:lnTo>
                      <a:lnTo>
                        <a:pt x="40" y="16"/>
                      </a:lnTo>
                      <a:lnTo>
                        <a:pt x="36" y="10"/>
                      </a:lnTo>
                      <a:lnTo>
                        <a:pt x="36" y="10"/>
                      </a:lnTo>
                      <a:lnTo>
                        <a:pt x="32" y="6"/>
                      </a:lnTo>
                      <a:lnTo>
                        <a:pt x="28" y="6"/>
                      </a:lnTo>
                      <a:lnTo>
                        <a:pt x="24" y="6"/>
                      </a:lnTo>
                      <a:lnTo>
                        <a:pt x="18" y="4"/>
                      </a:lnTo>
                      <a:lnTo>
                        <a:pt x="18" y="4"/>
                      </a:lnTo>
                      <a:lnTo>
                        <a:pt x="12" y="0"/>
                      </a:lnTo>
                      <a:lnTo>
                        <a:pt x="4" y="0"/>
                      </a:lnTo>
                      <a:lnTo>
                        <a:pt x="0" y="4"/>
                      </a:lnTo>
                      <a:lnTo>
                        <a:pt x="0" y="6"/>
                      </a:lnTo>
                      <a:lnTo>
                        <a:pt x="0" y="10"/>
                      </a:lnTo>
                      <a:lnTo>
                        <a:pt x="0" y="10"/>
                      </a:lnTo>
                      <a:lnTo>
                        <a:pt x="0" y="14"/>
                      </a:lnTo>
                      <a:lnTo>
                        <a:pt x="2" y="16"/>
                      </a:lnTo>
                      <a:lnTo>
                        <a:pt x="6" y="16"/>
                      </a:lnTo>
                      <a:lnTo>
                        <a:pt x="10" y="16"/>
                      </a:lnTo>
                      <a:lnTo>
                        <a:pt x="12" y="16"/>
                      </a:lnTo>
                      <a:lnTo>
                        <a:pt x="12" y="20"/>
                      </a:lnTo>
                      <a:lnTo>
                        <a:pt x="12" y="26"/>
                      </a:lnTo>
                      <a:lnTo>
                        <a:pt x="12" y="26"/>
                      </a:lnTo>
                      <a:lnTo>
                        <a:pt x="12" y="36"/>
                      </a:lnTo>
                      <a:lnTo>
                        <a:pt x="14" y="38"/>
                      </a:lnTo>
                      <a:lnTo>
                        <a:pt x="16" y="40"/>
                      </a:lnTo>
                      <a:lnTo>
                        <a:pt x="20" y="40"/>
                      </a:lnTo>
                      <a:lnTo>
                        <a:pt x="28" y="40"/>
                      </a:lnTo>
                      <a:lnTo>
                        <a:pt x="28" y="40"/>
                      </a:lnTo>
                      <a:lnTo>
                        <a:pt x="32" y="42"/>
                      </a:lnTo>
                      <a:lnTo>
                        <a:pt x="34" y="40"/>
                      </a:lnTo>
                      <a:lnTo>
                        <a:pt x="34" y="38"/>
                      </a:lnTo>
                      <a:lnTo>
                        <a:pt x="32" y="32"/>
                      </a:lnTo>
                      <a:lnTo>
                        <a:pt x="32" y="30"/>
                      </a:lnTo>
                      <a:lnTo>
                        <a:pt x="34" y="30"/>
                      </a:lnTo>
                      <a:lnTo>
                        <a:pt x="34" y="3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1" name="Freeform 6035"/>
                <p:cNvSpPr>
                  <a:spLocks/>
                </p:cNvSpPr>
                <p:nvPr/>
              </p:nvSpPr>
              <p:spPr bwMode="auto">
                <a:xfrm>
                  <a:off x="984250" y="1970723"/>
                  <a:ext cx="43180" cy="66040"/>
                </a:xfrm>
                <a:custGeom>
                  <a:avLst/>
                  <a:gdLst/>
                  <a:ahLst/>
                  <a:cxnLst>
                    <a:cxn ang="0">
                      <a:pos x="24" y="68"/>
                    </a:cxn>
                    <a:cxn ang="0">
                      <a:pos x="28" y="70"/>
                    </a:cxn>
                    <a:cxn ang="0">
                      <a:pos x="30" y="72"/>
                    </a:cxn>
                    <a:cxn ang="0">
                      <a:pos x="32" y="72"/>
                    </a:cxn>
                    <a:cxn ang="0">
                      <a:pos x="42" y="80"/>
                    </a:cxn>
                    <a:cxn ang="0">
                      <a:pos x="44" y="82"/>
                    </a:cxn>
                    <a:cxn ang="0">
                      <a:pos x="42" y="86"/>
                    </a:cxn>
                    <a:cxn ang="0">
                      <a:pos x="46" y="88"/>
                    </a:cxn>
                    <a:cxn ang="0">
                      <a:pos x="50" y="88"/>
                    </a:cxn>
                    <a:cxn ang="0">
                      <a:pos x="52" y="92"/>
                    </a:cxn>
                    <a:cxn ang="0">
                      <a:pos x="54" y="100"/>
                    </a:cxn>
                    <a:cxn ang="0">
                      <a:pos x="62" y="104"/>
                    </a:cxn>
                    <a:cxn ang="0">
                      <a:pos x="66" y="102"/>
                    </a:cxn>
                    <a:cxn ang="0">
                      <a:pos x="68" y="94"/>
                    </a:cxn>
                    <a:cxn ang="0">
                      <a:pos x="68" y="86"/>
                    </a:cxn>
                    <a:cxn ang="0">
                      <a:pos x="66" y="82"/>
                    </a:cxn>
                    <a:cxn ang="0">
                      <a:pos x="64" y="80"/>
                    </a:cxn>
                    <a:cxn ang="0">
                      <a:pos x="66" y="74"/>
                    </a:cxn>
                    <a:cxn ang="0">
                      <a:pos x="66" y="68"/>
                    </a:cxn>
                    <a:cxn ang="0">
                      <a:pos x="62" y="66"/>
                    </a:cxn>
                    <a:cxn ang="0">
                      <a:pos x="60" y="64"/>
                    </a:cxn>
                    <a:cxn ang="0">
                      <a:pos x="58" y="60"/>
                    </a:cxn>
                    <a:cxn ang="0">
                      <a:pos x="52" y="58"/>
                    </a:cxn>
                    <a:cxn ang="0">
                      <a:pos x="50" y="56"/>
                    </a:cxn>
                    <a:cxn ang="0">
                      <a:pos x="42" y="58"/>
                    </a:cxn>
                    <a:cxn ang="0">
                      <a:pos x="38" y="58"/>
                    </a:cxn>
                    <a:cxn ang="0">
                      <a:pos x="42" y="52"/>
                    </a:cxn>
                    <a:cxn ang="0">
                      <a:pos x="54" y="54"/>
                    </a:cxn>
                    <a:cxn ang="0">
                      <a:pos x="58" y="56"/>
                    </a:cxn>
                    <a:cxn ang="0">
                      <a:pos x="52" y="48"/>
                    </a:cxn>
                    <a:cxn ang="0">
                      <a:pos x="48" y="42"/>
                    </a:cxn>
                    <a:cxn ang="0">
                      <a:pos x="42" y="30"/>
                    </a:cxn>
                    <a:cxn ang="0">
                      <a:pos x="38" y="24"/>
                    </a:cxn>
                    <a:cxn ang="0">
                      <a:pos x="28" y="20"/>
                    </a:cxn>
                    <a:cxn ang="0">
                      <a:pos x="22" y="20"/>
                    </a:cxn>
                    <a:cxn ang="0">
                      <a:pos x="22" y="16"/>
                    </a:cxn>
                    <a:cxn ang="0">
                      <a:pos x="22" y="8"/>
                    </a:cxn>
                    <a:cxn ang="0">
                      <a:pos x="20" y="2"/>
                    </a:cxn>
                    <a:cxn ang="0">
                      <a:pos x="16" y="2"/>
                    </a:cxn>
                    <a:cxn ang="0">
                      <a:pos x="8" y="2"/>
                    </a:cxn>
                    <a:cxn ang="0">
                      <a:pos x="4" y="2"/>
                    </a:cxn>
                    <a:cxn ang="0">
                      <a:pos x="2" y="4"/>
                    </a:cxn>
                    <a:cxn ang="0">
                      <a:pos x="2" y="6"/>
                    </a:cxn>
                    <a:cxn ang="0">
                      <a:pos x="0" y="8"/>
                    </a:cxn>
                    <a:cxn ang="0">
                      <a:pos x="8" y="10"/>
                    </a:cxn>
                    <a:cxn ang="0">
                      <a:pos x="16" y="16"/>
                    </a:cxn>
                    <a:cxn ang="0">
                      <a:pos x="16" y="22"/>
                    </a:cxn>
                    <a:cxn ang="0">
                      <a:pos x="18" y="30"/>
                    </a:cxn>
                    <a:cxn ang="0">
                      <a:pos x="20" y="36"/>
                    </a:cxn>
                    <a:cxn ang="0">
                      <a:pos x="18" y="40"/>
                    </a:cxn>
                    <a:cxn ang="0">
                      <a:pos x="12" y="40"/>
                    </a:cxn>
                    <a:cxn ang="0">
                      <a:pos x="10" y="42"/>
                    </a:cxn>
                    <a:cxn ang="0">
                      <a:pos x="10" y="48"/>
                    </a:cxn>
                    <a:cxn ang="0">
                      <a:pos x="20" y="48"/>
                    </a:cxn>
                    <a:cxn ang="0">
                      <a:pos x="22" y="50"/>
                    </a:cxn>
                    <a:cxn ang="0">
                      <a:pos x="24" y="60"/>
                    </a:cxn>
                    <a:cxn ang="0">
                      <a:pos x="24" y="62"/>
                    </a:cxn>
                    <a:cxn ang="0">
                      <a:pos x="20" y="64"/>
                    </a:cxn>
                    <a:cxn ang="0">
                      <a:pos x="16" y="64"/>
                    </a:cxn>
                    <a:cxn ang="0">
                      <a:pos x="14" y="66"/>
                    </a:cxn>
                    <a:cxn ang="0">
                      <a:pos x="18" y="68"/>
                    </a:cxn>
                    <a:cxn ang="0">
                      <a:pos x="24" y="68"/>
                    </a:cxn>
                  </a:cxnLst>
                  <a:rect l="0" t="0" r="r" b="b"/>
                  <a:pathLst>
                    <a:path w="68" h="104">
                      <a:moveTo>
                        <a:pt x="24" y="68"/>
                      </a:moveTo>
                      <a:lnTo>
                        <a:pt x="24" y="68"/>
                      </a:lnTo>
                      <a:lnTo>
                        <a:pt x="28" y="68"/>
                      </a:lnTo>
                      <a:lnTo>
                        <a:pt x="28" y="70"/>
                      </a:lnTo>
                      <a:lnTo>
                        <a:pt x="28" y="72"/>
                      </a:lnTo>
                      <a:lnTo>
                        <a:pt x="30" y="72"/>
                      </a:lnTo>
                      <a:lnTo>
                        <a:pt x="30" y="72"/>
                      </a:lnTo>
                      <a:lnTo>
                        <a:pt x="32" y="72"/>
                      </a:lnTo>
                      <a:lnTo>
                        <a:pt x="36" y="72"/>
                      </a:lnTo>
                      <a:lnTo>
                        <a:pt x="42" y="80"/>
                      </a:lnTo>
                      <a:lnTo>
                        <a:pt x="42" y="80"/>
                      </a:lnTo>
                      <a:lnTo>
                        <a:pt x="44" y="82"/>
                      </a:lnTo>
                      <a:lnTo>
                        <a:pt x="44" y="84"/>
                      </a:lnTo>
                      <a:lnTo>
                        <a:pt x="42" y="86"/>
                      </a:lnTo>
                      <a:lnTo>
                        <a:pt x="46" y="88"/>
                      </a:lnTo>
                      <a:lnTo>
                        <a:pt x="46" y="88"/>
                      </a:lnTo>
                      <a:lnTo>
                        <a:pt x="48" y="90"/>
                      </a:lnTo>
                      <a:lnTo>
                        <a:pt x="50" y="88"/>
                      </a:lnTo>
                      <a:lnTo>
                        <a:pt x="52" y="88"/>
                      </a:lnTo>
                      <a:lnTo>
                        <a:pt x="52" y="92"/>
                      </a:lnTo>
                      <a:lnTo>
                        <a:pt x="52" y="92"/>
                      </a:lnTo>
                      <a:lnTo>
                        <a:pt x="54" y="100"/>
                      </a:lnTo>
                      <a:lnTo>
                        <a:pt x="58" y="104"/>
                      </a:lnTo>
                      <a:lnTo>
                        <a:pt x="62" y="104"/>
                      </a:lnTo>
                      <a:lnTo>
                        <a:pt x="66" y="102"/>
                      </a:lnTo>
                      <a:lnTo>
                        <a:pt x="66" y="102"/>
                      </a:lnTo>
                      <a:lnTo>
                        <a:pt x="68" y="98"/>
                      </a:lnTo>
                      <a:lnTo>
                        <a:pt x="68" y="94"/>
                      </a:lnTo>
                      <a:lnTo>
                        <a:pt x="68" y="92"/>
                      </a:lnTo>
                      <a:lnTo>
                        <a:pt x="68" y="86"/>
                      </a:lnTo>
                      <a:lnTo>
                        <a:pt x="68" y="86"/>
                      </a:lnTo>
                      <a:lnTo>
                        <a:pt x="66" y="82"/>
                      </a:lnTo>
                      <a:lnTo>
                        <a:pt x="66" y="82"/>
                      </a:lnTo>
                      <a:lnTo>
                        <a:pt x="64" y="80"/>
                      </a:lnTo>
                      <a:lnTo>
                        <a:pt x="66" y="74"/>
                      </a:lnTo>
                      <a:lnTo>
                        <a:pt x="66" y="74"/>
                      </a:lnTo>
                      <a:lnTo>
                        <a:pt x="68" y="68"/>
                      </a:lnTo>
                      <a:lnTo>
                        <a:pt x="66" y="68"/>
                      </a:lnTo>
                      <a:lnTo>
                        <a:pt x="62" y="68"/>
                      </a:lnTo>
                      <a:lnTo>
                        <a:pt x="62" y="66"/>
                      </a:lnTo>
                      <a:lnTo>
                        <a:pt x="60" y="64"/>
                      </a:lnTo>
                      <a:lnTo>
                        <a:pt x="60" y="64"/>
                      </a:lnTo>
                      <a:lnTo>
                        <a:pt x="60" y="60"/>
                      </a:lnTo>
                      <a:lnTo>
                        <a:pt x="58" y="60"/>
                      </a:lnTo>
                      <a:lnTo>
                        <a:pt x="54" y="60"/>
                      </a:lnTo>
                      <a:lnTo>
                        <a:pt x="52" y="58"/>
                      </a:lnTo>
                      <a:lnTo>
                        <a:pt x="52" y="58"/>
                      </a:lnTo>
                      <a:lnTo>
                        <a:pt x="50" y="56"/>
                      </a:lnTo>
                      <a:lnTo>
                        <a:pt x="44" y="58"/>
                      </a:lnTo>
                      <a:lnTo>
                        <a:pt x="42" y="58"/>
                      </a:lnTo>
                      <a:lnTo>
                        <a:pt x="38" y="58"/>
                      </a:lnTo>
                      <a:lnTo>
                        <a:pt x="38" y="58"/>
                      </a:lnTo>
                      <a:lnTo>
                        <a:pt x="40" y="54"/>
                      </a:lnTo>
                      <a:lnTo>
                        <a:pt x="42" y="52"/>
                      </a:lnTo>
                      <a:lnTo>
                        <a:pt x="48" y="50"/>
                      </a:lnTo>
                      <a:lnTo>
                        <a:pt x="54" y="54"/>
                      </a:lnTo>
                      <a:lnTo>
                        <a:pt x="54" y="54"/>
                      </a:lnTo>
                      <a:lnTo>
                        <a:pt x="58" y="56"/>
                      </a:lnTo>
                      <a:lnTo>
                        <a:pt x="60" y="56"/>
                      </a:lnTo>
                      <a:lnTo>
                        <a:pt x="52" y="48"/>
                      </a:lnTo>
                      <a:lnTo>
                        <a:pt x="52" y="48"/>
                      </a:lnTo>
                      <a:lnTo>
                        <a:pt x="48" y="42"/>
                      </a:lnTo>
                      <a:lnTo>
                        <a:pt x="46" y="36"/>
                      </a:lnTo>
                      <a:lnTo>
                        <a:pt x="42" y="30"/>
                      </a:lnTo>
                      <a:lnTo>
                        <a:pt x="38" y="24"/>
                      </a:lnTo>
                      <a:lnTo>
                        <a:pt x="38" y="24"/>
                      </a:lnTo>
                      <a:lnTo>
                        <a:pt x="34" y="20"/>
                      </a:lnTo>
                      <a:lnTo>
                        <a:pt x="28" y="20"/>
                      </a:lnTo>
                      <a:lnTo>
                        <a:pt x="24" y="20"/>
                      </a:lnTo>
                      <a:lnTo>
                        <a:pt x="22" y="20"/>
                      </a:lnTo>
                      <a:lnTo>
                        <a:pt x="22" y="20"/>
                      </a:lnTo>
                      <a:lnTo>
                        <a:pt x="22" y="16"/>
                      </a:lnTo>
                      <a:lnTo>
                        <a:pt x="22" y="12"/>
                      </a:lnTo>
                      <a:lnTo>
                        <a:pt x="22" y="8"/>
                      </a:lnTo>
                      <a:lnTo>
                        <a:pt x="20" y="2"/>
                      </a:lnTo>
                      <a:lnTo>
                        <a:pt x="20" y="2"/>
                      </a:lnTo>
                      <a:lnTo>
                        <a:pt x="18" y="0"/>
                      </a:lnTo>
                      <a:lnTo>
                        <a:pt x="16" y="2"/>
                      </a:lnTo>
                      <a:lnTo>
                        <a:pt x="14" y="2"/>
                      </a:lnTo>
                      <a:lnTo>
                        <a:pt x="8" y="2"/>
                      </a:lnTo>
                      <a:lnTo>
                        <a:pt x="8" y="2"/>
                      </a:lnTo>
                      <a:lnTo>
                        <a:pt x="4" y="2"/>
                      </a:lnTo>
                      <a:lnTo>
                        <a:pt x="2" y="2"/>
                      </a:lnTo>
                      <a:lnTo>
                        <a:pt x="2" y="4"/>
                      </a:lnTo>
                      <a:lnTo>
                        <a:pt x="2" y="6"/>
                      </a:lnTo>
                      <a:lnTo>
                        <a:pt x="2" y="6"/>
                      </a:lnTo>
                      <a:lnTo>
                        <a:pt x="0" y="6"/>
                      </a:lnTo>
                      <a:lnTo>
                        <a:pt x="0" y="8"/>
                      </a:lnTo>
                      <a:lnTo>
                        <a:pt x="8" y="10"/>
                      </a:lnTo>
                      <a:lnTo>
                        <a:pt x="8" y="10"/>
                      </a:lnTo>
                      <a:lnTo>
                        <a:pt x="14" y="12"/>
                      </a:lnTo>
                      <a:lnTo>
                        <a:pt x="16" y="16"/>
                      </a:lnTo>
                      <a:lnTo>
                        <a:pt x="16" y="22"/>
                      </a:lnTo>
                      <a:lnTo>
                        <a:pt x="16" y="22"/>
                      </a:lnTo>
                      <a:lnTo>
                        <a:pt x="16" y="26"/>
                      </a:lnTo>
                      <a:lnTo>
                        <a:pt x="18" y="30"/>
                      </a:lnTo>
                      <a:lnTo>
                        <a:pt x="20" y="32"/>
                      </a:lnTo>
                      <a:lnTo>
                        <a:pt x="20" y="36"/>
                      </a:lnTo>
                      <a:lnTo>
                        <a:pt x="20" y="36"/>
                      </a:lnTo>
                      <a:lnTo>
                        <a:pt x="18" y="40"/>
                      </a:lnTo>
                      <a:lnTo>
                        <a:pt x="14" y="40"/>
                      </a:lnTo>
                      <a:lnTo>
                        <a:pt x="12" y="40"/>
                      </a:lnTo>
                      <a:lnTo>
                        <a:pt x="10" y="42"/>
                      </a:lnTo>
                      <a:lnTo>
                        <a:pt x="10" y="42"/>
                      </a:lnTo>
                      <a:lnTo>
                        <a:pt x="10" y="46"/>
                      </a:lnTo>
                      <a:lnTo>
                        <a:pt x="10" y="48"/>
                      </a:lnTo>
                      <a:lnTo>
                        <a:pt x="20" y="48"/>
                      </a:lnTo>
                      <a:lnTo>
                        <a:pt x="20" y="48"/>
                      </a:lnTo>
                      <a:lnTo>
                        <a:pt x="22" y="50"/>
                      </a:lnTo>
                      <a:lnTo>
                        <a:pt x="22" y="50"/>
                      </a:lnTo>
                      <a:lnTo>
                        <a:pt x="22" y="54"/>
                      </a:lnTo>
                      <a:lnTo>
                        <a:pt x="24" y="60"/>
                      </a:lnTo>
                      <a:lnTo>
                        <a:pt x="24" y="60"/>
                      </a:lnTo>
                      <a:lnTo>
                        <a:pt x="24" y="62"/>
                      </a:lnTo>
                      <a:lnTo>
                        <a:pt x="24" y="62"/>
                      </a:lnTo>
                      <a:lnTo>
                        <a:pt x="20" y="64"/>
                      </a:lnTo>
                      <a:lnTo>
                        <a:pt x="16" y="64"/>
                      </a:lnTo>
                      <a:lnTo>
                        <a:pt x="16" y="64"/>
                      </a:lnTo>
                      <a:lnTo>
                        <a:pt x="14" y="66"/>
                      </a:lnTo>
                      <a:lnTo>
                        <a:pt x="14" y="66"/>
                      </a:lnTo>
                      <a:lnTo>
                        <a:pt x="16" y="68"/>
                      </a:lnTo>
                      <a:lnTo>
                        <a:pt x="18" y="68"/>
                      </a:lnTo>
                      <a:lnTo>
                        <a:pt x="24" y="68"/>
                      </a:lnTo>
                      <a:lnTo>
                        <a:pt x="24" y="6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2" name="Freeform 6036"/>
                <p:cNvSpPr>
                  <a:spLocks/>
                </p:cNvSpPr>
                <p:nvPr/>
              </p:nvSpPr>
              <p:spPr bwMode="auto">
                <a:xfrm>
                  <a:off x="980440" y="1979613"/>
                  <a:ext cx="12700" cy="10160"/>
                </a:xfrm>
                <a:custGeom>
                  <a:avLst/>
                  <a:gdLst/>
                  <a:ahLst/>
                  <a:cxnLst>
                    <a:cxn ang="0">
                      <a:pos x="16" y="0"/>
                    </a:cxn>
                    <a:cxn ang="0">
                      <a:pos x="16" y="0"/>
                    </a:cxn>
                    <a:cxn ang="0">
                      <a:pos x="8" y="0"/>
                    </a:cxn>
                    <a:cxn ang="0">
                      <a:pos x="6" y="2"/>
                    </a:cxn>
                    <a:cxn ang="0">
                      <a:pos x="8" y="2"/>
                    </a:cxn>
                    <a:cxn ang="0">
                      <a:pos x="8" y="2"/>
                    </a:cxn>
                    <a:cxn ang="0">
                      <a:pos x="8" y="4"/>
                    </a:cxn>
                    <a:cxn ang="0">
                      <a:pos x="6" y="6"/>
                    </a:cxn>
                    <a:cxn ang="0">
                      <a:pos x="2" y="6"/>
                    </a:cxn>
                    <a:cxn ang="0">
                      <a:pos x="0" y="8"/>
                    </a:cxn>
                    <a:cxn ang="0">
                      <a:pos x="0" y="8"/>
                    </a:cxn>
                    <a:cxn ang="0">
                      <a:pos x="0" y="12"/>
                    </a:cxn>
                    <a:cxn ang="0">
                      <a:pos x="0" y="14"/>
                    </a:cxn>
                    <a:cxn ang="0">
                      <a:pos x="2" y="16"/>
                    </a:cxn>
                    <a:cxn ang="0">
                      <a:pos x="8" y="12"/>
                    </a:cxn>
                    <a:cxn ang="0">
                      <a:pos x="8" y="12"/>
                    </a:cxn>
                    <a:cxn ang="0">
                      <a:pos x="10" y="10"/>
                    </a:cxn>
                    <a:cxn ang="0">
                      <a:pos x="16" y="10"/>
                    </a:cxn>
                    <a:cxn ang="0">
                      <a:pos x="16" y="10"/>
                    </a:cxn>
                    <a:cxn ang="0">
                      <a:pos x="20" y="8"/>
                    </a:cxn>
                    <a:cxn ang="0">
                      <a:pos x="20" y="6"/>
                    </a:cxn>
                    <a:cxn ang="0">
                      <a:pos x="18" y="2"/>
                    </a:cxn>
                    <a:cxn ang="0">
                      <a:pos x="16" y="0"/>
                    </a:cxn>
                    <a:cxn ang="0">
                      <a:pos x="16" y="0"/>
                    </a:cxn>
                  </a:cxnLst>
                  <a:rect l="0" t="0" r="r" b="b"/>
                  <a:pathLst>
                    <a:path w="20" h="16">
                      <a:moveTo>
                        <a:pt x="16" y="0"/>
                      </a:moveTo>
                      <a:lnTo>
                        <a:pt x="16" y="0"/>
                      </a:lnTo>
                      <a:lnTo>
                        <a:pt x="8" y="0"/>
                      </a:lnTo>
                      <a:lnTo>
                        <a:pt x="6" y="2"/>
                      </a:lnTo>
                      <a:lnTo>
                        <a:pt x="8" y="2"/>
                      </a:lnTo>
                      <a:lnTo>
                        <a:pt x="8" y="2"/>
                      </a:lnTo>
                      <a:lnTo>
                        <a:pt x="8" y="4"/>
                      </a:lnTo>
                      <a:lnTo>
                        <a:pt x="6" y="6"/>
                      </a:lnTo>
                      <a:lnTo>
                        <a:pt x="2" y="6"/>
                      </a:lnTo>
                      <a:lnTo>
                        <a:pt x="0" y="8"/>
                      </a:lnTo>
                      <a:lnTo>
                        <a:pt x="0" y="8"/>
                      </a:lnTo>
                      <a:lnTo>
                        <a:pt x="0" y="12"/>
                      </a:lnTo>
                      <a:lnTo>
                        <a:pt x="0" y="14"/>
                      </a:lnTo>
                      <a:lnTo>
                        <a:pt x="2" y="16"/>
                      </a:lnTo>
                      <a:lnTo>
                        <a:pt x="8" y="12"/>
                      </a:lnTo>
                      <a:lnTo>
                        <a:pt x="8" y="12"/>
                      </a:lnTo>
                      <a:lnTo>
                        <a:pt x="10" y="10"/>
                      </a:lnTo>
                      <a:lnTo>
                        <a:pt x="16" y="10"/>
                      </a:lnTo>
                      <a:lnTo>
                        <a:pt x="16" y="10"/>
                      </a:lnTo>
                      <a:lnTo>
                        <a:pt x="20" y="8"/>
                      </a:lnTo>
                      <a:lnTo>
                        <a:pt x="20" y="6"/>
                      </a:lnTo>
                      <a:lnTo>
                        <a:pt x="18" y="2"/>
                      </a:lnTo>
                      <a:lnTo>
                        <a:pt x="16" y="0"/>
                      </a:lnTo>
                      <a:lnTo>
                        <a:pt x="1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3" name="Freeform 6038"/>
                <p:cNvSpPr>
                  <a:spLocks/>
                </p:cNvSpPr>
                <p:nvPr/>
              </p:nvSpPr>
              <p:spPr bwMode="auto">
                <a:xfrm>
                  <a:off x="963930" y="1947863"/>
                  <a:ext cx="17780" cy="35560"/>
                </a:xfrm>
                <a:custGeom>
                  <a:avLst/>
                  <a:gdLst/>
                  <a:ahLst/>
                  <a:cxnLst>
                    <a:cxn ang="0">
                      <a:pos x="26" y="22"/>
                    </a:cxn>
                    <a:cxn ang="0">
                      <a:pos x="26" y="22"/>
                    </a:cxn>
                    <a:cxn ang="0">
                      <a:pos x="28" y="14"/>
                    </a:cxn>
                    <a:cxn ang="0">
                      <a:pos x="26" y="12"/>
                    </a:cxn>
                    <a:cxn ang="0">
                      <a:pos x="24" y="12"/>
                    </a:cxn>
                    <a:cxn ang="0">
                      <a:pos x="20" y="8"/>
                    </a:cxn>
                    <a:cxn ang="0">
                      <a:pos x="20" y="8"/>
                    </a:cxn>
                    <a:cxn ang="0">
                      <a:pos x="16" y="4"/>
                    </a:cxn>
                    <a:cxn ang="0">
                      <a:pos x="14" y="2"/>
                    </a:cxn>
                    <a:cxn ang="0">
                      <a:pos x="10" y="0"/>
                    </a:cxn>
                    <a:cxn ang="0">
                      <a:pos x="6" y="2"/>
                    </a:cxn>
                    <a:cxn ang="0">
                      <a:pos x="6" y="2"/>
                    </a:cxn>
                    <a:cxn ang="0">
                      <a:pos x="0" y="6"/>
                    </a:cxn>
                    <a:cxn ang="0">
                      <a:pos x="0" y="10"/>
                    </a:cxn>
                    <a:cxn ang="0">
                      <a:pos x="0" y="14"/>
                    </a:cxn>
                    <a:cxn ang="0">
                      <a:pos x="4" y="18"/>
                    </a:cxn>
                    <a:cxn ang="0">
                      <a:pos x="4" y="18"/>
                    </a:cxn>
                    <a:cxn ang="0">
                      <a:pos x="14" y="30"/>
                    </a:cxn>
                    <a:cxn ang="0">
                      <a:pos x="14" y="34"/>
                    </a:cxn>
                    <a:cxn ang="0">
                      <a:pos x="14" y="34"/>
                    </a:cxn>
                    <a:cxn ang="0">
                      <a:pos x="12" y="34"/>
                    </a:cxn>
                    <a:cxn ang="0">
                      <a:pos x="12" y="34"/>
                    </a:cxn>
                    <a:cxn ang="0">
                      <a:pos x="8" y="34"/>
                    </a:cxn>
                    <a:cxn ang="0">
                      <a:pos x="6" y="38"/>
                    </a:cxn>
                    <a:cxn ang="0">
                      <a:pos x="4" y="44"/>
                    </a:cxn>
                    <a:cxn ang="0">
                      <a:pos x="8" y="54"/>
                    </a:cxn>
                    <a:cxn ang="0">
                      <a:pos x="8" y="54"/>
                    </a:cxn>
                    <a:cxn ang="0">
                      <a:pos x="10" y="56"/>
                    </a:cxn>
                    <a:cxn ang="0">
                      <a:pos x="10" y="56"/>
                    </a:cxn>
                    <a:cxn ang="0">
                      <a:pos x="12" y="52"/>
                    </a:cxn>
                    <a:cxn ang="0">
                      <a:pos x="14" y="48"/>
                    </a:cxn>
                    <a:cxn ang="0">
                      <a:pos x="14" y="48"/>
                    </a:cxn>
                    <a:cxn ang="0">
                      <a:pos x="16" y="50"/>
                    </a:cxn>
                    <a:cxn ang="0">
                      <a:pos x="16" y="50"/>
                    </a:cxn>
                    <a:cxn ang="0">
                      <a:pos x="18" y="54"/>
                    </a:cxn>
                    <a:cxn ang="0">
                      <a:pos x="18" y="54"/>
                    </a:cxn>
                    <a:cxn ang="0">
                      <a:pos x="22" y="48"/>
                    </a:cxn>
                    <a:cxn ang="0">
                      <a:pos x="22" y="48"/>
                    </a:cxn>
                    <a:cxn ang="0">
                      <a:pos x="22" y="42"/>
                    </a:cxn>
                    <a:cxn ang="0">
                      <a:pos x="22" y="38"/>
                    </a:cxn>
                    <a:cxn ang="0">
                      <a:pos x="24" y="32"/>
                    </a:cxn>
                    <a:cxn ang="0">
                      <a:pos x="26" y="22"/>
                    </a:cxn>
                    <a:cxn ang="0">
                      <a:pos x="26" y="22"/>
                    </a:cxn>
                  </a:cxnLst>
                  <a:rect l="0" t="0" r="r" b="b"/>
                  <a:pathLst>
                    <a:path w="28" h="56">
                      <a:moveTo>
                        <a:pt x="26" y="22"/>
                      </a:moveTo>
                      <a:lnTo>
                        <a:pt x="26" y="22"/>
                      </a:lnTo>
                      <a:lnTo>
                        <a:pt x="28" y="14"/>
                      </a:lnTo>
                      <a:lnTo>
                        <a:pt x="26" y="12"/>
                      </a:lnTo>
                      <a:lnTo>
                        <a:pt x="24" y="12"/>
                      </a:lnTo>
                      <a:lnTo>
                        <a:pt x="20" y="8"/>
                      </a:lnTo>
                      <a:lnTo>
                        <a:pt x="20" y="8"/>
                      </a:lnTo>
                      <a:lnTo>
                        <a:pt x="16" y="4"/>
                      </a:lnTo>
                      <a:lnTo>
                        <a:pt x="14" y="2"/>
                      </a:lnTo>
                      <a:lnTo>
                        <a:pt x="10" y="0"/>
                      </a:lnTo>
                      <a:lnTo>
                        <a:pt x="6" y="2"/>
                      </a:lnTo>
                      <a:lnTo>
                        <a:pt x="6" y="2"/>
                      </a:lnTo>
                      <a:lnTo>
                        <a:pt x="0" y="6"/>
                      </a:lnTo>
                      <a:lnTo>
                        <a:pt x="0" y="10"/>
                      </a:lnTo>
                      <a:lnTo>
                        <a:pt x="0" y="14"/>
                      </a:lnTo>
                      <a:lnTo>
                        <a:pt x="4" y="18"/>
                      </a:lnTo>
                      <a:lnTo>
                        <a:pt x="4" y="18"/>
                      </a:lnTo>
                      <a:lnTo>
                        <a:pt x="14" y="30"/>
                      </a:lnTo>
                      <a:lnTo>
                        <a:pt x="14" y="34"/>
                      </a:lnTo>
                      <a:lnTo>
                        <a:pt x="14" y="34"/>
                      </a:lnTo>
                      <a:lnTo>
                        <a:pt x="12" y="34"/>
                      </a:lnTo>
                      <a:lnTo>
                        <a:pt x="12" y="34"/>
                      </a:lnTo>
                      <a:lnTo>
                        <a:pt x="8" y="34"/>
                      </a:lnTo>
                      <a:lnTo>
                        <a:pt x="6" y="38"/>
                      </a:lnTo>
                      <a:lnTo>
                        <a:pt x="4" y="44"/>
                      </a:lnTo>
                      <a:lnTo>
                        <a:pt x="8" y="54"/>
                      </a:lnTo>
                      <a:lnTo>
                        <a:pt x="8" y="54"/>
                      </a:lnTo>
                      <a:lnTo>
                        <a:pt x="10" y="56"/>
                      </a:lnTo>
                      <a:lnTo>
                        <a:pt x="10" y="56"/>
                      </a:lnTo>
                      <a:lnTo>
                        <a:pt x="12" y="52"/>
                      </a:lnTo>
                      <a:lnTo>
                        <a:pt x="14" y="48"/>
                      </a:lnTo>
                      <a:lnTo>
                        <a:pt x="14" y="48"/>
                      </a:lnTo>
                      <a:lnTo>
                        <a:pt x="16" y="50"/>
                      </a:lnTo>
                      <a:lnTo>
                        <a:pt x="16" y="50"/>
                      </a:lnTo>
                      <a:lnTo>
                        <a:pt x="18" y="54"/>
                      </a:lnTo>
                      <a:lnTo>
                        <a:pt x="18" y="54"/>
                      </a:lnTo>
                      <a:lnTo>
                        <a:pt x="22" y="48"/>
                      </a:lnTo>
                      <a:lnTo>
                        <a:pt x="22" y="48"/>
                      </a:lnTo>
                      <a:lnTo>
                        <a:pt x="22" y="42"/>
                      </a:lnTo>
                      <a:lnTo>
                        <a:pt x="22" y="38"/>
                      </a:lnTo>
                      <a:lnTo>
                        <a:pt x="24" y="32"/>
                      </a:lnTo>
                      <a:lnTo>
                        <a:pt x="26" y="22"/>
                      </a:lnTo>
                      <a:lnTo>
                        <a:pt x="26" y="2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4" name="Freeform 6039"/>
                <p:cNvSpPr>
                  <a:spLocks/>
                </p:cNvSpPr>
                <p:nvPr/>
              </p:nvSpPr>
              <p:spPr bwMode="auto">
                <a:xfrm>
                  <a:off x="909320" y="1894523"/>
                  <a:ext cx="44450" cy="33020"/>
                </a:xfrm>
                <a:custGeom>
                  <a:avLst/>
                  <a:gdLst/>
                  <a:ahLst/>
                  <a:cxnLst>
                    <a:cxn ang="0">
                      <a:pos x="36" y="40"/>
                    </a:cxn>
                    <a:cxn ang="0">
                      <a:pos x="36" y="40"/>
                    </a:cxn>
                    <a:cxn ang="0">
                      <a:pos x="34" y="34"/>
                    </a:cxn>
                    <a:cxn ang="0">
                      <a:pos x="36" y="32"/>
                    </a:cxn>
                    <a:cxn ang="0">
                      <a:pos x="40" y="34"/>
                    </a:cxn>
                    <a:cxn ang="0">
                      <a:pos x="50" y="40"/>
                    </a:cxn>
                    <a:cxn ang="0">
                      <a:pos x="50" y="40"/>
                    </a:cxn>
                    <a:cxn ang="0">
                      <a:pos x="60" y="48"/>
                    </a:cxn>
                    <a:cxn ang="0">
                      <a:pos x="66" y="48"/>
                    </a:cxn>
                    <a:cxn ang="0">
                      <a:pos x="68" y="48"/>
                    </a:cxn>
                    <a:cxn ang="0">
                      <a:pos x="70" y="46"/>
                    </a:cxn>
                    <a:cxn ang="0">
                      <a:pos x="68" y="40"/>
                    </a:cxn>
                    <a:cxn ang="0">
                      <a:pos x="68" y="40"/>
                    </a:cxn>
                    <a:cxn ang="0">
                      <a:pos x="64" y="30"/>
                    </a:cxn>
                    <a:cxn ang="0">
                      <a:pos x="64" y="26"/>
                    </a:cxn>
                    <a:cxn ang="0">
                      <a:pos x="64" y="22"/>
                    </a:cxn>
                    <a:cxn ang="0">
                      <a:pos x="64" y="22"/>
                    </a:cxn>
                    <a:cxn ang="0">
                      <a:pos x="64" y="18"/>
                    </a:cxn>
                    <a:cxn ang="0">
                      <a:pos x="64" y="16"/>
                    </a:cxn>
                    <a:cxn ang="0">
                      <a:pos x="56" y="10"/>
                    </a:cxn>
                    <a:cxn ang="0">
                      <a:pos x="38" y="0"/>
                    </a:cxn>
                    <a:cxn ang="0">
                      <a:pos x="38" y="0"/>
                    </a:cxn>
                    <a:cxn ang="0">
                      <a:pos x="30" y="0"/>
                    </a:cxn>
                    <a:cxn ang="0">
                      <a:pos x="24" y="0"/>
                    </a:cxn>
                    <a:cxn ang="0">
                      <a:pos x="18" y="2"/>
                    </a:cxn>
                    <a:cxn ang="0">
                      <a:pos x="14" y="4"/>
                    </a:cxn>
                    <a:cxn ang="0">
                      <a:pos x="14" y="4"/>
                    </a:cxn>
                    <a:cxn ang="0">
                      <a:pos x="10" y="2"/>
                    </a:cxn>
                    <a:cxn ang="0">
                      <a:pos x="8" y="4"/>
                    </a:cxn>
                    <a:cxn ang="0">
                      <a:pos x="4" y="12"/>
                    </a:cxn>
                    <a:cxn ang="0">
                      <a:pos x="4" y="12"/>
                    </a:cxn>
                    <a:cxn ang="0">
                      <a:pos x="0" y="16"/>
                    </a:cxn>
                    <a:cxn ang="0">
                      <a:pos x="2" y="20"/>
                    </a:cxn>
                    <a:cxn ang="0">
                      <a:pos x="4" y="24"/>
                    </a:cxn>
                    <a:cxn ang="0">
                      <a:pos x="10" y="28"/>
                    </a:cxn>
                    <a:cxn ang="0">
                      <a:pos x="10" y="28"/>
                    </a:cxn>
                    <a:cxn ang="0">
                      <a:pos x="14" y="30"/>
                    </a:cxn>
                    <a:cxn ang="0">
                      <a:pos x="14" y="32"/>
                    </a:cxn>
                    <a:cxn ang="0">
                      <a:pos x="14" y="36"/>
                    </a:cxn>
                    <a:cxn ang="0">
                      <a:pos x="16" y="42"/>
                    </a:cxn>
                    <a:cxn ang="0">
                      <a:pos x="18" y="46"/>
                    </a:cxn>
                    <a:cxn ang="0">
                      <a:pos x="24" y="52"/>
                    </a:cxn>
                    <a:cxn ang="0">
                      <a:pos x="24" y="52"/>
                    </a:cxn>
                    <a:cxn ang="0">
                      <a:pos x="28" y="52"/>
                    </a:cxn>
                    <a:cxn ang="0">
                      <a:pos x="34" y="50"/>
                    </a:cxn>
                    <a:cxn ang="0">
                      <a:pos x="38" y="46"/>
                    </a:cxn>
                    <a:cxn ang="0">
                      <a:pos x="38" y="42"/>
                    </a:cxn>
                    <a:cxn ang="0">
                      <a:pos x="36" y="40"/>
                    </a:cxn>
                    <a:cxn ang="0">
                      <a:pos x="36" y="40"/>
                    </a:cxn>
                  </a:cxnLst>
                  <a:rect l="0" t="0" r="r" b="b"/>
                  <a:pathLst>
                    <a:path w="70" h="52">
                      <a:moveTo>
                        <a:pt x="36" y="40"/>
                      </a:moveTo>
                      <a:lnTo>
                        <a:pt x="36" y="40"/>
                      </a:lnTo>
                      <a:lnTo>
                        <a:pt x="34" y="34"/>
                      </a:lnTo>
                      <a:lnTo>
                        <a:pt x="36" y="32"/>
                      </a:lnTo>
                      <a:lnTo>
                        <a:pt x="40" y="34"/>
                      </a:lnTo>
                      <a:lnTo>
                        <a:pt x="50" y="40"/>
                      </a:lnTo>
                      <a:lnTo>
                        <a:pt x="50" y="40"/>
                      </a:lnTo>
                      <a:lnTo>
                        <a:pt x="60" y="48"/>
                      </a:lnTo>
                      <a:lnTo>
                        <a:pt x="66" y="48"/>
                      </a:lnTo>
                      <a:lnTo>
                        <a:pt x="68" y="48"/>
                      </a:lnTo>
                      <a:lnTo>
                        <a:pt x="70" y="46"/>
                      </a:lnTo>
                      <a:lnTo>
                        <a:pt x="68" y="40"/>
                      </a:lnTo>
                      <a:lnTo>
                        <a:pt x="68" y="40"/>
                      </a:lnTo>
                      <a:lnTo>
                        <a:pt x="64" y="30"/>
                      </a:lnTo>
                      <a:lnTo>
                        <a:pt x="64" y="26"/>
                      </a:lnTo>
                      <a:lnTo>
                        <a:pt x="64" y="22"/>
                      </a:lnTo>
                      <a:lnTo>
                        <a:pt x="64" y="22"/>
                      </a:lnTo>
                      <a:lnTo>
                        <a:pt x="64" y="18"/>
                      </a:lnTo>
                      <a:lnTo>
                        <a:pt x="64" y="16"/>
                      </a:lnTo>
                      <a:lnTo>
                        <a:pt x="56" y="10"/>
                      </a:lnTo>
                      <a:lnTo>
                        <a:pt x="38" y="0"/>
                      </a:lnTo>
                      <a:lnTo>
                        <a:pt x="38" y="0"/>
                      </a:lnTo>
                      <a:lnTo>
                        <a:pt x="30" y="0"/>
                      </a:lnTo>
                      <a:lnTo>
                        <a:pt x="24" y="0"/>
                      </a:lnTo>
                      <a:lnTo>
                        <a:pt x="18" y="2"/>
                      </a:lnTo>
                      <a:lnTo>
                        <a:pt x="14" y="4"/>
                      </a:lnTo>
                      <a:lnTo>
                        <a:pt x="14" y="4"/>
                      </a:lnTo>
                      <a:lnTo>
                        <a:pt x="10" y="2"/>
                      </a:lnTo>
                      <a:lnTo>
                        <a:pt x="8" y="4"/>
                      </a:lnTo>
                      <a:lnTo>
                        <a:pt x="4" y="12"/>
                      </a:lnTo>
                      <a:lnTo>
                        <a:pt x="4" y="12"/>
                      </a:lnTo>
                      <a:lnTo>
                        <a:pt x="0" y="16"/>
                      </a:lnTo>
                      <a:lnTo>
                        <a:pt x="2" y="20"/>
                      </a:lnTo>
                      <a:lnTo>
                        <a:pt x="4" y="24"/>
                      </a:lnTo>
                      <a:lnTo>
                        <a:pt x="10" y="28"/>
                      </a:lnTo>
                      <a:lnTo>
                        <a:pt x="10" y="28"/>
                      </a:lnTo>
                      <a:lnTo>
                        <a:pt x="14" y="30"/>
                      </a:lnTo>
                      <a:lnTo>
                        <a:pt x="14" y="32"/>
                      </a:lnTo>
                      <a:lnTo>
                        <a:pt x="14" y="36"/>
                      </a:lnTo>
                      <a:lnTo>
                        <a:pt x="16" y="42"/>
                      </a:lnTo>
                      <a:lnTo>
                        <a:pt x="18" y="46"/>
                      </a:lnTo>
                      <a:lnTo>
                        <a:pt x="24" y="52"/>
                      </a:lnTo>
                      <a:lnTo>
                        <a:pt x="24" y="52"/>
                      </a:lnTo>
                      <a:lnTo>
                        <a:pt x="28" y="52"/>
                      </a:lnTo>
                      <a:lnTo>
                        <a:pt x="34" y="50"/>
                      </a:lnTo>
                      <a:lnTo>
                        <a:pt x="38" y="46"/>
                      </a:lnTo>
                      <a:lnTo>
                        <a:pt x="38" y="42"/>
                      </a:lnTo>
                      <a:lnTo>
                        <a:pt x="36" y="40"/>
                      </a:lnTo>
                      <a:lnTo>
                        <a:pt x="36" y="4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5" name="Freeform 6040"/>
                <p:cNvSpPr>
                  <a:spLocks/>
                </p:cNvSpPr>
                <p:nvPr/>
              </p:nvSpPr>
              <p:spPr bwMode="auto">
                <a:xfrm>
                  <a:off x="482600" y="1886903"/>
                  <a:ext cx="30480" cy="19050"/>
                </a:xfrm>
                <a:custGeom>
                  <a:avLst/>
                  <a:gdLst/>
                  <a:ahLst/>
                  <a:cxnLst>
                    <a:cxn ang="0">
                      <a:pos x="28" y="6"/>
                    </a:cxn>
                    <a:cxn ang="0">
                      <a:pos x="28" y="6"/>
                    </a:cxn>
                    <a:cxn ang="0">
                      <a:pos x="24" y="2"/>
                    </a:cxn>
                    <a:cxn ang="0">
                      <a:pos x="20" y="0"/>
                    </a:cxn>
                    <a:cxn ang="0">
                      <a:pos x="16" y="0"/>
                    </a:cxn>
                    <a:cxn ang="0">
                      <a:pos x="16" y="6"/>
                    </a:cxn>
                    <a:cxn ang="0">
                      <a:pos x="16" y="6"/>
                    </a:cxn>
                    <a:cxn ang="0">
                      <a:pos x="16" y="10"/>
                    </a:cxn>
                    <a:cxn ang="0">
                      <a:pos x="14" y="12"/>
                    </a:cxn>
                    <a:cxn ang="0">
                      <a:pos x="10" y="10"/>
                    </a:cxn>
                    <a:cxn ang="0">
                      <a:pos x="4" y="12"/>
                    </a:cxn>
                    <a:cxn ang="0">
                      <a:pos x="4" y="12"/>
                    </a:cxn>
                    <a:cxn ang="0">
                      <a:pos x="0" y="16"/>
                    </a:cxn>
                    <a:cxn ang="0">
                      <a:pos x="0" y="22"/>
                    </a:cxn>
                    <a:cxn ang="0">
                      <a:pos x="2" y="26"/>
                    </a:cxn>
                    <a:cxn ang="0">
                      <a:pos x="8" y="28"/>
                    </a:cxn>
                    <a:cxn ang="0">
                      <a:pos x="8" y="28"/>
                    </a:cxn>
                    <a:cxn ang="0">
                      <a:pos x="14" y="30"/>
                    </a:cxn>
                    <a:cxn ang="0">
                      <a:pos x="18" y="28"/>
                    </a:cxn>
                    <a:cxn ang="0">
                      <a:pos x="20" y="26"/>
                    </a:cxn>
                    <a:cxn ang="0">
                      <a:pos x="20" y="26"/>
                    </a:cxn>
                    <a:cxn ang="0">
                      <a:pos x="24" y="22"/>
                    </a:cxn>
                    <a:cxn ang="0">
                      <a:pos x="28" y="20"/>
                    </a:cxn>
                    <a:cxn ang="0">
                      <a:pos x="38" y="18"/>
                    </a:cxn>
                    <a:cxn ang="0">
                      <a:pos x="38" y="18"/>
                    </a:cxn>
                    <a:cxn ang="0">
                      <a:pos x="44" y="16"/>
                    </a:cxn>
                    <a:cxn ang="0">
                      <a:pos x="48" y="14"/>
                    </a:cxn>
                    <a:cxn ang="0">
                      <a:pos x="48" y="12"/>
                    </a:cxn>
                    <a:cxn ang="0">
                      <a:pos x="44" y="6"/>
                    </a:cxn>
                    <a:cxn ang="0">
                      <a:pos x="44" y="6"/>
                    </a:cxn>
                    <a:cxn ang="0">
                      <a:pos x="42" y="4"/>
                    </a:cxn>
                    <a:cxn ang="0">
                      <a:pos x="40" y="2"/>
                    </a:cxn>
                    <a:cxn ang="0">
                      <a:pos x="36" y="4"/>
                    </a:cxn>
                    <a:cxn ang="0">
                      <a:pos x="32" y="6"/>
                    </a:cxn>
                    <a:cxn ang="0">
                      <a:pos x="30" y="8"/>
                    </a:cxn>
                    <a:cxn ang="0">
                      <a:pos x="28" y="6"/>
                    </a:cxn>
                    <a:cxn ang="0">
                      <a:pos x="28" y="6"/>
                    </a:cxn>
                  </a:cxnLst>
                  <a:rect l="0" t="0" r="r" b="b"/>
                  <a:pathLst>
                    <a:path w="48" h="30">
                      <a:moveTo>
                        <a:pt x="28" y="6"/>
                      </a:moveTo>
                      <a:lnTo>
                        <a:pt x="28" y="6"/>
                      </a:lnTo>
                      <a:lnTo>
                        <a:pt x="24" y="2"/>
                      </a:lnTo>
                      <a:lnTo>
                        <a:pt x="20" y="0"/>
                      </a:lnTo>
                      <a:lnTo>
                        <a:pt x="16" y="0"/>
                      </a:lnTo>
                      <a:lnTo>
                        <a:pt x="16" y="6"/>
                      </a:lnTo>
                      <a:lnTo>
                        <a:pt x="16" y="6"/>
                      </a:lnTo>
                      <a:lnTo>
                        <a:pt x="16" y="10"/>
                      </a:lnTo>
                      <a:lnTo>
                        <a:pt x="14" y="12"/>
                      </a:lnTo>
                      <a:lnTo>
                        <a:pt x="10" y="10"/>
                      </a:lnTo>
                      <a:lnTo>
                        <a:pt x="4" y="12"/>
                      </a:lnTo>
                      <a:lnTo>
                        <a:pt x="4" y="12"/>
                      </a:lnTo>
                      <a:lnTo>
                        <a:pt x="0" y="16"/>
                      </a:lnTo>
                      <a:lnTo>
                        <a:pt x="0" y="22"/>
                      </a:lnTo>
                      <a:lnTo>
                        <a:pt x="2" y="26"/>
                      </a:lnTo>
                      <a:lnTo>
                        <a:pt x="8" y="28"/>
                      </a:lnTo>
                      <a:lnTo>
                        <a:pt x="8" y="28"/>
                      </a:lnTo>
                      <a:lnTo>
                        <a:pt x="14" y="30"/>
                      </a:lnTo>
                      <a:lnTo>
                        <a:pt x="18" y="28"/>
                      </a:lnTo>
                      <a:lnTo>
                        <a:pt x="20" y="26"/>
                      </a:lnTo>
                      <a:lnTo>
                        <a:pt x="20" y="26"/>
                      </a:lnTo>
                      <a:lnTo>
                        <a:pt x="24" y="22"/>
                      </a:lnTo>
                      <a:lnTo>
                        <a:pt x="28" y="20"/>
                      </a:lnTo>
                      <a:lnTo>
                        <a:pt x="38" y="18"/>
                      </a:lnTo>
                      <a:lnTo>
                        <a:pt x="38" y="18"/>
                      </a:lnTo>
                      <a:lnTo>
                        <a:pt x="44" y="16"/>
                      </a:lnTo>
                      <a:lnTo>
                        <a:pt x="48" y="14"/>
                      </a:lnTo>
                      <a:lnTo>
                        <a:pt x="48" y="12"/>
                      </a:lnTo>
                      <a:lnTo>
                        <a:pt x="44" y="6"/>
                      </a:lnTo>
                      <a:lnTo>
                        <a:pt x="44" y="6"/>
                      </a:lnTo>
                      <a:lnTo>
                        <a:pt x="42" y="4"/>
                      </a:lnTo>
                      <a:lnTo>
                        <a:pt x="40" y="2"/>
                      </a:lnTo>
                      <a:lnTo>
                        <a:pt x="36" y="4"/>
                      </a:lnTo>
                      <a:lnTo>
                        <a:pt x="32" y="6"/>
                      </a:lnTo>
                      <a:lnTo>
                        <a:pt x="30" y="8"/>
                      </a:lnTo>
                      <a:lnTo>
                        <a:pt x="28" y="6"/>
                      </a:lnTo>
                      <a:lnTo>
                        <a:pt x="28"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6" name="Freeform 6041"/>
                <p:cNvSpPr>
                  <a:spLocks/>
                </p:cNvSpPr>
                <p:nvPr/>
              </p:nvSpPr>
              <p:spPr bwMode="auto">
                <a:xfrm>
                  <a:off x="1062990" y="2026603"/>
                  <a:ext cx="10160" cy="10160"/>
                </a:xfrm>
                <a:custGeom>
                  <a:avLst/>
                  <a:gdLst/>
                  <a:ahLst/>
                  <a:cxnLst>
                    <a:cxn ang="0">
                      <a:pos x="6" y="14"/>
                    </a:cxn>
                    <a:cxn ang="0">
                      <a:pos x="6" y="14"/>
                    </a:cxn>
                    <a:cxn ang="0">
                      <a:pos x="12" y="8"/>
                    </a:cxn>
                    <a:cxn ang="0">
                      <a:pos x="16" y="2"/>
                    </a:cxn>
                    <a:cxn ang="0">
                      <a:pos x="16" y="2"/>
                    </a:cxn>
                    <a:cxn ang="0">
                      <a:pos x="16" y="0"/>
                    </a:cxn>
                    <a:cxn ang="0">
                      <a:pos x="16" y="0"/>
                    </a:cxn>
                    <a:cxn ang="0">
                      <a:pos x="10" y="4"/>
                    </a:cxn>
                    <a:cxn ang="0">
                      <a:pos x="10" y="4"/>
                    </a:cxn>
                    <a:cxn ang="0">
                      <a:pos x="2" y="10"/>
                    </a:cxn>
                    <a:cxn ang="0">
                      <a:pos x="0" y="14"/>
                    </a:cxn>
                    <a:cxn ang="0">
                      <a:pos x="0" y="16"/>
                    </a:cxn>
                    <a:cxn ang="0">
                      <a:pos x="0" y="16"/>
                    </a:cxn>
                    <a:cxn ang="0">
                      <a:pos x="4" y="16"/>
                    </a:cxn>
                    <a:cxn ang="0">
                      <a:pos x="6" y="14"/>
                    </a:cxn>
                    <a:cxn ang="0">
                      <a:pos x="6" y="14"/>
                    </a:cxn>
                  </a:cxnLst>
                  <a:rect l="0" t="0" r="r" b="b"/>
                  <a:pathLst>
                    <a:path w="16" h="16">
                      <a:moveTo>
                        <a:pt x="6" y="14"/>
                      </a:moveTo>
                      <a:lnTo>
                        <a:pt x="6" y="14"/>
                      </a:lnTo>
                      <a:lnTo>
                        <a:pt x="12" y="8"/>
                      </a:lnTo>
                      <a:lnTo>
                        <a:pt x="16" y="2"/>
                      </a:lnTo>
                      <a:lnTo>
                        <a:pt x="16" y="2"/>
                      </a:lnTo>
                      <a:lnTo>
                        <a:pt x="16" y="0"/>
                      </a:lnTo>
                      <a:lnTo>
                        <a:pt x="16" y="0"/>
                      </a:lnTo>
                      <a:lnTo>
                        <a:pt x="10" y="4"/>
                      </a:lnTo>
                      <a:lnTo>
                        <a:pt x="10" y="4"/>
                      </a:lnTo>
                      <a:lnTo>
                        <a:pt x="2" y="10"/>
                      </a:lnTo>
                      <a:lnTo>
                        <a:pt x="0" y="14"/>
                      </a:lnTo>
                      <a:lnTo>
                        <a:pt x="0" y="16"/>
                      </a:lnTo>
                      <a:lnTo>
                        <a:pt x="0" y="16"/>
                      </a:lnTo>
                      <a:lnTo>
                        <a:pt x="4" y="16"/>
                      </a:lnTo>
                      <a:lnTo>
                        <a:pt x="6" y="14"/>
                      </a:lnTo>
                      <a:lnTo>
                        <a:pt x="6" y="1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7" name="Freeform 6042"/>
                <p:cNvSpPr>
                  <a:spLocks/>
                </p:cNvSpPr>
                <p:nvPr/>
              </p:nvSpPr>
              <p:spPr bwMode="auto">
                <a:xfrm>
                  <a:off x="996950" y="2055813"/>
                  <a:ext cx="36830" cy="40640"/>
                </a:xfrm>
                <a:custGeom>
                  <a:avLst/>
                  <a:gdLst/>
                  <a:ahLst/>
                  <a:cxnLst>
                    <a:cxn ang="0">
                      <a:pos x="44" y="58"/>
                    </a:cxn>
                    <a:cxn ang="0">
                      <a:pos x="50" y="54"/>
                    </a:cxn>
                    <a:cxn ang="0">
                      <a:pos x="50" y="32"/>
                    </a:cxn>
                    <a:cxn ang="0">
                      <a:pos x="52" y="24"/>
                    </a:cxn>
                    <a:cxn ang="0">
                      <a:pos x="58" y="8"/>
                    </a:cxn>
                    <a:cxn ang="0">
                      <a:pos x="56" y="4"/>
                    </a:cxn>
                    <a:cxn ang="0">
                      <a:pos x="56" y="6"/>
                    </a:cxn>
                    <a:cxn ang="0">
                      <a:pos x="44" y="10"/>
                    </a:cxn>
                    <a:cxn ang="0">
                      <a:pos x="40" y="10"/>
                    </a:cxn>
                    <a:cxn ang="0">
                      <a:pos x="42" y="14"/>
                    </a:cxn>
                    <a:cxn ang="0">
                      <a:pos x="42" y="24"/>
                    </a:cxn>
                    <a:cxn ang="0">
                      <a:pos x="32" y="34"/>
                    </a:cxn>
                    <a:cxn ang="0">
                      <a:pos x="24" y="34"/>
                    </a:cxn>
                    <a:cxn ang="0">
                      <a:pos x="20" y="32"/>
                    </a:cxn>
                    <a:cxn ang="0">
                      <a:pos x="26" y="28"/>
                    </a:cxn>
                    <a:cxn ang="0">
                      <a:pos x="32" y="26"/>
                    </a:cxn>
                    <a:cxn ang="0">
                      <a:pos x="38" y="16"/>
                    </a:cxn>
                    <a:cxn ang="0">
                      <a:pos x="34" y="10"/>
                    </a:cxn>
                    <a:cxn ang="0">
                      <a:pos x="28" y="6"/>
                    </a:cxn>
                    <a:cxn ang="0">
                      <a:pos x="24" y="6"/>
                    </a:cxn>
                    <a:cxn ang="0">
                      <a:pos x="20" y="4"/>
                    </a:cxn>
                    <a:cxn ang="0">
                      <a:pos x="14" y="4"/>
                    </a:cxn>
                    <a:cxn ang="0">
                      <a:pos x="12" y="4"/>
                    </a:cxn>
                    <a:cxn ang="0">
                      <a:pos x="4" y="0"/>
                    </a:cxn>
                    <a:cxn ang="0">
                      <a:pos x="2" y="6"/>
                    </a:cxn>
                    <a:cxn ang="0">
                      <a:pos x="2" y="12"/>
                    </a:cxn>
                    <a:cxn ang="0">
                      <a:pos x="0" y="20"/>
                    </a:cxn>
                    <a:cxn ang="0">
                      <a:pos x="4" y="28"/>
                    </a:cxn>
                    <a:cxn ang="0">
                      <a:pos x="6" y="36"/>
                    </a:cxn>
                    <a:cxn ang="0">
                      <a:pos x="8" y="42"/>
                    </a:cxn>
                    <a:cxn ang="0">
                      <a:pos x="10" y="46"/>
                    </a:cxn>
                    <a:cxn ang="0">
                      <a:pos x="16" y="44"/>
                    </a:cxn>
                    <a:cxn ang="0">
                      <a:pos x="24" y="48"/>
                    </a:cxn>
                    <a:cxn ang="0">
                      <a:pos x="22" y="52"/>
                    </a:cxn>
                    <a:cxn ang="0">
                      <a:pos x="18" y="50"/>
                    </a:cxn>
                    <a:cxn ang="0">
                      <a:pos x="16" y="54"/>
                    </a:cxn>
                    <a:cxn ang="0">
                      <a:pos x="20" y="56"/>
                    </a:cxn>
                    <a:cxn ang="0">
                      <a:pos x="24" y="62"/>
                    </a:cxn>
                    <a:cxn ang="0">
                      <a:pos x="30" y="64"/>
                    </a:cxn>
                    <a:cxn ang="0">
                      <a:pos x="36" y="64"/>
                    </a:cxn>
                    <a:cxn ang="0">
                      <a:pos x="40" y="60"/>
                    </a:cxn>
                    <a:cxn ang="0">
                      <a:pos x="44" y="58"/>
                    </a:cxn>
                  </a:cxnLst>
                  <a:rect l="0" t="0" r="r" b="b"/>
                  <a:pathLst>
                    <a:path w="58" h="64">
                      <a:moveTo>
                        <a:pt x="44" y="58"/>
                      </a:moveTo>
                      <a:lnTo>
                        <a:pt x="44" y="58"/>
                      </a:lnTo>
                      <a:lnTo>
                        <a:pt x="48" y="56"/>
                      </a:lnTo>
                      <a:lnTo>
                        <a:pt x="50" y="54"/>
                      </a:lnTo>
                      <a:lnTo>
                        <a:pt x="50" y="44"/>
                      </a:lnTo>
                      <a:lnTo>
                        <a:pt x="50" y="32"/>
                      </a:lnTo>
                      <a:lnTo>
                        <a:pt x="50" y="28"/>
                      </a:lnTo>
                      <a:lnTo>
                        <a:pt x="52" y="24"/>
                      </a:lnTo>
                      <a:lnTo>
                        <a:pt x="52" y="24"/>
                      </a:lnTo>
                      <a:lnTo>
                        <a:pt x="58" y="8"/>
                      </a:lnTo>
                      <a:lnTo>
                        <a:pt x="58" y="4"/>
                      </a:lnTo>
                      <a:lnTo>
                        <a:pt x="56" y="4"/>
                      </a:lnTo>
                      <a:lnTo>
                        <a:pt x="56" y="6"/>
                      </a:lnTo>
                      <a:lnTo>
                        <a:pt x="56" y="6"/>
                      </a:lnTo>
                      <a:lnTo>
                        <a:pt x="50" y="8"/>
                      </a:lnTo>
                      <a:lnTo>
                        <a:pt x="44" y="10"/>
                      </a:lnTo>
                      <a:lnTo>
                        <a:pt x="40" y="10"/>
                      </a:lnTo>
                      <a:lnTo>
                        <a:pt x="40" y="10"/>
                      </a:lnTo>
                      <a:lnTo>
                        <a:pt x="42" y="14"/>
                      </a:lnTo>
                      <a:lnTo>
                        <a:pt x="42" y="14"/>
                      </a:lnTo>
                      <a:lnTo>
                        <a:pt x="44" y="20"/>
                      </a:lnTo>
                      <a:lnTo>
                        <a:pt x="42" y="24"/>
                      </a:lnTo>
                      <a:lnTo>
                        <a:pt x="40" y="30"/>
                      </a:lnTo>
                      <a:lnTo>
                        <a:pt x="32" y="34"/>
                      </a:lnTo>
                      <a:lnTo>
                        <a:pt x="32" y="34"/>
                      </a:lnTo>
                      <a:lnTo>
                        <a:pt x="24" y="34"/>
                      </a:lnTo>
                      <a:lnTo>
                        <a:pt x="20" y="34"/>
                      </a:lnTo>
                      <a:lnTo>
                        <a:pt x="20" y="32"/>
                      </a:lnTo>
                      <a:lnTo>
                        <a:pt x="20" y="32"/>
                      </a:lnTo>
                      <a:lnTo>
                        <a:pt x="26" y="28"/>
                      </a:lnTo>
                      <a:lnTo>
                        <a:pt x="26" y="28"/>
                      </a:lnTo>
                      <a:lnTo>
                        <a:pt x="32" y="26"/>
                      </a:lnTo>
                      <a:lnTo>
                        <a:pt x="38" y="22"/>
                      </a:lnTo>
                      <a:lnTo>
                        <a:pt x="38" y="16"/>
                      </a:lnTo>
                      <a:lnTo>
                        <a:pt x="34" y="10"/>
                      </a:lnTo>
                      <a:lnTo>
                        <a:pt x="34" y="10"/>
                      </a:lnTo>
                      <a:lnTo>
                        <a:pt x="30" y="6"/>
                      </a:lnTo>
                      <a:lnTo>
                        <a:pt x="28" y="6"/>
                      </a:lnTo>
                      <a:lnTo>
                        <a:pt x="26" y="6"/>
                      </a:lnTo>
                      <a:lnTo>
                        <a:pt x="24" y="6"/>
                      </a:lnTo>
                      <a:lnTo>
                        <a:pt x="24" y="6"/>
                      </a:lnTo>
                      <a:lnTo>
                        <a:pt x="20" y="4"/>
                      </a:lnTo>
                      <a:lnTo>
                        <a:pt x="18" y="4"/>
                      </a:lnTo>
                      <a:lnTo>
                        <a:pt x="14" y="4"/>
                      </a:lnTo>
                      <a:lnTo>
                        <a:pt x="12" y="4"/>
                      </a:lnTo>
                      <a:lnTo>
                        <a:pt x="12" y="4"/>
                      </a:lnTo>
                      <a:lnTo>
                        <a:pt x="8" y="0"/>
                      </a:lnTo>
                      <a:lnTo>
                        <a:pt x="4" y="0"/>
                      </a:lnTo>
                      <a:lnTo>
                        <a:pt x="2" y="2"/>
                      </a:lnTo>
                      <a:lnTo>
                        <a:pt x="2" y="6"/>
                      </a:lnTo>
                      <a:lnTo>
                        <a:pt x="2" y="6"/>
                      </a:lnTo>
                      <a:lnTo>
                        <a:pt x="2" y="12"/>
                      </a:lnTo>
                      <a:lnTo>
                        <a:pt x="2" y="16"/>
                      </a:lnTo>
                      <a:lnTo>
                        <a:pt x="0" y="20"/>
                      </a:lnTo>
                      <a:lnTo>
                        <a:pt x="4" y="28"/>
                      </a:lnTo>
                      <a:lnTo>
                        <a:pt x="4" y="28"/>
                      </a:lnTo>
                      <a:lnTo>
                        <a:pt x="8" y="34"/>
                      </a:lnTo>
                      <a:lnTo>
                        <a:pt x="6" y="36"/>
                      </a:lnTo>
                      <a:lnTo>
                        <a:pt x="6" y="38"/>
                      </a:lnTo>
                      <a:lnTo>
                        <a:pt x="8" y="42"/>
                      </a:lnTo>
                      <a:lnTo>
                        <a:pt x="8" y="42"/>
                      </a:lnTo>
                      <a:lnTo>
                        <a:pt x="10" y="46"/>
                      </a:lnTo>
                      <a:lnTo>
                        <a:pt x="16" y="44"/>
                      </a:lnTo>
                      <a:lnTo>
                        <a:pt x="16" y="44"/>
                      </a:lnTo>
                      <a:lnTo>
                        <a:pt x="20" y="46"/>
                      </a:lnTo>
                      <a:lnTo>
                        <a:pt x="24" y="48"/>
                      </a:lnTo>
                      <a:lnTo>
                        <a:pt x="26" y="50"/>
                      </a:lnTo>
                      <a:lnTo>
                        <a:pt x="22" y="52"/>
                      </a:lnTo>
                      <a:lnTo>
                        <a:pt x="22" y="52"/>
                      </a:lnTo>
                      <a:lnTo>
                        <a:pt x="18" y="50"/>
                      </a:lnTo>
                      <a:lnTo>
                        <a:pt x="16" y="52"/>
                      </a:lnTo>
                      <a:lnTo>
                        <a:pt x="16" y="54"/>
                      </a:lnTo>
                      <a:lnTo>
                        <a:pt x="20" y="56"/>
                      </a:lnTo>
                      <a:lnTo>
                        <a:pt x="20" y="56"/>
                      </a:lnTo>
                      <a:lnTo>
                        <a:pt x="22" y="60"/>
                      </a:lnTo>
                      <a:lnTo>
                        <a:pt x="24" y="62"/>
                      </a:lnTo>
                      <a:lnTo>
                        <a:pt x="24" y="62"/>
                      </a:lnTo>
                      <a:lnTo>
                        <a:pt x="30" y="64"/>
                      </a:lnTo>
                      <a:lnTo>
                        <a:pt x="30" y="64"/>
                      </a:lnTo>
                      <a:lnTo>
                        <a:pt x="36" y="64"/>
                      </a:lnTo>
                      <a:lnTo>
                        <a:pt x="38" y="62"/>
                      </a:lnTo>
                      <a:lnTo>
                        <a:pt x="40" y="60"/>
                      </a:lnTo>
                      <a:lnTo>
                        <a:pt x="44" y="58"/>
                      </a:lnTo>
                      <a:lnTo>
                        <a:pt x="44" y="5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8" name="Freeform 6043"/>
                <p:cNvSpPr>
                  <a:spLocks/>
                </p:cNvSpPr>
                <p:nvPr/>
              </p:nvSpPr>
              <p:spPr bwMode="auto">
                <a:xfrm>
                  <a:off x="1118870" y="2185353"/>
                  <a:ext cx="132080" cy="93980"/>
                </a:xfrm>
                <a:custGeom>
                  <a:avLst/>
                  <a:gdLst/>
                  <a:ahLst/>
                  <a:cxnLst>
                    <a:cxn ang="0">
                      <a:pos x="196" y="148"/>
                    </a:cxn>
                    <a:cxn ang="0">
                      <a:pos x="206" y="146"/>
                    </a:cxn>
                    <a:cxn ang="0">
                      <a:pos x="208" y="144"/>
                    </a:cxn>
                    <a:cxn ang="0">
                      <a:pos x="202" y="130"/>
                    </a:cxn>
                    <a:cxn ang="0">
                      <a:pos x="200" y="124"/>
                    </a:cxn>
                    <a:cxn ang="0">
                      <a:pos x="192" y="116"/>
                    </a:cxn>
                    <a:cxn ang="0">
                      <a:pos x="180" y="94"/>
                    </a:cxn>
                    <a:cxn ang="0">
                      <a:pos x="172" y="90"/>
                    </a:cxn>
                    <a:cxn ang="0">
                      <a:pos x="144" y="76"/>
                    </a:cxn>
                    <a:cxn ang="0">
                      <a:pos x="144" y="70"/>
                    </a:cxn>
                    <a:cxn ang="0">
                      <a:pos x="138" y="60"/>
                    </a:cxn>
                    <a:cxn ang="0">
                      <a:pos x="122" y="38"/>
                    </a:cxn>
                    <a:cxn ang="0">
                      <a:pos x="110" y="30"/>
                    </a:cxn>
                    <a:cxn ang="0">
                      <a:pos x="52" y="14"/>
                    </a:cxn>
                    <a:cxn ang="0">
                      <a:pos x="36" y="4"/>
                    </a:cxn>
                    <a:cxn ang="0">
                      <a:pos x="8" y="0"/>
                    </a:cxn>
                    <a:cxn ang="0">
                      <a:pos x="0" y="4"/>
                    </a:cxn>
                    <a:cxn ang="0">
                      <a:pos x="14" y="20"/>
                    </a:cxn>
                    <a:cxn ang="0">
                      <a:pos x="24" y="20"/>
                    </a:cxn>
                    <a:cxn ang="0">
                      <a:pos x="40" y="20"/>
                    </a:cxn>
                    <a:cxn ang="0">
                      <a:pos x="30" y="22"/>
                    </a:cxn>
                    <a:cxn ang="0">
                      <a:pos x="22" y="30"/>
                    </a:cxn>
                    <a:cxn ang="0">
                      <a:pos x="26" y="34"/>
                    </a:cxn>
                    <a:cxn ang="0">
                      <a:pos x="22" y="42"/>
                    </a:cxn>
                    <a:cxn ang="0">
                      <a:pos x="22" y="44"/>
                    </a:cxn>
                    <a:cxn ang="0">
                      <a:pos x="30" y="42"/>
                    </a:cxn>
                    <a:cxn ang="0">
                      <a:pos x="40" y="44"/>
                    </a:cxn>
                    <a:cxn ang="0">
                      <a:pos x="44" y="46"/>
                    </a:cxn>
                    <a:cxn ang="0">
                      <a:pos x="50" y="42"/>
                    </a:cxn>
                    <a:cxn ang="0">
                      <a:pos x="52" y="46"/>
                    </a:cxn>
                    <a:cxn ang="0">
                      <a:pos x="50" y="56"/>
                    </a:cxn>
                    <a:cxn ang="0">
                      <a:pos x="54" y="60"/>
                    </a:cxn>
                    <a:cxn ang="0">
                      <a:pos x="68" y="52"/>
                    </a:cxn>
                    <a:cxn ang="0">
                      <a:pos x="72" y="58"/>
                    </a:cxn>
                    <a:cxn ang="0">
                      <a:pos x="82" y="68"/>
                    </a:cxn>
                    <a:cxn ang="0">
                      <a:pos x="80" y="72"/>
                    </a:cxn>
                    <a:cxn ang="0">
                      <a:pos x="76" y="84"/>
                    </a:cxn>
                    <a:cxn ang="0">
                      <a:pos x="94" y="84"/>
                    </a:cxn>
                    <a:cxn ang="0">
                      <a:pos x="100" y="90"/>
                    </a:cxn>
                    <a:cxn ang="0">
                      <a:pos x="106" y="96"/>
                    </a:cxn>
                    <a:cxn ang="0">
                      <a:pos x="108" y="104"/>
                    </a:cxn>
                    <a:cxn ang="0">
                      <a:pos x="122" y="112"/>
                    </a:cxn>
                    <a:cxn ang="0">
                      <a:pos x="132" y="112"/>
                    </a:cxn>
                    <a:cxn ang="0">
                      <a:pos x="134" y="116"/>
                    </a:cxn>
                    <a:cxn ang="0">
                      <a:pos x="136" y="126"/>
                    </a:cxn>
                    <a:cxn ang="0">
                      <a:pos x="154" y="136"/>
                    </a:cxn>
                    <a:cxn ang="0">
                      <a:pos x="176" y="144"/>
                    </a:cxn>
                  </a:cxnLst>
                  <a:rect l="0" t="0" r="r" b="b"/>
                  <a:pathLst>
                    <a:path w="208" h="148">
                      <a:moveTo>
                        <a:pt x="186" y="148"/>
                      </a:moveTo>
                      <a:lnTo>
                        <a:pt x="186" y="148"/>
                      </a:lnTo>
                      <a:lnTo>
                        <a:pt x="196" y="148"/>
                      </a:lnTo>
                      <a:lnTo>
                        <a:pt x="200" y="148"/>
                      </a:lnTo>
                      <a:lnTo>
                        <a:pt x="202" y="146"/>
                      </a:lnTo>
                      <a:lnTo>
                        <a:pt x="206" y="146"/>
                      </a:lnTo>
                      <a:lnTo>
                        <a:pt x="206" y="146"/>
                      </a:lnTo>
                      <a:lnTo>
                        <a:pt x="208" y="146"/>
                      </a:lnTo>
                      <a:lnTo>
                        <a:pt x="208" y="144"/>
                      </a:lnTo>
                      <a:lnTo>
                        <a:pt x="208" y="140"/>
                      </a:lnTo>
                      <a:lnTo>
                        <a:pt x="206" y="134"/>
                      </a:lnTo>
                      <a:lnTo>
                        <a:pt x="202" y="130"/>
                      </a:lnTo>
                      <a:lnTo>
                        <a:pt x="202" y="130"/>
                      </a:lnTo>
                      <a:lnTo>
                        <a:pt x="200" y="128"/>
                      </a:lnTo>
                      <a:lnTo>
                        <a:pt x="200" y="124"/>
                      </a:lnTo>
                      <a:lnTo>
                        <a:pt x="198" y="120"/>
                      </a:lnTo>
                      <a:lnTo>
                        <a:pt x="192" y="116"/>
                      </a:lnTo>
                      <a:lnTo>
                        <a:pt x="192" y="116"/>
                      </a:lnTo>
                      <a:lnTo>
                        <a:pt x="188" y="110"/>
                      </a:lnTo>
                      <a:lnTo>
                        <a:pt x="184" y="102"/>
                      </a:lnTo>
                      <a:lnTo>
                        <a:pt x="180" y="94"/>
                      </a:lnTo>
                      <a:lnTo>
                        <a:pt x="176" y="92"/>
                      </a:lnTo>
                      <a:lnTo>
                        <a:pt x="172" y="90"/>
                      </a:lnTo>
                      <a:lnTo>
                        <a:pt x="172" y="90"/>
                      </a:lnTo>
                      <a:lnTo>
                        <a:pt x="160" y="86"/>
                      </a:lnTo>
                      <a:lnTo>
                        <a:pt x="150" y="80"/>
                      </a:lnTo>
                      <a:lnTo>
                        <a:pt x="144" y="76"/>
                      </a:lnTo>
                      <a:lnTo>
                        <a:pt x="144" y="72"/>
                      </a:lnTo>
                      <a:lnTo>
                        <a:pt x="144" y="70"/>
                      </a:lnTo>
                      <a:lnTo>
                        <a:pt x="144" y="70"/>
                      </a:lnTo>
                      <a:lnTo>
                        <a:pt x="144" y="68"/>
                      </a:lnTo>
                      <a:lnTo>
                        <a:pt x="144" y="64"/>
                      </a:lnTo>
                      <a:lnTo>
                        <a:pt x="138" y="60"/>
                      </a:lnTo>
                      <a:lnTo>
                        <a:pt x="130" y="52"/>
                      </a:lnTo>
                      <a:lnTo>
                        <a:pt x="126" y="46"/>
                      </a:lnTo>
                      <a:lnTo>
                        <a:pt x="122" y="38"/>
                      </a:lnTo>
                      <a:lnTo>
                        <a:pt x="122" y="38"/>
                      </a:lnTo>
                      <a:lnTo>
                        <a:pt x="118" y="34"/>
                      </a:lnTo>
                      <a:lnTo>
                        <a:pt x="110" y="30"/>
                      </a:lnTo>
                      <a:lnTo>
                        <a:pt x="86" y="22"/>
                      </a:lnTo>
                      <a:lnTo>
                        <a:pt x="62" y="18"/>
                      </a:lnTo>
                      <a:lnTo>
                        <a:pt x="52" y="14"/>
                      </a:lnTo>
                      <a:lnTo>
                        <a:pt x="46" y="10"/>
                      </a:lnTo>
                      <a:lnTo>
                        <a:pt x="46" y="10"/>
                      </a:lnTo>
                      <a:lnTo>
                        <a:pt x="36" y="4"/>
                      </a:lnTo>
                      <a:lnTo>
                        <a:pt x="24" y="0"/>
                      </a:lnTo>
                      <a:lnTo>
                        <a:pt x="12" y="0"/>
                      </a:lnTo>
                      <a:lnTo>
                        <a:pt x="8" y="0"/>
                      </a:lnTo>
                      <a:lnTo>
                        <a:pt x="2" y="4"/>
                      </a:lnTo>
                      <a:lnTo>
                        <a:pt x="2" y="4"/>
                      </a:lnTo>
                      <a:lnTo>
                        <a:pt x="0" y="4"/>
                      </a:lnTo>
                      <a:lnTo>
                        <a:pt x="2" y="8"/>
                      </a:lnTo>
                      <a:lnTo>
                        <a:pt x="6" y="14"/>
                      </a:lnTo>
                      <a:lnTo>
                        <a:pt x="14" y="20"/>
                      </a:lnTo>
                      <a:lnTo>
                        <a:pt x="18" y="20"/>
                      </a:lnTo>
                      <a:lnTo>
                        <a:pt x="24" y="20"/>
                      </a:lnTo>
                      <a:lnTo>
                        <a:pt x="24" y="20"/>
                      </a:lnTo>
                      <a:lnTo>
                        <a:pt x="32" y="18"/>
                      </a:lnTo>
                      <a:lnTo>
                        <a:pt x="38" y="18"/>
                      </a:lnTo>
                      <a:lnTo>
                        <a:pt x="40" y="20"/>
                      </a:lnTo>
                      <a:lnTo>
                        <a:pt x="36" y="20"/>
                      </a:lnTo>
                      <a:lnTo>
                        <a:pt x="36" y="20"/>
                      </a:lnTo>
                      <a:lnTo>
                        <a:pt x="30" y="22"/>
                      </a:lnTo>
                      <a:lnTo>
                        <a:pt x="24" y="24"/>
                      </a:lnTo>
                      <a:lnTo>
                        <a:pt x="22" y="28"/>
                      </a:lnTo>
                      <a:lnTo>
                        <a:pt x="22" y="30"/>
                      </a:lnTo>
                      <a:lnTo>
                        <a:pt x="24" y="32"/>
                      </a:lnTo>
                      <a:lnTo>
                        <a:pt x="24" y="32"/>
                      </a:lnTo>
                      <a:lnTo>
                        <a:pt x="26" y="34"/>
                      </a:lnTo>
                      <a:lnTo>
                        <a:pt x="28" y="36"/>
                      </a:lnTo>
                      <a:lnTo>
                        <a:pt x="24" y="38"/>
                      </a:lnTo>
                      <a:lnTo>
                        <a:pt x="22" y="42"/>
                      </a:lnTo>
                      <a:lnTo>
                        <a:pt x="20" y="42"/>
                      </a:lnTo>
                      <a:lnTo>
                        <a:pt x="22" y="44"/>
                      </a:lnTo>
                      <a:lnTo>
                        <a:pt x="22" y="44"/>
                      </a:lnTo>
                      <a:lnTo>
                        <a:pt x="22" y="46"/>
                      </a:lnTo>
                      <a:lnTo>
                        <a:pt x="26" y="46"/>
                      </a:lnTo>
                      <a:lnTo>
                        <a:pt x="30" y="42"/>
                      </a:lnTo>
                      <a:lnTo>
                        <a:pt x="36" y="42"/>
                      </a:lnTo>
                      <a:lnTo>
                        <a:pt x="38" y="42"/>
                      </a:lnTo>
                      <a:lnTo>
                        <a:pt x="40" y="44"/>
                      </a:lnTo>
                      <a:lnTo>
                        <a:pt x="40" y="44"/>
                      </a:lnTo>
                      <a:lnTo>
                        <a:pt x="42" y="48"/>
                      </a:lnTo>
                      <a:lnTo>
                        <a:pt x="44" y="46"/>
                      </a:lnTo>
                      <a:lnTo>
                        <a:pt x="46" y="42"/>
                      </a:lnTo>
                      <a:lnTo>
                        <a:pt x="48" y="42"/>
                      </a:lnTo>
                      <a:lnTo>
                        <a:pt x="50" y="42"/>
                      </a:lnTo>
                      <a:lnTo>
                        <a:pt x="50" y="42"/>
                      </a:lnTo>
                      <a:lnTo>
                        <a:pt x="52" y="44"/>
                      </a:lnTo>
                      <a:lnTo>
                        <a:pt x="52" y="46"/>
                      </a:lnTo>
                      <a:lnTo>
                        <a:pt x="52" y="50"/>
                      </a:lnTo>
                      <a:lnTo>
                        <a:pt x="50" y="54"/>
                      </a:lnTo>
                      <a:lnTo>
                        <a:pt x="50" y="56"/>
                      </a:lnTo>
                      <a:lnTo>
                        <a:pt x="52" y="58"/>
                      </a:lnTo>
                      <a:lnTo>
                        <a:pt x="52" y="58"/>
                      </a:lnTo>
                      <a:lnTo>
                        <a:pt x="54" y="60"/>
                      </a:lnTo>
                      <a:lnTo>
                        <a:pt x="56" y="58"/>
                      </a:lnTo>
                      <a:lnTo>
                        <a:pt x="62" y="56"/>
                      </a:lnTo>
                      <a:lnTo>
                        <a:pt x="68" y="52"/>
                      </a:lnTo>
                      <a:lnTo>
                        <a:pt x="70" y="54"/>
                      </a:lnTo>
                      <a:lnTo>
                        <a:pt x="72" y="58"/>
                      </a:lnTo>
                      <a:lnTo>
                        <a:pt x="72" y="58"/>
                      </a:lnTo>
                      <a:lnTo>
                        <a:pt x="74" y="62"/>
                      </a:lnTo>
                      <a:lnTo>
                        <a:pt x="76" y="66"/>
                      </a:lnTo>
                      <a:lnTo>
                        <a:pt x="82" y="68"/>
                      </a:lnTo>
                      <a:lnTo>
                        <a:pt x="84" y="70"/>
                      </a:lnTo>
                      <a:lnTo>
                        <a:pt x="80" y="72"/>
                      </a:lnTo>
                      <a:lnTo>
                        <a:pt x="80" y="72"/>
                      </a:lnTo>
                      <a:lnTo>
                        <a:pt x="74" y="76"/>
                      </a:lnTo>
                      <a:lnTo>
                        <a:pt x="74" y="82"/>
                      </a:lnTo>
                      <a:lnTo>
                        <a:pt x="76" y="84"/>
                      </a:lnTo>
                      <a:lnTo>
                        <a:pt x="82" y="86"/>
                      </a:lnTo>
                      <a:lnTo>
                        <a:pt x="82" y="86"/>
                      </a:lnTo>
                      <a:lnTo>
                        <a:pt x="94" y="84"/>
                      </a:lnTo>
                      <a:lnTo>
                        <a:pt x="96" y="86"/>
                      </a:lnTo>
                      <a:lnTo>
                        <a:pt x="100" y="90"/>
                      </a:lnTo>
                      <a:lnTo>
                        <a:pt x="100" y="90"/>
                      </a:lnTo>
                      <a:lnTo>
                        <a:pt x="102" y="92"/>
                      </a:lnTo>
                      <a:lnTo>
                        <a:pt x="104" y="94"/>
                      </a:lnTo>
                      <a:lnTo>
                        <a:pt x="106" y="96"/>
                      </a:lnTo>
                      <a:lnTo>
                        <a:pt x="106" y="100"/>
                      </a:lnTo>
                      <a:lnTo>
                        <a:pt x="106" y="100"/>
                      </a:lnTo>
                      <a:lnTo>
                        <a:pt x="108" y="104"/>
                      </a:lnTo>
                      <a:lnTo>
                        <a:pt x="110" y="110"/>
                      </a:lnTo>
                      <a:lnTo>
                        <a:pt x="116" y="112"/>
                      </a:lnTo>
                      <a:lnTo>
                        <a:pt x="122" y="112"/>
                      </a:lnTo>
                      <a:lnTo>
                        <a:pt x="122" y="112"/>
                      </a:lnTo>
                      <a:lnTo>
                        <a:pt x="128" y="110"/>
                      </a:lnTo>
                      <a:lnTo>
                        <a:pt x="132" y="112"/>
                      </a:lnTo>
                      <a:lnTo>
                        <a:pt x="136" y="112"/>
                      </a:lnTo>
                      <a:lnTo>
                        <a:pt x="134" y="116"/>
                      </a:lnTo>
                      <a:lnTo>
                        <a:pt x="134" y="116"/>
                      </a:lnTo>
                      <a:lnTo>
                        <a:pt x="132" y="118"/>
                      </a:lnTo>
                      <a:lnTo>
                        <a:pt x="132" y="120"/>
                      </a:lnTo>
                      <a:lnTo>
                        <a:pt x="136" y="126"/>
                      </a:lnTo>
                      <a:lnTo>
                        <a:pt x="144" y="132"/>
                      </a:lnTo>
                      <a:lnTo>
                        <a:pt x="154" y="136"/>
                      </a:lnTo>
                      <a:lnTo>
                        <a:pt x="154" y="136"/>
                      </a:lnTo>
                      <a:lnTo>
                        <a:pt x="164" y="138"/>
                      </a:lnTo>
                      <a:lnTo>
                        <a:pt x="170" y="140"/>
                      </a:lnTo>
                      <a:lnTo>
                        <a:pt x="176" y="144"/>
                      </a:lnTo>
                      <a:lnTo>
                        <a:pt x="186" y="148"/>
                      </a:lnTo>
                      <a:lnTo>
                        <a:pt x="186" y="14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39" name="Freeform 6044"/>
                <p:cNvSpPr>
                  <a:spLocks/>
                </p:cNvSpPr>
                <p:nvPr/>
              </p:nvSpPr>
              <p:spPr bwMode="auto">
                <a:xfrm>
                  <a:off x="1097280" y="2091373"/>
                  <a:ext cx="16510" cy="26670"/>
                </a:xfrm>
                <a:custGeom>
                  <a:avLst/>
                  <a:gdLst/>
                  <a:ahLst/>
                  <a:cxnLst>
                    <a:cxn ang="0">
                      <a:pos x="6" y="0"/>
                    </a:cxn>
                    <a:cxn ang="0">
                      <a:pos x="6" y="0"/>
                    </a:cxn>
                    <a:cxn ang="0">
                      <a:pos x="6" y="2"/>
                    </a:cxn>
                    <a:cxn ang="0">
                      <a:pos x="6" y="2"/>
                    </a:cxn>
                    <a:cxn ang="0">
                      <a:pos x="6" y="8"/>
                    </a:cxn>
                    <a:cxn ang="0">
                      <a:pos x="6" y="12"/>
                    </a:cxn>
                    <a:cxn ang="0">
                      <a:pos x="4" y="14"/>
                    </a:cxn>
                    <a:cxn ang="0">
                      <a:pos x="4" y="14"/>
                    </a:cxn>
                    <a:cxn ang="0">
                      <a:pos x="2" y="18"/>
                    </a:cxn>
                    <a:cxn ang="0">
                      <a:pos x="0" y="22"/>
                    </a:cxn>
                    <a:cxn ang="0">
                      <a:pos x="0" y="24"/>
                    </a:cxn>
                    <a:cxn ang="0">
                      <a:pos x="2" y="24"/>
                    </a:cxn>
                    <a:cxn ang="0">
                      <a:pos x="6" y="24"/>
                    </a:cxn>
                    <a:cxn ang="0">
                      <a:pos x="6" y="24"/>
                    </a:cxn>
                    <a:cxn ang="0">
                      <a:pos x="10" y="20"/>
                    </a:cxn>
                    <a:cxn ang="0">
                      <a:pos x="12" y="18"/>
                    </a:cxn>
                    <a:cxn ang="0">
                      <a:pos x="12" y="16"/>
                    </a:cxn>
                    <a:cxn ang="0">
                      <a:pos x="16" y="16"/>
                    </a:cxn>
                    <a:cxn ang="0">
                      <a:pos x="16" y="16"/>
                    </a:cxn>
                    <a:cxn ang="0">
                      <a:pos x="16" y="18"/>
                    </a:cxn>
                    <a:cxn ang="0">
                      <a:pos x="16" y="20"/>
                    </a:cxn>
                    <a:cxn ang="0">
                      <a:pos x="10" y="24"/>
                    </a:cxn>
                    <a:cxn ang="0">
                      <a:pos x="6" y="28"/>
                    </a:cxn>
                    <a:cxn ang="0">
                      <a:pos x="4" y="30"/>
                    </a:cxn>
                    <a:cxn ang="0">
                      <a:pos x="4" y="32"/>
                    </a:cxn>
                    <a:cxn ang="0">
                      <a:pos x="4" y="32"/>
                    </a:cxn>
                    <a:cxn ang="0">
                      <a:pos x="8" y="36"/>
                    </a:cxn>
                    <a:cxn ang="0">
                      <a:pos x="10" y="38"/>
                    </a:cxn>
                    <a:cxn ang="0">
                      <a:pos x="14" y="36"/>
                    </a:cxn>
                    <a:cxn ang="0">
                      <a:pos x="18" y="32"/>
                    </a:cxn>
                    <a:cxn ang="0">
                      <a:pos x="18" y="32"/>
                    </a:cxn>
                    <a:cxn ang="0">
                      <a:pos x="18" y="30"/>
                    </a:cxn>
                    <a:cxn ang="0">
                      <a:pos x="20" y="34"/>
                    </a:cxn>
                    <a:cxn ang="0">
                      <a:pos x="20" y="38"/>
                    </a:cxn>
                    <a:cxn ang="0">
                      <a:pos x="20" y="40"/>
                    </a:cxn>
                    <a:cxn ang="0">
                      <a:pos x="22" y="42"/>
                    </a:cxn>
                    <a:cxn ang="0">
                      <a:pos x="22" y="42"/>
                    </a:cxn>
                    <a:cxn ang="0">
                      <a:pos x="24" y="42"/>
                    </a:cxn>
                    <a:cxn ang="0">
                      <a:pos x="26" y="38"/>
                    </a:cxn>
                    <a:cxn ang="0">
                      <a:pos x="26" y="24"/>
                    </a:cxn>
                    <a:cxn ang="0">
                      <a:pos x="26" y="24"/>
                    </a:cxn>
                    <a:cxn ang="0">
                      <a:pos x="26" y="18"/>
                    </a:cxn>
                    <a:cxn ang="0">
                      <a:pos x="24" y="14"/>
                    </a:cxn>
                    <a:cxn ang="0">
                      <a:pos x="18" y="8"/>
                    </a:cxn>
                    <a:cxn ang="0">
                      <a:pos x="12" y="2"/>
                    </a:cxn>
                    <a:cxn ang="0">
                      <a:pos x="6" y="0"/>
                    </a:cxn>
                    <a:cxn ang="0">
                      <a:pos x="6" y="0"/>
                    </a:cxn>
                  </a:cxnLst>
                  <a:rect l="0" t="0" r="r" b="b"/>
                  <a:pathLst>
                    <a:path w="26" h="42">
                      <a:moveTo>
                        <a:pt x="6" y="0"/>
                      </a:moveTo>
                      <a:lnTo>
                        <a:pt x="6" y="0"/>
                      </a:lnTo>
                      <a:lnTo>
                        <a:pt x="6" y="2"/>
                      </a:lnTo>
                      <a:lnTo>
                        <a:pt x="6" y="2"/>
                      </a:lnTo>
                      <a:lnTo>
                        <a:pt x="6" y="8"/>
                      </a:lnTo>
                      <a:lnTo>
                        <a:pt x="6" y="12"/>
                      </a:lnTo>
                      <a:lnTo>
                        <a:pt x="4" y="14"/>
                      </a:lnTo>
                      <a:lnTo>
                        <a:pt x="4" y="14"/>
                      </a:lnTo>
                      <a:lnTo>
                        <a:pt x="2" y="18"/>
                      </a:lnTo>
                      <a:lnTo>
                        <a:pt x="0" y="22"/>
                      </a:lnTo>
                      <a:lnTo>
                        <a:pt x="0" y="24"/>
                      </a:lnTo>
                      <a:lnTo>
                        <a:pt x="2" y="24"/>
                      </a:lnTo>
                      <a:lnTo>
                        <a:pt x="6" y="24"/>
                      </a:lnTo>
                      <a:lnTo>
                        <a:pt x="6" y="24"/>
                      </a:lnTo>
                      <a:lnTo>
                        <a:pt x="10" y="20"/>
                      </a:lnTo>
                      <a:lnTo>
                        <a:pt x="12" y="18"/>
                      </a:lnTo>
                      <a:lnTo>
                        <a:pt x="12" y="16"/>
                      </a:lnTo>
                      <a:lnTo>
                        <a:pt x="16" y="16"/>
                      </a:lnTo>
                      <a:lnTo>
                        <a:pt x="16" y="16"/>
                      </a:lnTo>
                      <a:lnTo>
                        <a:pt x="16" y="18"/>
                      </a:lnTo>
                      <a:lnTo>
                        <a:pt x="16" y="20"/>
                      </a:lnTo>
                      <a:lnTo>
                        <a:pt x="10" y="24"/>
                      </a:lnTo>
                      <a:lnTo>
                        <a:pt x="6" y="28"/>
                      </a:lnTo>
                      <a:lnTo>
                        <a:pt x="4" y="30"/>
                      </a:lnTo>
                      <a:lnTo>
                        <a:pt x="4" y="32"/>
                      </a:lnTo>
                      <a:lnTo>
                        <a:pt x="4" y="32"/>
                      </a:lnTo>
                      <a:lnTo>
                        <a:pt x="8" y="36"/>
                      </a:lnTo>
                      <a:lnTo>
                        <a:pt x="10" y="38"/>
                      </a:lnTo>
                      <a:lnTo>
                        <a:pt x="14" y="36"/>
                      </a:lnTo>
                      <a:lnTo>
                        <a:pt x="18" y="32"/>
                      </a:lnTo>
                      <a:lnTo>
                        <a:pt x="18" y="32"/>
                      </a:lnTo>
                      <a:lnTo>
                        <a:pt x="18" y="30"/>
                      </a:lnTo>
                      <a:lnTo>
                        <a:pt x="20" y="34"/>
                      </a:lnTo>
                      <a:lnTo>
                        <a:pt x="20" y="38"/>
                      </a:lnTo>
                      <a:lnTo>
                        <a:pt x="20" y="40"/>
                      </a:lnTo>
                      <a:lnTo>
                        <a:pt x="22" y="42"/>
                      </a:lnTo>
                      <a:lnTo>
                        <a:pt x="22" y="42"/>
                      </a:lnTo>
                      <a:lnTo>
                        <a:pt x="24" y="42"/>
                      </a:lnTo>
                      <a:lnTo>
                        <a:pt x="26" y="38"/>
                      </a:lnTo>
                      <a:lnTo>
                        <a:pt x="26" y="24"/>
                      </a:lnTo>
                      <a:lnTo>
                        <a:pt x="26" y="24"/>
                      </a:lnTo>
                      <a:lnTo>
                        <a:pt x="26" y="18"/>
                      </a:lnTo>
                      <a:lnTo>
                        <a:pt x="24" y="14"/>
                      </a:lnTo>
                      <a:lnTo>
                        <a:pt x="18" y="8"/>
                      </a:lnTo>
                      <a:lnTo>
                        <a:pt x="12" y="2"/>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0" name="Freeform 6045"/>
                <p:cNvSpPr>
                  <a:spLocks/>
                </p:cNvSpPr>
                <p:nvPr/>
              </p:nvSpPr>
              <p:spPr bwMode="auto">
                <a:xfrm>
                  <a:off x="1158240" y="2223453"/>
                  <a:ext cx="7620" cy="8890"/>
                </a:xfrm>
                <a:custGeom>
                  <a:avLst/>
                  <a:gdLst/>
                  <a:ahLst/>
                  <a:cxnLst>
                    <a:cxn ang="0">
                      <a:pos x="2" y="0"/>
                    </a:cxn>
                    <a:cxn ang="0">
                      <a:pos x="2" y="0"/>
                    </a:cxn>
                    <a:cxn ang="0">
                      <a:pos x="0" y="4"/>
                    </a:cxn>
                    <a:cxn ang="0">
                      <a:pos x="0" y="6"/>
                    </a:cxn>
                    <a:cxn ang="0">
                      <a:pos x="2" y="10"/>
                    </a:cxn>
                    <a:cxn ang="0">
                      <a:pos x="8" y="14"/>
                    </a:cxn>
                    <a:cxn ang="0">
                      <a:pos x="10" y="12"/>
                    </a:cxn>
                    <a:cxn ang="0">
                      <a:pos x="10" y="12"/>
                    </a:cxn>
                    <a:cxn ang="0">
                      <a:pos x="12" y="8"/>
                    </a:cxn>
                    <a:cxn ang="0">
                      <a:pos x="10" y="4"/>
                    </a:cxn>
                    <a:cxn ang="0">
                      <a:pos x="6" y="0"/>
                    </a:cxn>
                    <a:cxn ang="0">
                      <a:pos x="4" y="0"/>
                    </a:cxn>
                    <a:cxn ang="0">
                      <a:pos x="2" y="0"/>
                    </a:cxn>
                    <a:cxn ang="0">
                      <a:pos x="2" y="0"/>
                    </a:cxn>
                  </a:cxnLst>
                  <a:rect l="0" t="0" r="r" b="b"/>
                  <a:pathLst>
                    <a:path w="12" h="14">
                      <a:moveTo>
                        <a:pt x="2" y="0"/>
                      </a:moveTo>
                      <a:lnTo>
                        <a:pt x="2" y="0"/>
                      </a:lnTo>
                      <a:lnTo>
                        <a:pt x="0" y="4"/>
                      </a:lnTo>
                      <a:lnTo>
                        <a:pt x="0" y="6"/>
                      </a:lnTo>
                      <a:lnTo>
                        <a:pt x="2" y="10"/>
                      </a:lnTo>
                      <a:lnTo>
                        <a:pt x="8" y="14"/>
                      </a:lnTo>
                      <a:lnTo>
                        <a:pt x="10" y="12"/>
                      </a:lnTo>
                      <a:lnTo>
                        <a:pt x="10" y="12"/>
                      </a:lnTo>
                      <a:lnTo>
                        <a:pt x="12" y="8"/>
                      </a:lnTo>
                      <a:lnTo>
                        <a:pt x="10" y="4"/>
                      </a:lnTo>
                      <a:lnTo>
                        <a:pt x="6" y="0"/>
                      </a:lnTo>
                      <a:lnTo>
                        <a:pt x="4" y="0"/>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1" name="Freeform 6046"/>
                <p:cNvSpPr>
                  <a:spLocks/>
                </p:cNvSpPr>
                <p:nvPr/>
              </p:nvSpPr>
              <p:spPr bwMode="auto">
                <a:xfrm>
                  <a:off x="1059180" y="2060893"/>
                  <a:ext cx="11430" cy="8890"/>
                </a:xfrm>
                <a:custGeom>
                  <a:avLst/>
                  <a:gdLst/>
                  <a:ahLst/>
                  <a:cxnLst>
                    <a:cxn ang="0">
                      <a:pos x="18" y="12"/>
                    </a:cxn>
                    <a:cxn ang="0">
                      <a:pos x="18" y="12"/>
                    </a:cxn>
                    <a:cxn ang="0">
                      <a:pos x="18" y="8"/>
                    </a:cxn>
                    <a:cxn ang="0">
                      <a:pos x="18" y="4"/>
                    </a:cxn>
                    <a:cxn ang="0">
                      <a:pos x="14" y="2"/>
                    </a:cxn>
                    <a:cxn ang="0">
                      <a:pos x="10" y="0"/>
                    </a:cxn>
                    <a:cxn ang="0">
                      <a:pos x="10" y="0"/>
                    </a:cxn>
                    <a:cxn ang="0">
                      <a:pos x="6" y="0"/>
                    </a:cxn>
                    <a:cxn ang="0">
                      <a:pos x="2" y="4"/>
                    </a:cxn>
                    <a:cxn ang="0">
                      <a:pos x="0" y="8"/>
                    </a:cxn>
                    <a:cxn ang="0">
                      <a:pos x="0" y="12"/>
                    </a:cxn>
                    <a:cxn ang="0">
                      <a:pos x="0" y="12"/>
                    </a:cxn>
                    <a:cxn ang="0">
                      <a:pos x="0" y="14"/>
                    </a:cxn>
                    <a:cxn ang="0">
                      <a:pos x="2" y="14"/>
                    </a:cxn>
                    <a:cxn ang="0">
                      <a:pos x="4" y="10"/>
                    </a:cxn>
                    <a:cxn ang="0">
                      <a:pos x="8" y="10"/>
                    </a:cxn>
                    <a:cxn ang="0">
                      <a:pos x="8" y="10"/>
                    </a:cxn>
                    <a:cxn ang="0">
                      <a:pos x="12" y="14"/>
                    </a:cxn>
                    <a:cxn ang="0">
                      <a:pos x="14" y="14"/>
                    </a:cxn>
                    <a:cxn ang="0">
                      <a:pos x="18" y="12"/>
                    </a:cxn>
                    <a:cxn ang="0">
                      <a:pos x="18" y="12"/>
                    </a:cxn>
                  </a:cxnLst>
                  <a:rect l="0" t="0" r="r" b="b"/>
                  <a:pathLst>
                    <a:path w="18" h="14">
                      <a:moveTo>
                        <a:pt x="18" y="12"/>
                      </a:moveTo>
                      <a:lnTo>
                        <a:pt x="18" y="12"/>
                      </a:lnTo>
                      <a:lnTo>
                        <a:pt x="18" y="8"/>
                      </a:lnTo>
                      <a:lnTo>
                        <a:pt x="18" y="4"/>
                      </a:lnTo>
                      <a:lnTo>
                        <a:pt x="14" y="2"/>
                      </a:lnTo>
                      <a:lnTo>
                        <a:pt x="10" y="0"/>
                      </a:lnTo>
                      <a:lnTo>
                        <a:pt x="10" y="0"/>
                      </a:lnTo>
                      <a:lnTo>
                        <a:pt x="6" y="0"/>
                      </a:lnTo>
                      <a:lnTo>
                        <a:pt x="2" y="4"/>
                      </a:lnTo>
                      <a:lnTo>
                        <a:pt x="0" y="8"/>
                      </a:lnTo>
                      <a:lnTo>
                        <a:pt x="0" y="12"/>
                      </a:lnTo>
                      <a:lnTo>
                        <a:pt x="0" y="12"/>
                      </a:lnTo>
                      <a:lnTo>
                        <a:pt x="0" y="14"/>
                      </a:lnTo>
                      <a:lnTo>
                        <a:pt x="2" y="14"/>
                      </a:lnTo>
                      <a:lnTo>
                        <a:pt x="4" y="10"/>
                      </a:lnTo>
                      <a:lnTo>
                        <a:pt x="8" y="10"/>
                      </a:lnTo>
                      <a:lnTo>
                        <a:pt x="8" y="10"/>
                      </a:lnTo>
                      <a:lnTo>
                        <a:pt x="12" y="14"/>
                      </a:lnTo>
                      <a:lnTo>
                        <a:pt x="14" y="14"/>
                      </a:lnTo>
                      <a:lnTo>
                        <a:pt x="18" y="12"/>
                      </a:lnTo>
                      <a:lnTo>
                        <a:pt x="18" y="1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2" name="Freeform 6047"/>
                <p:cNvSpPr>
                  <a:spLocks/>
                </p:cNvSpPr>
                <p:nvPr/>
              </p:nvSpPr>
              <p:spPr bwMode="auto">
                <a:xfrm>
                  <a:off x="1051560" y="2039303"/>
                  <a:ext cx="6350" cy="6350"/>
                </a:xfrm>
                <a:custGeom>
                  <a:avLst/>
                  <a:gdLst/>
                  <a:ahLst/>
                  <a:cxnLst>
                    <a:cxn ang="0">
                      <a:pos x="0" y="8"/>
                    </a:cxn>
                    <a:cxn ang="0">
                      <a:pos x="0" y="8"/>
                    </a:cxn>
                    <a:cxn ang="0">
                      <a:pos x="2" y="10"/>
                    </a:cxn>
                    <a:cxn ang="0">
                      <a:pos x="2" y="10"/>
                    </a:cxn>
                    <a:cxn ang="0">
                      <a:pos x="6" y="8"/>
                    </a:cxn>
                    <a:cxn ang="0">
                      <a:pos x="8" y="4"/>
                    </a:cxn>
                    <a:cxn ang="0">
                      <a:pos x="10" y="0"/>
                    </a:cxn>
                    <a:cxn ang="0">
                      <a:pos x="10" y="0"/>
                    </a:cxn>
                    <a:cxn ang="0">
                      <a:pos x="8" y="0"/>
                    </a:cxn>
                    <a:cxn ang="0">
                      <a:pos x="4" y="0"/>
                    </a:cxn>
                    <a:cxn ang="0">
                      <a:pos x="0" y="4"/>
                    </a:cxn>
                    <a:cxn ang="0">
                      <a:pos x="0" y="8"/>
                    </a:cxn>
                    <a:cxn ang="0">
                      <a:pos x="0" y="8"/>
                    </a:cxn>
                  </a:cxnLst>
                  <a:rect l="0" t="0" r="r" b="b"/>
                  <a:pathLst>
                    <a:path w="10" h="10">
                      <a:moveTo>
                        <a:pt x="0" y="8"/>
                      </a:moveTo>
                      <a:lnTo>
                        <a:pt x="0" y="8"/>
                      </a:lnTo>
                      <a:lnTo>
                        <a:pt x="2" y="10"/>
                      </a:lnTo>
                      <a:lnTo>
                        <a:pt x="2" y="10"/>
                      </a:lnTo>
                      <a:lnTo>
                        <a:pt x="6" y="8"/>
                      </a:lnTo>
                      <a:lnTo>
                        <a:pt x="8" y="4"/>
                      </a:lnTo>
                      <a:lnTo>
                        <a:pt x="10" y="0"/>
                      </a:lnTo>
                      <a:lnTo>
                        <a:pt x="10" y="0"/>
                      </a:lnTo>
                      <a:lnTo>
                        <a:pt x="8" y="0"/>
                      </a:lnTo>
                      <a:lnTo>
                        <a:pt x="4" y="0"/>
                      </a:lnTo>
                      <a:lnTo>
                        <a:pt x="0" y="4"/>
                      </a:lnTo>
                      <a:lnTo>
                        <a:pt x="0" y="8"/>
                      </a:lnTo>
                      <a:lnTo>
                        <a:pt x="0"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3" name="Freeform 6048"/>
                <p:cNvSpPr>
                  <a:spLocks/>
                </p:cNvSpPr>
                <p:nvPr/>
              </p:nvSpPr>
              <p:spPr bwMode="auto">
                <a:xfrm>
                  <a:off x="1040130" y="2025333"/>
                  <a:ext cx="5080" cy="5080"/>
                </a:xfrm>
                <a:custGeom>
                  <a:avLst/>
                  <a:gdLst/>
                  <a:ahLst/>
                  <a:cxnLst>
                    <a:cxn ang="0">
                      <a:pos x="2" y="8"/>
                    </a:cxn>
                    <a:cxn ang="0">
                      <a:pos x="2" y="8"/>
                    </a:cxn>
                    <a:cxn ang="0">
                      <a:pos x="6" y="8"/>
                    </a:cxn>
                    <a:cxn ang="0">
                      <a:pos x="8" y="4"/>
                    </a:cxn>
                    <a:cxn ang="0">
                      <a:pos x="8" y="4"/>
                    </a:cxn>
                    <a:cxn ang="0">
                      <a:pos x="8" y="0"/>
                    </a:cxn>
                    <a:cxn ang="0">
                      <a:pos x="4" y="0"/>
                    </a:cxn>
                    <a:cxn ang="0">
                      <a:pos x="4" y="0"/>
                    </a:cxn>
                    <a:cxn ang="0">
                      <a:pos x="0" y="2"/>
                    </a:cxn>
                    <a:cxn ang="0">
                      <a:pos x="0" y="4"/>
                    </a:cxn>
                    <a:cxn ang="0">
                      <a:pos x="2" y="8"/>
                    </a:cxn>
                    <a:cxn ang="0">
                      <a:pos x="2" y="8"/>
                    </a:cxn>
                  </a:cxnLst>
                  <a:rect l="0" t="0" r="r" b="b"/>
                  <a:pathLst>
                    <a:path w="8" h="8">
                      <a:moveTo>
                        <a:pt x="2" y="8"/>
                      </a:moveTo>
                      <a:lnTo>
                        <a:pt x="2" y="8"/>
                      </a:lnTo>
                      <a:lnTo>
                        <a:pt x="6" y="8"/>
                      </a:lnTo>
                      <a:lnTo>
                        <a:pt x="8" y="4"/>
                      </a:lnTo>
                      <a:lnTo>
                        <a:pt x="8" y="4"/>
                      </a:lnTo>
                      <a:lnTo>
                        <a:pt x="8" y="0"/>
                      </a:lnTo>
                      <a:lnTo>
                        <a:pt x="4" y="0"/>
                      </a:lnTo>
                      <a:lnTo>
                        <a:pt x="4" y="0"/>
                      </a:lnTo>
                      <a:lnTo>
                        <a:pt x="0" y="2"/>
                      </a:lnTo>
                      <a:lnTo>
                        <a:pt x="0" y="4"/>
                      </a:lnTo>
                      <a:lnTo>
                        <a:pt x="2" y="8"/>
                      </a:lnTo>
                      <a:lnTo>
                        <a:pt x="2"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4" name="Freeform 6049"/>
                <p:cNvSpPr>
                  <a:spLocks/>
                </p:cNvSpPr>
                <p:nvPr/>
              </p:nvSpPr>
              <p:spPr bwMode="auto">
                <a:xfrm>
                  <a:off x="1012190" y="2092643"/>
                  <a:ext cx="39370" cy="43180"/>
                </a:xfrm>
                <a:custGeom>
                  <a:avLst/>
                  <a:gdLst/>
                  <a:ahLst/>
                  <a:cxnLst>
                    <a:cxn ang="0">
                      <a:pos x="52" y="56"/>
                    </a:cxn>
                    <a:cxn ang="0">
                      <a:pos x="52" y="50"/>
                    </a:cxn>
                    <a:cxn ang="0">
                      <a:pos x="48" y="52"/>
                    </a:cxn>
                    <a:cxn ang="0">
                      <a:pos x="46" y="52"/>
                    </a:cxn>
                    <a:cxn ang="0">
                      <a:pos x="44" y="48"/>
                    </a:cxn>
                    <a:cxn ang="0">
                      <a:pos x="42" y="46"/>
                    </a:cxn>
                    <a:cxn ang="0">
                      <a:pos x="34" y="40"/>
                    </a:cxn>
                    <a:cxn ang="0">
                      <a:pos x="32" y="32"/>
                    </a:cxn>
                    <a:cxn ang="0">
                      <a:pos x="34" y="30"/>
                    </a:cxn>
                    <a:cxn ang="0">
                      <a:pos x="30" y="28"/>
                    </a:cxn>
                    <a:cxn ang="0">
                      <a:pos x="26" y="26"/>
                    </a:cxn>
                    <a:cxn ang="0">
                      <a:pos x="28" y="24"/>
                    </a:cxn>
                    <a:cxn ang="0">
                      <a:pos x="38" y="22"/>
                    </a:cxn>
                    <a:cxn ang="0">
                      <a:pos x="38" y="18"/>
                    </a:cxn>
                    <a:cxn ang="0">
                      <a:pos x="36" y="16"/>
                    </a:cxn>
                    <a:cxn ang="0">
                      <a:pos x="36" y="14"/>
                    </a:cxn>
                    <a:cxn ang="0">
                      <a:pos x="36" y="8"/>
                    </a:cxn>
                    <a:cxn ang="0">
                      <a:pos x="32" y="4"/>
                    </a:cxn>
                    <a:cxn ang="0">
                      <a:pos x="32" y="2"/>
                    </a:cxn>
                    <a:cxn ang="0">
                      <a:pos x="26" y="2"/>
                    </a:cxn>
                    <a:cxn ang="0">
                      <a:pos x="22" y="6"/>
                    </a:cxn>
                    <a:cxn ang="0">
                      <a:pos x="16" y="8"/>
                    </a:cxn>
                    <a:cxn ang="0">
                      <a:pos x="2" y="10"/>
                    </a:cxn>
                    <a:cxn ang="0">
                      <a:pos x="2" y="14"/>
                    </a:cxn>
                    <a:cxn ang="0">
                      <a:pos x="2" y="14"/>
                    </a:cxn>
                    <a:cxn ang="0">
                      <a:pos x="10" y="14"/>
                    </a:cxn>
                    <a:cxn ang="0">
                      <a:pos x="14" y="16"/>
                    </a:cxn>
                    <a:cxn ang="0">
                      <a:pos x="16" y="18"/>
                    </a:cxn>
                    <a:cxn ang="0">
                      <a:pos x="12" y="20"/>
                    </a:cxn>
                    <a:cxn ang="0">
                      <a:pos x="10" y="24"/>
                    </a:cxn>
                    <a:cxn ang="0">
                      <a:pos x="18" y="30"/>
                    </a:cxn>
                    <a:cxn ang="0">
                      <a:pos x="22" y="30"/>
                    </a:cxn>
                    <a:cxn ang="0">
                      <a:pos x="20" y="32"/>
                    </a:cxn>
                    <a:cxn ang="0">
                      <a:pos x="20" y="34"/>
                    </a:cxn>
                    <a:cxn ang="0">
                      <a:pos x="34" y="48"/>
                    </a:cxn>
                    <a:cxn ang="0">
                      <a:pos x="38" y="52"/>
                    </a:cxn>
                    <a:cxn ang="0">
                      <a:pos x="40" y="56"/>
                    </a:cxn>
                    <a:cxn ang="0">
                      <a:pos x="42" y="58"/>
                    </a:cxn>
                    <a:cxn ang="0">
                      <a:pos x="46" y="64"/>
                    </a:cxn>
                    <a:cxn ang="0">
                      <a:pos x="54" y="68"/>
                    </a:cxn>
                    <a:cxn ang="0">
                      <a:pos x="60" y="68"/>
                    </a:cxn>
                    <a:cxn ang="0">
                      <a:pos x="62" y="64"/>
                    </a:cxn>
                    <a:cxn ang="0">
                      <a:pos x="60" y="60"/>
                    </a:cxn>
                    <a:cxn ang="0">
                      <a:pos x="52" y="58"/>
                    </a:cxn>
                    <a:cxn ang="0">
                      <a:pos x="52" y="56"/>
                    </a:cxn>
                  </a:cxnLst>
                  <a:rect l="0" t="0" r="r" b="b"/>
                  <a:pathLst>
                    <a:path w="62" h="68">
                      <a:moveTo>
                        <a:pt x="52" y="56"/>
                      </a:moveTo>
                      <a:lnTo>
                        <a:pt x="52" y="56"/>
                      </a:lnTo>
                      <a:lnTo>
                        <a:pt x="52" y="54"/>
                      </a:lnTo>
                      <a:lnTo>
                        <a:pt x="52" y="50"/>
                      </a:lnTo>
                      <a:lnTo>
                        <a:pt x="52" y="50"/>
                      </a:lnTo>
                      <a:lnTo>
                        <a:pt x="48" y="52"/>
                      </a:lnTo>
                      <a:lnTo>
                        <a:pt x="48" y="52"/>
                      </a:lnTo>
                      <a:lnTo>
                        <a:pt x="46" y="52"/>
                      </a:lnTo>
                      <a:lnTo>
                        <a:pt x="46" y="50"/>
                      </a:lnTo>
                      <a:lnTo>
                        <a:pt x="44" y="48"/>
                      </a:lnTo>
                      <a:lnTo>
                        <a:pt x="42" y="46"/>
                      </a:lnTo>
                      <a:lnTo>
                        <a:pt x="42" y="46"/>
                      </a:lnTo>
                      <a:lnTo>
                        <a:pt x="38" y="46"/>
                      </a:lnTo>
                      <a:lnTo>
                        <a:pt x="34" y="40"/>
                      </a:lnTo>
                      <a:lnTo>
                        <a:pt x="32" y="36"/>
                      </a:lnTo>
                      <a:lnTo>
                        <a:pt x="32" y="32"/>
                      </a:lnTo>
                      <a:lnTo>
                        <a:pt x="32" y="32"/>
                      </a:lnTo>
                      <a:lnTo>
                        <a:pt x="34" y="30"/>
                      </a:lnTo>
                      <a:lnTo>
                        <a:pt x="34" y="30"/>
                      </a:lnTo>
                      <a:lnTo>
                        <a:pt x="30" y="28"/>
                      </a:lnTo>
                      <a:lnTo>
                        <a:pt x="26" y="26"/>
                      </a:lnTo>
                      <a:lnTo>
                        <a:pt x="26" y="26"/>
                      </a:lnTo>
                      <a:lnTo>
                        <a:pt x="26" y="24"/>
                      </a:lnTo>
                      <a:lnTo>
                        <a:pt x="28" y="24"/>
                      </a:lnTo>
                      <a:lnTo>
                        <a:pt x="34" y="24"/>
                      </a:lnTo>
                      <a:lnTo>
                        <a:pt x="38" y="22"/>
                      </a:lnTo>
                      <a:lnTo>
                        <a:pt x="38" y="22"/>
                      </a:lnTo>
                      <a:lnTo>
                        <a:pt x="38" y="18"/>
                      </a:lnTo>
                      <a:lnTo>
                        <a:pt x="38" y="18"/>
                      </a:lnTo>
                      <a:lnTo>
                        <a:pt x="36" y="16"/>
                      </a:lnTo>
                      <a:lnTo>
                        <a:pt x="36" y="14"/>
                      </a:lnTo>
                      <a:lnTo>
                        <a:pt x="36" y="14"/>
                      </a:lnTo>
                      <a:lnTo>
                        <a:pt x="36" y="10"/>
                      </a:lnTo>
                      <a:lnTo>
                        <a:pt x="36" y="8"/>
                      </a:lnTo>
                      <a:lnTo>
                        <a:pt x="34" y="8"/>
                      </a:lnTo>
                      <a:lnTo>
                        <a:pt x="32" y="4"/>
                      </a:lnTo>
                      <a:lnTo>
                        <a:pt x="32" y="4"/>
                      </a:lnTo>
                      <a:lnTo>
                        <a:pt x="32" y="2"/>
                      </a:lnTo>
                      <a:lnTo>
                        <a:pt x="30" y="0"/>
                      </a:lnTo>
                      <a:lnTo>
                        <a:pt x="26" y="2"/>
                      </a:lnTo>
                      <a:lnTo>
                        <a:pt x="22" y="6"/>
                      </a:lnTo>
                      <a:lnTo>
                        <a:pt x="22" y="6"/>
                      </a:lnTo>
                      <a:lnTo>
                        <a:pt x="20" y="8"/>
                      </a:lnTo>
                      <a:lnTo>
                        <a:pt x="16" y="8"/>
                      </a:lnTo>
                      <a:lnTo>
                        <a:pt x="8" y="10"/>
                      </a:lnTo>
                      <a:lnTo>
                        <a:pt x="2" y="10"/>
                      </a:lnTo>
                      <a:lnTo>
                        <a:pt x="0" y="12"/>
                      </a:lnTo>
                      <a:lnTo>
                        <a:pt x="2" y="14"/>
                      </a:lnTo>
                      <a:lnTo>
                        <a:pt x="2" y="14"/>
                      </a:lnTo>
                      <a:lnTo>
                        <a:pt x="2" y="14"/>
                      </a:lnTo>
                      <a:lnTo>
                        <a:pt x="4" y="14"/>
                      </a:lnTo>
                      <a:lnTo>
                        <a:pt x="10" y="14"/>
                      </a:lnTo>
                      <a:lnTo>
                        <a:pt x="10" y="14"/>
                      </a:lnTo>
                      <a:lnTo>
                        <a:pt x="14" y="16"/>
                      </a:lnTo>
                      <a:lnTo>
                        <a:pt x="16" y="18"/>
                      </a:lnTo>
                      <a:lnTo>
                        <a:pt x="16" y="18"/>
                      </a:lnTo>
                      <a:lnTo>
                        <a:pt x="12" y="20"/>
                      </a:lnTo>
                      <a:lnTo>
                        <a:pt x="12" y="20"/>
                      </a:lnTo>
                      <a:lnTo>
                        <a:pt x="10" y="20"/>
                      </a:lnTo>
                      <a:lnTo>
                        <a:pt x="10" y="24"/>
                      </a:lnTo>
                      <a:lnTo>
                        <a:pt x="14" y="28"/>
                      </a:lnTo>
                      <a:lnTo>
                        <a:pt x="18" y="30"/>
                      </a:lnTo>
                      <a:lnTo>
                        <a:pt x="18" y="30"/>
                      </a:lnTo>
                      <a:lnTo>
                        <a:pt x="22" y="30"/>
                      </a:lnTo>
                      <a:lnTo>
                        <a:pt x="22" y="30"/>
                      </a:lnTo>
                      <a:lnTo>
                        <a:pt x="20" y="32"/>
                      </a:lnTo>
                      <a:lnTo>
                        <a:pt x="20" y="34"/>
                      </a:lnTo>
                      <a:lnTo>
                        <a:pt x="20" y="34"/>
                      </a:lnTo>
                      <a:lnTo>
                        <a:pt x="24" y="40"/>
                      </a:lnTo>
                      <a:lnTo>
                        <a:pt x="34" y="48"/>
                      </a:lnTo>
                      <a:lnTo>
                        <a:pt x="34" y="48"/>
                      </a:lnTo>
                      <a:lnTo>
                        <a:pt x="38" y="52"/>
                      </a:lnTo>
                      <a:lnTo>
                        <a:pt x="40" y="54"/>
                      </a:lnTo>
                      <a:lnTo>
                        <a:pt x="40" y="56"/>
                      </a:lnTo>
                      <a:lnTo>
                        <a:pt x="42" y="58"/>
                      </a:lnTo>
                      <a:lnTo>
                        <a:pt x="42" y="58"/>
                      </a:lnTo>
                      <a:lnTo>
                        <a:pt x="44" y="62"/>
                      </a:lnTo>
                      <a:lnTo>
                        <a:pt x="46" y="64"/>
                      </a:lnTo>
                      <a:lnTo>
                        <a:pt x="50" y="68"/>
                      </a:lnTo>
                      <a:lnTo>
                        <a:pt x="54" y="68"/>
                      </a:lnTo>
                      <a:lnTo>
                        <a:pt x="54" y="68"/>
                      </a:lnTo>
                      <a:lnTo>
                        <a:pt x="60" y="68"/>
                      </a:lnTo>
                      <a:lnTo>
                        <a:pt x="62" y="66"/>
                      </a:lnTo>
                      <a:lnTo>
                        <a:pt x="62" y="64"/>
                      </a:lnTo>
                      <a:lnTo>
                        <a:pt x="60" y="60"/>
                      </a:lnTo>
                      <a:lnTo>
                        <a:pt x="60" y="60"/>
                      </a:lnTo>
                      <a:lnTo>
                        <a:pt x="56" y="58"/>
                      </a:lnTo>
                      <a:lnTo>
                        <a:pt x="52" y="58"/>
                      </a:lnTo>
                      <a:lnTo>
                        <a:pt x="50" y="58"/>
                      </a:lnTo>
                      <a:lnTo>
                        <a:pt x="52" y="56"/>
                      </a:lnTo>
                      <a:lnTo>
                        <a:pt x="52" y="5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5" name="Freeform 6050"/>
                <p:cNvSpPr>
                  <a:spLocks/>
                </p:cNvSpPr>
                <p:nvPr/>
              </p:nvSpPr>
              <p:spPr bwMode="auto">
                <a:xfrm>
                  <a:off x="1109980" y="2124393"/>
                  <a:ext cx="3810" cy="6350"/>
                </a:xfrm>
                <a:custGeom>
                  <a:avLst/>
                  <a:gdLst/>
                  <a:ahLst/>
                  <a:cxnLst>
                    <a:cxn ang="0">
                      <a:pos x="2" y="0"/>
                    </a:cxn>
                    <a:cxn ang="0">
                      <a:pos x="2" y="0"/>
                    </a:cxn>
                    <a:cxn ang="0">
                      <a:pos x="0" y="2"/>
                    </a:cxn>
                    <a:cxn ang="0">
                      <a:pos x="0" y="6"/>
                    </a:cxn>
                    <a:cxn ang="0">
                      <a:pos x="0" y="8"/>
                    </a:cxn>
                    <a:cxn ang="0">
                      <a:pos x="4" y="10"/>
                    </a:cxn>
                    <a:cxn ang="0">
                      <a:pos x="4" y="10"/>
                    </a:cxn>
                    <a:cxn ang="0">
                      <a:pos x="6" y="10"/>
                    </a:cxn>
                    <a:cxn ang="0">
                      <a:pos x="6" y="6"/>
                    </a:cxn>
                    <a:cxn ang="0">
                      <a:pos x="4" y="2"/>
                    </a:cxn>
                    <a:cxn ang="0">
                      <a:pos x="2" y="0"/>
                    </a:cxn>
                    <a:cxn ang="0">
                      <a:pos x="2" y="0"/>
                    </a:cxn>
                  </a:cxnLst>
                  <a:rect l="0" t="0" r="r" b="b"/>
                  <a:pathLst>
                    <a:path w="6" h="10">
                      <a:moveTo>
                        <a:pt x="2" y="0"/>
                      </a:moveTo>
                      <a:lnTo>
                        <a:pt x="2" y="0"/>
                      </a:lnTo>
                      <a:lnTo>
                        <a:pt x="0" y="2"/>
                      </a:lnTo>
                      <a:lnTo>
                        <a:pt x="0" y="6"/>
                      </a:lnTo>
                      <a:lnTo>
                        <a:pt x="0" y="8"/>
                      </a:lnTo>
                      <a:lnTo>
                        <a:pt x="4" y="10"/>
                      </a:lnTo>
                      <a:lnTo>
                        <a:pt x="4" y="10"/>
                      </a:lnTo>
                      <a:lnTo>
                        <a:pt x="6" y="10"/>
                      </a:lnTo>
                      <a:lnTo>
                        <a:pt x="6" y="6"/>
                      </a:lnTo>
                      <a:lnTo>
                        <a:pt x="4" y="2"/>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6" name="Freeform 6051"/>
                <p:cNvSpPr>
                  <a:spLocks/>
                </p:cNvSpPr>
                <p:nvPr/>
              </p:nvSpPr>
              <p:spPr bwMode="auto">
                <a:xfrm>
                  <a:off x="1096010" y="2111693"/>
                  <a:ext cx="8890" cy="12700"/>
                </a:xfrm>
                <a:custGeom>
                  <a:avLst/>
                  <a:gdLst/>
                  <a:ahLst/>
                  <a:cxnLst>
                    <a:cxn ang="0">
                      <a:pos x="0" y="2"/>
                    </a:cxn>
                    <a:cxn ang="0">
                      <a:pos x="0" y="2"/>
                    </a:cxn>
                    <a:cxn ang="0">
                      <a:pos x="2" y="8"/>
                    </a:cxn>
                    <a:cxn ang="0">
                      <a:pos x="10" y="18"/>
                    </a:cxn>
                    <a:cxn ang="0">
                      <a:pos x="10" y="18"/>
                    </a:cxn>
                    <a:cxn ang="0">
                      <a:pos x="14" y="20"/>
                    </a:cxn>
                    <a:cxn ang="0">
                      <a:pos x="14" y="16"/>
                    </a:cxn>
                    <a:cxn ang="0">
                      <a:pos x="12" y="12"/>
                    </a:cxn>
                    <a:cxn ang="0">
                      <a:pos x="10" y="8"/>
                    </a:cxn>
                    <a:cxn ang="0">
                      <a:pos x="10" y="8"/>
                    </a:cxn>
                    <a:cxn ang="0">
                      <a:pos x="4" y="0"/>
                    </a:cxn>
                    <a:cxn ang="0">
                      <a:pos x="2" y="0"/>
                    </a:cxn>
                    <a:cxn ang="0">
                      <a:pos x="0" y="2"/>
                    </a:cxn>
                    <a:cxn ang="0">
                      <a:pos x="0" y="2"/>
                    </a:cxn>
                  </a:cxnLst>
                  <a:rect l="0" t="0" r="r" b="b"/>
                  <a:pathLst>
                    <a:path w="14" h="20">
                      <a:moveTo>
                        <a:pt x="0" y="2"/>
                      </a:moveTo>
                      <a:lnTo>
                        <a:pt x="0" y="2"/>
                      </a:lnTo>
                      <a:lnTo>
                        <a:pt x="2" y="8"/>
                      </a:lnTo>
                      <a:lnTo>
                        <a:pt x="10" y="18"/>
                      </a:lnTo>
                      <a:lnTo>
                        <a:pt x="10" y="18"/>
                      </a:lnTo>
                      <a:lnTo>
                        <a:pt x="14" y="20"/>
                      </a:lnTo>
                      <a:lnTo>
                        <a:pt x="14" y="16"/>
                      </a:lnTo>
                      <a:lnTo>
                        <a:pt x="12" y="12"/>
                      </a:lnTo>
                      <a:lnTo>
                        <a:pt x="10" y="8"/>
                      </a:lnTo>
                      <a:lnTo>
                        <a:pt x="10" y="8"/>
                      </a:lnTo>
                      <a:lnTo>
                        <a:pt x="4" y="0"/>
                      </a:lnTo>
                      <a:lnTo>
                        <a:pt x="2" y="0"/>
                      </a:lnTo>
                      <a:lnTo>
                        <a:pt x="0" y="2"/>
                      </a:lnTo>
                      <a:lnTo>
                        <a:pt x="0"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7" name="Freeform 6052"/>
                <p:cNvSpPr>
                  <a:spLocks/>
                </p:cNvSpPr>
                <p:nvPr/>
              </p:nvSpPr>
              <p:spPr bwMode="auto">
                <a:xfrm>
                  <a:off x="1070610" y="2068513"/>
                  <a:ext cx="19050" cy="26670"/>
                </a:xfrm>
                <a:custGeom>
                  <a:avLst/>
                  <a:gdLst/>
                  <a:ahLst/>
                  <a:cxnLst>
                    <a:cxn ang="0">
                      <a:pos x="30" y="26"/>
                    </a:cxn>
                    <a:cxn ang="0">
                      <a:pos x="30" y="26"/>
                    </a:cxn>
                    <a:cxn ang="0">
                      <a:pos x="20" y="16"/>
                    </a:cxn>
                    <a:cxn ang="0">
                      <a:pos x="8" y="2"/>
                    </a:cxn>
                    <a:cxn ang="0">
                      <a:pos x="8" y="2"/>
                    </a:cxn>
                    <a:cxn ang="0">
                      <a:pos x="2" y="0"/>
                    </a:cxn>
                    <a:cxn ang="0">
                      <a:pos x="0" y="2"/>
                    </a:cxn>
                    <a:cxn ang="0">
                      <a:pos x="0" y="4"/>
                    </a:cxn>
                    <a:cxn ang="0">
                      <a:pos x="0" y="8"/>
                    </a:cxn>
                    <a:cxn ang="0">
                      <a:pos x="0" y="8"/>
                    </a:cxn>
                    <a:cxn ang="0">
                      <a:pos x="6" y="16"/>
                    </a:cxn>
                    <a:cxn ang="0">
                      <a:pos x="8" y="18"/>
                    </a:cxn>
                    <a:cxn ang="0">
                      <a:pos x="12" y="20"/>
                    </a:cxn>
                    <a:cxn ang="0">
                      <a:pos x="12" y="20"/>
                    </a:cxn>
                    <a:cxn ang="0">
                      <a:pos x="14" y="22"/>
                    </a:cxn>
                    <a:cxn ang="0">
                      <a:pos x="18" y="26"/>
                    </a:cxn>
                    <a:cxn ang="0">
                      <a:pos x="24" y="40"/>
                    </a:cxn>
                    <a:cxn ang="0">
                      <a:pos x="24" y="40"/>
                    </a:cxn>
                    <a:cxn ang="0">
                      <a:pos x="26" y="40"/>
                    </a:cxn>
                    <a:cxn ang="0">
                      <a:pos x="28" y="42"/>
                    </a:cxn>
                    <a:cxn ang="0">
                      <a:pos x="30" y="40"/>
                    </a:cxn>
                    <a:cxn ang="0">
                      <a:pos x="30" y="38"/>
                    </a:cxn>
                    <a:cxn ang="0">
                      <a:pos x="30" y="38"/>
                    </a:cxn>
                    <a:cxn ang="0">
                      <a:pos x="30" y="36"/>
                    </a:cxn>
                    <a:cxn ang="0">
                      <a:pos x="30" y="34"/>
                    </a:cxn>
                    <a:cxn ang="0">
                      <a:pos x="30" y="32"/>
                    </a:cxn>
                    <a:cxn ang="0">
                      <a:pos x="30" y="26"/>
                    </a:cxn>
                    <a:cxn ang="0">
                      <a:pos x="30" y="26"/>
                    </a:cxn>
                  </a:cxnLst>
                  <a:rect l="0" t="0" r="r" b="b"/>
                  <a:pathLst>
                    <a:path w="30" h="42">
                      <a:moveTo>
                        <a:pt x="30" y="26"/>
                      </a:moveTo>
                      <a:lnTo>
                        <a:pt x="30" y="26"/>
                      </a:lnTo>
                      <a:lnTo>
                        <a:pt x="20" y="16"/>
                      </a:lnTo>
                      <a:lnTo>
                        <a:pt x="8" y="2"/>
                      </a:lnTo>
                      <a:lnTo>
                        <a:pt x="8" y="2"/>
                      </a:lnTo>
                      <a:lnTo>
                        <a:pt x="2" y="0"/>
                      </a:lnTo>
                      <a:lnTo>
                        <a:pt x="0" y="2"/>
                      </a:lnTo>
                      <a:lnTo>
                        <a:pt x="0" y="4"/>
                      </a:lnTo>
                      <a:lnTo>
                        <a:pt x="0" y="8"/>
                      </a:lnTo>
                      <a:lnTo>
                        <a:pt x="0" y="8"/>
                      </a:lnTo>
                      <a:lnTo>
                        <a:pt x="6" y="16"/>
                      </a:lnTo>
                      <a:lnTo>
                        <a:pt x="8" y="18"/>
                      </a:lnTo>
                      <a:lnTo>
                        <a:pt x="12" y="20"/>
                      </a:lnTo>
                      <a:lnTo>
                        <a:pt x="12" y="20"/>
                      </a:lnTo>
                      <a:lnTo>
                        <a:pt x="14" y="22"/>
                      </a:lnTo>
                      <a:lnTo>
                        <a:pt x="18" y="26"/>
                      </a:lnTo>
                      <a:lnTo>
                        <a:pt x="24" y="40"/>
                      </a:lnTo>
                      <a:lnTo>
                        <a:pt x="24" y="40"/>
                      </a:lnTo>
                      <a:lnTo>
                        <a:pt x="26" y="40"/>
                      </a:lnTo>
                      <a:lnTo>
                        <a:pt x="28" y="42"/>
                      </a:lnTo>
                      <a:lnTo>
                        <a:pt x="30" y="40"/>
                      </a:lnTo>
                      <a:lnTo>
                        <a:pt x="30" y="38"/>
                      </a:lnTo>
                      <a:lnTo>
                        <a:pt x="30" y="38"/>
                      </a:lnTo>
                      <a:lnTo>
                        <a:pt x="30" y="36"/>
                      </a:lnTo>
                      <a:lnTo>
                        <a:pt x="30" y="34"/>
                      </a:lnTo>
                      <a:lnTo>
                        <a:pt x="30" y="32"/>
                      </a:lnTo>
                      <a:lnTo>
                        <a:pt x="30" y="26"/>
                      </a:lnTo>
                      <a:lnTo>
                        <a:pt x="30" y="2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8" name="Freeform 6053"/>
                <p:cNvSpPr>
                  <a:spLocks/>
                </p:cNvSpPr>
                <p:nvPr/>
              </p:nvSpPr>
              <p:spPr bwMode="auto">
                <a:xfrm>
                  <a:off x="1064260" y="2078673"/>
                  <a:ext cx="17780" cy="17780"/>
                </a:xfrm>
                <a:custGeom>
                  <a:avLst/>
                  <a:gdLst/>
                  <a:ahLst/>
                  <a:cxnLst>
                    <a:cxn ang="0">
                      <a:pos x="6" y="2"/>
                    </a:cxn>
                    <a:cxn ang="0">
                      <a:pos x="6" y="2"/>
                    </a:cxn>
                    <a:cxn ang="0">
                      <a:pos x="0" y="0"/>
                    </a:cxn>
                    <a:cxn ang="0">
                      <a:pos x="0" y="0"/>
                    </a:cxn>
                    <a:cxn ang="0">
                      <a:pos x="0" y="0"/>
                    </a:cxn>
                    <a:cxn ang="0">
                      <a:pos x="4" y="10"/>
                    </a:cxn>
                    <a:cxn ang="0">
                      <a:pos x="4" y="10"/>
                    </a:cxn>
                    <a:cxn ang="0">
                      <a:pos x="8" y="14"/>
                    </a:cxn>
                    <a:cxn ang="0">
                      <a:pos x="12" y="16"/>
                    </a:cxn>
                    <a:cxn ang="0">
                      <a:pos x="16" y="18"/>
                    </a:cxn>
                    <a:cxn ang="0">
                      <a:pos x="20" y="24"/>
                    </a:cxn>
                    <a:cxn ang="0">
                      <a:pos x="20" y="24"/>
                    </a:cxn>
                    <a:cxn ang="0">
                      <a:pos x="24" y="28"/>
                    </a:cxn>
                    <a:cxn ang="0">
                      <a:pos x="26" y="28"/>
                    </a:cxn>
                    <a:cxn ang="0">
                      <a:pos x="28" y="24"/>
                    </a:cxn>
                    <a:cxn ang="0">
                      <a:pos x="28" y="18"/>
                    </a:cxn>
                    <a:cxn ang="0">
                      <a:pos x="28" y="18"/>
                    </a:cxn>
                    <a:cxn ang="0">
                      <a:pos x="24" y="14"/>
                    </a:cxn>
                    <a:cxn ang="0">
                      <a:pos x="20" y="10"/>
                    </a:cxn>
                    <a:cxn ang="0">
                      <a:pos x="6" y="2"/>
                    </a:cxn>
                    <a:cxn ang="0">
                      <a:pos x="6" y="2"/>
                    </a:cxn>
                  </a:cxnLst>
                  <a:rect l="0" t="0" r="r" b="b"/>
                  <a:pathLst>
                    <a:path w="28" h="28">
                      <a:moveTo>
                        <a:pt x="6" y="2"/>
                      </a:moveTo>
                      <a:lnTo>
                        <a:pt x="6" y="2"/>
                      </a:lnTo>
                      <a:lnTo>
                        <a:pt x="0" y="0"/>
                      </a:lnTo>
                      <a:lnTo>
                        <a:pt x="0" y="0"/>
                      </a:lnTo>
                      <a:lnTo>
                        <a:pt x="0" y="0"/>
                      </a:lnTo>
                      <a:lnTo>
                        <a:pt x="4" y="10"/>
                      </a:lnTo>
                      <a:lnTo>
                        <a:pt x="4" y="10"/>
                      </a:lnTo>
                      <a:lnTo>
                        <a:pt x="8" y="14"/>
                      </a:lnTo>
                      <a:lnTo>
                        <a:pt x="12" y="16"/>
                      </a:lnTo>
                      <a:lnTo>
                        <a:pt x="16" y="18"/>
                      </a:lnTo>
                      <a:lnTo>
                        <a:pt x="20" y="24"/>
                      </a:lnTo>
                      <a:lnTo>
                        <a:pt x="20" y="24"/>
                      </a:lnTo>
                      <a:lnTo>
                        <a:pt x="24" y="28"/>
                      </a:lnTo>
                      <a:lnTo>
                        <a:pt x="26" y="28"/>
                      </a:lnTo>
                      <a:lnTo>
                        <a:pt x="28" y="24"/>
                      </a:lnTo>
                      <a:lnTo>
                        <a:pt x="28" y="18"/>
                      </a:lnTo>
                      <a:lnTo>
                        <a:pt x="28" y="18"/>
                      </a:lnTo>
                      <a:lnTo>
                        <a:pt x="24" y="14"/>
                      </a:lnTo>
                      <a:lnTo>
                        <a:pt x="20" y="10"/>
                      </a:lnTo>
                      <a:lnTo>
                        <a:pt x="6" y="2"/>
                      </a:lnTo>
                      <a:lnTo>
                        <a:pt x="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49" name="Freeform 6055"/>
                <p:cNvSpPr>
                  <a:spLocks/>
                </p:cNvSpPr>
                <p:nvPr/>
              </p:nvSpPr>
              <p:spPr bwMode="auto">
                <a:xfrm>
                  <a:off x="2825750" y="3357563"/>
                  <a:ext cx="6350" cy="11430"/>
                </a:xfrm>
                <a:custGeom>
                  <a:avLst/>
                  <a:gdLst/>
                  <a:ahLst/>
                  <a:cxnLst>
                    <a:cxn ang="0">
                      <a:pos x="0" y="4"/>
                    </a:cxn>
                    <a:cxn ang="0">
                      <a:pos x="0" y="4"/>
                    </a:cxn>
                    <a:cxn ang="0">
                      <a:pos x="0" y="10"/>
                    </a:cxn>
                    <a:cxn ang="0">
                      <a:pos x="2" y="16"/>
                    </a:cxn>
                    <a:cxn ang="0">
                      <a:pos x="4" y="18"/>
                    </a:cxn>
                    <a:cxn ang="0">
                      <a:pos x="8" y="18"/>
                    </a:cxn>
                    <a:cxn ang="0">
                      <a:pos x="8" y="18"/>
                    </a:cxn>
                    <a:cxn ang="0">
                      <a:pos x="10" y="16"/>
                    </a:cxn>
                    <a:cxn ang="0">
                      <a:pos x="10" y="14"/>
                    </a:cxn>
                    <a:cxn ang="0">
                      <a:pos x="10" y="8"/>
                    </a:cxn>
                    <a:cxn ang="0">
                      <a:pos x="10" y="8"/>
                    </a:cxn>
                    <a:cxn ang="0">
                      <a:pos x="8" y="6"/>
                    </a:cxn>
                    <a:cxn ang="0">
                      <a:pos x="6" y="2"/>
                    </a:cxn>
                    <a:cxn ang="0">
                      <a:pos x="2" y="0"/>
                    </a:cxn>
                    <a:cxn ang="0">
                      <a:pos x="2" y="0"/>
                    </a:cxn>
                    <a:cxn ang="0">
                      <a:pos x="0" y="4"/>
                    </a:cxn>
                    <a:cxn ang="0">
                      <a:pos x="0" y="4"/>
                    </a:cxn>
                  </a:cxnLst>
                  <a:rect l="0" t="0" r="r" b="b"/>
                  <a:pathLst>
                    <a:path w="10" h="18">
                      <a:moveTo>
                        <a:pt x="0" y="4"/>
                      </a:moveTo>
                      <a:lnTo>
                        <a:pt x="0" y="4"/>
                      </a:lnTo>
                      <a:lnTo>
                        <a:pt x="0" y="10"/>
                      </a:lnTo>
                      <a:lnTo>
                        <a:pt x="2" y="16"/>
                      </a:lnTo>
                      <a:lnTo>
                        <a:pt x="4" y="18"/>
                      </a:lnTo>
                      <a:lnTo>
                        <a:pt x="8" y="18"/>
                      </a:lnTo>
                      <a:lnTo>
                        <a:pt x="8" y="18"/>
                      </a:lnTo>
                      <a:lnTo>
                        <a:pt x="10" y="16"/>
                      </a:lnTo>
                      <a:lnTo>
                        <a:pt x="10" y="14"/>
                      </a:lnTo>
                      <a:lnTo>
                        <a:pt x="10" y="8"/>
                      </a:lnTo>
                      <a:lnTo>
                        <a:pt x="10" y="8"/>
                      </a:lnTo>
                      <a:lnTo>
                        <a:pt x="8" y="6"/>
                      </a:lnTo>
                      <a:lnTo>
                        <a:pt x="6" y="2"/>
                      </a:lnTo>
                      <a:lnTo>
                        <a:pt x="2" y="0"/>
                      </a:lnTo>
                      <a:lnTo>
                        <a:pt x="2" y="0"/>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0" name="Freeform 6056"/>
                <p:cNvSpPr>
                  <a:spLocks/>
                </p:cNvSpPr>
                <p:nvPr/>
              </p:nvSpPr>
              <p:spPr bwMode="auto">
                <a:xfrm>
                  <a:off x="2833370" y="3381693"/>
                  <a:ext cx="6350" cy="11430"/>
                </a:xfrm>
                <a:custGeom>
                  <a:avLst/>
                  <a:gdLst/>
                  <a:ahLst/>
                  <a:cxnLst>
                    <a:cxn ang="0">
                      <a:pos x="2" y="8"/>
                    </a:cxn>
                    <a:cxn ang="0">
                      <a:pos x="2" y="8"/>
                    </a:cxn>
                    <a:cxn ang="0">
                      <a:pos x="4" y="12"/>
                    </a:cxn>
                    <a:cxn ang="0">
                      <a:pos x="6" y="16"/>
                    </a:cxn>
                    <a:cxn ang="0">
                      <a:pos x="6" y="18"/>
                    </a:cxn>
                    <a:cxn ang="0">
                      <a:pos x="8" y="18"/>
                    </a:cxn>
                    <a:cxn ang="0">
                      <a:pos x="8" y="18"/>
                    </a:cxn>
                    <a:cxn ang="0">
                      <a:pos x="10" y="14"/>
                    </a:cxn>
                    <a:cxn ang="0">
                      <a:pos x="10" y="10"/>
                    </a:cxn>
                    <a:cxn ang="0">
                      <a:pos x="10" y="4"/>
                    </a:cxn>
                    <a:cxn ang="0">
                      <a:pos x="6" y="0"/>
                    </a:cxn>
                    <a:cxn ang="0">
                      <a:pos x="6" y="0"/>
                    </a:cxn>
                    <a:cxn ang="0">
                      <a:pos x="2" y="0"/>
                    </a:cxn>
                    <a:cxn ang="0">
                      <a:pos x="0" y="0"/>
                    </a:cxn>
                    <a:cxn ang="0">
                      <a:pos x="0" y="4"/>
                    </a:cxn>
                    <a:cxn ang="0">
                      <a:pos x="2" y="8"/>
                    </a:cxn>
                    <a:cxn ang="0">
                      <a:pos x="2" y="8"/>
                    </a:cxn>
                  </a:cxnLst>
                  <a:rect l="0" t="0" r="r" b="b"/>
                  <a:pathLst>
                    <a:path w="10" h="18">
                      <a:moveTo>
                        <a:pt x="2" y="8"/>
                      </a:moveTo>
                      <a:lnTo>
                        <a:pt x="2" y="8"/>
                      </a:lnTo>
                      <a:lnTo>
                        <a:pt x="4" y="12"/>
                      </a:lnTo>
                      <a:lnTo>
                        <a:pt x="6" y="16"/>
                      </a:lnTo>
                      <a:lnTo>
                        <a:pt x="6" y="18"/>
                      </a:lnTo>
                      <a:lnTo>
                        <a:pt x="8" y="18"/>
                      </a:lnTo>
                      <a:lnTo>
                        <a:pt x="8" y="18"/>
                      </a:lnTo>
                      <a:lnTo>
                        <a:pt x="10" y="14"/>
                      </a:lnTo>
                      <a:lnTo>
                        <a:pt x="10" y="10"/>
                      </a:lnTo>
                      <a:lnTo>
                        <a:pt x="10" y="4"/>
                      </a:lnTo>
                      <a:lnTo>
                        <a:pt x="6" y="0"/>
                      </a:lnTo>
                      <a:lnTo>
                        <a:pt x="6" y="0"/>
                      </a:lnTo>
                      <a:lnTo>
                        <a:pt x="2" y="0"/>
                      </a:lnTo>
                      <a:lnTo>
                        <a:pt x="0" y="0"/>
                      </a:lnTo>
                      <a:lnTo>
                        <a:pt x="0" y="4"/>
                      </a:lnTo>
                      <a:lnTo>
                        <a:pt x="2" y="8"/>
                      </a:lnTo>
                      <a:lnTo>
                        <a:pt x="2"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1" name="Freeform 6057"/>
                <p:cNvSpPr>
                  <a:spLocks/>
                </p:cNvSpPr>
                <p:nvPr/>
              </p:nvSpPr>
              <p:spPr bwMode="auto">
                <a:xfrm>
                  <a:off x="2832100" y="3353753"/>
                  <a:ext cx="10160" cy="8890"/>
                </a:xfrm>
                <a:custGeom>
                  <a:avLst/>
                  <a:gdLst/>
                  <a:ahLst/>
                  <a:cxnLst>
                    <a:cxn ang="0">
                      <a:pos x="0" y="12"/>
                    </a:cxn>
                    <a:cxn ang="0">
                      <a:pos x="0" y="12"/>
                    </a:cxn>
                    <a:cxn ang="0">
                      <a:pos x="4" y="14"/>
                    </a:cxn>
                    <a:cxn ang="0">
                      <a:pos x="8" y="12"/>
                    </a:cxn>
                    <a:cxn ang="0">
                      <a:pos x="8" y="12"/>
                    </a:cxn>
                    <a:cxn ang="0">
                      <a:pos x="12" y="12"/>
                    </a:cxn>
                    <a:cxn ang="0">
                      <a:pos x="14" y="12"/>
                    </a:cxn>
                    <a:cxn ang="0">
                      <a:pos x="16" y="14"/>
                    </a:cxn>
                    <a:cxn ang="0">
                      <a:pos x="16" y="12"/>
                    </a:cxn>
                    <a:cxn ang="0">
                      <a:pos x="16" y="12"/>
                    </a:cxn>
                    <a:cxn ang="0">
                      <a:pos x="14" y="8"/>
                    </a:cxn>
                    <a:cxn ang="0">
                      <a:pos x="12" y="8"/>
                    </a:cxn>
                    <a:cxn ang="0">
                      <a:pos x="10" y="6"/>
                    </a:cxn>
                    <a:cxn ang="0">
                      <a:pos x="8" y="4"/>
                    </a:cxn>
                    <a:cxn ang="0">
                      <a:pos x="8" y="4"/>
                    </a:cxn>
                    <a:cxn ang="0">
                      <a:pos x="6" y="0"/>
                    </a:cxn>
                    <a:cxn ang="0">
                      <a:pos x="4" y="0"/>
                    </a:cxn>
                    <a:cxn ang="0">
                      <a:pos x="2" y="0"/>
                    </a:cxn>
                    <a:cxn ang="0">
                      <a:pos x="2" y="2"/>
                    </a:cxn>
                    <a:cxn ang="0">
                      <a:pos x="2" y="2"/>
                    </a:cxn>
                    <a:cxn ang="0">
                      <a:pos x="2" y="6"/>
                    </a:cxn>
                    <a:cxn ang="0">
                      <a:pos x="2" y="8"/>
                    </a:cxn>
                    <a:cxn ang="0">
                      <a:pos x="0" y="10"/>
                    </a:cxn>
                    <a:cxn ang="0">
                      <a:pos x="0" y="12"/>
                    </a:cxn>
                    <a:cxn ang="0">
                      <a:pos x="0" y="12"/>
                    </a:cxn>
                  </a:cxnLst>
                  <a:rect l="0" t="0" r="r" b="b"/>
                  <a:pathLst>
                    <a:path w="16" h="14">
                      <a:moveTo>
                        <a:pt x="0" y="12"/>
                      </a:moveTo>
                      <a:lnTo>
                        <a:pt x="0" y="12"/>
                      </a:lnTo>
                      <a:lnTo>
                        <a:pt x="4" y="14"/>
                      </a:lnTo>
                      <a:lnTo>
                        <a:pt x="8" y="12"/>
                      </a:lnTo>
                      <a:lnTo>
                        <a:pt x="8" y="12"/>
                      </a:lnTo>
                      <a:lnTo>
                        <a:pt x="12" y="12"/>
                      </a:lnTo>
                      <a:lnTo>
                        <a:pt x="14" y="12"/>
                      </a:lnTo>
                      <a:lnTo>
                        <a:pt x="16" y="14"/>
                      </a:lnTo>
                      <a:lnTo>
                        <a:pt x="16" y="12"/>
                      </a:lnTo>
                      <a:lnTo>
                        <a:pt x="16" y="12"/>
                      </a:lnTo>
                      <a:lnTo>
                        <a:pt x="14" y="8"/>
                      </a:lnTo>
                      <a:lnTo>
                        <a:pt x="12" y="8"/>
                      </a:lnTo>
                      <a:lnTo>
                        <a:pt x="10" y="6"/>
                      </a:lnTo>
                      <a:lnTo>
                        <a:pt x="8" y="4"/>
                      </a:lnTo>
                      <a:lnTo>
                        <a:pt x="8" y="4"/>
                      </a:lnTo>
                      <a:lnTo>
                        <a:pt x="6" y="0"/>
                      </a:lnTo>
                      <a:lnTo>
                        <a:pt x="4" y="0"/>
                      </a:lnTo>
                      <a:lnTo>
                        <a:pt x="2" y="0"/>
                      </a:lnTo>
                      <a:lnTo>
                        <a:pt x="2" y="2"/>
                      </a:lnTo>
                      <a:lnTo>
                        <a:pt x="2" y="2"/>
                      </a:lnTo>
                      <a:lnTo>
                        <a:pt x="2" y="6"/>
                      </a:lnTo>
                      <a:lnTo>
                        <a:pt x="2" y="8"/>
                      </a:lnTo>
                      <a:lnTo>
                        <a:pt x="0" y="10"/>
                      </a:lnTo>
                      <a:lnTo>
                        <a:pt x="0" y="12"/>
                      </a:lnTo>
                      <a:lnTo>
                        <a:pt x="0" y="1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2" name="Freeform 6058"/>
                <p:cNvSpPr>
                  <a:spLocks/>
                </p:cNvSpPr>
                <p:nvPr/>
              </p:nvSpPr>
              <p:spPr bwMode="auto">
                <a:xfrm>
                  <a:off x="2844800" y="3428683"/>
                  <a:ext cx="6350" cy="11430"/>
                </a:xfrm>
                <a:custGeom>
                  <a:avLst/>
                  <a:gdLst/>
                  <a:ahLst/>
                  <a:cxnLst>
                    <a:cxn ang="0">
                      <a:pos x="4" y="2"/>
                    </a:cxn>
                    <a:cxn ang="0">
                      <a:pos x="4" y="2"/>
                    </a:cxn>
                    <a:cxn ang="0">
                      <a:pos x="2" y="6"/>
                    </a:cxn>
                    <a:cxn ang="0">
                      <a:pos x="0" y="10"/>
                    </a:cxn>
                    <a:cxn ang="0">
                      <a:pos x="0" y="14"/>
                    </a:cxn>
                    <a:cxn ang="0">
                      <a:pos x="2" y="18"/>
                    </a:cxn>
                    <a:cxn ang="0">
                      <a:pos x="2" y="18"/>
                    </a:cxn>
                    <a:cxn ang="0">
                      <a:pos x="6" y="18"/>
                    </a:cxn>
                    <a:cxn ang="0">
                      <a:pos x="6" y="18"/>
                    </a:cxn>
                    <a:cxn ang="0">
                      <a:pos x="8" y="10"/>
                    </a:cxn>
                    <a:cxn ang="0">
                      <a:pos x="8" y="10"/>
                    </a:cxn>
                    <a:cxn ang="0">
                      <a:pos x="10" y="6"/>
                    </a:cxn>
                    <a:cxn ang="0">
                      <a:pos x="8" y="2"/>
                    </a:cxn>
                    <a:cxn ang="0">
                      <a:pos x="6" y="0"/>
                    </a:cxn>
                    <a:cxn ang="0">
                      <a:pos x="4" y="2"/>
                    </a:cxn>
                    <a:cxn ang="0">
                      <a:pos x="4" y="2"/>
                    </a:cxn>
                  </a:cxnLst>
                  <a:rect l="0" t="0" r="r" b="b"/>
                  <a:pathLst>
                    <a:path w="10" h="18">
                      <a:moveTo>
                        <a:pt x="4" y="2"/>
                      </a:moveTo>
                      <a:lnTo>
                        <a:pt x="4" y="2"/>
                      </a:lnTo>
                      <a:lnTo>
                        <a:pt x="2" y="6"/>
                      </a:lnTo>
                      <a:lnTo>
                        <a:pt x="0" y="10"/>
                      </a:lnTo>
                      <a:lnTo>
                        <a:pt x="0" y="14"/>
                      </a:lnTo>
                      <a:lnTo>
                        <a:pt x="2" y="18"/>
                      </a:lnTo>
                      <a:lnTo>
                        <a:pt x="2" y="18"/>
                      </a:lnTo>
                      <a:lnTo>
                        <a:pt x="6" y="18"/>
                      </a:lnTo>
                      <a:lnTo>
                        <a:pt x="6" y="18"/>
                      </a:lnTo>
                      <a:lnTo>
                        <a:pt x="8" y="10"/>
                      </a:lnTo>
                      <a:lnTo>
                        <a:pt x="8" y="10"/>
                      </a:lnTo>
                      <a:lnTo>
                        <a:pt x="10" y="6"/>
                      </a:lnTo>
                      <a:lnTo>
                        <a:pt x="8" y="2"/>
                      </a:lnTo>
                      <a:lnTo>
                        <a:pt x="6" y="0"/>
                      </a:lnTo>
                      <a:lnTo>
                        <a:pt x="4" y="2"/>
                      </a:lnTo>
                      <a:lnTo>
                        <a:pt x="4"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3" name="Freeform 6059"/>
                <p:cNvSpPr>
                  <a:spLocks/>
                </p:cNvSpPr>
                <p:nvPr/>
              </p:nvSpPr>
              <p:spPr bwMode="auto">
                <a:xfrm>
                  <a:off x="2824480" y="3332163"/>
                  <a:ext cx="5080" cy="5080"/>
                </a:xfrm>
                <a:custGeom>
                  <a:avLst/>
                  <a:gdLst/>
                  <a:ahLst/>
                  <a:cxnLst>
                    <a:cxn ang="0">
                      <a:pos x="2" y="8"/>
                    </a:cxn>
                    <a:cxn ang="0">
                      <a:pos x="2" y="8"/>
                    </a:cxn>
                    <a:cxn ang="0">
                      <a:pos x="6" y="8"/>
                    </a:cxn>
                    <a:cxn ang="0">
                      <a:pos x="8" y="6"/>
                    </a:cxn>
                    <a:cxn ang="0">
                      <a:pos x="8" y="4"/>
                    </a:cxn>
                    <a:cxn ang="0">
                      <a:pos x="4" y="2"/>
                    </a:cxn>
                    <a:cxn ang="0">
                      <a:pos x="4" y="2"/>
                    </a:cxn>
                    <a:cxn ang="0">
                      <a:pos x="2" y="0"/>
                    </a:cxn>
                    <a:cxn ang="0">
                      <a:pos x="0" y="4"/>
                    </a:cxn>
                    <a:cxn ang="0">
                      <a:pos x="0" y="6"/>
                    </a:cxn>
                    <a:cxn ang="0">
                      <a:pos x="2" y="8"/>
                    </a:cxn>
                    <a:cxn ang="0">
                      <a:pos x="2" y="8"/>
                    </a:cxn>
                  </a:cxnLst>
                  <a:rect l="0" t="0" r="r" b="b"/>
                  <a:pathLst>
                    <a:path w="8" h="8">
                      <a:moveTo>
                        <a:pt x="2" y="8"/>
                      </a:moveTo>
                      <a:lnTo>
                        <a:pt x="2" y="8"/>
                      </a:lnTo>
                      <a:lnTo>
                        <a:pt x="6" y="8"/>
                      </a:lnTo>
                      <a:lnTo>
                        <a:pt x="8" y="6"/>
                      </a:lnTo>
                      <a:lnTo>
                        <a:pt x="8" y="4"/>
                      </a:lnTo>
                      <a:lnTo>
                        <a:pt x="4" y="2"/>
                      </a:lnTo>
                      <a:lnTo>
                        <a:pt x="4" y="2"/>
                      </a:lnTo>
                      <a:lnTo>
                        <a:pt x="2" y="0"/>
                      </a:lnTo>
                      <a:lnTo>
                        <a:pt x="0" y="4"/>
                      </a:lnTo>
                      <a:lnTo>
                        <a:pt x="0" y="6"/>
                      </a:lnTo>
                      <a:lnTo>
                        <a:pt x="2" y="8"/>
                      </a:lnTo>
                      <a:lnTo>
                        <a:pt x="2"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4" name="Freeform 6060"/>
                <p:cNvSpPr>
                  <a:spLocks/>
                </p:cNvSpPr>
                <p:nvPr/>
              </p:nvSpPr>
              <p:spPr bwMode="auto">
                <a:xfrm>
                  <a:off x="2839720" y="3451543"/>
                  <a:ext cx="3810" cy="7620"/>
                </a:xfrm>
                <a:custGeom>
                  <a:avLst/>
                  <a:gdLst/>
                  <a:ahLst/>
                  <a:cxnLst>
                    <a:cxn ang="0">
                      <a:pos x="4" y="0"/>
                    </a:cxn>
                    <a:cxn ang="0">
                      <a:pos x="4" y="0"/>
                    </a:cxn>
                    <a:cxn ang="0">
                      <a:pos x="2" y="0"/>
                    </a:cxn>
                    <a:cxn ang="0">
                      <a:pos x="0" y="2"/>
                    </a:cxn>
                    <a:cxn ang="0">
                      <a:pos x="0" y="8"/>
                    </a:cxn>
                    <a:cxn ang="0">
                      <a:pos x="2" y="12"/>
                    </a:cxn>
                    <a:cxn ang="0">
                      <a:pos x="2" y="12"/>
                    </a:cxn>
                    <a:cxn ang="0">
                      <a:pos x="4" y="12"/>
                    </a:cxn>
                    <a:cxn ang="0">
                      <a:pos x="6" y="8"/>
                    </a:cxn>
                    <a:cxn ang="0">
                      <a:pos x="6" y="2"/>
                    </a:cxn>
                    <a:cxn ang="0">
                      <a:pos x="4" y="0"/>
                    </a:cxn>
                    <a:cxn ang="0">
                      <a:pos x="4" y="0"/>
                    </a:cxn>
                  </a:cxnLst>
                  <a:rect l="0" t="0" r="r" b="b"/>
                  <a:pathLst>
                    <a:path w="6" h="12">
                      <a:moveTo>
                        <a:pt x="4" y="0"/>
                      </a:moveTo>
                      <a:lnTo>
                        <a:pt x="4" y="0"/>
                      </a:lnTo>
                      <a:lnTo>
                        <a:pt x="2" y="0"/>
                      </a:lnTo>
                      <a:lnTo>
                        <a:pt x="0" y="2"/>
                      </a:lnTo>
                      <a:lnTo>
                        <a:pt x="0" y="8"/>
                      </a:lnTo>
                      <a:lnTo>
                        <a:pt x="2" y="12"/>
                      </a:lnTo>
                      <a:lnTo>
                        <a:pt x="2" y="12"/>
                      </a:lnTo>
                      <a:lnTo>
                        <a:pt x="4" y="12"/>
                      </a:lnTo>
                      <a:lnTo>
                        <a:pt x="6" y="8"/>
                      </a:lnTo>
                      <a:lnTo>
                        <a:pt x="6" y="2"/>
                      </a:lnTo>
                      <a:lnTo>
                        <a:pt x="4" y="0"/>
                      </a:lnTo>
                      <a:lnTo>
                        <a:pt x="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5" name="Freeform 6061"/>
                <p:cNvSpPr>
                  <a:spLocks/>
                </p:cNvSpPr>
                <p:nvPr/>
              </p:nvSpPr>
              <p:spPr bwMode="auto">
                <a:xfrm>
                  <a:off x="2840990" y="3404553"/>
                  <a:ext cx="11430" cy="15240"/>
                </a:xfrm>
                <a:custGeom>
                  <a:avLst/>
                  <a:gdLst/>
                  <a:ahLst/>
                  <a:cxnLst>
                    <a:cxn ang="0">
                      <a:pos x="10" y="20"/>
                    </a:cxn>
                    <a:cxn ang="0">
                      <a:pos x="10" y="20"/>
                    </a:cxn>
                    <a:cxn ang="0">
                      <a:pos x="12" y="22"/>
                    </a:cxn>
                    <a:cxn ang="0">
                      <a:pos x="14" y="22"/>
                    </a:cxn>
                    <a:cxn ang="0">
                      <a:pos x="14" y="24"/>
                    </a:cxn>
                    <a:cxn ang="0">
                      <a:pos x="16" y="24"/>
                    </a:cxn>
                    <a:cxn ang="0">
                      <a:pos x="16" y="24"/>
                    </a:cxn>
                    <a:cxn ang="0">
                      <a:pos x="18" y="22"/>
                    </a:cxn>
                    <a:cxn ang="0">
                      <a:pos x="18" y="16"/>
                    </a:cxn>
                    <a:cxn ang="0">
                      <a:pos x="14" y="10"/>
                    </a:cxn>
                    <a:cxn ang="0">
                      <a:pos x="10" y="4"/>
                    </a:cxn>
                    <a:cxn ang="0">
                      <a:pos x="10" y="4"/>
                    </a:cxn>
                    <a:cxn ang="0">
                      <a:pos x="6" y="0"/>
                    </a:cxn>
                    <a:cxn ang="0">
                      <a:pos x="2" y="0"/>
                    </a:cxn>
                    <a:cxn ang="0">
                      <a:pos x="0" y="2"/>
                    </a:cxn>
                    <a:cxn ang="0">
                      <a:pos x="2" y="6"/>
                    </a:cxn>
                    <a:cxn ang="0">
                      <a:pos x="2" y="6"/>
                    </a:cxn>
                    <a:cxn ang="0">
                      <a:pos x="4" y="12"/>
                    </a:cxn>
                    <a:cxn ang="0">
                      <a:pos x="4" y="16"/>
                    </a:cxn>
                    <a:cxn ang="0">
                      <a:pos x="6" y="18"/>
                    </a:cxn>
                    <a:cxn ang="0">
                      <a:pos x="10" y="20"/>
                    </a:cxn>
                    <a:cxn ang="0">
                      <a:pos x="10" y="20"/>
                    </a:cxn>
                  </a:cxnLst>
                  <a:rect l="0" t="0" r="r" b="b"/>
                  <a:pathLst>
                    <a:path w="18" h="24">
                      <a:moveTo>
                        <a:pt x="10" y="20"/>
                      </a:moveTo>
                      <a:lnTo>
                        <a:pt x="10" y="20"/>
                      </a:lnTo>
                      <a:lnTo>
                        <a:pt x="12" y="22"/>
                      </a:lnTo>
                      <a:lnTo>
                        <a:pt x="14" y="22"/>
                      </a:lnTo>
                      <a:lnTo>
                        <a:pt x="14" y="24"/>
                      </a:lnTo>
                      <a:lnTo>
                        <a:pt x="16" y="24"/>
                      </a:lnTo>
                      <a:lnTo>
                        <a:pt x="16" y="24"/>
                      </a:lnTo>
                      <a:lnTo>
                        <a:pt x="18" y="22"/>
                      </a:lnTo>
                      <a:lnTo>
                        <a:pt x="18" y="16"/>
                      </a:lnTo>
                      <a:lnTo>
                        <a:pt x="14" y="10"/>
                      </a:lnTo>
                      <a:lnTo>
                        <a:pt x="10" y="4"/>
                      </a:lnTo>
                      <a:lnTo>
                        <a:pt x="10" y="4"/>
                      </a:lnTo>
                      <a:lnTo>
                        <a:pt x="6" y="0"/>
                      </a:lnTo>
                      <a:lnTo>
                        <a:pt x="2" y="0"/>
                      </a:lnTo>
                      <a:lnTo>
                        <a:pt x="0" y="2"/>
                      </a:lnTo>
                      <a:lnTo>
                        <a:pt x="2" y="6"/>
                      </a:lnTo>
                      <a:lnTo>
                        <a:pt x="2" y="6"/>
                      </a:lnTo>
                      <a:lnTo>
                        <a:pt x="4" y="12"/>
                      </a:lnTo>
                      <a:lnTo>
                        <a:pt x="4" y="16"/>
                      </a:lnTo>
                      <a:lnTo>
                        <a:pt x="6" y="18"/>
                      </a:lnTo>
                      <a:lnTo>
                        <a:pt x="10" y="20"/>
                      </a:lnTo>
                      <a:lnTo>
                        <a:pt x="10" y="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6" name="Freeform 6062"/>
                <p:cNvSpPr>
                  <a:spLocks/>
                </p:cNvSpPr>
                <p:nvPr/>
              </p:nvSpPr>
              <p:spPr bwMode="auto">
                <a:xfrm>
                  <a:off x="2827020" y="3487103"/>
                  <a:ext cx="5080" cy="7620"/>
                </a:xfrm>
                <a:custGeom>
                  <a:avLst/>
                  <a:gdLst/>
                  <a:ahLst/>
                  <a:cxnLst>
                    <a:cxn ang="0">
                      <a:pos x="4" y="0"/>
                    </a:cxn>
                    <a:cxn ang="0">
                      <a:pos x="4" y="0"/>
                    </a:cxn>
                    <a:cxn ang="0">
                      <a:pos x="2" y="2"/>
                    </a:cxn>
                    <a:cxn ang="0">
                      <a:pos x="0" y="6"/>
                    </a:cxn>
                    <a:cxn ang="0">
                      <a:pos x="0" y="10"/>
                    </a:cxn>
                    <a:cxn ang="0">
                      <a:pos x="4" y="12"/>
                    </a:cxn>
                    <a:cxn ang="0">
                      <a:pos x="4" y="12"/>
                    </a:cxn>
                    <a:cxn ang="0">
                      <a:pos x="6" y="10"/>
                    </a:cxn>
                    <a:cxn ang="0">
                      <a:pos x="8" y="6"/>
                    </a:cxn>
                    <a:cxn ang="0">
                      <a:pos x="6" y="2"/>
                    </a:cxn>
                    <a:cxn ang="0">
                      <a:pos x="4" y="0"/>
                    </a:cxn>
                    <a:cxn ang="0">
                      <a:pos x="4" y="0"/>
                    </a:cxn>
                  </a:cxnLst>
                  <a:rect l="0" t="0" r="r" b="b"/>
                  <a:pathLst>
                    <a:path w="8" h="12">
                      <a:moveTo>
                        <a:pt x="4" y="0"/>
                      </a:moveTo>
                      <a:lnTo>
                        <a:pt x="4" y="0"/>
                      </a:lnTo>
                      <a:lnTo>
                        <a:pt x="2" y="2"/>
                      </a:lnTo>
                      <a:lnTo>
                        <a:pt x="0" y="6"/>
                      </a:lnTo>
                      <a:lnTo>
                        <a:pt x="0" y="10"/>
                      </a:lnTo>
                      <a:lnTo>
                        <a:pt x="4" y="12"/>
                      </a:lnTo>
                      <a:lnTo>
                        <a:pt x="4" y="12"/>
                      </a:lnTo>
                      <a:lnTo>
                        <a:pt x="6" y="10"/>
                      </a:lnTo>
                      <a:lnTo>
                        <a:pt x="8" y="6"/>
                      </a:lnTo>
                      <a:lnTo>
                        <a:pt x="6" y="2"/>
                      </a:lnTo>
                      <a:lnTo>
                        <a:pt x="4" y="0"/>
                      </a:lnTo>
                      <a:lnTo>
                        <a:pt x="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7" name="Freeform 6063"/>
                <p:cNvSpPr>
                  <a:spLocks/>
                </p:cNvSpPr>
                <p:nvPr/>
              </p:nvSpPr>
              <p:spPr bwMode="auto">
                <a:xfrm>
                  <a:off x="2838450" y="3368993"/>
                  <a:ext cx="2540" cy="3810"/>
                </a:xfrm>
                <a:custGeom>
                  <a:avLst/>
                  <a:gdLst/>
                  <a:ahLst/>
                  <a:cxnLst>
                    <a:cxn ang="0">
                      <a:pos x="4" y="6"/>
                    </a:cxn>
                    <a:cxn ang="0">
                      <a:pos x="4" y="6"/>
                    </a:cxn>
                    <a:cxn ang="0">
                      <a:pos x="4" y="6"/>
                    </a:cxn>
                    <a:cxn ang="0">
                      <a:pos x="4" y="4"/>
                    </a:cxn>
                    <a:cxn ang="0">
                      <a:pos x="2" y="2"/>
                    </a:cxn>
                    <a:cxn ang="0">
                      <a:pos x="2" y="0"/>
                    </a:cxn>
                    <a:cxn ang="0">
                      <a:pos x="2" y="0"/>
                    </a:cxn>
                    <a:cxn ang="0">
                      <a:pos x="0" y="2"/>
                    </a:cxn>
                    <a:cxn ang="0">
                      <a:pos x="0" y="4"/>
                    </a:cxn>
                    <a:cxn ang="0">
                      <a:pos x="0" y="6"/>
                    </a:cxn>
                    <a:cxn ang="0">
                      <a:pos x="4" y="6"/>
                    </a:cxn>
                    <a:cxn ang="0">
                      <a:pos x="4" y="6"/>
                    </a:cxn>
                  </a:cxnLst>
                  <a:rect l="0" t="0" r="r" b="b"/>
                  <a:pathLst>
                    <a:path w="4" h="6">
                      <a:moveTo>
                        <a:pt x="4" y="6"/>
                      </a:moveTo>
                      <a:lnTo>
                        <a:pt x="4" y="6"/>
                      </a:lnTo>
                      <a:lnTo>
                        <a:pt x="4" y="6"/>
                      </a:lnTo>
                      <a:lnTo>
                        <a:pt x="4" y="4"/>
                      </a:lnTo>
                      <a:lnTo>
                        <a:pt x="2" y="2"/>
                      </a:lnTo>
                      <a:lnTo>
                        <a:pt x="2" y="0"/>
                      </a:lnTo>
                      <a:lnTo>
                        <a:pt x="2" y="0"/>
                      </a:lnTo>
                      <a:lnTo>
                        <a:pt x="0" y="2"/>
                      </a:lnTo>
                      <a:lnTo>
                        <a:pt x="0" y="4"/>
                      </a:lnTo>
                      <a:lnTo>
                        <a:pt x="0" y="6"/>
                      </a:lnTo>
                      <a:lnTo>
                        <a:pt x="4" y="6"/>
                      </a:lnTo>
                      <a:lnTo>
                        <a:pt x="4"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8" name="Freeform 6064"/>
                <p:cNvSpPr>
                  <a:spLocks/>
                </p:cNvSpPr>
                <p:nvPr/>
              </p:nvSpPr>
              <p:spPr bwMode="auto">
                <a:xfrm>
                  <a:off x="2823210" y="3530283"/>
                  <a:ext cx="26670" cy="25400"/>
                </a:xfrm>
                <a:custGeom>
                  <a:avLst/>
                  <a:gdLst/>
                  <a:ahLst/>
                  <a:cxnLst>
                    <a:cxn ang="0">
                      <a:pos x="18" y="4"/>
                    </a:cxn>
                    <a:cxn ang="0">
                      <a:pos x="18" y="4"/>
                    </a:cxn>
                    <a:cxn ang="0">
                      <a:pos x="10" y="6"/>
                    </a:cxn>
                    <a:cxn ang="0">
                      <a:pos x="10" y="6"/>
                    </a:cxn>
                    <a:cxn ang="0">
                      <a:pos x="10" y="8"/>
                    </a:cxn>
                    <a:cxn ang="0">
                      <a:pos x="16" y="12"/>
                    </a:cxn>
                    <a:cxn ang="0">
                      <a:pos x="16" y="16"/>
                    </a:cxn>
                    <a:cxn ang="0">
                      <a:pos x="18" y="18"/>
                    </a:cxn>
                    <a:cxn ang="0">
                      <a:pos x="18" y="18"/>
                    </a:cxn>
                    <a:cxn ang="0">
                      <a:pos x="18" y="24"/>
                    </a:cxn>
                    <a:cxn ang="0">
                      <a:pos x="16" y="28"/>
                    </a:cxn>
                    <a:cxn ang="0">
                      <a:pos x="4" y="34"/>
                    </a:cxn>
                    <a:cxn ang="0">
                      <a:pos x="4" y="34"/>
                    </a:cxn>
                    <a:cxn ang="0">
                      <a:pos x="0" y="38"/>
                    </a:cxn>
                    <a:cxn ang="0">
                      <a:pos x="0" y="40"/>
                    </a:cxn>
                    <a:cxn ang="0">
                      <a:pos x="2" y="40"/>
                    </a:cxn>
                    <a:cxn ang="0">
                      <a:pos x="22" y="40"/>
                    </a:cxn>
                    <a:cxn ang="0">
                      <a:pos x="22" y="40"/>
                    </a:cxn>
                    <a:cxn ang="0">
                      <a:pos x="30" y="38"/>
                    </a:cxn>
                    <a:cxn ang="0">
                      <a:pos x="36" y="34"/>
                    </a:cxn>
                    <a:cxn ang="0">
                      <a:pos x="38" y="30"/>
                    </a:cxn>
                    <a:cxn ang="0">
                      <a:pos x="38" y="26"/>
                    </a:cxn>
                    <a:cxn ang="0">
                      <a:pos x="36" y="14"/>
                    </a:cxn>
                    <a:cxn ang="0">
                      <a:pos x="36" y="10"/>
                    </a:cxn>
                    <a:cxn ang="0">
                      <a:pos x="38" y="6"/>
                    </a:cxn>
                    <a:cxn ang="0">
                      <a:pos x="38" y="6"/>
                    </a:cxn>
                    <a:cxn ang="0">
                      <a:pos x="42" y="2"/>
                    </a:cxn>
                    <a:cxn ang="0">
                      <a:pos x="38" y="0"/>
                    </a:cxn>
                    <a:cxn ang="0">
                      <a:pos x="18" y="4"/>
                    </a:cxn>
                    <a:cxn ang="0">
                      <a:pos x="18" y="4"/>
                    </a:cxn>
                  </a:cxnLst>
                  <a:rect l="0" t="0" r="r" b="b"/>
                  <a:pathLst>
                    <a:path w="42" h="40">
                      <a:moveTo>
                        <a:pt x="18" y="4"/>
                      </a:moveTo>
                      <a:lnTo>
                        <a:pt x="18" y="4"/>
                      </a:lnTo>
                      <a:lnTo>
                        <a:pt x="10" y="6"/>
                      </a:lnTo>
                      <a:lnTo>
                        <a:pt x="10" y="6"/>
                      </a:lnTo>
                      <a:lnTo>
                        <a:pt x="10" y="8"/>
                      </a:lnTo>
                      <a:lnTo>
                        <a:pt x="16" y="12"/>
                      </a:lnTo>
                      <a:lnTo>
                        <a:pt x="16" y="16"/>
                      </a:lnTo>
                      <a:lnTo>
                        <a:pt x="18" y="18"/>
                      </a:lnTo>
                      <a:lnTo>
                        <a:pt x="18" y="18"/>
                      </a:lnTo>
                      <a:lnTo>
                        <a:pt x="18" y="24"/>
                      </a:lnTo>
                      <a:lnTo>
                        <a:pt x="16" y="28"/>
                      </a:lnTo>
                      <a:lnTo>
                        <a:pt x="4" y="34"/>
                      </a:lnTo>
                      <a:lnTo>
                        <a:pt x="4" y="34"/>
                      </a:lnTo>
                      <a:lnTo>
                        <a:pt x="0" y="38"/>
                      </a:lnTo>
                      <a:lnTo>
                        <a:pt x="0" y="40"/>
                      </a:lnTo>
                      <a:lnTo>
                        <a:pt x="2" y="40"/>
                      </a:lnTo>
                      <a:lnTo>
                        <a:pt x="22" y="40"/>
                      </a:lnTo>
                      <a:lnTo>
                        <a:pt x="22" y="40"/>
                      </a:lnTo>
                      <a:lnTo>
                        <a:pt x="30" y="38"/>
                      </a:lnTo>
                      <a:lnTo>
                        <a:pt x="36" y="34"/>
                      </a:lnTo>
                      <a:lnTo>
                        <a:pt x="38" y="30"/>
                      </a:lnTo>
                      <a:lnTo>
                        <a:pt x="38" y="26"/>
                      </a:lnTo>
                      <a:lnTo>
                        <a:pt x="36" y="14"/>
                      </a:lnTo>
                      <a:lnTo>
                        <a:pt x="36" y="10"/>
                      </a:lnTo>
                      <a:lnTo>
                        <a:pt x="38" y="6"/>
                      </a:lnTo>
                      <a:lnTo>
                        <a:pt x="38" y="6"/>
                      </a:lnTo>
                      <a:lnTo>
                        <a:pt x="42" y="2"/>
                      </a:lnTo>
                      <a:lnTo>
                        <a:pt x="38" y="0"/>
                      </a:lnTo>
                      <a:lnTo>
                        <a:pt x="18" y="4"/>
                      </a:lnTo>
                      <a:lnTo>
                        <a:pt x="18"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59" name="Freeform 6065"/>
                <p:cNvSpPr>
                  <a:spLocks/>
                </p:cNvSpPr>
                <p:nvPr/>
              </p:nvSpPr>
              <p:spPr bwMode="auto">
                <a:xfrm>
                  <a:off x="2824480" y="3314383"/>
                  <a:ext cx="3810" cy="6350"/>
                </a:xfrm>
                <a:custGeom>
                  <a:avLst/>
                  <a:gdLst/>
                  <a:ahLst/>
                  <a:cxnLst>
                    <a:cxn ang="0">
                      <a:pos x="2" y="10"/>
                    </a:cxn>
                    <a:cxn ang="0">
                      <a:pos x="2" y="10"/>
                    </a:cxn>
                    <a:cxn ang="0">
                      <a:pos x="4" y="10"/>
                    </a:cxn>
                    <a:cxn ang="0">
                      <a:pos x="6" y="6"/>
                    </a:cxn>
                    <a:cxn ang="0">
                      <a:pos x="6" y="4"/>
                    </a:cxn>
                    <a:cxn ang="0">
                      <a:pos x="4" y="0"/>
                    </a:cxn>
                    <a:cxn ang="0">
                      <a:pos x="4" y="0"/>
                    </a:cxn>
                    <a:cxn ang="0">
                      <a:pos x="2" y="0"/>
                    </a:cxn>
                    <a:cxn ang="0">
                      <a:pos x="0" y="4"/>
                    </a:cxn>
                    <a:cxn ang="0">
                      <a:pos x="0" y="6"/>
                    </a:cxn>
                    <a:cxn ang="0">
                      <a:pos x="2" y="10"/>
                    </a:cxn>
                    <a:cxn ang="0">
                      <a:pos x="2" y="10"/>
                    </a:cxn>
                  </a:cxnLst>
                  <a:rect l="0" t="0" r="r" b="b"/>
                  <a:pathLst>
                    <a:path w="6" h="10">
                      <a:moveTo>
                        <a:pt x="2" y="10"/>
                      </a:moveTo>
                      <a:lnTo>
                        <a:pt x="2" y="10"/>
                      </a:lnTo>
                      <a:lnTo>
                        <a:pt x="4" y="10"/>
                      </a:lnTo>
                      <a:lnTo>
                        <a:pt x="6" y="6"/>
                      </a:lnTo>
                      <a:lnTo>
                        <a:pt x="6" y="4"/>
                      </a:lnTo>
                      <a:lnTo>
                        <a:pt x="4" y="0"/>
                      </a:lnTo>
                      <a:lnTo>
                        <a:pt x="4" y="0"/>
                      </a:lnTo>
                      <a:lnTo>
                        <a:pt x="2" y="0"/>
                      </a:lnTo>
                      <a:lnTo>
                        <a:pt x="0" y="4"/>
                      </a:lnTo>
                      <a:lnTo>
                        <a:pt x="0" y="6"/>
                      </a:lnTo>
                      <a:lnTo>
                        <a:pt x="2" y="10"/>
                      </a:lnTo>
                      <a:lnTo>
                        <a:pt x="2" y="1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0" name="Freeform 6066"/>
                <p:cNvSpPr>
                  <a:spLocks/>
                </p:cNvSpPr>
                <p:nvPr/>
              </p:nvSpPr>
              <p:spPr bwMode="auto">
                <a:xfrm>
                  <a:off x="2635250" y="3483293"/>
                  <a:ext cx="11430" cy="11430"/>
                </a:xfrm>
                <a:custGeom>
                  <a:avLst/>
                  <a:gdLst/>
                  <a:ahLst/>
                  <a:cxnLst>
                    <a:cxn ang="0">
                      <a:pos x="2" y="0"/>
                    </a:cxn>
                    <a:cxn ang="0">
                      <a:pos x="2" y="0"/>
                    </a:cxn>
                    <a:cxn ang="0">
                      <a:pos x="0" y="0"/>
                    </a:cxn>
                    <a:cxn ang="0">
                      <a:pos x="0" y="4"/>
                    </a:cxn>
                    <a:cxn ang="0">
                      <a:pos x="4" y="8"/>
                    </a:cxn>
                    <a:cxn ang="0">
                      <a:pos x="10" y="14"/>
                    </a:cxn>
                    <a:cxn ang="0">
                      <a:pos x="10" y="14"/>
                    </a:cxn>
                    <a:cxn ang="0">
                      <a:pos x="16" y="18"/>
                    </a:cxn>
                    <a:cxn ang="0">
                      <a:pos x="18" y="18"/>
                    </a:cxn>
                    <a:cxn ang="0">
                      <a:pos x="18" y="16"/>
                    </a:cxn>
                    <a:cxn ang="0">
                      <a:pos x="16" y="12"/>
                    </a:cxn>
                    <a:cxn ang="0">
                      <a:pos x="12" y="8"/>
                    </a:cxn>
                    <a:cxn ang="0">
                      <a:pos x="12" y="8"/>
                    </a:cxn>
                    <a:cxn ang="0">
                      <a:pos x="8" y="8"/>
                    </a:cxn>
                    <a:cxn ang="0">
                      <a:pos x="8" y="6"/>
                    </a:cxn>
                    <a:cxn ang="0">
                      <a:pos x="6" y="2"/>
                    </a:cxn>
                    <a:cxn ang="0">
                      <a:pos x="2" y="0"/>
                    </a:cxn>
                    <a:cxn ang="0">
                      <a:pos x="2" y="0"/>
                    </a:cxn>
                  </a:cxnLst>
                  <a:rect l="0" t="0" r="r" b="b"/>
                  <a:pathLst>
                    <a:path w="18" h="18">
                      <a:moveTo>
                        <a:pt x="2" y="0"/>
                      </a:moveTo>
                      <a:lnTo>
                        <a:pt x="2" y="0"/>
                      </a:lnTo>
                      <a:lnTo>
                        <a:pt x="0" y="0"/>
                      </a:lnTo>
                      <a:lnTo>
                        <a:pt x="0" y="4"/>
                      </a:lnTo>
                      <a:lnTo>
                        <a:pt x="4" y="8"/>
                      </a:lnTo>
                      <a:lnTo>
                        <a:pt x="10" y="14"/>
                      </a:lnTo>
                      <a:lnTo>
                        <a:pt x="10" y="14"/>
                      </a:lnTo>
                      <a:lnTo>
                        <a:pt x="16" y="18"/>
                      </a:lnTo>
                      <a:lnTo>
                        <a:pt x="18" y="18"/>
                      </a:lnTo>
                      <a:lnTo>
                        <a:pt x="18" y="16"/>
                      </a:lnTo>
                      <a:lnTo>
                        <a:pt x="16" y="12"/>
                      </a:lnTo>
                      <a:lnTo>
                        <a:pt x="12" y="8"/>
                      </a:lnTo>
                      <a:lnTo>
                        <a:pt x="12" y="8"/>
                      </a:lnTo>
                      <a:lnTo>
                        <a:pt x="8" y="8"/>
                      </a:lnTo>
                      <a:lnTo>
                        <a:pt x="8" y="6"/>
                      </a:lnTo>
                      <a:lnTo>
                        <a:pt x="6" y="2"/>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1" name="Freeform 6067"/>
                <p:cNvSpPr>
                  <a:spLocks/>
                </p:cNvSpPr>
                <p:nvPr/>
              </p:nvSpPr>
              <p:spPr bwMode="auto">
                <a:xfrm>
                  <a:off x="2688590" y="3290253"/>
                  <a:ext cx="40640" cy="17780"/>
                </a:xfrm>
                <a:custGeom>
                  <a:avLst/>
                  <a:gdLst/>
                  <a:ahLst/>
                  <a:cxnLst>
                    <a:cxn ang="0">
                      <a:pos x="42" y="2"/>
                    </a:cxn>
                    <a:cxn ang="0">
                      <a:pos x="42" y="2"/>
                    </a:cxn>
                    <a:cxn ang="0">
                      <a:pos x="22" y="0"/>
                    </a:cxn>
                    <a:cxn ang="0">
                      <a:pos x="8" y="0"/>
                    </a:cxn>
                    <a:cxn ang="0">
                      <a:pos x="4" y="2"/>
                    </a:cxn>
                    <a:cxn ang="0">
                      <a:pos x="0" y="6"/>
                    </a:cxn>
                    <a:cxn ang="0">
                      <a:pos x="0" y="12"/>
                    </a:cxn>
                    <a:cxn ang="0">
                      <a:pos x="0" y="18"/>
                    </a:cxn>
                    <a:cxn ang="0">
                      <a:pos x="0" y="18"/>
                    </a:cxn>
                    <a:cxn ang="0">
                      <a:pos x="0" y="24"/>
                    </a:cxn>
                    <a:cxn ang="0">
                      <a:pos x="2" y="28"/>
                    </a:cxn>
                    <a:cxn ang="0">
                      <a:pos x="6" y="28"/>
                    </a:cxn>
                    <a:cxn ang="0">
                      <a:pos x="16" y="28"/>
                    </a:cxn>
                    <a:cxn ang="0">
                      <a:pos x="16" y="28"/>
                    </a:cxn>
                    <a:cxn ang="0">
                      <a:pos x="26" y="26"/>
                    </a:cxn>
                    <a:cxn ang="0">
                      <a:pos x="32" y="28"/>
                    </a:cxn>
                    <a:cxn ang="0">
                      <a:pos x="38" y="28"/>
                    </a:cxn>
                    <a:cxn ang="0">
                      <a:pos x="48" y="26"/>
                    </a:cxn>
                    <a:cxn ang="0">
                      <a:pos x="48" y="26"/>
                    </a:cxn>
                    <a:cxn ang="0">
                      <a:pos x="58" y="20"/>
                    </a:cxn>
                    <a:cxn ang="0">
                      <a:pos x="62" y="16"/>
                    </a:cxn>
                    <a:cxn ang="0">
                      <a:pos x="64" y="14"/>
                    </a:cxn>
                    <a:cxn ang="0">
                      <a:pos x="62" y="10"/>
                    </a:cxn>
                    <a:cxn ang="0">
                      <a:pos x="58" y="6"/>
                    </a:cxn>
                    <a:cxn ang="0">
                      <a:pos x="52" y="4"/>
                    </a:cxn>
                    <a:cxn ang="0">
                      <a:pos x="42" y="2"/>
                    </a:cxn>
                    <a:cxn ang="0">
                      <a:pos x="42" y="2"/>
                    </a:cxn>
                  </a:cxnLst>
                  <a:rect l="0" t="0" r="r" b="b"/>
                  <a:pathLst>
                    <a:path w="64" h="28">
                      <a:moveTo>
                        <a:pt x="42" y="2"/>
                      </a:moveTo>
                      <a:lnTo>
                        <a:pt x="42" y="2"/>
                      </a:lnTo>
                      <a:lnTo>
                        <a:pt x="22" y="0"/>
                      </a:lnTo>
                      <a:lnTo>
                        <a:pt x="8" y="0"/>
                      </a:lnTo>
                      <a:lnTo>
                        <a:pt x="4" y="2"/>
                      </a:lnTo>
                      <a:lnTo>
                        <a:pt x="0" y="6"/>
                      </a:lnTo>
                      <a:lnTo>
                        <a:pt x="0" y="12"/>
                      </a:lnTo>
                      <a:lnTo>
                        <a:pt x="0" y="18"/>
                      </a:lnTo>
                      <a:lnTo>
                        <a:pt x="0" y="18"/>
                      </a:lnTo>
                      <a:lnTo>
                        <a:pt x="0" y="24"/>
                      </a:lnTo>
                      <a:lnTo>
                        <a:pt x="2" y="28"/>
                      </a:lnTo>
                      <a:lnTo>
                        <a:pt x="6" y="28"/>
                      </a:lnTo>
                      <a:lnTo>
                        <a:pt x="16" y="28"/>
                      </a:lnTo>
                      <a:lnTo>
                        <a:pt x="16" y="28"/>
                      </a:lnTo>
                      <a:lnTo>
                        <a:pt x="26" y="26"/>
                      </a:lnTo>
                      <a:lnTo>
                        <a:pt x="32" y="28"/>
                      </a:lnTo>
                      <a:lnTo>
                        <a:pt x="38" y="28"/>
                      </a:lnTo>
                      <a:lnTo>
                        <a:pt x="48" y="26"/>
                      </a:lnTo>
                      <a:lnTo>
                        <a:pt x="48" y="26"/>
                      </a:lnTo>
                      <a:lnTo>
                        <a:pt x="58" y="20"/>
                      </a:lnTo>
                      <a:lnTo>
                        <a:pt x="62" y="16"/>
                      </a:lnTo>
                      <a:lnTo>
                        <a:pt x="64" y="14"/>
                      </a:lnTo>
                      <a:lnTo>
                        <a:pt x="62" y="10"/>
                      </a:lnTo>
                      <a:lnTo>
                        <a:pt x="58" y="6"/>
                      </a:lnTo>
                      <a:lnTo>
                        <a:pt x="52" y="4"/>
                      </a:lnTo>
                      <a:lnTo>
                        <a:pt x="42" y="2"/>
                      </a:lnTo>
                      <a:lnTo>
                        <a:pt x="42"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2" name="Freeform 6068"/>
                <p:cNvSpPr>
                  <a:spLocks/>
                </p:cNvSpPr>
                <p:nvPr/>
              </p:nvSpPr>
              <p:spPr bwMode="auto">
                <a:xfrm>
                  <a:off x="2500630" y="3244533"/>
                  <a:ext cx="157480" cy="69850"/>
                </a:xfrm>
                <a:custGeom>
                  <a:avLst/>
                  <a:gdLst/>
                  <a:ahLst/>
                  <a:cxnLst>
                    <a:cxn ang="0">
                      <a:pos x="234" y="50"/>
                    </a:cxn>
                    <a:cxn ang="0">
                      <a:pos x="222" y="46"/>
                    </a:cxn>
                    <a:cxn ang="0">
                      <a:pos x="204" y="42"/>
                    </a:cxn>
                    <a:cxn ang="0">
                      <a:pos x="210" y="38"/>
                    </a:cxn>
                    <a:cxn ang="0">
                      <a:pos x="218" y="34"/>
                    </a:cxn>
                    <a:cxn ang="0">
                      <a:pos x="200" y="32"/>
                    </a:cxn>
                    <a:cxn ang="0">
                      <a:pos x="190" y="30"/>
                    </a:cxn>
                    <a:cxn ang="0">
                      <a:pos x="184" y="16"/>
                    </a:cxn>
                    <a:cxn ang="0">
                      <a:pos x="178" y="14"/>
                    </a:cxn>
                    <a:cxn ang="0">
                      <a:pos x="158" y="8"/>
                    </a:cxn>
                    <a:cxn ang="0">
                      <a:pos x="138" y="2"/>
                    </a:cxn>
                    <a:cxn ang="0">
                      <a:pos x="132" y="4"/>
                    </a:cxn>
                    <a:cxn ang="0">
                      <a:pos x="114" y="6"/>
                    </a:cxn>
                    <a:cxn ang="0">
                      <a:pos x="104" y="10"/>
                    </a:cxn>
                    <a:cxn ang="0">
                      <a:pos x="84" y="6"/>
                    </a:cxn>
                    <a:cxn ang="0">
                      <a:pos x="60" y="0"/>
                    </a:cxn>
                    <a:cxn ang="0">
                      <a:pos x="42" y="8"/>
                    </a:cxn>
                    <a:cxn ang="0">
                      <a:pos x="46" y="16"/>
                    </a:cxn>
                    <a:cxn ang="0">
                      <a:pos x="68" y="20"/>
                    </a:cxn>
                    <a:cxn ang="0">
                      <a:pos x="72" y="34"/>
                    </a:cxn>
                    <a:cxn ang="0">
                      <a:pos x="74" y="50"/>
                    </a:cxn>
                    <a:cxn ang="0">
                      <a:pos x="90" y="66"/>
                    </a:cxn>
                    <a:cxn ang="0">
                      <a:pos x="82" y="70"/>
                    </a:cxn>
                    <a:cxn ang="0">
                      <a:pos x="68" y="74"/>
                    </a:cxn>
                    <a:cxn ang="0">
                      <a:pos x="24" y="66"/>
                    </a:cxn>
                    <a:cxn ang="0">
                      <a:pos x="4" y="68"/>
                    </a:cxn>
                    <a:cxn ang="0">
                      <a:pos x="0" y="76"/>
                    </a:cxn>
                    <a:cxn ang="0">
                      <a:pos x="4" y="82"/>
                    </a:cxn>
                    <a:cxn ang="0">
                      <a:pos x="24" y="92"/>
                    </a:cxn>
                    <a:cxn ang="0">
                      <a:pos x="30" y="96"/>
                    </a:cxn>
                    <a:cxn ang="0">
                      <a:pos x="38" y="86"/>
                    </a:cxn>
                    <a:cxn ang="0">
                      <a:pos x="58" y="90"/>
                    </a:cxn>
                    <a:cxn ang="0">
                      <a:pos x="82" y="90"/>
                    </a:cxn>
                    <a:cxn ang="0">
                      <a:pos x="102" y="90"/>
                    </a:cxn>
                    <a:cxn ang="0">
                      <a:pos x="116" y="102"/>
                    </a:cxn>
                    <a:cxn ang="0">
                      <a:pos x="126" y="110"/>
                    </a:cxn>
                    <a:cxn ang="0">
                      <a:pos x="138" y="96"/>
                    </a:cxn>
                    <a:cxn ang="0">
                      <a:pos x="150" y="78"/>
                    </a:cxn>
                    <a:cxn ang="0">
                      <a:pos x="158" y="80"/>
                    </a:cxn>
                    <a:cxn ang="0">
                      <a:pos x="166" y="88"/>
                    </a:cxn>
                    <a:cxn ang="0">
                      <a:pos x="180" y="80"/>
                    </a:cxn>
                    <a:cxn ang="0">
                      <a:pos x="208" y="74"/>
                    </a:cxn>
                    <a:cxn ang="0">
                      <a:pos x="230" y="82"/>
                    </a:cxn>
                    <a:cxn ang="0">
                      <a:pos x="242" y="82"/>
                    </a:cxn>
                    <a:cxn ang="0">
                      <a:pos x="248" y="70"/>
                    </a:cxn>
                    <a:cxn ang="0">
                      <a:pos x="244" y="62"/>
                    </a:cxn>
                  </a:cxnLst>
                  <a:rect l="0" t="0" r="r" b="b"/>
                  <a:pathLst>
                    <a:path w="248" h="110">
                      <a:moveTo>
                        <a:pt x="244" y="62"/>
                      </a:moveTo>
                      <a:lnTo>
                        <a:pt x="244" y="62"/>
                      </a:lnTo>
                      <a:lnTo>
                        <a:pt x="234" y="50"/>
                      </a:lnTo>
                      <a:lnTo>
                        <a:pt x="230" y="46"/>
                      </a:lnTo>
                      <a:lnTo>
                        <a:pt x="222" y="46"/>
                      </a:lnTo>
                      <a:lnTo>
                        <a:pt x="222" y="46"/>
                      </a:lnTo>
                      <a:lnTo>
                        <a:pt x="212" y="46"/>
                      </a:lnTo>
                      <a:lnTo>
                        <a:pt x="206" y="44"/>
                      </a:lnTo>
                      <a:lnTo>
                        <a:pt x="204" y="42"/>
                      </a:lnTo>
                      <a:lnTo>
                        <a:pt x="204" y="40"/>
                      </a:lnTo>
                      <a:lnTo>
                        <a:pt x="206" y="40"/>
                      </a:lnTo>
                      <a:lnTo>
                        <a:pt x="210" y="38"/>
                      </a:lnTo>
                      <a:lnTo>
                        <a:pt x="210" y="38"/>
                      </a:lnTo>
                      <a:lnTo>
                        <a:pt x="216" y="36"/>
                      </a:lnTo>
                      <a:lnTo>
                        <a:pt x="218" y="34"/>
                      </a:lnTo>
                      <a:lnTo>
                        <a:pt x="218" y="32"/>
                      </a:lnTo>
                      <a:lnTo>
                        <a:pt x="212" y="30"/>
                      </a:lnTo>
                      <a:lnTo>
                        <a:pt x="200" y="32"/>
                      </a:lnTo>
                      <a:lnTo>
                        <a:pt x="200" y="32"/>
                      </a:lnTo>
                      <a:lnTo>
                        <a:pt x="194" y="32"/>
                      </a:lnTo>
                      <a:lnTo>
                        <a:pt x="190" y="30"/>
                      </a:lnTo>
                      <a:lnTo>
                        <a:pt x="188" y="28"/>
                      </a:lnTo>
                      <a:lnTo>
                        <a:pt x="186" y="24"/>
                      </a:lnTo>
                      <a:lnTo>
                        <a:pt x="184" y="16"/>
                      </a:lnTo>
                      <a:lnTo>
                        <a:pt x="182" y="14"/>
                      </a:lnTo>
                      <a:lnTo>
                        <a:pt x="178" y="14"/>
                      </a:lnTo>
                      <a:lnTo>
                        <a:pt x="178" y="14"/>
                      </a:lnTo>
                      <a:lnTo>
                        <a:pt x="174" y="16"/>
                      </a:lnTo>
                      <a:lnTo>
                        <a:pt x="168" y="14"/>
                      </a:lnTo>
                      <a:lnTo>
                        <a:pt x="158" y="8"/>
                      </a:lnTo>
                      <a:lnTo>
                        <a:pt x="148" y="2"/>
                      </a:lnTo>
                      <a:lnTo>
                        <a:pt x="142" y="2"/>
                      </a:lnTo>
                      <a:lnTo>
                        <a:pt x="138" y="2"/>
                      </a:lnTo>
                      <a:lnTo>
                        <a:pt x="138" y="2"/>
                      </a:lnTo>
                      <a:lnTo>
                        <a:pt x="134" y="4"/>
                      </a:lnTo>
                      <a:lnTo>
                        <a:pt x="132" y="4"/>
                      </a:lnTo>
                      <a:lnTo>
                        <a:pt x="124" y="4"/>
                      </a:lnTo>
                      <a:lnTo>
                        <a:pt x="118" y="4"/>
                      </a:lnTo>
                      <a:lnTo>
                        <a:pt x="114" y="6"/>
                      </a:lnTo>
                      <a:lnTo>
                        <a:pt x="112" y="10"/>
                      </a:lnTo>
                      <a:lnTo>
                        <a:pt x="112" y="10"/>
                      </a:lnTo>
                      <a:lnTo>
                        <a:pt x="104" y="10"/>
                      </a:lnTo>
                      <a:lnTo>
                        <a:pt x="98" y="10"/>
                      </a:lnTo>
                      <a:lnTo>
                        <a:pt x="92" y="10"/>
                      </a:lnTo>
                      <a:lnTo>
                        <a:pt x="84" y="6"/>
                      </a:lnTo>
                      <a:lnTo>
                        <a:pt x="84" y="6"/>
                      </a:lnTo>
                      <a:lnTo>
                        <a:pt x="74" y="2"/>
                      </a:lnTo>
                      <a:lnTo>
                        <a:pt x="60" y="0"/>
                      </a:lnTo>
                      <a:lnTo>
                        <a:pt x="48" y="2"/>
                      </a:lnTo>
                      <a:lnTo>
                        <a:pt x="44" y="4"/>
                      </a:lnTo>
                      <a:lnTo>
                        <a:pt x="42" y="8"/>
                      </a:lnTo>
                      <a:lnTo>
                        <a:pt x="42" y="8"/>
                      </a:lnTo>
                      <a:lnTo>
                        <a:pt x="42" y="14"/>
                      </a:lnTo>
                      <a:lnTo>
                        <a:pt x="46" y="16"/>
                      </a:lnTo>
                      <a:lnTo>
                        <a:pt x="56" y="18"/>
                      </a:lnTo>
                      <a:lnTo>
                        <a:pt x="68" y="20"/>
                      </a:lnTo>
                      <a:lnTo>
                        <a:pt x="68" y="20"/>
                      </a:lnTo>
                      <a:lnTo>
                        <a:pt x="72" y="24"/>
                      </a:lnTo>
                      <a:lnTo>
                        <a:pt x="74" y="26"/>
                      </a:lnTo>
                      <a:lnTo>
                        <a:pt x="72" y="34"/>
                      </a:lnTo>
                      <a:lnTo>
                        <a:pt x="70" y="38"/>
                      </a:lnTo>
                      <a:lnTo>
                        <a:pt x="70" y="42"/>
                      </a:lnTo>
                      <a:lnTo>
                        <a:pt x="74" y="50"/>
                      </a:lnTo>
                      <a:lnTo>
                        <a:pt x="82" y="58"/>
                      </a:lnTo>
                      <a:lnTo>
                        <a:pt x="82" y="58"/>
                      </a:lnTo>
                      <a:lnTo>
                        <a:pt x="90" y="66"/>
                      </a:lnTo>
                      <a:lnTo>
                        <a:pt x="90" y="68"/>
                      </a:lnTo>
                      <a:lnTo>
                        <a:pt x="88" y="68"/>
                      </a:lnTo>
                      <a:lnTo>
                        <a:pt x="82" y="70"/>
                      </a:lnTo>
                      <a:lnTo>
                        <a:pt x="76" y="70"/>
                      </a:lnTo>
                      <a:lnTo>
                        <a:pt x="76" y="70"/>
                      </a:lnTo>
                      <a:lnTo>
                        <a:pt x="68" y="74"/>
                      </a:lnTo>
                      <a:lnTo>
                        <a:pt x="56" y="72"/>
                      </a:lnTo>
                      <a:lnTo>
                        <a:pt x="34" y="68"/>
                      </a:lnTo>
                      <a:lnTo>
                        <a:pt x="24" y="66"/>
                      </a:lnTo>
                      <a:lnTo>
                        <a:pt x="14" y="64"/>
                      </a:lnTo>
                      <a:lnTo>
                        <a:pt x="6" y="66"/>
                      </a:lnTo>
                      <a:lnTo>
                        <a:pt x="4" y="68"/>
                      </a:lnTo>
                      <a:lnTo>
                        <a:pt x="2" y="70"/>
                      </a:lnTo>
                      <a:lnTo>
                        <a:pt x="2" y="70"/>
                      </a:lnTo>
                      <a:lnTo>
                        <a:pt x="0" y="76"/>
                      </a:lnTo>
                      <a:lnTo>
                        <a:pt x="0" y="78"/>
                      </a:lnTo>
                      <a:lnTo>
                        <a:pt x="2" y="80"/>
                      </a:lnTo>
                      <a:lnTo>
                        <a:pt x="4" y="82"/>
                      </a:lnTo>
                      <a:lnTo>
                        <a:pt x="14" y="84"/>
                      </a:lnTo>
                      <a:lnTo>
                        <a:pt x="18" y="88"/>
                      </a:lnTo>
                      <a:lnTo>
                        <a:pt x="24" y="92"/>
                      </a:lnTo>
                      <a:lnTo>
                        <a:pt x="24" y="92"/>
                      </a:lnTo>
                      <a:lnTo>
                        <a:pt x="28" y="96"/>
                      </a:lnTo>
                      <a:lnTo>
                        <a:pt x="30" y="96"/>
                      </a:lnTo>
                      <a:lnTo>
                        <a:pt x="32" y="90"/>
                      </a:lnTo>
                      <a:lnTo>
                        <a:pt x="34" y="88"/>
                      </a:lnTo>
                      <a:lnTo>
                        <a:pt x="38" y="86"/>
                      </a:lnTo>
                      <a:lnTo>
                        <a:pt x="46" y="86"/>
                      </a:lnTo>
                      <a:lnTo>
                        <a:pt x="58" y="90"/>
                      </a:lnTo>
                      <a:lnTo>
                        <a:pt x="58" y="90"/>
                      </a:lnTo>
                      <a:lnTo>
                        <a:pt x="66" y="92"/>
                      </a:lnTo>
                      <a:lnTo>
                        <a:pt x="72" y="92"/>
                      </a:lnTo>
                      <a:lnTo>
                        <a:pt x="82" y="90"/>
                      </a:lnTo>
                      <a:lnTo>
                        <a:pt x="88" y="88"/>
                      </a:lnTo>
                      <a:lnTo>
                        <a:pt x="94" y="88"/>
                      </a:lnTo>
                      <a:lnTo>
                        <a:pt x="102" y="90"/>
                      </a:lnTo>
                      <a:lnTo>
                        <a:pt x="112" y="94"/>
                      </a:lnTo>
                      <a:lnTo>
                        <a:pt x="112" y="94"/>
                      </a:lnTo>
                      <a:lnTo>
                        <a:pt x="116" y="102"/>
                      </a:lnTo>
                      <a:lnTo>
                        <a:pt x="120" y="108"/>
                      </a:lnTo>
                      <a:lnTo>
                        <a:pt x="124" y="110"/>
                      </a:lnTo>
                      <a:lnTo>
                        <a:pt x="126" y="110"/>
                      </a:lnTo>
                      <a:lnTo>
                        <a:pt x="130" y="108"/>
                      </a:lnTo>
                      <a:lnTo>
                        <a:pt x="132" y="106"/>
                      </a:lnTo>
                      <a:lnTo>
                        <a:pt x="138" y="96"/>
                      </a:lnTo>
                      <a:lnTo>
                        <a:pt x="138" y="96"/>
                      </a:lnTo>
                      <a:lnTo>
                        <a:pt x="144" y="86"/>
                      </a:lnTo>
                      <a:lnTo>
                        <a:pt x="150" y="78"/>
                      </a:lnTo>
                      <a:lnTo>
                        <a:pt x="156" y="76"/>
                      </a:lnTo>
                      <a:lnTo>
                        <a:pt x="158" y="78"/>
                      </a:lnTo>
                      <a:lnTo>
                        <a:pt x="158" y="80"/>
                      </a:lnTo>
                      <a:lnTo>
                        <a:pt x="158" y="80"/>
                      </a:lnTo>
                      <a:lnTo>
                        <a:pt x="162" y="86"/>
                      </a:lnTo>
                      <a:lnTo>
                        <a:pt x="166" y="88"/>
                      </a:lnTo>
                      <a:lnTo>
                        <a:pt x="172" y="86"/>
                      </a:lnTo>
                      <a:lnTo>
                        <a:pt x="180" y="80"/>
                      </a:lnTo>
                      <a:lnTo>
                        <a:pt x="180" y="80"/>
                      </a:lnTo>
                      <a:lnTo>
                        <a:pt x="186" y="76"/>
                      </a:lnTo>
                      <a:lnTo>
                        <a:pt x="192" y="74"/>
                      </a:lnTo>
                      <a:lnTo>
                        <a:pt x="208" y="74"/>
                      </a:lnTo>
                      <a:lnTo>
                        <a:pt x="222" y="76"/>
                      </a:lnTo>
                      <a:lnTo>
                        <a:pt x="230" y="82"/>
                      </a:lnTo>
                      <a:lnTo>
                        <a:pt x="230" y="82"/>
                      </a:lnTo>
                      <a:lnTo>
                        <a:pt x="234" y="84"/>
                      </a:lnTo>
                      <a:lnTo>
                        <a:pt x="238" y="84"/>
                      </a:lnTo>
                      <a:lnTo>
                        <a:pt x="242" y="82"/>
                      </a:lnTo>
                      <a:lnTo>
                        <a:pt x="246" y="78"/>
                      </a:lnTo>
                      <a:lnTo>
                        <a:pt x="248" y="74"/>
                      </a:lnTo>
                      <a:lnTo>
                        <a:pt x="248" y="70"/>
                      </a:lnTo>
                      <a:lnTo>
                        <a:pt x="248" y="66"/>
                      </a:lnTo>
                      <a:lnTo>
                        <a:pt x="244" y="62"/>
                      </a:lnTo>
                      <a:lnTo>
                        <a:pt x="244" y="6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3" name="Freeform 6069"/>
                <p:cNvSpPr>
                  <a:spLocks/>
                </p:cNvSpPr>
                <p:nvPr/>
              </p:nvSpPr>
              <p:spPr bwMode="auto">
                <a:xfrm>
                  <a:off x="2730500" y="3300413"/>
                  <a:ext cx="6350" cy="3810"/>
                </a:xfrm>
                <a:custGeom>
                  <a:avLst/>
                  <a:gdLst/>
                  <a:ahLst/>
                  <a:cxnLst>
                    <a:cxn ang="0">
                      <a:pos x="0" y="4"/>
                    </a:cxn>
                    <a:cxn ang="0">
                      <a:pos x="0" y="4"/>
                    </a:cxn>
                    <a:cxn ang="0">
                      <a:pos x="2" y="6"/>
                    </a:cxn>
                    <a:cxn ang="0">
                      <a:pos x="6" y="4"/>
                    </a:cxn>
                    <a:cxn ang="0">
                      <a:pos x="8" y="4"/>
                    </a:cxn>
                    <a:cxn ang="0">
                      <a:pos x="10" y="2"/>
                    </a:cxn>
                    <a:cxn ang="0">
                      <a:pos x="10" y="2"/>
                    </a:cxn>
                    <a:cxn ang="0">
                      <a:pos x="8" y="0"/>
                    </a:cxn>
                    <a:cxn ang="0">
                      <a:pos x="4" y="0"/>
                    </a:cxn>
                    <a:cxn ang="0">
                      <a:pos x="0" y="2"/>
                    </a:cxn>
                    <a:cxn ang="0">
                      <a:pos x="0" y="4"/>
                    </a:cxn>
                    <a:cxn ang="0">
                      <a:pos x="0" y="4"/>
                    </a:cxn>
                  </a:cxnLst>
                  <a:rect l="0" t="0" r="r" b="b"/>
                  <a:pathLst>
                    <a:path w="10" h="6">
                      <a:moveTo>
                        <a:pt x="0" y="4"/>
                      </a:moveTo>
                      <a:lnTo>
                        <a:pt x="0" y="4"/>
                      </a:lnTo>
                      <a:lnTo>
                        <a:pt x="2" y="6"/>
                      </a:lnTo>
                      <a:lnTo>
                        <a:pt x="6" y="4"/>
                      </a:lnTo>
                      <a:lnTo>
                        <a:pt x="8" y="4"/>
                      </a:lnTo>
                      <a:lnTo>
                        <a:pt x="10" y="2"/>
                      </a:lnTo>
                      <a:lnTo>
                        <a:pt x="10" y="2"/>
                      </a:lnTo>
                      <a:lnTo>
                        <a:pt x="8" y="0"/>
                      </a:lnTo>
                      <a:lnTo>
                        <a:pt x="4" y="0"/>
                      </a:lnTo>
                      <a:lnTo>
                        <a:pt x="0" y="2"/>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4" name="Freeform 6070"/>
                <p:cNvSpPr>
                  <a:spLocks/>
                </p:cNvSpPr>
                <p:nvPr/>
              </p:nvSpPr>
              <p:spPr bwMode="auto">
                <a:xfrm>
                  <a:off x="2747010" y="3313113"/>
                  <a:ext cx="7620" cy="3810"/>
                </a:xfrm>
                <a:custGeom>
                  <a:avLst/>
                  <a:gdLst/>
                  <a:ahLst/>
                  <a:cxnLst>
                    <a:cxn ang="0">
                      <a:pos x="0" y="4"/>
                    </a:cxn>
                    <a:cxn ang="0">
                      <a:pos x="0" y="4"/>
                    </a:cxn>
                    <a:cxn ang="0">
                      <a:pos x="0" y="4"/>
                    </a:cxn>
                    <a:cxn ang="0">
                      <a:pos x="2" y="6"/>
                    </a:cxn>
                    <a:cxn ang="0">
                      <a:pos x="6" y="4"/>
                    </a:cxn>
                    <a:cxn ang="0">
                      <a:pos x="10" y="2"/>
                    </a:cxn>
                    <a:cxn ang="0">
                      <a:pos x="12" y="0"/>
                    </a:cxn>
                    <a:cxn ang="0">
                      <a:pos x="10" y="0"/>
                    </a:cxn>
                    <a:cxn ang="0">
                      <a:pos x="10" y="0"/>
                    </a:cxn>
                    <a:cxn ang="0">
                      <a:pos x="4" y="0"/>
                    </a:cxn>
                    <a:cxn ang="0">
                      <a:pos x="0" y="0"/>
                    </a:cxn>
                    <a:cxn ang="0">
                      <a:pos x="0" y="4"/>
                    </a:cxn>
                    <a:cxn ang="0">
                      <a:pos x="0" y="4"/>
                    </a:cxn>
                  </a:cxnLst>
                  <a:rect l="0" t="0" r="r" b="b"/>
                  <a:pathLst>
                    <a:path w="12" h="6">
                      <a:moveTo>
                        <a:pt x="0" y="4"/>
                      </a:moveTo>
                      <a:lnTo>
                        <a:pt x="0" y="4"/>
                      </a:lnTo>
                      <a:lnTo>
                        <a:pt x="0" y="4"/>
                      </a:lnTo>
                      <a:lnTo>
                        <a:pt x="2" y="6"/>
                      </a:lnTo>
                      <a:lnTo>
                        <a:pt x="6" y="4"/>
                      </a:lnTo>
                      <a:lnTo>
                        <a:pt x="10" y="2"/>
                      </a:lnTo>
                      <a:lnTo>
                        <a:pt x="12" y="0"/>
                      </a:lnTo>
                      <a:lnTo>
                        <a:pt x="10" y="0"/>
                      </a:lnTo>
                      <a:lnTo>
                        <a:pt x="10" y="0"/>
                      </a:lnTo>
                      <a:lnTo>
                        <a:pt x="4" y="0"/>
                      </a:lnTo>
                      <a:lnTo>
                        <a:pt x="0" y="0"/>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5" name="Freeform 6071"/>
                <p:cNvSpPr>
                  <a:spLocks/>
                </p:cNvSpPr>
                <p:nvPr/>
              </p:nvSpPr>
              <p:spPr bwMode="auto">
                <a:xfrm>
                  <a:off x="2401570" y="3290253"/>
                  <a:ext cx="55880" cy="24130"/>
                </a:xfrm>
                <a:custGeom>
                  <a:avLst/>
                  <a:gdLst/>
                  <a:ahLst/>
                  <a:cxnLst>
                    <a:cxn ang="0">
                      <a:pos x="50" y="4"/>
                    </a:cxn>
                    <a:cxn ang="0">
                      <a:pos x="50" y="4"/>
                    </a:cxn>
                    <a:cxn ang="0">
                      <a:pos x="32" y="0"/>
                    </a:cxn>
                    <a:cxn ang="0">
                      <a:pos x="20" y="0"/>
                    </a:cxn>
                    <a:cxn ang="0">
                      <a:pos x="10" y="2"/>
                    </a:cxn>
                    <a:cxn ang="0">
                      <a:pos x="4" y="10"/>
                    </a:cxn>
                    <a:cxn ang="0">
                      <a:pos x="4" y="10"/>
                    </a:cxn>
                    <a:cxn ang="0">
                      <a:pos x="2" y="12"/>
                    </a:cxn>
                    <a:cxn ang="0">
                      <a:pos x="0" y="14"/>
                    </a:cxn>
                    <a:cxn ang="0">
                      <a:pos x="12" y="18"/>
                    </a:cxn>
                    <a:cxn ang="0">
                      <a:pos x="12" y="18"/>
                    </a:cxn>
                    <a:cxn ang="0">
                      <a:pos x="18" y="22"/>
                    </a:cxn>
                    <a:cxn ang="0">
                      <a:pos x="20" y="26"/>
                    </a:cxn>
                    <a:cxn ang="0">
                      <a:pos x="24" y="32"/>
                    </a:cxn>
                    <a:cxn ang="0">
                      <a:pos x="38" y="36"/>
                    </a:cxn>
                    <a:cxn ang="0">
                      <a:pos x="38" y="36"/>
                    </a:cxn>
                    <a:cxn ang="0">
                      <a:pos x="50" y="38"/>
                    </a:cxn>
                    <a:cxn ang="0">
                      <a:pos x="52" y="38"/>
                    </a:cxn>
                    <a:cxn ang="0">
                      <a:pos x="54" y="36"/>
                    </a:cxn>
                    <a:cxn ang="0">
                      <a:pos x="56" y="32"/>
                    </a:cxn>
                    <a:cxn ang="0">
                      <a:pos x="58" y="30"/>
                    </a:cxn>
                    <a:cxn ang="0">
                      <a:pos x="62" y="30"/>
                    </a:cxn>
                    <a:cxn ang="0">
                      <a:pos x="62" y="30"/>
                    </a:cxn>
                    <a:cxn ang="0">
                      <a:pos x="72" y="30"/>
                    </a:cxn>
                    <a:cxn ang="0">
                      <a:pos x="82" y="32"/>
                    </a:cxn>
                    <a:cxn ang="0">
                      <a:pos x="86" y="32"/>
                    </a:cxn>
                    <a:cxn ang="0">
                      <a:pos x="88" y="30"/>
                    </a:cxn>
                    <a:cxn ang="0">
                      <a:pos x="88" y="28"/>
                    </a:cxn>
                    <a:cxn ang="0">
                      <a:pos x="88" y="28"/>
                    </a:cxn>
                    <a:cxn ang="0">
                      <a:pos x="84" y="20"/>
                    </a:cxn>
                    <a:cxn ang="0">
                      <a:pos x="76" y="14"/>
                    </a:cxn>
                    <a:cxn ang="0">
                      <a:pos x="66" y="8"/>
                    </a:cxn>
                    <a:cxn ang="0">
                      <a:pos x="50" y="4"/>
                    </a:cxn>
                    <a:cxn ang="0">
                      <a:pos x="50" y="4"/>
                    </a:cxn>
                  </a:cxnLst>
                  <a:rect l="0" t="0" r="r" b="b"/>
                  <a:pathLst>
                    <a:path w="88" h="38">
                      <a:moveTo>
                        <a:pt x="50" y="4"/>
                      </a:moveTo>
                      <a:lnTo>
                        <a:pt x="50" y="4"/>
                      </a:lnTo>
                      <a:lnTo>
                        <a:pt x="32" y="0"/>
                      </a:lnTo>
                      <a:lnTo>
                        <a:pt x="20" y="0"/>
                      </a:lnTo>
                      <a:lnTo>
                        <a:pt x="10" y="2"/>
                      </a:lnTo>
                      <a:lnTo>
                        <a:pt x="4" y="10"/>
                      </a:lnTo>
                      <a:lnTo>
                        <a:pt x="4" y="10"/>
                      </a:lnTo>
                      <a:lnTo>
                        <a:pt x="2" y="12"/>
                      </a:lnTo>
                      <a:lnTo>
                        <a:pt x="0" y="14"/>
                      </a:lnTo>
                      <a:lnTo>
                        <a:pt x="12" y="18"/>
                      </a:lnTo>
                      <a:lnTo>
                        <a:pt x="12" y="18"/>
                      </a:lnTo>
                      <a:lnTo>
                        <a:pt x="18" y="22"/>
                      </a:lnTo>
                      <a:lnTo>
                        <a:pt x="20" y="26"/>
                      </a:lnTo>
                      <a:lnTo>
                        <a:pt x="24" y="32"/>
                      </a:lnTo>
                      <a:lnTo>
                        <a:pt x="38" y="36"/>
                      </a:lnTo>
                      <a:lnTo>
                        <a:pt x="38" y="36"/>
                      </a:lnTo>
                      <a:lnTo>
                        <a:pt x="50" y="38"/>
                      </a:lnTo>
                      <a:lnTo>
                        <a:pt x="52" y="38"/>
                      </a:lnTo>
                      <a:lnTo>
                        <a:pt x="54" y="36"/>
                      </a:lnTo>
                      <a:lnTo>
                        <a:pt x="56" y="32"/>
                      </a:lnTo>
                      <a:lnTo>
                        <a:pt x="58" y="30"/>
                      </a:lnTo>
                      <a:lnTo>
                        <a:pt x="62" y="30"/>
                      </a:lnTo>
                      <a:lnTo>
                        <a:pt x="62" y="30"/>
                      </a:lnTo>
                      <a:lnTo>
                        <a:pt x="72" y="30"/>
                      </a:lnTo>
                      <a:lnTo>
                        <a:pt x="82" y="32"/>
                      </a:lnTo>
                      <a:lnTo>
                        <a:pt x="86" y="32"/>
                      </a:lnTo>
                      <a:lnTo>
                        <a:pt x="88" y="30"/>
                      </a:lnTo>
                      <a:lnTo>
                        <a:pt x="88" y="28"/>
                      </a:lnTo>
                      <a:lnTo>
                        <a:pt x="88" y="28"/>
                      </a:lnTo>
                      <a:lnTo>
                        <a:pt x="84" y="20"/>
                      </a:lnTo>
                      <a:lnTo>
                        <a:pt x="76" y="14"/>
                      </a:lnTo>
                      <a:lnTo>
                        <a:pt x="66" y="8"/>
                      </a:lnTo>
                      <a:lnTo>
                        <a:pt x="50" y="4"/>
                      </a:lnTo>
                      <a:lnTo>
                        <a:pt x="5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6" name="Freeform 6072"/>
                <p:cNvSpPr>
                  <a:spLocks/>
                </p:cNvSpPr>
                <p:nvPr/>
              </p:nvSpPr>
              <p:spPr bwMode="auto">
                <a:xfrm>
                  <a:off x="2849880" y="3513773"/>
                  <a:ext cx="8890" cy="7620"/>
                </a:xfrm>
                <a:custGeom>
                  <a:avLst/>
                  <a:gdLst/>
                  <a:ahLst/>
                  <a:cxnLst>
                    <a:cxn ang="0">
                      <a:pos x="14" y="2"/>
                    </a:cxn>
                    <a:cxn ang="0">
                      <a:pos x="14" y="2"/>
                    </a:cxn>
                    <a:cxn ang="0">
                      <a:pos x="14" y="2"/>
                    </a:cxn>
                    <a:cxn ang="0">
                      <a:pos x="14" y="0"/>
                    </a:cxn>
                    <a:cxn ang="0">
                      <a:pos x="8" y="2"/>
                    </a:cxn>
                    <a:cxn ang="0">
                      <a:pos x="4" y="4"/>
                    </a:cxn>
                    <a:cxn ang="0">
                      <a:pos x="0" y="10"/>
                    </a:cxn>
                    <a:cxn ang="0">
                      <a:pos x="0" y="10"/>
                    </a:cxn>
                    <a:cxn ang="0">
                      <a:pos x="2" y="12"/>
                    </a:cxn>
                    <a:cxn ang="0">
                      <a:pos x="2" y="12"/>
                    </a:cxn>
                    <a:cxn ang="0">
                      <a:pos x="6" y="10"/>
                    </a:cxn>
                    <a:cxn ang="0">
                      <a:pos x="10" y="8"/>
                    </a:cxn>
                    <a:cxn ang="0">
                      <a:pos x="14" y="2"/>
                    </a:cxn>
                    <a:cxn ang="0">
                      <a:pos x="14" y="2"/>
                    </a:cxn>
                  </a:cxnLst>
                  <a:rect l="0" t="0" r="r" b="b"/>
                  <a:pathLst>
                    <a:path w="14" h="12">
                      <a:moveTo>
                        <a:pt x="14" y="2"/>
                      </a:moveTo>
                      <a:lnTo>
                        <a:pt x="14" y="2"/>
                      </a:lnTo>
                      <a:lnTo>
                        <a:pt x="14" y="2"/>
                      </a:lnTo>
                      <a:lnTo>
                        <a:pt x="14" y="0"/>
                      </a:lnTo>
                      <a:lnTo>
                        <a:pt x="8" y="2"/>
                      </a:lnTo>
                      <a:lnTo>
                        <a:pt x="4" y="4"/>
                      </a:lnTo>
                      <a:lnTo>
                        <a:pt x="0" y="10"/>
                      </a:lnTo>
                      <a:lnTo>
                        <a:pt x="0" y="10"/>
                      </a:lnTo>
                      <a:lnTo>
                        <a:pt x="2" y="12"/>
                      </a:lnTo>
                      <a:lnTo>
                        <a:pt x="2" y="12"/>
                      </a:lnTo>
                      <a:lnTo>
                        <a:pt x="6" y="10"/>
                      </a:lnTo>
                      <a:lnTo>
                        <a:pt x="10" y="8"/>
                      </a:lnTo>
                      <a:lnTo>
                        <a:pt x="14" y="2"/>
                      </a:lnTo>
                      <a:lnTo>
                        <a:pt x="14"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7" name="Freeform 6073"/>
                <p:cNvSpPr>
                  <a:spLocks/>
                </p:cNvSpPr>
                <p:nvPr/>
              </p:nvSpPr>
              <p:spPr bwMode="auto">
                <a:xfrm>
                  <a:off x="2282190" y="3181033"/>
                  <a:ext cx="13970" cy="15240"/>
                </a:xfrm>
                <a:custGeom>
                  <a:avLst/>
                  <a:gdLst/>
                  <a:ahLst/>
                  <a:cxnLst>
                    <a:cxn ang="0">
                      <a:pos x="6" y="0"/>
                    </a:cxn>
                    <a:cxn ang="0">
                      <a:pos x="6" y="0"/>
                    </a:cxn>
                    <a:cxn ang="0">
                      <a:pos x="2" y="2"/>
                    </a:cxn>
                    <a:cxn ang="0">
                      <a:pos x="0" y="4"/>
                    </a:cxn>
                    <a:cxn ang="0">
                      <a:pos x="0" y="8"/>
                    </a:cxn>
                    <a:cxn ang="0">
                      <a:pos x="0" y="14"/>
                    </a:cxn>
                    <a:cxn ang="0">
                      <a:pos x="2" y="18"/>
                    </a:cxn>
                    <a:cxn ang="0">
                      <a:pos x="6" y="22"/>
                    </a:cxn>
                    <a:cxn ang="0">
                      <a:pos x="12" y="24"/>
                    </a:cxn>
                    <a:cxn ang="0">
                      <a:pos x="18" y="24"/>
                    </a:cxn>
                    <a:cxn ang="0">
                      <a:pos x="18" y="24"/>
                    </a:cxn>
                    <a:cxn ang="0">
                      <a:pos x="22" y="22"/>
                    </a:cxn>
                    <a:cxn ang="0">
                      <a:pos x="22" y="18"/>
                    </a:cxn>
                    <a:cxn ang="0">
                      <a:pos x="20" y="10"/>
                    </a:cxn>
                    <a:cxn ang="0">
                      <a:pos x="12" y="2"/>
                    </a:cxn>
                    <a:cxn ang="0">
                      <a:pos x="10" y="0"/>
                    </a:cxn>
                    <a:cxn ang="0">
                      <a:pos x="6" y="0"/>
                    </a:cxn>
                    <a:cxn ang="0">
                      <a:pos x="6" y="0"/>
                    </a:cxn>
                  </a:cxnLst>
                  <a:rect l="0" t="0" r="r" b="b"/>
                  <a:pathLst>
                    <a:path w="22" h="24">
                      <a:moveTo>
                        <a:pt x="6" y="0"/>
                      </a:moveTo>
                      <a:lnTo>
                        <a:pt x="6" y="0"/>
                      </a:lnTo>
                      <a:lnTo>
                        <a:pt x="2" y="2"/>
                      </a:lnTo>
                      <a:lnTo>
                        <a:pt x="0" y="4"/>
                      </a:lnTo>
                      <a:lnTo>
                        <a:pt x="0" y="8"/>
                      </a:lnTo>
                      <a:lnTo>
                        <a:pt x="0" y="14"/>
                      </a:lnTo>
                      <a:lnTo>
                        <a:pt x="2" y="18"/>
                      </a:lnTo>
                      <a:lnTo>
                        <a:pt x="6" y="22"/>
                      </a:lnTo>
                      <a:lnTo>
                        <a:pt x="12" y="24"/>
                      </a:lnTo>
                      <a:lnTo>
                        <a:pt x="18" y="24"/>
                      </a:lnTo>
                      <a:lnTo>
                        <a:pt x="18" y="24"/>
                      </a:lnTo>
                      <a:lnTo>
                        <a:pt x="22" y="22"/>
                      </a:lnTo>
                      <a:lnTo>
                        <a:pt x="22" y="18"/>
                      </a:lnTo>
                      <a:lnTo>
                        <a:pt x="20" y="10"/>
                      </a:lnTo>
                      <a:lnTo>
                        <a:pt x="12" y="2"/>
                      </a:lnTo>
                      <a:lnTo>
                        <a:pt x="10" y="0"/>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8" name="Freeform 6075"/>
                <p:cNvSpPr>
                  <a:spLocks/>
                </p:cNvSpPr>
                <p:nvPr/>
              </p:nvSpPr>
              <p:spPr bwMode="auto">
                <a:xfrm>
                  <a:off x="2759710" y="3521393"/>
                  <a:ext cx="15240" cy="7620"/>
                </a:xfrm>
                <a:custGeom>
                  <a:avLst/>
                  <a:gdLst/>
                  <a:ahLst/>
                  <a:cxnLst>
                    <a:cxn ang="0">
                      <a:pos x="16" y="2"/>
                    </a:cxn>
                    <a:cxn ang="0">
                      <a:pos x="16" y="2"/>
                    </a:cxn>
                    <a:cxn ang="0">
                      <a:pos x="14" y="4"/>
                    </a:cxn>
                    <a:cxn ang="0">
                      <a:pos x="12" y="6"/>
                    </a:cxn>
                    <a:cxn ang="0">
                      <a:pos x="6" y="4"/>
                    </a:cxn>
                    <a:cxn ang="0">
                      <a:pos x="4" y="2"/>
                    </a:cxn>
                    <a:cxn ang="0">
                      <a:pos x="2" y="4"/>
                    </a:cxn>
                    <a:cxn ang="0">
                      <a:pos x="0" y="6"/>
                    </a:cxn>
                    <a:cxn ang="0">
                      <a:pos x="0" y="6"/>
                    </a:cxn>
                    <a:cxn ang="0">
                      <a:pos x="0" y="10"/>
                    </a:cxn>
                    <a:cxn ang="0">
                      <a:pos x="2" y="10"/>
                    </a:cxn>
                    <a:cxn ang="0">
                      <a:pos x="8" y="10"/>
                    </a:cxn>
                    <a:cxn ang="0">
                      <a:pos x="8" y="10"/>
                    </a:cxn>
                    <a:cxn ang="0">
                      <a:pos x="14" y="12"/>
                    </a:cxn>
                    <a:cxn ang="0">
                      <a:pos x="20" y="12"/>
                    </a:cxn>
                    <a:cxn ang="0">
                      <a:pos x="24" y="10"/>
                    </a:cxn>
                    <a:cxn ang="0">
                      <a:pos x="24" y="10"/>
                    </a:cxn>
                    <a:cxn ang="0">
                      <a:pos x="24" y="6"/>
                    </a:cxn>
                    <a:cxn ang="0">
                      <a:pos x="24" y="2"/>
                    </a:cxn>
                    <a:cxn ang="0">
                      <a:pos x="20" y="0"/>
                    </a:cxn>
                    <a:cxn ang="0">
                      <a:pos x="16" y="2"/>
                    </a:cxn>
                    <a:cxn ang="0">
                      <a:pos x="16" y="2"/>
                    </a:cxn>
                  </a:cxnLst>
                  <a:rect l="0" t="0" r="r" b="b"/>
                  <a:pathLst>
                    <a:path w="24" h="12">
                      <a:moveTo>
                        <a:pt x="16" y="2"/>
                      </a:moveTo>
                      <a:lnTo>
                        <a:pt x="16" y="2"/>
                      </a:lnTo>
                      <a:lnTo>
                        <a:pt x="14" y="4"/>
                      </a:lnTo>
                      <a:lnTo>
                        <a:pt x="12" y="6"/>
                      </a:lnTo>
                      <a:lnTo>
                        <a:pt x="6" y="4"/>
                      </a:lnTo>
                      <a:lnTo>
                        <a:pt x="4" y="2"/>
                      </a:lnTo>
                      <a:lnTo>
                        <a:pt x="2" y="4"/>
                      </a:lnTo>
                      <a:lnTo>
                        <a:pt x="0" y="6"/>
                      </a:lnTo>
                      <a:lnTo>
                        <a:pt x="0" y="6"/>
                      </a:lnTo>
                      <a:lnTo>
                        <a:pt x="0" y="10"/>
                      </a:lnTo>
                      <a:lnTo>
                        <a:pt x="2" y="10"/>
                      </a:lnTo>
                      <a:lnTo>
                        <a:pt x="8" y="10"/>
                      </a:lnTo>
                      <a:lnTo>
                        <a:pt x="8" y="10"/>
                      </a:lnTo>
                      <a:lnTo>
                        <a:pt x="14" y="12"/>
                      </a:lnTo>
                      <a:lnTo>
                        <a:pt x="20" y="12"/>
                      </a:lnTo>
                      <a:lnTo>
                        <a:pt x="24" y="10"/>
                      </a:lnTo>
                      <a:lnTo>
                        <a:pt x="24" y="10"/>
                      </a:lnTo>
                      <a:lnTo>
                        <a:pt x="24" y="6"/>
                      </a:lnTo>
                      <a:lnTo>
                        <a:pt x="24" y="2"/>
                      </a:lnTo>
                      <a:lnTo>
                        <a:pt x="20" y="0"/>
                      </a:lnTo>
                      <a:lnTo>
                        <a:pt x="16" y="2"/>
                      </a:lnTo>
                      <a:lnTo>
                        <a:pt x="1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69" name="Freeform 6076"/>
                <p:cNvSpPr>
                  <a:spLocks/>
                </p:cNvSpPr>
                <p:nvPr/>
              </p:nvSpPr>
              <p:spPr bwMode="auto">
                <a:xfrm>
                  <a:off x="2325370" y="3263583"/>
                  <a:ext cx="7620" cy="2540"/>
                </a:xfrm>
                <a:custGeom>
                  <a:avLst/>
                  <a:gdLst/>
                  <a:ahLst/>
                  <a:cxnLst>
                    <a:cxn ang="0">
                      <a:pos x="0" y="4"/>
                    </a:cxn>
                    <a:cxn ang="0">
                      <a:pos x="0" y="4"/>
                    </a:cxn>
                    <a:cxn ang="0">
                      <a:pos x="6" y="4"/>
                    </a:cxn>
                    <a:cxn ang="0">
                      <a:pos x="12" y="2"/>
                    </a:cxn>
                    <a:cxn ang="0">
                      <a:pos x="12" y="2"/>
                    </a:cxn>
                    <a:cxn ang="0">
                      <a:pos x="12" y="2"/>
                    </a:cxn>
                    <a:cxn ang="0">
                      <a:pos x="10" y="0"/>
                    </a:cxn>
                    <a:cxn ang="0">
                      <a:pos x="6" y="0"/>
                    </a:cxn>
                    <a:cxn ang="0">
                      <a:pos x="2" y="0"/>
                    </a:cxn>
                    <a:cxn ang="0">
                      <a:pos x="0" y="2"/>
                    </a:cxn>
                    <a:cxn ang="0">
                      <a:pos x="0" y="4"/>
                    </a:cxn>
                    <a:cxn ang="0">
                      <a:pos x="0" y="4"/>
                    </a:cxn>
                  </a:cxnLst>
                  <a:rect l="0" t="0" r="r" b="b"/>
                  <a:pathLst>
                    <a:path w="12" h="4">
                      <a:moveTo>
                        <a:pt x="0" y="4"/>
                      </a:moveTo>
                      <a:lnTo>
                        <a:pt x="0" y="4"/>
                      </a:lnTo>
                      <a:lnTo>
                        <a:pt x="6" y="4"/>
                      </a:lnTo>
                      <a:lnTo>
                        <a:pt x="12" y="2"/>
                      </a:lnTo>
                      <a:lnTo>
                        <a:pt x="12" y="2"/>
                      </a:lnTo>
                      <a:lnTo>
                        <a:pt x="12" y="2"/>
                      </a:lnTo>
                      <a:lnTo>
                        <a:pt x="10" y="0"/>
                      </a:lnTo>
                      <a:lnTo>
                        <a:pt x="6" y="0"/>
                      </a:lnTo>
                      <a:lnTo>
                        <a:pt x="2" y="0"/>
                      </a:lnTo>
                      <a:lnTo>
                        <a:pt x="0" y="2"/>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0" name="Freeform 6077"/>
                <p:cNvSpPr>
                  <a:spLocks/>
                </p:cNvSpPr>
                <p:nvPr/>
              </p:nvSpPr>
              <p:spPr bwMode="auto">
                <a:xfrm>
                  <a:off x="2757170" y="2330133"/>
                  <a:ext cx="60960" cy="38100"/>
                </a:xfrm>
                <a:custGeom>
                  <a:avLst/>
                  <a:gdLst/>
                  <a:ahLst/>
                  <a:cxnLst>
                    <a:cxn ang="0">
                      <a:pos x="94" y="28"/>
                    </a:cxn>
                    <a:cxn ang="0">
                      <a:pos x="94" y="28"/>
                    </a:cxn>
                    <a:cxn ang="0">
                      <a:pos x="84" y="28"/>
                    </a:cxn>
                    <a:cxn ang="0">
                      <a:pos x="70" y="28"/>
                    </a:cxn>
                    <a:cxn ang="0">
                      <a:pos x="50" y="28"/>
                    </a:cxn>
                    <a:cxn ang="0">
                      <a:pos x="40" y="28"/>
                    </a:cxn>
                    <a:cxn ang="0">
                      <a:pos x="32" y="26"/>
                    </a:cxn>
                    <a:cxn ang="0">
                      <a:pos x="32" y="26"/>
                    </a:cxn>
                    <a:cxn ang="0">
                      <a:pos x="24" y="22"/>
                    </a:cxn>
                    <a:cxn ang="0">
                      <a:pos x="20" y="16"/>
                    </a:cxn>
                    <a:cxn ang="0">
                      <a:pos x="16" y="10"/>
                    </a:cxn>
                    <a:cxn ang="0">
                      <a:pos x="16" y="4"/>
                    </a:cxn>
                    <a:cxn ang="0">
                      <a:pos x="14" y="2"/>
                    </a:cxn>
                    <a:cxn ang="0">
                      <a:pos x="14" y="0"/>
                    </a:cxn>
                    <a:cxn ang="0">
                      <a:pos x="10" y="2"/>
                    </a:cxn>
                    <a:cxn ang="0">
                      <a:pos x="6" y="8"/>
                    </a:cxn>
                    <a:cxn ang="0">
                      <a:pos x="6" y="8"/>
                    </a:cxn>
                    <a:cxn ang="0">
                      <a:pos x="0" y="18"/>
                    </a:cxn>
                    <a:cxn ang="0">
                      <a:pos x="0" y="20"/>
                    </a:cxn>
                    <a:cxn ang="0">
                      <a:pos x="2" y="22"/>
                    </a:cxn>
                    <a:cxn ang="0">
                      <a:pos x="6" y="22"/>
                    </a:cxn>
                    <a:cxn ang="0">
                      <a:pos x="8" y="24"/>
                    </a:cxn>
                    <a:cxn ang="0">
                      <a:pos x="8" y="28"/>
                    </a:cxn>
                    <a:cxn ang="0">
                      <a:pos x="8" y="28"/>
                    </a:cxn>
                    <a:cxn ang="0">
                      <a:pos x="8" y="32"/>
                    </a:cxn>
                    <a:cxn ang="0">
                      <a:pos x="10" y="34"/>
                    </a:cxn>
                    <a:cxn ang="0">
                      <a:pos x="14" y="34"/>
                    </a:cxn>
                    <a:cxn ang="0">
                      <a:pos x="22" y="34"/>
                    </a:cxn>
                    <a:cxn ang="0">
                      <a:pos x="24" y="36"/>
                    </a:cxn>
                    <a:cxn ang="0">
                      <a:pos x="28" y="38"/>
                    </a:cxn>
                    <a:cxn ang="0">
                      <a:pos x="28" y="38"/>
                    </a:cxn>
                    <a:cxn ang="0">
                      <a:pos x="34" y="44"/>
                    </a:cxn>
                    <a:cxn ang="0">
                      <a:pos x="40" y="46"/>
                    </a:cxn>
                    <a:cxn ang="0">
                      <a:pos x="52" y="50"/>
                    </a:cxn>
                    <a:cxn ang="0">
                      <a:pos x="74" y="58"/>
                    </a:cxn>
                    <a:cxn ang="0">
                      <a:pos x="74" y="58"/>
                    </a:cxn>
                    <a:cxn ang="0">
                      <a:pos x="78" y="60"/>
                    </a:cxn>
                    <a:cxn ang="0">
                      <a:pos x="82" y="58"/>
                    </a:cxn>
                    <a:cxn ang="0">
                      <a:pos x="82" y="54"/>
                    </a:cxn>
                    <a:cxn ang="0">
                      <a:pos x="82" y="46"/>
                    </a:cxn>
                    <a:cxn ang="0">
                      <a:pos x="82" y="46"/>
                    </a:cxn>
                    <a:cxn ang="0">
                      <a:pos x="82" y="40"/>
                    </a:cxn>
                    <a:cxn ang="0">
                      <a:pos x="84" y="38"/>
                    </a:cxn>
                    <a:cxn ang="0">
                      <a:pos x="90" y="32"/>
                    </a:cxn>
                    <a:cxn ang="0">
                      <a:pos x="94" y="30"/>
                    </a:cxn>
                    <a:cxn ang="0">
                      <a:pos x="96" y="30"/>
                    </a:cxn>
                    <a:cxn ang="0">
                      <a:pos x="94" y="28"/>
                    </a:cxn>
                    <a:cxn ang="0">
                      <a:pos x="94" y="28"/>
                    </a:cxn>
                  </a:cxnLst>
                  <a:rect l="0" t="0" r="r" b="b"/>
                  <a:pathLst>
                    <a:path w="96" h="60">
                      <a:moveTo>
                        <a:pt x="94" y="28"/>
                      </a:moveTo>
                      <a:lnTo>
                        <a:pt x="94" y="28"/>
                      </a:lnTo>
                      <a:lnTo>
                        <a:pt x="84" y="28"/>
                      </a:lnTo>
                      <a:lnTo>
                        <a:pt x="70" y="28"/>
                      </a:lnTo>
                      <a:lnTo>
                        <a:pt x="50" y="28"/>
                      </a:lnTo>
                      <a:lnTo>
                        <a:pt x="40" y="28"/>
                      </a:lnTo>
                      <a:lnTo>
                        <a:pt x="32" y="26"/>
                      </a:lnTo>
                      <a:lnTo>
                        <a:pt x="32" y="26"/>
                      </a:lnTo>
                      <a:lnTo>
                        <a:pt x="24" y="22"/>
                      </a:lnTo>
                      <a:lnTo>
                        <a:pt x="20" y="16"/>
                      </a:lnTo>
                      <a:lnTo>
                        <a:pt x="16" y="10"/>
                      </a:lnTo>
                      <a:lnTo>
                        <a:pt x="16" y="4"/>
                      </a:lnTo>
                      <a:lnTo>
                        <a:pt x="14" y="2"/>
                      </a:lnTo>
                      <a:lnTo>
                        <a:pt x="14" y="0"/>
                      </a:lnTo>
                      <a:lnTo>
                        <a:pt x="10" y="2"/>
                      </a:lnTo>
                      <a:lnTo>
                        <a:pt x="6" y="8"/>
                      </a:lnTo>
                      <a:lnTo>
                        <a:pt x="6" y="8"/>
                      </a:lnTo>
                      <a:lnTo>
                        <a:pt x="0" y="18"/>
                      </a:lnTo>
                      <a:lnTo>
                        <a:pt x="0" y="20"/>
                      </a:lnTo>
                      <a:lnTo>
                        <a:pt x="2" y="22"/>
                      </a:lnTo>
                      <a:lnTo>
                        <a:pt x="6" y="22"/>
                      </a:lnTo>
                      <a:lnTo>
                        <a:pt x="8" y="24"/>
                      </a:lnTo>
                      <a:lnTo>
                        <a:pt x="8" y="28"/>
                      </a:lnTo>
                      <a:lnTo>
                        <a:pt x="8" y="28"/>
                      </a:lnTo>
                      <a:lnTo>
                        <a:pt x="8" y="32"/>
                      </a:lnTo>
                      <a:lnTo>
                        <a:pt x="10" y="34"/>
                      </a:lnTo>
                      <a:lnTo>
                        <a:pt x="14" y="34"/>
                      </a:lnTo>
                      <a:lnTo>
                        <a:pt x="22" y="34"/>
                      </a:lnTo>
                      <a:lnTo>
                        <a:pt x="24" y="36"/>
                      </a:lnTo>
                      <a:lnTo>
                        <a:pt x="28" y="38"/>
                      </a:lnTo>
                      <a:lnTo>
                        <a:pt x="28" y="38"/>
                      </a:lnTo>
                      <a:lnTo>
                        <a:pt x="34" y="44"/>
                      </a:lnTo>
                      <a:lnTo>
                        <a:pt x="40" y="46"/>
                      </a:lnTo>
                      <a:lnTo>
                        <a:pt x="52" y="50"/>
                      </a:lnTo>
                      <a:lnTo>
                        <a:pt x="74" y="58"/>
                      </a:lnTo>
                      <a:lnTo>
                        <a:pt x="74" y="58"/>
                      </a:lnTo>
                      <a:lnTo>
                        <a:pt x="78" y="60"/>
                      </a:lnTo>
                      <a:lnTo>
                        <a:pt x="82" y="58"/>
                      </a:lnTo>
                      <a:lnTo>
                        <a:pt x="82" y="54"/>
                      </a:lnTo>
                      <a:lnTo>
                        <a:pt x="82" y="46"/>
                      </a:lnTo>
                      <a:lnTo>
                        <a:pt x="82" y="46"/>
                      </a:lnTo>
                      <a:lnTo>
                        <a:pt x="82" y="40"/>
                      </a:lnTo>
                      <a:lnTo>
                        <a:pt x="84" y="38"/>
                      </a:lnTo>
                      <a:lnTo>
                        <a:pt x="90" y="32"/>
                      </a:lnTo>
                      <a:lnTo>
                        <a:pt x="94" y="30"/>
                      </a:lnTo>
                      <a:lnTo>
                        <a:pt x="96" y="30"/>
                      </a:lnTo>
                      <a:lnTo>
                        <a:pt x="94" y="28"/>
                      </a:lnTo>
                      <a:lnTo>
                        <a:pt x="94" y="2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1" name="Freeform 6078"/>
                <p:cNvSpPr>
                  <a:spLocks/>
                </p:cNvSpPr>
                <p:nvPr/>
              </p:nvSpPr>
              <p:spPr bwMode="auto">
                <a:xfrm>
                  <a:off x="2833370" y="2327593"/>
                  <a:ext cx="44450" cy="55880"/>
                </a:xfrm>
                <a:custGeom>
                  <a:avLst/>
                  <a:gdLst/>
                  <a:ahLst/>
                  <a:cxnLst>
                    <a:cxn ang="0">
                      <a:pos x="60" y="48"/>
                    </a:cxn>
                    <a:cxn ang="0">
                      <a:pos x="60" y="48"/>
                    </a:cxn>
                    <a:cxn ang="0">
                      <a:pos x="50" y="46"/>
                    </a:cxn>
                    <a:cxn ang="0">
                      <a:pos x="48" y="44"/>
                    </a:cxn>
                    <a:cxn ang="0">
                      <a:pos x="46" y="42"/>
                    </a:cxn>
                    <a:cxn ang="0">
                      <a:pos x="44" y="32"/>
                    </a:cxn>
                    <a:cxn ang="0">
                      <a:pos x="46" y="18"/>
                    </a:cxn>
                    <a:cxn ang="0">
                      <a:pos x="46" y="18"/>
                    </a:cxn>
                    <a:cxn ang="0">
                      <a:pos x="46" y="6"/>
                    </a:cxn>
                    <a:cxn ang="0">
                      <a:pos x="44" y="2"/>
                    </a:cxn>
                    <a:cxn ang="0">
                      <a:pos x="42" y="0"/>
                    </a:cxn>
                    <a:cxn ang="0">
                      <a:pos x="40" y="2"/>
                    </a:cxn>
                    <a:cxn ang="0">
                      <a:pos x="36" y="4"/>
                    </a:cxn>
                    <a:cxn ang="0">
                      <a:pos x="24" y="18"/>
                    </a:cxn>
                    <a:cxn ang="0">
                      <a:pos x="24" y="18"/>
                    </a:cxn>
                    <a:cxn ang="0">
                      <a:pos x="12" y="34"/>
                    </a:cxn>
                    <a:cxn ang="0">
                      <a:pos x="4" y="48"/>
                    </a:cxn>
                    <a:cxn ang="0">
                      <a:pos x="2" y="56"/>
                    </a:cxn>
                    <a:cxn ang="0">
                      <a:pos x="0" y="64"/>
                    </a:cxn>
                    <a:cxn ang="0">
                      <a:pos x="0" y="72"/>
                    </a:cxn>
                    <a:cxn ang="0">
                      <a:pos x="4" y="82"/>
                    </a:cxn>
                    <a:cxn ang="0">
                      <a:pos x="4" y="82"/>
                    </a:cxn>
                    <a:cxn ang="0">
                      <a:pos x="8" y="88"/>
                    </a:cxn>
                    <a:cxn ang="0">
                      <a:pos x="10" y="88"/>
                    </a:cxn>
                    <a:cxn ang="0">
                      <a:pos x="12" y="88"/>
                    </a:cxn>
                    <a:cxn ang="0">
                      <a:pos x="16" y="82"/>
                    </a:cxn>
                    <a:cxn ang="0">
                      <a:pos x="20" y="70"/>
                    </a:cxn>
                    <a:cxn ang="0">
                      <a:pos x="20" y="70"/>
                    </a:cxn>
                    <a:cxn ang="0">
                      <a:pos x="24" y="58"/>
                    </a:cxn>
                    <a:cxn ang="0">
                      <a:pos x="28" y="56"/>
                    </a:cxn>
                    <a:cxn ang="0">
                      <a:pos x="30" y="54"/>
                    </a:cxn>
                    <a:cxn ang="0">
                      <a:pos x="30" y="56"/>
                    </a:cxn>
                    <a:cxn ang="0">
                      <a:pos x="32" y="58"/>
                    </a:cxn>
                    <a:cxn ang="0">
                      <a:pos x="30" y="72"/>
                    </a:cxn>
                    <a:cxn ang="0">
                      <a:pos x="30" y="72"/>
                    </a:cxn>
                    <a:cxn ang="0">
                      <a:pos x="28" y="84"/>
                    </a:cxn>
                    <a:cxn ang="0">
                      <a:pos x="30" y="86"/>
                    </a:cxn>
                    <a:cxn ang="0">
                      <a:pos x="32" y="86"/>
                    </a:cxn>
                    <a:cxn ang="0">
                      <a:pos x="40" y="82"/>
                    </a:cxn>
                    <a:cxn ang="0">
                      <a:pos x="50" y="76"/>
                    </a:cxn>
                    <a:cxn ang="0">
                      <a:pos x="50" y="76"/>
                    </a:cxn>
                    <a:cxn ang="0">
                      <a:pos x="60" y="68"/>
                    </a:cxn>
                    <a:cxn ang="0">
                      <a:pos x="68" y="60"/>
                    </a:cxn>
                    <a:cxn ang="0">
                      <a:pos x="70" y="56"/>
                    </a:cxn>
                    <a:cxn ang="0">
                      <a:pos x="68" y="52"/>
                    </a:cxn>
                    <a:cxn ang="0">
                      <a:pos x="66" y="50"/>
                    </a:cxn>
                    <a:cxn ang="0">
                      <a:pos x="60" y="48"/>
                    </a:cxn>
                    <a:cxn ang="0">
                      <a:pos x="60" y="48"/>
                    </a:cxn>
                  </a:cxnLst>
                  <a:rect l="0" t="0" r="r" b="b"/>
                  <a:pathLst>
                    <a:path w="70" h="88">
                      <a:moveTo>
                        <a:pt x="60" y="48"/>
                      </a:moveTo>
                      <a:lnTo>
                        <a:pt x="60" y="48"/>
                      </a:lnTo>
                      <a:lnTo>
                        <a:pt x="50" y="46"/>
                      </a:lnTo>
                      <a:lnTo>
                        <a:pt x="48" y="44"/>
                      </a:lnTo>
                      <a:lnTo>
                        <a:pt x="46" y="42"/>
                      </a:lnTo>
                      <a:lnTo>
                        <a:pt x="44" y="32"/>
                      </a:lnTo>
                      <a:lnTo>
                        <a:pt x="46" y="18"/>
                      </a:lnTo>
                      <a:lnTo>
                        <a:pt x="46" y="18"/>
                      </a:lnTo>
                      <a:lnTo>
                        <a:pt x="46" y="6"/>
                      </a:lnTo>
                      <a:lnTo>
                        <a:pt x="44" y="2"/>
                      </a:lnTo>
                      <a:lnTo>
                        <a:pt x="42" y="0"/>
                      </a:lnTo>
                      <a:lnTo>
                        <a:pt x="40" y="2"/>
                      </a:lnTo>
                      <a:lnTo>
                        <a:pt x="36" y="4"/>
                      </a:lnTo>
                      <a:lnTo>
                        <a:pt x="24" y="18"/>
                      </a:lnTo>
                      <a:lnTo>
                        <a:pt x="24" y="18"/>
                      </a:lnTo>
                      <a:lnTo>
                        <a:pt x="12" y="34"/>
                      </a:lnTo>
                      <a:lnTo>
                        <a:pt x="4" y="48"/>
                      </a:lnTo>
                      <a:lnTo>
                        <a:pt x="2" y="56"/>
                      </a:lnTo>
                      <a:lnTo>
                        <a:pt x="0" y="64"/>
                      </a:lnTo>
                      <a:lnTo>
                        <a:pt x="0" y="72"/>
                      </a:lnTo>
                      <a:lnTo>
                        <a:pt x="4" y="82"/>
                      </a:lnTo>
                      <a:lnTo>
                        <a:pt x="4" y="82"/>
                      </a:lnTo>
                      <a:lnTo>
                        <a:pt x="8" y="88"/>
                      </a:lnTo>
                      <a:lnTo>
                        <a:pt x="10" y="88"/>
                      </a:lnTo>
                      <a:lnTo>
                        <a:pt x="12" y="88"/>
                      </a:lnTo>
                      <a:lnTo>
                        <a:pt x="16" y="82"/>
                      </a:lnTo>
                      <a:lnTo>
                        <a:pt x="20" y="70"/>
                      </a:lnTo>
                      <a:lnTo>
                        <a:pt x="20" y="70"/>
                      </a:lnTo>
                      <a:lnTo>
                        <a:pt x="24" y="58"/>
                      </a:lnTo>
                      <a:lnTo>
                        <a:pt x="28" y="56"/>
                      </a:lnTo>
                      <a:lnTo>
                        <a:pt x="30" y="54"/>
                      </a:lnTo>
                      <a:lnTo>
                        <a:pt x="30" y="56"/>
                      </a:lnTo>
                      <a:lnTo>
                        <a:pt x="32" y="58"/>
                      </a:lnTo>
                      <a:lnTo>
                        <a:pt x="30" y="72"/>
                      </a:lnTo>
                      <a:lnTo>
                        <a:pt x="30" y="72"/>
                      </a:lnTo>
                      <a:lnTo>
                        <a:pt x="28" y="84"/>
                      </a:lnTo>
                      <a:lnTo>
                        <a:pt x="30" y="86"/>
                      </a:lnTo>
                      <a:lnTo>
                        <a:pt x="32" y="86"/>
                      </a:lnTo>
                      <a:lnTo>
                        <a:pt x="40" y="82"/>
                      </a:lnTo>
                      <a:lnTo>
                        <a:pt x="50" y="76"/>
                      </a:lnTo>
                      <a:lnTo>
                        <a:pt x="50" y="76"/>
                      </a:lnTo>
                      <a:lnTo>
                        <a:pt x="60" y="68"/>
                      </a:lnTo>
                      <a:lnTo>
                        <a:pt x="68" y="60"/>
                      </a:lnTo>
                      <a:lnTo>
                        <a:pt x="70" y="56"/>
                      </a:lnTo>
                      <a:lnTo>
                        <a:pt x="68" y="52"/>
                      </a:lnTo>
                      <a:lnTo>
                        <a:pt x="66" y="50"/>
                      </a:lnTo>
                      <a:lnTo>
                        <a:pt x="60" y="48"/>
                      </a:lnTo>
                      <a:lnTo>
                        <a:pt x="60" y="4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2" name="Freeform 6079"/>
                <p:cNvSpPr>
                  <a:spLocks/>
                </p:cNvSpPr>
                <p:nvPr/>
              </p:nvSpPr>
              <p:spPr bwMode="auto">
                <a:xfrm>
                  <a:off x="2753360" y="2219643"/>
                  <a:ext cx="73660" cy="34290"/>
                </a:xfrm>
                <a:custGeom>
                  <a:avLst/>
                  <a:gdLst/>
                  <a:ahLst/>
                  <a:cxnLst>
                    <a:cxn ang="0">
                      <a:pos x="116" y="48"/>
                    </a:cxn>
                    <a:cxn ang="0">
                      <a:pos x="116" y="48"/>
                    </a:cxn>
                    <a:cxn ang="0">
                      <a:pos x="116" y="46"/>
                    </a:cxn>
                    <a:cxn ang="0">
                      <a:pos x="116" y="42"/>
                    </a:cxn>
                    <a:cxn ang="0">
                      <a:pos x="112" y="36"/>
                    </a:cxn>
                    <a:cxn ang="0">
                      <a:pos x="104" y="30"/>
                    </a:cxn>
                    <a:cxn ang="0">
                      <a:pos x="92" y="24"/>
                    </a:cxn>
                    <a:cxn ang="0">
                      <a:pos x="78" y="16"/>
                    </a:cxn>
                    <a:cxn ang="0">
                      <a:pos x="62" y="10"/>
                    </a:cxn>
                    <a:cxn ang="0">
                      <a:pos x="44" y="6"/>
                    </a:cxn>
                    <a:cxn ang="0">
                      <a:pos x="24" y="2"/>
                    </a:cxn>
                    <a:cxn ang="0">
                      <a:pos x="24" y="2"/>
                    </a:cxn>
                    <a:cxn ang="0">
                      <a:pos x="10" y="0"/>
                    </a:cxn>
                    <a:cxn ang="0">
                      <a:pos x="2" y="0"/>
                    </a:cxn>
                    <a:cxn ang="0">
                      <a:pos x="0" y="2"/>
                    </a:cxn>
                    <a:cxn ang="0">
                      <a:pos x="0" y="2"/>
                    </a:cxn>
                    <a:cxn ang="0">
                      <a:pos x="4" y="6"/>
                    </a:cxn>
                    <a:cxn ang="0">
                      <a:pos x="18" y="14"/>
                    </a:cxn>
                    <a:cxn ang="0">
                      <a:pos x="32" y="24"/>
                    </a:cxn>
                    <a:cxn ang="0">
                      <a:pos x="32" y="24"/>
                    </a:cxn>
                    <a:cxn ang="0">
                      <a:pos x="52" y="38"/>
                    </a:cxn>
                    <a:cxn ang="0">
                      <a:pos x="76" y="48"/>
                    </a:cxn>
                    <a:cxn ang="0">
                      <a:pos x="90" y="52"/>
                    </a:cxn>
                    <a:cxn ang="0">
                      <a:pos x="100" y="54"/>
                    </a:cxn>
                    <a:cxn ang="0">
                      <a:pos x="110" y="52"/>
                    </a:cxn>
                    <a:cxn ang="0">
                      <a:pos x="114" y="50"/>
                    </a:cxn>
                    <a:cxn ang="0">
                      <a:pos x="116" y="48"/>
                    </a:cxn>
                    <a:cxn ang="0">
                      <a:pos x="116" y="48"/>
                    </a:cxn>
                  </a:cxnLst>
                  <a:rect l="0" t="0" r="r" b="b"/>
                  <a:pathLst>
                    <a:path w="116" h="54">
                      <a:moveTo>
                        <a:pt x="116" y="48"/>
                      </a:moveTo>
                      <a:lnTo>
                        <a:pt x="116" y="48"/>
                      </a:lnTo>
                      <a:lnTo>
                        <a:pt x="116" y="46"/>
                      </a:lnTo>
                      <a:lnTo>
                        <a:pt x="116" y="42"/>
                      </a:lnTo>
                      <a:lnTo>
                        <a:pt x="112" y="36"/>
                      </a:lnTo>
                      <a:lnTo>
                        <a:pt x="104" y="30"/>
                      </a:lnTo>
                      <a:lnTo>
                        <a:pt x="92" y="24"/>
                      </a:lnTo>
                      <a:lnTo>
                        <a:pt x="78" y="16"/>
                      </a:lnTo>
                      <a:lnTo>
                        <a:pt x="62" y="10"/>
                      </a:lnTo>
                      <a:lnTo>
                        <a:pt x="44" y="6"/>
                      </a:lnTo>
                      <a:lnTo>
                        <a:pt x="24" y="2"/>
                      </a:lnTo>
                      <a:lnTo>
                        <a:pt x="24" y="2"/>
                      </a:lnTo>
                      <a:lnTo>
                        <a:pt x="10" y="0"/>
                      </a:lnTo>
                      <a:lnTo>
                        <a:pt x="2" y="0"/>
                      </a:lnTo>
                      <a:lnTo>
                        <a:pt x="0" y="2"/>
                      </a:lnTo>
                      <a:lnTo>
                        <a:pt x="0" y="2"/>
                      </a:lnTo>
                      <a:lnTo>
                        <a:pt x="4" y="6"/>
                      </a:lnTo>
                      <a:lnTo>
                        <a:pt x="18" y="14"/>
                      </a:lnTo>
                      <a:lnTo>
                        <a:pt x="32" y="24"/>
                      </a:lnTo>
                      <a:lnTo>
                        <a:pt x="32" y="24"/>
                      </a:lnTo>
                      <a:lnTo>
                        <a:pt x="52" y="38"/>
                      </a:lnTo>
                      <a:lnTo>
                        <a:pt x="76" y="48"/>
                      </a:lnTo>
                      <a:lnTo>
                        <a:pt x="90" y="52"/>
                      </a:lnTo>
                      <a:lnTo>
                        <a:pt x="100" y="54"/>
                      </a:lnTo>
                      <a:lnTo>
                        <a:pt x="110" y="52"/>
                      </a:lnTo>
                      <a:lnTo>
                        <a:pt x="114" y="50"/>
                      </a:lnTo>
                      <a:lnTo>
                        <a:pt x="116" y="48"/>
                      </a:lnTo>
                      <a:lnTo>
                        <a:pt x="116" y="4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3" name="Freeform 6080"/>
                <p:cNvSpPr>
                  <a:spLocks/>
                </p:cNvSpPr>
                <p:nvPr/>
              </p:nvSpPr>
              <p:spPr bwMode="auto">
                <a:xfrm>
                  <a:off x="2852420" y="3488373"/>
                  <a:ext cx="10160" cy="11430"/>
                </a:xfrm>
                <a:custGeom>
                  <a:avLst/>
                  <a:gdLst/>
                  <a:ahLst/>
                  <a:cxnLst>
                    <a:cxn ang="0">
                      <a:pos x="2" y="0"/>
                    </a:cxn>
                    <a:cxn ang="0">
                      <a:pos x="2" y="0"/>
                    </a:cxn>
                    <a:cxn ang="0">
                      <a:pos x="0" y="0"/>
                    </a:cxn>
                    <a:cxn ang="0">
                      <a:pos x="0" y="4"/>
                    </a:cxn>
                    <a:cxn ang="0">
                      <a:pos x="0" y="10"/>
                    </a:cxn>
                    <a:cxn ang="0">
                      <a:pos x="0" y="14"/>
                    </a:cxn>
                    <a:cxn ang="0">
                      <a:pos x="4" y="16"/>
                    </a:cxn>
                    <a:cxn ang="0">
                      <a:pos x="8" y="18"/>
                    </a:cxn>
                    <a:cxn ang="0">
                      <a:pos x="12" y="18"/>
                    </a:cxn>
                    <a:cxn ang="0">
                      <a:pos x="12" y="18"/>
                    </a:cxn>
                    <a:cxn ang="0">
                      <a:pos x="14" y="18"/>
                    </a:cxn>
                    <a:cxn ang="0">
                      <a:pos x="16" y="14"/>
                    </a:cxn>
                    <a:cxn ang="0">
                      <a:pos x="14" y="8"/>
                    </a:cxn>
                    <a:cxn ang="0">
                      <a:pos x="8" y="2"/>
                    </a:cxn>
                    <a:cxn ang="0">
                      <a:pos x="6" y="0"/>
                    </a:cxn>
                    <a:cxn ang="0">
                      <a:pos x="2" y="0"/>
                    </a:cxn>
                    <a:cxn ang="0">
                      <a:pos x="2" y="0"/>
                    </a:cxn>
                  </a:cxnLst>
                  <a:rect l="0" t="0" r="r" b="b"/>
                  <a:pathLst>
                    <a:path w="16" h="18">
                      <a:moveTo>
                        <a:pt x="2" y="0"/>
                      </a:moveTo>
                      <a:lnTo>
                        <a:pt x="2" y="0"/>
                      </a:lnTo>
                      <a:lnTo>
                        <a:pt x="0" y="0"/>
                      </a:lnTo>
                      <a:lnTo>
                        <a:pt x="0" y="4"/>
                      </a:lnTo>
                      <a:lnTo>
                        <a:pt x="0" y="10"/>
                      </a:lnTo>
                      <a:lnTo>
                        <a:pt x="0" y="14"/>
                      </a:lnTo>
                      <a:lnTo>
                        <a:pt x="4" y="16"/>
                      </a:lnTo>
                      <a:lnTo>
                        <a:pt x="8" y="18"/>
                      </a:lnTo>
                      <a:lnTo>
                        <a:pt x="12" y="18"/>
                      </a:lnTo>
                      <a:lnTo>
                        <a:pt x="12" y="18"/>
                      </a:lnTo>
                      <a:lnTo>
                        <a:pt x="14" y="18"/>
                      </a:lnTo>
                      <a:lnTo>
                        <a:pt x="16" y="14"/>
                      </a:lnTo>
                      <a:lnTo>
                        <a:pt x="14" y="8"/>
                      </a:lnTo>
                      <a:lnTo>
                        <a:pt x="8" y="2"/>
                      </a:lnTo>
                      <a:lnTo>
                        <a:pt x="6" y="0"/>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4" name="Freeform 6081"/>
                <p:cNvSpPr>
                  <a:spLocks/>
                </p:cNvSpPr>
                <p:nvPr/>
              </p:nvSpPr>
              <p:spPr bwMode="auto">
                <a:xfrm>
                  <a:off x="2805430" y="3330893"/>
                  <a:ext cx="2540" cy="3810"/>
                </a:xfrm>
                <a:custGeom>
                  <a:avLst/>
                  <a:gdLst/>
                  <a:ahLst/>
                  <a:cxnLst>
                    <a:cxn ang="0">
                      <a:pos x="0" y="0"/>
                    </a:cxn>
                    <a:cxn ang="0">
                      <a:pos x="0" y="0"/>
                    </a:cxn>
                    <a:cxn ang="0">
                      <a:pos x="0" y="6"/>
                    </a:cxn>
                    <a:cxn ang="0">
                      <a:pos x="0" y="6"/>
                    </a:cxn>
                    <a:cxn ang="0">
                      <a:pos x="2" y="4"/>
                    </a:cxn>
                    <a:cxn ang="0">
                      <a:pos x="2" y="4"/>
                    </a:cxn>
                    <a:cxn ang="0">
                      <a:pos x="4" y="4"/>
                    </a:cxn>
                    <a:cxn ang="0">
                      <a:pos x="4" y="2"/>
                    </a:cxn>
                    <a:cxn ang="0">
                      <a:pos x="2" y="0"/>
                    </a:cxn>
                    <a:cxn ang="0">
                      <a:pos x="0" y="0"/>
                    </a:cxn>
                    <a:cxn ang="0">
                      <a:pos x="0" y="0"/>
                    </a:cxn>
                  </a:cxnLst>
                  <a:rect l="0" t="0" r="r" b="b"/>
                  <a:pathLst>
                    <a:path w="4" h="6">
                      <a:moveTo>
                        <a:pt x="0" y="0"/>
                      </a:moveTo>
                      <a:lnTo>
                        <a:pt x="0" y="0"/>
                      </a:lnTo>
                      <a:lnTo>
                        <a:pt x="0" y="6"/>
                      </a:lnTo>
                      <a:lnTo>
                        <a:pt x="0" y="6"/>
                      </a:lnTo>
                      <a:lnTo>
                        <a:pt x="2" y="4"/>
                      </a:lnTo>
                      <a:lnTo>
                        <a:pt x="2" y="4"/>
                      </a:lnTo>
                      <a:lnTo>
                        <a:pt x="4" y="4"/>
                      </a:lnTo>
                      <a:lnTo>
                        <a:pt x="4" y="2"/>
                      </a:lnTo>
                      <a:lnTo>
                        <a:pt x="2" y="0"/>
                      </a:lnTo>
                      <a:lnTo>
                        <a:pt x="0" y="0"/>
                      </a:lnTo>
                      <a:lnTo>
                        <a:pt x="0"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5" name="Freeform 6082"/>
                <p:cNvSpPr>
                  <a:spLocks/>
                </p:cNvSpPr>
                <p:nvPr/>
              </p:nvSpPr>
              <p:spPr bwMode="auto">
                <a:xfrm>
                  <a:off x="2799080" y="3324543"/>
                  <a:ext cx="5080" cy="5080"/>
                </a:xfrm>
                <a:custGeom>
                  <a:avLst/>
                  <a:gdLst/>
                  <a:ahLst/>
                  <a:cxnLst>
                    <a:cxn ang="0">
                      <a:pos x="0" y="0"/>
                    </a:cxn>
                    <a:cxn ang="0">
                      <a:pos x="0" y="0"/>
                    </a:cxn>
                    <a:cxn ang="0">
                      <a:pos x="0" y="4"/>
                    </a:cxn>
                    <a:cxn ang="0">
                      <a:pos x="2" y="6"/>
                    </a:cxn>
                    <a:cxn ang="0">
                      <a:pos x="6" y="8"/>
                    </a:cxn>
                    <a:cxn ang="0">
                      <a:pos x="8" y="6"/>
                    </a:cxn>
                    <a:cxn ang="0">
                      <a:pos x="8" y="6"/>
                    </a:cxn>
                    <a:cxn ang="0">
                      <a:pos x="8" y="4"/>
                    </a:cxn>
                    <a:cxn ang="0">
                      <a:pos x="6" y="2"/>
                    </a:cxn>
                    <a:cxn ang="0">
                      <a:pos x="2" y="0"/>
                    </a:cxn>
                    <a:cxn ang="0">
                      <a:pos x="0" y="0"/>
                    </a:cxn>
                    <a:cxn ang="0">
                      <a:pos x="0" y="0"/>
                    </a:cxn>
                  </a:cxnLst>
                  <a:rect l="0" t="0" r="r" b="b"/>
                  <a:pathLst>
                    <a:path w="8" h="8">
                      <a:moveTo>
                        <a:pt x="0" y="0"/>
                      </a:moveTo>
                      <a:lnTo>
                        <a:pt x="0" y="0"/>
                      </a:lnTo>
                      <a:lnTo>
                        <a:pt x="0" y="4"/>
                      </a:lnTo>
                      <a:lnTo>
                        <a:pt x="2" y="6"/>
                      </a:lnTo>
                      <a:lnTo>
                        <a:pt x="6" y="8"/>
                      </a:lnTo>
                      <a:lnTo>
                        <a:pt x="8" y="6"/>
                      </a:lnTo>
                      <a:lnTo>
                        <a:pt x="8" y="6"/>
                      </a:lnTo>
                      <a:lnTo>
                        <a:pt x="8" y="4"/>
                      </a:lnTo>
                      <a:lnTo>
                        <a:pt x="6" y="2"/>
                      </a:lnTo>
                      <a:lnTo>
                        <a:pt x="2" y="0"/>
                      </a:lnTo>
                      <a:lnTo>
                        <a:pt x="0" y="0"/>
                      </a:lnTo>
                      <a:lnTo>
                        <a:pt x="0"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6" name="Freeform 6083"/>
                <p:cNvSpPr>
                  <a:spLocks/>
                </p:cNvSpPr>
                <p:nvPr/>
              </p:nvSpPr>
              <p:spPr bwMode="auto">
                <a:xfrm>
                  <a:off x="2814320" y="3343593"/>
                  <a:ext cx="2540" cy="5080"/>
                </a:xfrm>
                <a:custGeom>
                  <a:avLst/>
                  <a:gdLst/>
                  <a:ahLst/>
                  <a:cxnLst>
                    <a:cxn ang="0">
                      <a:pos x="2" y="0"/>
                    </a:cxn>
                    <a:cxn ang="0">
                      <a:pos x="2" y="0"/>
                    </a:cxn>
                    <a:cxn ang="0">
                      <a:pos x="0" y="2"/>
                    </a:cxn>
                    <a:cxn ang="0">
                      <a:pos x="0" y="6"/>
                    </a:cxn>
                    <a:cxn ang="0">
                      <a:pos x="2" y="8"/>
                    </a:cxn>
                    <a:cxn ang="0">
                      <a:pos x="4" y="8"/>
                    </a:cxn>
                    <a:cxn ang="0">
                      <a:pos x="4" y="8"/>
                    </a:cxn>
                    <a:cxn ang="0">
                      <a:pos x="4" y="2"/>
                    </a:cxn>
                    <a:cxn ang="0">
                      <a:pos x="4" y="0"/>
                    </a:cxn>
                    <a:cxn ang="0">
                      <a:pos x="2" y="0"/>
                    </a:cxn>
                    <a:cxn ang="0">
                      <a:pos x="2" y="0"/>
                    </a:cxn>
                  </a:cxnLst>
                  <a:rect l="0" t="0" r="r" b="b"/>
                  <a:pathLst>
                    <a:path w="4" h="8">
                      <a:moveTo>
                        <a:pt x="2" y="0"/>
                      </a:moveTo>
                      <a:lnTo>
                        <a:pt x="2" y="0"/>
                      </a:lnTo>
                      <a:lnTo>
                        <a:pt x="0" y="2"/>
                      </a:lnTo>
                      <a:lnTo>
                        <a:pt x="0" y="6"/>
                      </a:lnTo>
                      <a:lnTo>
                        <a:pt x="2" y="8"/>
                      </a:lnTo>
                      <a:lnTo>
                        <a:pt x="4" y="8"/>
                      </a:lnTo>
                      <a:lnTo>
                        <a:pt x="4" y="8"/>
                      </a:lnTo>
                      <a:lnTo>
                        <a:pt x="4" y="2"/>
                      </a:lnTo>
                      <a:lnTo>
                        <a:pt x="4" y="0"/>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7" name="Freeform 6085"/>
                <p:cNvSpPr>
                  <a:spLocks/>
                </p:cNvSpPr>
                <p:nvPr/>
              </p:nvSpPr>
              <p:spPr bwMode="auto">
                <a:xfrm>
                  <a:off x="2792730" y="3301683"/>
                  <a:ext cx="2540" cy="3810"/>
                </a:xfrm>
                <a:custGeom>
                  <a:avLst/>
                  <a:gdLst/>
                  <a:ahLst/>
                  <a:cxnLst>
                    <a:cxn ang="0">
                      <a:pos x="2" y="6"/>
                    </a:cxn>
                    <a:cxn ang="0">
                      <a:pos x="2" y="6"/>
                    </a:cxn>
                    <a:cxn ang="0">
                      <a:pos x="4" y="6"/>
                    </a:cxn>
                    <a:cxn ang="0">
                      <a:pos x="4" y="4"/>
                    </a:cxn>
                    <a:cxn ang="0">
                      <a:pos x="4" y="2"/>
                    </a:cxn>
                    <a:cxn ang="0">
                      <a:pos x="2" y="0"/>
                    </a:cxn>
                    <a:cxn ang="0">
                      <a:pos x="2" y="0"/>
                    </a:cxn>
                    <a:cxn ang="0">
                      <a:pos x="0" y="2"/>
                    </a:cxn>
                    <a:cxn ang="0">
                      <a:pos x="0" y="4"/>
                    </a:cxn>
                    <a:cxn ang="0">
                      <a:pos x="0" y="6"/>
                    </a:cxn>
                    <a:cxn ang="0">
                      <a:pos x="2" y="6"/>
                    </a:cxn>
                    <a:cxn ang="0">
                      <a:pos x="2" y="6"/>
                    </a:cxn>
                  </a:cxnLst>
                  <a:rect l="0" t="0" r="r" b="b"/>
                  <a:pathLst>
                    <a:path w="4" h="6">
                      <a:moveTo>
                        <a:pt x="2" y="6"/>
                      </a:moveTo>
                      <a:lnTo>
                        <a:pt x="2" y="6"/>
                      </a:lnTo>
                      <a:lnTo>
                        <a:pt x="4" y="6"/>
                      </a:lnTo>
                      <a:lnTo>
                        <a:pt x="4" y="4"/>
                      </a:lnTo>
                      <a:lnTo>
                        <a:pt x="4" y="2"/>
                      </a:lnTo>
                      <a:lnTo>
                        <a:pt x="2" y="0"/>
                      </a:lnTo>
                      <a:lnTo>
                        <a:pt x="2" y="0"/>
                      </a:lnTo>
                      <a:lnTo>
                        <a:pt x="0" y="2"/>
                      </a:lnTo>
                      <a:lnTo>
                        <a:pt x="0" y="4"/>
                      </a:lnTo>
                      <a:lnTo>
                        <a:pt x="0" y="6"/>
                      </a:lnTo>
                      <a:lnTo>
                        <a:pt x="2" y="6"/>
                      </a:lnTo>
                      <a:lnTo>
                        <a:pt x="2"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8" name="Freeform 6090"/>
                <p:cNvSpPr>
                  <a:spLocks/>
                </p:cNvSpPr>
                <p:nvPr/>
              </p:nvSpPr>
              <p:spPr bwMode="auto">
                <a:xfrm>
                  <a:off x="2880360" y="3452813"/>
                  <a:ext cx="6350" cy="8890"/>
                </a:xfrm>
                <a:custGeom>
                  <a:avLst/>
                  <a:gdLst/>
                  <a:ahLst/>
                  <a:cxnLst>
                    <a:cxn ang="0">
                      <a:pos x="0" y="4"/>
                    </a:cxn>
                    <a:cxn ang="0">
                      <a:pos x="0" y="4"/>
                    </a:cxn>
                    <a:cxn ang="0">
                      <a:pos x="2" y="8"/>
                    </a:cxn>
                    <a:cxn ang="0">
                      <a:pos x="4" y="12"/>
                    </a:cxn>
                    <a:cxn ang="0">
                      <a:pos x="6" y="14"/>
                    </a:cxn>
                    <a:cxn ang="0">
                      <a:pos x="8" y="12"/>
                    </a:cxn>
                    <a:cxn ang="0">
                      <a:pos x="8" y="12"/>
                    </a:cxn>
                    <a:cxn ang="0">
                      <a:pos x="10" y="10"/>
                    </a:cxn>
                    <a:cxn ang="0">
                      <a:pos x="10" y="8"/>
                    </a:cxn>
                    <a:cxn ang="0">
                      <a:pos x="6" y="2"/>
                    </a:cxn>
                    <a:cxn ang="0">
                      <a:pos x="6" y="2"/>
                    </a:cxn>
                    <a:cxn ang="0">
                      <a:pos x="2" y="0"/>
                    </a:cxn>
                    <a:cxn ang="0">
                      <a:pos x="2" y="0"/>
                    </a:cxn>
                    <a:cxn ang="0">
                      <a:pos x="0" y="4"/>
                    </a:cxn>
                    <a:cxn ang="0">
                      <a:pos x="0" y="4"/>
                    </a:cxn>
                  </a:cxnLst>
                  <a:rect l="0" t="0" r="r" b="b"/>
                  <a:pathLst>
                    <a:path w="10" h="14">
                      <a:moveTo>
                        <a:pt x="0" y="4"/>
                      </a:moveTo>
                      <a:lnTo>
                        <a:pt x="0" y="4"/>
                      </a:lnTo>
                      <a:lnTo>
                        <a:pt x="2" y="8"/>
                      </a:lnTo>
                      <a:lnTo>
                        <a:pt x="4" y="12"/>
                      </a:lnTo>
                      <a:lnTo>
                        <a:pt x="6" y="14"/>
                      </a:lnTo>
                      <a:lnTo>
                        <a:pt x="8" y="12"/>
                      </a:lnTo>
                      <a:lnTo>
                        <a:pt x="8" y="12"/>
                      </a:lnTo>
                      <a:lnTo>
                        <a:pt x="10" y="10"/>
                      </a:lnTo>
                      <a:lnTo>
                        <a:pt x="10" y="8"/>
                      </a:lnTo>
                      <a:lnTo>
                        <a:pt x="6" y="2"/>
                      </a:lnTo>
                      <a:lnTo>
                        <a:pt x="6" y="2"/>
                      </a:lnTo>
                      <a:lnTo>
                        <a:pt x="2" y="0"/>
                      </a:lnTo>
                      <a:lnTo>
                        <a:pt x="2" y="0"/>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79" name="Freeform 6093"/>
                <p:cNvSpPr>
                  <a:spLocks/>
                </p:cNvSpPr>
                <p:nvPr/>
              </p:nvSpPr>
              <p:spPr bwMode="auto">
                <a:xfrm>
                  <a:off x="2354580" y="1968183"/>
                  <a:ext cx="12700" cy="10160"/>
                </a:xfrm>
                <a:custGeom>
                  <a:avLst/>
                  <a:gdLst/>
                  <a:ahLst/>
                  <a:cxnLst>
                    <a:cxn ang="0">
                      <a:pos x="14" y="12"/>
                    </a:cxn>
                    <a:cxn ang="0">
                      <a:pos x="14" y="12"/>
                    </a:cxn>
                    <a:cxn ang="0">
                      <a:pos x="18" y="6"/>
                    </a:cxn>
                    <a:cxn ang="0">
                      <a:pos x="20" y="2"/>
                    </a:cxn>
                    <a:cxn ang="0">
                      <a:pos x="20" y="0"/>
                    </a:cxn>
                    <a:cxn ang="0">
                      <a:pos x="18" y="2"/>
                    </a:cxn>
                    <a:cxn ang="0">
                      <a:pos x="18" y="2"/>
                    </a:cxn>
                    <a:cxn ang="0">
                      <a:pos x="14" y="4"/>
                    </a:cxn>
                    <a:cxn ang="0">
                      <a:pos x="10" y="6"/>
                    </a:cxn>
                    <a:cxn ang="0">
                      <a:pos x="4" y="8"/>
                    </a:cxn>
                    <a:cxn ang="0">
                      <a:pos x="2" y="10"/>
                    </a:cxn>
                    <a:cxn ang="0">
                      <a:pos x="0" y="12"/>
                    </a:cxn>
                    <a:cxn ang="0">
                      <a:pos x="0" y="12"/>
                    </a:cxn>
                    <a:cxn ang="0">
                      <a:pos x="0" y="16"/>
                    </a:cxn>
                    <a:cxn ang="0">
                      <a:pos x="4" y="16"/>
                    </a:cxn>
                    <a:cxn ang="0">
                      <a:pos x="14" y="12"/>
                    </a:cxn>
                    <a:cxn ang="0">
                      <a:pos x="14" y="12"/>
                    </a:cxn>
                  </a:cxnLst>
                  <a:rect l="0" t="0" r="r" b="b"/>
                  <a:pathLst>
                    <a:path w="20" h="16">
                      <a:moveTo>
                        <a:pt x="14" y="12"/>
                      </a:moveTo>
                      <a:lnTo>
                        <a:pt x="14" y="12"/>
                      </a:lnTo>
                      <a:lnTo>
                        <a:pt x="18" y="6"/>
                      </a:lnTo>
                      <a:lnTo>
                        <a:pt x="20" y="2"/>
                      </a:lnTo>
                      <a:lnTo>
                        <a:pt x="20" y="0"/>
                      </a:lnTo>
                      <a:lnTo>
                        <a:pt x="18" y="2"/>
                      </a:lnTo>
                      <a:lnTo>
                        <a:pt x="18" y="2"/>
                      </a:lnTo>
                      <a:lnTo>
                        <a:pt x="14" y="4"/>
                      </a:lnTo>
                      <a:lnTo>
                        <a:pt x="10" y="6"/>
                      </a:lnTo>
                      <a:lnTo>
                        <a:pt x="4" y="8"/>
                      </a:lnTo>
                      <a:lnTo>
                        <a:pt x="2" y="10"/>
                      </a:lnTo>
                      <a:lnTo>
                        <a:pt x="0" y="12"/>
                      </a:lnTo>
                      <a:lnTo>
                        <a:pt x="0" y="12"/>
                      </a:lnTo>
                      <a:lnTo>
                        <a:pt x="0" y="16"/>
                      </a:lnTo>
                      <a:lnTo>
                        <a:pt x="4" y="16"/>
                      </a:lnTo>
                      <a:lnTo>
                        <a:pt x="14" y="12"/>
                      </a:lnTo>
                      <a:lnTo>
                        <a:pt x="14" y="1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0" name="Freeform 6095"/>
                <p:cNvSpPr>
                  <a:spLocks/>
                </p:cNvSpPr>
                <p:nvPr/>
              </p:nvSpPr>
              <p:spPr bwMode="auto">
                <a:xfrm>
                  <a:off x="2357120" y="1961833"/>
                  <a:ext cx="27940" cy="30480"/>
                </a:xfrm>
                <a:custGeom>
                  <a:avLst/>
                  <a:gdLst/>
                  <a:ahLst/>
                  <a:cxnLst>
                    <a:cxn ang="0">
                      <a:pos x="32" y="46"/>
                    </a:cxn>
                    <a:cxn ang="0">
                      <a:pos x="32" y="46"/>
                    </a:cxn>
                    <a:cxn ang="0">
                      <a:pos x="36" y="44"/>
                    </a:cxn>
                    <a:cxn ang="0">
                      <a:pos x="36" y="40"/>
                    </a:cxn>
                    <a:cxn ang="0">
                      <a:pos x="42" y="24"/>
                    </a:cxn>
                    <a:cxn ang="0">
                      <a:pos x="42" y="24"/>
                    </a:cxn>
                    <a:cxn ang="0">
                      <a:pos x="44" y="16"/>
                    </a:cxn>
                    <a:cxn ang="0">
                      <a:pos x="44" y="12"/>
                    </a:cxn>
                    <a:cxn ang="0">
                      <a:pos x="38" y="6"/>
                    </a:cxn>
                    <a:cxn ang="0">
                      <a:pos x="38" y="6"/>
                    </a:cxn>
                    <a:cxn ang="0">
                      <a:pos x="32" y="2"/>
                    </a:cxn>
                    <a:cxn ang="0">
                      <a:pos x="30" y="0"/>
                    </a:cxn>
                    <a:cxn ang="0">
                      <a:pos x="28" y="8"/>
                    </a:cxn>
                    <a:cxn ang="0">
                      <a:pos x="28" y="8"/>
                    </a:cxn>
                    <a:cxn ang="0">
                      <a:pos x="26" y="18"/>
                    </a:cxn>
                    <a:cxn ang="0">
                      <a:pos x="24" y="18"/>
                    </a:cxn>
                    <a:cxn ang="0">
                      <a:pos x="24" y="16"/>
                    </a:cxn>
                    <a:cxn ang="0">
                      <a:pos x="24" y="16"/>
                    </a:cxn>
                    <a:cxn ang="0">
                      <a:pos x="24" y="6"/>
                    </a:cxn>
                    <a:cxn ang="0">
                      <a:pos x="24" y="4"/>
                    </a:cxn>
                    <a:cxn ang="0">
                      <a:pos x="22" y="4"/>
                    </a:cxn>
                    <a:cxn ang="0">
                      <a:pos x="22" y="4"/>
                    </a:cxn>
                    <a:cxn ang="0">
                      <a:pos x="22" y="6"/>
                    </a:cxn>
                    <a:cxn ang="0">
                      <a:pos x="22" y="10"/>
                    </a:cxn>
                    <a:cxn ang="0">
                      <a:pos x="22" y="12"/>
                    </a:cxn>
                    <a:cxn ang="0">
                      <a:pos x="20" y="18"/>
                    </a:cxn>
                    <a:cxn ang="0">
                      <a:pos x="20" y="18"/>
                    </a:cxn>
                    <a:cxn ang="0">
                      <a:pos x="18" y="20"/>
                    </a:cxn>
                    <a:cxn ang="0">
                      <a:pos x="16" y="24"/>
                    </a:cxn>
                    <a:cxn ang="0">
                      <a:pos x="12" y="26"/>
                    </a:cxn>
                    <a:cxn ang="0">
                      <a:pos x="10" y="32"/>
                    </a:cxn>
                    <a:cxn ang="0">
                      <a:pos x="10" y="32"/>
                    </a:cxn>
                    <a:cxn ang="0">
                      <a:pos x="2" y="40"/>
                    </a:cxn>
                    <a:cxn ang="0">
                      <a:pos x="0" y="44"/>
                    </a:cxn>
                    <a:cxn ang="0">
                      <a:pos x="2" y="48"/>
                    </a:cxn>
                    <a:cxn ang="0">
                      <a:pos x="2" y="48"/>
                    </a:cxn>
                    <a:cxn ang="0">
                      <a:pos x="4" y="48"/>
                    </a:cxn>
                    <a:cxn ang="0">
                      <a:pos x="6" y="46"/>
                    </a:cxn>
                    <a:cxn ang="0">
                      <a:pos x="14" y="38"/>
                    </a:cxn>
                    <a:cxn ang="0">
                      <a:pos x="14" y="38"/>
                    </a:cxn>
                    <a:cxn ang="0">
                      <a:pos x="20" y="30"/>
                    </a:cxn>
                    <a:cxn ang="0">
                      <a:pos x="20" y="32"/>
                    </a:cxn>
                    <a:cxn ang="0">
                      <a:pos x="18" y="40"/>
                    </a:cxn>
                    <a:cxn ang="0">
                      <a:pos x="18" y="40"/>
                    </a:cxn>
                    <a:cxn ang="0">
                      <a:pos x="12" y="48"/>
                    </a:cxn>
                    <a:cxn ang="0">
                      <a:pos x="18" y="46"/>
                    </a:cxn>
                    <a:cxn ang="0">
                      <a:pos x="18" y="46"/>
                    </a:cxn>
                    <a:cxn ang="0">
                      <a:pos x="22" y="46"/>
                    </a:cxn>
                    <a:cxn ang="0">
                      <a:pos x="24" y="44"/>
                    </a:cxn>
                    <a:cxn ang="0">
                      <a:pos x="28" y="36"/>
                    </a:cxn>
                    <a:cxn ang="0">
                      <a:pos x="30" y="28"/>
                    </a:cxn>
                    <a:cxn ang="0">
                      <a:pos x="34" y="26"/>
                    </a:cxn>
                    <a:cxn ang="0">
                      <a:pos x="34" y="26"/>
                    </a:cxn>
                    <a:cxn ang="0">
                      <a:pos x="36" y="26"/>
                    </a:cxn>
                    <a:cxn ang="0">
                      <a:pos x="36" y="28"/>
                    </a:cxn>
                    <a:cxn ang="0">
                      <a:pos x="34" y="36"/>
                    </a:cxn>
                    <a:cxn ang="0">
                      <a:pos x="32" y="44"/>
                    </a:cxn>
                    <a:cxn ang="0">
                      <a:pos x="32" y="46"/>
                    </a:cxn>
                    <a:cxn ang="0">
                      <a:pos x="32" y="46"/>
                    </a:cxn>
                    <a:cxn ang="0">
                      <a:pos x="32" y="46"/>
                    </a:cxn>
                  </a:cxnLst>
                  <a:rect l="0" t="0" r="r" b="b"/>
                  <a:pathLst>
                    <a:path w="44" h="48">
                      <a:moveTo>
                        <a:pt x="32" y="46"/>
                      </a:moveTo>
                      <a:lnTo>
                        <a:pt x="32" y="46"/>
                      </a:lnTo>
                      <a:lnTo>
                        <a:pt x="36" y="44"/>
                      </a:lnTo>
                      <a:lnTo>
                        <a:pt x="36" y="40"/>
                      </a:lnTo>
                      <a:lnTo>
                        <a:pt x="42" y="24"/>
                      </a:lnTo>
                      <a:lnTo>
                        <a:pt x="42" y="24"/>
                      </a:lnTo>
                      <a:lnTo>
                        <a:pt x="44" y="16"/>
                      </a:lnTo>
                      <a:lnTo>
                        <a:pt x="44" y="12"/>
                      </a:lnTo>
                      <a:lnTo>
                        <a:pt x="38" y="6"/>
                      </a:lnTo>
                      <a:lnTo>
                        <a:pt x="38" y="6"/>
                      </a:lnTo>
                      <a:lnTo>
                        <a:pt x="32" y="2"/>
                      </a:lnTo>
                      <a:lnTo>
                        <a:pt x="30" y="0"/>
                      </a:lnTo>
                      <a:lnTo>
                        <a:pt x="28" y="8"/>
                      </a:lnTo>
                      <a:lnTo>
                        <a:pt x="28" y="8"/>
                      </a:lnTo>
                      <a:lnTo>
                        <a:pt x="26" y="18"/>
                      </a:lnTo>
                      <a:lnTo>
                        <a:pt x="24" y="18"/>
                      </a:lnTo>
                      <a:lnTo>
                        <a:pt x="24" y="16"/>
                      </a:lnTo>
                      <a:lnTo>
                        <a:pt x="24" y="16"/>
                      </a:lnTo>
                      <a:lnTo>
                        <a:pt x="24" y="6"/>
                      </a:lnTo>
                      <a:lnTo>
                        <a:pt x="24" y="4"/>
                      </a:lnTo>
                      <a:lnTo>
                        <a:pt x="22" y="4"/>
                      </a:lnTo>
                      <a:lnTo>
                        <a:pt x="22" y="4"/>
                      </a:lnTo>
                      <a:lnTo>
                        <a:pt x="22" y="6"/>
                      </a:lnTo>
                      <a:lnTo>
                        <a:pt x="22" y="10"/>
                      </a:lnTo>
                      <a:lnTo>
                        <a:pt x="22" y="12"/>
                      </a:lnTo>
                      <a:lnTo>
                        <a:pt x="20" y="18"/>
                      </a:lnTo>
                      <a:lnTo>
                        <a:pt x="20" y="18"/>
                      </a:lnTo>
                      <a:lnTo>
                        <a:pt x="18" y="20"/>
                      </a:lnTo>
                      <a:lnTo>
                        <a:pt x="16" y="24"/>
                      </a:lnTo>
                      <a:lnTo>
                        <a:pt x="12" y="26"/>
                      </a:lnTo>
                      <a:lnTo>
                        <a:pt x="10" y="32"/>
                      </a:lnTo>
                      <a:lnTo>
                        <a:pt x="10" y="32"/>
                      </a:lnTo>
                      <a:lnTo>
                        <a:pt x="2" y="40"/>
                      </a:lnTo>
                      <a:lnTo>
                        <a:pt x="0" y="44"/>
                      </a:lnTo>
                      <a:lnTo>
                        <a:pt x="2" y="48"/>
                      </a:lnTo>
                      <a:lnTo>
                        <a:pt x="2" y="48"/>
                      </a:lnTo>
                      <a:lnTo>
                        <a:pt x="4" y="48"/>
                      </a:lnTo>
                      <a:lnTo>
                        <a:pt x="6" y="46"/>
                      </a:lnTo>
                      <a:lnTo>
                        <a:pt x="14" y="38"/>
                      </a:lnTo>
                      <a:lnTo>
                        <a:pt x="14" y="38"/>
                      </a:lnTo>
                      <a:lnTo>
                        <a:pt x="20" y="30"/>
                      </a:lnTo>
                      <a:lnTo>
                        <a:pt x="20" y="32"/>
                      </a:lnTo>
                      <a:lnTo>
                        <a:pt x="18" y="40"/>
                      </a:lnTo>
                      <a:lnTo>
                        <a:pt x="18" y="40"/>
                      </a:lnTo>
                      <a:lnTo>
                        <a:pt x="12" y="48"/>
                      </a:lnTo>
                      <a:lnTo>
                        <a:pt x="18" y="46"/>
                      </a:lnTo>
                      <a:lnTo>
                        <a:pt x="18" y="46"/>
                      </a:lnTo>
                      <a:lnTo>
                        <a:pt x="22" y="46"/>
                      </a:lnTo>
                      <a:lnTo>
                        <a:pt x="24" y="44"/>
                      </a:lnTo>
                      <a:lnTo>
                        <a:pt x="28" y="36"/>
                      </a:lnTo>
                      <a:lnTo>
                        <a:pt x="30" y="28"/>
                      </a:lnTo>
                      <a:lnTo>
                        <a:pt x="34" y="26"/>
                      </a:lnTo>
                      <a:lnTo>
                        <a:pt x="34" y="26"/>
                      </a:lnTo>
                      <a:lnTo>
                        <a:pt x="36" y="26"/>
                      </a:lnTo>
                      <a:lnTo>
                        <a:pt x="36" y="28"/>
                      </a:lnTo>
                      <a:lnTo>
                        <a:pt x="34" y="36"/>
                      </a:lnTo>
                      <a:lnTo>
                        <a:pt x="32" y="44"/>
                      </a:lnTo>
                      <a:lnTo>
                        <a:pt x="32" y="46"/>
                      </a:lnTo>
                      <a:lnTo>
                        <a:pt x="32" y="46"/>
                      </a:lnTo>
                      <a:lnTo>
                        <a:pt x="32" y="4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1" name="Freeform 6096"/>
                <p:cNvSpPr>
                  <a:spLocks/>
                </p:cNvSpPr>
                <p:nvPr/>
              </p:nvSpPr>
              <p:spPr bwMode="auto">
                <a:xfrm>
                  <a:off x="2385060" y="1968183"/>
                  <a:ext cx="7620" cy="13970"/>
                </a:xfrm>
                <a:custGeom>
                  <a:avLst/>
                  <a:gdLst/>
                  <a:ahLst/>
                  <a:cxnLst>
                    <a:cxn ang="0">
                      <a:pos x="8" y="18"/>
                    </a:cxn>
                    <a:cxn ang="0">
                      <a:pos x="8" y="18"/>
                    </a:cxn>
                    <a:cxn ang="0">
                      <a:pos x="12" y="14"/>
                    </a:cxn>
                    <a:cxn ang="0">
                      <a:pos x="12" y="8"/>
                    </a:cxn>
                    <a:cxn ang="0">
                      <a:pos x="12" y="2"/>
                    </a:cxn>
                    <a:cxn ang="0">
                      <a:pos x="10" y="0"/>
                    </a:cxn>
                    <a:cxn ang="0">
                      <a:pos x="10" y="0"/>
                    </a:cxn>
                    <a:cxn ang="0">
                      <a:pos x="10" y="0"/>
                    </a:cxn>
                    <a:cxn ang="0">
                      <a:pos x="6" y="2"/>
                    </a:cxn>
                    <a:cxn ang="0">
                      <a:pos x="4" y="6"/>
                    </a:cxn>
                    <a:cxn ang="0">
                      <a:pos x="0" y="18"/>
                    </a:cxn>
                    <a:cxn ang="0">
                      <a:pos x="0" y="18"/>
                    </a:cxn>
                    <a:cxn ang="0">
                      <a:pos x="0" y="20"/>
                    </a:cxn>
                    <a:cxn ang="0">
                      <a:pos x="2" y="22"/>
                    </a:cxn>
                    <a:cxn ang="0">
                      <a:pos x="8" y="18"/>
                    </a:cxn>
                    <a:cxn ang="0">
                      <a:pos x="8" y="18"/>
                    </a:cxn>
                  </a:cxnLst>
                  <a:rect l="0" t="0" r="r" b="b"/>
                  <a:pathLst>
                    <a:path w="12" h="22">
                      <a:moveTo>
                        <a:pt x="8" y="18"/>
                      </a:moveTo>
                      <a:lnTo>
                        <a:pt x="8" y="18"/>
                      </a:lnTo>
                      <a:lnTo>
                        <a:pt x="12" y="14"/>
                      </a:lnTo>
                      <a:lnTo>
                        <a:pt x="12" y="8"/>
                      </a:lnTo>
                      <a:lnTo>
                        <a:pt x="12" y="2"/>
                      </a:lnTo>
                      <a:lnTo>
                        <a:pt x="10" y="0"/>
                      </a:lnTo>
                      <a:lnTo>
                        <a:pt x="10" y="0"/>
                      </a:lnTo>
                      <a:lnTo>
                        <a:pt x="10" y="0"/>
                      </a:lnTo>
                      <a:lnTo>
                        <a:pt x="6" y="2"/>
                      </a:lnTo>
                      <a:lnTo>
                        <a:pt x="4" y="6"/>
                      </a:lnTo>
                      <a:lnTo>
                        <a:pt x="0" y="18"/>
                      </a:lnTo>
                      <a:lnTo>
                        <a:pt x="0" y="18"/>
                      </a:lnTo>
                      <a:lnTo>
                        <a:pt x="0" y="20"/>
                      </a:lnTo>
                      <a:lnTo>
                        <a:pt x="2" y="22"/>
                      </a:lnTo>
                      <a:lnTo>
                        <a:pt x="8" y="18"/>
                      </a:lnTo>
                      <a:lnTo>
                        <a:pt x="8" y="1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2" name="Freeform 6097"/>
                <p:cNvSpPr>
                  <a:spLocks/>
                </p:cNvSpPr>
                <p:nvPr/>
              </p:nvSpPr>
              <p:spPr bwMode="auto">
                <a:xfrm>
                  <a:off x="2886710" y="2154873"/>
                  <a:ext cx="172720" cy="186690"/>
                </a:xfrm>
                <a:custGeom>
                  <a:avLst/>
                  <a:gdLst/>
                  <a:ahLst/>
                  <a:cxnLst>
                    <a:cxn ang="0">
                      <a:pos x="268" y="206"/>
                    </a:cxn>
                    <a:cxn ang="0">
                      <a:pos x="244" y="222"/>
                    </a:cxn>
                    <a:cxn ang="0">
                      <a:pos x="230" y="238"/>
                    </a:cxn>
                    <a:cxn ang="0">
                      <a:pos x="234" y="214"/>
                    </a:cxn>
                    <a:cxn ang="0">
                      <a:pos x="250" y="196"/>
                    </a:cxn>
                    <a:cxn ang="0">
                      <a:pos x="258" y="182"/>
                    </a:cxn>
                    <a:cxn ang="0">
                      <a:pos x="246" y="182"/>
                    </a:cxn>
                    <a:cxn ang="0">
                      <a:pos x="224" y="180"/>
                    </a:cxn>
                    <a:cxn ang="0">
                      <a:pos x="230" y="158"/>
                    </a:cxn>
                    <a:cxn ang="0">
                      <a:pos x="236" y="140"/>
                    </a:cxn>
                    <a:cxn ang="0">
                      <a:pos x="200" y="130"/>
                    </a:cxn>
                    <a:cxn ang="0">
                      <a:pos x="170" y="138"/>
                    </a:cxn>
                    <a:cxn ang="0">
                      <a:pos x="168" y="130"/>
                    </a:cxn>
                    <a:cxn ang="0">
                      <a:pos x="150" y="130"/>
                    </a:cxn>
                    <a:cxn ang="0">
                      <a:pos x="140" y="118"/>
                    </a:cxn>
                    <a:cxn ang="0">
                      <a:pos x="150" y="106"/>
                    </a:cxn>
                    <a:cxn ang="0">
                      <a:pos x="148" y="94"/>
                    </a:cxn>
                    <a:cxn ang="0">
                      <a:pos x="118" y="102"/>
                    </a:cxn>
                    <a:cxn ang="0">
                      <a:pos x="106" y="108"/>
                    </a:cxn>
                    <a:cxn ang="0">
                      <a:pos x="130" y="64"/>
                    </a:cxn>
                    <a:cxn ang="0">
                      <a:pos x="156" y="18"/>
                    </a:cxn>
                    <a:cxn ang="0">
                      <a:pos x="156" y="0"/>
                    </a:cxn>
                    <a:cxn ang="0">
                      <a:pos x="126" y="8"/>
                    </a:cxn>
                    <a:cxn ang="0">
                      <a:pos x="106" y="24"/>
                    </a:cxn>
                    <a:cxn ang="0">
                      <a:pos x="94" y="44"/>
                    </a:cxn>
                    <a:cxn ang="0">
                      <a:pos x="70" y="84"/>
                    </a:cxn>
                    <a:cxn ang="0">
                      <a:pos x="32" y="170"/>
                    </a:cxn>
                    <a:cxn ang="0">
                      <a:pos x="26" y="170"/>
                    </a:cxn>
                    <a:cxn ang="0">
                      <a:pos x="8" y="182"/>
                    </a:cxn>
                    <a:cxn ang="0">
                      <a:pos x="10" y="190"/>
                    </a:cxn>
                    <a:cxn ang="0">
                      <a:pos x="28" y="196"/>
                    </a:cxn>
                    <a:cxn ang="0">
                      <a:pos x="2" y="218"/>
                    </a:cxn>
                    <a:cxn ang="0">
                      <a:pos x="4" y="234"/>
                    </a:cxn>
                    <a:cxn ang="0">
                      <a:pos x="20" y="240"/>
                    </a:cxn>
                    <a:cxn ang="0">
                      <a:pos x="54" y="232"/>
                    </a:cxn>
                    <a:cxn ang="0">
                      <a:pos x="96" y="240"/>
                    </a:cxn>
                    <a:cxn ang="0">
                      <a:pos x="132" y="236"/>
                    </a:cxn>
                    <a:cxn ang="0">
                      <a:pos x="134" y="246"/>
                    </a:cxn>
                    <a:cxn ang="0">
                      <a:pos x="166" y="246"/>
                    </a:cxn>
                    <a:cxn ang="0">
                      <a:pos x="162" y="256"/>
                    </a:cxn>
                    <a:cxn ang="0">
                      <a:pos x="134" y="278"/>
                    </a:cxn>
                    <a:cxn ang="0">
                      <a:pos x="148" y="286"/>
                    </a:cxn>
                    <a:cxn ang="0">
                      <a:pos x="174" y="266"/>
                    </a:cxn>
                    <a:cxn ang="0">
                      <a:pos x="188" y="252"/>
                    </a:cxn>
                    <a:cxn ang="0">
                      <a:pos x="200" y="246"/>
                    </a:cxn>
                    <a:cxn ang="0">
                      <a:pos x="212" y="228"/>
                    </a:cxn>
                    <a:cxn ang="0">
                      <a:pos x="220" y="240"/>
                    </a:cxn>
                    <a:cxn ang="0">
                      <a:pos x="212" y="272"/>
                    </a:cxn>
                    <a:cxn ang="0">
                      <a:pos x="222" y="278"/>
                    </a:cxn>
                    <a:cxn ang="0">
                      <a:pos x="232" y="276"/>
                    </a:cxn>
                    <a:cxn ang="0">
                      <a:pos x="244" y="292"/>
                    </a:cxn>
                    <a:cxn ang="0">
                      <a:pos x="264" y="292"/>
                    </a:cxn>
                    <a:cxn ang="0">
                      <a:pos x="266" y="258"/>
                    </a:cxn>
                    <a:cxn ang="0">
                      <a:pos x="272" y="230"/>
                    </a:cxn>
                    <a:cxn ang="0">
                      <a:pos x="258" y="230"/>
                    </a:cxn>
                  </a:cxnLst>
                  <a:rect l="0" t="0" r="r" b="b"/>
                  <a:pathLst>
                    <a:path w="272" h="294">
                      <a:moveTo>
                        <a:pt x="262" y="218"/>
                      </a:moveTo>
                      <a:lnTo>
                        <a:pt x="262" y="218"/>
                      </a:lnTo>
                      <a:lnTo>
                        <a:pt x="266" y="210"/>
                      </a:lnTo>
                      <a:lnTo>
                        <a:pt x="268" y="206"/>
                      </a:lnTo>
                      <a:lnTo>
                        <a:pt x="266" y="204"/>
                      </a:lnTo>
                      <a:lnTo>
                        <a:pt x="262" y="206"/>
                      </a:lnTo>
                      <a:lnTo>
                        <a:pt x="250" y="216"/>
                      </a:lnTo>
                      <a:lnTo>
                        <a:pt x="244" y="222"/>
                      </a:lnTo>
                      <a:lnTo>
                        <a:pt x="238" y="230"/>
                      </a:lnTo>
                      <a:lnTo>
                        <a:pt x="238" y="230"/>
                      </a:lnTo>
                      <a:lnTo>
                        <a:pt x="234" y="236"/>
                      </a:lnTo>
                      <a:lnTo>
                        <a:pt x="230" y="238"/>
                      </a:lnTo>
                      <a:lnTo>
                        <a:pt x="228" y="234"/>
                      </a:lnTo>
                      <a:lnTo>
                        <a:pt x="228" y="228"/>
                      </a:lnTo>
                      <a:lnTo>
                        <a:pt x="230" y="222"/>
                      </a:lnTo>
                      <a:lnTo>
                        <a:pt x="234" y="214"/>
                      </a:lnTo>
                      <a:lnTo>
                        <a:pt x="238" y="206"/>
                      </a:lnTo>
                      <a:lnTo>
                        <a:pt x="244" y="200"/>
                      </a:lnTo>
                      <a:lnTo>
                        <a:pt x="244" y="200"/>
                      </a:lnTo>
                      <a:lnTo>
                        <a:pt x="250" y="196"/>
                      </a:lnTo>
                      <a:lnTo>
                        <a:pt x="256" y="192"/>
                      </a:lnTo>
                      <a:lnTo>
                        <a:pt x="258" y="188"/>
                      </a:lnTo>
                      <a:lnTo>
                        <a:pt x="258" y="186"/>
                      </a:lnTo>
                      <a:lnTo>
                        <a:pt x="258" y="182"/>
                      </a:lnTo>
                      <a:lnTo>
                        <a:pt x="256" y="182"/>
                      </a:lnTo>
                      <a:lnTo>
                        <a:pt x="252" y="182"/>
                      </a:lnTo>
                      <a:lnTo>
                        <a:pt x="246" y="182"/>
                      </a:lnTo>
                      <a:lnTo>
                        <a:pt x="246" y="182"/>
                      </a:lnTo>
                      <a:lnTo>
                        <a:pt x="240" y="184"/>
                      </a:lnTo>
                      <a:lnTo>
                        <a:pt x="234" y="184"/>
                      </a:lnTo>
                      <a:lnTo>
                        <a:pt x="228" y="182"/>
                      </a:lnTo>
                      <a:lnTo>
                        <a:pt x="224" y="180"/>
                      </a:lnTo>
                      <a:lnTo>
                        <a:pt x="222" y="174"/>
                      </a:lnTo>
                      <a:lnTo>
                        <a:pt x="222" y="170"/>
                      </a:lnTo>
                      <a:lnTo>
                        <a:pt x="224" y="164"/>
                      </a:lnTo>
                      <a:lnTo>
                        <a:pt x="230" y="158"/>
                      </a:lnTo>
                      <a:lnTo>
                        <a:pt x="230" y="158"/>
                      </a:lnTo>
                      <a:lnTo>
                        <a:pt x="236" y="152"/>
                      </a:lnTo>
                      <a:lnTo>
                        <a:pt x="238" y="146"/>
                      </a:lnTo>
                      <a:lnTo>
                        <a:pt x="236" y="140"/>
                      </a:lnTo>
                      <a:lnTo>
                        <a:pt x="230" y="136"/>
                      </a:lnTo>
                      <a:lnTo>
                        <a:pt x="222" y="132"/>
                      </a:lnTo>
                      <a:lnTo>
                        <a:pt x="212" y="130"/>
                      </a:lnTo>
                      <a:lnTo>
                        <a:pt x="200" y="130"/>
                      </a:lnTo>
                      <a:lnTo>
                        <a:pt x="186" y="134"/>
                      </a:lnTo>
                      <a:lnTo>
                        <a:pt x="186" y="134"/>
                      </a:lnTo>
                      <a:lnTo>
                        <a:pt x="176" y="136"/>
                      </a:lnTo>
                      <a:lnTo>
                        <a:pt x="170" y="138"/>
                      </a:lnTo>
                      <a:lnTo>
                        <a:pt x="168" y="136"/>
                      </a:lnTo>
                      <a:lnTo>
                        <a:pt x="168" y="134"/>
                      </a:lnTo>
                      <a:lnTo>
                        <a:pt x="168" y="132"/>
                      </a:lnTo>
                      <a:lnTo>
                        <a:pt x="168" y="130"/>
                      </a:lnTo>
                      <a:lnTo>
                        <a:pt x="164" y="128"/>
                      </a:lnTo>
                      <a:lnTo>
                        <a:pt x="158" y="130"/>
                      </a:lnTo>
                      <a:lnTo>
                        <a:pt x="158" y="130"/>
                      </a:lnTo>
                      <a:lnTo>
                        <a:pt x="150" y="130"/>
                      </a:lnTo>
                      <a:lnTo>
                        <a:pt x="144" y="130"/>
                      </a:lnTo>
                      <a:lnTo>
                        <a:pt x="142" y="126"/>
                      </a:lnTo>
                      <a:lnTo>
                        <a:pt x="140" y="122"/>
                      </a:lnTo>
                      <a:lnTo>
                        <a:pt x="140" y="118"/>
                      </a:lnTo>
                      <a:lnTo>
                        <a:pt x="142" y="112"/>
                      </a:lnTo>
                      <a:lnTo>
                        <a:pt x="146" y="108"/>
                      </a:lnTo>
                      <a:lnTo>
                        <a:pt x="150" y="106"/>
                      </a:lnTo>
                      <a:lnTo>
                        <a:pt x="150" y="106"/>
                      </a:lnTo>
                      <a:lnTo>
                        <a:pt x="154" y="104"/>
                      </a:lnTo>
                      <a:lnTo>
                        <a:pt x="154" y="102"/>
                      </a:lnTo>
                      <a:lnTo>
                        <a:pt x="152" y="98"/>
                      </a:lnTo>
                      <a:lnTo>
                        <a:pt x="148" y="94"/>
                      </a:lnTo>
                      <a:lnTo>
                        <a:pt x="142" y="92"/>
                      </a:lnTo>
                      <a:lnTo>
                        <a:pt x="136" y="92"/>
                      </a:lnTo>
                      <a:lnTo>
                        <a:pt x="128" y="96"/>
                      </a:lnTo>
                      <a:lnTo>
                        <a:pt x="118" y="102"/>
                      </a:lnTo>
                      <a:lnTo>
                        <a:pt x="118" y="102"/>
                      </a:lnTo>
                      <a:lnTo>
                        <a:pt x="110" y="110"/>
                      </a:lnTo>
                      <a:lnTo>
                        <a:pt x="108" y="110"/>
                      </a:lnTo>
                      <a:lnTo>
                        <a:pt x="106" y="108"/>
                      </a:lnTo>
                      <a:lnTo>
                        <a:pt x="108" y="102"/>
                      </a:lnTo>
                      <a:lnTo>
                        <a:pt x="118" y="84"/>
                      </a:lnTo>
                      <a:lnTo>
                        <a:pt x="130" y="64"/>
                      </a:lnTo>
                      <a:lnTo>
                        <a:pt x="130" y="64"/>
                      </a:lnTo>
                      <a:lnTo>
                        <a:pt x="138" y="46"/>
                      </a:lnTo>
                      <a:lnTo>
                        <a:pt x="148" y="30"/>
                      </a:lnTo>
                      <a:lnTo>
                        <a:pt x="156" y="18"/>
                      </a:lnTo>
                      <a:lnTo>
                        <a:pt x="156" y="18"/>
                      </a:lnTo>
                      <a:lnTo>
                        <a:pt x="160" y="12"/>
                      </a:lnTo>
                      <a:lnTo>
                        <a:pt x="160" y="8"/>
                      </a:lnTo>
                      <a:lnTo>
                        <a:pt x="160" y="4"/>
                      </a:lnTo>
                      <a:lnTo>
                        <a:pt x="156" y="0"/>
                      </a:lnTo>
                      <a:lnTo>
                        <a:pt x="152" y="0"/>
                      </a:lnTo>
                      <a:lnTo>
                        <a:pt x="144" y="0"/>
                      </a:lnTo>
                      <a:lnTo>
                        <a:pt x="136" y="2"/>
                      </a:lnTo>
                      <a:lnTo>
                        <a:pt x="126" y="8"/>
                      </a:lnTo>
                      <a:lnTo>
                        <a:pt x="126" y="8"/>
                      </a:lnTo>
                      <a:lnTo>
                        <a:pt x="116" y="14"/>
                      </a:lnTo>
                      <a:lnTo>
                        <a:pt x="110" y="18"/>
                      </a:lnTo>
                      <a:lnTo>
                        <a:pt x="106" y="24"/>
                      </a:lnTo>
                      <a:lnTo>
                        <a:pt x="104" y="28"/>
                      </a:lnTo>
                      <a:lnTo>
                        <a:pt x="102" y="36"/>
                      </a:lnTo>
                      <a:lnTo>
                        <a:pt x="98" y="40"/>
                      </a:lnTo>
                      <a:lnTo>
                        <a:pt x="94" y="44"/>
                      </a:lnTo>
                      <a:lnTo>
                        <a:pt x="94" y="44"/>
                      </a:lnTo>
                      <a:lnTo>
                        <a:pt x="88" y="50"/>
                      </a:lnTo>
                      <a:lnTo>
                        <a:pt x="82" y="60"/>
                      </a:lnTo>
                      <a:lnTo>
                        <a:pt x="70" y="84"/>
                      </a:lnTo>
                      <a:lnTo>
                        <a:pt x="56" y="116"/>
                      </a:lnTo>
                      <a:lnTo>
                        <a:pt x="42" y="150"/>
                      </a:lnTo>
                      <a:lnTo>
                        <a:pt x="42" y="150"/>
                      </a:lnTo>
                      <a:lnTo>
                        <a:pt x="32" y="170"/>
                      </a:lnTo>
                      <a:lnTo>
                        <a:pt x="30" y="172"/>
                      </a:lnTo>
                      <a:lnTo>
                        <a:pt x="28" y="172"/>
                      </a:lnTo>
                      <a:lnTo>
                        <a:pt x="28" y="170"/>
                      </a:lnTo>
                      <a:lnTo>
                        <a:pt x="26" y="170"/>
                      </a:lnTo>
                      <a:lnTo>
                        <a:pt x="24" y="170"/>
                      </a:lnTo>
                      <a:lnTo>
                        <a:pt x="18" y="174"/>
                      </a:lnTo>
                      <a:lnTo>
                        <a:pt x="18" y="174"/>
                      </a:lnTo>
                      <a:lnTo>
                        <a:pt x="8" y="182"/>
                      </a:lnTo>
                      <a:lnTo>
                        <a:pt x="6" y="186"/>
                      </a:lnTo>
                      <a:lnTo>
                        <a:pt x="4" y="188"/>
                      </a:lnTo>
                      <a:lnTo>
                        <a:pt x="6" y="188"/>
                      </a:lnTo>
                      <a:lnTo>
                        <a:pt x="10" y="190"/>
                      </a:lnTo>
                      <a:lnTo>
                        <a:pt x="22" y="192"/>
                      </a:lnTo>
                      <a:lnTo>
                        <a:pt x="22" y="192"/>
                      </a:lnTo>
                      <a:lnTo>
                        <a:pt x="28" y="194"/>
                      </a:lnTo>
                      <a:lnTo>
                        <a:pt x="28" y="196"/>
                      </a:lnTo>
                      <a:lnTo>
                        <a:pt x="28" y="198"/>
                      </a:lnTo>
                      <a:lnTo>
                        <a:pt x="14" y="206"/>
                      </a:lnTo>
                      <a:lnTo>
                        <a:pt x="8" y="212"/>
                      </a:lnTo>
                      <a:lnTo>
                        <a:pt x="2" y="218"/>
                      </a:lnTo>
                      <a:lnTo>
                        <a:pt x="0" y="222"/>
                      </a:lnTo>
                      <a:lnTo>
                        <a:pt x="0" y="226"/>
                      </a:lnTo>
                      <a:lnTo>
                        <a:pt x="0" y="230"/>
                      </a:lnTo>
                      <a:lnTo>
                        <a:pt x="4" y="234"/>
                      </a:lnTo>
                      <a:lnTo>
                        <a:pt x="4" y="234"/>
                      </a:lnTo>
                      <a:lnTo>
                        <a:pt x="6" y="236"/>
                      </a:lnTo>
                      <a:lnTo>
                        <a:pt x="10" y="240"/>
                      </a:lnTo>
                      <a:lnTo>
                        <a:pt x="20" y="240"/>
                      </a:lnTo>
                      <a:lnTo>
                        <a:pt x="38" y="234"/>
                      </a:lnTo>
                      <a:lnTo>
                        <a:pt x="38" y="234"/>
                      </a:lnTo>
                      <a:lnTo>
                        <a:pt x="48" y="232"/>
                      </a:lnTo>
                      <a:lnTo>
                        <a:pt x="54" y="232"/>
                      </a:lnTo>
                      <a:lnTo>
                        <a:pt x="68" y="236"/>
                      </a:lnTo>
                      <a:lnTo>
                        <a:pt x="74" y="238"/>
                      </a:lnTo>
                      <a:lnTo>
                        <a:pt x="84" y="240"/>
                      </a:lnTo>
                      <a:lnTo>
                        <a:pt x="96" y="240"/>
                      </a:lnTo>
                      <a:lnTo>
                        <a:pt x="112" y="238"/>
                      </a:lnTo>
                      <a:lnTo>
                        <a:pt x="112" y="238"/>
                      </a:lnTo>
                      <a:lnTo>
                        <a:pt x="126" y="236"/>
                      </a:lnTo>
                      <a:lnTo>
                        <a:pt x="132" y="236"/>
                      </a:lnTo>
                      <a:lnTo>
                        <a:pt x="134" y="238"/>
                      </a:lnTo>
                      <a:lnTo>
                        <a:pt x="134" y="240"/>
                      </a:lnTo>
                      <a:lnTo>
                        <a:pt x="134" y="244"/>
                      </a:lnTo>
                      <a:lnTo>
                        <a:pt x="134" y="246"/>
                      </a:lnTo>
                      <a:lnTo>
                        <a:pt x="140" y="246"/>
                      </a:lnTo>
                      <a:lnTo>
                        <a:pt x="154" y="246"/>
                      </a:lnTo>
                      <a:lnTo>
                        <a:pt x="154" y="246"/>
                      </a:lnTo>
                      <a:lnTo>
                        <a:pt x="166" y="246"/>
                      </a:lnTo>
                      <a:lnTo>
                        <a:pt x="170" y="246"/>
                      </a:lnTo>
                      <a:lnTo>
                        <a:pt x="170" y="248"/>
                      </a:lnTo>
                      <a:lnTo>
                        <a:pt x="168" y="252"/>
                      </a:lnTo>
                      <a:lnTo>
                        <a:pt x="162" y="256"/>
                      </a:lnTo>
                      <a:lnTo>
                        <a:pt x="144" y="268"/>
                      </a:lnTo>
                      <a:lnTo>
                        <a:pt x="138" y="274"/>
                      </a:lnTo>
                      <a:lnTo>
                        <a:pt x="134" y="278"/>
                      </a:lnTo>
                      <a:lnTo>
                        <a:pt x="134" y="278"/>
                      </a:lnTo>
                      <a:lnTo>
                        <a:pt x="136" y="282"/>
                      </a:lnTo>
                      <a:lnTo>
                        <a:pt x="138" y="284"/>
                      </a:lnTo>
                      <a:lnTo>
                        <a:pt x="142" y="286"/>
                      </a:lnTo>
                      <a:lnTo>
                        <a:pt x="148" y="286"/>
                      </a:lnTo>
                      <a:lnTo>
                        <a:pt x="154" y="284"/>
                      </a:lnTo>
                      <a:lnTo>
                        <a:pt x="162" y="280"/>
                      </a:lnTo>
                      <a:lnTo>
                        <a:pt x="168" y="274"/>
                      </a:lnTo>
                      <a:lnTo>
                        <a:pt x="174" y="266"/>
                      </a:lnTo>
                      <a:lnTo>
                        <a:pt x="174" y="266"/>
                      </a:lnTo>
                      <a:lnTo>
                        <a:pt x="180" y="258"/>
                      </a:lnTo>
                      <a:lnTo>
                        <a:pt x="184" y="254"/>
                      </a:lnTo>
                      <a:lnTo>
                        <a:pt x="188" y="252"/>
                      </a:lnTo>
                      <a:lnTo>
                        <a:pt x="192" y="252"/>
                      </a:lnTo>
                      <a:lnTo>
                        <a:pt x="194" y="252"/>
                      </a:lnTo>
                      <a:lnTo>
                        <a:pt x="196" y="250"/>
                      </a:lnTo>
                      <a:lnTo>
                        <a:pt x="200" y="246"/>
                      </a:lnTo>
                      <a:lnTo>
                        <a:pt x="204" y="238"/>
                      </a:lnTo>
                      <a:lnTo>
                        <a:pt x="204" y="238"/>
                      </a:lnTo>
                      <a:lnTo>
                        <a:pt x="208" y="232"/>
                      </a:lnTo>
                      <a:lnTo>
                        <a:pt x="212" y="228"/>
                      </a:lnTo>
                      <a:lnTo>
                        <a:pt x="214" y="228"/>
                      </a:lnTo>
                      <a:lnTo>
                        <a:pt x="218" y="230"/>
                      </a:lnTo>
                      <a:lnTo>
                        <a:pt x="220" y="234"/>
                      </a:lnTo>
                      <a:lnTo>
                        <a:pt x="220" y="240"/>
                      </a:lnTo>
                      <a:lnTo>
                        <a:pt x="218" y="248"/>
                      </a:lnTo>
                      <a:lnTo>
                        <a:pt x="216" y="256"/>
                      </a:lnTo>
                      <a:lnTo>
                        <a:pt x="216" y="256"/>
                      </a:lnTo>
                      <a:lnTo>
                        <a:pt x="212" y="272"/>
                      </a:lnTo>
                      <a:lnTo>
                        <a:pt x="210" y="282"/>
                      </a:lnTo>
                      <a:lnTo>
                        <a:pt x="210" y="284"/>
                      </a:lnTo>
                      <a:lnTo>
                        <a:pt x="212" y="284"/>
                      </a:lnTo>
                      <a:lnTo>
                        <a:pt x="222" y="278"/>
                      </a:lnTo>
                      <a:lnTo>
                        <a:pt x="222" y="278"/>
                      </a:lnTo>
                      <a:lnTo>
                        <a:pt x="228" y="274"/>
                      </a:lnTo>
                      <a:lnTo>
                        <a:pt x="230" y="274"/>
                      </a:lnTo>
                      <a:lnTo>
                        <a:pt x="232" y="276"/>
                      </a:lnTo>
                      <a:lnTo>
                        <a:pt x="234" y="280"/>
                      </a:lnTo>
                      <a:lnTo>
                        <a:pt x="236" y="284"/>
                      </a:lnTo>
                      <a:lnTo>
                        <a:pt x="240" y="290"/>
                      </a:lnTo>
                      <a:lnTo>
                        <a:pt x="244" y="292"/>
                      </a:lnTo>
                      <a:lnTo>
                        <a:pt x="252" y="294"/>
                      </a:lnTo>
                      <a:lnTo>
                        <a:pt x="252" y="294"/>
                      </a:lnTo>
                      <a:lnTo>
                        <a:pt x="260" y="294"/>
                      </a:lnTo>
                      <a:lnTo>
                        <a:pt x="264" y="292"/>
                      </a:lnTo>
                      <a:lnTo>
                        <a:pt x="266" y="288"/>
                      </a:lnTo>
                      <a:lnTo>
                        <a:pt x="266" y="284"/>
                      </a:lnTo>
                      <a:lnTo>
                        <a:pt x="264" y="268"/>
                      </a:lnTo>
                      <a:lnTo>
                        <a:pt x="266" y="258"/>
                      </a:lnTo>
                      <a:lnTo>
                        <a:pt x="270" y="246"/>
                      </a:lnTo>
                      <a:lnTo>
                        <a:pt x="270" y="246"/>
                      </a:lnTo>
                      <a:lnTo>
                        <a:pt x="272" y="236"/>
                      </a:lnTo>
                      <a:lnTo>
                        <a:pt x="272" y="230"/>
                      </a:lnTo>
                      <a:lnTo>
                        <a:pt x="268" y="228"/>
                      </a:lnTo>
                      <a:lnTo>
                        <a:pt x="264" y="230"/>
                      </a:lnTo>
                      <a:lnTo>
                        <a:pt x="260" y="230"/>
                      </a:lnTo>
                      <a:lnTo>
                        <a:pt x="258" y="230"/>
                      </a:lnTo>
                      <a:lnTo>
                        <a:pt x="258" y="226"/>
                      </a:lnTo>
                      <a:lnTo>
                        <a:pt x="262" y="218"/>
                      </a:lnTo>
                      <a:lnTo>
                        <a:pt x="262" y="21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3" name="Freeform 6114"/>
                <p:cNvSpPr>
                  <a:spLocks/>
                </p:cNvSpPr>
                <p:nvPr/>
              </p:nvSpPr>
              <p:spPr bwMode="auto">
                <a:xfrm>
                  <a:off x="2306320" y="2092643"/>
                  <a:ext cx="36830" cy="21590"/>
                </a:xfrm>
                <a:custGeom>
                  <a:avLst/>
                  <a:gdLst/>
                  <a:ahLst/>
                  <a:cxnLst>
                    <a:cxn ang="0">
                      <a:pos x="16" y="20"/>
                    </a:cxn>
                    <a:cxn ang="0">
                      <a:pos x="16" y="20"/>
                    </a:cxn>
                    <a:cxn ang="0">
                      <a:pos x="40" y="30"/>
                    </a:cxn>
                    <a:cxn ang="0">
                      <a:pos x="50" y="34"/>
                    </a:cxn>
                    <a:cxn ang="0">
                      <a:pos x="54" y="34"/>
                    </a:cxn>
                    <a:cxn ang="0">
                      <a:pos x="56" y="32"/>
                    </a:cxn>
                    <a:cxn ang="0">
                      <a:pos x="56" y="32"/>
                    </a:cxn>
                    <a:cxn ang="0">
                      <a:pos x="58" y="28"/>
                    </a:cxn>
                    <a:cxn ang="0">
                      <a:pos x="56" y="26"/>
                    </a:cxn>
                    <a:cxn ang="0">
                      <a:pos x="52" y="16"/>
                    </a:cxn>
                    <a:cxn ang="0">
                      <a:pos x="40" y="4"/>
                    </a:cxn>
                    <a:cxn ang="0">
                      <a:pos x="40" y="4"/>
                    </a:cxn>
                    <a:cxn ang="0">
                      <a:pos x="34" y="2"/>
                    </a:cxn>
                    <a:cxn ang="0">
                      <a:pos x="22" y="0"/>
                    </a:cxn>
                    <a:cxn ang="0">
                      <a:pos x="10" y="4"/>
                    </a:cxn>
                    <a:cxn ang="0">
                      <a:pos x="4" y="6"/>
                    </a:cxn>
                    <a:cxn ang="0">
                      <a:pos x="2" y="8"/>
                    </a:cxn>
                    <a:cxn ang="0">
                      <a:pos x="2" y="8"/>
                    </a:cxn>
                    <a:cxn ang="0">
                      <a:pos x="0" y="12"/>
                    </a:cxn>
                    <a:cxn ang="0">
                      <a:pos x="2" y="14"/>
                    </a:cxn>
                    <a:cxn ang="0">
                      <a:pos x="16" y="20"/>
                    </a:cxn>
                    <a:cxn ang="0">
                      <a:pos x="16" y="20"/>
                    </a:cxn>
                  </a:cxnLst>
                  <a:rect l="0" t="0" r="r" b="b"/>
                  <a:pathLst>
                    <a:path w="58" h="34">
                      <a:moveTo>
                        <a:pt x="16" y="20"/>
                      </a:moveTo>
                      <a:lnTo>
                        <a:pt x="16" y="20"/>
                      </a:lnTo>
                      <a:lnTo>
                        <a:pt x="40" y="30"/>
                      </a:lnTo>
                      <a:lnTo>
                        <a:pt x="50" y="34"/>
                      </a:lnTo>
                      <a:lnTo>
                        <a:pt x="54" y="34"/>
                      </a:lnTo>
                      <a:lnTo>
                        <a:pt x="56" y="32"/>
                      </a:lnTo>
                      <a:lnTo>
                        <a:pt x="56" y="32"/>
                      </a:lnTo>
                      <a:lnTo>
                        <a:pt x="58" y="28"/>
                      </a:lnTo>
                      <a:lnTo>
                        <a:pt x="56" y="26"/>
                      </a:lnTo>
                      <a:lnTo>
                        <a:pt x="52" y="16"/>
                      </a:lnTo>
                      <a:lnTo>
                        <a:pt x="40" y="4"/>
                      </a:lnTo>
                      <a:lnTo>
                        <a:pt x="40" y="4"/>
                      </a:lnTo>
                      <a:lnTo>
                        <a:pt x="34" y="2"/>
                      </a:lnTo>
                      <a:lnTo>
                        <a:pt x="22" y="0"/>
                      </a:lnTo>
                      <a:lnTo>
                        <a:pt x="10" y="4"/>
                      </a:lnTo>
                      <a:lnTo>
                        <a:pt x="4" y="6"/>
                      </a:lnTo>
                      <a:lnTo>
                        <a:pt x="2" y="8"/>
                      </a:lnTo>
                      <a:lnTo>
                        <a:pt x="2" y="8"/>
                      </a:lnTo>
                      <a:lnTo>
                        <a:pt x="0" y="12"/>
                      </a:lnTo>
                      <a:lnTo>
                        <a:pt x="2" y="14"/>
                      </a:lnTo>
                      <a:lnTo>
                        <a:pt x="16" y="20"/>
                      </a:lnTo>
                      <a:lnTo>
                        <a:pt x="16" y="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grpSp>
              <p:nvGrpSpPr>
                <p:cNvPr id="8" name="Gruppe 224"/>
                <p:cNvGrpSpPr/>
                <p:nvPr/>
              </p:nvGrpSpPr>
              <p:grpSpPr>
                <a:xfrm>
                  <a:off x="106680" y="699453"/>
                  <a:ext cx="3986530" cy="2951480"/>
                  <a:chOff x="106680" y="699453"/>
                  <a:chExt cx="3986530" cy="2951480"/>
                </a:xfrm>
                <a:grpFill/>
              </p:grpSpPr>
              <p:sp>
                <p:nvSpPr>
                  <p:cNvPr id="207" name="Freeform 6016"/>
                  <p:cNvSpPr>
                    <a:spLocks/>
                  </p:cNvSpPr>
                  <p:nvPr/>
                </p:nvSpPr>
                <p:spPr bwMode="auto">
                  <a:xfrm>
                    <a:off x="1352550" y="1099503"/>
                    <a:ext cx="40640" cy="26670"/>
                  </a:xfrm>
                  <a:custGeom>
                    <a:avLst/>
                    <a:gdLst/>
                    <a:ahLst/>
                    <a:cxnLst>
                      <a:cxn ang="0">
                        <a:pos x="54" y="2"/>
                      </a:cxn>
                      <a:cxn ang="0">
                        <a:pos x="54" y="2"/>
                      </a:cxn>
                      <a:cxn ang="0">
                        <a:pos x="32" y="12"/>
                      </a:cxn>
                      <a:cxn ang="0">
                        <a:pos x="10" y="24"/>
                      </a:cxn>
                      <a:cxn ang="0">
                        <a:pos x="4" y="30"/>
                      </a:cxn>
                      <a:cxn ang="0">
                        <a:pos x="0" y="36"/>
                      </a:cxn>
                      <a:cxn ang="0">
                        <a:pos x="2" y="38"/>
                      </a:cxn>
                      <a:cxn ang="0">
                        <a:pos x="4" y="40"/>
                      </a:cxn>
                      <a:cxn ang="0">
                        <a:pos x="16" y="42"/>
                      </a:cxn>
                      <a:cxn ang="0">
                        <a:pos x="16" y="42"/>
                      </a:cxn>
                      <a:cxn ang="0">
                        <a:pos x="22" y="42"/>
                      </a:cxn>
                      <a:cxn ang="0">
                        <a:pos x="28" y="42"/>
                      </a:cxn>
                      <a:cxn ang="0">
                        <a:pos x="40" y="36"/>
                      </a:cxn>
                      <a:cxn ang="0">
                        <a:pos x="50" y="28"/>
                      </a:cxn>
                      <a:cxn ang="0">
                        <a:pos x="58" y="20"/>
                      </a:cxn>
                      <a:cxn ang="0">
                        <a:pos x="62" y="10"/>
                      </a:cxn>
                      <a:cxn ang="0">
                        <a:pos x="64" y="4"/>
                      </a:cxn>
                      <a:cxn ang="0">
                        <a:pos x="64" y="2"/>
                      </a:cxn>
                      <a:cxn ang="0">
                        <a:pos x="62" y="0"/>
                      </a:cxn>
                      <a:cxn ang="0">
                        <a:pos x="58" y="0"/>
                      </a:cxn>
                      <a:cxn ang="0">
                        <a:pos x="54" y="2"/>
                      </a:cxn>
                      <a:cxn ang="0">
                        <a:pos x="54" y="2"/>
                      </a:cxn>
                    </a:cxnLst>
                    <a:rect l="0" t="0" r="r" b="b"/>
                    <a:pathLst>
                      <a:path w="64" h="42">
                        <a:moveTo>
                          <a:pt x="54" y="2"/>
                        </a:moveTo>
                        <a:lnTo>
                          <a:pt x="54" y="2"/>
                        </a:lnTo>
                        <a:lnTo>
                          <a:pt x="32" y="12"/>
                        </a:lnTo>
                        <a:lnTo>
                          <a:pt x="10" y="24"/>
                        </a:lnTo>
                        <a:lnTo>
                          <a:pt x="4" y="30"/>
                        </a:lnTo>
                        <a:lnTo>
                          <a:pt x="0" y="36"/>
                        </a:lnTo>
                        <a:lnTo>
                          <a:pt x="2" y="38"/>
                        </a:lnTo>
                        <a:lnTo>
                          <a:pt x="4" y="40"/>
                        </a:lnTo>
                        <a:lnTo>
                          <a:pt x="16" y="42"/>
                        </a:lnTo>
                        <a:lnTo>
                          <a:pt x="16" y="42"/>
                        </a:lnTo>
                        <a:lnTo>
                          <a:pt x="22" y="42"/>
                        </a:lnTo>
                        <a:lnTo>
                          <a:pt x="28" y="42"/>
                        </a:lnTo>
                        <a:lnTo>
                          <a:pt x="40" y="36"/>
                        </a:lnTo>
                        <a:lnTo>
                          <a:pt x="50" y="28"/>
                        </a:lnTo>
                        <a:lnTo>
                          <a:pt x="58" y="20"/>
                        </a:lnTo>
                        <a:lnTo>
                          <a:pt x="62" y="10"/>
                        </a:lnTo>
                        <a:lnTo>
                          <a:pt x="64" y="4"/>
                        </a:lnTo>
                        <a:lnTo>
                          <a:pt x="64" y="2"/>
                        </a:lnTo>
                        <a:lnTo>
                          <a:pt x="62" y="0"/>
                        </a:lnTo>
                        <a:lnTo>
                          <a:pt x="58" y="0"/>
                        </a:lnTo>
                        <a:lnTo>
                          <a:pt x="54" y="2"/>
                        </a:lnTo>
                        <a:lnTo>
                          <a:pt x="54"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8" name="Freeform 6017"/>
                  <p:cNvSpPr>
                    <a:spLocks/>
                  </p:cNvSpPr>
                  <p:nvPr/>
                </p:nvSpPr>
                <p:spPr bwMode="auto">
                  <a:xfrm>
                    <a:off x="1184910" y="1173163"/>
                    <a:ext cx="270510" cy="165100"/>
                  </a:xfrm>
                  <a:custGeom>
                    <a:avLst/>
                    <a:gdLst/>
                    <a:ahLst/>
                    <a:cxnLst>
                      <a:cxn ang="0">
                        <a:pos x="20" y="198"/>
                      </a:cxn>
                      <a:cxn ang="0">
                        <a:pos x="68" y="214"/>
                      </a:cxn>
                      <a:cxn ang="0">
                        <a:pos x="92" y="232"/>
                      </a:cxn>
                      <a:cxn ang="0">
                        <a:pos x="106" y="256"/>
                      </a:cxn>
                      <a:cxn ang="0">
                        <a:pos x="116" y="260"/>
                      </a:cxn>
                      <a:cxn ang="0">
                        <a:pos x="146" y="248"/>
                      </a:cxn>
                      <a:cxn ang="0">
                        <a:pos x="168" y="236"/>
                      </a:cxn>
                      <a:cxn ang="0">
                        <a:pos x="184" y="238"/>
                      </a:cxn>
                      <a:cxn ang="0">
                        <a:pos x="208" y="232"/>
                      </a:cxn>
                      <a:cxn ang="0">
                        <a:pos x="216" y="226"/>
                      </a:cxn>
                      <a:cxn ang="0">
                        <a:pos x="224" y="200"/>
                      </a:cxn>
                      <a:cxn ang="0">
                        <a:pos x="232" y="178"/>
                      </a:cxn>
                      <a:cxn ang="0">
                        <a:pos x="254" y="172"/>
                      </a:cxn>
                      <a:cxn ang="0">
                        <a:pos x="266" y="158"/>
                      </a:cxn>
                      <a:cxn ang="0">
                        <a:pos x="280" y="140"/>
                      </a:cxn>
                      <a:cxn ang="0">
                        <a:pos x="322" y="124"/>
                      </a:cxn>
                      <a:cxn ang="0">
                        <a:pos x="392" y="94"/>
                      </a:cxn>
                      <a:cxn ang="0">
                        <a:pos x="418" y="86"/>
                      </a:cxn>
                      <a:cxn ang="0">
                        <a:pos x="424" y="72"/>
                      </a:cxn>
                      <a:cxn ang="0">
                        <a:pos x="408" y="64"/>
                      </a:cxn>
                      <a:cxn ang="0">
                        <a:pos x="370" y="40"/>
                      </a:cxn>
                      <a:cxn ang="0">
                        <a:pos x="334" y="22"/>
                      </a:cxn>
                      <a:cxn ang="0">
                        <a:pos x="302" y="22"/>
                      </a:cxn>
                      <a:cxn ang="0">
                        <a:pos x="284" y="30"/>
                      </a:cxn>
                      <a:cxn ang="0">
                        <a:pos x="276" y="40"/>
                      </a:cxn>
                      <a:cxn ang="0">
                        <a:pos x="272" y="36"/>
                      </a:cxn>
                      <a:cxn ang="0">
                        <a:pos x="268" y="26"/>
                      </a:cxn>
                      <a:cxn ang="0">
                        <a:pos x="260" y="26"/>
                      </a:cxn>
                      <a:cxn ang="0">
                        <a:pos x="234" y="22"/>
                      </a:cxn>
                      <a:cxn ang="0">
                        <a:pos x="192" y="2"/>
                      </a:cxn>
                      <a:cxn ang="0">
                        <a:pos x="168" y="0"/>
                      </a:cxn>
                      <a:cxn ang="0">
                        <a:pos x="138" y="6"/>
                      </a:cxn>
                      <a:cxn ang="0">
                        <a:pos x="54" y="16"/>
                      </a:cxn>
                      <a:cxn ang="0">
                        <a:pos x="50" y="20"/>
                      </a:cxn>
                      <a:cxn ang="0">
                        <a:pos x="56" y="28"/>
                      </a:cxn>
                      <a:cxn ang="0">
                        <a:pos x="64" y="46"/>
                      </a:cxn>
                      <a:cxn ang="0">
                        <a:pos x="76" y="52"/>
                      </a:cxn>
                      <a:cxn ang="0">
                        <a:pos x="86" y="60"/>
                      </a:cxn>
                      <a:cxn ang="0">
                        <a:pos x="74" y="72"/>
                      </a:cxn>
                      <a:cxn ang="0">
                        <a:pos x="72" y="80"/>
                      </a:cxn>
                      <a:cxn ang="0">
                        <a:pos x="58" y="84"/>
                      </a:cxn>
                      <a:cxn ang="0">
                        <a:pos x="56" y="90"/>
                      </a:cxn>
                      <a:cxn ang="0">
                        <a:pos x="48" y="106"/>
                      </a:cxn>
                      <a:cxn ang="0">
                        <a:pos x="46" y="114"/>
                      </a:cxn>
                      <a:cxn ang="0">
                        <a:pos x="56" y="122"/>
                      </a:cxn>
                      <a:cxn ang="0">
                        <a:pos x="44" y="126"/>
                      </a:cxn>
                      <a:cxn ang="0">
                        <a:pos x="30" y="130"/>
                      </a:cxn>
                      <a:cxn ang="0">
                        <a:pos x="34" y="140"/>
                      </a:cxn>
                      <a:cxn ang="0">
                        <a:pos x="22" y="160"/>
                      </a:cxn>
                      <a:cxn ang="0">
                        <a:pos x="4" y="182"/>
                      </a:cxn>
                      <a:cxn ang="0">
                        <a:pos x="0" y="192"/>
                      </a:cxn>
                      <a:cxn ang="0">
                        <a:pos x="2" y="196"/>
                      </a:cxn>
                    </a:cxnLst>
                    <a:rect l="0" t="0" r="r" b="b"/>
                    <a:pathLst>
                      <a:path w="426" h="260">
                        <a:moveTo>
                          <a:pt x="2" y="196"/>
                        </a:moveTo>
                        <a:lnTo>
                          <a:pt x="2" y="196"/>
                        </a:lnTo>
                        <a:lnTo>
                          <a:pt x="20" y="198"/>
                        </a:lnTo>
                        <a:lnTo>
                          <a:pt x="38" y="204"/>
                        </a:lnTo>
                        <a:lnTo>
                          <a:pt x="68" y="214"/>
                        </a:lnTo>
                        <a:lnTo>
                          <a:pt x="68" y="214"/>
                        </a:lnTo>
                        <a:lnTo>
                          <a:pt x="78" y="220"/>
                        </a:lnTo>
                        <a:lnTo>
                          <a:pt x="86" y="226"/>
                        </a:lnTo>
                        <a:lnTo>
                          <a:pt x="92" y="232"/>
                        </a:lnTo>
                        <a:lnTo>
                          <a:pt x="96" y="240"/>
                        </a:lnTo>
                        <a:lnTo>
                          <a:pt x="102" y="252"/>
                        </a:lnTo>
                        <a:lnTo>
                          <a:pt x="106" y="256"/>
                        </a:lnTo>
                        <a:lnTo>
                          <a:pt x="110" y="260"/>
                        </a:lnTo>
                        <a:lnTo>
                          <a:pt x="110" y="260"/>
                        </a:lnTo>
                        <a:lnTo>
                          <a:pt x="116" y="260"/>
                        </a:lnTo>
                        <a:lnTo>
                          <a:pt x="122" y="260"/>
                        </a:lnTo>
                        <a:lnTo>
                          <a:pt x="134" y="256"/>
                        </a:lnTo>
                        <a:lnTo>
                          <a:pt x="146" y="248"/>
                        </a:lnTo>
                        <a:lnTo>
                          <a:pt x="160" y="240"/>
                        </a:lnTo>
                        <a:lnTo>
                          <a:pt x="160" y="240"/>
                        </a:lnTo>
                        <a:lnTo>
                          <a:pt x="168" y="236"/>
                        </a:lnTo>
                        <a:lnTo>
                          <a:pt x="172" y="234"/>
                        </a:lnTo>
                        <a:lnTo>
                          <a:pt x="180" y="236"/>
                        </a:lnTo>
                        <a:lnTo>
                          <a:pt x="184" y="238"/>
                        </a:lnTo>
                        <a:lnTo>
                          <a:pt x="190" y="238"/>
                        </a:lnTo>
                        <a:lnTo>
                          <a:pt x="198" y="236"/>
                        </a:lnTo>
                        <a:lnTo>
                          <a:pt x="208" y="232"/>
                        </a:lnTo>
                        <a:lnTo>
                          <a:pt x="208" y="232"/>
                        </a:lnTo>
                        <a:lnTo>
                          <a:pt x="212" y="230"/>
                        </a:lnTo>
                        <a:lnTo>
                          <a:pt x="216" y="226"/>
                        </a:lnTo>
                        <a:lnTo>
                          <a:pt x="222" y="218"/>
                        </a:lnTo>
                        <a:lnTo>
                          <a:pt x="224" y="210"/>
                        </a:lnTo>
                        <a:lnTo>
                          <a:pt x="224" y="200"/>
                        </a:lnTo>
                        <a:lnTo>
                          <a:pt x="224" y="192"/>
                        </a:lnTo>
                        <a:lnTo>
                          <a:pt x="226" y="184"/>
                        </a:lnTo>
                        <a:lnTo>
                          <a:pt x="232" y="178"/>
                        </a:lnTo>
                        <a:lnTo>
                          <a:pt x="244" y="174"/>
                        </a:lnTo>
                        <a:lnTo>
                          <a:pt x="244" y="174"/>
                        </a:lnTo>
                        <a:lnTo>
                          <a:pt x="254" y="172"/>
                        </a:lnTo>
                        <a:lnTo>
                          <a:pt x="260" y="170"/>
                        </a:lnTo>
                        <a:lnTo>
                          <a:pt x="264" y="164"/>
                        </a:lnTo>
                        <a:lnTo>
                          <a:pt x="266" y="158"/>
                        </a:lnTo>
                        <a:lnTo>
                          <a:pt x="268" y="152"/>
                        </a:lnTo>
                        <a:lnTo>
                          <a:pt x="272" y="146"/>
                        </a:lnTo>
                        <a:lnTo>
                          <a:pt x="280" y="140"/>
                        </a:lnTo>
                        <a:lnTo>
                          <a:pt x="292" y="136"/>
                        </a:lnTo>
                        <a:lnTo>
                          <a:pt x="292" y="136"/>
                        </a:lnTo>
                        <a:lnTo>
                          <a:pt x="322" y="124"/>
                        </a:lnTo>
                        <a:lnTo>
                          <a:pt x="348" y="112"/>
                        </a:lnTo>
                        <a:lnTo>
                          <a:pt x="370" y="102"/>
                        </a:lnTo>
                        <a:lnTo>
                          <a:pt x="392" y="94"/>
                        </a:lnTo>
                        <a:lnTo>
                          <a:pt x="392" y="94"/>
                        </a:lnTo>
                        <a:lnTo>
                          <a:pt x="408" y="90"/>
                        </a:lnTo>
                        <a:lnTo>
                          <a:pt x="418" y="86"/>
                        </a:lnTo>
                        <a:lnTo>
                          <a:pt x="424" y="82"/>
                        </a:lnTo>
                        <a:lnTo>
                          <a:pt x="426" y="76"/>
                        </a:lnTo>
                        <a:lnTo>
                          <a:pt x="424" y="72"/>
                        </a:lnTo>
                        <a:lnTo>
                          <a:pt x="420" y="70"/>
                        </a:lnTo>
                        <a:lnTo>
                          <a:pt x="408" y="64"/>
                        </a:lnTo>
                        <a:lnTo>
                          <a:pt x="408" y="64"/>
                        </a:lnTo>
                        <a:lnTo>
                          <a:pt x="398" y="60"/>
                        </a:lnTo>
                        <a:lnTo>
                          <a:pt x="390" y="54"/>
                        </a:lnTo>
                        <a:lnTo>
                          <a:pt x="370" y="40"/>
                        </a:lnTo>
                        <a:lnTo>
                          <a:pt x="360" y="32"/>
                        </a:lnTo>
                        <a:lnTo>
                          <a:pt x="348" y="26"/>
                        </a:lnTo>
                        <a:lnTo>
                          <a:pt x="334" y="22"/>
                        </a:lnTo>
                        <a:lnTo>
                          <a:pt x="318" y="22"/>
                        </a:lnTo>
                        <a:lnTo>
                          <a:pt x="318" y="22"/>
                        </a:lnTo>
                        <a:lnTo>
                          <a:pt x="302" y="22"/>
                        </a:lnTo>
                        <a:lnTo>
                          <a:pt x="294" y="24"/>
                        </a:lnTo>
                        <a:lnTo>
                          <a:pt x="288" y="26"/>
                        </a:lnTo>
                        <a:lnTo>
                          <a:pt x="284" y="30"/>
                        </a:lnTo>
                        <a:lnTo>
                          <a:pt x="282" y="36"/>
                        </a:lnTo>
                        <a:lnTo>
                          <a:pt x="280" y="38"/>
                        </a:lnTo>
                        <a:lnTo>
                          <a:pt x="276" y="40"/>
                        </a:lnTo>
                        <a:lnTo>
                          <a:pt x="276" y="40"/>
                        </a:lnTo>
                        <a:lnTo>
                          <a:pt x="272" y="40"/>
                        </a:lnTo>
                        <a:lnTo>
                          <a:pt x="272" y="36"/>
                        </a:lnTo>
                        <a:lnTo>
                          <a:pt x="272" y="32"/>
                        </a:lnTo>
                        <a:lnTo>
                          <a:pt x="272" y="30"/>
                        </a:lnTo>
                        <a:lnTo>
                          <a:pt x="268" y="26"/>
                        </a:lnTo>
                        <a:lnTo>
                          <a:pt x="268" y="26"/>
                        </a:lnTo>
                        <a:lnTo>
                          <a:pt x="266" y="26"/>
                        </a:lnTo>
                        <a:lnTo>
                          <a:pt x="260" y="26"/>
                        </a:lnTo>
                        <a:lnTo>
                          <a:pt x="250" y="24"/>
                        </a:lnTo>
                        <a:lnTo>
                          <a:pt x="234" y="22"/>
                        </a:lnTo>
                        <a:lnTo>
                          <a:pt x="234" y="22"/>
                        </a:lnTo>
                        <a:lnTo>
                          <a:pt x="218" y="16"/>
                        </a:lnTo>
                        <a:lnTo>
                          <a:pt x="208" y="12"/>
                        </a:lnTo>
                        <a:lnTo>
                          <a:pt x="192" y="2"/>
                        </a:lnTo>
                        <a:lnTo>
                          <a:pt x="186" y="0"/>
                        </a:lnTo>
                        <a:lnTo>
                          <a:pt x="178" y="0"/>
                        </a:lnTo>
                        <a:lnTo>
                          <a:pt x="168" y="0"/>
                        </a:lnTo>
                        <a:lnTo>
                          <a:pt x="154" y="2"/>
                        </a:lnTo>
                        <a:lnTo>
                          <a:pt x="154" y="2"/>
                        </a:lnTo>
                        <a:lnTo>
                          <a:pt x="138" y="6"/>
                        </a:lnTo>
                        <a:lnTo>
                          <a:pt x="120" y="8"/>
                        </a:lnTo>
                        <a:lnTo>
                          <a:pt x="82" y="12"/>
                        </a:lnTo>
                        <a:lnTo>
                          <a:pt x="54" y="16"/>
                        </a:lnTo>
                        <a:lnTo>
                          <a:pt x="48" y="18"/>
                        </a:lnTo>
                        <a:lnTo>
                          <a:pt x="48" y="18"/>
                        </a:lnTo>
                        <a:lnTo>
                          <a:pt x="50" y="20"/>
                        </a:lnTo>
                        <a:lnTo>
                          <a:pt x="50" y="20"/>
                        </a:lnTo>
                        <a:lnTo>
                          <a:pt x="54" y="24"/>
                        </a:lnTo>
                        <a:lnTo>
                          <a:pt x="56" y="28"/>
                        </a:lnTo>
                        <a:lnTo>
                          <a:pt x="58" y="36"/>
                        </a:lnTo>
                        <a:lnTo>
                          <a:pt x="60" y="42"/>
                        </a:lnTo>
                        <a:lnTo>
                          <a:pt x="64" y="46"/>
                        </a:lnTo>
                        <a:lnTo>
                          <a:pt x="68" y="48"/>
                        </a:lnTo>
                        <a:lnTo>
                          <a:pt x="76" y="52"/>
                        </a:lnTo>
                        <a:lnTo>
                          <a:pt x="76" y="52"/>
                        </a:lnTo>
                        <a:lnTo>
                          <a:pt x="84" y="56"/>
                        </a:lnTo>
                        <a:lnTo>
                          <a:pt x="86" y="58"/>
                        </a:lnTo>
                        <a:lnTo>
                          <a:pt x="86" y="60"/>
                        </a:lnTo>
                        <a:lnTo>
                          <a:pt x="84" y="64"/>
                        </a:lnTo>
                        <a:lnTo>
                          <a:pt x="76" y="68"/>
                        </a:lnTo>
                        <a:lnTo>
                          <a:pt x="74" y="72"/>
                        </a:lnTo>
                        <a:lnTo>
                          <a:pt x="72" y="76"/>
                        </a:lnTo>
                        <a:lnTo>
                          <a:pt x="72" y="76"/>
                        </a:lnTo>
                        <a:lnTo>
                          <a:pt x="72" y="80"/>
                        </a:lnTo>
                        <a:lnTo>
                          <a:pt x="70" y="82"/>
                        </a:lnTo>
                        <a:lnTo>
                          <a:pt x="64" y="82"/>
                        </a:lnTo>
                        <a:lnTo>
                          <a:pt x="58" y="84"/>
                        </a:lnTo>
                        <a:lnTo>
                          <a:pt x="56" y="86"/>
                        </a:lnTo>
                        <a:lnTo>
                          <a:pt x="56" y="90"/>
                        </a:lnTo>
                        <a:lnTo>
                          <a:pt x="56" y="90"/>
                        </a:lnTo>
                        <a:lnTo>
                          <a:pt x="56" y="94"/>
                        </a:lnTo>
                        <a:lnTo>
                          <a:pt x="54" y="98"/>
                        </a:lnTo>
                        <a:lnTo>
                          <a:pt x="48" y="106"/>
                        </a:lnTo>
                        <a:lnTo>
                          <a:pt x="44" y="110"/>
                        </a:lnTo>
                        <a:lnTo>
                          <a:pt x="44" y="112"/>
                        </a:lnTo>
                        <a:lnTo>
                          <a:pt x="46" y="114"/>
                        </a:lnTo>
                        <a:lnTo>
                          <a:pt x="46" y="114"/>
                        </a:lnTo>
                        <a:lnTo>
                          <a:pt x="54" y="118"/>
                        </a:lnTo>
                        <a:lnTo>
                          <a:pt x="56" y="122"/>
                        </a:lnTo>
                        <a:lnTo>
                          <a:pt x="56" y="124"/>
                        </a:lnTo>
                        <a:lnTo>
                          <a:pt x="54" y="124"/>
                        </a:lnTo>
                        <a:lnTo>
                          <a:pt x="44" y="126"/>
                        </a:lnTo>
                        <a:lnTo>
                          <a:pt x="44" y="126"/>
                        </a:lnTo>
                        <a:lnTo>
                          <a:pt x="34" y="128"/>
                        </a:lnTo>
                        <a:lnTo>
                          <a:pt x="30" y="130"/>
                        </a:lnTo>
                        <a:lnTo>
                          <a:pt x="30" y="134"/>
                        </a:lnTo>
                        <a:lnTo>
                          <a:pt x="34" y="140"/>
                        </a:lnTo>
                        <a:lnTo>
                          <a:pt x="34" y="140"/>
                        </a:lnTo>
                        <a:lnTo>
                          <a:pt x="34" y="144"/>
                        </a:lnTo>
                        <a:lnTo>
                          <a:pt x="32" y="150"/>
                        </a:lnTo>
                        <a:lnTo>
                          <a:pt x="22" y="160"/>
                        </a:lnTo>
                        <a:lnTo>
                          <a:pt x="10" y="172"/>
                        </a:lnTo>
                        <a:lnTo>
                          <a:pt x="6" y="178"/>
                        </a:lnTo>
                        <a:lnTo>
                          <a:pt x="4" y="182"/>
                        </a:lnTo>
                        <a:lnTo>
                          <a:pt x="4" y="182"/>
                        </a:lnTo>
                        <a:lnTo>
                          <a:pt x="2" y="188"/>
                        </a:lnTo>
                        <a:lnTo>
                          <a:pt x="0" y="192"/>
                        </a:lnTo>
                        <a:lnTo>
                          <a:pt x="0" y="194"/>
                        </a:lnTo>
                        <a:lnTo>
                          <a:pt x="2" y="196"/>
                        </a:lnTo>
                        <a:lnTo>
                          <a:pt x="2" y="19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9" name="Freeform 6018"/>
                  <p:cNvSpPr>
                    <a:spLocks/>
                  </p:cNvSpPr>
                  <p:nvPr/>
                </p:nvSpPr>
                <p:spPr bwMode="auto">
                  <a:xfrm>
                    <a:off x="1258570" y="1024573"/>
                    <a:ext cx="190500" cy="87630"/>
                  </a:xfrm>
                  <a:custGeom>
                    <a:avLst/>
                    <a:gdLst/>
                    <a:ahLst/>
                    <a:cxnLst>
                      <a:cxn ang="0">
                        <a:pos x="12" y="124"/>
                      </a:cxn>
                      <a:cxn ang="0">
                        <a:pos x="16" y="130"/>
                      </a:cxn>
                      <a:cxn ang="0">
                        <a:pos x="36" y="120"/>
                      </a:cxn>
                      <a:cxn ang="0">
                        <a:pos x="50" y="118"/>
                      </a:cxn>
                      <a:cxn ang="0">
                        <a:pos x="66" y="124"/>
                      </a:cxn>
                      <a:cxn ang="0">
                        <a:pos x="76" y="124"/>
                      </a:cxn>
                      <a:cxn ang="0">
                        <a:pos x="88" y="114"/>
                      </a:cxn>
                      <a:cxn ang="0">
                        <a:pos x="94" y="122"/>
                      </a:cxn>
                      <a:cxn ang="0">
                        <a:pos x="112" y="138"/>
                      </a:cxn>
                      <a:cxn ang="0">
                        <a:pos x="132" y="132"/>
                      </a:cxn>
                      <a:cxn ang="0">
                        <a:pos x="138" y="114"/>
                      </a:cxn>
                      <a:cxn ang="0">
                        <a:pos x="146" y="110"/>
                      </a:cxn>
                      <a:cxn ang="0">
                        <a:pos x="156" y="114"/>
                      </a:cxn>
                      <a:cxn ang="0">
                        <a:pos x="174" y="94"/>
                      </a:cxn>
                      <a:cxn ang="0">
                        <a:pos x="182" y="76"/>
                      </a:cxn>
                      <a:cxn ang="0">
                        <a:pos x="186" y="66"/>
                      </a:cxn>
                      <a:cxn ang="0">
                        <a:pos x="206" y="56"/>
                      </a:cxn>
                      <a:cxn ang="0">
                        <a:pos x="208" y="64"/>
                      </a:cxn>
                      <a:cxn ang="0">
                        <a:pos x="206" y="88"/>
                      </a:cxn>
                      <a:cxn ang="0">
                        <a:pos x="214" y="96"/>
                      </a:cxn>
                      <a:cxn ang="0">
                        <a:pos x="236" y="100"/>
                      </a:cxn>
                      <a:cxn ang="0">
                        <a:pos x="244" y="92"/>
                      </a:cxn>
                      <a:cxn ang="0">
                        <a:pos x="246" y="80"/>
                      </a:cxn>
                      <a:cxn ang="0">
                        <a:pos x="274" y="74"/>
                      </a:cxn>
                      <a:cxn ang="0">
                        <a:pos x="294" y="60"/>
                      </a:cxn>
                      <a:cxn ang="0">
                        <a:pos x="280" y="42"/>
                      </a:cxn>
                      <a:cxn ang="0">
                        <a:pos x="272" y="36"/>
                      </a:cxn>
                      <a:cxn ang="0">
                        <a:pos x="278" y="28"/>
                      </a:cxn>
                      <a:cxn ang="0">
                        <a:pos x="300" y="18"/>
                      </a:cxn>
                      <a:cxn ang="0">
                        <a:pos x="288" y="8"/>
                      </a:cxn>
                      <a:cxn ang="0">
                        <a:pos x="258" y="0"/>
                      </a:cxn>
                      <a:cxn ang="0">
                        <a:pos x="244" y="4"/>
                      </a:cxn>
                      <a:cxn ang="0">
                        <a:pos x="234" y="16"/>
                      </a:cxn>
                      <a:cxn ang="0">
                        <a:pos x="202" y="12"/>
                      </a:cxn>
                      <a:cxn ang="0">
                        <a:pos x="160" y="18"/>
                      </a:cxn>
                      <a:cxn ang="0">
                        <a:pos x="128" y="38"/>
                      </a:cxn>
                      <a:cxn ang="0">
                        <a:pos x="102" y="58"/>
                      </a:cxn>
                      <a:cxn ang="0">
                        <a:pos x="82" y="66"/>
                      </a:cxn>
                      <a:cxn ang="0">
                        <a:pos x="66" y="78"/>
                      </a:cxn>
                      <a:cxn ang="0">
                        <a:pos x="44" y="90"/>
                      </a:cxn>
                      <a:cxn ang="0">
                        <a:pos x="28" y="86"/>
                      </a:cxn>
                      <a:cxn ang="0">
                        <a:pos x="12" y="96"/>
                      </a:cxn>
                      <a:cxn ang="0">
                        <a:pos x="2" y="112"/>
                      </a:cxn>
                      <a:cxn ang="0">
                        <a:pos x="14" y="116"/>
                      </a:cxn>
                    </a:cxnLst>
                    <a:rect l="0" t="0" r="r" b="b"/>
                    <a:pathLst>
                      <a:path w="300" h="138">
                        <a:moveTo>
                          <a:pt x="14" y="120"/>
                        </a:moveTo>
                        <a:lnTo>
                          <a:pt x="14" y="120"/>
                        </a:lnTo>
                        <a:lnTo>
                          <a:pt x="12" y="124"/>
                        </a:lnTo>
                        <a:lnTo>
                          <a:pt x="12" y="126"/>
                        </a:lnTo>
                        <a:lnTo>
                          <a:pt x="14" y="128"/>
                        </a:lnTo>
                        <a:lnTo>
                          <a:pt x="16" y="130"/>
                        </a:lnTo>
                        <a:lnTo>
                          <a:pt x="24" y="128"/>
                        </a:lnTo>
                        <a:lnTo>
                          <a:pt x="36" y="120"/>
                        </a:lnTo>
                        <a:lnTo>
                          <a:pt x="36" y="120"/>
                        </a:lnTo>
                        <a:lnTo>
                          <a:pt x="42" y="118"/>
                        </a:lnTo>
                        <a:lnTo>
                          <a:pt x="46" y="116"/>
                        </a:lnTo>
                        <a:lnTo>
                          <a:pt x="50" y="118"/>
                        </a:lnTo>
                        <a:lnTo>
                          <a:pt x="52" y="118"/>
                        </a:lnTo>
                        <a:lnTo>
                          <a:pt x="60" y="124"/>
                        </a:lnTo>
                        <a:lnTo>
                          <a:pt x="66" y="124"/>
                        </a:lnTo>
                        <a:lnTo>
                          <a:pt x="72" y="126"/>
                        </a:lnTo>
                        <a:lnTo>
                          <a:pt x="72" y="126"/>
                        </a:lnTo>
                        <a:lnTo>
                          <a:pt x="76" y="124"/>
                        </a:lnTo>
                        <a:lnTo>
                          <a:pt x="82" y="122"/>
                        </a:lnTo>
                        <a:lnTo>
                          <a:pt x="86" y="116"/>
                        </a:lnTo>
                        <a:lnTo>
                          <a:pt x="88" y="114"/>
                        </a:lnTo>
                        <a:lnTo>
                          <a:pt x="90" y="114"/>
                        </a:lnTo>
                        <a:lnTo>
                          <a:pt x="94" y="122"/>
                        </a:lnTo>
                        <a:lnTo>
                          <a:pt x="94" y="122"/>
                        </a:lnTo>
                        <a:lnTo>
                          <a:pt x="98" y="130"/>
                        </a:lnTo>
                        <a:lnTo>
                          <a:pt x="104" y="134"/>
                        </a:lnTo>
                        <a:lnTo>
                          <a:pt x="112" y="138"/>
                        </a:lnTo>
                        <a:lnTo>
                          <a:pt x="118" y="138"/>
                        </a:lnTo>
                        <a:lnTo>
                          <a:pt x="126" y="136"/>
                        </a:lnTo>
                        <a:lnTo>
                          <a:pt x="132" y="132"/>
                        </a:lnTo>
                        <a:lnTo>
                          <a:pt x="136" y="124"/>
                        </a:lnTo>
                        <a:lnTo>
                          <a:pt x="138" y="114"/>
                        </a:lnTo>
                        <a:lnTo>
                          <a:pt x="138" y="114"/>
                        </a:lnTo>
                        <a:lnTo>
                          <a:pt x="138" y="106"/>
                        </a:lnTo>
                        <a:lnTo>
                          <a:pt x="140" y="104"/>
                        </a:lnTo>
                        <a:lnTo>
                          <a:pt x="146" y="110"/>
                        </a:lnTo>
                        <a:lnTo>
                          <a:pt x="150" y="114"/>
                        </a:lnTo>
                        <a:lnTo>
                          <a:pt x="154" y="114"/>
                        </a:lnTo>
                        <a:lnTo>
                          <a:pt x="156" y="114"/>
                        </a:lnTo>
                        <a:lnTo>
                          <a:pt x="160" y="112"/>
                        </a:lnTo>
                        <a:lnTo>
                          <a:pt x="164" y="108"/>
                        </a:lnTo>
                        <a:lnTo>
                          <a:pt x="174" y="94"/>
                        </a:lnTo>
                        <a:lnTo>
                          <a:pt x="174" y="94"/>
                        </a:lnTo>
                        <a:lnTo>
                          <a:pt x="180" y="82"/>
                        </a:lnTo>
                        <a:lnTo>
                          <a:pt x="182" y="76"/>
                        </a:lnTo>
                        <a:lnTo>
                          <a:pt x="182" y="68"/>
                        </a:lnTo>
                        <a:lnTo>
                          <a:pt x="184" y="66"/>
                        </a:lnTo>
                        <a:lnTo>
                          <a:pt x="186" y="66"/>
                        </a:lnTo>
                        <a:lnTo>
                          <a:pt x="198" y="58"/>
                        </a:lnTo>
                        <a:lnTo>
                          <a:pt x="198" y="58"/>
                        </a:lnTo>
                        <a:lnTo>
                          <a:pt x="206" y="56"/>
                        </a:lnTo>
                        <a:lnTo>
                          <a:pt x="208" y="58"/>
                        </a:lnTo>
                        <a:lnTo>
                          <a:pt x="210" y="58"/>
                        </a:lnTo>
                        <a:lnTo>
                          <a:pt x="208" y="64"/>
                        </a:lnTo>
                        <a:lnTo>
                          <a:pt x="206" y="72"/>
                        </a:lnTo>
                        <a:lnTo>
                          <a:pt x="204" y="80"/>
                        </a:lnTo>
                        <a:lnTo>
                          <a:pt x="206" y="88"/>
                        </a:lnTo>
                        <a:lnTo>
                          <a:pt x="208" y="92"/>
                        </a:lnTo>
                        <a:lnTo>
                          <a:pt x="210" y="94"/>
                        </a:lnTo>
                        <a:lnTo>
                          <a:pt x="214" y="96"/>
                        </a:lnTo>
                        <a:lnTo>
                          <a:pt x="222" y="98"/>
                        </a:lnTo>
                        <a:lnTo>
                          <a:pt x="222" y="98"/>
                        </a:lnTo>
                        <a:lnTo>
                          <a:pt x="236" y="100"/>
                        </a:lnTo>
                        <a:lnTo>
                          <a:pt x="242" y="98"/>
                        </a:lnTo>
                        <a:lnTo>
                          <a:pt x="246" y="96"/>
                        </a:lnTo>
                        <a:lnTo>
                          <a:pt x="244" y="92"/>
                        </a:lnTo>
                        <a:lnTo>
                          <a:pt x="244" y="86"/>
                        </a:lnTo>
                        <a:lnTo>
                          <a:pt x="244" y="82"/>
                        </a:lnTo>
                        <a:lnTo>
                          <a:pt x="246" y="80"/>
                        </a:lnTo>
                        <a:lnTo>
                          <a:pt x="254" y="78"/>
                        </a:lnTo>
                        <a:lnTo>
                          <a:pt x="254" y="78"/>
                        </a:lnTo>
                        <a:lnTo>
                          <a:pt x="274" y="74"/>
                        </a:lnTo>
                        <a:lnTo>
                          <a:pt x="284" y="70"/>
                        </a:lnTo>
                        <a:lnTo>
                          <a:pt x="290" y="66"/>
                        </a:lnTo>
                        <a:lnTo>
                          <a:pt x="294" y="60"/>
                        </a:lnTo>
                        <a:lnTo>
                          <a:pt x="294" y="54"/>
                        </a:lnTo>
                        <a:lnTo>
                          <a:pt x="290" y="48"/>
                        </a:lnTo>
                        <a:lnTo>
                          <a:pt x="280" y="42"/>
                        </a:lnTo>
                        <a:lnTo>
                          <a:pt x="280" y="42"/>
                        </a:lnTo>
                        <a:lnTo>
                          <a:pt x="274" y="38"/>
                        </a:lnTo>
                        <a:lnTo>
                          <a:pt x="272" y="36"/>
                        </a:lnTo>
                        <a:lnTo>
                          <a:pt x="272" y="34"/>
                        </a:lnTo>
                        <a:lnTo>
                          <a:pt x="272" y="32"/>
                        </a:lnTo>
                        <a:lnTo>
                          <a:pt x="278" y="28"/>
                        </a:lnTo>
                        <a:lnTo>
                          <a:pt x="288" y="24"/>
                        </a:lnTo>
                        <a:lnTo>
                          <a:pt x="296" y="22"/>
                        </a:lnTo>
                        <a:lnTo>
                          <a:pt x="300" y="18"/>
                        </a:lnTo>
                        <a:lnTo>
                          <a:pt x="300" y="16"/>
                        </a:lnTo>
                        <a:lnTo>
                          <a:pt x="298" y="14"/>
                        </a:lnTo>
                        <a:lnTo>
                          <a:pt x="288" y="8"/>
                        </a:lnTo>
                        <a:lnTo>
                          <a:pt x="288" y="8"/>
                        </a:lnTo>
                        <a:lnTo>
                          <a:pt x="266" y="0"/>
                        </a:lnTo>
                        <a:lnTo>
                          <a:pt x="258" y="0"/>
                        </a:lnTo>
                        <a:lnTo>
                          <a:pt x="254" y="0"/>
                        </a:lnTo>
                        <a:lnTo>
                          <a:pt x="248" y="2"/>
                        </a:lnTo>
                        <a:lnTo>
                          <a:pt x="244" y="4"/>
                        </a:lnTo>
                        <a:lnTo>
                          <a:pt x="238" y="14"/>
                        </a:lnTo>
                        <a:lnTo>
                          <a:pt x="238" y="14"/>
                        </a:lnTo>
                        <a:lnTo>
                          <a:pt x="234" y="16"/>
                        </a:lnTo>
                        <a:lnTo>
                          <a:pt x="232" y="16"/>
                        </a:lnTo>
                        <a:lnTo>
                          <a:pt x="224" y="16"/>
                        </a:lnTo>
                        <a:lnTo>
                          <a:pt x="202" y="12"/>
                        </a:lnTo>
                        <a:lnTo>
                          <a:pt x="186" y="12"/>
                        </a:lnTo>
                        <a:lnTo>
                          <a:pt x="170" y="14"/>
                        </a:lnTo>
                        <a:lnTo>
                          <a:pt x="160" y="18"/>
                        </a:lnTo>
                        <a:lnTo>
                          <a:pt x="150" y="22"/>
                        </a:lnTo>
                        <a:lnTo>
                          <a:pt x="140" y="28"/>
                        </a:lnTo>
                        <a:lnTo>
                          <a:pt x="128" y="38"/>
                        </a:lnTo>
                        <a:lnTo>
                          <a:pt x="128" y="38"/>
                        </a:lnTo>
                        <a:lnTo>
                          <a:pt x="112" y="50"/>
                        </a:lnTo>
                        <a:lnTo>
                          <a:pt x="102" y="58"/>
                        </a:lnTo>
                        <a:lnTo>
                          <a:pt x="94" y="62"/>
                        </a:lnTo>
                        <a:lnTo>
                          <a:pt x="90" y="62"/>
                        </a:lnTo>
                        <a:lnTo>
                          <a:pt x="82" y="66"/>
                        </a:lnTo>
                        <a:lnTo>
                          <a:pt x="76" y="70"/>
                        </a:lnTo>
                        <a:lnTo>
                          <a:pt x="66" y="78"/>
                        </a:lnTo>
                        <a:lnTo>
                          <a:pt x="66" y="78"/>
                        </a:lnTo>
                        <a:lnTo>
                          <a:pt x="58" y="86"/>
                        </a:lnTo>
                        <a:lnTo>
                          <a:pt x="50" y="88"/>
                        </a:lnTo>
                        <a:lnTo>
                          <a:pt x="44" y="90"/>
                        </a:lnTo>
                        <a:lnTo>
                          <a:pt x="38" y="88"/>
                        </a:lnTo>
                        <a:lnTo>
                          <a:pt x="34" y="86"/>
                        </a:lnTo>
                        <a:lnTo>
                          <a:pt x="28" y="86"/>
                        </a:lnTo>
                        <a:lnTo>
                          <a:pt x="20" y="90"/>
                        </a:lnTo>
                        <a:lnTo>
                          <a:pt x="12" y="96"/>
                        </a:lnTo>
                        <a:lnTo>
                          <a:pt x="12" y="96"/>
                        </a:lnTo>
                        <a:lnTo>
                          <a:pt x="4" y="104"/>
                        </a:lnTo>
                        <a:lnTo>
                          <a:pt x="0" y="108"/>
                        </a:lnTo>
                        <a:lnTo>
                          <a:pt x="2" y="112"/>
                        </a:lnTo>
                        <a:lnTo>
                          <a:pt x="4" y="112"/>
                        </a:lnTo>
                        <a:lnTo>
                          <a:pt x="12" y="114"/>
                        </a:lnTo>
                        <a:lnTo>
                          <a:pt x="14" y="116"/>
                        </a:lnTo>
                        <a:lnTo>
                          <a:pt x="14" y="120"/>
                        </a:lnTo>
                        <a:lnTo>
                          <a:pt x="14" y="1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0" name="Freeform 6019"/>
                  <p:cNvSpPr>
                    <a:spLocks/>
                  </p:cNvSpPr>
                  <p:nvPr/>
                </p:nvSpPr>
                <p:spPr bwMode="auto">
                  <a:xfrm>
                    <a:off x="1468120" y="1056323"/>
                    <a:ext cx="35560" cy="10160"/>
                  </a:xfrm>
                  <a:custGeom>
                    <a:avLst/>
                    <a:gdLst/>
                    <a:ahLst/>
                    <a:cxnLst>
                      <a:cxn ang="0">
                        <a:pos x="0" y="8"/>
                      </a:cxn>
                      <a:cxn ang="0">
                        <a:pos x="0" y="8"/>
                      </a:cxn>
                      <a:cxn ang="0">
                        <a:pos x="0" y="12"/>
                      </a:cxn>
                      <a:cxn ang="0">
                        <a:pos x="4" y="14"/>
                      </a:cxn>
                      <a:cxn ang="0">
                        <a:pos x="18" y="16"/>
                      </a:cxn>
                      <a:cxn ang="0">
                        <a:pos x="38" y="16"/>
                      </a:cxn>
                      <a:cxn ang="0">
                        <a:pos x="46" y="14"/>
                      </a:cxn>
                      <a:cxn ang="0">
                        <a:pos x="54" y="12"/>
                      </a:cxn>
                      <a:cxn ang="0">
                        <a:pos x="54" y="12"/>
                      </a:cxn>
                      <a:cxn ang="0">
                        <a:pos x="56" y="10"/>
                      </a:cxn>
                      <a:cxn ang="0">
                        <a:pos x="56" y="8"/>
                      </a:cxn>
                      <a:cxn ang="0">
                        <a:pos x="54" y="6"/>
                      </a:cxn>
                      <a:cxn ang="0">
                        <a:pos x="46" y="2"/>
                      </a:cxn>
                      <a:cxn ang="0">
                        <a:pos x="36" y="2"/>
                      </a:cxn>
                      <a:cxn ang="0">
                        <a:pos x="26" y="0"/>
                      </a:cxn>
                      <a:cxn ang="0">
                        <a:pos x="16" y="2"/>
                      </a:cxn>
                      <a:cxn ang="0">
                        <a:pos x="6" y="4"/>
                      </a:cxn>
                      <a:cxn ang="0">
                        <a:pos x="0" y="8"/>
                      </a:cxn>
                      <a:cxn ang="0">
                        <a:pos x="0" y="8"/>
                      </a:cxn>
                    </a:cxnLst>
                    <a:rect l="0" t="0" r="r" b="b"/>
                    <a:pathLst>
                      <a:path w="56" h="16">
                        <a:moveTo>
                          <a:pt x="0" y="8"/>
                        </a:moveTo>
                        <a:lnTo>
                          <a:pt x="0" y="8"/>
                        </a:lnTo>
                        <a:lnTo>
                          <a:pt x="0" y="12"/>
                        </a:lnTo>
                        <a:lnTo>
                          <a:pt x="4" y="14"/>
                        </a:lnTo>
                        <a:lnTo>
                          <a:pt x="18" y="16"/>
                        </a:lnTo>
                        <a:lnTo>
                          <a:pt x="38" y="16"/>
                        </a:lnTo>
                        <a:lnTo>
                          <a:pt x="46" y="14"/>
                        </a:lnTo>
                        <a:lnTo>
                          <a:pt x="54" y="12"/>
                        </a:lnTo>
                        <a:lnTo>
                          <a:pt x="54" y="12"/>
                        </a:lnTo>
                        <a:lnTo>
                          <a:pt x="56" y="10"/>
                        </a:lnTo>
                        <a:lnTo>
                          <a:pt x="56" y="8"/>
                        </a:lnTo>
                        <a:lnTo>
                          <a:pt x="54" y="6"/>
                        </a:lnTo>
                        <a:lnTo>
                          <a:pt x="46" y="2"/>
                        </a:lnTo>
                        <a:lnTo>
                          <a:pt x="36" y="2"/>
                        </a:lnTo>
                        <a:lnTo>
                          <a:pt x="26" y="0"/>
                        </a:lnTo>
                        <a:lnTo>
                          <a:pt x="16" y="2"/>
                        </a:lnTo>
                        <a:lnTo>
                          <a:pt x="6" y="4"/>
                        </a:lnTo>
                        <a:lnTo>
                          <a:pt x="0" y="8"/>
                        </a:lnTo>
                        <a:lnTo>
                          <a:pt x="0"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1" name="Freeform 6020"/>
                  <p:cNvSpPr>
                    <a:spLocks/>
                  </p:cNvSpPr>
                  <p:nvPr/>
                </p:nvSpPr>
                <p:spPr bwMode="auto">
                  <a:xfrm>
                    <a:off x="1464310" y="996633"/>
                    <a:ext cx="34290" cy="19050"/>
                  </a:xfrm>
                  <a:custGeom>
                    <a:avLst/>
                    <a:gdLst/>
                    <a:ahLst/>
                    <a:cxnLst>
                      <a:cxn ang="0">
                        <a:pos x="42" y="30"/>
                      </a:cxn>
                      <a:cxn ang="0">
                        <a:pos x="42" y="30"/>
                      </a:cxn>
                      <a:cxn ang="0">
                        <a:pos x="52" y="28"/>
                      </a:cxn>
                      <a:cxn ang="0">
                        <a:pos x="54" y="26"/>
                      </a:cxn>
                      <a:cxn ang="0">
                        <a:pos x="54" y="24"/>
                      </a:cxn>
                      <a:cxn ang="0">
                        <a:pos x="50" y="18"/>
                      </a:cxn>
                      <a:cxn ang="0">
                        <a:pos x="40" y="8"/>
                      </a:cxn>
                      <a:cxn ang="0">
                        <a:pos x="40" y="8"/>
                      </a:cxn>
                      <a:cxn ang="0">
                        <a:pos x="34" y="4"/>
                      </a:cxn>
                      <a:cxn ang="0">
                        <a:pos x="26" y="0"/>
                      </a:cxn>
                      <a:cxn ang="0">
                        <a:pos x="22" y="0"/>
                      </a:cxn>
                      <a:cxn ang="0">
                        <a:pos x="16" y="0"/>
                      </a:cxn>
                      <a:cxn ang="0">
                        <a:pos x="6" y="4"/>
                      </a:cxn>
                      <a:cxn ang="0">
                        <a:pos x="0" y="8"/>
                      </a:cxn>
                      <a:cxn ang="0">
                        <a:pos x="0" y="8"/>
                      </a:cxn>
                      <a:cxn ang="0">
                        <a:pos x="0" y="12"/>
                      </a:cxn>
                      <a:cxn ang="0">
                        <a:pos x="0" y="14"/>
                      </a:cxn>
                      <a:cxn ang="0">
                        <a:pos x="8" y="22"/>
                      </a:cxn>
                      <a:cxn ang="0">
                        <a:pos x="24" y="28"/>
                      </a:cxn>
                      <a:cxn ang="0">
                        <a:pos x="32" y="28"/>
                      </a:cxn>
                      <a:cxn ang="0">
                        <a:pos x="42" y="30"/>
                      </a:cxn>
                      <a:cxn ang="0">
                        <a:pos x="42" y="30"/>
                      </a:cxn>
                    </a:cxnLst>
                    <a:rect l="0" t="0" r="r" b="b"/>
                    <a:pathLst>
                      <a:path w="54" h="30">
                        <a:moveTo>
                          <a:pt x="42" y="30"/>
                        </a:moveTo>
                        <a:lnTo>
                          <a:pt x="42" y="30"/>
                        </a:lnTo>
                        <a:lnTo>
                          <a:pt x="52" y="28"/>
                        </a:lnTo>
                        <a:lnTo>
                          <a:pt x="54" y="26"/>
                        </a:lnTo>
                        <a:lnTo>
                          <a:pt x="54" y="24"/>
                        </a:lnTo>
                        <a:lnTo>
                          <a:pt x="50" y="18"/>
                        </a:lnTo>
                        <a:lnTo>
                          <a:pt x="40" y="8"/>
                        </a:lnTo>
                        <a:lnTo>
                          <a:pt x="40" y="8"/>
                        </a:lnTo>
                        <a:lnTo>
                          <a:pt x="34" y="4"/>
                        </a:lnTo>
                        <a:lnTo>
                          <a:pt x="26" y="0"/>
                        </a:lnTo>
                        <a:lnTo>
                          <a:pt x="22" y="0"/>
                        </a:lnTo>
                        <a:lnTo>
                          <a:pt x="16" y="0"/>
                        </a:lnTo>
                        <a:lnTo>
                          <a:pt x="6" y="4"/>
                        </a:lnTo>
                        <a:lnTo>
                          <a:pt x="0" y="8"/>
                        </a:lnTo>
                        <a:lnTo>
                          <a:pt x="0" y="8"/>
                        </a:lnTo>
                        <a:lnTo>
                          <a:pt x="0" y="12"/>
                        </a:lnTo>
                        <a:lnTo>
                          <a:pt x="0" y="14"/>
                        </a:lnTo>
                        <a:lnTo>
                          <a:pt x="8" y="22"/>
                        </a:lnTo>
                        <a:lnTo>
                          <a:pt x="24" y="28"/>
                        </a:lnTo>
                        <a:lnTo>
                          <a:pt x="32" y="28"/>
                        </a:lnTo>
                        <a:lnTo>
                          <a:pt x="42" y="30"/>
                        </a:lnTo>
                        <a:lnTo>
                          <a:pt x="42" y="3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2" name="Freeform 6021"/>
                  <p:cNvSpPr>
                    <a:spLocks/>
                  </p:cNvSpPr>
                  <p:nvPr/>
                </p:nvSpPr>
                <p:spPr bwMode="auto">
                  <a:xfrm>
                    <a:off x="1504950" y="994093"/>
                    <a:ext cx="97790" cy="39370"/>
                  </a:xfrm>
                  <a:custGeom>
                    <a:avLst/>
                    <a:gdLst/>
                    <a:ahLst/>
                    <a:cxnLst>
                      <a:cxn ang="0">
                        <a:pos x="106" y="56"/>
                      </a:cxn>
                      <a:cxn ang="0">
                        <a:pos x="106" y="56"/>
                      </a:cxn>
                      <a:cxn ang="0">
                        <a:pos x="120" y="52"/>
                      </a:cxn>
                      <a:cxn ang="0">
                        <a:pos x="130" y="48"/>
                      </a:cxn>
                      <a:cxn ang="0">
                        <a:pos x="136" y="44"/>
                      </a:cxn>
                      <a:cxn ang="0">
                        <a:pos x="138" y="40"/>
                      </a:cxn>
                      <a:cxn ang="0">
                        <a:pos x="138" y="34"/>
                      </a:cxn>
                      <a:cxn ang="0">
                        <a:pos x="132" y="30"/>
                      </a:cxn>
                      <a:cxn ang="0">
                        <a:pos x="124" y="28"/>
                      </a:cxn>
                      <a:cxn ang="0">
                        <a:pos x="114" y="26"/>
                      </a:cxn>
                      <a:cxn ang="0">
                        <a:pos x="114" y="26"/>
                      </a:cxn>
                      <a:cxn ang="0">
                        <a:pos x="104" y="24"/>
                      </a:cxn>
                      <a:cxn ang="0">
                        <a:pos x="104" y="24"/>
                      </a:cxn>
                      <a:cxn ang="0">
                        <a:pos x="118" y="22"/>
                      </a:cxn>
                      <a:cxn ang="0">
                        <a:pos x="138" y="16"/>
                      </a:cxn>
                      <a:cxn ang="0">
                        <a:pos x="148" y="12"/>
                      </a:cxn>
                      <a:cxn ang="0">
                        <a:pos x="152" y="8"/>
                      </a:cxn>
                      <a:cxn ang="0">
                        <a:pos x="152" y="8"/>
                      </a:cxn>
                      <a:cxn ang="0">
                        <a:pos x="154" y="4"/>
                      </a:cxn>
                      <a:cxn ang="0">
                        <a:pos x="152" y="2"/>
                      </a:cxn>
                      <a:cxn ang="0">
                        <a:pos x="148" y="0"/>
                      </a:cxn>
                      <a:cxn ang="0">
                        <a:pos x="138" y="0"/>
                      </a:cxn>
                      <a:cxn ang="0">
                        <a:pos x="124" y="0"/>
                      </a:cxn>
                      <a:cxn ang="0">
                        <a:pos x="90" y="4"/>
                      </a:cxn>
                      <a:cxn ang="0">
                        <a:pos x="50" y="8"/>
                      </a:cxn>
                      <a:cxn ang="0">
                        <a:pos x="50" y="8"/>
                      </a:cxn>
                      <a:cxn ang="0">
                        <a:pos x="18" y="14"/>
                      </a:cxn>
                      <a:cxn ang="0">
                        <a:pos x="8" y="18"/>
                      </a:cxn>
                      <a:cxn ang="0">
                        <a:pos x="4" y="22"/>
                      </a:cxn>
                      <a:cxn ang="0">
                        <a:pos x="0" y="26"/>
                      </a:cxn>
                      <a:cxn ang="0">
                        <a:pos x="0" y="30"/>
                      </a:cxn>
                      <a:cxn ang="0">
                        <a:pos x="8" y="46"/>
                      </a:cxn>
                      <a:cxn ang="0">
                        <a:pos x="8" y="46"/>
                      </a:cxn>
                      <a:cxn ang="0">
                        <a:pos x="14" y="52"/>
                      </a:cxn>
                      <a:cxn ang="0">
                        <a:pos x="22" y="58"/>
                      </a:cxn>
                      <a:cxn ang="0">
                        <a:pos x="32" y="60"/>
                      </a:cxn>
                      <a:cxn ang="0">
                        <a:pos x="46" y="62"/>
                      </a:cxn>
                      <a:cxn ang="0">
                        <a:pos x="74" y="60"/>
                      </a:cxn>
                      <a:cxn ang="0">
                        <a:pos x="106" y="56"/>
                      </a:cxn>
                      <a:cxn ang="0">
                        <a:pos x="106" y="56"/>
                      </a:cxn>
                    </a:cxnLst>
                    <a:rect l="0" t="0" r="r" b="b"/>
                    <a:pathLst>
                      <a:path w="154" h="62">
                        <a:moveTo>
                          <a:pt x="106" y="56"/>
                        </a:moveTo>
                        <a:lnTo>
                          <a:pt x="106" y="56"/>
                        </a:lnTo>
                        <a:lnTo>
                          <a:pt x="120" y="52"/>
                        </a:lnTo>
                        <a:lnTo>
                          <a:pt x="130" y="48"/>
                        </a:lnTo>
                        <a:lnTo>
                          <a:pt x="136" y="44"/>
                        </a:lnTo>
                        <a:lnTo>
                          <a:pt x="138" y="40"/>
                        </a:lnTo>
                        <a:lnTo>
                          <a:pt x="138" y="34"/>
                        </a:lnTo>
                        <a:lnTo>
                          <a:pt x="132" y="30"/>
                        </a:lnTo>
                        <a:lnTo>
                          <a:pt x="124" y="28"/>
                        </a:lnTo>
                        <a:lnTo>
                          <a:pt x="114" y="26"/>
                        </a:lnTo>
                        <a:lnTo>
                          <a:pt x="114" y="26"/>
                        </a:lnTo>
                        <a:lnTo>
                          <a:pt x="104" y="24"/>
                        </a:lnTo>
                        <a:lnTo>
                          <a:pt x="104" y="24"/>
                        </a:lnTo>
                        <a:lnTo>
                          <a:pt x="118" y="22"/>
                        </a:lnTo>
                        <a:lnTo>
                          <a:pt x="138" y="16"/>
                        </a:lnTo>
                        <a:lnTo>
                          <a:pt x="148" y="12"/>
                        </a:lnTo>
                        <a:lnTo>
                          <a:pt x="152" y="8"/>
                        </a:lnTo>
                        <a:lnTo>
                          <a:pt x="152" y="8"/>
                        </a:lnTo>
                        <a:lnTo>
                          <a:pt x="154" y="4"/>
                        </a:lnTo>
                        <a:lnTo>
                          <a:pt x="152" y="2"/>
                        </a:lnTo>
                        <a:lnTo>
                          <a:pt x="148" y="0"/>
                        </a:lnTo>
                        <a:lnTo>
                          <a:pt x="138" y="0"/>
                        </a:lnTo>
                        <a:lnTo>
                          <a:pt x="124" y="0"/>
                        </a:lnTo>
                        <a:lnTo>
                          <a:pt x="90" y="4"/>
                        </a:lnTo>
                        <a:lnTo>
                          <a:pt x="50" y="8"/>
                        </a:lnTo>
                        <a:lnTo>
                          <a:pt x="50" y="8"/>
                        </a:lnTo>
                        <a:lnTo>
                          <a:pt x="18" y="14"/>
                        </a:lnTo>
                        <a:lnTo>
                          <a:pt x="8" y="18"/>
                        </a:lnTo>
                        <a:lnTo>
                          <a:pt x="4" y="22"/>
                        </a:lnTo>
                        <a:lnTo>
                          <a:pt x="0" y="26"/>
                        </a:lnTo>
                        <a:lnTo>
                          <a:pt x="0" y="30"/>
                        </a:lnTo>
                        <a:lnTo>
                          <a:pt x="8" y="46"/>
                        </a:lnTo>
                        <a:lnTo>
                          <a:pt x="8" y="46"/>
                        </a:lnTo>
                        <a:lnTo>
                          <a:pt x="14" y="52"/>
                        </a:lnTo>
                        <a:lnTo>
                          <a:pt x="22" y="58"/>
                        </a:lnTo>
                        <a:lnTo>
                          <a:pt x="32" y="60"/>
                        </a:lnTo>
                        <a:lnTo>
                          <a:pt x="46" y="62"/>
                        </a:lnTo>
                        <a:lnTo>
                          <a:pt x="74" y="60"/>
                        </a:lnTo>
                        <a:lnTo>
                          <a:pt x="106" y="56"/>
                        </a:lnTo>
                        <a:lnTo>
                          <a:pt x="106" y="5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3" name="Freeform 6022"/>
                  <p:cNvSpPr>
                    <a:spLocks/>
                  </p:cNvSpPr>
                  <p:nvPr/>
                </p:nvSpPr>
                <p:spPr bwMode="auto">
                  <a:xfrm>
                    <a:off x="1772920" y="1067753"/>
                    <a:ext cx="143510" cy="87630"/>
                  </a:xfrm>
                  <a:custGeom>
                    <a:avLst/>
                    <a:gdLst/>
                    <a:ahLst/>
                    <a:cxnLst>
                      <a:cxn ang="0">
                        <a:pos x="144" y="12"/>
                      </a:cxn>
                      <a:cxn ang="0">
                        <a:pos x="130" y="4"/>
                      </a:cxn>
                      <a:cxn ang="0">
                        <a:pos x="104" y="4"/>
                      </a:cxn>
                      <a:cxn ang="0">
                        <a:pos x="88" y="8"/>
                      </a:cxn>
                      <a:cxn ang="0">
                        <a:pos x="78" y="14"/>
                      </a:cxn>
                      <a:cxn ang="0">
                        <a:pos x="84" y="22"/>
                      </a:cxn>
                      <a:cxn ang="0">
                        <a:pos x="124" y="62"/>
                      </a:cxn>
                      <a:cxn ang="0">
                        <a:pos x="102" y="50"/>
                      </a:cxn>
                      <a:cxn ang="0">
                        <a:pos x="82" y="34"/>
                      </a:cxn>
                      <a:cxn ang="0">
                        <a:pos x="74" y="24"/>
                      </a:cxn>
                      <a:cxn ang="0">
                        <a:pos x="64" y="20"/>
                      </a:cxn>
                      <a:cxn ang="0">
                        <a:pos x="54" y="18"/>
                      </a:cxn>
                      <a:cxn ang="0">
                        <a:pos x="32" y="20"/>
                      </a:cxn>
                      <a:cxn ang="0">
                        <a:pos x="26" y="26"/>
                      </a:cxn>
                      <a:cxn ang="0">
                        <a:pos x="32" y="36"/>
                      </a:cxn>
                      <a:cxn ang="0">
                        <a:pos x="46" y="52"/>
                      </a:cxn>
                      <a:cxn ang="0">
                        <a:pos x="56" y="64"/>
                      </a:cxn>
                      <a:cxn ang="0">
                        <a:pos x="42" y="60"/>
                      </a:cxn>
                      <a:cxn ang="0">
                        <a:pos x="32" y="62"/>
                      </a:cxn>
                      <a:cxn ang="0">
                        <a:pos x="26" y="66"/>
                      </a:cxn>
                      <a:cxn ang="0">
                        <a:pos x="8" y="74"/>
                      </a:cxn>
                      <a:cxn ang="0">
                        <a:pos x="0" y="78"/>
                      </a:cxn>
                      <a:cxn ang="0">
                        <a:pos x="4" y="86"/>
                      </a:cxn>
                      <a:cxn ang="0">
                        <a:pos x="8" y="88"/>
                      </a:cxn>
                      <a:cxn ang="0">
                        <a:pos x="26" y="90"/>
                      </a:cxn>
                      <a:cxn ang="0">
                        <a:pos x="66" y="86"/>
                      </a:cxn>
                      <a:cxn ang="0">
                        <a:pos x="122" y="76"/>
                      </a:cxn>
                      <a:cxn ang="0">
                        <a:pos x="136" y="76"/>
                      </a:cxn>
                      <a:cxn ang="0">
                        <a:pos x="138" y="80"/>
                      </a:cxn>
                      <a:cxn ang="0">
                        <a:pos x="106" y="90"/>
                      </a:cxn>
                      <a:cxn ang="0">
                        <a:pos x="92" y="98"/>
                      </a:cxn>
                      <a:cxn ang="0">
                        <a:pos x="90" y="104"/>
                      </a:cxn>
                      <a:cxn ang="0">
                        <a:pos x="92" y="106"/>
                      </a:cxn>
                      <a:cxn ang="0">
                        <a:pos x="100" y="120"/>
                      </a:cxn>
                      <a:cxn ang="0">
                        <a:pos x="104" y="136"/>
                      </a:cxn>
                      <a:cxn ang="0">
                        <a:pos x="116" y="136"/>
                      </a:cxn>
                      <a:cxn ang="0">
                        <a:pos x="126" y="134"/>
                      </a:cxn>
                      <a:cxn ang="0">
                        <a:pos x="142" y="128"/>
                      </a:cxn>
                      <a:cxn ang="0">
                        <a:pos x="166" y="132"/>
                      </a:cxn>
                      <a:cxn ang="0">
                        <a:pos x="200" y="128"/>
                      </a:cxn>
                      <a:cxn ang="0">
                        <a:pos x="208" y="122"/>
                      </a:cxn>
                      <a:cxn ang="0">
                        <a:pos x="208" y="112"/>
                      </a:cxn>
                      <a:cxn ang="0">
                        <a:pos x="202" y="100"/>
                      </a:cxn>
                      <a:cxn ang="0">
                        <a:pos x="202" y="88"/>
                      </a:cxn>
                      <a:cxn ang="0">
                        <a:pos x="210" y="88"/>
                      </a:cxn>
                      <a:cxn ang="0">
                        <a:pos x="214" y="92"/>
                      </a:cxn>
                      <a:cxn ang="0">
                        <a:pos x="226" y="98"/>
                      </a:cxn>
                      <a:cxn ang="0">
                        <a:pos x="224" y="90"/>
                      </a:cxn>
                      <a:cxn ang="0">
                        <a:pos x="216" y="76"/>
                      </a:cxn>
                      <a:cxn ang="0">
                        <a:pos x="212" y="60"/>
                      </a:cxn>
                      <a:cxn ang="0">
                        <a:pos x="208" y="30"/>
                      </a:cxn>
                      <a:cxn ang="0">
                        <a:pos x="196" y="10"/>
                      </a:cxn>
                      <a:cxn ang="0">
                        <a:pos x="184" y="4"/>
                      </a:cxn>
                      <a:cxn ang="0">
                        <a:pos x="164" y="0"/>
                      </a:cxn>
                      <a:cxn ang="0">
                        <a:pos x="156" y="6"/>
                      </a:cxn>
                      <a:cxn ang="0">
                        <a:pos x="148" y="14"/>
                      </a:cxn>
                      <a:cxn ang="0">
                        <a:pos x="144" y="12"/>
                      </a:cxn>
                    </a:cxnLst>
                    <a:rect l="0" t="0" r="r" b="b"/>
                    <a:pathLst>
                      <a:path w="226" h="138">
                        <a:moveTo>
                          <a:pt x="144" y="12"/>
                        </a:moveTo>
                        <a:lnTo>
                          <a:pt x="144" y="12"/>
                        </a:lnTo>
                        <a:lnTo>
                          <a:pt x="138" y="6"/>
                        </a:lnTo>
                        <a:lnTo>
                          <a:pt x="130" y="4"/>
                        </a:lnTo>
                        <a:lnTo>
                          <a:pt x="118" y="2"/>
                        </a:lnTo>
                        <a:lnTo>
                          <a:pt x="104" y="4"/>
                        </a:lnTo>
                        <a:lnTo>
                          <a:pt x="88" y="8"/>
                        </a:lnTo>
                        <a:lnTo>
                          <a:pt x="88" y="8"/>
                        </a:lnTo>
                        <a:lnTo>
                          <a:pt x="80" y="10"/>
                        </a:lnTo>
                        <a:lnTo>
                          <a:pt x="78" y="14"/>
                        </a:lnTo>
                        <a:lnTo>
                          <a:pt x="80" y="18"/>
                        </a:lnTo>
                        <a:lnTo>
                          <a:pt x="84" y="22"/>
                        </a:lnTo>
                        <a:lnTo>
                          <a:pt x="102" y="38"/>
                        </a:lnTo>
                        <a:lnTo>
                          <a:pt x="124" y="62"/>
                        </a:lnTo>
                        <a:lnTo>
                          <a:pt x="124" y="62"/>
                        </a:lnTo>
                        <a:lnTo>
                          <a:pt x="102" y="50"/>
                        </a:lnTo>
                        <a:lnTo>
                          <a:pt x="90" y="42"/>
                        </a:lnTo>
                        <a:lnTo>
                          <a:pt x="82" y="34"/>
                        </a:lnTo>
                        <a:lnTo>
                          <a:pt x="78" y="28"/>
                        </a:lnTo>
                        <a:lnTo>
                          <a:pt x="74" y="24"/>
                        </a:lnTo>
                        <a:lnTo>
                          <a:pt x="70" y="22"/>
                        </a:lnTo>
                        <a:lnTo>
                          <a:pt x="64" y="20"/>
                        </a:lnTo>
                        <a:lnTo>
                          <a:pt x="54" y="18"/>
                        </a:lnTo>
                        <a:lnTo>
                          <a:pt x="54" y="18"/>
                        </a:lnTo>
                        <a:lnTo>
                          <a:pt x="40" y="18"/>
                        </a:lnTo>
                        <a:lnTo>
                          <a:pt x="32" y="20"/>
                        </a:lnTo>
                        <a:lnTo>
                          <a:pt x="28" y="22"/>
                        </a:lnTo>
                        <a:lnTo>
                          <a:pt x="26" y="26"/>
                        </a:lnTo>
                        <a:lnTo>
                          <a:pt x="28" y="30"/>
                        </a:lnTo>
                        <a:lnTo>
                          <a:pt x="32" y="36"/>
                        </a:lnTo>
                        <a:lnTo>
                          <a:pt x="46" y="52"/>
                        </a:lnTo>
                        <a:lnTo>
                          <a:pt x="46" y="52"/>
                        </a:lnTo>
                        <a:lnTo>
                          <a:pt x="56" y="64"/>
                        </a:lnTo>
                        <a:lnTo>
                          <a:pt x="56" y="64"/>
                        </a:lnTo>
                        <a:lnTo>
                          <a:pt x="52" y="62"/>
                        </a:lnTo>
                        <a:lnTo>
                          <a:pt x="42" y="60"/>
                        </a:lnTo>
                        <a:lnTo>
                          <a:pt x="36" y="60"/>
                        </a:lnTo>
                        <a:lnTo>
                          <a:pt x="32" y="62"/>
                        </a:lnTo>
                        <a:lnTo>
                          <a:pt x="32" y="62"/>
                        </a:lnTo>
                        <a:lnTo>
                          <a:pt x="26" y="66"/>
                        </a:lnTo>
                        <a:lnTo>
                          <a:pt x="20" y="70"/>
                        </a:lnTo>
                        <a:lnTo>
                          <a:pt x="8" y="74"/>
                        </a:lnTo>
                        <a:lnTo>
                          <a:pt x="4" y="76"/>
                        </a:lnTo>
                        <a:lnTo>
                          <a:pt x="0" y="78"/>
                        </a:lnTo>
                        <a:lnTo>
                          <a:pt x="0" y="82"/>
                        </a:lnTo>
                        <a:lnTo>
                          <a:pt x="4" y="86"/>
                        </a:lnTo>
                        <a:lnTo>
                          <a:pt x="4" y="86"/>
                        </a:lnTo>
                        <a:lnTo>
                          <a:pt x="8" y="88"/>
                        </a:lnTo>
                        <a:lnTo>
                          <a:pt x="12" y="90"/>
                        </a:lnTo>
                        <a:lnTo>
                          <a:pt x="26" y="90"/>
                        </a:lnTo>
                        <a:lnTo>
                          <a:pt x="44" y="88"/>
                        </a:lnTo>
                        <a:lnTo>
                          <a:pt x="66" y="86"/>
                        </a:lnTo>
                        <a:lnTo>
                          <a:pt x="106" y="78"/>
                        </a:lnTo>
                        <a:lnTo>
                          <a:pt x="122" y="76"/>
                        </a:lnTo>
                        <a:lnTo>
                          <a:pt x="136" y="76"/>
                        </a:lnTo>
                        <a:lnTo>
                          <a:pt x="136" y="76"/>
                        </a:lnTo>
                        <a:lnTo>
                          <a:pt x="140" y="78"/>
                        </a:lnTo>
                        <a:lnTo>
                          <a:pt x="138" y="80"/>
                        </a:lnTo>
                        <a:lnTo>
                          <a:pt x="118" y="86"/>
                        </a:lnTo>
                        <a:lnTo>
                          <a:pt x="106" y="90"/>
                        </a:lnTo>
                        <a:lnTo>
                          <a:pt x="96" y="94"/>
                        </a:lnTo>
                        <a:lnTo>
                          <a:pt x="92" y="98"/>
                        </a:lnTo>
                        <a:lnTo>
                          <a:pt x="90" y="100"/>
                        </a:lnTo>
                        <a:lnTo>
                          <a:pt x="90" y="104"/>
                        </a:lnTo>
                        <a:lnTo>
                          <a:pt x="92" y="106"/>
                        </a:lnTo>
                        <a:lnTo>
                          <a:pt x="92" y="106"/>
                        </a:lnTo>
                        <a:lnTo>
                          <a:pt x="98" y="114"/>
                        </a:lnTo>
                        <a:lnTo>
                          <a:pt x="100" y="120"/>
                        </a:lnTo>
                        <a:lnTo>
                          <a:pt x="102" y="132"/>
                        </a:lnTo>
                        <a:lnTo>
                          <a:pt x="104" y="136"/>
                        </a:lnTo>
                        <a:lnTo>
                          <a:pt x="108" y="138"/>
                        </a:lnTo>
                        <a:lnTo>
                          <a:pt x="116" y="136"/>
                        </a:lnTo>
                        <a:lnTo>
                          <a:pt x="126" y="134"/>
                        </a:lnTo>
                        <a:lnTo>
                          <a:pt x="126" y="134"/>
                        </a:lnTo>
                        <a:lnTo>
                          <a:pt x="136" y="130"/>
                        </a:lnTo>
                        <a:lnTo>
                          <a:pt x="142" y="128"/>
                        </a:lnTo>
                        <a:lnTo>
                          <a:pt x="166" y="132"/>
                        </a:lnTo>
                        <a:lnTo>
                          <a:pt x="166" y="132"/>
                        </a:lnTo>
                        <a:lnTo>
                          <a:pt x="184" y="132"/>
                        </a:lnTo>
                        <a:lnTo>
                          <a:pt x="200" y="128"/>
                        </a:lnTo>
                        <a:lnTo>
                          <a:pt x="206" y="126"/>
                        </a:lnTo>
                        <a:lnTo>
                          <a:pt x="208" y="122"/>
                        </a:lnTo>
                        <a:lnTo>
                          <a:pt x="210" y="118"/>
                        </a:lnTo>
                        <a:lnTo>
                          <a:pt x="208" y="112"/>
                        </a:lnTo>
                        <a:lnTo>
                          <a:pt x="208" y="112"/>
                        </a:lnTo>
                        <a:lnTo>
                          <a:pt x="202" y="100"/>
                        </a:lnTo>
                        <a:lnTo>
                          <a:pt x="202" y="92"/>
                        </a:lnTo>
                        <a:lnTo>
                          <a:pt x="202" y="88"/>
                        </a:lnTo>
                        <a:lnTo>
                          <a:pt x="206" y="88"/>
                        </a:lnTo>
                        <a:lnTo>
                          <a:pt x="210" y="88"/>
                        </a:lnTo>
                        <a:lnTo>
                          <a:pt x="214" y="92"/>
                        </a:lnTo>
                        <a:lnTo>
                          <a:pt x="214" y="92"/>
                        </a:lnTo>
                        <a:lnTo>
                          <a:pt x="224" y="98"/>
                        </a:lnTo>
                        <a:lnTo>
                          <a:pt x="226" y="98"/>
                        </a:lnTo>
                        <a:lnTo>
                          <a:pt x="226" y="98"/>
                        </a:lnTo>
                        <a:lnTo>
                          <a:pt x="224" y="90"/>
                        </a:lnTo>
                        <a:lnTo>
                          <a:pt x="216" y="76"/>
                        </a:lnTo>
                        <a:lnTo>
                          <a:pt x="216" y="76"/>
                        </a:lnTo>
                        <a:lnTo>
                          <a:pt x="214" y="68"/>
                        </a:lnTo>
                        <a:lnTo>
                          <a:pt x="212" y="60"/>
                        </a:lnTo>
                        <a:lnTo>
                          <a:pt x="210" y="40"/>
                        </a:lnTo>
                        <a:lnTo>
                          <a:pt x="208" y="30"/>
                        </a:lnTo>
                        <a:lnTo>
                          <a:pt x="204" y="20"/>
                        </a:lnTo>
                        <a:lnTo>
                          <a:pt x="196" y="10"/>
                        </a:lnTo>
                        <a:lnTo>
                          <a:pt x="184" y="4"/>
                        </a:lnTo>
                        <a:lnTo>
                          <a:pt x="184" y="4"/>
                        </a:lnTo>
                        <a:lnTo>
                          <a:pt x="172" y="0"/>
                        </a:lnTo>
                        <a:lnTo>
                          <a:pt x="164" y="0"/>
                        </a:lnTo>
                        <a:lnTo>
                          <a:pt x="160" y="2"/>
                        </a:lnTo>
                        <a:lnTo>
                          <a:pt x="156" y="6"/>
                        </a:lnTo>
                        <a:lnTo>
                          <a:pt x="152" y="14"/>
                        </a:lnTo>
                        <a:lnTo>
                          <a:pt x="148" y="14"/>
                        </a:lnTo>
                        <a:lnTo>
                          <a:pt x="144" y="12"/>
                        </a:lnTo>
                        <a:lnTo>
                          <a:pt x="144" y="1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4" name="Freeform 6023"/>
                  <p:cNvSpPr>
                    <a:spLocks/>
                  </p:cNvSpPr>
                  <p:nvPr/>
                </p:nvSpPr>
                <p:spPr bwMode="auto">
                  <a:xfrm>
                    <a:off x="1842770" y="887413"/>
                    <a:ext cx="36830" cy="25400"/>
                  </a:xfrm>
                  <a:custGeom>
                    <a:avLst/>
                    <a:gdLst/>
                    <a:ahLst/>
                    <a:cxnLst>
                      <a:cxn ang="0">
                        <a:pos x="30" y="32"/>
                      </a:cxn>
                      <a:cxn ang="0">
                        <a:pos x="30" y="32"/>
                      </a:cxn>
                      <a:cxn ang="0">
                        <a:pos x="40" y="38"/>
                      </a:cxn>
                      <a:cxn ang="0">
                        <a:pos x="46" y="40"/>
                      </a:cxn>
                      <a:cxn ang="0">
                        <a:pos x="50" y="40"/>
                      </a:cxn>
                      <a:cxn ang="0">
                        <a:pos x="54" y="38"/>
                      </a:cxn>
                      <a:cxn ang="0">
                        <a:pos x="56" y="34"/>
                      </a:cxn>
                      <a:cxn ang="0">
                        <a:pos x="58" y="28"/>
                      </a:cxn>
                      <a:cxn ang="0">
                        <a:pos x="56" y="20"/>
                      </a:cxn>
                      <a:cxn ang="0">
                        <a:pos x="56" y="20"/>
                      </a:cxn>
                      <a:cxn ang="0">
                        <a:pos x="52" y="12"/>
                      </a:cxn>
                      <a:cxn ang="0">
                        <a:pos x="46" y="6"/>
                      </a:cxn>
                      <a:cxn ang="0">
                        <a:pos x="36" y="2"/>
                      </a:cxn>
                      <a:cxn ang="0">
                        <a:pos x="26" y="0"/>
                      </a:cxn>
                      <a:cxn ang="0">
                        <a:pos x="16" y="0"/>
                      </a:cxn>
                      <a:cxn ang="0">
                        <a:pos x="6" y="2"/>
                      </a:cxn>
                      <a:cxn ang="0">
                        <a:pos x="2" y="6"/>
                      </a:cxn>
                      <a:cxn ang="0">
                        <a:pos x="0" y="10"/>
                      </a:cxn>
                      <a:cxn ang="0">
                        <a:pos x="0" y="14"/>
                      </a:cxn>
                      <a:cxn ang="0">
                        <a:pos x="0" y="14"/>
                      </a:cxn>
                      <a:cxn ang="0">
                        <a:pos x="0" y="18"/>
                      </a:cxn>
                      <a:cxn ang="0">
                        <a:pos x="4" y="22"/>
                      </a:cxn>
                      <a:cxn ang="0">
                        <a:pos x="10" y="24"/>
                      </a:cxn>
                      <a:cxn ang="0">
                        <a:pos x="18" y="26"/>
                      </a:cxn>
                      <a:cxn ang="0">
                        <a:pos x="24" y="28"/>
                      </a:cxn>
                      <a:cxn ang="0">
                        <a:pos x="30" y="32"/>
                      </a:cxn>
                      <a:cxn ang="0">
                        <a:pos x="30" y="32"/>
                      </a:cxn>
                    </a:cxnLst>
                    <a:rect l="0" t="0" r="r" b="b"/>
                    <a:pathLst>
                      <a:path w="58" h="40">
                        <a:moveTo>
                          <a:pt x="30" y="32"/>
                        </a:moveTo>
                        <a:lnTo>
                          <a:pt x="30" y="32"/>
                        </a:lnTo>
                        <a:lnTo>
                          <a:pt x="40" y="38"/>
                        </a:lnTo>
                        <a:lnTo>
                          <a:pt x="46" y="40"/>
                        </a:lnTo>
                        <a:lnTo>
                          <a:pt x="50" y="40"/>
                        </a:lnTo>
                        <a:lnTo>
                          <a:pt x="54" y="38"/>
                        </a:lnTo>
                        <a:lnTo>
                          <a:pt x="56" y="34"/>
                        </a:lnTo>
                        <a:lnTo>
                          <a:pt x="58" y="28"/>
                        </a:lnTo>
                        <a:lnTo>
                          <a:pt x="56" y="20"/>
                        </a:lnTo>
                        <a:lnTo>
                          <a:pt x="56" y="20"/>
                        </a:lnTo>
                        <a:lnTo>
                          <a:pt x="52" y="12"/>
                        </a:lnTo>
                        <a:lnTo>
                          <a:pt x="46" y="6"/>
                        </a:lnTo>
                        <a:lnTo>
                          <a:pt x="36" y="2"/>
                        </a:lnTo>
                        <a:lnTo>
                          <a:pt x="26" y="0"/>
                        </a:lnTo>
                        <a:lnTo>
                          <a:pt x="16" y="0"/>
                        </a:lnTo>
                        <a:lnTo>
                          <a:pt x="6" y="2"/>
                        </a:lnTo>
                        <a:lnTo>
                          <a:pt x="2" y="6"/>
                        </a:lnTo>
                        <a:lnTo>
                          <a:pt x="0" y="10"/>
                        </a:lnTo>
                        <a:lnTo>
                          <a:pt x="0" y="14"/>
                        </a:lnTo>
                        <a:lnTo>
                          <a:pt x="0" y="14"/>
                        </a:lnTo>
                        <a:lnTo>
                          <a:pt x="0" y="18"/>
                        </a:lnTo>
                        <a:lnTo>
                          <a:pt x="4" y="22"/>
                        </a:lnTo>
                        <a:lnTo>
                          <a:pt x="10" y="24"/>
                        </a:lnTo>
                        <a:lnTo>
                          <a:pt x="18" y="26"/>
                        </a:lnTo>
                        <a:lnTo>
                          <a:pt x="24" y="28"/>
                        </a:lnTo>
                        <a:lnTo>
                          <a:pt x="30" y="32"/>
                        </a:lnTo>
                        <a:lnTo>
                          <a:pt x="30" y="3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5" name="Freeform 6024"/>
                  <p:cNvSpPr>
                    <a:spLocks/>
                  </p:cNvSpPr>
                  <p:nvPr/>
                </p:nvSpPr>
                <p:spPr bwMode="auto">
                  <a:xfrm>
                    <a:off x="1507490" y="963613"/>
                    <a:ext cx="102870" cy="24130"/>
                  </a:xfrm>
                  <a:custGeom>
                    <a:avLst/>
                    <a:gdLst/>
                    <a:ahLst/>
                    <a:cxnLst>
                      <a:cxn ang="0">
                        <a:pos x="20" y="34"/>
                      </a:cxn>
                      <a:cxn ang="0">
                        <a:pos x="20" y="34"/>
                      </a:cxn>
                      <a:cxn ang="0">
                        <a:pos x="26" y="32"/>
                      </a:cxn>
                      <a:cxn ang="0">
                        <a:pos x="34" y="32"/>
                      </a:cxn>
                      <a:cxn ang="0">
                        <a:pos x="60" y="36"/>
                      </a:cxn>
                      <a:cxn ang="0">
                        <a:pos x="60" y="36"/>
                      </a:cxn>
                      <a:cxn ang="0">
                        <a:pos x="72" y="38"/>
                      </a:cxn>
                      <a:cxn ang="0">
                        <a:pos x="76" y="36"/>
                      </a:cxn>
                      <a:cxn ang="0">
                        <a:pos x="84" y="34"/>
                      </a:cxn>
                      <a:cxn ang="0">
                        <a:pos x="108" y="34"/>
                      </a:cxn>
                      <a:cxn ang="0">
                        <a:pos x="108" y="34"/>
                      </a:cxn>
                      <a:cxn ang="0">
                        <a:pos x="124" y="36"/>
                      </a:cxn>
                      <a:cxn ang="0">
                        <a:pos x="138" y="34"/>
                      </a:cxn>
                      <a:cxn ang="0">
                        <a:pos x="150" y="32"/>
                      </a:cxn>
                      <a:cxn ang="0">
                        <a:pos x="158" y="28"/>
                      </a:cxn>
                      <a:cxn ang="0">
                        <a:pos x="162" y="24"/>
                      </a:cxn>
                      <a:cxn ang="0">
                        <a:pos x="162" y="22"/>
                      </a:cxn>
                      <a:cxn ang="0">
                        <a:pos x="160" y="18"/>
                      </a:cxn>
                      <a:cxn ang="0">
                        <a:pos x="152" y="12"/>
                      </a:cxn>
                      <a:cxn ang="0">
                        <a:pos x="138" y="6"/>
                      </a:cxn>
                      <a:cxn ang="0">
                        <a:pos x="138" y="6"/>
                      </a:cxn>
                      <a:cxn ang="0">
                        <a:pos x="122" y="0"/>
                      </a:cxn>
                      <a:cxn ang="0">
                        <a:pos x="108" y="0"/>
                      </a:cxn>
                      <a:cxn ang="0">
                        <a:pos x="96" y="0"/>
                      </a:cxn>
                      <a:cxn ang="0">
                        <a:pos x="86" y="2"/>
                      </a:cxn>
                      <a:cxn ang="0">
                        <a:pos x="64" y="10"/>
                      </a:cxn>
                      <a:cxn ang="0">
                        <a:pos x="52" y="14"/>
                      </a:cxn>
                      <a:cxn ang="0">
                        <a:pos x="36" y="16"/>
                      </a:cxn>
                      <a:cxn ang="0">
                        <a:pos x="36" y="16"/>
                      </a:cxn>
                      <a:cxn ang="0">
                        <a:pos x="22" y="20"/>
                      </a:cxn>
                      <a:cxn ang="0">
                        <a:pos x="10" y="24"/>
                      </a:cxn>
                      <a:cxn ang="0">
                        <a:pos x="4" y="28"/>
                      </a:cxn>
                      <a:cxn ang="0">
                        <a:pos x="0" y="30"/>
                      </a:cxn>
                      <a:cxn ang="0">
                        <a:pos x="0" y="34"/>
                      </a:cxn>
                      <a:cxn ang="0">
                        <a:pos x="4" y="36"/>
                      </a:cxn>
                      <a:cxn ang="0">
                        <a:pos x="10" y="36"/>
                      </a:cxn>
                      <a:cxn ang="0">
                        <a:pos x="20" y="34"/>
                      </a:cxn>
                      <a:cxn ang="0">
                        <a:pos x="20" y="34"/>
                      </a:cxn>
                    </a:cxnLst>
                    <a:rect l="0" t="0" r="r" b="b"/>
                    <a:pathLst>
                      <a:path w="162" h="38">
                        <a:moveTo>
                          <a:pt x="20" y="34"/>
                        </a:moveTo>
                        <a:lnTo>
                          <a:pt x="20" y="34"/>
                        </a:lnTo>
                        <a:lnTo>
                          <a:pt x="26" y="32"/>
                        </a:lnTo>
                        <a:lnTo>
                          <a:pt x="34" y="32"/>
                        </a:lnTo>
                        <a:lnTo>
                          <a:pt x="60" y="36"/>
                        </a:lnTo>
                        <a:lnTo>
                          <a:pt x="60" y="36"/>
                        </a:lnTo>
                        <a:lnTo>
                          <a:pt x="72" y="38"/>
                        </a:lnTo>
                        <a:lnTo>
                          <a:pt x="76" y="36"/>
                        </a:lnTo>
                        <a:lnTo>
                          <a:pt x="84" y="34"/>
                        </a:lnTo>
                        <a:lnTo>
                          <a:pt x="108" y="34"/>
                        </a:lnTo>
                        <a:lnTo>
                          <a:pt x="108" y="34"/>
                        </a:lnTo>
                        <a:lnTo>
                          <a:pt x="124" y="36"/>
                        </a:lnTo>
                        <a:lnTo>
                          <a:pt x="138" y="34"/>
                        </a:lnTo>
                        <a:lnTo>
                          <a:pt x="150" y="32"/>
                        </a:lnTo>
                        <a:lnTo>
                          <a:pt x="158" y="28"/>
                        </a:lnTo>
                        <a:lnTo>
                          <a:pt x="162" y="24"/>
                        </a:lnTo>
                        <a:lnTo>
                          <a:pt x="162" y="22"/>
                        </a:lnTo>
                        <a:lnTo>
                          <a:pt x="160" y="18"/>
                        </a:lnTo>
                        <a:lnTo>
                          <a:pt x="152" y="12"/>
                        </a:lnTo>
                        <a:lnTo>
                          <a:pt x="138" y="6"/>
                        </a:lnTo>
                        <a:lnTo>
                          <a:pt x="138" y="6"/>
                        </a:lnTo>
                        <a:lnTo>
                          <a:pt x="122" y="0"/>
                        </a:lnTo>
                        <a:lnTo>
                          <a:pt x="108" y="0"/>
                        </a:lnTo>
                        <a:lnTo>
                          <a:pt x="96" y="0"/>
                        </a:lnTo>
                        <a:lnTo>
                          <a:pt x="86" y="2"/>
                        </a:lnTo>
                        <a:lnTo>
                          <a:pt x="64" y="10"/>
                        </a:lnTo>
                        <a:lnTo>
                          <a:pt x="52" y="14"/>
                        </a:lnTo>
                        <a:lnTo>
                          <a:pt x="36" y="16"/>
                        </a:lnTo>
                        <a:lnTo>
                          <a:pt x="36" y="16"/>
                        </a:lnTo>
                        <a:lnTo>
                          <a:pt x="22" y="20"/>
                        </a:lnTo>
                        <a:lnTo>
                          <a:pt x="10" y="24"/>
                        </a:lnTo>
                        <a:lnTo>
                          <a:pt x="4" y="28"/>
                        </a:lnTo>
                        <a:lnTo>
                          <a:pt x="0" y="30"/>
                        </a:lnTo>
                        <a:lnTo>
                          <a:pt x="0" y="34"/>
                        </a:lnTo>
                        <a:lnTo>
                          <a:pt x="4" y="36"/>
                        </a:lnTo>
                        <a:lnTo>
                          <a:pt x="10" y="36"/>
                        </a:lnTo>
                        <a:lnTo>
                          <a:pt x="20" y="34"/>
                        </a:lnTo>
                        <a:lnTo>
                          <a:pt x="20" y="3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6" name="Freeform 6025"/>
                  <p:cNvSpPr>
                    <a:spLocks/>
                  </p:cNvSpPr>
                  <p:nvPr/>
                </p:nvSpPr>
                <p:spPr bwMode="auto">
                  <a:xfrm>
                    <a:off x="1703070" y="928053"/>
                    <a:ext cx="168910" cy="82550"/>
                  </a:xfrm>
                  <a:custGeom>
                    <a:avLst/>
                    <a:gdLst/>
                    <a:ahLst/>
                    <a:cxnLst>
                      <a:cxn ang="0">
                        <a:pos x="30" y="40"/>
                      </a:cxn>
                      <a:cxn ang="0">
                        <a:pos x="32" y="50"/>
                      </a:cxn>
                      <a:cxn ang="0">
                        <a:pos x="40" y="46"/>
                      </a:cxn>
                      <a:cxn ang="0">
                        <a:pos x="52" y="44"/>
                      </a:cxn>
                      <a:cxn ang="0">
                        <a:pos x="66" y="54"/>
                      </a:cxn>
                      <a:cxn ang="0">
                        <a:pos x="72" y="62"/>
                      </a:cxn>
                      <a:cxn ang="0">
                        <a:pos x="68" y="70"/>
                      </a:cxn>
                      <a:cxn ang="0">
                        <a:pos x="44" y="68"/>
                      </a:cxn>
                      <a:cxn ang="0">
                        <a:pos x="26" y="70"/>
                      </a:cxn>
                      <a:cxn ang="0">
                        <a:pos x="24" y="74"/>
                      </a:cxn>
                      <a:cxn ang="0">
                        <a:pos x="24" y="82"/>
                      </a:cxn>
                      <a:cxn ang="0">
                        <a:pos x="36" y="90"/>
                      </a:cxn>
                      <a:cxn ang="0">
                        <a:pos x="60" y="92"/>
                      </a:cxn>
                      <a:cxn ang="0">
                        <a:pos x="78" y="88"/>
                      </a:cxn>
                      <a:cxn ang="0">
                        <a:pos x="108" y="82"/>
                      </a:cxn>
                      <a:cxn ang="0">
                        <a:pos x="114" y="86"/>
                      </a:cxn>
                      <a:cxn ang="0">
                        <a:pos x="120" y="92"/>
                      </a:cxn>
                      <a:cxn ang="0">
                        <a:pos x="146" y="90"/>
                      </a:cxn>
                      <a:cxn ang="0">
                        <a:pos x="156" y="90"/>
                      </a:cxn>
                      <a:cxn ang="0">
                        <a:pos x="170" y="92"/>
                      </a:cxn>
                      <a:cxn ang="0">
                        <a:pos x="182" y="102"/>
                      </a:cxn>
                      <a:cxn ang="0">
                        <a:pos x="194" y="120"/>
                      </a:cxn>
                      <a:cxn ang="0">
                        <a:pos x="204" y="126"/>
                      </a:cxn>
                      <a:cxn ang="0">
                        <a:pos x="220" y="130"/>
                      </a:cxn>
                      <a:cxn ang="0">
                        <a:pos x="244" y="128"/>
                      </a:cxn>
                      <a:cxn ang="0">
                        <a:pos x="254" y="126"/>
                      </a:cxn>
                      <a:cxn ang="0">
                        <a:pos x="266" y="122"/>
                      </a:cxn>
                      <a:cxn ang="0">
                        <a:pos x="266" y="114"/>
                      </a:cxn>
                      <a:cxn ang="0">
                        <a:pos x="258" y="102"/>
                      </a:cxn>
                      <a:cxn ang="0">
                        <a:pos x="234" y="82"/>
                      </a:cxn>
                      <a:cxn ang="0">
                        <a:pos x="238" y="78"/>
                      </a:cxn>
                      <a:cxn ang="0">
                        <a:pos x="242" y="76"/>
                      </a:cxn>
                      <a:cxn ang="0">
                        <a:pos x="248" y="68"/>
                      </a:cxn>
                      <a:cxn ang="0">
                        <a:pos x="242" y="58"/>
                      </a:cxn>
                      <a:cxn ang="0">
                        <a:pos x="224" y="50"/>
                      </a:cxn>
                      <a:cxn ang="0">
                        <a:pos x="210" y="48"/>
                      </a:cxn>
                      <a:cxn ang="0">
                        <a:pos x="186" y="44"/>
                      </a:cxn>
                      <a:cxn ang="0">
                        <a:pos x="184" y="40"/>
                      </a:cxn>
                      <a:cxn ang="0">
                        <a:pos x="176" y="32"/>
                      </a:cxn>
                      <a:cxn ang="0">
                        <a:pos x="164" y="28"/>
                      </a:cxn>
                      <a:cxn ang="0">
                        <a:pos x="140" y="26"/>
                      </a:cxn>
                      <a:cxn ang="0">
                        <a:pos x="130" y="32"/>
                      </a:cxn>
                      <a:cxn ang="0">
                        <a:pos x="124" y="36"/>
                      </a:cxn>
                      <a:cxn ang="0">
                        <a:pos x="118" y="28"/>
                      </a:cxn>
                      <a:cxn ang="0">
                        <a:pos x="114" y="24"/>
                      </a:cxn>
                      <a:cxn ang="0">
                        <a:pos x="96" y="10"/>
                      </a:cxn>
                      <a:cxn ang="0">
                        <a:pos x="58" y="0"/>
                      </a:cxn>
                      <a:cxn ang="0">
                        <a:pos x="22" y="2"/>
                      </a:cxn>
                      <a:cxn ang="0">
                        <a:pos x="10" y="8"/>
                      </a:cxn>
                      <a:cxn ang="0">
                        <a:pos x="2" y="18"/>
                      </a:cxn>
                      <a:cxn ang="0">
                        <a:pos x="0" y="28"/>
                      </a:cxn>
                      <a:cxn ang="0">
                        <a:pos x="8" y="34"/>
                      </a:cxn>
                      <a:cxn ang="0">
                        <a:pos x="20" y="30"/>
                      </a:cxn>
                      <a:cxn ang="0">
                        <a:pos x="28" y="34"/>
                      </a:cxn>
                      <a:cxn ang="0">
                        <a:pos x="30" y="40"/>
                      </a:cxn>
                    </a:cxnLst>
                    <a:rect l="0" t="0" r="r" b="b"/>
                    <a:pathLst>
                      <a:path w="266" h="130">
                        <a:moveTo>
                          <a:pt x="30" y="40"/>
                        </a:moveTo>
                        <a:lnTo>
                          <a:pt x="30" y="40"/>
                        </a:lnTo>
                        <a:lnTo>
                          <a:pt x="30" y="48"/>
                        </a:lnTo>
                        <a:lnTo>
                          <a:pt x="32" y="50"/>
                        </a:lnTo>
                        <a:lnTo>
                          <a:pt x="36" y="50"/>
                        </a:lnTo>
                        <a:lnTo>
                          <a:pt x="40" y="46"/>
                        </a:lnTo>
                        <a:lnTo>
                          <a:pt x="46" y="44"/>
                        </a:lnTo>
                        <a:lnTo>
                          <a:pt x="52" y="44"/>
                        </a:lnTo>
                        <a:lnTo>
                          <a:pt x="58" y="46"/>
                        </a:lnTo>
                        <a:lnTo>
                          <a:pt x="66" y="54"/>
                        </a:lnTo>
                        <a:lnTo>
                          <a:pt x="66" y="54"/>
                        </a:lnTo>
                        <a:lnTo>
                          <a:pt x="72" y="62"/>
                        </a:lnTo>
                        <a:lnTo>
                          <a:pt x="72" y="66"/>
                        </a:lnTo>
                        <a:lnTo>
                          <a:pt x="68" y="70"/>
                        </a:lnTo>
                        <a:lnTo>
                          <a:pt x="60" y="70"/>
                        </a:lnTo>
                        <a:lnTo>
                          <a:pt x="44" y="68"/>
                        </a:lnTo>
                        <a:lnTo>
                          <a:pt x="34" y="68"/>
                        </a:lnTo>
                        <a:lnTo>
                          <a:pt x="26" y="70"/>
                        </a:lnTo>
                        <a:lnTo>
                          <a:pt x="26" y="70"/>
                        </a:lnTo>
                        <a:lnTo>
                          <a:pt x="24" y="74"/>
                        </a:lnTo>
                        <a:lnTo>
                          <a:pt x="22" y="78"/>
                        </a:lnTo>
                        <a:lnTo>
                          <a:pt x="24" y="82"/>
                        </a:lnTo>
                        <a:lnTo>
                          <a:pt x="28" y="86"/>
                        </a:lnTo>
                        <a:lnTo>
                          <a:pt x="36" y="90"/>
                        </a:lnTo>
                        <a:lnTo>
                          <a:pt x="46" y="92"/>
                        </a:lnTo>
                        <a:lnTo>
                          <a:pt x="60" y="92"/>
                        </a:lnTo>
                        <a:lnTo>
                          <a:pt x="78" y="88"/>
                        </a:lnTo>
                        <a:lnTo>
                          <a:pt x="78" y="88"/>
                        </a:lnTo>
                        <a:lnTo>
                          <a:pt x="98" y="82"/>
                        </a:lnTo>
                        <a:lnTo>
                          <a:pt x="108" y="82"/>
                        </a:lnTo>
                        <a:lnTo>
                          <a:pt x="112" y="82"/>
                        </a:lnTo>
                        <a:lnTo>
                          <a:pt x="114" y="86"/>
                        </a:lnTo>
                        <a:lnTo>
                          <a:pt x="116" y="88"/>
                        </a:lnTo>
                        <a:lnTo>
                          <a:pt x="120" y="92"/>
                        </a:lnTo>
                        <a:lnTo>
                          <a:pt x="130" y="92"/>
                        </a:lnTo>
                        <a:lnTo>
                          <a:pt x="146" y="90"/>
                        </a:lnTo>
                        <a:lnTo>
                          <a:pt x="146" y="90"/>
                        </a:lnTo>
                        <a:lnTo>
                          <a:pt x="156" y="90"/>
                        </a:lnTo>
                        <a:lnTo>
                          <a:pt x="164" y="90"/>
                        </a:lnTo>
                        <a:lnTo>
                          <a:pt x="170" y="92"/>
                        </a:lnTo>
                        <a:lnTo>
                          <a:pt x="174" y="94"/>
                        </a:lnTo>
                        <a:lnTo>
                          <a:pt x="182" y="102"/>
                        </a:lnTo>
                        <a:lnTo>
                          <a:pt x="186" y="110"/>
                        </a:lnTo>
                        <a:lnTo>
                          <a:pt x="194" y="120"/>
                        </a:lnTo>
                        <a:lnTo>
                          <a:pt x="198" y="124"/>
                        </a:lnTo>
                        <a:lnTo>
                          <a:pt x="204" y="126"/>
                        </a:lnTo>
                        <a:lnTo>
                          <a:pt x="210" y="128"/>
                        </a:lnTo>
                        <a:lnTo>
                          <a:pt x="220" y="130"/>
                        </a:lnTo>
                        <a:lnTo>
                          <a:pt x="230" y="130"/>
                        </a:lnTo>
                        <a:lnTo>
                          <a:pt x="244" y="128"/>
                        </a:lnTo>
                        <a:lnTo>
                          <a:pt x="244" y="128"/>
                        </a:lnTo>
                        <a:lnTo>
                          <a:pt x="254" y="126"/>
                        </a:lnTo>
                        <a:lnTo>
                          <a:pt x="262" y="124"/>
                        </a:lnTo>
                        <a:lnTo>
                          <a:pt x="266" y="122"/>
                        </a:lnTo>
                        <a:lnTo>
                          <a:pt x="266" y="118"/>
                        </a:lnTo>
                        <a:lnTo>
                          <a:pt x="266" y="114"/>
                        </a:lnTo>
                        <a:lnTo>
                          <a:pt x="264" y="110"/>
                        </a:lnTo>
                        <a:lnTo>
                          <a:pt x="258" y="102"/>
                        </a:lnTo>
                        <a:lnTo>
                          <a:pt x="240" y="88"/>
                        </a:lnTo>
                        <a:lnTo>
                          <a:pt x="234" y="82"/>
                        </a:lnTo>
                        <a:lnTo>
                          <a:pt x="234" y="80"/>
                        </a:lnTo>
                        <a:lnTo>
                          <a:pt x="238" y="78"/>
                        </a:lnTo>
                        <a:lnTo>
                          <a:pt x="238" y="78"/>
                        </a:lnTo>
                        <a:lnTo>
                          <a:pt x="242" y="76"/>
                        </a:lnTo>
                        <a:lnTo>
                          <a:pt x="246" y="72"/>
                        </a:lnTo>
                        <a:lnTo>
                          <a:pt x="248" y="68"/>
                        </a:lnTo>
                        <a:lnTo>
                          <a:pt x="246" y="64"/>
                        </a:lnTo>
                        <a:lnTo>
                          <a:pt x="242" y="58"/>
                        </a:lnTo>
                        <a:lnTo>
                          <a:pt x="236" y="54"/>
                        </a:lnTo>
                        <a:lnTo>
                          <a:pt x="224" y="50"/>
                        </a:lnTo>
                        <a:lnTo>
                          <a:pt x="210" y="48"/>
                        </a:lnTo>
                        <a:lnTo>
                          <a:pt x="210" y="48"/>
                        </a:lnTo>
                        <a:lnTo>
                          <a:pt x="190" y="46"/>
                        </a:lnTo>
                        <a:lnTo>
                          <a:pt x="186" y="44"/>
                        </a:lnTo>
                        <a:lnTo>
                          <a:pt x="186" y="42"/>
                        </a:lnTo>
                        <a:lnTo>
                          <a:pt x="184" y="40"/>
                        </a:lnTo>
                        <a:lnTo>
                          <a:pt x="182" y="36"/>
                        </a:lnTo>
                        <a:lnTo>
                          <a:pt x="176" y="32"/>
                        </a:lnTo>
                        <a:lnTo>
                          <a:pt x="164" y="28"/>
                        </a:lnTo>
                        <a:lnTo>
                          <a:pt x="164" y="28"/>
                        </a:lnTo>
                        <a:lnTo>
                          <a:pt x="150" y="26"/>
                        </a:lnTo>
                        <a:lnTo>
                          <a:pt x="140" y="26"/>
                        </a:lnTo>
                        <a:lnTo>
                          <a:pt x="134" y="28"/>
                        </a:lnTo>
                        <a:lnTo>
                          <a:pt x="130" y="32"/>
                        </a:lnTo>
                        <a:lnTo>
                          <a:pt x="126" y="34"/>
                        </a:lnTo>
                        <a:lnTo>
                          <a:pt x="124" y="36"/>
                        </a:lnTo>
                        <a:lnTo>
                          <a:pt x="122" y="34"/>
                        </a:lnTo>
                        <a:lnTo>
                          <a:pt x="118" y="28"/>
                        </a:lnTo>
                        <a:lnTo>
                          <a:pt x="118" y="28"/>
                        </a:lnTo>
                        <a:lnTo>
                          <a:pt x="114" y="24"/>
                        </a:lnTo>
                        <a:lnTo>
                          <a:pt x="110" y="18"/>
                        </a:lnTo>
                        <a:lnTo>
                          <a:pt x="96" y="10"/>
                        </a:lnTo>
                        <a:lnTo>
                          <a:pt x="78" y="4"/>
                        </a:lnTo>
                        <a:lnTo>
                          <a:pt x="58" y="0"/>
                        </a:lnTo>
                        <a:lnTo>
                          <a:pt x="40" y="0"/>
                        </a:lnTo>
                        <a:lnTo>
                          <a:pt x="22" y="2"/>
                        </a:lnTo>
                        <a:lnTo>
                          <a:pt x="14" y="4"/>
                        </a:lnTo>
                        <a:lnTo>
                          <a:pt x="10" y="8"/>
                        </a:lnTo>
                        <a:lnTo>
                          <a:pt x="4" y="12"/>
                        </a:lnTo>
                        <a:lnTo>
                          <a:pt x="2" y="18"/>
                        </a:lnTo>
                        <a:lnTo>
                          <a:pt x="2" y="18"/>
                        </a:lnTo>
                        <a:lnTo>
                          <a:pt x="0" y="28"/>
                        </a:lnTo>
                        <a:lnTo>
                          <a:pt x="2" y="32"/>
                        </a:lnTo>
                        <a:lnTo>
                          <a:pt x="8" y="34"/>
                        </a:lnTo>
                        <a:lnTo>
                          <a:pt x="14" y="32"/>
                        </a:lnTo>
                        <a:lnTo>
                          <a:pt x="20" y="30"/>
                        </a:lnTo>
                        <a:lnTo>
                          <a:pt x="24" y="30"/>
                        </a:lnTo>
                        <a:lnTo>
                          <a:pt x="28" y="34"/>
                        </a:lnTo>
                        <a:lnTo>
                          <a:pt x="30" y="40"/>
                        </a:lnTo>
                        <a:lnTo>
                          <a:pt x="30" y="4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7" name="Freeform 6026"/>
                  <p:cNvSpPr>
                    <a:spLocks/>
                  </p:cNvSpPr>
                  <p:nvPr/>
                </p:nvSpPr>
                <p:spPr bwMode="auto">
                  <a:xfrm>
                    <a:off x="1694180" y="1013143"/>
                    <a:ext cx="44450" cy="33020"/>
                  </a:xfrm>
                  <a:custGeom>
                    <a:avLst/>
                    <a:gdLst/>
                    <a:ahLst/>
                    <a:cxnLst>
                      <a:cxn ang="0">
                        <a:pos x="56" y="52"/>
                      </a:cxn>
                      <a:cxn ang="0">
                        <a:pos x="56" y="52"/>
                      </a:cxn>
                      <a:cxn ang="0">
                        <a:pos x="66" y="50"/>
                      </a:cxn>
                      <a:cxn ang="0">
                        <a:pos x="68" y="48"/>
                      </a:cxn>
                      <a:cxn ang="0">
                        <a:pos x="70" y="46"/>
                      </a:cxn>
                      <a:cxn ang="0">
                        <a:pos x="70" y="44"/>
                      </a:cxn>
                      <a:cxn ang="0">
                        <a:pos x="68" y="40"/>
                      </a:cxn>
                      <a:cxn ang="0">
                        <a:pos x="56" y="26"/>
                      </a:cxn>
                      <a:cxn ang="0">
                        <a:pos x="56" y="26"/>
                      </a:cxn>
                      <a:cxn ang="0">
                        <a:pos x="46" y="18"/>
                      </a:cxn>
                      <a:cxn ang="0">
                        <a:pos x="36" y="12"/>
                      </a:cxn>
                      <a:cxn ang="0">
                        <a:pos x="26" y="6"/>
                      </a:cxn>
                      <a:cxn ang="0">
                        <a:pos x="16" y="2"/>
                      </a:cxn>
                      <a:cxn ang="0">
                        <a:pos x="8" y="0"/>
                      </a:cxn>
                      <a:cxn ang="0">
                        <a:pos x="2" y="0"/>
                      </a:cxn>
                      <a:cxn ang="0">
                        <a:pos x="0" y="2"/>
                      </a:cxn>
                      <a:cxn ang="0">
                        <a:pos x="0" y="8"/>
                      </a:cxn>
                      <a:cxn ang="0">
                        <a:pos x="0" y="8"/>
                      </a:cxn>
                      <a:cxn ang="0">
                        <a:pos x="8" y="22"/>
                      </a:cxn>
                      <a:cxn ang="0">
                        <a:pos x="18" y="36"/>
                      </a:cxn>
                      <a:cxn ang="0">
                        <a:pos x="24" y="44"/>
                      </a:cxn>
                      <a:cxn ang="0">
                        <a:pos x="32" y="48"/>
                      </a:cxn>
                      <a:cxn ang="0">
                        <a:pos x="42" y="52"/>
                      </a:cxn>
                      <a:cxn ang="0">
                        <a:pos x="56" y="52"/>
                      </a:cxn>
                      <a:cxn ang="0">
                        <a:pos x="56" y="52"/>
                      </a:cxn>
                    </a:cxnLst>
                    <a:rect l="0" t="0" r="r" b="b"/>
                    <a:pathLst>
                      <a:path w="70" h="52">
                        <a:moveTo>
                          <a:pt x="56" y="52"/>
                        </a:moveTo>
                        <a:lnTo>
                          <a:pt x="56" y="52"/>
                        </a:lnTo>
                        <a:lnTo>
                          <a:pt x="66" y="50"/>
                        </a:lnTo>
                        <a:lnTo>
                          <a:pt x="68" y="48"/>
                        </a:lnTo>
                        <a:lnTo>
                          <a:pt x="70" y="46"/>
                        </a:lnTo>
                        <a:lnTo>
                          <a:pt x="70" y="44"/>
                        </a:lnTo>
                        <a:lnTo>
                          <a:pt x="68" y="40"/>
                        </a:lnTo>
                        <a:lnTo>
                          <a:pt x="56" y="26"/>
                        </a:lnTo>
                        <a:lnTo>
                          <a:pt x="56" y="26"/>
                        </a:lnTo>
                        <a:lnTo>
                          <a:pt x="46" y="18"/>
                        </a:lnTo>
                        <a:lnTo>
                          <a:pt x="36" y="12"/>
                        </a:lnTo>
                        <a:lnTo>
                          <a:pt x="26" y="6"/>
                        </a:lnTo>
                        <a:lnTo>
                          <a:pt x="16" y="2"/>
                        </a:lnTo>
                        <a:lnTo>
                          <a:pt x="8" y="0"/>
                        </a:lnTo>
                        <a:lnTo>
                          <a:pt x="2" y="0"/>
                        </a:lnTo>
                        <a:lnTo>
                          <a:pt x="0" y="2"/>
                        </a:lnTo>
                        <a:lnTo>
                          <a:pt x="0" y="8"/>
                        </a:lnTo>
                        <a:lnTo>
                          <a:pt x="0" y="8"/>
                        </a:lnTo>
                        <a:lnTo>
                          <a:pt x="8" y="22"/>
                        </a:lnTo>
                        <a:lnTo>
                          <a:pt x="18" y="36"/>
                        </a:lnTo>
                        <a:lnTo>
                          <a:pt x="24" y="44"/>
                        </a:lnTo>
                        <a:lnTo>
                          <a:pt x="32" y="48"/>
                        </a:lnTo>
                        <a:lnTo>
                          <a:pt x="42" y="52"/>
                        </a:lnTo>
                        <a:lnTo>
                          <a:pt x="56" y="52"/>
                        </a:lnTo>
                        <a:lnTo>
                          <a:pt x="56" y="5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8" name="Freeform 6027"/>
                  <p:cNvSpPr>
                    <a:spLocks/>
                  </p:cNvSpPr>
                  <p:nvPr/>
                </p:nvSpPr>
                <p:spPr bwMode="auto">
                  <a:xfrm>
                    <a:off x="1883410" y="957263"/>
                    <a:ext cx="95250" cy="54610"/>
                  </a:xfrm>
                  <a:custGeom>
                    <a:avLst/>
                    <a:gdLst/>
                    <a:ahLst/>
                    <a:cxnLst>
                      <a:cxn ang="0">
                        <a:pos x="14" y="38"/>
                      </a:cxn>
                      <a:cxn ang="0">
                        <a:pos x="22" y="44"/>
                      </a:cxn>
                      <a:cxn ang="0">
                        <a:pos x="44" y="54"/>
                      </a:cxn>
                      <a:cxn ang="0">
                        <a:pos x="50" y="56"/>
                      </a:cxn>
                      <a:cxn ang="0">
                        <a:pos x="52" y="58"/>
                      </a:cxn>
                      <a:cxn ang="0">
                        <a:pos x="42" y="64"/>
                      </a:cxn>
                      <a:cxn ang="0">
                        <a:pos x="32" y="68"/>
                      </a:cxn>
                      <a:cxn ang="0">
                        <a:pos x="40" y="68"/>
                      </a:cxn>
                      <a:cxn ang="0">
                        <a:pos x="50" y="70"/>
                      </a:cxn>
                      <a:cxn ang="0">
                        <a:pos x="56" y="76"/>
                      </a:cxn>
                      <a:cxn ang="0">
                        <a:pos x="60" y="84"/>
                      </a:cxn>
                      <a:cxn ang="0">
                        <a:pos x="66" y="86"/>
                      </a:cxn>
                      <a:cxn ang="0">
                        <a:pos x="74" y="82"/>
                      </a:cxn>
                      <a:cxn ang="0">
                        <a:pos x="98" y="76"/>
                      </a:cxn>
                      <a:cxn ang="0">
                        <a:pos x="132" y="70"/>
                      </a:cxn>
                      <a:cxn ang="0">
                        <a:pos x="142" y="64"/>
                      </a:cxn>
                      <a:cxn ang="0">
                        <a:pos x="140" y="60"/>
                      </a:cxn>
                      <a:cxn ang="0">
                        <a:pos x="140" y="52"/>
                      </a:cxn>
                      <a:cxn ang="0">
                        <a:pos x="150" y="42"/>
                      </a:cxn>
                      <a:cxn ang="0">
                        <a:pos x="148" y="36"/>
                      </a:cxn>
                      <a:cxn ang="0">
                        <a:pos x="140" y="32"/>
                      </a:cxn>
                      <a:cxn ang="0">
                        <a:pos x="122" y="24"/>
                      </a:cxn>
                      <a:cxn ang="0">
                        <a:pos x="100" y="22"/>
                      </a:cxn>
                      <a:cxn ang="0">
                        <a:pos x="82" y="14"/>
                      </a:cxn>
                      <a:cxn ang="0">
                        <a:pos x="68" y="8"/>
                      </a:cxn>
                      <a:cxn ang="0">
                        <a:pos x="42" y="0"/>
                      </a:cxn>
                      <a:cxn ang="0">
                        <a:pos x="18" y="0"/>
                      </a:cxn>
                      <a:cxn ang="0">
                        <a:pos x="8" y="8"/>
                      </a:cxn>
                      <a:cxn ang="0">
                        <a:pos x="8" y="14"/>
                      </a:cxn>
                      <a:cxn ang="0">
                        <a:pos x="10" y="20"/>
                      </a:cxn>
                      <a:cxn ang="0">
                        <a:pos x="6" y="28"/>
                      </a:cxn>
                      <a:cxn ang="0">
                        <a:pos x="0" y="30"/>
                      </a:cxn>
                      <a:cxn ang="0">
                        <a:pos x="14" y="38"/>
                      </a:cxn>
                    </a:cxnLst>
                    <a:rect l="0" t="0" r="r" b="b"/>
                    <a:pathLst>
                      <a:path w="150" h="86">
                        <a:moveTo>
                          <a:pt x="14" y="38"/>
                        </a:moveTo>
                        <a:lnTo>
                          <a:pt x="14" y="38"/>
                        </a:lnTo>
                        <a:lnTo>
                          <a:pt x="20" y="42"/>
                        </a:lnTo>
                        <a:lnTo>
                          <a:pt x="22" y="44"/>
                        </a:lnTo>
                        <a:lnTo>
                          <a:pt x="28" y="48"/>
                        </a:lnTo>
                        <a:lnTo>
                          <a:pt x="44" y="54"/>
                        </a:lnTo>
                        <a:lnTo>
                          <a:pt x="44" y="54"/>
                        </a:lnTo>
                        <a:lnTo>
                          <a:pt x="50" y="56"/>
                        </a:lnTo>
                        <a:lnTo>
                          <a:pt x="52" y="58"/>
                        </a:lnTo>
                        <a:lnTo>
                          <a:pt x="52" y="58"/>
                        </a:lnTo>
                        <a:lnTo>
                          <a:pt x="48" y="62"/>
                        </a:lnTo>
                        <a:lnTo>
                          <a:pt x="42" y="64"/>
                        </a:lnTo>
                        <a:lnTo>
                          <a:pt x="32" y="66"/>
                        </a:lnTo>
                        <a:lnTo>
                          <a:pt x="32" y="68"/>
                        </a:lnTo>
                        <a:lnTo>
                          <a:pt x="34" y="68"/>
                        </a:lnTo>
                        <a:lnTo>
                          <a:pt x="40" y="68"/>
                        </a:lnTo>
                        <a:lnTo>
                          <a:pt x="40" y="68"/>
                        </a:lnTo>
                        <a:lnTo>
                          <a:pt x="50" y="70"/>
                        </a:lnTo>
                        <a:lnTo>
                          <a:pt x="54" y="74"/>
                        </a:lnTo>
                        <a:lnTo>
                          <a:pt x="56" y="76"/>
                        </a:lnTo>
                        <a:lnTo>
                          <a:pt x="58" y="80"/>
                        </a:lnTo>
                        <a:lnTo>
                          <a:pt x="60" y="84"/>
                        </a:lnTo>
                        <a:lnTo>
                          <a:pt x="62" y="86"/>
                        </a:lnTo>
                        <a:lnTo>
                          <a:pt x="66" y="86"/>
                        </a:lnTo>
                        <a:lnTo>
                          <a:pt x="74" y="82"/>
                        </a:lnTo>
                        <a:lnTo>
                          <a:pt x="74" y="82"/>
                        </a:lnTo>
                        <a:lnTo>
                          <a:pt x="86" y="78"/>
                        </a:lnTo>
                        <a:lnTo>
                          <a:pt x="98" y="76"/>
                        </a:lnTo>
                        <a:lnTo>
                          <a:pt x="122" y="72"/>
                        </a:lnTo>
                        <a:lnTo>
                          <a:pt x="132" y="70"/>
                        </a:lnTo>
                        <a:lnTo>
                          <a:pt x="138" y="68"/>
                        </a:lnTo>
                        <a:lnTo>
                          <a:pt x="142" y="64"/>
                        </a:lnTo>
                        <a:lnTo>
                          <a:pt x="140" y="60"/>
                        </a:lnTo>
                        <a:lnTo>
                          <a:pt x="140" y="60"/>
                        </a:lnTo>
                        <a:lnTo>
                          <a:pt x="138" y="54"/>
                        </a:lnTo>
                        <a:lnTo>
                          <a:pt x="140" y="52"/>
                        </a:lnTo>
                        <a:lnTo>
                          <a:pt x="146" y="46"/>
                        </a:lnTo>
                        <a:lnTo>
                          <a:pt x="150" y="42"/>
                        </a:lnTo>
                        <a:lnTo>
                          <a:pt x="150" y="40"/>
                        </a:lnTo>
                        <a:lnTo>
                          <a:pt x="148" y="36"/>
                        </a:lnTo>
                        <a:lnTo>
                          <a:pt x="140" y="32"/>
                        </a:lnTo>
                        <a:lnTo>
                          <a:pt x="140" y="32"/>
                        </a:lnTo>
                        <a:lnTo>
                          <a:pt x="128" y="26"/>
                        </a:lnTo>
                        <a:lnTo>
                          <a:pt x="122" y="24"/>
                        </a:lnTo>
                        <a:lnTo>
                          <a:pt x="110" y="24"/>
                        </a:lnTo>
                        <a:lnTo>
                          <a:pt x="100" y="22"/>
                        </a:lnTo>
                        <a:lnTo>
                          <a:pt x="92" y="20"/>
                        </a:lnTo>
                        <a:lnTo>
                          <a:pt x="82" y="14"/>
                        </a:lnTo>
                        <a:lnTo>
                          <a:pt x="82" y="14"/>
                        </a:lnTo>
                        <a:lnTo>
                          <a:pt x="68" y="8"/>
                        </a:lnTo>
                        <a:lnTo>
                          <a:pt x="56" y="2"/>
                        </a:lnTo>
                        <a:lnTo>
                          <a:pt x="42" y="0"/>
                        </a:lnTo>
                        <a:lnTo>
                          <a:pt x="30" y="0"/>
                        </a:lnTo>
                        <a:lnTo>
                          <a:pt x="18" y="0"/>
                        </a:lnTo>
                        <a:lnTo>
                          <a:pt x="10" y="4"/>
                        </a:lnTo>
                        <a:lnTo>
                          <a:pt x="8" y="8"/>
                        </a:lnTo>
                        <a:lnTo>
                          <a:pt x="8" y="12"/>
                        </a:lnTo>
                        <a:lnTo>
                          <a:pt x="8" y="14"/>
                        </a:lnTo>
                        <a:lnTo>
                          <a:pt x="8" y="14"/>
                        </a:lnTo>
                        <a:lnTo>
                          <a:pt x="10" y="20"/>
                        </a:lnTo>
                        <a:lnTo>
                          <a:pt x="10" y="24"/>
                        </a:lnTo>
                        <a:lnTo>
                          <a:pt x="6" y="28"/>
                        </a:lnTo>
                        <a:lnTo>
                          <a:pt x="2" y="30"/>
                        </a:lnTo>
                        <a:lnTo>
                          <a:pt x="0" y="30"/>
                        </a:lnTo>
                        <a:lnTo>
                          <a:pt x="0" y="32"/>
                        </a:lnTo>
                        <a:lnTo>
                          <a:pt x="14" y="38"/>
                        </a:lnTo>
                        <a:lnTo>
                          <a:pt x="14" y="3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19" name="Freeform 6033"/>
                  <p:cNvSpPr>
                    <a:spLocks/>
                  </p:cNvSpPr>
                  <p:nvPr/>
                </p:nvSpPr>
                <p:spPr bwMode="auto">
                  <a:xfrm>
                    <a:off x="646430" y="1806893"/>
                    <a:ext cx="15240" cy="8890"/>
                  </a:xfrm>
                  <a:custGeom>
                    <a:avLst/>
                    <a:gdLst/>
                    <a:ahLst/>
                    <a:cxnLst>
                      <a:cxn ang="0">
                        <a:pos x="14" y="0"/>
                      </a:cxn>
                      <a:cxn ang="0">
                        <a:pos x="14" y="0"/>
                      </a:cxn>
                      <a:cxn ang="0">
                        <a:pos x="6" y="0"/>
                      </a:cxn>
                      <a:cxn ang="0">
                        <a:pos x="2" y="2"/>
                      </a:cxn>
                      <a:cxn ang="0">
                        <a:pos x="0" y="6"/>
                      </a:cxn>
                      <a:cxn ang="0">
                        <a:pos x="2" y="12"/>
                      </a:cxn>
                      <a:cxn ang="0">
                        <a:pos x="2" y="12"/>
                      </a:cxn>
                      <a:cxn ang="0">
                        <a:pos x="4" y="14"/>
                      </a:cxn>
                      <a:cxn ang="0">
                        <a:pos x="8" y="14"/>
                      </a:cxn>
                      <a:cxn ang="0">
                        <a:pos x="20" y="8"/>
                      </a:cxn>
                      <a:cxn ang="0">
                        <a:pos x="20" y="8"/>
                      </a:cxn>
                      <a:cxn ang="0">
                        <a:pos x="24" y="6"/>
                      </a:cxn>
                      <a:cxn ang="0">
                        <a:pos x="24" y="4"/>
                      </a:cxn>
                      <a:cxn ang="0">
                        <a:pos x="20" y="2"/>
                      </a:cxn>
                      <a:cxn ang="0">
                        <a:pos x="14" y="0"/>
                      </a:cxn>
                      <a:cxn ang="0">
                        <a:pos x="14" y="0"/>
                      </a:cxn>
                    </a:cxnLst>
                    <a:rect l="0" t="0" r="r" b="b"/>
                    <a:pathLst>
                      <a:path w="24" h="14">
                        <a:moveTo>
                          <a:pt x="14" y="0"/>
                        </a:moveTo>
                        <a:lnTo>
                          <a:pt x="14" y="0"/>
                        </a:lnTo>
                        <a:lnTo>
                          <a:pt x="6" y="0"/>
                        </a:lnTo>
                        <a:lnTo>
                          <a:pt x="2" y="2"/>
                        </a:lnTo>
                        <a:lnTo>
                          <a:pt x="0" y="6"/>
                        </a:lnTo>
                        <a:lnTo>
                          <a:pt x="2" y="12"/>
                        </a:lnTo>
                        <a:lnTo>
                          <a:pt x="2" y="12"/>
                        </a:lnTo>
                        <a:lnTo>
                          <a:pt x="4" y="14"/>
                        </a:lnTo>
                        <a:lnTo>
                          <a:pt x="8" y="14"/>
                        </a:lnTo>
                        <a:lnTo>
                          <a:pt x="20" y="8"/>
                        </a:lnTo>
                        <a:lnTo>
                          <a:pt x="20" y="8"/>
                        </a:lnTo>
                        <a:lnTo>
                          <a:pt x="24" y="6"/>
                        </a:lnTo>
                        <a:lnTo>
                          <a:pt x="24" y="4"/>
                        </a:lnTo>
                        <a:lnTo>
                          <a:pt x="20" y="2"/>
                        </a:lnTo>
                        <a:lnTo>
                          <a:pt x="14" y="0"/>
                        </a:lnTo>
                        <a:lnTo>
                          <a:pt x="1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0" name="Freeform 6037"/>
                  <p:cNvSpPr>
                    <a:spLocks/>
                  </p:cNvSpPr>
                  <p:nvPr/>
                </p:nvSpPr>
                <p:spPr bwMode="auto">
                  <a:xfrm>
                    <a:off x="615950" y="1811973"/>
                    <a:ext cx="24130" cy="22860"/>
                  </a:xfrm>
                  <a:custGeom>
                    <a:avLst/>
                    <a:gdLst/>
                    <a:ahLst/>
                    <a:cxnLst>
                      <a:cxn ang="0">
                        <a:pos x="28" y="2"/>
                      </a:cxn>
                      <a:cxn ang="0">
                        <a:pos x="28" y="2"/>
                      </a:cxn>
                      <a:cxn ang="0">
                        <a:pos x="18" y="16"/>
                      </a:cxn>
                      <a:cxn ang="0">
                        <a:pos x="0" y="34"/>
                      </a:cxn>
                      <a:cxn ang="0">
                        <a:pos x="0" y="34"/>
                      </a:cxn>
                      <a:cxn ang="0">
                        <a:pos x="0" y="36"/>
                      </a:cxn>
                      <a:cxn ang="0">
                        <a:pos x="4" y="36"/>
                      </a:cxn>
                      <a:cxn ang="0">
                        <a:pos x="16" y="32"/>
                      </a:cxn>
                      <a:cxn ang="0">
                        <a:pos x="16" y="32"/>
                      </a:cxn>
                      <a:cxn ang="0">
                        <a:pos x="20" y="30"/>
                      </a:cxn>
                      <a:cxn ang="0">
                        <a:pos x="22" y="26"/>
                      </a:cxn>
                      <a:cxn ang="0">
                        <a:pos x="26" y="20"/>
                      </a:cxn>
                      <a:cxn ang="0">
                        <a:pos x="32" y="12"/>
                      </a:cxn>
                      <a:cxn ang="0">
                        <a:pos x="32" y="12"/>
                      </a:cxn>
                      <a:cxn ang="0">
                        <a:pos x="36" y="4"/>
                      </a:cxn>
                      <a:cxn ang="0">
                        <a:pos x="38" y="2"/>
                      </a:cxn>
                      <a:cxn ang="0">
                        <a:pos x="36" y="0"/>
                      </a:cxn>
                      <a:cxn ang="0">
                        <a:pos x="32" y="0"/>
                      </a:cxn>
                      <a:cxn ang="0">
                        <a:pos x="28" y="2"/>
                      </a:cxn>
                      <a:cxn ang="0">
                        <a:pos x="28" y="2"/>
                      </a:cxn>
                    </a:cxnLst>
                    <a:rect l="0" t="0" r="r" b="b"/>
                    <a:pathLst>
                      <a:path w="38" h="36">
                        <a:moveTo>
                          <a:pt x="28" y="2"/>
                        </a:moveTo>
                        <a:lnTo>
                          <a:pt x="28" y="2"/>
                        </a:lnTo>
                        <a:lnTo>
                          <a:pt x="18" y="16"/>
                        </a:lnTo>
                        <a:lnTo>
                          <a:pt x="0" y="34"/>
                        </a:lnTo>
                        <a:lnTo>
                          <a:pt x="0" y="34"/>
                        </a:lnTo>
                        <a:lnTo>
                          <a:pt x="0" y="36"/>
                        </a:lnTo>
                        <a:lnTo>
                          <a:pt x="4" y="36"/>
                        </a:lnTo>
                        <a:lnTo>
                          <a:pt x="16" y="32"/>
                        </a:lnTo>
                        <a:lnTo>
                          <a:pt x="16" y="32"/>
                        </a:lnTo>
                        <a:lnTo>
                          <a:pt x="20" y="30"/>
                        </a:lnTo>
                        <a:lnTo>
                          <a:pt x="22" y="26"/>
                        </a:lnTo>
                        <a:lnTo>
                          <a:pt x="26" y="20"/>
                        </a:lnTo>
                        <a:lnTo>
                          <a:pt x="32" y="12"/>
                        </a:lnTo>
                        <a:lnTo>
                          <a:pt x="32" y="12"/>
                        </a:lnTo>
                        <a:lnTo>
                          <a:pt x="36" y="4"/>
                        </a:lnTo>
                        <a:lnTo>
                          <a:pt x="38" y="2"/>
                        </a:lnTo>
                        <a:lnTo>
                          <a:pt x="36" y="0"/>
                        </a:lnTo>
                        <a:lnTo>
                          <a:pt x="32" y="0"/>
                        </a:lnTo>
                        <a:lnTo>
                          <a:pt x="28" y="2"/>
                        </a:lnTo>
                        <a:lnTo>
                          <a:pt x="28"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1" name="Freeform 6054"/>
                  <p:cNvSpPr>
                    <a:spLocks/>
                  </p:cNvSpPr>
                  <p:nvPr/>
                </p:nvSpPr>
                <p:spPr bwMode="auto">
                  <a:xfrm>
                    <a:off x="1395730" y="1058863"/>
                    <a:ext cx="317500" cy="121920"/>
                  </a:xfrm>
                  <a:custGeom>
                    <a:avLst/>
                    <a:gdLst/>
                    <a:ahLst/>
                    <a:cxnLst>
                      <a:cxn ang="0">
                        <a:pos x="314" y="78"/>
                      </a:cxn>
                      <a:cxn ang="0">
                        <a:pos x="338" y="86"/>
                      </a:cxn>
                      <a:cxn ang="0">
                        <a:pos x="354" y="100"/>
                      </a:cxn>
                      <a:cxn ang="0">
                        <a:pos x="340" y="106"/>
                      </a:cxn>
                      <a:cxn ang="0">
                        <a:pos x="280" y="102"/>
                      </a:cxn>
                      <a:cxn ang="0">
                        <a:pos x="258" y="102"/>
                      </a:cxn>
                      <a:cxn ang="0">
                        <a:pos x="236" y="72"/>
                      </a:cxn>
                      <a:cxn ang="0">
                        <a:pos x="186" y="46"/>
                      </a:cxn>
                      <a:cxn ang="0">
                        <a:pos x="154" y="54"/>
                      </a:cxn>
                      <a:cxn ang="0">
                        <a:pos x="138" y="36"/>
                      </a:cxn>
                      <a:cxn ang="0">
                        <a:pos x="102" y="32"/>
                      </a:cxn>
                      <a:cxn ang="0">
                        <a:pos x="42" y="58"/>
                      </a:cxn>
                      <a:cxn ang="0">
                        <a:pos x="46" y="66"/>
                      </a:cxn>
                      <a:cxn ang="0">
                        <a:pos x="22" y="88"/>
                      </a:cxn>
                      <a:cxn ang="0">
                        <a:pos x="24" y="98"/>
                      </a:cxn>
                      <a:cxn ang="0">
                        <a:pos x="14" y="110"/>
                      </a:cxn>
                      <a:cxn ang="0">
                        <a:pos x="6" y="132"/>
                      </a:cxn>
                      <a:cxn ang="0">
                        <a:pos x="66" y="146"/>
                      </a:cxn>
                      <a:cxn ang="0">
                        <a:pos x="94" y="138"/>
                      </a:cxn>
                      <a:cxn ang="0">
                        <a:pos x="106" y="146"/>
                      </a:cxn>
                      <a:cxn ang="0">
                        <a:pos x="124" y="148"/>
                      </a:cxn>
                      <a:cxn ang="0">
                        <a:pos x="144" y="126"/>
                      </a:cxn>
                      <a:cxn ang="0">
                        <a:pos x="152" y="130"/>
                      </a:cxn>
                      <a:cxn ang="0">
                        <a:pos x="158" y="140"/>
                      </a:cxn>
                      <a:cxn ang="0">
                        <a:pos x="232" y="132"/>
                      </a:cxn>
                      <a:cxn ang="0">
                        <a:pos x="264" y="134"/>
                      </a:cxn>
                      <a:cxn ang="0">
                        <a:pos x="212" y="148"/>
                      </a:cxn>
                      <a:cxn ang="0">
                        <a:pos x="144" y="160"/>
                      </a:cxn>
                      <a:cxn ang="0">
                        <a:pos x="134" y="176"/>
                      </a:cxn>
                      <a:cxn ang="0">
                        <a:pos x="166" y="190"/>
                      </a:cxn>
                      <a:cxn ang="0">
                        <a:pos x="234" y="184"/>
                      </a:cxn>
                      <a:cxn ang="0">
                        <a:pos x="296" y="164"/>
                      </a:cxn>
                      <a:cxn ang="0">
                        <a:pos x="350" y="146"/>
                      </a:cxn>
                      <a:cxn ang="0">
                        <a:pos x="378" y="152"/>
                      </a:cxn>
                      <a:cxn ang="0">
                        <a:pos x="394" y="144"/>
                      </a:cxn>
                      <a:cxn ang="0">
                        <a:pos x="420" y="150"/>
                      </a:cxn>
                      <a:cxn ang="0">
                        <a:pos x="460" y="138"/>
                      </a:cxn>
                      <a:cxn ang="0">
                        <a:pos x="492" y="106"/>
                      </a:cxn>
                      <a:cxn ang="0">
                        <a:pos x="498" y="84"/>
                      </a:cxn>
                      <a:cxn ang="0">
                        <a:pos x="470" y="68"/>
                      </a:cxn>
                      <a:cxn ang="0">
                        <a:pos x="436" y="70"/>
                      </a:cxn>
                      <a:cxn ang="0">
                        <a:pos x="398" y="80"/>
                      </a:cxn>
                      <a:cxn ang="0">
                        <a:pos x="400" y="68"/>
                      </a:cxn>
                      <a:cxn ang="0">
                        <a:pos x="384" y="60"/>
                      </a:cxn>
                      <a:cxn ang="0">
                        <a:pos x="384" y="52"/>
                      </a:cxn>
                      <a:cxn ang="0">
                        <a:pos x="382" y="40"/>
                      </a:cxn>
                      <a:cxn ang="0">
                        <a:pos x="370" y="18"/>
                      </a:cxn>
                      <a:cxn ang="0">
                        <a:pos x="358" y="0"/>
                      </a:cxn>
                      <a:cxn ang="0">
                        <a:pos x="300" y="28"/>
                      </a:cxn>
                      <a:cxn ang="0">
                        <a:pos x="290" y="40"/>
                      </a:cxn>
                      <a:cxn ang="0">
                        <a:pos x="318" y="54"/>
                      </a:cxn>
                      <a:cxn ang="0">
                        <a:pos x="328" y="66"/>
                      </a:cxn>
                    </a:cxnLst>
                    <a:rect l="0" t="0" r="r" b="b"/>
                    <a:pathLst>
                      <a:path w="500" h="192">
                        <a:moveTo>
                          <a:pt x="322" y="70"/>
                        </a:moveTo>
                        <a:lnTo>
                          <a:pt x="322" y="70"/>
                        </a:lnTo>
                        <a:lnTo>
                          <a:pt x="316" y="76"/>
                        </a:lnTo>
                        <a:lnTo>
                          <a:pt x="314" y="78"/>
                        </a:lnTo>
                        <a:lnTo>
                          <a:pt x="316" y="80"/>
                        </a:lnTo>
                        <a:lnTo>
                          <a:pt x="320" y="82"/>
                        </a:lnTo>
                        <a:lnTo>
                          <a:pt x="330" y="84"/>
                        </a:lnTo>
                        <a:lnTo>
                          <a:pt x="338" y="86"/>
                        </a:lnTo>
                        <a:lnTo>
                          <a:pt x="348" y="90"/>
                        </a:lnTo>
                        <a:lnTo>
                          <a:pt x="354" y="94"/>
                        </a:lnTo>
                        <a:lnTo>
                          <a:pt x="356" y="96"/>
                        </a:lnTo>
                        <a:lnTo>
                          <a:pt x="354" y="100"/>
                        </a:lnTo>
                        <a:lnTo>
                          <a:pt x="354" y="100"/>
                        </a:lnTo>
                        <a:lnTo>
                          <a:pt x="352" y="104"/>
                        </a:lnTo>
                        <a:lnTo>
                          <a:pt x="346" y="108"/>
                        </a:lnTo>
                        <a:lnTo>
                          <a:pt x="340" y="106"/>
                        </a:lnTo>
                        <a:lnTo>
                          <a:pt x="332" y="106"/>
                        </a:lnTo>
                        <a:lnTo>
                          <a:pt x="310" y="102"/>
                        </a:lnTo>
                        <a:lnTo>
                          <a:pt x="296" y="100"/>
                        </a:lnTo>
                        <a:lnTo>
                          <a:pt x="280" y="102"/>
                        </a:lnTo>
                        <a:lnTo>
                          <a:pt x="280" y="102"/>
                        </a:lnTo>
                        <a:lnTo>
                          <a:pt x="268" y="104"/>
                        </a:lnTo>
                        <a:lnTo>
                          <a:pt x="260" y="104"/>
                        </a:lnTo>
                        <a:lnTo>
                          <a:pt x="258" y="102"/>
                        </a:lnTo>
                        <a:lnTo>
                          <a:pt x="256" y="98"/>
                        </a:lnTo>
                        <a:lnTo>
                          <a:pt x="252" y="90"/>
                        </a:lnTo>
                        <a:lnTo>
                          <a:pt x="246" y="82"/>
                        </a:lnTo>
                        <a:lnTo>
                          <a:pt x="236" y="72"/>
                        </a:lnTo>
                        <a:lnTo>
                          <a:pt x="220" y="60"/>
                        </a:lnTo>
                        <a:lnTo>
                          <a:pt x="220" y="60"/>
                        </a:lnTo>
                        <a:lnTo>
                          <a:pt x="200" y="50"/>
                        </a:lnTo>
                        <a:lnTo>
                          <a:pt x="186" y="46"/>
                        </a:lnTo>
                        <a:lnTo>
                          <a:pt x="174" y="46"/>
                        </a:lnTo>
                        <a:lnTo>
                          <a:pt x="166" y="50"/>
                        </a:lnTo>
                        <a:lnTo>
                          <a:pt x="160" y="52"/>
                        </a:lnTo>
                        <a:lnTo>
                          <a:pt x="154" y="54"/>
                        </a:lnTo>
                        <a:lnTo>
                          <a:pt x="150" y="52"/>
                        </a:lnTo>
                        <a:lnTo>
                          <a:pt x="144" y="44"/>
                        </a:lnTo>
                        <a:lnTo>
                          <a:pt x="144" y="44"/>
                        </a:lnTo>
                        <a:lnTo>
                          <a:pt x="138" y="36"/>
                        </a:lnTo>
                        <a:lnTo>
                          <a:pt x="130" y="30"/>
                        </a:lnTo>
                        <a:lnTo>
                          <a:pt x="122" y="30"/>
                        </a:lnTo>
                        <a:lnTo>
                          <a:pt x="112" y="30"/>
                        </a:lnTo>
                        <a:lnTo>
                          <a:pt x="102" y="32"/>
                        </a:lnTo>
                        <a:lnTo>
                          <a:pt x="88" y="38"/>
                        </a:lnTo>
                        <a:lnTo>
                          <a:pt x="60" y="50"/>
                        </a:lnTo>
                        <a:lnTo>
                          <a:pt x="60" y="50"/>
                        </a:lnTo>
                        <a:lnTo>
                          <a:pt x="42" y="58"/>
                        </a:lnTo>
                        <a:lnTo>
                          <a:pt x="40" y="60"/>
                        </a:lnTo>
                        <a:lnTo>
                          <a:pt x="42" y="60"/>
                        </a:lnTo>
                        <a:lnTo>
                          <a:pt x="44" y="64"/>
                        </a:lnTo>
                        <a:lnTo>
                          <a:pt x="46" y="66"/>
                        </a:lnTo>
                        <a:lnTo>
                          <a:pt x="42" y="72"/>
                        </a:lnTo>
                        <a:lnTo>
                          <a:pt x="32" y="80"/>
                        </a:lnTo>
                        <a:lnTo>
                          <a:pt x="32" y="80"/>
                        </a:lnTo>
                        <a:lnTo>
                          <a:pt x="22" y="88"/>
                        </a:lnTo>
                        <a:lnTo>
                          <a:pt x="20" y="94"/>
                        </a:lnTo>
                        <a:lnTo>
                          <a:pt x="20" y="96"/>
                        </a:lnTo>
                        <a:lnTo>
                          <a:pt x="22" y="98"/>
                        </a:lnTo>
                        <a:lnTo>
                          <a:pt x="24" y="98"/>
                        </a:lnTo>
                        <a:lnTo>
                          <a:pt x="26" y="100"/>
                        </a:lnTo>
                        <a:lnTo>
                          <a:pt x="22" y="104"/>
                        </a:lnTo>
                        <a:lnTo>
                          <a:pt x="14" y="110"/>
                        </a:lnTo>
                        <a:lnTo>
                          <a:pt x="14" y="110"/>
                        </a:lnTo>
                        <a:lnTo>
                          <a:pt x="4" y="118"/>
                        </a:lnTo>
                        <a:lnTo>
                          <a:pt x="0" y="124"/>
                        </a:lnTo>
                        <a:lnTo>
                          <a:pt x="2" y="128"/>
                        </a:lnTo>
                        <a:lnTo>
                          <a:pt x="6" y="132"/>
                        </a:lnTo>
                        <a:lnTo>
                          <a:pt x="26" y="138"/>
                        </a:lnTo>
                        <a:lnTo>
                          <a:pt x="54" y="144"/>
                        </a:lnTo>
                        <a:lnTo>
                          <a:pt x="54" y="144"/>
                        </a:lnTo>
                        <a:lnTo>
                          <a:pt x="66" y="146"/>
                        </a:lnTo>
                        <a:lnTo>
                          <a:pt x="76" y="146"/>
                        </a:lnTo>
                        <a:lnTo>
                          <a:pt x="84" y="144"/>
                        </a:lnTo>
                        <a:lnTo>
                          <a:pt x="88" y="142"/>
                        </a:lnTo>
                        <a:lnTo>
                          <a:pt x="94" y="138"/>
                        </a:lnTo>
                        <a:lnTo>
                          <a:pt x="96" y="136"/>
                        </a:lnTo>
                        <a:lnTo>
                          <a:pt x="98" y="140"/>
                        </a:lnTo>
                        <a:lnTo>
                          <a:pt x="98" y="140"/>
                        </a:lnTo>
                        <a:lnTo>
                          <a:pt x="106" y="146"/>
                        </a:lnTo>
                        <a:lnTo>
                          <a:pt x="110" y="148"/>
                        </a:lnTo>
                        <a:lnTo>
                          <a:pt x="114" y="150"/>
                        </a:lnTo>
                        <a:lnTo>
                          <a:pt x="118" y="150"/>
                        </a:lnTo>
                        <a:lnTo>
                          <a:pt x="124" y="148"/>
                        </a:lnTo>
                        <a:lnTo>
                          <a:pt x="128" y="144"/>
                        </a:lnTo>
                        <a:lnTo>
                          <a:pt x="134" y="138"/>
                        </a:lnTo>
                        <a:lnTo>
                          <a:pt x="134" y="138"/>
                        </a:lnTo>
                        <a:lnTo>
                          <a:pt x="144" y="126"/>
                        </a:lnTo>
                        <a:lnTo>
                          <a:pt x="150" y="122"/>
                        </a:lnTo>
                        <a:lnTo>
                          <a:pt x="152" y="122"/>
                        </a:lnTo>
                        <a:lnTo>
                          <a:pt x="154" y="124"/>
                        </a:lnTo>
                        <a:lnTo>
                          <a:pt x="152" y="130"/>
                        </a:lnTo>
                        <a:lnTo>
                          <a:pt x="152" y="130"/>
                        </a:lnTo>
                        <a:lnTo>
                          <a:pt x="150" y="134"/>
                        </a:lnTo>
                        <a:lnTo>
                          <a:pt x="154" y="138"/>
                        </a:lnTo>
                        <a:lnTo>
                          <a:pt x="158" y="140"/>
                        </a:lnTo>
                        <a:lnTo>
                          <a:pt x="166" y="142"/>
                        </a:lnTo>
                        <a:lnTo>
                          <a:pt x="192" y="140"/>
                        </a:lnTo>
                        <a:lnTo>
                          <a:pt x="232" y="132"/>
                        </a:lnTo>
                        <a:lnTo>
                          <a:pt x="232" y="132"/>
                        </a:lnTo>
                        <a:lnTo>
                          <a:pt x="252" y="130"/>
                        </a:lnTo>
                        <a:lnTo>
                          <a:pt x="262" y="130"/>
                        </a:lnTo>
                        <a:lnTo>
                          <a:pt x="266" y="130"/>
                        </a:lnTo>
                        <a:lnTo>
                          <a:pt x="264" y="134"/>
                        </a:lnTo>
                        <a:lnTo>
                          <a:pt x="256" y="138"/>
                        </a:lnTo>
                        <a:lnTo>
                          <a:pt x="244" y="142"/>
                        </a:lnTo>
                        <a:lnTo>
                          <a:pt x="228" y="144"/>
                        </a:lnTo>
                        <a:lnTo>
                          <a:pt x="212" y="148"/>
                        </a:lnTo>
                        <a:lnTo>
                          <a:pt x="212" y="148"/>
                        </a:lnTo>
                        <a:lnTo>
                          <a:pt x="176" y="152"/>
                        </a:lnTo>
                        <a:lnTo>
                          <a:pt x="158" y="156"/>
                        </a:lnTo>
                        <a:lnTo>
                          <a:pt x="144" y="160"/>
                        </a:lnTo>
                        <a:lnTo>
                          <a:pt x="136" y="166"/>
                        </a:lnTo>
                        <a:lnTo>
                          <a:pt x="134" y="168"/>
                        </a:lnTo>
                        <a:lnTo>
                          <a:pt x="134" y="172"/>
                        </a:lnTo>
                        <a:lnTo>
                          <a:pt x="134" y="176"/>
                        </a:lnTo>
                        <a:lnTo>
                          <a:pt x="138" y="178"/>
                        </a:lnTo>
                        <a:lnTo>
                          <a:pt x="152" y="186"/>
                        </a:lnTo>
                        <a:lnTo>
                          <a:pt x="152" y="186"/>
                        </a:lnTo>
                        <a:lnTo>
                          <a:pt x="166" y="190"/>
                        </a:lnTo>
                        <a:lnTo>
                          <a:pt x="178" y="192"/>
                        </a:lnTo>
                        <a:lnTo>
                          <a:pt x="192" y="192"/>
                        </a:lnTo>
                        <a:lnTo>
                          <a:pt x="206" y="190"/>
                        </a:lnTo>
                        <a:lnTo>
                          <a:pt x="234" y="184"/>
                        </a:lnTo>
                        <a:lnTo>
                          <a:pt x="266" y="174"/>
                        </a:lnTo>
                        <a:lnTo>
                          <a:pt x="266" y="174"/>
                        </a:lnTo>
                        <a:lnTo>
                          <a:pt x="282" y="170"/>
                        </a:lnTo>
                        <a:lnTo>
                          <a:pt x="296" y="164"/>
                        </a:lnTo>
                        <a:lnTo>
                          <a:pt x="318" y="154"/>
                        </a:lnTo>
                        <a:lnTo>
                          <a:pt x="328" y="150"/>
                        </a:lnTo>
                        <a:lnTo>
                          <a:pt x="338" y="146"/>
                        </a:lnTo>
                        <a:lnTo>
                          <a:pt x="350" y="146"/>
                        </a:lnTo>
                        <a:lnTo>
                          <a:pt x="360" y="148"/>
                        </a:lnTo>
                        <a:lnTo>
                          <a:pt x="360" y="148"/>
                        </a:lnTo>
                        <a:lnTo>
                          <a:pt x="370" y="150"/>
                        </a:lnTo>
                        <a:lnTo>
                          <a:pt x="378" y="152"/>
                        </a:lnTo>
                        <a:lnTo>
                          <a:pt x="382" y="150"/>
                        </a:lnTo>
                        <a:lnTo>
                          <a:pt x="386" y="148"/>
                        </a:lnTo>
                        <a:lnTo>
                          <a:pt x="388" y="146"/>
                        </a:lnTo>
                        <a:lnTo>
                          <a:pt x="394" y="144"/>
                        </a:lnTo>
                        <a:lnTo>
                          <a:pt x="400" y="144"/>
                        </a:lnTo>
                        <a:lnTo>
                          <a:pt x="410" y="146"/>
                        </a:lnTo>
                        <a:lnTo>
                          <a:pt x="410" y="146"/>
                        </a:lnTo>
                        <a:lnTo>
                          <a:pt x="420" y="150"/>
                        </a:lnTo>
                        <a:lnTo>
                          <a:pt x="430" y="150"/>
                        </a:lnTo>
                        <a:lnTo>
                          <a:pt x="440" y="148"/>
                        </a:lnTo>
                        <a:lnTo>
                          <a:pt x="450" y="144"/>
                        </a:lnTo>
                        <a:lnTo>
                          <a:pt x="460" y="138"/>
                        </a:lnTo>
                        <a:lnTo>
                          <a:pt x="470" y="130"/>
                        </a:lnTo>
                        <a:lnTo>
                          <a:pt x="482" y="120"/>
                        </a:lnTo>
                        <a:lnTo>
                          <a:pt x="492" y="106"/>
                        </a:lnTo>
                        <a:lnTo>
                          <a:pt x="492" y="106"/>
                        </a:lnTo>
                        <a:lnTo>
                          <a:pt x="496" y="100"/>
                        </a:lnTo>
                        <a:lnTo>
                          <a:pt x="500" y="94"/>
                        </a:lnTo>
                        <a:lnTo>
                          <a:pt x="500" y="88"/>
                        </a:lnTo>
                        <a:lnTo>
                          <a:pt x="498" y="84"/>
                        </a:lnTo>
                        <a:lnTo>
                          <a:pt x="496" y="80"/>
                        </a:lnTo>
                        <a:lnTo>
                          <a:pt x="492" y="76"/>
                        </a:lnTo>
                        <a:lnTo>
                          <a:pt x="482" y="70"/>
                        </a:lnTo>
                        <a:lnTo>
                          <a:pt x="470" y="68"/>
                        </a:lnTo>
                        <a:lnTo>
                          <a:pt x="456" y="66"/>
                        </a:lnTo>
                        <a:lnTo>
                          <a:pt x="444" y="68"/>
                        </a:lnTo>
                        <a:lnTo>
                          <a:pt x="436" y="70"/>
                        </a:lnTo>
                        <a:lnTo>
                          <a:pt x="436" y="70"/>
                        </a:lnTo>
                        <a:lnTo>
                          <a:pt x="420" y="76"/>
                        </a:lnTo>
                        <a:lnTo>
                          <a:pt x="406" y="80"/>
                        </a:lnTo>
                        <a:lnTo>
                          <a:pt x="402" y="82"/>
                        </a:lnTo>
                        <a:lnTo>
                          <a:pt x="398" y="80"/>
                        </a:lnTo>
                        <a:lnTo>
                          <a:pt x="398" y="78"/>
                        </a:lnTo>
                        <a:lnTo>
                          <a:pt x="400" y="72"/>
                        </a:lnTo>
                        <a:lnTo>
                          <a:pt x="400" y="72"/>
                        </a:lnTo>
                        <a:lnTo>
                          <a:pt x="400" y="68"/>
                        </a:lnTo>
                        <a:lnTo>
                          <a:pt x="398" y="64"/>
                        </a:lnTo>
                        <a:lnTo>
                          <a:pt x="394" y="62"/>
                        </a:lnTo>
                        <a:lnTo>
                          <a:pt x="390" y="62"/>
                        </a:lnTo>
                        <a:lnTo>
                          <a:pt x="384" y="60"/>
                        </a:lnTo>
                        <a:lnTo>
                          <a:pt x="380" y="60"/>
                        </a:lnTo>
                        <a:lnTo>
                          <a:pt x="380" y="56"/>
                        </a:lnTo>
                        <a:lnTo>
                          <a:pt x="384" y="52"/>
                        </a:lnTo>
                        <a:lnTo>
                          <a:pt x="384" y="52"/>
                        </a:lnTo>
                        <a:lnTo>
                          <a:pt x="388" y="46"/>
                        </a:lnTo>
                        <a:lnTo>
                          <a:pt x="388" y="44"/>
                        </a:lnTo>
                        <a:lnTo>
                          <a:pt x="386" y="42"/>
                        </a:lnTo>
                        <a:lnTo>
                          <a:pt x="382" y="40"/>
                        </a:lnTo>
                        <a:lnTo>
                          <a:pt x="378" y="38"/>
                        </a:lnTo>
                        <a:lnTo>
                          <a:pt x="374" y="34"/>
                        </a:lnTo>
                        <a:lnTo>
                          <a:pt x="372" y="28"/>
                        </a:lnTo>
                        <a:lnTo>
                          <a:pt x="370" y="18"/>
                        </a:lnTo>
                        <a:lnTo>
                          <a:pt x="370" y="18"/>
                        </a:lnTo>
                        <a:lnTo>
                          <a:pt x="368" y="8"/>
                        </a:lnTo>
                        <a:lnTo>
                          <a:pt x="364" y="2"/>
                        </a:lnTo>
                        <a:lnTo>
                          <a:pt x="358" y="0"/>
                        </a:lnTo>
                        <a:lnTo>
                          <a:pt x="350" y="2"/>
                        </a:lnTo>
                        <a:lnTo>
                          <a:pt x="340" y="6"/>
                        </a:lnTo>
                        <a:lnTo>
                          <a:pt x="328" y="12"/>
                        </a:lnTo>
                        <a:lnTo>
                          <a:pt x="300" y="28"/>
                        </a:lnTo>
                        <a:lnTo>
                          <a:pt x="300" y="28"/>
                        </a:lnTo>
                        <a:lnTo>
                          <a:pt x="294" y="32"/>
                        </a:lnTo>
                        <a:lnTo>
                          <a:pt x="292" y="36"/>
                        </a:lnTo>
                        <a:lnTo>
                          <a:pt x="290" y="40"/>
                        </a:lnTo>
                        <a:lnTo>
                          <a:pt x="292" y="42"/>
                        </a:lnTo>
                        <a:lnTo>
                          <a:pt x="298" y="46"/>
                        </a:lnTo>
                        <a:lnTo>
                          <a:pt x="308" y="50"/>
                        </a:lnTo>
                        <a:lnTo>
                          <a:pt x="318" y="54"/>
                        </a:lnTo>
                        <a:lnTo>
                          <a:pt x="326" y="58"/>
                        </a:lnTo>
                        <a:lnTo>
                          <a:pt x="328" y="60"/>
                        </a:lnTo>
                        <a:lnTo>
                          <a:pt x="328" y="64"/>
                        </a:lnTo>
                        <a:lnTo>
                          <a:pt x="328" y="66"/>
                        </a:lnTo>
                        <a:lnTo>
                          <a:pt x="322" y="70"/>
                        </a:lnTo>
                        <a:lnTo>
                          <a:pt x="322" y="7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2" name="Freeform 6074"/>
                  <p:cNvSpPr>
                    <a:spLocks/>
                  </p:cNvSpPr>
                  <p:nvPr/>
                </p:nvSpPr>
                <p:spPr bwMode="auto">
                  <a:xfrm>
                    <a:off x="2233930" y="3139123"/>
                    <a:ext cx="278130" cy="109220"/>
                  </a:xfrm>
                  <a:custGeom>
                    <a:avLst/>
                    <a:gdLst/>
                    <a:ahLst/>
                    <a:cxnLst>
                      <a:cxn ang="0">
                        <a:pos x="416" y="160"/>
                      </a:cxn>
                      <a:cxn ang="0">
                        <a:pos x="436" y="156"/>
                      </a:cxn>
                      <a:cxn ang="0">
                        <a:pos x="428" y="148"/>
                      </a:cxn>
                      <a:cxn ang="0">
                        <a:pos x="414" y="136"/>
                      </a:cxn>
                      <a:cxn ang="0">
                        <a:pos x="384" y="126"/>
                      </a:cxn>
                      <a:cxn ang="0">
                        <a:pos x="374" y="120"/>
                      </a:cxn>
                      <a:cxn ang="0">
                        <a:pos x="376" y="108"/>
                      </a:cxn>
                      <a:cxn ang="0">
                        <a:pos x="358" y="106"/>
                      </a:cxn>
                      <a:cxn ang="0">
                        <a:pos x="350" y="100"/>
                      </a:cxn>
                      <a:cxn ang="0">
                        <a:pos x="338" y="100"/>
                      </a:cxn>
                      <a:cxn ang="0">
                        <a:pos x="326" y="92"/>
                      </a:cxn>
                      <a:cxn ang="0">
                        <a:pos x="300" y="68"/>
                      </a:cxn>
                      <a:cxn ang="0">
                        <a:pos x="300" y="76"/>
                      </a:cxn>
                      <a:cxn ang="0">
                        <a:pos x="292" y="64"/>
                      </a:cxn>
                      <a:cxn ang="0">
                        <a:pos x="286" y="60"/>
                      </a:cxn>
                      <a:cxn ang="0">
                        <a:pos x="260" y="48"/>
                      </a:cxn>
                      <a:cxn ang="0">
                        <a:pos x="230" y="40"/>
                      </a:cxn>
                      <a:cxn ang="0">
                        <a:pos x="216" y="28"/>
                      </a:cxn>
                      <a:cxn ang="0">
                        <a:pos x="194" y="14"/>
                      </a:cxn>
                      <a:cxn ang="0">
                        <a:pos x="180" y="8"/>
                      </a:cxn>
                      <a:cxn ang="0">
                        <a:pos x="164" y="8"/>
                      </a:cxn>
                      <a:cxn ang="0">
                        <a:pos x="150" y="0"/>
                      </a:cxn>
                      <a:cxn ang="0">
                        <a:pos x="136" y="4"/>
                      </a:cxn>
                      <a:cxn ang="0">
                        <a:pos x="112" y="0"/>
                      </a:cxn>
                      <a:cxn ang="0">
                        <a:pos x="92" y="10"/>
                      </a:cxn>
                      <a:cxn ang="0">
                        <a:pos x="56" y="18"/>
                      </a:cxn>
                      <a:cxn ang="0">
                        <a:pos x="24" y="42"/>
                      </a:cxn>
                      <a:cxn ang="0">
                        <a:pos x="24" y="58"/>
                      </a:cxn>
                      <a:cxn ang="0">
                        <a:pos x="2" y="66"/>
                      </a:cxn>
                      <a:cxn ang="0">
                        <a:pos x="4" y="72"/>
                      </a:cxn>
                      <a:cxn ang="0">
                        <a:pos x="18" y="72"/>
                      </a:cxn>
                      <a:cxn ang="0">
                        <a:pos x="24" y="72"/>
                      </a:cxn>
                      <a:cxn ang="0">
                        <a:pos x="40" y="62"/>
                      </a:cxn>
                      <a:cxn ang="0">
                        <a:pos x="70" y="44"/>
                      </a:cxn>
                      <a:cxn ang="0">
                        <a:pos x="92" y="30"/>
                      </a:cxn>
                      <a:cxn ang="0">
                        <a:pos x="132" y="32"/>
                      </a:cxn>
                      <a:cxn ang="0">
                        <a:pos x="124" y="38"/>
                      </a:cxn>
                      <a:cxn ang="0">
                        <a:pos x="118" y="46"/>
                      </a:cxn>
                      <a:cxn ang="0">
                        <a:pos x="164" y="58"/>
                      </a:cxn>
                      <a:cxn ang="0">
                        <a:pos x="186" y="62"/>
                      </a:cxn>
                      <a:cxn ang="0">
                        <a:pos x="214" y="80"/>
                      </a:cxn>
                      <a:cxn ang="0">
                        <a:pos x="242" y="84"/>
                      </a:cxn>
                      <a:cxn ang="0">
                        <a:pos x="256" y="94"/>
                      </a:cxn>
                      <a:cxn ang="0">
                        <a:pos x="268" y="120"/>
                      </a:cxn>
                      <a:cxn ang="0">
                        <a:pos x="288" y="128"/>
                      </a:cxn>
                      <a:cxn ang="0">
                        <a:pos x="318" y="136"/>
                      </a:cxn>
                      <a:cxn ang="0">
                        <a:pos x="310" y="150"/>
                      </a:cxn>
                      <a:cxn ang="0">
                        <a:pos x="290" y="168"/>
                      </a:cxn>
                      <a:cxn ang="0">
                        <a:pos x="348" y="164"/>
                      </a:cxn>
                      <a:cxn ang="0">
                        <a:pos x="382" y="170"/>
                      </a:cxn>
                      <a:cxn ang="0">
                        <a:pos x="400" y="166"/>
                      </a:cxn>
                    </a:cxnLst>
                    <a:rect l="0" t="0" r="r" b="b"/>
                    <a:pathLst>
                      <a:path w="438" h="172">
                        <a:moveTo>
                          <a:pt x="400" y="166"/>
                        </a:moveTo>
                        <a:lnTo>
                          <a:pt x="400" y="166"/>
                        </a:lnTo>
                        <a:lnTo>
                          <a:pt x="410" y="162"/>
                        </a:lnTo>
                        <a:lnTo>
                          <a:pt x="416" y="160"/>
                        </a:lnTo>
                        <a:lnTo>
                          <a:pt x="426" y="160"/>
                        </a:lnTo>
                        <a:lnTo>
                          <a:pt x="432" y="162"/>
                        </a:lnTo>
                        <a:lnTo>
                          <a:pt x="436" y="156"/>
                        </a:lnTo>
                        <a:lnTo>
                          <a:pt x="436" y="156"/>
                        </a:lnTo>
                        <a:lnTo>
                          <a:pt x="438" y="152"/>
                        </a:lnTo>
                        <a:lnTo>
                          <a:pt x="438" y="150"/>
                        </a:lnTo>
                        <a:lnTo>
                          <a:pt x="434" y="150"/>
                        </a:lnTo>
                        <a:lnTo>
                          <a:pt x="428" y="148"/>
                        </a:lnTo>
                        <a:lnTo>
                          <a:pt x="424" y="146"/>
                        </a:lnTo>
                        <a:lnTo>
                          <a:pt x="420" y="144"/>
                        </a:lnTo>
                        <a:lnTo>
                          <a:pt x="420" y="144"/>
                        </a:lnTo>
                        <a:lnTo>
                          <a:pt x="414" y="136"/>
                        </a:lnTo>
                        <a:lnTo>
                          <a:pt x="410" y="132"/>
                        </a:lnTo>
                        <a:lnTo>
                          <a:pt x="400" y="128"/>
                        </a:lnTo>
                        <a:lnTo>
                          <a:pt x="384" y="126"/>
                        </a:lnTo>
                        <a:lnTo>
                          <a:pt x="384" y="126"/>
                        </a:lnTo>
                        <a:lnTo>
                          <a:pt x="372" y="124"/>
                        </a:lnTo>
                        <a:lnTo>
                          <a:pt x="370" y="124"/>
                        </a:lnTo>
                        <a:lnTo>
                          <a:pt x="372" y="122"/>
                        </a:lnTo>
                        <a:lnTo>
                          <a:pt x="374" y="120"/>
                        </a:lnTo>
                        <a:lnTo>
                          <a:pt x="376" y="116"/>
                        </a:lnTo>
                        <a:lnTo>
                          <a:pt x="376" y="112"/>
                        </a:lnTo>
                        <a:lnTo>
                          <a:pt x="376" y="112"/>
                        </a:lnTo>
                        <a:lnTo>
                          <a:pt x="376" y="108"/>
                        </a:lnTo>
                        <a:lnTo>
                          <a:pt x="374" y="108"/>
                        </a:lnTo>
                        <a:lnTo>
                          <a:pt x="368" y="106"/>
                        </a:lnTo>
                        <a:lnTo>
                          <a:pt x="362" y="106"/>
                        </a:lnTo>
                        <a:lnTo>
                          <a:pt x="358" y="106"/>
                        </a:lnTo>
                        <a:lnTo>
                          <a:pt x="356" y="104"/>
                        </a:lnTo>
                        <a:lnTo>
                          <a:pt x="356" y="104"/>
                        </a:lnTo>
                        <a:lnTo>
                          <a:pt x="352" y="102"/>
                        </a:lnTo>
                        <a:lnTo>
                          <a:pt x="350" y="100"/>
                        </a:lnTo>
                        <a:lnTo>
                          <a:pt x="344" y="102"/>
                        </a:lnTo>
                        <a:lnTo>
                          <a:pt x="340" y="102"/>
                        </a:lnTo>
                        <a:lnTo>
                          <a:pt x="338" y="102"/>
                        </a:lnTo>
                        <a:lnTo>
                          <a:pt x="338" y="100"/>
                        </a:lnTo>
                        <a:lnTo>
                          <a:pt x="338" y="100"/>
                        </a:lnTo>
                        <a:lnTo>
                          <a:pt x="334" y="96"/>
                        </a:lnTo>
                        <a:lnTo>
                          <a:pt x="332" y="94"/>
                        </a:lnTo>
                        <a:lnTo>
                          <a:pt x="326" y="92"/>
                        </a:lnTo>
                        <a:lnTo>
                          <a:pt x="320" y="86"/>
                        </a:lnTo>
                        <a:lnTo>
                          <a:pt x="320" y="86"/>
                        </a:lnTo>
                        <a:lnTo>
                          <a:pt x="304" y="70"/>
                        </a:lnTo>
                        <a:lnTo>
                          <a:pt x="300" y="68"/>
                        </a:lnTo>
                        <a:lnTo>
                          <a:pt x="300" y="70"/>
                        </a:lnTo>
                        <a:lnTo>
                          <a:pt x="300" y="72"/>
                        </a:lnTo>
                        <a:lnTo>
                          <a:pt x="300" y="72"/>
                        </a:lnTo>
                        <a:lnTo>
                          <a:pt x="300" y="76"/>
                        </a:lnTo>
                        <a:lnTo>
                          <a:pt x="300" y="76"/>
                        </a:lnTo>
                        <a:lnTo>
                          <a:pt x="296" y="76"/>
                        </a:lnTo>
                        <a:lnTo>
                          <a:pt x="294" y="70"/>
                        </a:lnTo>
                        <a:lnTo>
                          <a:pt x="292" y="64"/>
                        </a:lnTo>
                        <a:lnTo>
                          <a:pt x="292" y="64"/>
                        </a:lnTo>
                        <a:lnTo>
                          <a:pt x="292" y="62"/>
                        </a:lnTo>
                        <a:lnTo>
                          <a:pt x="292" y="60"/>
                        </a:lnTo>
                        <a:lnTo>
                          <a:pt x="286" y="60"/>
                        </a:lnTo>
                        <a:lnTo>
                          <a:pt x="276" y="56"/>
                        </a:lnTo>
                        <a:lnTo>
                          <a:pt x="268" y="54"/>
                        </a:lnTo>
                        <a:lnTo>
                          <a:pt x="260" y="48"/>
                        </a:lnTo>
                        <a:lnTo>
                          <a:pt x="260" y="48"/>
                        </a:lnTo>
                        <a:lnTo>
                          <a:pt x="252" y="42"/>
                        </a:lnTo>
                        <a:lnTo>
                          <a:pt x="244" y="40"/>
                        </a:lnTo>
                        <a:lnTo>
                          <a:pt x="234" y="40"/>
                        </a:lnTo>
                        <a:lnTo>
                          <a:pt x="230" y="40"/>
                        </a:lnTo>
                        <a:lnTo>
                          <a:pt x="226" y="38"/>
                        </a:lnTo>
                        <a:lnTo>
                          <a:pt x="220" y="34"/>
                        </a:lnTo>
                        <a:lnTo>
                          <a:pt x="216" y="28"/>
                        </a:lnTo>
                        <a:lnTo>
                          <a:pt x="216" y="28"/>
                        </a:lnTo>
                        <a:lnTo>
                          <a:pt x="210" y="20"/>
                        </a:lnTo>
                        <a:lnTo>
                          <a:pt x="204" y="16"/>
                        </a:lnTo>
                        <a:lnTo>
                          <a:pt x="200" y="14"/>
                        </a:lnTo>
                        <a:lnTo>
                          <a:pt x="194" y="14"/>
                        </a:lnTo>
                        <a:lnTo>
                          <a:pt x="186" y="14"/>
                        </a:lnTo>
                        <a:lnTo>
                          <a:pt x="182" y="12"/>
                        </a:lnTo>
                        <a:lnTo>
                          <a:pt x="180" y="8"/>
                        </a:lnTo>
                        <a:lnTo>
                          <a:pt x="180" y="8"/>
                        </a:lnTo>
                        <a:lnTo>
                          <a:pt x="176" y="6"/>
                        </a:lnTo>
                        <a:lnTo>
                          <a:pt x="174" y="4"/>
                        </a:lnTo>
                        <a:lnTo>
                          <a:pt x="168" y="6"/>
                        </a:lnTo>
                        <a:lnTo>
                          <a:pt x="164" y="8"/>
                        </a:lnTo>
                        <a:lnTo>
                          <a:pt x="160" y="6"/>
                        </a:lnTo>
                        <a:lnTo>
                          <a:pt x="156" y="4"/>
                        </a:lnTo>
                        <a:lnTo>
                          <a:pt x="156" y="4"/>
                        </a:lnTo>
                        <a:lnTo>
                          <a:pt x="150" y="0"/>
                        </a:lnTo>
                        <a:lnTo>
                          <a:pt x="148" y="2"/>
                        </a:lnTo>
                        <a:lnTo>
                          <a:pt x="146" y="2"/>
                        </a:lnTo>
                        <a:lnTo>
                          <a:pt x="142" y="4"/>
                        </a:lnTo>
                        <a:lnTo>
                          <a:pt x="136" y="4"/>
                        </a:lnTo>
                        <a:lnTo>
                          <a:pt x="126" y="2"/>
                        </a:lnTo>
                        <a:lnTo>
                          <a:pt x="126" y="2"/>
                        </a:lnTo>
                        <a:lnTo>
                          <a:pt x="118" y="0"/>
                        </a:lnTo>
                        <a:lnTo>
                          <a:pt x="112" y="0"/>
                        </a:lnTo>
                        <a:lnTo>
                          <a:pt x="108" y="2"/>
                        </a:lnTo>
                        <a:lnTo>
                          <a:pt x="104" y="4"/>
                        </a:lnTo>
                        <a:lnTo>
                          <a:pt x="98" y="8"/>
                        </a:lnTo>
                        <a:lnTo>
                          <a:pt x="92" y="10"/>
                        </a:lnTo>
                        <a:lnTo>
                          <a:pt x="86" y="10"/>
                        </a:lnTo>
                        <a:lnTo>
                          <a:pt x="86" y="10"/>
                        </a:lnTo>
                        <a:lnTo>
                          <a:pt x="68" y="14"/>
                        </a:lnTo>
                        <a:lnTo>
                          <a:pt x="56" y="18"/>
                        </a:lnTo>
                        <a:lnTo>
                          <a:pt x="44" y="22"/>
                        </a:lnTo>
                        <a:lnTo>
                          <a:pt x="36" y="28"/>
                        </a:lnTo>
                        <a:lnTo>
                          <a:pt x="28" y="34"/>
                        </a:lnTo>
                        <a:lnTo>
                          <a:pt x="24" y="42"/>
                        </a:lnTo>
                        <a:lnTo>
                          <a:pt x="22" y="48"/>
                        </a:lnTo>
                        <a:lnTo>
                          <a:pt x="24" y="54"/>
                        </a:lnTo>
                        <a:lnTo>
                          <a:pt x="24" y="54"/>
                        </a:lnTo>
                        <a:lnTo>
                          <a:pt x="24" y="58"/>
                        </a:lnTo>
                        <a:lnTo>
                          <a:pt x="22" y="60"/>
                        </a:lnTo>
                        <a:lnTo>
                          <a:pt x="14" y="62"/>
                        </a:lnTo>
                        <a:lnTo>
                          <a:pt x="4" y="64"/>
                        </a:lnTo>
                        <a:lnTo>
                          <a:pt x="2" y="66"/>
                        </a:lnTo>
                        <a:lnTo>
                          <a:pt x="0" y="68"/>
                        </a:lnTo>
                        <a:lnTo>
                          <a:pt x="0" y="68"/>
                        </a:lnTo>
                        <a:lnTo>
                          <a:pt x="2" y="70"/>
                        </a:lnTo>
                        <a:lnTo>
                          <a:pt x="4" y="72"/>
                        </a:lnTo>
                        <a:lnTo>
                          <a:pt x="8" y="72"/>
                        </a:lnTo>
                        <a:lnTo>
                          <a:pt x="14" y="72"/>
                        </a:lnTo>
                        <a:lnTo>
                          <a:pt x="16" y="72"/>
                        </a:lnTo>
                        <a:lnTo>
                          <a:pt x="18" y="72"/>
                        </a:lnTo>
                        <a:lnTo>
                          <a:pt x="18" y="72"/>
                        </a:lnTo>
                        <a:lnTo>
                          <a:pt x="18" y="74"/>
                        </a:lnTo>
                        <a:lnTo>
                          <a:pt x="20" y="74"/>
                        </a:lnTo>
                        <a:lnTo>
                          <a:pt x="24" y="72"/>
                        </a:lnTo>
                        <a:lnTo>
                          <a:pt x="30" y="68"/>
                        </a:lnTo>
                        <a:lnTo>
                          <a:pt x="38" y="68"/>
                        </a:lnTo>
                        <a:lnTo>
                          <a:pt x="38" y="68"/>
                        </a:lnTo>
                        <a:lnTo>
                          <a:pt x="40" y="62"/>
                        </a:lnTo>
                        <a:lnTo>
                          <a:pt x="42" y="58"/>
                        </a:lnTo>
                        <a:lnTo>
                          <a:pt x="52" y="54"/>
                        </a:lnTo>
                        <a:lnTo>
                          <a:pt x="62" y="48"/>
                        </a:lnTo>
                        <a:lnTo>
                          <a:pt x="70" y="44"/>
                        </a:lnTo>
                        <a:lnTo>
                          <a:pt x="76" y="40"/>
                        </a:lnTo>
                        <a:lnTo>
                          <a:pt x="76" y="40"/>
                        </a:lnTo>
                        <a:lnTo>
                          <a:pt x="84" y="34"/>
                        </a:lnTo>
                        <a:lnTo>
                          <a:pt x="92" y="30"/>
                        </a:lnTo>
                        <a:lnTo>
                          <a:pt x="100" y="28"/>
                        </a:lnTo>
                        <a:lnTo>
                          <a:pt x="108" y="28"/>
                        </a:lnTo>
                        <a:lnTo>
                          <a:pt x="124" y="28"/>
                        </a:lnTo>
                        <a:lnTo>
                          <a:pt x="132" y="32"/>
                        </a:lnTo>
                        <a:lnTo>
                          <a:pt x="132" y="32"/>
                        </a:lnTo>
                        <a:lnTo>
                          <a:pt x="134" y="34"/>
                        </a:lnTo>
                        <a:lnTo>
                          <a:pt x="132" y="36"/>
                        </a:lnTo>
                        <a:lnTo>
                          <a:pt x="124" y="38"/>
                        </a:lnTo>
                        <a:lnTo>
                          <a:pt x="116" y="42"/>
                        </a:lnTo>
                        <a:lnTo>
                          <a:pt x="116" y="44"/>
                        </a:lnTo>
                        <a:lnTo>
                          <a:pt x="118" y="46"/>
                        </a:lnTo>
                        <a:lnTo>
                          <a:pt x="118" y="46"/>
                        </a:lnTo>
                        <a:lnTo>
                          <a:pt x="126" y="52"/>
                        </a:lnTo>
                        <a:lnTo>
                          <a:pt x="134" y="56"/>
                        </a:lnTo>
                        <a:lnTo>
                          <a:pt x="146" y="58"/>
                        </a:lnTo>
                        <a:lnTo>
                          <a:pt x="164" y="58"/>
                        </a:lnTo>
                        <a:lnTo>
                          <a:pt x="164" y="58"/>
                        </a:lnTo>
                        <a:lnTo>
                          <a:pt x="174" y="58"/>
                        </a:lnTo>
                        <a:lnTo>
                          <a:pt x="180" y="60"/>
                        </a:lnTo>
                        <a:lnTo>
                          <a:pt x="186" y="62"/>
                        </a:lnTo>
                        <a:lnTo>
                          <a:pt x="190" y="66"/>
                        </a:lnTo>
                        <a:lnTo>
                          <a:pt x="200" y="74"/>
                        </a:lnTo>
                        <a:lnTo>
                          <a:pt x="206" y="78"/>
                        </a:lnTo>
                        <a:lnTo>
                          <a:pt x="214" y="80"/>
                        </a:lnTo>
                        <a:lnTo>
                          <a:pt x="214" y="80"/>
                        </a:lnTo>
                        <a:lnTo>
                          <a:pt x="222" y="84"/>
                        </a:lnTo>
                        <a:lnTo>
                          <a:pt x="230" y="84"/>
                        </a:lnTo>
                        <a:lnTo>
                          <a:pt x="242" y="84"/>
                        </a:lnTo>
                        <a:lnTo>
                          <a:pt x="246" y="84"/>
                        </a:lnTo>
                        <a:lnTo>
                          <a:pt x="250" y="86"/>
                        </a:lnTo>
                        <a:lnTo>
                          <a:pt x="252" y="88"/>
                        </a:lnTo>
                        <a:lnTo>
                          <a:pt x="256" y="94"/>
                        </a:lnTo>
                        <a:lnTo>
                          <a:pt x="256" y="94"/>
                        </a:lnTo>
                        <a:lnTo>
                          <a:pt x="260" y="106"/>
                        </a:lnTo>
                        <a:lnTo>
                          <a:pt x="266" y="116"/>
                        </a:lnTo>
                        <a:lnTo>
                          <a:pt x="268" y="120"/>
                        </a:lnTo>
                        <a:lnTo>
                          <a:pt x="274" y="124"/>
                        </a:lnTo>
                        <a:lnTo>
                          <a:pt x="280" y="126"/>
                        </a:lnTo>
                        <a:lnTo>
                          <a:pt x="288" y="128"/>
                        </a:lnTo>
                        <a:lnTo>
                          <a:pt x="288" y="128"/>
                        </a:lnTo>
                        <a:lnTo>
                          <a:pt x="304" y="128"/>
                        </a:lnTo>
                        <a:lnTo>
                          <a:pt x="310" y="130"/>
                        </a:lnTo>
                        <a:lnTo>
                          <a:pt x="316" y="134"/>
                        </a:lnTo>
                        <a:lnTo>
                          <a:pt x="318" y="136"/>
                        </a:lnTo>
                        <a:lnTo>
                          <a:pt x="318" y="140"/>
                        </a:lnTo>
                        <a:lnTo>
                          <a:pt x="316" y="144"/>
                        </a:lnTo>
                        <a:lnTo>
                          <a:pt x="310" y="150"/>
                        </a:lnTo>
                        <a:lnTo>
                          <a:pt x="310" y="150"/>
                        </a:lnTo>
                        <a:lnTo>
                          <a:pt x="298" y="158"/>
                        </a:lnTo>
                        <a:lnTo>
                          <a:pt x="292" y="162"/>
                        </a:lnTo>
                        <a:lnTo>
                          <a:pt x="290" y="166"/>
                        </a:lnTo>
                        <a:lnTo>
                          <a:pt x="290" y="168"/>
                        </a:lnTo>
                        <a:lnTo>
                          <a:pt x="296" y="170"/>
                        </a:lnTo>
                        <a:lnTo>
                          <a:pt x="328" y="166"/>
                        </a:lnTo>
                        <a:lnTo>
                          <a:pt x="328" y="166"/>
                        </a:lnTo>
                        <a:lnTo>
                          <a:pt x="348" y="164"/>
                        </a:lnTo>
                        <a:lnTo>
                          <a:pt x="360" y="166"/>
                        </a:lnTo>
                        <a:lnTo>
                          <a:pt x="370" y="166"/>
                        </a:lnTo>
                        <a:lnTo>
                          <a:pt x="376" y="168"/>
                        </a:lnTo>
                        <a:lnTo>
                          <a:pt x="382" y="170"/>
                        </a:lnTo>
                        <a:lnTo>
                          <a:pt x="386" y="172"/>
                        </a:lnTo>
                        <a:lnTo>
                          <a:pt x="392" y="170"/>
                        </a:lnTo>
                        <a:lnTo>
                          <a:pt x="400" y="166"/>
                        </a:lnTo>
                        <a:lnTo>
                          <a:pt x="400" y="16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3" name="Freeform 6084"/>
                  <p:cNvSpPr>
                    <a:spLocks/>
                  </p:cNvSpPr>
                  <p:nvPr/>
                </p:nvSpPr>
                <p:spPr bwMode="auto">
                  <a:xfrm>
                    <a:off x="2791460" y="3296603"/>
                    <a:ext cx="5080" cy="5080"/>
                  </a:xfrm>
                  <a:custGeom>
                    <a:avLst/>
                    <a:gdLst/>
                    <a:ahLst/>
                    <a:cxnLst>
                      <a:cxn ang="0">
                        <a:pos x="0" y="6"/>
                      </a:cxn>
                      <a:cxn ang="0">
                        <a:pos x="0" y="6"/>
                      </a:cxn>
                      <a:cxn ang="0">
                        <a:pos x="0" y="8"/>
                      </a:cxn>
                      <a:cxn ang="0">
                        <a:pos x="4" y="6"/>
                      </a:cxn>
                      <a:cxn ang="0">
                        <a:pos x="6" y="4"/>
                      </a:cxn>
                      <a:cxn ang="0">
                        <a:pos x="8" y="2"/>
                      </a:cxn>
                      <a:cxn ang="0">
                        <a:pos x="8" y="2"/>
                      </a:cxn>
                      <a:cxn ang="0">
                        <a:pos x="6" y="0"/>
                      </a:cxn>
                      <a:cxn ang="0">
                        <a:pos x="2" y="2"/>
                      </a:cxn>
                      <a:cxn ang="0">
                        <a:pos x="0" y="4"/>
                      </a:cxn>
                      <a:cxn ang="0">
                        <a:pos x="0" y="6"/>
                      </a:cxn>
                      <a:cxn ang="0">
                        <a:pos x="0" y="6"/>
                      </a:cxn>
                    </a:cxnLst>
                    <a:rect l="0" t="0" r="r" b="b"/>
                    <a:pathLst>
                      <a:path w="8" h="8">
                        <a:moveTo>
                          <a:pt x="0" y="6"/>
                        </a:moveTo>
                        <a:lnTo>
                          <a:pt x="0" y="6"/>
                        </a:lnTo>
                        <a:lnTo>
                          <a:pt x="0" y="8"/>
                        </a:lnTo>
                        <a:lnTo>
                          <a:pt x="4" y="6"/>
                        </a:lnTo>
                        <a:lnTo>
                          <a:pt x="6" y="4"/>
                        </a:lnTo>
                        <a:lnTo>
                          <a:pt x="8" y="2"/>
                        </a:lnTo>
                        <a:lnTo>
                          <a:pt x="8" y="2"/>
                        </a:lnTo>
                        <a:lnTo>
                          <a:pt x="6" y="0"/>
                        </a:lnTo>
                        <a:lnTo>
                          <a:pt x="2" y="2"/>
                        </a:lnTo>
                        <a:lnTo>
                          <a:pt x="0" y="4"/>
                        </a:lnTo>
                        <a:lnTo>
                          <a:pt x="0" y="6"/>
                        </a:lnTo>
                        <a:lnTo>
                          <a:pt x="0"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4" name="Freeform 6086"/>
                  <p:cNvSpPr>
                    <a:spLocks noEditPoints="1"/>
                  </p:cNvSpPr>
                  <p:nvPr/>
                </p:nvSpPr>
                <p:spPr bwMode="auto">
                  <a:xfrm>
                    <a:off x="106680" y="1296353"/>
                    <a:ext cx="2874010" cy="2354580"/>
                  </a:xfrm>
                  <a:custGeom>
                    <a:avLst/>
                    <a:gdLst/>
                    <a:ahLst/>
                    <a:cxnLst>
                      <a:cxn ang="0">
                        <a:pos x="3400" y="3516"/>
                      </a:cxn>
                      <a:cxn ang="0">
                        <a:pos x="3292" y="3276"/>
                      </a:cxn>
                      <a:cxn ang="0">
                        <a:pos x="3246" y="3102"/>
                      </a:cxn>
                      <a:cxn ang="0">
                        <a:pos x="3116" y="3080"/>
                      </a:cxn>
                      <a:cxn ang="0">
                        <a:pos x="2830" y="2916"/>
                      </a:cxn>
                      <a:cxn ang="0">
                        <a:pos x="3078" y="2572"/>
                      </a:cxn>
                      <a:cxn ang="0">
                        <a:pos x="3134" y="2554"/>
                      </a:cxn>
                      <a:cxn ang="0">
                        <a:pos x="3436" y="2646"/>
                      </a:cxn>
                      <a:cxn ang="0">
                        <a:pos x="3526" y="2642"/>
                      </a:cxn>
                      <a:cxn ang="0">
                        <a:pos x="3686" y="2282"/>
                      </a:cxn>
                      <a:cxn ang="0">
                        <a:pos x="3698" y="2162"/>
                      </a:cxn>
                      <a:cxn ang="0">
                        <a:pos x="3748" y="2092"/>
                      </a:cxn>
                      <a:cxn ang="0">
                        <a:pos x="3924" y="1928"/>
                      </a:cxn>
                      <a:cxn ang="0">
                        <a:pos x="4006" y="1782"/>
                      </a:cxn>
                      <a:cxn ang="0">
                        <a:pos x="4138" y="1824"/>
                      </a:cxn>
                      <a:cxn ang="0">
                        <a:pos x="4150" y="1496"/>
                      </a:cxn>
                      <a:cxn ang="0">
                        <a:pos x="4522" y="1296"/>
                      </a:cxn>
                      <a:cxn ang="0">
                        <a:pos x="4314" y="1090"/>
                      </a:cxn>
                      <a:cxn ang="0">
                        <a:pos x="4060" y="934"/>
                      </a:cxn>
                      <a:cxn ang="0">
                        <a:pos x="3720" y="680"/>
                      </a:cxn>
                      <a:cxn ang="0">
                        <a:pos x="3570" y="1166"/>
                      </a:cxn>
                      <a:cxn ang="0">
                        <a:pos x="3346" y="1132"/>
                      </a:cxn>
                      <a:cxn ang="0">
                        <a:pos x="3060" y="648"/>
                      </a:cxn>
                      <a:cxn ang="0">
                        <a:pos x="3304" y="420"/>
                      </a:cxn>
                      <a:cxn ang="0">
                        <a:pos x="3452" y="258"/>
                      </a:cxn>
                      <a:cxn ang="0">
                        <a:pos x="3282" y="322"/>
                      </a:cxn>
                      <a:cxn ang="0">
                        <a:pos x="3048" y="164"/>
                      </a:cxn>
                      <a:cxn ang="0">
                        <a:pos x="2954" y="232"/>
                      </a:cxn>
                      <a:cxn ang="0">
                        <a:pos x="2726" y="298"/>
                      </a:cxn>
                      <a:cxn ang="0">
                        <a:pos x="2330" y="286"/>
                      </a:cxn>
                      <a:cxn ang="0">
                        <a:pos x="1732" y="136"/>
                      </a:cxn>
                      <a:cxn ang="0">
                        <a:pos x="1406" y="178"/>
                      </a:cxn>
                      <a:cxn ang="0">
                        <a:pos x="636" y="94"/>
                      </a:cxn>
                      <a:cxn ang="0">
                        <a:pos x="54" y="266"/>
                      </a:cxn>
                      <a:cxn ang="0">
                        <a:pos x="28" y="440"/>
                      </a:cxn>
                      <a:cxn ang="0">
                        <a:pos x="270" y="598"/>
                      </a:cxn>
                      <a:cxn ang="0">
                        <a:pos x="246" y="900"/>
                      </a:cxn>
                      <a:cxn ang="0">
                        <a:pos x="218" y="1124"/>
                      </a:cxn>
                      <a:cxn ang="0">
                        <a:pos x="548" y="956"/>
                      </a:cxn>
                      <a:cxn ang="0">
                        <a:pos x="648" y="882"/>
                      </a:cxn>
                      <a:cxn ang="0">
                        <a:pos x="1136" y="842"/>
                      </a:cxn>
                      <a:cxn ang="0">
                        <a:pos x="1412" y="1020"/>
                      </a:cxn>
                      <a:cxn ang="0">
                        <a:pos x="1524" y="1162"/>
                      </a:cxn>
                      <a:cxn ang="0">
                        <a:pos x="1646" y="1306"/>
                      </a:cxn>
                      <a:cxn ang="0">
                        <a:pos x="1750" y="1434"/>
                      </a:cxn>
                      <a:cxn ang="0">
                        <a:pos x="1840" y="1570"/>
                      </a:cxn>
                      <a:cxn ang="0">
                        <a:pos x="1838" y="2170"/>
                      </a:cxn>
                      <a:cxn ang="0">
                        <a:pos x="2146" y="2682"/>
                      </a:cxn>
                      <a:cxn ang="0">
                        <a:pos x="2168" y="2564"/>
                      </a:cxn>
                      <a:cxn ang="0">
                        <a:pos x="2530" y="2998"/>
                      </a:cxn>
                      <a:cxn ang="0">
                        <a:pos x="3202" y="3400"/>
                      </a:cxn>
                      <a:cxn ang="0">
                        <a:pos x="3330" y="3570"/>
                      </a:cxn>
                      <a:cxn ang="0">
                        <a:pos x="3432" y="3656"/>
                      </a:cxn>
                      <a:cxn ang="0">
                        <a:pos x="3562" y="3616"/>
                      </a:cxn>
                      <a:cxn ang="0">
                        <a:pos x="3408" y="1922"/>
                      </a:cxn>
                      <a:cxn ang="0">
                        <a:pos x="3590" y="1870"/>
                      </a:cxn>
                      <a:cxn ang="0">
                        <a:pos x="3578" y="1812"/>
                      </a:cxn>
                      <a:cxn ang="0">
                        <a:pos x="3344" y="1588"/>
                      </a:cxn>
                      <a:cxn ang="0">
                        <a:pos x="3548" y="1750"/>
                      </a:cxn>
                      <a:cxn ang="0">
                        <a:pos x="3418" y="1798"/>
                      </a:cxn>
                      <a:cxn ang="0">
                        <a:pos x="3294" y="1766"/>
                      </a:cxn>
                      <a:cxn ang="0">
                        <a:pos x="3244" y="1726"/>
                      </a:cxn>
                      <a:cxn ang="0">
                        <a:pos x="3258" y="1654"/>
                      </a:cxn>
                    </a:cxnLst>
                    <a:rect l="0" t="0" r="r" b="b"/>
                    <a:pathLst>
                      <a:path w="4526" h="3708">
                        <a:moveTo>
                          <a:pt x="3654" y="3626"/>
                        </a:moveTo>
                        <a:lnTo>
                          <a:pt x="3654" y="3626"/>
                        </a:lnTo>
                        <a:lnTo>
                          <a:pt x="3654" y="3626"/>
                        </a:lnTo>
                        <a:lnTo>
                          <a:pt x="3654" y="3626"/>
                        </a:lnTo>
                        <a:lnTo>
                          <a:pt x="3642" y="3614"/>
                        </a:lnTo>
                        <a:lnTo>
                          <a:pt x="3628" y="3600"/>
                        </a:lnTo>
                        <a:lnTo>
                          <a:pt x="3622" y="3596"/>
                        </a:lnTo>
                        <a:lnTo>
                          <a:pt x="3614" y="3592"/>
                        </a:lnTo>
                        <a:lnTo>
                          <a:pt x="3606" y="3590"/>
                        </a:lnTo>
                        <a:lnTo>
                          <a:pt x="3598" y="3588"/>
                        </a:lnTo>
                        <a:lnTo>
                          <a:pt x="3598" y="3588"/>
                        </a:lnTo>
                        <a:lnTo>
                          <a:pt x="3588" y="3590"/>
                        </a:lnTo>
                        <a:lnTo>
                          <a:pt x="3588" y="3588"/>
                        </a:lnTo>
                        <a:lnTo>
                          <a:pt x="3588" y="3588"/>
                        </a:lnTo>
                        <a:lnTo>
                          <a:pt x="3588" y="3586"/>
                        </a:lnTo>
                        <a:lnTo>
                          <a:pt x="3586" y="3584"/>
                        </a:lnTo>
                        <a:lnTo>
                          <a:pt x="3574" y="3582"/>
                        </a:lnTo>
                        <a:lnTo>
                          <a:pt x="3574" y="3582"/>
                        </a:lnTo>
                        <a:lnTo>
                          <a:pt x="3562" y="3582"/>
                        </a:lnTo>
                        <a:lnTo>
                          <a:pt x="3560" y="3582"/>
                        </a:lnTo>
                        <a:lnTo>
                          <a:pt x="3560" y="3584"/>
                        </a:lnTo>
                        <a:lnTo>
                          <a:pt x="3556" y="3590"/>
                        </a:lnTo>
                        <a:lnTo>
                          <a:pt x="3552" y="3594"/>
                        </a:lnTo>
                        <a:lnTo>
                          <a:pt x="3546" y="3598"/>
                        </a:lnTo>
                        <a:lnTo>
                          <a:pt x="3546" y="3598"/>
                        </a:lnTo>
                        <a:lnTo>
                          <a:pt x="3524" y="3608"/>
                        </a:lnTo>
                        <a:lnTo>
                          <a:pt x="3518" y="3612"/>
                        </a:lnTo>
                        <a:lnTo>
                          <a:pt x="3514" y="3616"/>
                        </a:lnTo>
                        <a:lnTo>
                          <a:pt x="3496" y="3622"/>
                        </a:lnTo>
                        <a:lnTo>
                          <a:pt x="3496" y="3622"/>
                        </a:lnTo>
                        <a:lnTo>
                          <a:pt x="3492" y="3622"/>
                        </a:lnTo>
                        <a:lnTo>
                          <a:pt x="3488" y="3620"/>
                        </a:lnTo>
                        <a:lnTo>
                          <a:pt x="3480" y="3612"/>
                        </a:lnTo>
                        <a:lnTo>
                          <a:pt x="3480" y="3612"/>
                        </a:lnTo>
                        <a:lnTo>
                          <a:pt x="3476" y="3608"/>
                        </a:lnTo>
                        <a:lnTo>
                          <a:pt x="3474" y="3604"/>
                        </a:lnTo>
                        <a:lnTo>
                          <a:pt x="3474" y="3604"/>
                        </a:lnTo>
                        <a:lnTo>
                          <a:pt x="3472" y="3602"/>
                        </a:lnTo>
                        <a:lnTo>
                          <a:pt x="3470" y="3602"/>
                        </a:lnTo>
                        <a:lnTo>
                          <a:pt x="3468" y="3604"/>
                        </a:lnTo>
                        <a:lnTo>
                          <a:pt x="3470" y="3610"/>
                        </a:lnTo>
                        <a:lnTo>
                          <a:pt x="3470" y="3610"/>
                        </a:lnTo>
                        <a:lnTo>
                          <a:pt x="3470" y="3610"/>
                        </a:lnTo>
                        <a:lnTo>
                          <a:pt x="3468" y="3612"/>
                        </a:lnTo>
                        <a:lnTo>
                          <a:pt x="3464" y="3612"/>
                        </a:lnTo>
                        <a:lnTo>
                          <a:pt x="3460" y="3610"/>
                        </a:lnTo>
                        <a:lnTo>
                          <a:pt x="3456" y="3608"/>
                        </a:lnTo>
                        <a:lnTo>
                          <a:pt x="3456" y="3608"/>
                        </a:lnTo>
                        <a:lnTo>
                          <a:pt x="3458" y="3604"/>
                        </a:lnTo>
                        <a:lnTo>
                          <a:pt x="3460" y="3604"/>
                        </a:lnTo>
                        <a:lnTo>
                          <a:pt x="3460" y="3602"/>
                        </a:lnTo>
                        <a:lnTo>
                          <a:pt x="3460" y="3600"/>
                        </a:lnTo>
                        <a:lnTo>
                          <a:pt x="3460" y="3600"/>
                        </a:lnTo>
                        <a:lnTo>
                          <a:pt x="3458" y="3600"/>
                        </a:lnTo>
                        <a:lnTo>
                          <a:pt x="3454" y="3600"/>
                        </a:lnTo>
                        <a:lnTo>
                          <a:pt x="3452" y="3600"/>
                        </a:lnTo>
                        <a:lnTo>
                          <a:pt x="3452" y="3596"/>
                        </a:lnTo>
                        <a:lnTo>
                          <a:pt x="3452" y="3596"/>
                        </a:lnTo>
                        <a:lnTo>
                          <a:pt x="3452" y="3590"/>
                        </a:lnTo>
                        <a:lnTo>
                          <a:pt x="3450" y="3588"/>
                        </a:lnTo>
                        <a:lnTo>
                          <a:pt x="3444" y="3584"/>
                        </a:lnTo>
                        <a:lnTo>
                          <a:pt x="3444" y="3584"/>
                        </a:lnTo>
                        <a:lnTo>
                          <a:pt x="3440" y="3578"/>
                        </a:lnTo>
                        <a:lnTo>
                          <a:pt x="3432" y="3568"/>
                        </a:lnTo>
                        <a:lnTo>
                          <a:pt x="3422" y="3558"/>
                        </a:lnTo>
                        <a:lnTo>
                          <a:pt x="3412" y="3544"/>
                        </a:lnTo>
                        <a:lnTo>
                          <a:pt x="3412" y="3544"/>
                        </a:lnTo>
                        <a:lnTo>
                          <a:pt x="3406" y="3534"/>
                        </a:lnTo>
                        <a:lnTo>
                          <a:pt x="3404" y="3528"/>
                        </a:lnTo>
                        <a:lnTo>
                          <a:pt x="3404" y="3522"/>
                        </a:lnTo>
                        <a:lnTo>
                          <a:pt x="3400" y="3516"/>
                        </a:lnTo>
                        <a:lnTo>
                          <a:pt x="3400" y="3516"/>
                        </a:lnTo>
                        <a:lnTo>
                          <a:pt x="3396" y="3512"/>
                        </a:lnTo>
                        <a:lnTo>
                          <a:pt x="3392" y="3504"/>
                        </a:lnTo>
                        <a:lnTo>
                          <a:pt x="3392" y="3504"/>
                        </a:lnTo>
                        <a:lnTo>
                          <a:pt x="3392" y="3498"/>
                        </a:lnTo>
                        <a:lnTo>
                          <a:pt x="3392" y="3492"/>
                        </a:lnTo>
                        <a:lnTo>
                          <a:pt x="3396" y="3486"/>
                        </a:lnTo>
                        <a:lnTo>
                          <a:pt x="3398" y="3484"/>
                        </a:lnTo>
                        <a:lnTo>
                          <a:pt x="3398" y="3484"/>
                        </a:lnTo>
                        <a:lnTo>
                          <a:pt x="3400" y="3482"/>
                        </a:lnTo>
                        <a:lnTo>
                          <a:pt x="3400" y="3478"/>
                        </a:lnTo>
                        <a:lnTo>
                          <a:pt x="3398" y="3474"/>
                        </a:lnTo>
                        <a:lnTo>
                          <a:pt x="3396" y="3472"/>
                        </a:lnTo>
                        <a:lnTo>
                          <a:pt x="3396" y="3472"/>
                        </a:lnTo>
                        <a:lnTo>
                          <a:pt x="3396" y="3470"/>
                        </a:lnTo>
                        <a:lnTo>
                          <a:pt x="3394" y="3470"/>
                        </a:lnTo>
                        <a:lnTo>
                          <a:pt x="3396" y="3464"/>
                        </a:lnTo>
                        <a:lnTo>
                          <a:pt x="3400" y="3452"/>
                        </a:lnTo>
                        <a:lnTo>
                          <a:pt x="3400" y="3452"/>
                        </a:lnTo>
                        <a:lnTo>
                          <a:pt x="3400" y="3446"/>
                        </a:lnTo>
                        <a:lnTo>
                          <a:pt x="3402" y="3444"/>
                        </a:lnTo>
                        <a:lnTo>
                          <a:pt x="3404" y="3444"/>
                        </a:lnTo>
                        <a:lnTo>
                          <a:pt x="3404" y="3444"/>
                        </a:lnTo>
                        <a:lnTo>
                          <a:pt x="3408" y="3444"/>
                        </a:lnTo>
                        <a:lnTo>
                          <a:pt x="3406" y="3438"/>
                        </a:lnTo>
                        <a:lnTo>
                          <a:pt x="3406" y="3438"/>
                        </a:lnTo>
                        <a:lnTo>
                          <a:pt x="3406" y="3424"/>
                        </a:lnTo>
                        <a:lnTo>
                          <a:pt x="3404" y="3404"/>
                        </a:lnTo>
                        <a:lnTo>
                          <a:pt x="3404" y="3404"/>
                        </a:lnTo>
                        <a:lnTo>
                          <a:pt x="3402" y="3396"/>
                        </a:lnTo>
                        <a:lnTo>
                          <a:pt x="3404" y="3392"/>
                        </a:lnTo>
                        <a:lnTo>
                          <a:pt x="3406" y="3386"/>
                        </a:lnTo>
                        <a:lnTo>
                          <a:pt x="3408" y="3378"/>
                        </a:lnTo>
                        <a:lnTo>
                          <a:pt x="3408" y="3378"/>
                        </a:lnTo>
                        <a:lnTo>
                          <a:pt x="3410" y="3368"/>
                        </a:lnTo>
                        <a:lnTo>
                          <a:pt x="3414" y="3358"/>
                        </a:lnTo>
                        <a:lnTo>
                          <a:pt x="3418" y="3350"/>
                        </a:lnTo>
                        <a:lnTo>
                          <a:pt x="3418" y="3346"/>
                        </a:lnTo>
                        <a:lnTo>
                          <a:pt x="3418" y="3342"/>
                        </a:lnTo>
                        <a:lnTo>
                          <a:pt x="3418" y="3342"/>
                        </a:lnTo>
                        <a:lnTo>
                          <a:pt x="3416" y="3334"/>
                        </a:lnTo>
                        <a:lnTo>
                          <a:pt x="3416" y="3328"/>
                        </a:lnTo>
                        <a:lnTo>
                          <a:pt x="3418" y="3324"/>
                        </a:lnTo>
                        <a:lnTo>
                          <a:pt x="3420" y="3318"/>
                        </a:lnTo>
                        <a:lnTo>
                          <a:pt x="3420" y="3318"/>
                        </a:lnTo>
                        <a:lnTo>
                          <a:pt x="3420" y="3314"/>
                        </a:lnTo>
                        <a:lnTo>
                          <a:pt x="3418" y="3310"/>
                        </a:lnTo>
                        <a:lnTo>
                          <a:pt x="3412" y="3304"/>
                        </a:lnTo>
                        <a:lnTo>
                          <a:pt x="3406" y="3300"/>
                        </a:lnTo>
                        <a:lnTo>
                          <a:pt x="3406" y="3300"/>
                        </a:lnTo>
                        <a:lnTo>
                          <a:pt x="3388" y="3290"/>
                        </a:lnTo>
                        <a:lnTo>
                          <a:pt x="3380" y="3280"/>
                        </a:lnTo>
                        <a:lnTo>
                          <a:pt x="3380" y="3280"/>
                        </a:lnTo>
                        <a:lnTo>
                          <a:pt x="3372" y="3274"/>
                        </a:lnTo>
                        <a:lnTo>
                          <a:pt x="3360" y="3270"/>
                        </a:lnTo>
                        <a:lnTo>
                          <a:pt x="3350" y="3268"/>
                        </a:lnTo>
                        <a:lnTo>
                          <a:pt x="3344" y="3268"/>
                        </a:lnTo>
                        <a:lnTo>
                          <a:pt x="3344" y="3268"/>
                        </a:lnTo>
                        <a:lnTo>
                          <a:pt x="3340" y="3270"/>
                        </a:lnTo>
                        <a:lnTo>
                          <a:pt x="3334" y="3270"/>
                        </a:lnTo>
                        <a:lnTo>
                          <a:pt x="3326" y="3270"/>
                        </a:lnTo>
                        <a:lnTo>
                          <a:pt x="3320" y="3268"/>
                        </a:lnTo>
                        <a:lnTo>
                          <a:pt x="3320" y="3268"/>
                        </a:lnTo>
                        <a:lnTo>
                          <a:pt x="3308" y="3264"/>
                        </a:lnTo>
                        <a:lnTo>
                          <a:pt x="3306" y="3264"/>
                        </a:lnTo>
                        <a:lnTo>
                          <a:pt x="3308" y="3266"/>
                        </a:lnTo>
                        <a:lnTo>
                          <a:pt x="3308" y="3266"/>
                        </a:lnTo>
                        <a:lnTo>
                          <a:pt x="3308" y="3268"/>
                        </a:lnTo>
                        <a:lnTo>
                          <a:pt x="3308" y="3270"/>
                        </a:lnTo>
                        <a:lnTo>
                          <a:pt x="3304" y="3272"/>
                        </a:lnTo>
                        <a:lnTo>
                          <a:pt x="3292" y="3276"/>
                        </a:lnTo>
                        <a:lnTo>
                          <a:pt x="3292" y="3276"/>
                        </a:lnTo>
                        <a:lnTo>
                          <a:pt x="3278" y="3278"/>
                        </a:lnTo>
                        <a:lnTo>
                          <a:pt x="3266" y="3276"/>
                        </a:lnTo>
                        <a:lnTo>
                          <a:pt x="3258" y="3274"/>
                        </a:lnTo>
                        <a:lnTo>
                          <a:pt x="3248" y="3274"/>
                        </a:lnTo>
                        <a:lnTo>
                          <a:pt x="3248" y="3274"/>
                        </a:lnTo>
                        <a:lnTo>
                          <a:pt x="3244" y="3276"/>
                        </a:lnTo>
                        <a:lnTo>
                          <a:pt x="3242" y="3274"/>
                        </a:lnTo>
                        <a:lnTo>
                          <a:pt x="3240" y="3272"/>
                        </a:lnTo>
                        <a:lnTo>
                          <a:pt x="3238" y="3270"/>
                        </a:lnTo>
                        <a:lnTo>
                          <a:pt x="3238" y="3270"/>
                        </a:lnTo>
                        <a:lnTo>
                          <a:pt x="3236" y="3270"/>
                        </a:lnTo>
                        <a:lnTo>
                          <a:pt x="3232" y="3272"/>
                        </a:lnTo>
                        <a:lnTo>
                          <a:pt x="3226" y="3276"/>
                        </a:lnTo>
                        <a:lnTo>
                          <a:pt x="3222" y="3282"/>
                        </a:lnTo>
                        <a:lnTo>
                          <a:pt x="3218" y="3282"/>
                        </a:lnTo>
                        <a:lnTo>
                          <a:pt x="3216" y="3280"/>
                        </a:lnTo>
                        <a:lnTo>
                          <a:pt x="3216" y="3280"/>
                        </a:lnTo>
                        <a:lnTo>
                          <a:pt x="3206" y="3272"/>
                        </a:lnTo>
                        <a:lnTo>
                          <a:pt x="3202" y="3268"/>
                        </a:lnTo>
                        <a:lnTo>
                          <a:pt x="3200" y="3268"/>
                        </a:lnTo>
                        <a:lnTo>
                          <a:pt x="3202" y="3270"/>
                        </a:lnTo>
                        <a:lnTo>
                          <a:pt x="3202" y="3270"/>
                        </a:lnTo>
                        <a:lnTo>
                          <a:pt x="3204" y="3274"/>
                        </a:lnTo>
                        <a:lnTo>
                          <a:pt x="3202" y="3280"/>
                        </a:lnTo>
                        <a:lnTo>
                          <a:pt x="3202" y="3280"/>
                        </a:lnTo>
                        <a:lnTo>
                          <a:pt x="3200" y="3282"/>
                        </a:lnTo>
                        <a:lnTo>
                          <a:pt x="3198" y="3280"/>
                        </a:lnTo>
                        <a:lnTo>
                          <a:pt x="3194" y="3274"/>
                        </a:lnTo>
                        <a:lnTo>
                          <a:pt x="3188" y="3270"/>
                        </a:lnTo>
                        <a:lnTo>
                          <a:pt x="3188" y="3270"/>
                        </a:lnTo>
                        <a:lnTo>
                          <a:pt x="3188" y="3268"/>
                        </a:lnTo>
                        <a:lnTo>
                          <a:pt x="3190" y="3264"/>
                        </a:lnTo>
                        <a:lnTo>
                          <a:pt x="3196" y="3256"/>
                        </a:lnTo>
                        <a:lnTo>
                          <a:pt x="3202" y="3250"/>
                        </a:lnTo>
                        <a:lnTo>
                          <a:pt x="3208" y="3242"/>
                        </a:lnTo>
                        <a:lnTo>
                          <a:pt x="3208" y="3242"/>
                        </a:lnTo>
                        <a:lnTo>
                          <a:pt x="3212" y="3236"/>
                        </a:lnTo>
                        <a:lnTo>
                          <a:pt x="3214" y="3228"/>
                        </a:lnTo>
                        <a:lnTo>
                          <a:pt x="3216" y="3206"/>
                        </a:lnTo>
                        <a:lnTo>
                          <a:pt x="3218" y="3182"/>
                        </a:lnTo>
                        <a:lnTo>
                          <a:pt x="3222" y="3160"/>
                        </a:lnTo>
                        <a:lnTo>
                          <a:pt x="3222" y="3160"/>
                        </a:lnTo>
                        <a:lnTo>
                          <a:pt x="3222" y="3154"/>
                        </a:lnTo>
                        <a:lnTo>
                          <a:pt x="3220" y="3150"/>
                        </a:lnTo>
                        <a:lnTo>
                          <a:pt x="3218" y="3148"/>
                        </a:lnTo>
                        <a:lnTo>
                          <a:pt x="3216" y="3148"/>
                        </a:lnTo>
                        <a:lnTo>
                          <a:pt x="3216" y="3148"/>
                        </a:lnTo>
                        <a:lnTo>
                          <a:pt x="3214" y="3150"/>
                        </a:lnTo>
                        <a:lnTo>
                          <a:pt x="3212" y="3150"/>
                        </a:lnTo>
                        <a:lnTo>
                          <a:pt x="3212" y="3144"/>
                        </a:lnTo>
                        <a:lnTo>
                          <a:pt x="3212" y="3144"/>
                        </a:lnTo>
                        <a:lnTo>
                          <a:pt x="3220" y="3128"/>
                        </a:lnTo>
                        <a:lnTo>
                          <a:pt x="3220" y="3128"/>
                        </a:lnTo>
                        <a:lnTo>
                          <a:pt x="3222" y="3124"/>
                        </a:lnTo>
                        <a:lnTo>
                          <a:pt x="3224" y="3124"/>
                        </a:lnTo>
                        <a:lnTo>
                          <a:pt x="3224" y="3128"/>
                        </a:lnTo>
                        <a:lnTo>
                          <a:pt x="3222" y="3134"/>
                        </a:lnTo>
                        <a:lnTo>
                          <a:pt x="3222" y="3134"/>
                        </a:lnTo>
                        <a:lnTo>
                          <a:pt x="3222" y="3140"/>
                        </a:lnTo>
                        <a:lnTo>
                          <a:pt x="3224" y="3144"/>
                        </a:lnTo>
                        <a:lnTo>
                          <a:pt x="3226" y="3148"/>
                        </a:lnTo>
                        <a:lnTo>
                          <a:pt x="3230" y="3154"/>
                        </a:lnTo>
                        <a:lnTo>
                          <a:pt x="3230" y="3154"/>
                        </a:lnTo>
                        <a:lnTo>
                          <a:pt x="3232" y="3156"/>
                        </a:lnTo>
                        <a:lnTo>
                          <a:pt x="3232" y="3152"/>
                        </a:lnTo>
                        <a:lnTo>
                          <a:pt x="3236" y="3138"/>
                        </a:lnTo>
                        <a:lnTo>
                          <a:pt x="3242" y="3118"/>
                        </a:lnTo>
                        <a:lnTo>
                          <a:pt x="3244" y="3104"/>
                        </a:lnTo>
                        <a:lnTo>
                          <a:pt x="3244" y="3104"/>
                        </a:lnTo>
                        <a:lnTo>
                          <a:pt x="3246" y="3102"/>
                        </a:lnTo>
                        <a:lnTo>
                          <a:pt x="3244" y="3102"/>
                        </a:lnTo>
                        <a:lnTo>
                          <a:pt x="3240" y="3102"/>
                        </a:lnTo>
                        <a:lnTo>
                          <a:pt x="3238" y="3102"/>
                        </a:lnTo>
                        <a:lnTo>
                          <a:pt x="3242" y="3098"/>
                        </a:lnTo>
                        <a:lnTo>
                          <a:pt x="3242" y="3098"/>
                        </a:lnTo>
                        <a:lnTo>
                          <a:pt x="3250" y="3088"/>
                        </a:lnTo>
                        <a:lnTo>
                          <a:pt x="3248" y="3086"/>
                        </a:lnTo>
                        <a:lnTo>
                          <a:pt x="3244" y="3088"/>
                        </a:lnTo>
                        <a:lnTo>
                          <a:pt x="3244" y="3088"/>
                        </a:lnTo>
                        <a:lnTo>
                          <a:pt x="3238" y="3090"/>
                        </a:lnTo>
                        <a:lnTo>
                          <a:pt x="3236" y="3088"/>
                        </a:lnTo>
                        <a:lnTo>
                          <a:pt x="3236" y="3084"/>
                        </a:lnTo>
                        <a:lnTo>
                          <a:pt x="3242" y="3078"/>
                        </a:lnTo>
                        <a:lnTo>
                          <a:pt x="3242" y="3078"/>
                        </a:lnTo>
                        <a:lnTo>
                          <a:pt x="3246" y="3076"/>
                        </a:lnTo>
                        <a:lnTo>
                          <a:pt x="3248" y="3072"/>
                        </a:lnTo>
                        <a:lnTo>
                          <a:pt x="3248" y="3064"/>
                        </a:lnTo>
                        <a:lnTo>
                          <a:pt x="3252" y="3050"/>
                        </a:lnTo>
                        <a:lnTo>
                          <a:pt x="3256" y="3040"/>
                        </a:lnTo>
                        <a:lnTo>
                          <a:pt x="3264" y="3030"/>
                        </a:lnTo>
                        <a:lnTo>
                          <a:pt x="3264" y="3030"/>
                        </a:lnTo>
                        <a:lnTo>
                          <a:pt x="3274" y="3016"/>
                        </a:lnTo>
                        <a:lnTo>
                          <a:pt x="3276" y="3010"/>
                        </a:lnTo>
                        <a:lnTo>
                          <a:pt x="3274" y="3006"/>
                        </a:lnTo>
                        <a:lnTo>
                          <a:pt x="3272" y="3002"/>
                        </a:lnTo>
                        <a:lnTo>
                          <a:pt x="3272" y="3002"/>
                        </a:lnTo>
                        <a:lnTo>
                          <a:pt x="3272" y="2996"/>
                        </a:lnTo>
                        <a:lnTo>
                          <a:pt x="3272" y="2994"/>
                        </a:lnTo>
                        <a:lnTo>
                          <a:pt x="3268" y="2992"/>
                        </a:lnTo>
                        <a:lnTo>
                          <a:pt x="3266" y="2988"/>
                        </a:lnTo>
                        <a:lnTo>
                          <a:pt x="3266" y="2988"/>
                        </a:lnTo>
                        <a:lnTo>
                          <a:pt x="3264" y="2986"/>
                        </a:lnTo>
                        <a:lnTo>
                          <a:pt x="3260" y="2986"/>
                        </a:lnTo>
                        <a:lnTo>
                          <a:pt x="3256" y="2986"/>
                        </a:lnTo>
                        <a:lnTo>
                          <a:pt x="3252" y="2988"/>
                        </a:lnTo>
                        <a:lnTo>
                          <a:pt x="3252" y="2988"/>
                        </a:lnTo>
                        <a:lnTo>
                          <a:pt x="3254" y="2990"/>
                        </a:lnTo>
                        <a:lnTo>
                          <a:pt x="3254" y="2990"/>
                        </a:lnTo>
                        <a:lnTo>
                          <a:pt x="3260" y="2990"/>
                        </a:lnTo>
                        <a:lnTo>
                          <a:pt x="3260" y="2992"/>
                        </a:lnTo>
                        <a:lnTo>
                          <a:pt x="3256" y="2994"/>
                        </a:lnTo>
                        <a:lnTo>
                          <a:pt x="3256" y="2994"/>
                        </a:lnTo>
                        <a:lnTo>
                          <a:pt x="3254" y="2994"/>
                        </a:lnTo>
                        <a:lnTo>
                          <a:pt x="3250" y="2994"/>
                        </a:lnTo>
                        <a:lnTo>
                          <a:pt x="3242" y="2990"/>
                        </a:lnTo>
                        <a:lnTo>
                          <a:pt x="3230" y="2988"/>
                        </a:lnTo>
                        <a:lnTo>
                          <a:pt x="3222" y="2986"/>
                        </a:lnTo>
                        <a:lnTo>
                          <a:pt x="3214" y="2986"/>
                        </a:lnTo>
                        <a:lnTo>
                          <a:pt x="3214" y="2986"/>
                        </a:lnTo>
                        <a:lnTo>
                          <a:pt x="3202" y="2990"/>
                        </a:lnTo>
                        <a:lnTo>
                          <a:pt x="3196" y="2992"/>
                        </a:lnTo>
                        <a:lnTo>
                          <a:pt x="3190" y="2996"/>
                        </a:lnTo>
                        <a:lnTo>
                          <a:pt x="3180" y="2998"/>
                        </a:lnTo>
                        <a:lnTo>
                          <a:pt x="3180" y="2998"/>
                        </a:lnTo>
                        <a:lnTo>
                          <a:pt x="3162" y="3000"/>
                        </a:lnTo>
                        <a:lnTo>
                          <a:pt x="3146" y="3004"/>
                        </a:lnTo>
                        <a:lnTo>
                          <a:pt x="3140" y="3008"/>
                        </a:lnTo>
                        <a:lnTo>
                          <a:pt x="3134" y="3012"/>
                        </a:lnTo>
                        <a:lnTo>
                          <a:pt x="3130" y="3016"/>
                        </a:lnTo>
                        <a:lnTo>
                          <a:pt x="3130" y="3020"/>
                        </a:lnTo>
                        <a:lnTo>
                          <a:pt x="3130" y="3020"/>
                        </a:lnTo>
                        <a:lnTo>
                          <a:pt x="3128" y="3028"/>
                        </a:lnTo>
                        <a:lnTo>
                          <a:pt x="3126" y="3034"/>
                        </a:lnTo>
                        <a:lnTo>
                          <a:pt x="3124" y="3040"/>
                        </a:lnTo>
                        <a:lnTo>
                          <a:pt x="3124" y="3056"/>
                        </a:lnTo>
                        <a:lnTo>
                          <a:pt x="3124" y="3056"/>
                        </a:lnTo>
                        <a:lnTo>
                          <a:pt x="3126" y="3068"/>
                        </a:lnTo>
                        <a:lnTo>
                          <a:pt x="3124" y="3070"/>
                        </a:lnTo>
                        <a:lnTo>
                          <a:pt x="3122" y="3072"/>
                        </a:lnTo>
                        <a:lnTo>
                          <a:pt x="3118" y="3076"/>
                        </a:lnTo>
                        <a:lnTo>
                          <a:pt x="3116" y="3080"/>
                        </a:lnTo>
                        <a:lnTo>
                          <a:pt x="3116" y="3088"/>
                        </a:lnTo>
                        <a:lnTo>
                          <a:pt x="3116" y="3088"/>
                        </a:lnTo>
                        <a:lnTo>
                          <a:pt x="3114" y="3096"/>
                        </a:lnTo>
                        <a:lnTo>
                          <a:pt x="3112" y="3102"/>
                        </a:lnTo>
                        <a:lnTo>
                          <a:pt x="3108" y="3108"/>
                        </a:lnTo>
                        <a:lnTo>
                          <a:pt x="3104" y="3112"/>
                        </a:lnTo>
                        <a:lnTo>
                          <a:pt x="3094" y="3118"/>
                        </a:lnTo>
                        <a:lnTo>
                          <a:pt x="3086" y="3122"/>
                        </a:lnTo>
                        <a:lnTo>
                          <a:pt x="3086" y="3122"/>
                        </a:lnTo>
                        <a:lnTo>
                          <a:pt x="3084" y="3126"/>
                        </a:lnTo>
                        <a:lnTo>
                          <a:pt x="3084" y="3126"/>
                        </a:lnTo>
                        <a:lnTo>
                          <a:pt x="3088" y="3128"/>
                        </a:lnTo>
                        <a:lnTo>
                          <a:pt x="3092" y="3132"/>
                        </a:lnTo>
                        <a:lnTo>
                          <a:pt x="3092" y="3134"/>
                        </a:lnTo>
                        <a:lnTo>
                          <a:pt x="3090" y="3138"/>
                        </a:lnTo>
                        <a:lnTo>
                          <a:pt x="3090" y="3138"/>
                        </a:lnTo>
                        <a:lnTo>
                          <a:pt x="3086" y="3142"/>
                        </a:lnTo>
                        <a:lnTo>
                          <a:pt x="3078" y="3144"/>
                        </a:lnTo>
                        <a:lnTo>
                          <a:pt x="3072" y="3144"/>
                        </a:lnTo>
                        <a:lnTo>
                          <a:pt x="3070" y="3142"/>
                        </a:lnTo>
                        <a:lnTo>
                          <a:pt x="3070" y="3140"/>
                        </a:lnTo>
                        <a:lnTo>
                          <a:pt x="3070" y="3140"/>
                        </a:lnTo>
                        <a:lnTo>
                          <a:pt x="3068" y="3134"/>
                        </a:lnTo>
                        <a:lnTo>
                          <a:pt x="3066" y="3132"/>
                        </a:lnTo>
                        <a:lnTo>
                          <a:pt x="3058" y="3132"/>
                        </a:lnTo>
                        <a:lnTo>
                          <a:pt x="3046" y="3132"/>
                        </a:lnTo>
                        <a:lnTo>
                          <a:pt x="3046" y="3132"/>
                        </a:lnTo>
                        <a:lnTo>
                          <a:pt x="3038" y="3134"/>
                        </a:lnTo>
                        <a:lnTo>
                          <a:pt x="3034" y="3138"/>
                        </a:lnTo>
                        <a:lnTo>
                          <a:pt x="3028" y="3142"/>
                        </a:lnTo>
                        <a:lnTo>
                          <a:pt x="3010" y="3144"/>
                        </a:lnTo>
                        <a:lnTo>
                          <a:pt x="3010" y="3144"/>
                        </a:lnTo>
                        <a:lnTo>
                          <a:pt x="2996" y="3146"/>
                        </a:lnTo>
                        <a:lnTo>
                          <a:pt x="2986" y="3152"/>
                        </a:lnTo>
                        <a:lnTo>
                          <a:pt x="2978" y="3156"/>
                        </a:lnTo>
                        <a:lnTo>
                          <a:pt x="2968" y="3160"/>
                        </a:lnTo>
                        <a:lnTo>
                          <a:pt x="2968" y="3160"/>
                        </a:lnTo>
                        <a:lnTo>
                          <a:pt x="2964" y="3160"/>
                        </a:lnTo>
                        <a:lnTo>
                          <a:pt x="2960" y="3158"/>
                        </a:lnTo>
                        <a:lnTo>
                          <a:pt x="2956" y="3148"/>
                        </a:lnTo>
                        <a:lnTo>
                          <a:pt x="2952" y="3144"/>
                        </a:lnTo>
                        <a:lnTo>
                          <a:pt x="2946" y="3138"/>
                        </a:lnTo>
                        <a:lnTo>
                          <a:pt x="2938" y="3134"/>
                        </a:lnTo>
                        <a:lnTo>
                          <a:pt x="2924" y="3130"/>
                        </a:lnTo>
                        <a:lnTo>
                          <a:pt x="2924" y="3130"/>
                        </a:lnTo>
                        <a:lnTo>
                          <a:pt x="2912" y="3126"/>
                        </a:lnTo>
                        <a:lnTo>
                          <a:pt x="2904" y="3120"/>
                        </a:lnTo>
                        <a:lnTo>
                          <a:pt x="2898" y="3112"/>
                        </a:lnTo>
                        <a:lnTo>
                          <a:pt x="2894" y="3102"/>
                        </a:lnTo>
                        <a:lnTo>
                          <a:pt x="2884" y="3076"/>
                        </a:lnTo>
                        <a:lnTo>
                          <a:pt x="2876" y="3062"/>
                        </a:lnTo>
                        <a:lnTo>
                          <a:pt x="2864" y="3046"/>
                        </a:lnTo>
                        <a:lnTo>
                          <a:pt x="2864" y="3046"/>
                        </a:lnTo>
                        <a:lnTo>
                          <a:pt x="2858" y="3036"/>
                        </a:lnTo>
                        <a:lnTo>
                          <a:pt x="2852" y="3028"/>
                        </a:lnTo>
                        <a:lnTo>
                          <a:pt x="2848" y="3010"/>
                        </a:lnTo>
                        <a:lnTo>
                          <a:pt x="2844" y="2998"/>
                        </a:lnTo>
                        <a:lnTo>
                          <a:pt x="2844" y="2994"/>
                        </a:lnTo>
                        <a:lnTo>
                          <a:pt x="2842" y="2992"/>
                        </a:lnTo>
                        <a:lnTo>
                          <a:pt x="2842" y="2992"/>
                        </a:lnTo>
                        <a:lnTo>
                          <a:pt x="2838" y="2990"/>
                        </a:lnTo>
                        <a:lnTo>
                          <a:pt x="2836" y="2988"/>
                        </a:lnTo>
                        <a:lnTo>
                          <a:pt x="2834" y="2976"/>
                        </a:lnTo>
                        <a:lnTo>
                          <a:pt x="2830" y="2948"/>
                        </a:lnTo>
                        <a:lnTo>
                          <a:pt x="2830" y="2948"/>
                        </a:lnTo>
                        <a:lnTo>
                          <a:pt x="2830" y="2938"/>
                        </a:lnTo>
                        <a:lnTo>
                          <a:pt x="2828" y="2934"/>
                        </a:lnTo>
                        <a:lnTo>
                          <a:pt x="2828" y="2932"/>
                        </a:lnTo>
                        <a:lnTo>
                          <a:pt x="2830" y="2926"/>
                        </a:lnTo>
                        <a:lnTo>
                          <a:pt x="2830" y="2926"/>
                        </a:lnTo>
                        <a:lnTo>
                          <a:pt x="2830" y="2916"/>
                        </a:lnTo>
                        <a:lnTo>
                          <a:pt x="2830" y="2906"/>
                        </a:lnTo>
                        <a:lnTo>
                          <a:pt x="2830" y="2886"/>
                        </a:lnTo>
                        <a:lnTo>
                          <a:pt x="2834" y="2854"/>
                        </a:lnTo>
                        <a:lnTo>
                          <a:pt x="2834" y="2854"/>
                        </a:lnTo>
                        <a:lnTo>
                          <a:pt x="2840" y="2820"/>
                        </a:lnTo>
                        <a:lnTo>
                          <a:pt x="2846" y="2800"/>
                        </a:lnTo>
                        <a:lnTo>
                          <a:pt x="2852" y="2784"/>
                        </a:lnTo>
                        <a:lnTo>
                          <a:pt x="2856" y="2766"/>
                        </a:lnTo>
                        <a:lnTo>
                          <a:pt x="2856" y="2766"/>
                        </a:lnTo>
                        <a:lnTo>
                          <a:pt x="2854" y="2748"/>
                        </a:lnTo>
                        <a:lnTo>
                          <a:pt x="2850" y="2728"/>
                        </a:lnTo>
                        <a:lnTo>
                          <a:pt x="2846" y="2710"/>
                        </a:lnTo>
                        <a:lnTo>
                          <a:pt x="2846" y="2696"/>
                        </a:lnTo>
                        <a:lnTo>
                          <a:pt x="2846" y="2696"/>
                        </a:lnTo>
                        <a:lnTo>
                          <a:pt x="2850" y="2686"/>
                        </a:lnTo>
                        <a:lnTo>
                          <a:pt x="2854" y="2678"/>
                        </a:lnTo>
                        <a:lnTo>
                          <a:pt x="2858" y="2672"/>
                        </a:lnTo>
                        <a:lnTo>
                          <a:pt x="2864" y="2662"/>
                        </a:lnTo>
                        <a:lnTo>
                          <a:pt x="2864" y="2662"/>
                        </a:lnTo>
                        <a:lnTo>
                          <a:pt x="2866" y="2658"/>
                        </a:lnTo>
                        <a:lnTo>
                          <a:pt x="2870" y="2654"/>
                        </a:lnTo>
                        <a:lnTo>
                          <a:pt x="2880" y="2646"/>
                        </a:lnTo>
                        <a:lnTo>
                          <a:pt x="2886" y="2642"/>
                        </a:lnTo>
                        <a:lnTo>
                          <a:pt x="2888" y="2640"/>
                        </a:lnTo>
                        <a:lnTo>
                          <a:pt x="2886" y="2638"/>
                        </a:lnTo>
                        <a:lnTo>
                          <a:pt x="2886" y="2638"/>
                        </a:lnTo>
                        <a:lnTo>
                          <a:pt x="2880" y="2628"/>
                        </a:lnTo>
                        <a:lnTo>
                          <a:pt x="2878" y="2626"/>
                        </a:lnTo>
                        <a:lnTo>
                          <a:pt x="2882" y="2628"/>
                        </a:lnTo>
                        <a:lnTo>
                          <a:pt x="2882" y="2628"/>
                        </a:lnTo>
                        <a:lnTo>
                          <a:pt x="2886" y="2628"/>
                        </a:lnTo>
                        <a:lnTo>
                          <a:pt x="2890" y="2628"/>
                        </a:lnTo>
                        <a:lnTo>
                          <a:pt x="2892" y="2626"/>
                        </a:lnTo>
                        <a:lnTo>
                          <a:pt x="2894" y="2628"/>
                        </a:lnTo>
                        <a:lnTo>
                          <a:pt x="2894" y="2628"/>
                        </a:lnTo>
                        <a:lnTo>
                          <a:pt x="2896" y="2628"/>
                        </a:lnTo>
                        <a:lnTo>
                          <a:pt x="2902" y="2628"/>
                        </a:lnTo>
                        <a:lnTo>
                          <a:pt x="2912" y="2624"/>
                        </a:lnTo>
                        <a:lnTo>
                          <a:pt x="2926" y="2616"/>
                        </a:lnTo>
                        <a:lnTo>
                          <a:pt x="2936" y="2606"/>
                        </a:lnTo>
                        <a:lnTo>
                          <a:pt x="2936" y="2606"/>
                        </a:lnTo>
                        <a:lnTo>
                          <a:pt x="2942" y="2600"/>
                        </a:lnTo>
                        <a:lnTo>
                          <a:pt x="2948" y="2594"/>
                        </a:lnTo>
                        <a:lnTo>
                          <a:pt x="2964" y="2584"/>
                        </a:lnTo>
                        <a:lnTo>
                          <a:pt x="2964" y="2584"/>
                        </a:lnTo>
                        <a:lnTo>
                          <a:pt x="2980" y="2572"/>
                        </a:lnTo>
                        <a:lnTo>
                          <a:pt x="2990" y="2570"/>
                        </a:lnTo>
                        <a:lnTo>
                          <a:pt x="3006" y="2568"/>
                        </a:lnTo>
                        <a:lnTo>
                          <a:pt x="3006" y="2568"/>
                        </a:lnTo>
                        <a:lnTo>
                          <a:pt x="3014" y="2568"/>
                        </a:lnTo>
                        <a:lnTo>
                          <a:pt x="3020" y="2570"/>
                        </a:lnTo>
                        <a:lnTo>
                          <a:pt x="3032" y="2574"/>
                        </a:lnTo>
                        <a:lnTo>
                          <a:pt x="3040" y="2580"/>
                        </a:lnTo>
                        <a:lnTo>
                          <a:pt x="3046" y="2580"/>
                        </a:lnTo>
                        <a:lnTo>
                          <a:pt x="3050" y="2580"/>
                        </a:lnTo>
                        <a:lnTo>
                          <a:pt x="3050" y="2580"/>
                        </a:lnTo>
                        <a:lnTo>
                          <a:pt x="3060" y="2578"/>
                        </a:lnTo>
                        <a:lnTo>
                          <a:pt x="3064" y="2580"/>
                        </a:lnTo>
                        <a:lnTo>
                          <a:pt x="3068" y="2582"/>
                        </a:lnTo>
                        <a:lnTo>
                          <a:pt x="3072" y="2580"/>
                        </a:lnTo>
                        <a:lnTo>
                          <a:pt x="3072" y="2580"/>
                        </a:lnTo>
                        <a:lnTo>
                          <a:pt x="3074" y="2578"/>
                        </a:lnTo>
                        <a:lnTo>
                          <a:pt x="3072" y="2578"/>
                        </a:lnTo>
                        <a:lnTo>
                          <a:pt x="3066" y="2576"/>
                        </a:lnTo>
                        <a:lnTo>
                          <a:pt x="3058" y="2572"/>
                        </a:lnTo>
                        <a:lnTo>
                          <a:pt x="3058" y="2572"/>
                        </a:lnTo>
                        <a:lnTo>
                          <a:pt x="3060" y="2568"/>
                        </a:lnTo>
                        <a:lnTo>
                          <a:pt x="3060" y="2568"/>
                        </a:lnTo>
                        <a:lnTo>
                          <a:pt x="3068" y="2566"/>
                        </a:lnTo>
                        <a:lnTo>
                          <a:pt x="3074" y="2568"/>
                        </a:lnTo>
                        <a:lnTo>
                          <a:pt x="3078" y="2572"/>
                        </a:lnTo>
                        <a:lnTo>
                          <a:pt x="3082" y="2578"/>
                        </a:lnTo>
                        <a:lnTo>
                          <a:pt x="3082" y="2578"/>
                        </a:lnTo>
                        <a:lnTo>
                          <a:pt x="3084" y="2580"/>
                        </a:lnTo>
                        <a:lnTo>
                          <a:pt x="3086" y="2582"/>
                        </a:lnTo>
                        <a:lnTo>
                          <a:pt x="3092" y="2584"/>
                        </a:lnTo>
                        <a:lnTo>
                          <a:pt x="3096" y="2586"/>
                        </a:lnTo>
                        <a:lnTo>
                          <a:pt x="3094" y="2588"/>
                        </a:lnTo>
                        <a:lnTo>
                          <a:pt x="3092" y="2590"/>
                        </a:lnTo>
                        <a:lnTo>
                          <a:pt x="3092" y="2590"/>
                        </a:lnTo>
                        <a:lnTo>
                          <a:pt x="3092" y="2594"/>
                        </a:lnTo>
                        <a:lnTo>
                          <a:pt x="3094" y="2596"/>
                        </a:lnTo>
                        <a:lnTo>
                          <a:pt x="3102" y="2600"/>
                        </a:lnTo>
                        <a:lnTo>
                          <a:pt x="3112" y="2600"/>
                        </a:lnTo>
                        <a:lnTo>
                          <a:pt x="3118" y="2600"/>
                        </a:lnTo>
                        <a:lnTo>
                          <a:pt x="3118" y="2600"/>
                        </a:lnTo>
                        <a:lnTo>
                          <a:pt x="3120" y="2596"/>
                        </a:lnTo>
                        <a:lnTo>
                          <a:pt x="3126" y="2594"/>
                        </a:lnTo>
                        <a:lnTo>
                          <a:pt x="3130" y="2594"/>
                        </a:lnTo>
                        <a:lnTo>
                          <a:pt x="3134" y="2600"/>
                        </a:lnTo>
                        <a:lnTo>
                          <a:pt x="3134" y="2600"/>
                        </a:lnTo>
                        <a:lnTo>
                          <a:pt x="3136" y="2602"/>
                        </a:lnTo>
                        <a:lnTo>
                          <a:pt x="3138" y="2604"/>
                        </a:lnTo>
                        <a:lnTo>
                          <a:pt x="3142" y="2602"/>
                        </a:lnTo>
                        <a:lnTo>
                          <a:pt x="3144" y="2596"/>
                        </a:lnTo>
                        <a:lnTo>
                          <a:pt x="3144" y="2592"/>
                        </a:lnTo>
                        <a:lnTo>
                          <a:pt x="3142" y="2588"/>
                        </a:lnTo>
                        <a:lnTo>
                          <a:pt x="3142" y="2588"/>
                        </a:lnTo>
                        <a:lnTo>
                          <a:pt x="3142" y="2584"/>
                        </a:lnTo>
                        <a:lnTo>
                          <a:pt x="3146" y="2584"/>
                        </a:lnTo>
                        <a:lnTo>
                          <a:pt x="3152" y="2586"/>
                        </a:lnTo>
                        <a:lnTo>
                          <a:pt x="3160" y="2594"/>
                        </a:lnTo>
                        <a:lnTo>
                          <a:pt x="3160" y="2594"/>
                        </a:lnTo>
                        <a:lnTo>
                          <a:pt x="3166" y="2602"/>
                        </a:lnTo>
                        <a:lnTo>
                          <a:pt x="3168" y="2608"/>
                        </a:lnTo>
                        <a:lnTo>
                          <a:pt x="3168" y="2610"/>
                        </a:lnTo>
                        <a:lnTo>
                          <a:pt x="3170" y="2610"/>
                        </a:lnTo>
                        <a:lnTo>
                          <a:pt x="3176" y="2606"/>
                        </a:lnTo>
                        <a:lnTo>
                          <a:pt x="3176" y="2606"/>
                        </a:lnTo>
                        <a:lnTo>
                          <a:pt x="3180" y="2602"/>
                        </a:lnTo>
                        <a:lnTo>
                          <a:pt x="3182" y="2600"/>
                        </a:lnTo>
                        <a:lnTo>
                          <a:pt x="3182" y="2596"/>
                        </a:lnTo>
                        <a:lnTo>
                          <a:pt x="3180" y="2594"/>
                        </a:lnTo>
                        <a:lnTo>
                          <a:pt x="3174" y="2590"/>
                        </a:lnTo>
                        <a:lnTo>
                          <a:pt x="3162" y="2584"/>
                        </a:lnTo>
                        <a:lnTo>
                          <a:pt x="3162" y="2584"/>
                        </a:lnTo>
                        <a:lnTo>
                          <a:pt x="3158" y="2580"/>
                        </a:lnTo>
                        <a:lnTo>
                          <a:pt x="3158" y="2578"/>
                        </a:lnTo>
                        <a:lnTo>
                          <a:pt x="3160" y="2576"/>
                        </a:lnTo>
                        <a:lnTo>
                          <a:pt x="3164" y="2574"/>
                        </a:lnTo>
                        <a:lnTo>
                          <a:pt x="3170" y="2568"/>
                        </a:lnTo>
                        <a:lnTo>
                          <a:pt x="3172" y="2564"/>
                        </a:lnTo>
                        <a:lnTo>
                          <a:pt x="3172" y="2560"/>
                        </a:lnTo>
                        <a:lnTo>
                          <a:pt x="3172" y="2560"/>
                        </a:lnTo>
                        <a:lnTo>
                          <a:pt x="3170" y="2556"/>
                        </a:lnTo>
                        <a:lnTo>
                          <a:pt x="3168" y="2556"/>
                        </a:lnTo>
                        <a:lnTo>
                          <a:pt x="3164" y="2558"/>
                        </a:lnTo>
                        <a:lnTo>
                          <a:pt x="3160" y="2562"/>
                        </a:lnTo>
                        <a:lnTo>
                          <a:pt x="3158" y="2562"/>
                        </a:lnTo>
                        <a:lnTo>
                          <a:pt x="3156" y="2562"/>
                        </a:lnTo>
                        <a:lnTo>
                          <a:pt x="3156" y="2562"/>
                        </a:lnTo>
                        <a:lnTo>
                          <a:pt x="3154" y="2560"/>
                        </a:lnTo>
                        <a:lnTo>
                          <a:pt x="3154" y="2558"/>
                        </a:lnTo>
                        <a:lnTo>
                          <a:pt x="3156" y="2556"/>
                        </a:lnTo>
                        <a:lnTo>
                          <a:pt x="3158" y="2552"/>
                        </a:lnTo>
                        <a:lnTo>
                          <a:pt x="3154" y="2550"/>
                        </a:lnTo>
                        <a:lnTo>
                          <a:pt x="3154" y="2550"/>
                        </a:lnTo>
                        <a:lnTo>
                          <a:pt x="3148" y="2550"/>
                        </a:lnTo>
                        <a:lnTo>
                          <a:pt x="3144" y="2554"/>
                        </a:lnTo>
                        <a:lnTo>
                          <a:pt x="3142" y="2556"/>
                        </a:lnTo>
                        <a:lnTo>
                          <a:pt x="3134" y="2554"/>
                        </a:lnTo>
                        <a:lnTo>
                          <a:pt x="3134" y="2554"/>
                        </a:lnTo>
                        <a:lnTo>
                          <a:pt x="3130" y="2550"/>
                        </a:lnTo>
                        <a:lnTo>
                          <a:pt x="3128" y="2548"/>
                        </a:lnTo>
                        <a:lnTo>
                          <a:pt x="3128" y="2544"/>
                        </a:lnTo>
                        <a:lnTo>
                          <a:pt x="3130" y="2540"/>
                        </a:lnTo>
                        <a:lnTo>
                          <a:pt x="3132" y="2538"/>
                        </a:lnTo>
                        <a:lnTo>
                          <a:pt x="3136" y="2536"/>
                        </a:lnTo>
                        <a:lnTo>
                          <a:pt x="3142" y="2536"/>
                        </a:lnTo>
                        <a:lnTo>
                          <a:pt x="3148" y="2538"/>
                        </a:lnTo>
                        <a:lnTo>
                          <a:pt x="3148" y="2538"/>
                        </a:lnTo>
                        <a:lnTo>
                          <a:pt x="3156" y="2544"/>
                        </a:lnTo>
                        <a:lnTo>
                          <a:pt x="3164" y="2546"/>
                        </a:lnTo>
                        <a:lnTo>
                          <a:pt x="3170" y="2544"/>
                        </a:lnTo>
                        <a:lnTo>
                          <a:pt x="3178" y="2538"/>
                        </a:lnTo>
                        <a:lnTo>
                          <a:pt x="3178" y="2538"/>
                        </a:lnTo>
                        <a:lnTo>
                          <a:pt x="3182" y="2536"/>
                        </a:lnTo>
                        <a:lnTo>
                          <a:pt x="3190" y="2536"/>
                        </a:lnTo>
                        <a:lnTo>
                          <a:pt x="3202" y="2536"/>
                        </a:lnTo>
                        <a:lnTo>
                          <a:pt x="3214" y="2538"/>
                        </a:lnTo>
                        <a:lnTo>
                          <a:pt x="3218" y="2538"/>
                        </a:lnTo>
                        <a:lnTo>
                          <a:pt x="3220" y="2536"/>
                        </a:lnTo>
                        <a:lnTo>
                          <a:pt x="3220" y="2536"/>
                        </a:lnTo>
                        <a:lnTo>
                          <a:pt x="3222" y="2522"/>
                        </a:lnTo>
                        <a:lnTo>
                          <a:pt x="3224" y="2520"/>
                        </a:lnTo>
                        <a:lnTo>
                          <a:pt x="3226" y="2522"/>
                        </a:lnTo>
                        <a:lnTo>
                          <a:pt x="3232" y="2534"/>
                        </a:lnTo>
                        <a:lnTo>
                          <a:pt x="3232" y="2534"/>
                        </a:lnTo>
                        <a:lnTo>
                          <a:pt x="3232" y="2538"/>
                        </a:lnTo>
                        <a:lnTo>
                          <a:pt x="3230" y="2540"/>
                        </a:lnTo>
                        <a:lnTo>
                          <a:pt x="3226" y="2544"/>
                        </a:lnTo>
                        <a:lnTo>
                          <a:pt x="3224" y="2546"/>
                        </a:lnTo>
                        <a:lnTo>
                          <a:pt x="3234" y="2544"/>
                        </a:lnTo>
                        <a:lnTo>
                          <a:pt x="3234" y="2544"/>
                        </a:lnTo>
                        <a:lnTo>
                          <a:pt x="3268" y="2536"/>
                        </a:lnTo>
                        <a:lnTo>
                          <a:pt x="3282" y="2536"/>
                        </a:lnTo>
                        <a:lnTo>
                          <a:pt x="3296" y="2538"/>
                        </a:lnTo>
                        <a:lnTo>
                          <a:pt x="3296" y="2538"/>
                        </a:lnTo>
                        <a:lnTo>
                          <a:pt x="3312" y="2544"/>
                        </a:lnTo>
                        <a:lnTo>
                          <a:pt x="3318" y="2546"/>
                        </a:lnTo>
                        <a:lnTo>
                          <a:pt x="3320" y="2552"/>
                        </a:lnTo>
                        <a:lnTo>
                          <a:pt x="3320" y="2552"/>
                        </a:lnTo>
                        <a:lnTo>
                          <a:pt x="3324" y="2556"/>
                        </a:lnTo>
                        <a:lnTo>
                          <a:pt x="3326" y="2556"/>
                        </a:lnTo>
                        <a:lnTo>
                          <a:pt x="3330" y="2560"/>
                        </a:lnTo>
                        <a:lnTo>
                          <a:pt x="3330" y="2566"/>
                        </a:lnTo>
                        <a:lnTo>
                          <a:pt x="3330" y="2566"/>
                        </a:lnTo>
                        <a:lnTo>
                          <a:pt x="3332" y="2570"/>
                        </a:lnTo>
                        <a:lnTo>
                          <a:pt x="3336" y="2572"/>
                        </a:lnTo>
                        <a:lnTo>
                          <a:pt x="3340" y="2570"/>
                        </a:lnTo>
                        <a:lnTo>
                          <a:pt x="3346" y="2570"/>
                        </a:lnTo>
                        <a:lnTo>
                          <a:pt x="3360" y="2564"/>
                        </a:lnTo>
                        <a:lnTo>
                          <a:pt x="3368" y="2562"/>
                        </a:lnTo>
                        <a:lnTo>
                          <a:pt x="3368" y="2562"/>
                        </a:lnTo>
                        <a:lnTo>
                          <a:pt x="3370" y="2560"/>
                        </a:lnTo>
                        <a:lnTo>
                          <a:pt x="3372" y="2560"/>
                        </a:lnTo>
                        <a:lnTo>
                          <a:pt x="3372" y="2556"/>
                        </a:lnTo>
                        <a:lnTo>
                          <a:pt x="3376" y="2552"/>
                        </a:lnTo>
                        <a:lnTo>
                          <a:pt x="3382" y="2552"/>
                        </a:lnTo>
                        <a:lnTo>
                          <a:pt x="3382" y="2552"/>
                        </a:lnTo>
                        <a:lnTo>
                          <a:pt x="3388" y="2554"/>
                        </a:lnTo>
                        <a:lnTo>
                          <a:pt x="3394" y="2558"/>
                        </a:lnTo>
                        <a:lnTo>
                          <a:pt x="3406" y="2574"/>
                        </a:lnTo>
                        <a:lnTo>
                          <a:pt x="3418" y="2592"/>
                        </a:lnTo>
                        <a:lnTo>
                          <a:pt x="3424" y="2596"/>
                        </a:lnTo>
                        <a:lnTo>
                          <a:pt x="3428" y="2598"/>
                        </a:lnTo>
                        <a:lnTo>
                          <a:pt x="3428" y="2598"/>
                        </a:lnTo>
                        <a:lnTo>
                          <a:pt x="3432" y="2600"/>
                        </a:lnTo>
                        <a:lnTo>
                          <a:pt x="3434" y="2604"/>
                        </a:lnTo>
                        <a:lnTo>
                          <a:pt x="3438" y="2616"/>
                        </a:lnTo>
                        <a:lnTo>
                          <a:pt x="3440" y="2630"/>
                        </a:lnTo>
                        <a:lnTo>
                          <a:pt x="3436" y="2646"/>
                        </a:lnTo>
                        <a:lnTo>
                          <a:pt x="3436" y="2646"/>
                        </a:lnTo>
                        <a:lnTo>
                          <a:pt x="3434" y="2658"/>
                        </a:lnTo>
                        <a:lnTo>
                          <a:pt x="3434" y="2670"/>
                        </a:lnTo>
                        <a:lnTo>
                          <a:pt x="3436" y="2676"/>
                        </a:lnTo>
                        <a:lnTo>
                          <a:pt x="3438" y="2678"/>
                        </a:lnTo>
                        <a:lnTo>
                          <a:pt x="3440" y="2676"/>
                        </a:lnTo>
                        <a:lnTo>
                          <a:pt x="3440" y="2676"/>
                        </a:lnTo>
                        <a:lnTo>
                          <a:pt x="3446" y="2672"/>
                        </a:lnTo>
                        <a:lnTo>
                          <a:pt x="3450" y="2670"/>
                        </a:lnTo>
                        <a:lnTo>
                          <a:pt x="3450" y="2670"/>
                        </a:lnTo>
                        <a:lnTo>
                          <a:pt x="3452" y="2672"/>
                        </a:lnTo>
                        <a:lnTo>
                          <a:pt x="3448" y="2678"/>
                        </a:lnTo>
                        <a:lnTo>
                          <a:pt x="3448" y="2678"/>
                        </a:lnTo>
                        <a:lnTo>
                          <a:pt x="3444" y="2682"/>
                        </a:lnTo>
                        <a:lnTo>
                          <a:pt x="3444" y="2688"/>
                        </a:lnTo>
                        <a:lnTo>
                          <a:pt x="3446" y="2698"/>
                        </a:lnTo>
                        <a:lnTo>
                          <a:pt x="3450" y="2710"/>
                        </a:lnTo>
                        <a:lnTo>
                          <a:pt x="3456" y="2718"/>
                        </a:lnTo>
                        <a:lnTo>
                          <a:pt x="3456" y="2718"/>
                        </a:lnTo>
                        <a:lnTo>
                          <a:pt x="3458" y="2720"/>
                        </a:lnTo>
                        <a:lnTo>
                          <a:pt x="3460" y="2720"/>
                        </a:lnTo>
                        <a:lnTo>
                          <a:pt x="3462" y="2720"/>
                        </a:lnTo>
                        <a:lnTo>
                          <a:pt x="3462" y="2718"/>
                        </a:lnTo>
                        <a:lnTo>
                          <a:pt x="3462" y="2720"/>
                        </a:lnTo>
                        <a:lnTo>
                          <a:pt x="3464" y="2726"/>
                        </a:lnTo>
                        <a:lnTo>
                          <a:pt x="3464" y="2726"/>
                        </a:lnTo>
                        <a:lnTo>
                          <a:pt x="3466" y="2734"/>
                        </a:lnTo>
                        <a:lnTo>
                          <a:pt x="3470" y="2738"/>
                        </a:lnTo>
                        <a:lnTo>
                          <a:pt x="3474" y="2742"/>
                        </a:lnTo>
                        <a:lnTo>
                          <a:pt x="3476" y="2754"/>
                        </a:lnTo>
                        <a:lnTo>
                          <a:pt x="3476" y="2754"/>
                        </a:lnTo>
                        <a:lnTo>
                          <a:pt x="3478" y="2760"/>
                        </a:lnTo>
                        <a:lnTo>
                          <a:pt x="3480" y="2764"/>
                        </a:lnTo>
                        <a:lnTo>
                          <a:pt x="3484" y="2768"/>
                        </a:lnTo>
                        <a:lnTo>
                          <a:pt x="3486" y="2768"/>
                        </a:lnTo>
                        <a:lnTo>
                          <a:pt x="3492" y="2772"/>
                        </a:lnTo>
                        <a:lnTo>
                          <a:pt x="3496" y="2776"/>
                        </a:lnTo>
                        <a:lnTo>
                          <a:pt x="3498" y="2782"/>
                        </a:lnTo>
                        <a:lnTo>
                          <a:pt x="3498" y="2782"/>
                        </a:lnTo>
                        <a:lnTo>
                          <a:pt x="3500" y="2792"/>
                        </a:lnTo>
                        <a:lnTo>
                          <a:pt x="3504" y="2796"/>
                        </a:lnTo>
                        <a:lnTo>
                          <a:pt x="3506" y="2796"/>
                        </a:lnTo>
                        <a:lnTo>
                          <a:pt x="3504" y="2798"/>
                        </a:lnTo>
                        <a:lnTo>
                          <a:pt x="3504" y="2798"/>
                        </a:lnTo>
                        <a:lnTo>
                          <a:pt x="3502" y="2804"/>
                        </a:lnTo>
                        <a:lnTo>
                          <a:pt x="3504" y="2808"/>
                        </a:lnTo>
                        <a:lnTo>
                          <a:pt x="3508" y="2808"/>
                        </a:lnTo>
                        <a:lnTo>
                          <a:pt x="3518" y="2806"/>
                        </a:lnTo>
                        <a:lnTo>
                          <a:pt x="3518" y="2806"/>
                        </a:lnTo>
                        <a:lnTo>
                          <a:pt x="3522" y="2806"/>
                        </a:lnTo>
                        <a:lnTo>
                          <a:pt x="3524" y="2806"/>
                        </a:lnTo>
                        <a:lnTo>
                          <a:pt x="3526" y="2810"/>
                        </a:lnTo>
                        <a:lnTo>
                          <a:pt x="3526" y="2810"/>
                        </a:lnTo>
                        <a:lnTo>
                          <a:pt x="3530" y="2804"/>
                        </a:lnTo>
                        <a:lnTo>
                          <a:pt x="3530" y="2804"/>
                        </a:lnTo>
                        <a:lnTo>
                          <a:pt x="3534" y="2796"/>
                        </a:lnTo>
                        <a:lnTo>
                          <a:pt x="3536" y="2790"/>
                        </a:lnTo>
                        <a:lnTo>
                          <a:pt x="3536" y="2786"/>
                        </a:lnTo>
                        <a:lnTo>
                          <a:pt x="3540" y="2778"/>
                        </a:lnTo>
                        <a:lnTo>
                          <a:pt x="3540" y="2778"/>
                        </a:lnTo>
                        <a:lnTo>
                          <a:pt x="3544" y="2768"/>
                        </a:lnTo>
                        <a:lnTo>
                          <a:pt x="3544" y="2758"/>
                        </a:lnTo>
                        <a:lnTo>
                          <a:pt x="3544" y="2746"/>
                        </a:lnTo>
                        <a:lnTo>
                          <a:pt x="3546" y="2732"/>
                        </a:lnTo>
                        <a:lnTo>
                          <a:pt x="3546" y="2732"/>
                        </a:lnTo>
                        <a:lnTo>
                          <a:pt x="3546" y="2722"/>
                        </a:lnTo>
                        <a:lnTo>
                          <a:pt x="3544" y="2712"/>
                        </a:lnTo>
                        <a:lnTo>
                          <a:pt x="3536" y="2686"/>
                        </a:lnTo>
                        <a:lnTo>
                          <a:pt x="3526" y="2662"/>
                        </a:lnTo>
                        <a:lnTo>
                          <a:pt x="3526" y="2650"/>
                        </a:lnTo>
                        <a:lnTo>
                          <a:pt x="3526" y="2642"/>
                        </a:lnTo>
                        <a:lnTo>
                          <a:pt x="3526" y="2642"/>
                        </a:lnTo>
                        <a:lnTo>
                          <a:pt x="3526" y="2636"/>
                        </a:lnTo>
                        <a:lnTo>
                          <a:pt x="3524" y="2630"/>
                        </a:lnTo>
                        <a:lnTo>
                          <a:pt x="3514" y="2610"/>
                        </a:lnTo>
                        <a:lnTo>
                          <a:pt x="3506" y="2598"/>
                        </a:lnTo>
                        <a:lnTo>
                          <a:pt x="3500" y="2582"/>
                        </a:lnTo>
                        <a:lnTo>
                          <a:pt x="3496" y="2564"/>
                        </a:lnTo>
                        <a:lnTo>
                          <a:pt x="3492" y="2542"/>
                        </a:lnTo>
                        <a:lnTo>
                          <a:pt x="3492" y="2542"/>
                        </a:lnTo>
                        <a:lnTo>
                          <a:pt x="3490" y="2520"/>
                        </a:lnTo>
                        <a:lnTo>
                          <a:pt x="3492" y="2500"/>
                        </a:lnTo>
                        <a:lnTo>
                          <a:pt x="3496" y="2484"/>
                        </a:lnTo>
                        <a:lnTo>
                          <a:pt x="3502" y="2470"/>
                        </a:lnTo>
                        <a:lnTo>
                          <a:pt x="3508" y="2458"/>
                        </a:lnTo>
                        <a:lnTo>
                          <a:pt x="3514" y="2448"/>
                        </a:lnTo>
                        <a:lnTo>
                          <a:pt x="3524" y="2438"/>
                        </a:lnTo>
                        <a:lnTo>
                          <a:pt x="3524" y="2438"/>
                        </a:lnTo>
                        <a:lnTo>
                          <a:pt x="3528" y="2434"/>
                        </a:lnTo>
                        <a:lnTo>
                          <a:pt x="3528" y="2432"/>
                        </a:lnTo>
                        <a:lnTo>
                          <a:pt x="3528" y="2428"/>
                        </a:lnTo>
                        <a:lnTo>
                          <a:pt x="3528" y="2426"/>
                        </a:lnTo>
                        <a:lnTo>
                          <a:pt x="3528" y="2426"/>
                        </a:lnTo>
                        <a:lnTo>
                          <a:pt x="3536" y="2424"/>
                        </a:lnTo>
                        <a:lnTo>
                          <a:pt x="3536" y="2424"/>
                        </a:lnTo>
                        <a:lnTo>
                          <a:pt x="3542" y="2424"/>
                        </a:lnTo>
                        <a:lnTo>
                          <a:pt x="3548" y="2420"/>
                        </a:lnTo>
                        <a:lnTo>
                          <a:pt x="3556" y="2412"/>
                        </a:lnTo>
                        <a:lnTo>
                          <a:pt x="3564" y="2402"/>
                        </a:lnTo>
                        <a:lnTo>
                          <a:pt x="3568" y="2400"/>
                        </a:lnTo>
                        <a:lnTo>
                          <a:pt x="3570" y="2398"/>
                        </a:lnTo>
                        <a:lnTo>
                          <a:pt x="3570" y="2398"/>
                        </a:lnTo>
                        <a:lnTo>
                          <a:pt x="3574" y="2398"/>
                        </a:lnTo>
                        <a:lnTo>
                          <a:pt x="3576" y="2394"/>
                        </a:lnTo>
                        <a:lnTo>
                          <a:pt x="3580" y="2384"/>
                        </a:lnTo>
                        <a:lnTo>
                          <a:pt x="3588" y="2370"/>
                        </a:lnTo>
                        <a:lnTo>
                          <a:pt x="3592" y="2362"/>
                        </a:lnTo>
                        <a:lnTo>
                          <a:pt x="3600" y="2356"/>
                        </a:lnTo>
                        <a:lnTo>
                          <a:pt x="3600" y="2356"/>
                        </a:lnTo>
                        <a:lnTo>
                          <a:pt x="3606" y="2352"/>
                        </a:lnTo>
                        <a:lnTo>
                          <a:pt x="3612" y="2350"/>
                        </a:lnTo>
                        <a:lnTo>
                          <a:pt x="3624" y="2350"/>
                        </a:lnTo>
                        <a:lnTo>
                          <a:pt x="3628" y="2350"/>
                        </a:lnTo>
                        <a:lnTo>
                          <a:pt x="3630" y="2350"/>
                        </a:lnTo>
                        <a:lnTo>
                          <a:pt x="3634" y="2346"/>
                        </a:lnTo>
                        <a:lnTo>
                          <a:pt x="3636" y="2342"/>
                        </a:lnTo>
                        <a:lnTo>
                          <a:pt x="3636" y="2342"/>
                        </a:lnTo>
                        <a:lnTo>
                          <a:pt x="3638" y="2334"/>
                        </a:lnTo>
                        <a:lnTo>
                          <a:pt x="3642" y="2328"/>
                        </a:lnTo>
                        <a:lnTo>
                          <a:pt x="3654" y="2318"/>
                        </a:lnTo>
                        <a:lnTo>
                          <a:pt x="3666" y="2310"/>
                        </a:lnTo>
                        <a:lnTo>
                          <a:pt x="3680" y="2306"/>
                        </a:lnTo>
                        <a:lnTo>
                          <a:pt x="3680" y="2306"/>
                        </a:lnTo>
                        <a:lnTo>
                          <a:pt x="3690" y="2304"/>
                        </a:lnTo>
                        <a:lnTo>
                          <a:pt x="3696" y="2300"/>
                        </a:lnTo>
                        <a:lnTo>
                          <a:pt x="3698" y="2294"/>
                        </a:lnTo>
                        <a:lnTo>
                          <a:pt x="3698" y="2292"/>
                        </a:lnTo>
                        <a:lnTo>
                          <a:pt x="3696" y="2290"/>
                        </a:lnTo>
                        <a:lnTo>
                          <a:pt x="3696" y="2290"/>
                        </a:lnTo>
                        <a:lnTo>
                          <a:pt x="3694" y="2290"/>
                        </a:lnTo>
                        <a:lnTo>
                          <a:pt x="3690" y="2290"/>
                        </a:lnTo>
                        <a:lnTo>
                          <a:pt x="3686" y="2294"/>
                        </a:lnTo>
                        <a:lnTo>
                          <a:pt x="3680" y="2296"/>
                        </a:lnTo>
                        <a:lnTo>
                          <a:pt x="3676" y="2298"/>
                        </a:lnTo>
                        <a:lnTo>
                          <a:pt x="3674" y="2296"/>
                        </a:lnTo>
                        <a:lnTo>
                          <a:pt x="3674" y="2296"/>
                        </a:lnTo>
                        <a:lnTo>
                          <a:pt x="3672" y="2294"/>
                        </a:lnTo>
                        <a:lnTo>
                          <a:pt x="3674" y="2292"/>
                        </a:lnTo>
                        <a:lnTo>
                          <a:pt x="3680" y="2290"/>
                        </a:lnTo>
                        <a:lnTo>
                          <a:pt x="3682" y="2288"/>
                        </a:lnTo>
                        <a:lnTo>
                          <a:pt x="3684" y="2286"/>
                        </a:lnTo>
                        <a:lnTo>
                          <a:pt x="3684" y="2286"/>
                        </a:lnTo>
                        <a:lnTo>
                          <a:pt x="3686" y="2282"/>
                        </a:lnTo>
                        <a:lnTo>
                          <a:pt x="3684" y="2278"/>
                        </a:lnTo>
                        <a:lnTo>
                          <a:pt x="3678" y="2272"/>
                        </a:lnTo>
                        <a:lnTo>
                          <a:pt x="3676" y="2268"/>
                        </a:lnTo>
                        <a:lnTo>
                          <a:pt x="3682" y="2268"/>
                        </a:lnTo>
                        <a:lnTo>
                          <a:pt x="3682" y="2268"/>
                        </a:lnTo>
                        <a:lnTo>
                          <a:pt x="3692" y="2272"/>
                        </a:lnTo>
                        <a:lnTo>
                          <a:pt x="3696" y="2274"/>
                        </a:lnTo>
                        <a:lnTo>
                          <a:pt x="3698" y="2276"/>
                        </a:lnTo>
                        <a:lnTo>
                          <a:pt x="3700" y="2274"/>
                        </a:lnTo>
                        <a:lnTo>
                          <a:pt x="3706" y="2270"/>
                        </a:lnTo>
                        <a:lnTo>
                          <a:pt x="3706" y="2270"/>
                        </a:lnTo>
                        <a:lnTo>
                          <a:pt x="3710" y="2264"/>
                        </a:lnTo>
                        <a:lnTo>
                          <a:pt x="3714" y="2262"/>
                        </a:lnTo>
                        <a:lnTo>
                          <a:pt x="3716" y="2260"/>
                        </a:lnTo>
                        <a:lnTo>
                          <a:pt x="3718" y="2254"/>
                        </a:lnTo>
                        <a:lnTo>
                          <a:pt x="3718" y="2254"/>
                        </a:lnTo>
                        <a:lnTo>
                          <a:pt x="3720" y="2246"/>
                        </a:lnTo>
                        <a:lnTo>
                          <a:pt x="3718" y="2242"/>
                        </a:lnTo>
                        <a:lnTo>
                          <a:pt x="3714" y="2240"/>
                        </a:lnTo>
                        <a:lnTo>
                          <a:pt x="3710" y="2244"/>
                        </a:lnTo>
                        <a:lnTo>
                          <a:pt x="3710" y="2244"/>
                        </a:lnTo>
                        <a:lnTo>
                          <a:pt x="3708" y="2244"/>
                        </a:lnTo>
                        <a:lnTo>
                          <a:pt x="3708" y="2242"/>
                        </a:lnTo>
                        <a:lnTo>
                          <a:pt x="3704" y="2240"/>
                        </a:lnTo>
                        <a:lnTo>
                          <a:pt x="3694" y="2240"/>
                        </a:lnTo>
                        <a:lnTo>
                          <a:pt x="3694" y="2240"/>
                        </a:lnTo>
                        <a:lnTo>
                          <a:pt x="3684" y="2242"/>
                        </a:lnTo>
                        <a:lnTo>
                          <a:pt x="3678" y="2240"/>
                        </a:lnTo>
                        <a:lnTo>
                          <a:pt x="3678" y="2236"/>
                        </a:lnTo>
                        <a:lnTo>
                          <a:pt x="3678" y="2230"/>
                        </a:lnTo>
                        <a:lnTo>
                          <a:pt x="3678" y="2230"/>
                        </a:lnTo>
                        <a:lnTo>
                          <a:pt x="3678" y="2228"/>
                        </a:lnTo>
                        <a:lnTo>
                          <a:pt x="3678" y="2228"/>
                        </a:lnTo>
                        <a:lnTo>
                          <a:pt x="3680" y="2232"/>
                        </a:lnTo>
                        <a:lnTo>
                          <a:pt x="3684" y="2236"/>
                        </a:lnTo>
                        <a:lnTo>
                          <a:pt x="3686" y="2236"/>
                        </a:lnTo>
                        <a:lnTo>
                          <a:pt x="3690" y="2236"/>
                        </a:lnTo>
                        <a:lnTo>
                          <a:pt x="3696" y="2234"/>
                        </a:lnTo>
                        <a:lnTo>
                          <a:pt x="3696" y="2234"/>
                        </a:lnTo>
                        <a:lnTo>
                          <a:pt x="3704" y="2230"/>
                        </a:lnTo>
                        <a:lnTo>
                          <a:pt x="3708" y="2230"/>
                        </a:lnTo>
                        <a:lnTo>
                          <a:pt x="3714" y="2232"/>
                        </a:lnTo>
                        <a:lnTo>
                          <a:pt x="3718" y="2236"/>
                        </a:lnTo>
                        <a:lnTo>
                          <a:pt x="3724" y="2244"/>
                        </a:lnTo>
                        <a:lnTo>
                          <a:pt x="3726" y="2248"/>
                        </a:lnTo>
                        <a:lnTo>
                          <a:pt x="3728" y="2248"/>
                        </a:lnTo>
                        <a:lnTo>
                          <a:pt x="3728" y="2248"/>
                        </a:lnTo>
                        <a:lnTo>
                          <a:pt x="3728" y="2246"/>
                        </a:lnTo>
                        <a:lnTo>
                          <a:pt x="3728" y="2244"/>
                        </a:lnTo>
                        <a:lnTo>
                          <a:pt x="3724" y="2236"/>
                        </a:lnTo>
                        <a:lnTo>
                          <a:pt x="3718" y="2222"/>
                        </a:lnTo>
                        <a:lnTo>
                          <a:pt x="3712" y="2198"/>
                        </a:lnTo>
                        <a:lnTo>
                          <a:pt x="3712" y="2198"/>
                        </a:lnTo>
                        <a:lnTo>
                          <a:pt x="3708" y="2188"/>
                        </a:lnTo>
                        <a:lnTo>
                          <a:pt x="3706" y="2186"/>
                        </a:lnTo>
                        <a:lnTo>
                          <a:pt x="3704" y="2186"/>
                        </a:lnTo>
                        <a:lnTo>
                          <a:pt x="3700" y="2188"/>
                        </a:lnTo>
                        <a:lnTo>
                          <a:pt x="3694" y="2190"/>
                        </a:lnTo>
                        <a:lnTo>
                          <a:pt x="3694" y="2190"/>
                        </a:lnTo>
                        <a:lnTo>
                          <a:pt x="3692" y="2190"/>
                        </a:lnTo>
                        <a:lnTo>
                          <a:pt x="3692" y="2190"/>
                        </a:lnTo>
                        <a:lnTo>
                          <a:pt x="3696" y="2186"/>
                        </a:lnTo>
                        <a:lnTo>
                          <a:pt x="3698" y="2180"/>
                        </a:lnTo>
                        <a:lnTo>
                          <a:pt x="3698" y="2176"/>
                        </a:lnTo>
                        <a:lnTo>
                          <a:pt x="3694" y="2174"/>
                        </a:lnTo>
                        <a:lnTo>
                          <a:pt x="3694" y="2174"/>
                        </a:lnTo>
                        <a:lnTo>
                          <a:pt x="3690" y="2170"/>
                        </a:lnTo>
                        <a:lnTo>
                          <a:pt x="3692" y="2170"/>
                        </a:lnTo>
                        <a:lnTo>
                          <a:pt x="3696" y="2168"/>
                        </a:lnTo>
                        <a:lnTo>
                          <a:pt x="3698" y="2166"/>
                        </a:lnTo>
                        <a:lnTo>
                          <a:pt x="3698" y="2162"/>
                        </a:lnTo>
                        <a:lnTo>
                          <a:pt x="3698" y="2156"/>
                        </a:lnTo>
                        <a:lnTo>
                          <a:pt x="3698" y="2156"/>
                        </a:lnTo>
                        <a:lnTo>
                          <a:pt x="3696" y="2144"/>
                        </a:lnTo>
                        <a:lnTo>
                          <a:pt x="3696" y="2140"/>
                        </a:lnTo>
                        <a:lnTo>
                          <a:pt x="3696" y="2136"/>
                        </a:lnTo>
                        <a:lnTo>
                          <a:pt x="3690" y="2130"/>
                        </a:lnTo>
                        <a:lnTo>
                          <a:pt x="3690" y="2130"/>
                        </a:lnTo>
                        <a:lnTo>
                          <a:pt x="3678" y="2118"/>
                        </a:lnTo>
                        <a:lnTo>
                          <a:pt x="3678" y="2118"/>
                        </a:lnTo>
                        <a:lnTo>
                          <a:pt x="3678" y="2118"/>
                        </a:lnTo>
                        <a:lnTo>
                          <a:pt x="3686" y="2122"/>
                        </a:lnTo>
                        <a:lnTo>
                          <a:pt x="3686" y="2122"/>
                        </a:lnTo>
                        <a:lnTo>
                          <a:pt x="3694" y="2126"/>
                        </a:lnTo>
                        <a:lnTo>
                          <a:pt x="3696" y="2124"/>
                        </a:lnTo>
                        <a:lnTo>
                          <a:pt x="3696" y="2124"/>
                        </a:lnTo>
                        <a:lnTo>
                          <a:pt x="3692" y="2108"/>
                        </a:lnTo>
                        <a:lnTo>
                          <a:pt x="3692" y="2108"/>
                        </a:lnTo>
                        <a:lnTo>
                          <a:pt x="3688" y="2092"/>
                        </a:lnTo>
                        <a:lnTo>
                          <a:pt x="3690" y="2076"/>
                        </a:lnTo>
                        <a:lnTo>
                          <a:pt x="3690" y="2076"/>
                        </a:lnTo>
                        <a:lnTo>
                          <a:pt x="3692" y="2064"/>
                        </a:lnTo>
                        <a:lnTo>
                          <a:pt x="3696" y="2058"/>
                        </a:lnTo>
                        <a:lnTo>
                          <a:pt x="3702" y="2054"/>
                        </a:lnTo>
                        <a:lnTo>
                          <a:pt x="3702" y="2054"/>
                        </a:lnTo>
                        <a:lnTo>
                          <a:pt x="3704" y="2050"/>
                        </a:lnTo>
                        <a:lnTo>
                          <a:pt x="3704" y="2052"/>
                        </a:lnTo>
                        <a:lnTo>
                          <a:pt x="3700" y="2058"/>
                        </a:lnTo>
                        <a:lnTo>
                          <a:pt x="3698" y="2064"/>
                        </a:lnTo>
                        <a:lnTo>
                          <a:pt x="3698" y="2064"/>
                        </a:lnTo>
                        <a:lnTo>
                          <a:pt x="3694" y="2076"/>
                        </a:lnTo>
                        <a:lnTo>
                          <a:pt x="3694" y="2082"/>
                        </a:lnTo>
                        <a:lnTo>
                          <a:pt x="3696" y="2086"/>
                        </a:lnTo>
                        <a:lnTo>
                          <a:pt x="3696" y="2086"/>
                        </a:lnTo>
                        <a:lnTo>
                          <a:pt x="3696" y="2088"/>
                        </a:lnTo>
                        <a:lnTo>
                          <a:pt x="3696" y="2090"/>
                        </a:lnTo>
                        <a:lnTo>
                          <a:pt x="3694" y="2094"/>
                        </a:lnTo>
                        <a:lnTo>
                          <a:pt x="3696" y="2098"/>
                        </a:lnTo>
                        <a:lnTo>
                          <a:pt x="3696" y="2098"/>
                        </a:lnTo>
                        <a:lnTo>
                          <a:pt x="3698" y="2104"/>
                        </a:lnTo>
                        <a:lnTo>
                          <a:pt x="3696" y="2106"/>
                        </a:lnTo>
                        <a:lnTo>
                          <a:pt x="3696" y="2110"/>
                        </a:lnTo>
                        <a:lnTo>
                          <a:pt x="3700" y="2114"/>
                        </a:lnTo>
                        <a:lnTo>
                          <a:pt x="3700" y="2114"/>
                        </a:lnTo>
                        <a:lnTo>
                          <a:pt x="3706" y="2116"/>
                        </a:lnTo>
                        <a:lnTo>
                          <a:pt x="3708" y="2116"/>
                        </a:lnTo>
                        <a:lnTo>
                          <a:pt x="3710" y="2116"/>
                        </a:lnTo>
                        <a:lnTo>
                          <a:pt x="3712" y="2120"/>
                        </a:lnTo>
                        <a:lnTo>
                          <a:pt x="3712" y="2120"/>
                        </a:lnTo>
                        <a:lnTo>
                          <a:pt x="3712" y="2126"/>
                        </a:lnTo>
                        <a:lnTo>
                          <a:pt x="3712" y="2130"/>
                        </a:lnTo>
                        <a:lnTo>
                          <a:pt x="3712" y="2134"/>
                        </a:lnTo>
                        <a:lnTo>
                          <a:pt x="3716" y="2136"/>
                        </a:lnTo>
                        <a:lnTo>
                          <a:pt x="3716" y="2136"/>
                        </a:lnTo>
                        <a:lnTo>
                          <a:pt x="3718" y="2138"/>
                        </a:lnTo>
                        <a:lnTo>
                          <a:pt x="3716" y="2142"/>
                        </a:lnTo>
                        <a:lnTo>
                          <a:pt x="3710" y="2154"/>
                        </a:lnTo>
                        <a:lnTo>
                          <a:pt x="3706" y="2166"/>
                        </a:lnTo>
                        <a:lnTo>
                          <a:pt x="3706" y="2172"/>
                        </a:lnTo>
                        <a:lnTo>
                          <a:pt x="3710" y="2176"/>
                        </a:lnTo>
                        <a:lnTo>
                          <a:pt x="3710" y="2176"/>
                        </a:lnTo>
                        <a:lnTo>
                          <a:pt x="3712" y="2176"/>
                        </a:lnTo>
                        <a:lnTo>
                          <a:pt x="3714" y="2172"/>
                        </a:lnTo>
                        <a:lnTo>
                          <a:pt x="3720" y="2158"/>
                        </a:lnTo>
                        <a:lnTo>
                          <a:pt x="3728" y="2138"/>
                        </a:lnTo>
                        <a:lnTo>
                          <a:pt x="3738" y="2122"/>
                        </a:lnTo>
                        <a:lnTo>
                          <a:pt x="3738" y="2122"/>
                        </a:lnTo>
                        <a:lnTo>
                          <a:pt x="3744" y="2114"/>
                        </a:lnTo>
                        <a:lnTo>
                          <a:pt x="3746" y="2108"/>
                        </a:lnTo>
                        <a:lnTo>
                          <a:pt x="3748" y="2102"/>
                        </a:lnTo>
                        <a:lnTo>
                          <a:pt x="3748" y="2096"/>
                        </a:lnTo>
                        <a:lnTo>
                          <a:pt x="3748" y="2092"/>
                        </a:lnTo>
                        <a:lnTo>
                          <a:pt x="3746" y="2088"/>
                        </a:lnTo>
                        <a:lnTo>
                          <a:pt x="3744" y="2086"/>
                        </a:lnTo>
                        <a:lnTo>
                          <a:pt x="3740" y="2086"/>
                        </a:lnTo>
                        <a:lnTo>
                          <a:pt x="3740" y="2086"/>
                        </a:lnTo>
                        <a:lnTo>
                          <a:pt x="3738" y="2084"/>
                        </a:lnTo>
                        <a:lnTo>
                          <a:pt x="3736" y="2082"/>
                        </a:lnTo>
                        <a:lnTo>
                          <a:pt x="3732" y="2074"/>
                        </a:lnTo>
                        <a:lnTo>
                          <a:pt x="3726" y="2054"/>
                        </a:lnTo>
                        <a:lnTo>
                          <a:pt x="3726" y="2054"/>
                        </a:lnTo>
                        <a:lnTo>
                          <a:pt x="3724" y="2044"/>
                        </a:lnTo>
                        <a:lnTo>
                          <a:pt x="3726" y="2036"/>
                        </a:lnTo>
                        <a:lnTo>
                          <a:pt x="3730" y="2030"/>
                        </a:lnTo>
                        <a:lnTo>
                          <a:pt x="3738" y="2024"/>
                        </a:lnTo>
                        <a:lnTo>
                          <a:pt x="3738" y="2024"/>
                        </a:lnTo>
                        <a:lnTo>
                          <a:pt x="3742" y="2024"/>
                        </a:lnTo>
                        <a:lnTo>
                          <a:pt x="3736" y="2030"/>
                        </a:lnTo>
                        <a:lnTo>
                          <a:pt x="3732" y="2034"/>
                        </a:lnTo>
                        <a:lnTo>
                          <a:pt x="3730" y="2040"/>
                        </a:lnTo>
                        <a:lnTo>
                          <a:pt x="3730" y="2046"/>
                        </a:lnTo>
                        <a:lnTo>
                          <a:pt x="3732" y="2054"/>
                        </a:lnTo>
                        <a:lnTo>
                          <a:pt x="3732" y="2054"/>
                        </a:lnTo>
                        <a:lnTo>
                          <a:pt x="3738" y="2060"/>
                        </a:lnTo>
                        <a:lnTo>
                          <a:pt x="3742" y="2062"/>
                        </a:lnTo>
                        <a:lnTo>
                          <a:pt x="3748" y="2064"/>
                        </a:lnTo>
                        <a:lnTo>
                          <a:pt x="3750" y="2066"/>
                        </a:lnTo>
                        <a:lnTo>
                          <a:pt x="3750" y="2072"/>
                        </a:lnTo>
                        <a:lnTo>
                          <a:pt x="3750" y="2072"/>
                        </a:lnTo>
                        <a:lnTo>
                          <a:pt x="3750" y="2078"/>
                        </a:lnTo>
                        <a:lnTo>
                          <a:pt x="3752" y="2078"/>
                        </a:lnTo>
                        <a:lnTo>
                          <a:pt x="3754" y="2078"/>
                        </a:lnTo>
                        <a:lnTo>
                          <a:pt x="3758" y="2074"/>
                        </a:lnTo>
                        <a:lnTo>
                          <a:pt x="3766" y="2062"/>
                        </a:lnTo>
                        <a:lnTo>
                          <a:pt x="3774" y="2048"/>
                        </a:lnTo>
                        <a:lnTo>
                          <a:pt x="3774" y="2048"/>
                        </a:lnTo>
                        <a:lnTo>
                          <a:pt x="3784" y="2030"/>
                        </a:lnTo>
                        <a:lnTo>
                          <a:pt x="3790" y="2014"/>
                        </a:lnTo>
                        <a:lnTo>
                          <a:pt x="3790" y="2008"/>
                        </a:lnTo>
                        <a:lnTo>
                          <a:pt x="3790" y="2002"/>
                        </a:lnTo>
                        <a:lnTo>
                          <a:pt x="3790" y="2000"/>
                        </a:lnTo>
                        <a:lnTo>
                          <a:pt x="3786" y="1998"/>
                        </a:lnTo>
                        <a:lnTo>
                          <a:pt x="3786" y="1998"/>
                        </a:lnTo>
                        <a:lnTo>
                          <a:pt x="3778" y="1996"/>
                        </a:lnTo>
                        <a:lnTo>
                          <a:pt x="3776" y="1996"/>
                        </a:lnTo>
                        <a:lnTo>
                          <a:pt x="3776" y="1994"/>
                        </a:lnTo>
                        <a:lnTo>
                          <a:pt x="3778" y="1988"/>
                        </a:lnTo>
                        <a:lnTo>
                          <a:pt x="3784" y="1980"/>
                        </a:lnTo>
                        <a:lnTo>
                          <a:pt x="3784" y="1980"/>
                        </a:lnTo>
                        <a:lnTo>
                          <a:pt x="3796" y="1972"/>
                        </a:lnTo>
                        <a:lnTo>
                          <a:pt x="3808" y="1962"/>
                        </a:lnTo>
                        <a:lnTo>
                          <a:pt x="3824" y="1956"/>
                        </a:lnTo>
                        <a:lnTo>
                          <a:pt x="3838" y="1950"/>
                        </a:lnTo>
                        <a:lnTo>
                          <a:pt x="3838" y="1950"/>
                        </a:lnTo>
                        <a:lnTo>
                          <a:pt x="3854" y="1948"/>
                        </a:lnTo>
                        <a:lnTo>
                          <a:pt x="3870" y="1946"/>
                        </a:lnTo>
                        <a:lnTo>
                          <a:pt x="3886" y="1944"/>
                        </a:lnTo>
                        <a:lnTo>
                          <a:pt x="3890" y="1944"/>
                        </a:lnTo>
                        <a:lnTo>
                          <a:pt x="3892" y="1940"/>
                        </a:lnTo>
                        <a:lnTo>
                          <a:pt x="3892" y="1940"/>
                        </a:lnTo>
                        <a:lnTo>
                          <a:pt x="3894" y="1926"/>
                        </a:lnTo>
                        <a:lnTo>
                          <a:pt x="3896" y="1924"/>
                        </a:lnTo>
                        <a:lnTo>
                          <a:pt x="3898" y="1928"/>
                        </a:lnTo>
                        <a:lnTo>
                          <a:pt x="3898" y="1928"/>
                        </a:lnTo>
                        <a:lnTo>
                          <a:pt x="3900" y="1936"/>
                        </a:lnTo>
                        <a:lnTo>
                          <a:pt x="3904" y="1940"/>
                        </a:lnTo>
                        <a:lnTo>
                          <a:pt x="3906" y="1940"/>
                        </a:lnTo>
                        <a:lnTo>
                          <a:pt x="3908" y="1940"/>
                        </a:lnTo>
                        <a:lnTo>
                          <a:pt x="3914" y="1932"/>
                        </a:lnTo>
                        <a:lnTo>
                          <a:pt x="3914" y="1932"/>
                        </a:lnTo>
                        <a:lnTo>
                          <a:pt x="3920" y="1928"/>
                        </a:lnTo>
                        <a:lnTo>
                          <a:pt x="3922" y="1926"/>
                        </a:lnTo>
                        <a:lnTo>
                          <a:pt x="3924" y="1928"/>
                        </a:lnTo>
                        <a:lnTo>
                          <a:pt x="3924" y="1930"/>
                        </a:lnTo>
                        <a:lnTo>
                          <a:pt x="3924" y="1936"/>
                        </a:lnTo>
                        <a:lnTo>
                          <a:pt x="3926" y="1936"/>
                        </a:lnTo>
                        <a:lnTo>
                          <a:pt x="3928" y="1934"/>
                        </a:lnTo>
                        <a:lnTo>
                          <a:pt x="3928" y="1934"/>
                        </a:lnTo>
                        <a:lnTo>
                          <a:pt x="3932" y="1932"/>
                        </a:lnTo>
                        <a:lnTo>
                          <a:pt x="3936" y="1930"/>
                        </a:lnTo>
                        <a:lnTo>
                          <a:pt x="3946" y="1930"/>
                        </a:lnTo>
                        <a:lnTo>
                          <a:pt x="3952" y="1928"/>
                        </a:lnTo>
                        <a:lnTo>
                          <a:pt x="3952" y="1924"/>
                        </a:lnTo>
                        <a:lnTo>
                          <a:pt x="3952" y="1920"/>
                        </a:lnTo>
                        <a:lnTo>
                          <a:pt x="3952" y="1920"/>
                        </a:lnTo>
                        <a:lnTo>
                          <a:pt x="3948" y="1906"/>
                        </a:lnTo>
                        <a:lnTo>
                          <a:pt x="3946" y="1904"/>
                        </a:lnTo>
                        <a:lnTo>
                          <a:pt x="3942" y="1904"/>
                        </a:lnTo>
                        <a:lnTo>
                          <a:pt x="3942" y="1904"/>
                        </a:lnTo>
                        <a:lnTo>
                          <a:pt x="3940" y="1904"/>
                        </a:lnTo>
                        <a:lnTo>
                          <a:pt x="3942" y="1906"/>
                        </a:lnTo>
                        <a:lnTo>
                          <a:pt x="3946" y="1908"/>
                        </a:lnTo>
                        <a:lnTo>
                          <a:pt x="3948" y="1914"/>
                        </a:lnTo>
                        <a:lnTo>
                          <a:pt x="3948" y="1914"/>
                        </a:lnTo>
                        <a:lnTo>
                          <a:pt x="3944" y="1920"/>
                        </a:lnTo>
                        <a:lnTo>
                          <a:pt x="3940" y="1924"/>
                        </a:lnTo>
                        <a:lnTo>
                          <a:pt x="3936" y="1926"/>
                        </a:lnTo>
                        <a:lnTo>
                          <a:pt x="3932" y="1926"/>
                        </a:lnTo>
                        <a:lnTo>
                          <a:pt x="3930" y="1922"/>
                        </a:lnTo>
                        <a:lnTo>
                          <a:pt x="3928" y="1918"/>
                        </a:lnTo>
                        <a:lnTo>
                          <a:pt x="3928" y="1918"/>
                        </a:lnTo>
                        <a:lnTo>
                          <a:pt x="3924" y="1908"/>
                        </a:lnTo>
                        <a:lnTo>
                          <a:pt x="3924" y="1902"/>
                        </a:lnTo>
                        <a:lnTo>
                          <a:pt x="3920" y="1896"/>
                        </a:lnTo>
                        <a:lnTo>
                          <a:pt x="3912" y="1894"/>
                        </a:lnTo>
                        <a:lnTo>
                          <a:pt x="3912" y="1894"/>
                        </a:lnTo>
                        <a:lnTo>
                          <a:pt x="3910" y="1894"/>
                        </a:lnTo>
                        <a:lnTo>
                          <a:pt x="3910" y="1892"/>
                        </a:lnTo>
                        <a:lnTo>
                          <a:pt x="3918" y="1884"/>
                        </a:lnTo>
                        <a:lnTo>
                          <a:pt x="3926" y="1876"/>
                        </a:lnTo>
                        <a:lnTo>
                          <a:pt x="3926" y="1874"/>
                        </a:lnTo>
                        <a:lnTo>
                          <a:pt x="3924" y="1872"/>
                        </a:lnTo>
                        <a:lnTo>
                          <a:pt x="3924" y="1872"/>
                        </a:lnTo>
                        <a:lnTo>
                          <a:pt x="3922" y="1868"/>
                        </a:lnTo>
                        <a:lnTo>
                          <a:pt x="3920" y="1864"/>
                        </a:lnTo>
                        <a:lnTo>
                          <a:pt x="3922" y="1850"/>
                        </a:lnTo>
                        <a:lnTo>
                          <a:pt x="3928" y="1836"/>
                        </a:lnTo>
                        <a:lnTo>
                          <a:pt x="3936" y="1826"/>
                        </a:lnTo>
                        <a:lnTo>
                          <a:pt x="3936" y="1826"/>
                        </a:lnTo>
                        <a:lnTo>
                          <a:pt x="3940" y="1820"/>
                        </a:lnTo>
                        <a:lnTo>
                          <a:pt x="3940" y="1816"/>
                        </a:lnTo>
                        <a:lnTo>
                          <a:pt x="3940" y="1814"/>
                        </a:lnTo>
                        <a:lnTo>
                          <a:pt x="3942" y="1810"/>
                        </a:lnTo>
                        <a:lnTo>
                          <a:pt x="3942" y="1810"/>
                        </a:lnTo>
                        <a:lnTo>
                          <a:pt x="3944" y="1808"/>
                        </a:lnTo>
                        <a:lnTo>
                          <a:pt x="3946" y="1808"/>
                        </a:lnTo>
                        <a:lnTo>
                          <a:pt x="3948" y="1812"/>
                        </a:lnTo>
                        <a:lnTo>
                          <a:pt x="3952" y="1814"/>
                        </a:lnTo>
                        <a:lnTo>
                          <a:pt x="3954" y="1814"/>
                        </a:lnTo>
                        <a:lnTo>
                          <a:pt x="3958" y="1812"/>
                        </a:lnTo>
                        <a:lnTo>
                          <a:pt x="3958" y="1812"/>
                        </a:lnTo>
                        <a:lnTo>
                          <a:pt x="3966" y="1806"/>
                        </a:lnTo>
                        <a:lnTo>
                          <a:pt x="3970" y="1802"/>
                        </a:lnTo>
                        <a:lnTo>
                          <a:pt x="3974" y="1800"/>
                        </a:lnTo>
                        <a:lnTo>
                          <a:pt x="3976" y="1800"/>
                        </a:lnTo>
                        <a:lnTo>
                          <a:pt x="3976" y="1800"/>
                        </a:lnTo>
                        <a:lnTo>
                          <a:pt x="3982" y="1798"/>
                        </a:lnTo>
                        <a:lnTo>
                          <a:pt x="3984" y="1796"/>
                        </a:lnTo>
                        <a:lnTo>
                          <a:pt x="3988" y="1786"/>
                        </a:lnTo>
                        <a:lnTo>
                          <a:pt x="3992" y="1778"/>
                        </a:lnTo>
                        <a:lnTo>
                          <a:pt x="3996" y="1776"/>
                        </a:lnTo>
                        <a:lnTo>
                          <a:pt x="4000" y="1778"/>
                        </a:lnTo>
                        <a:lnTo>
                          <a:pt x="4000" y="1778"/>
                        </a:lnTo>
                        <a:lnTo>
                          <a:pt x="4006" y="1782"/>
                        </a:lnTo>
                        <a:lnTo>
                          <a:pt x="4008" y="1780"/>
                        </a:lnTo>
                        <a:lnTo>
                          <a:pt x="4010" y="1780"/>
                        </a:lnTo>
                        <a:lnTo>
                          <a:pt x="4012" y="1776"/>
                        </a:lnTo>
                        <a:lnTo>
                          <a:pt x="4016" y="1772"/>
                        </a:lnTo>
                        <a:lnTo>
                          <a:pt x="4016" y="1772"/>
                        </a:lnTo>
                        <a:lnTo>
                          <a:pt x="4022" y="1772"/>
                        </a:lnTo>
                        <a:lnTo>
                          <a:pt x="4024" y="1774"/>
                        </a:lnTo>
                        <a:lnTo>
                          <a:pt x="4028" y="1776"/>
                        </a:lnTo>
                        <a:lnTo>
                          <a:pt x="4036" y="1772"/>
                        </a:lnTo>
                        <a:lnTo>
                          <a:pt x="4036" y="1772"/>
                        </a:lnTo>
                        <a:lnTo>
                          <a:pt x="4044" y="1766"/>
                        </a:lnTo>
                        <a:lnTo>
                          <a:pt x="4052" y="1764"/>
                        </a:lnTo>
                        <a:lnTo>
                          <a:pt x="4060" y="1762"/>
                        </a:lnTo>
                        <a:lnTo>
                          <a:pt x="4066" y="1756"/>
                        </a:lnTo>
                        <a:lnTo>
                          <a:pt x="4066" y="1756"/>
                        </a:lnTo>
                        <a:lnTo>
                          <a:pt x="4070" y="1752"/>
                        </a:lnTo>
                        <a:lnTo>
                          <a:pt x="4070" y="1748"/>
                        </a:lnTo>
                        <a:lnTo>
                          <a:pt x="4068" y="1746"/>
                        </a:lnTo>
                        <a:lnTo>
                          <a:pt x="4066" y="1742"/>
                        </a:lnTo>
                        <a:lnTo>
                          <a:pt x="4066" y="1742"/>
                        </a:lnTo>
                        <a:lnTo>
                          <a:pt x="4064" y="1736"/>
                        </a:lnTo>
                        <a:lnTo>
                          <a:pt x="4062" y="1734"/>
                        </a:lnTo>
                        <a:lnTo>
                          <a:pt x="4054" y="1730"/>
                        </a:lnTo>
                        <a:lnTo>
                          <a:pt x="4054" y="1730"/>
                        </a:lnTo>
                        <a:lnTo>
                          <a:pt x="4052" y="1726"/>
                        </a:lnTo>
                        <a:lnTo>
                          <a:pt x="4050" y="1718"/>
                        </a:lnTo>
                        <a:lnTo>
                          <a:pt x="4050" y="1704"/>
                        </a:lnTo>
                        <a:lnTo>
                          <a:pt x="4050" y="1704"/>
                        </a:lnTo>
                        <a:lnTo>
                          <a:pt x="4052" y="1706"/>
                        </a:lnTo>
                        <a:lnTo>
                          <a:pt x="4054" y="1708"/>
                        </a:lnTo>
                        <a:lnTo>
                          <a:pt x="4054" y="1716"/>
                        </a:lnTo>
                        <a:lnTo>
                          <a:pt x="4054" y="1716"/>
                        </a:lnTo>
                        <a:lnTo>
                          <a:pt x="4054" y="1720"/>
                        </a:lnTo>
                        <a:lnTo>
                          <a:pt x="4056" y="1724"/>
                        </a:lnTo>
                        <a:lnTo>
                          <a:pt x="4060" y="1728"/>
                        </a:lnTo>
                        <a:lnTo>
                          <a:pt x="4066" y="1730"/>
                        </a:lnTo>
                        <a:lnTo>
                          <a:pt x="4066" y="1730"/>
                        </a:lnTo>
                        <a:lnTo>
                          <a:pt x="4078" y="1734"/>
                        </a:lnTo>
                        <a:lnTo>
                          <a:pt x="4088" y="1734"/>
                        </a:lnTo>
                        <a:lnTo>
                          <a:pt x="4096" y="1734"/>
                        </a:lnTo>
                        <a:lnTo>
                          <a:pt x="4106" y="1732"/>
                        </a:lnTo>
                        <a:lnTo>
                          <a:pt x="4122" y="1724"/>
                        </a:lnTo>
                        <a:lnTo>
                          <a:pt x="4144" y="1714"/>
                        </a:lnTo>
                        <a:lnTo>
                          <a:pt x="4144" y="1714"/>
                        </a:lnTo>
                        <a:lnTo>
                          <a:pt x="4152" y="1708"/>
                        </a:lnTo>
                        <a:lnTo>
                          <a:pt x="4156" y="1708"/>
                        </a:lnTo>
                        <a:lnTo>
                          <a:pt x="4156" y="1708"/>
                        </a:lnTo>
                        <a:lnTo>
                          <a:pt x="4158" y="1712"/>
                        </a:lnTo>
                        <a:lnTo>
                          <a:pt x="4160" y="1714"/>
                        </a:lnTo>
                        <a:lnTo>
                          <a:pt x="4164" y="1718"/>
                        </a:lnTo>
                        <a:lnTo>
                          <a:pt x="4172" y="1718"/>
                        </a:lnTo>
                        <a:lnTo>
                          <a:pt x="4188" y="1716"/>
                        </a:lnTo>
                        <a:lnTo>
                          <a:pt x="4188" y="1716"/>
                        </a:lnTo>
                        <a:lnTo>
                          <a:pt x="4202" y="1716"/>
                        </a:lnTo>
                        <a:lnTo>
                          <a:pt x="4194" y="1720"/>
                        </a:lnTo>
                        <a:lnTo>
                          <a:pt x="4172" y="1728"/>
                        </a:lnTo>
                        <a:lnTo>
                          <a:pt x="4148" y="1740"/>
                        </a:lnTo>
                        <a:lnTo>
                          <a:pt x="4148" y="1740"/>
                        </a:lnTo>
                        <a:lnTo>
                          <a:pt x="4136" y="1746"/>
                        </a:lnTo>
                        <a:lnTo>
                          <a:pt x="4126" y="1754"/>
                        </a:lnTo>
                        <a:lnTo>
                          <a:pt x="4118" y="1762"/>
                        </a:lnTo>
                        <a:lnTo>
                          <a:pt x="4110" y="1770"/>
                        </a:lnTo>
                        <a:lnTo>
                          <a:pt x="4106" y="1780"/>
                        </a:lnTo>
                        <a:lnTo>
                          <a:pt x="4104" y="1790"/>
                        </a:lnTo>
                        <a:lnTo>
                          <a:pt x="4106" y="1802"/>
                        </a:lnTo>
                        <a:lnTo>
                          <a:pt x="4110" y="1812"/>
                        </a:lnTo>
                        <a:lnTo>
                          <a:pt x="4110" y="1812"/>
                        </a:lnTo>
                        <a:lnTo>
                          <a:pt x="4116" y="1822"/>
                        </a:lnTo>
                        <a:lnTo>
                          <a:pt x="4124" y="1826"/>
                        </a:lnTo>
                        <a:lnTo>
                          <a:pt x="4130" y="1828"/>
                        </a:lnTo>
                        <a:lnTo>
                          <a:pt x="4138" y="1824"/>
                        </a:lnTo>
                        <a:lnTo>
                          <a:pt x="4146" y="1818"/>
                        </a:lnTo>
                        <a:lnTo>
                          <a:pt x="4154" y="1810"/>
                        </a:lnTo>
                        <a:lnTo>
                          <a:pt x="4174" y="1786"/>
                        </a:lnTo>
                        <a:lnTo>
                          <a:pt x="4174" y="1786"/>
                        </a:lnTo>
                        <a:lnTo>
                          <a:pt x="4182" y="1776"/>
                        </a:lnTo>
                        <a:lnTo>
                          <a:pt x="4190" y="1770"/>
                        </a:lnTo>
                        <a:lnTo>
                          <a:pt x="4196" y="1768"/>
                        </a:lnTo>
                        <a:lnTo>
                          <a:pt x="4202" y="1768"/>
                        </a:lnTo>
                        <a:lnTo>
                          <a:pt x="4208" y="1768"/>
                        </a:lnTo>
                        <a:lnTo>
                          <a:pt x="4216" y="1766"/>
                        </a:lnTo>
                        <a:lnTo>
                          <a:pt x="4224" y="1764"/>
                        </a:lnTo>
                        <a:lnTo>
                          <a:pt x="4238" y="1756"/>
                        </a:lnTo>
                        <a:lnTo>
                          <a:pt x="4238" y="1756"/>
                        </a:lnTo>
                        <a:lnTo>
                          <a:pt x="4252" y="1748"/>
                        </a:lnTo>
                        <a:lnTo>
                          <a:pt x="4266" y="1742"/>
                        </a:lnTo>
                        <a:lnTo>
                          <a:pt x="4290" y="1734"/>
                        </a:lnTo>
                        <a:lnTo>
                          <a:pt x="4300" y="1730"/>
                        </a:lnTo>
                        <a:lnTo>
                          <a:pt x="4306" y="1728"/>
                        </a:lnTo>
                        <a:lnTo>
                          <a:pt x="4308" y="1724"/>
                        </a:lnTo>
                        <a:lnTo>
                          <a:pt x="4304" y="1720"/>
                        </a:lnTo>
                        <a:lnTo>
                          <a:pt x="4304" y="1720"/>
                        </a:lnTo>
                        <a:lnTo>
                          <a:pt x="4284" y="1700"/>
                        </a:lnTo>
                        <a:lnTo>
                          <a:pt x="4280" y="1698"/>
                        </a:lnTo>
                        <a:lnTo>
                          <a:pt x="4276" y="1696"/>
                        </a:lnTo>
                        <a:lnTo>
                          <a:pt x="4270" y="1696"/>
                        </a:lnTo>
                        <a:lnTo>
                          <a:pt x="4264" y="1698"/>
                        </a:lnTo>
                        <a:lnTo>
                          <a:pt x="4264" y="1698"/>
                        </a:lnTo>
                        <a:lnTo>
                          <a:pt x="4258" y="1700"/>
                        </a:lnTo>
                        <a:lnTo>
                          <a:pt x="4246" y="1700"/>
                        </a:lnTo>
                        <a:lnTo>
                          <a:pt x="4236" y="1700"/>
                        </a:lnTo>
                        <a:lnTo>
                          <a:pt x="4224" y="1696"/>
                        </a:lnTo>
                        <a:lnTo>
                          <a:pt x="4212" y="1694"/>
                        </a:lnTo>
                        <a:lnTo>
                          <a:pt x="4204" y="1690"/>
                        </a:lnTo>
                        <a:lnTo>
                          <a:pt x="4198" y="1684"/>
                        </a:lnTo>
                        <a:lnTo>
                          <a:pt x="4196" y="1682"/>
                        </a:lnTo>
                        <a:lnTo>
                          <a:pt x="4196" y="1680"/>
                        </a:lnTo>
                        <a:lnTo>
                          <a:pt x="4196" y="1680"/>
                        </a:lnTo>
                        <a:lnTo>
                          <a:pt x="4196" y="1676"/>
                        </a:lnTo>
                        <a:lnTo>
                          <a:pt x="4194" y="1674"/>
                        </a:lnTo>
                        <a:lnTo>
                          <a:pt x="4186" y="1672"/>
                        </a:lnTo>
                        <a:lnTo>
                          <a:pt x="4178" y="1668"/>
                        </a:lnTo>
                        <a:lnTo>
                          <a:pt x="4172" y="1664"/>
                        </a:lnTo>
                        <a:lnTo>
                          <a:pt x="4166" y="1654"/>
                        </a:lnTo>
                        <a:lnTo>
                          <a:pt x="4160" y="1640"/>
                        </a:lnTo>
                        <a:lnTo>
                          <a:pt x="4160" y="1640"/>
                        </a:lnTo>
                        <a:lnTo>
                          <a:pt x="4156" y="1624"/>
                        </a:lnTo>
                        <a:lnTo>
                          <a:pt x="4156" y="1610"/>
                        </a:lnTo>
                        <a:lnTo>
                          <a:pt x="4158" y="1598"/>
                        </a:lnTo>
                        <a:lnTo>
                          <a:pt x="4160" y="1588"/>
                        </a:lnTo>
                        <a:lnTo>
                          <a:pt x="4162" y="1580"/>
                        </a:lnTo>
                        <a:lnTo>
                          <a:pt x="4162" y="1576"/>
                        </a:lnTo>
                        <a:lnTo>
                          <a:pt x="4158" y="1574"/>
                        </a:lnTo>
                        <a:lnTo>
                          <a:pt x="4148" y="1576"/>
                        </a:lnTo>
                        <a:lnTo>
                          <a:pt x="4148" y="1576"/>
                        </a:lnTo>
                        <a:lnTo>
                          <a:pt x="4134" y="1578"/>
                        </a:lnTo>
                        <a:lnTo>
                          <a:pt x="4126" y="1580"/>
                        </a:lnTo>
                        <a:lnTo>
                          <a:pt x="4124" y="1578"/>
                        </a:lnTo>
                        <a:lnTo>
                          <a:pt x="4126" y="1574"/>
                        </a:lnTo>
                        <a:lnTo>
                          <a:pt x="4140" y="1564"/>
                        </a:lnTo>
                        <a:lnTo>
                          <a:pt x="4164" y="1550"/>
                        </a:lnTo>
                        <a:lnTo>
                          <a:pt x="4164" y="1550"/>
                        </a:lnTo>
                        <a:lnTo>
                          <a:pt x="4178" y="1538"/>
                        </a:lnTo>
                        <a:lnTo>
                          <a:pt x="4182" y="1532"/>
                        </a:lnTo>
                        <a:lnTo>
                          <a:pt x="4184" y="1528"/>
                        </a:lnTo>
                        <a:lnTo>
                          <a:pt x="4184" y="1522"/>
                        </a:lnTo>
                        <a:lnTo>
                          <a:pt x="4180" y="1516"/>
                        </a:lnTo>
                        <a:lnTo>
                          <a:pt x="4174" y="1508"/>
                        </a:lnTo>
                        <a:lnTo>
                          <a:pt x="4166" y="1502"/>
                        </a:lnTo>
                        <a:lnTo>
                          <a:pt x="4166" y="1502"/>
                        </a:lnTo>
                        <a:lnTo>
                          <a:pt x="4160" y="1498"/>
                        </a:lnTo>
                        <a:lnTo>
                          <a:pt x="4150" y="1496"/>
                        </a:lnTo>
                        <a:lnTo>
                          <a:pt x="4140" y="1496"/>
                        </a:lnTo>
                        <a:lnTo>
                          <a:pt x="4130" y="1496"/>
                        </a:lnTo>
                        <a:lnTo>
                          <a:pt x="4102" y="1500"/>
                        </a:lnTo>
                        <a:lnTo>
                          <a:pt x="4074" y="1508"/>
                        </a:lnTo>
                        <a:lnTo>
                          <a:pt x="4044" y="1518"/>
                        </a:lnTo>
                        <a:lnTo>
                          <a:pt x="4018" y="1532"/>
                        </a:lnTo>
                        <a:lnTo>
                          <a:pt x="3996" y="1546"/>
                        </a:lnTo>
                        <a:lnTo>
                          <a:pt x="3988" y="1554"/>
                        </a:lnTo>
                        <a:lnTo>
                          <a:pt x="3982" y="1560"/>
                        </a:lnTo>
                        <a:lnTo>
                          <a:pt x="3982" y="1560"/>
                        </a:lnTo>
                        <a:lnTo>
                          <a:pt x="3964" y="1584"/>
                        </a:lnTo>
                        <a:lnTo>
                          <a:pt x="3948" y="1602"/>
                        </a:lnTo>
                        <a:lnTo>
                          <a:pt x="3934" y="1616"/>
                        </a:lnTo>
                        <a:lnTo>
                          <a:pt x="3922" y="1626"/>
                        </a:lnTo>
                        <a:lnTo>
                          <a:pt x="3914" y="1634"/>
                        </a:lnTo>
                        <a:lnTo>
                          <a:pt x="3908" y="1636"/>
                        </a:lnTo>
                        <a:lnTo>
                          <a:pt x="3908" y="1636"/>
                        </a:lnTo>
                        <a:lnTo>
                          <a:pt x="3908" y="1634"/>
                        </a:lnTo>
                        <a:lnTo>
                          <a:pt x="3914" y="1628"/>
                        </a:lnTo>
                        <a:lnTo>
                          <a:pt x="3914" y="1628"/>
                        </a:lnTo>
                        <a:lnTo>
                          <a:pt x="3924" y="1616"/>
                        </a:lnTo>
                        <a:lnTo>
                          <a:pt x="3936" y="1600"/>
                        </a:lnTo>
                        <a:lnTo>
                          <a:pt x="3964" y="1560"/>
                        </a:lnTo>
                        <a:lnTo>
                          <a:pt x="3978" y="1542"/>
                        </a:lnTo>
                        <a:lnTo>
                          <a:pt x="3994" y="1524"/>
                        </a:lnTo>
                        <a:lnTo>
                          <a:pt x="4010" y="1510"/>
                        </a:lnTo>
                        <a:lnTo>
                          <a:pt x="4020" y="1504"/>
                        </a:lnTo>
                        <a:lnTo>
                          <a:pt x="4030" y="1500"/>
                        </a:lnTo>
                        <a:lnTo>
                          <a:pt x="4030" y="1500"/>
                        </a:lnTo>
                        <a:lnTo>
                          <a:pt x="4040" y="1496"/>
                        </a:lnTo>
                        <a:lnTo>
                          <a:pt x="4050" y="1490"/>
                        </a:lnTo>
                        <a:lnTo>
                          <a:pt x="4056" y="1486"/>
                        </a:lnTo>
                        <a:lnTo>
                          <a:pt x="4060" y="1482"/>
                        </a:lnTo>
                        <a:lnTo>
                          <a:pt x="4066" y="1472"/>
                        </a:lnTo>
                        <a:lnTo>
                          <a:pt x="4068" y="1464"/>
                        </a:lnTo>
                        <a:lnTo>
                          <a:pt x="4072" y="1456"/>
                        </a:lnTo>
                        <a:lnTo>
                          <a:pt x="4076" y="1452"/>
                        </a:lnTo>
                        <a:lnTo>
                          <a:pt x="4082" y="1448"/>
                        </a:lnTo>
                        <a:lnTo>
                          <a:pt x="4090" y="1444"/>
                        </a:lnTo>
                        <a:lnTo>
                          <a:pt x="4102" y="1440"/>
                        </a:lnTo>
                        <a:lnTo>
                          <a:pt x="4136" y="1432"/>
                        </a:lnTo>
                        <a:lnTo>
                          <a:pt x="4136" y="1432"/>
                        </a:lnTo>
                        <a:lnTo>
                          <a:pt x="4160" y="1430"/>
                        </a:lnTo>
                        <a:lnTo>
                          <a:pt x="4182" y="1428"/>
                        </a:lnTo>
                        <a:lnTo>
                          <a:pt x="4202" y="1430"/>
                        </a:lnTo>
                        <a:lnTo>
                          <a:pt x="4220" y="1432"/>
                        </a:lnTo>
                        <a:lnTo>
                          <a:pt x="4252" y="1436"/>
                        </a:lnTo>
                        <a:lnTo>
                          <a:pt x="4278" y="1442"/>
                        </a:lnTo>
                        <a:lnTo>
                          <a:pt x="4304" y="1446"/>
                        </a:lnTo>
                        <a:lnTo>
                          <a:pt x="4316" y="1444"/>
                        </a:lnTo>
                        <a:lnTo>
                          <a:pt x="4330" y="1442"/>
                        </a:lnTo>
                        <a:lnTo>
                          <a:pt x="4342" y="1438"/>
                        </a:lnTo>
                        <a:lnTo>
                          <a:pt x="4356" y="1430"/>
                        </a:lnTo>
                        <a:lnTo>
                          <a:pt x="4370" y="1420"/>
                        </a:lnTo>
                        <a:lnTo>
                          <a:pt x="4386" y="1406"/>
                        </a:lnTo>
                        <a:lnTo>
                          <a:pt x="4386" y="1406"/>
                        </a:lnTo>
                        <a:lnTo>
                          <a:pt x="4414" y="1382"/>
                        </a:lnTo>
                        <a:lnTo>
                          <a:pt x="4434" y="1368"/>
                        </a:lnTo>
                        <a:lnTo>
                          <a:pt x="4448" y="1362"/>
                        </a:lnTo>
                        <a:lnTo>
                          <a:pt x="4458" y="1362"/>
                        </a:lnTo>
                        <a:lnTo>
                          <a:pt x="4470" y="1366"/>
                        </a:lnTo>
                        <a:lnTo>
                          <a:pt x="4474" y="1366"/>
                        </a:lnTo>
                        <a:lnTo>
                          <a:pt x="4482" y="1358"/>
                        </a:lnTo>
                        <a:lnTo>
                          <a:pt x="4482" y="1358"/>
                        </a:lnTo>
                        <a:lnTo>
                          <a:pt x="4492" y="1348"/>
                        </a:lnTo>
                        <a:lnTo>
                          <a:pt x="4502" y="1342"/>
                        </a:lnTo>
                        <a:lnTo>
                          <a:pt x="4518" y="1330"/>
                        </a:lnTo>
                        <a:lnTo>
                          <a:pt x="4524" y="1324"/>
                        </a:lnTo>
                        <a:lnTo>
                          <a:pt x="4526" y="1316"/>
                        </a:lnTo>
                        <a:lnTo>
                          <a:pt x="4526" y="1308"/>
                        </a:lnTo>
                        <a:lnTo>
                          <a:pt x="4522" y="1296"/>
                        </a:lnTo>
                        <a:lnTo>
                          <a:pt x="4522" y="1296"/>
                        </a:lnTo>
                        <a:lnTo>
                          <a:pt x="4518" y="1284"/>
                        </a:lnTo>
                        <a:lnTo>
                          <a:pt x="4518" y="1278"/>
                        </a:lnTo>
                        <a:lnTo>
                          <a:pt x="4518" y="1274"/>
                        </a:lnTo>
                        <a:lnTo>
                          <a:pt x="4522" y="1270"/>
                        </a:lnTo>
                        <a:lnTo>
                          <a:pt x="4524" y="1268"/>
                        </a:lnTo>
                        <a:lnTo>
                          <a:pt x="4526" y="1264"/>
                        </a:lnTo>
                        <a:lnTo>
                          <a:pt x="4524" y="1258"/>
                        </a:lnTo>
                        <a:lnTo>
                          <a:pt x="4522" y="1248"/>
                        </a:lnTo>
                        <a:lnTo>
                          <a:pt x="4522" y="1248"/>
                        </a:lnTo>
                        <a:lnTo>
                          <a:pt x="4516" y="1238"/>
                        </a:lnTo>
                        <a:lnTo>
                          <a:pt x="4510" y="1234"/>
                        </a:lnTo>
                        <a:lnTo>
                          <a:pt x="4502" y="1232"/>
                        </a:lnTo>
                        <a:lnTo>
                          <a:pt x="4496" y="1230"/>
                        </a:lnTo>
                        <a:lnTo>
                          <a:pt x="4488" y="1230"/>
                        </a:lnTo>
                        <a:lnTo>
                          <a:pt x="4480" y="1228"/>
                        </a:lnTo>
                        <a:lnTo>
                          <a:pt x="4472" y="1222"/>
                        </a:lnTo>
                        <a:lnTo>
                          <a:pt x="4464" y="1214"/>
                        </a:lnTo>
                        <a:lnTo>
                          <a:pt x="4464" y="1214"/>
                        </a:lnTo>
                        <a:lnTo>
                          <a:pt x="4454" y="1204"/>
                        </a:lnTo>
                        <a:lnTo>
                          <a:pt x="4446" y="1198"/>
                        </a:lnTo>
                        <a:lnTo>
                          <a:pt x="4436" y="1198"/>
                        </a:lnTo>
                        <a:lnTo>
                          <a:pt x="4428" y="1200"/>
                        </a:lnTo>
                        <a:lnTo>
                          <a:pt x="4416" y="1204"/>
                        </a:lnTo>
                        <a:lnTo>
                          <a:pt x="4406" y="1212"/>
                        </a:lnTo>
                        <a:lnTo>
                          <a:pt x="4376" y="1234"/>
                        </a:lnTo>
                        <a:lnTo>
                          <a:pt x="4376" y="1234"/>
                        </a:lnTo>
                        <a:lnTo>
                          <a:pt x="4362" y="1242"/>
                        </a:lnTo>
                        <a:lnTo>
                          <a:pt x="4352" y="1246"/>
                        </a:lnTo>
                        <a:lnTo>
                          <a:pt x="4344" y="1246"/>
                        </a:lnTo>
                        <a:lnTo>
                          <a:pt x="4342" y="1242"/>
                        </a:lnTo>
                        <a:lnTo>
                          <a:pt x="4342" y="1238"/>
                        </a:lnTo>
                        <a:lnTo>
                          <a:pt x="4346" y="1230"/>
                        </a:lnTo>
                        <a:lnTo>
                          <a:pt x="4354" y="1226"/>
                        </a:lnTo>
                        <a:lnTo>
                          <a:pt x="4364" y="1220"/>
                        </a:lnTo>
                        <a:lnTo>
                          <a:pt x="4364" y="1220"/>
                        </a:lnTo>
                        <a:lnTo>
                          <a:pt x="4376" y="1218"/>
                        </a:lnTo>
                        <a:lnTo>
                          <a:pt x="4386" y="1214"/>
                        </a:lnTo>
                        <a:lnTo>
                          <a:pt x="4400" y="1204"/>
                        </a:lnTo>
                        <a:lnTo>
                          <a:pt x="4414" y="1196"/>
                        </a:lnTo>
                        <a:lnTo>
                          <a:pt x="4424" y="1192"/>
                        </a:lnTo>
                        <a:lnTo>
                          <a:pt x="4438" y="1190"/>
                        </a:lnTo>
                        <a:lnTo>
                          <a:pt x="4438" y="1190"/>
                        </a:lnTo>
                        <a:lnTo>
                          <a:pt x="4450" y="1186"/>
                        </a:lnTo>
                        <a:lnTo>
                          <a:pt x="4456" y="1184"/>
                        </a:lnTo>
                        <a:lnTo>
                          <a:pt x="4458" y="1178"/>
                        </a:lnTo>
                        <a:lnTo>
                          <a:pt x="4456" y="1174"/>
                        </a:lnTo>
                        <a:lnTo>
                          <a:pt x="4450" y="1170"/>
                        </a:lnTo>
                        <a:lnTo>
                          <a:pt x="4442" y="1166"/>
                        </a:lnTo>
                        <a:lnTo>
                          <a:pt x="4432" y="1162"/>
                        </a:lnTo>
                        <a:lnTo>
                          <a:pt x="4418" y="1160"/>
                        </a:lnTo>
                        <a:lnTo>
                          <a:pt x="4418" y="1160"/>
                        </a:lnTo>
                        <a:lnTo>
                          <a:pt x="4406" y="1158"/>
                        </a:lnTo>
                        <a:lnTo>
                          <a:pt x="4400" y="1154"/>
                        </a:lnTo>
                        <a:lnTo>
                          <a:pt x="4396" y="1150"/>
                        </a:lnTo>
                        <a:lnTo>
                          <a:pt x="4394" y="1146"/>
                        </a:lnTo>
                        <a:lnTo>
                          <a:pt x="4392" y="1142"/>
                        </a:lnTo>
                        <a:lnTo>
                          <a:pt x="4388" y="1138"/>
                        </a:lnTo>
                        <a:lnTo>
                          <a:pt x="4378" y="1136"/>
                        </a:lnTo>
                        <a:lnTo>
                          <a:pt x="4364" y="1132"/>
                        </a:lnTo>
                        <a:lnTo>
                          <a:pt x="4364" y="1132"/>
                        </a:lnTo>
                        <a:lnTo>
                          <a:pt x="4350" y="1130"/>
                        </a:lnTo>
                        <a:lnTo>
                          <a:pt x="4342" y="1126"/>
                        </a:lnTo>
                        <a:lnTo>
                          <a:pt x="4340" y="1122"/>
                        </a:lnTo>
                        <a:lnTo>
                          <a:pt x="4338" y="1116"/>
                        </a:lnTo>
                        <a:lnTo>
                          <a:pt x="4340" y="1112"/>
                        </a:lnTo>
                        <a:lnTo>
                          <a:pt x="4338" y="1106"/>
                        </a:lnTo>
                        <a:lnTo>
                          <a:pt x="4334" y="1102"/>
                        </a:lnTo>
                        <a:lnTo>
                          <a:pt x="4324" y="1096"/>
                        </a:lnTo>
                        <a:lnTo>
                          <a:pt x="4324" y="1096"/>
                        </a:lnTo>
                        <a:lnTo>
                          <a:pt x="4314" y="1090"/>
                        </a:lnTo>
                        <a:lnTo>
                          <a:pt x="4304" y="1084"/>
                        </a:lnTo>
                        <a:lnTo>
                          <a:pt x="4296" y="1078"/>
                        </a:lnTo>
                        <a:lnTo>
                          <a:pt x="4290" y="1070"/>
                        </a:lnTo>
                        <a:lnTo>
                          <a:pt x="4286" y="1062"/>
                        </a:lnTo>
                        <a:lnTo>
                          <a:pt x="4286" y="1052"/>
                        </a:lnTo>
                        <a:lnTo>
                          <a:pt x="4288" y="1042"/>
                        </a:lnTo>
                        <a:lnTo>
                          <a:pt x="4294" y="1030"/>
                        </a:lnTo>
                        <a:lnTo>
                          <a:pt x="4294" y="1030"/>
                        </a:lnTo>
                        <a:lnTo>
                          <a:pt x="4298" y="1024"/>
                        </a:lnTo>
                        <a:lnTo>
                          <a:pt x="4298" y="1020"/>
                        </a:lnTo>
                        <a:lnTo>
                          <a:pt x="4298" y="1016"/>
                        </a:lnTo>
                        <a:lnTo>
                          <a:pt x="4296" y="1012"/>
                        </a:lnTo>
                        <a:lnTo>
                          <a:pt x="4290" y="1008"/>
                        </a:lnTo>
                        <a:lnTo>
                          <a:pt x="4282" y="1004"/>
                        </a:lnTo>
                        <a:lnTo>
                          <a:pt x="4274" y="1002"/>
                        </a:lnTo>
                        <a:lnTo>
                          <a:pt x="4268" y="998"/>
                        </a:lnTo>
                        <a:lnTo>
                          <a:pt x="4266" y="996"/>
                        </a:lnTo>
                        <a:lnTo>
                          <a:pt x="4266" y="994"/>
                        </a:lnTo>
                        <a:lnTo>
                          <a:pt x="4266" y="990"/>
                        </a:lnTo>
                        <a:lnTo>
                          <a:pt x="4270" y="986"/>
                        </a:lnTo>
                        <a:lnTo>
                          <a:pt x="4270" y="986"/>
                        </a:lnTo>
                        <a:lnTo>
                          <a:pt x="4274" y="978"/>
                        </a:lnTo>
                        <a:lnTo>
                          <a:pt x="4274" y="970"/>
                        </a:lnTo>
                        <a:lnTo>
                          <a:pt x="4270" y="966"/>
                        </a:lnTo>
                        <a:lnTo>
                          <a:pt x="4264" y="960"/>
                        </a:lnTo>
                        <a:lnTo>
                          <a:pt x="4258" y="954"/>
                        </a:lnTo>
                        <a:lnTo>
                          <a:pt x="4252" y="948"/>
                        </a:lnTo>
                        <a:lnTo>
                          <a:pt x="4246" y="940"/>
                        </a:lnTo>
                        <a:lnTo>
                          <a:pt x="4244" y="928"/>
                        </a:lnTo>
                        <a:lnTo>
                          <a:pt x="4244" y="928"/>
                        </a:lnTo>
                        <a:lnTo>
                          <a:pt x="4240" y="912"/>
                        </a:lnTo>
                        <a:lnTo>
                          <a:pt x="4238" y="908"/>
                        </a:lnTo>
                        <a:lnTo>
                          <a:pt x="4236" y="906"/>
                        </a:lnTo>
                        <a:lnTo>
                          <a:pt x="4230" y="902"/>
                        </a:lnTo>
                        <a:lnTo>
                          <a:pt x="4228" y="898"/>
                        </a:lnTo>
                        <a:lnTo>
                          <a:pt x="4226" y="890"/>
                        </a:lnTo>
                        <a:lnTo>
                          <a:pt x="4226" y="890"/>
                        </a:lnTo>
                        <a:lnTo>
                          <a:pt x="4222" y="882"/>
                        </a:lnTo>
                        <a:lnTo>
                          <a:pt x="4218" y="878"/>
                        </a:lnTo>
                        <a:lnTo>
                          <a:pt x="4210" y="872"/>
                        </a:lnTo>
                        <a:lnTo>
                          <a:pt x="4206" y="868"/>
                        </a:lnTo>
                        <a:lnTo>
                          <a:pt x="4200" y="862"/>
                        </a:lnTo>
                        <a:lnTo>
                          <a:pt x="4194" y="852"/>
                        </a:lnTo>
                        <a:lnTo>
                          <a:pt x="4186" y="838"/>
                        </a:lnTo>
                        <a:lnTo>
                          <a:pt x="4186" y="838"/>
                        </a:lnTo>
                        <a:lnTo>
                          <a:pt x="4180" y="824"/>
                        </a:lnTo>
                        <a:lnTo>
                          <a:pt x="4174" y="816"/>
                        </a:lnTo>
                        <a:lnTo>
                          <a:pt x="4168" y="812"/>
                        </a:lnTo>
                        <a:lnTo>
                          <a:pt x="4164" y="812"/>
                        </a:lnTo>
                        <a:lnTo>
                          <a:pt x="4158" y="814"/>
                        </a:lnTo>
                        <a:lnTo>
                          <a:pt x="4154" y="820"/>
                        </a:lnTo>
                        <a:lnTo>
                          <a:pt x="4140" y="836"/>
                        </a:lnTo>
                        <a:lnTo>
                          <a:pt x="4140" y="836"/>
                        </a:lnTo>
                        <a:lnTo>
                          <a:pt x="4132" y="848"/>
                        </a:lnTo>
                        <a:lnTo>
                          <a:pt x="4128" y="860"/>
                        </a:lnTo>
                        <a:lnTo>
                          <a:pt x="4124" y="884"/>
                        </a:lnTo>
                        <a:lnTo>
                          <a:pt x="4120" y="896"/>
                        </a:lnTo>
                        <a:lnTo>
                          <a:pt x="4116" y="904"/>
                        </a:lnTo>
                        <a:lnTo>
                          <a:pt x="4114" y="906"/>
                        </a:lnTo>
                        <a:lnTo>
                          <a:pt x="4110" y="908"/>
                        </a:lnTo>
                        <a:lnTo>
                          <a:pt x="4106" y="908"/>
                        </a:lnTo>
                        <a:lnTo>
                          <a:pt x="4100" y="906"/>
                        </a:lnTo>
                        <a:lnTo>
                          <a:pt x="4100" y="906"/>
                        </a:lnTo>
                        <a:lnTo>
                          <a:pt x="4090" y="904"/>
                        </a:lnTo>
                        <a:lnTo>
                          <a:pt x="4086" y="906"/>
                        </a:lnTo>
                        <a:lnTo>
                          <a:pt x="4084" y="908"/>
                        </a:lnTo>
                        <a:lnTo>
                          <a:pt x="4084" y="912"/>
                        </a:lnTo>
                        <a:lnTo>
                          <a:pt x="4082" y="916"/>
                        </a:lnTo>
                        <a:lnTo>
                          <a:pt x="4080" y="922"/>
                        </a:lnTo>
                        <a:lnTo>
                          <a:pt x="4074" y="928"/>
                        </a:lnTo>
                        <a:lnTo>
                          <a:pt x="4060" y="934"/>
                        </a:lnTo>
                        <a:lnTo>
                          <a:pt x="4060" y="934"/>
                        </a:lnTo>
                        <a:lnTo>
                          <a:pt x="4048" y="936"/>
                        </a:lnTo>
                        <a:lnTo>
                          <a:pt x="4038" y="934"/>
                        </a:lnTo>
                        <a:lnTo>
                          <a:pt x="4030" y="930"/>
                        </a:lnTo>
                        <a:lnTo>
                          <a:pt x="4024" y="922"/>
                        </a:lnTo>
                        <a:lnTo>
                          <a:pt x="4018" y="914"/>
                        </a:lnTo>
                        <a:lnTo>
                          <a:pt x="4010" y="908"/>
                        </a:lnTo>
                        <a:lnTo>
                          <a:pt x="4002" y="902"/>
                        </a:lnTo>
                        <a:lnTo>
                          <a:pt x="3988" y="900"/>
                        </a:lnTo>
                        <a:lnTo>
                          <a:pt x="3988" y="900"/>
                        </a:lnTo>
                        <a:lnTo>
                          <a:pt x="3976" y="900"/>
                        </a:lnTo>
                        <a:lnTo>
                          <a:pt x="3972" y="900"/>
                        </a:lnTo>
                        <a:lnTo>
                          <a:pt x="3970" y="896"/>
                        </a:lnTo>
                        <a:lnTo>
                          <a:pt x="3972" y="892"/>
                        </a:lnTo>
                        <a:lnTo>
                          <a:pt x="3974" y="888"/>
                        </a:lnTo>
                        <a:lnTo>
                          <a:pt x="3976" y="884"/>
                        </a:lnTo>
                        <a:lnTo>
                          <a:pt x="3974" y="880"/>
                        </a:lnTo>
                        <a:lnTo>
                          <a:pt x="3968" y="874"/>
                        </a:lnTo>
                        <a:lnTo>
                          <a:pt x="3968" y="874"/>
                        </a:lnTo>
                        <a:lnTo>
                          <a:pt x="3962" y="870"/>
                        </a:lnTo>
                        <a:lnTo>
                          <a:pt x="3960" y="866"/>
                        </a:lnTo>
                        <a:lnTo>
                          <a:pt x="3962" y="864"/>
                        </a:lnTo>
                        <a:lnTo>
                          <a:pt x="3964" y="860"/>
                        </a:lnTo>
                        <a:lnTo>
                          <a:pt x="3966" y="856"/>
                        </a:lnTo>
                        <a:lnTo>
                          <a:pt x="3968" y="850"/>
                        </a:lnTo>
                        <a:lnTo>
                          <a:pt x="3968" y="844"/>
                        </a:lnTo>
                        <a:lnTo>
                          <a:pt x="3964" y="836"/>
                        </a:lnTo>
                        <a:lnTo>
                          <a:pt x="3964" y="836"/>
                        </a:lnTo>
                        <a:lnTo>
                          <a:pt x="3960" y="824"/>
                        </a:lnTo>
                        <a:lnTo>
                          <a:pt x="3958" y="814"/>
                        </a:lnTo>
                        <a:lnTo>
                          <a:pt x="3962" y="802"/>
                        </a:lnTo>
                        <a:lnTo>
                          <a:pt x="3966" y="794"/>
                        </a:lnTo>
                        <a:lnTo>
                          <a:pt x="3974" y="776"/>
                        </a:lnTo>
                        <a:lnTo>
                          <a:pt x="3974" y="770"/>
                        </a:lnTo>
                        <a:lnTo>
                          <a:pt x="3972" y="764"/>
                        </a:lnTo>
                        <a:lnTo>
                          <a:pt x="3972" y="764"/>
                        </a:lnTo>
                        <a:lnTo>
                          <a:pt x="3968" y="758"/>
                        </a:lnTo>
                        <a:lnTo>
                          <a:pt x="3964" y="758"/>
                        </a:lnTo>
                        <a:lnTo>
                          <a:pt x="3960" y="760"/>
                        </a:lnTo>
                        <a:lnTo>
                          <a:pt x="3958" y="764"/>
                        </a:lnTo>
                        <a:lnTo>
                          <a:pt x="3954" y="770"/>
                        </a:lnTo>
                        <a:lnTo>
                          <a:pt x="3952" y="772"/>
                        </a:lnTo>
                        <a:lnTo>
                          <a:pt x="3950" y="770"/>
                        </a:lnTo>
                        <a:lnTo>
                          <a:pt x="3950" y="770"/>
                        </a:lnTo>
                        <a:lnTo>
                          <a:pt x="3944" y="766"/>
                        </a:lnTo>
                        <a:lnTo>
                          <a:pt x="3936" y="762"/>
                        </a:lnTo>
                        <a:lnTo>
                          <a:pt x="3914" y="756"/>
                        </a:lnTo>
                        <a:lnTo>
                          <a:pt x="3902" y="752"/>
                        </a:lnTo>
                        <a:lnTo>
                          <a:pt x="3894" y="748"/>
                        </a:lnTo>
                        <a:lnTo>
                          <a:pt x="3888" y="742"/>
                        </a:lnTo>
                        <a:lnTo>
                          <a:pt x="3886" y="740"/>
                        </a:lnTo>
                        <a:lnTo>
                          <a:pt x="3886" y="736"/>
                        </a:lnTo>
                        <a:lnTo>
                          <a:pt x="3886" y="736"/>
                        </a:lnTo>
                        <a:lnTo>
                          <a:pt x="3886" y="728"/>
                        </a:lnTo>
                        <a:lnTo>
                          <a:pt x="3882" y="722"/>
                        </a:lnTo>
                        <a:lnTo>
                          <a:pt x="3878" y="716"/>
                        </a:lnTo>
                        <a:lnTo>
                          <a:pt x="3870" y="710"/>
                        </a:lnTo>
                        <a:lnTo>
                          <a:pt x="3826" y="680"/>
                        </a:lnTo>
                        <a:lnTo>
                          <a:pt x="3826" y="680"/>
                        </a:lnTo>
                        <a:lnTo>
                          <a:pt x="3806" y="668"/>
                        </a:lnTo>
                        <a:lnTo>
                          <a:pt x="3800" y="668"/>
                        </a:lnTo>
                        <a:lnTo>
                          <a:pt x="3796" y="666"/>
                        </a:lnTo>
                        <a:lnTo>
                          <a:pt x="3790" y="668"/>
                        </a:lnTo>
                        <a:lnTo>
                          <a:pt x="3788" y="670"/>
                        </a:lnTo>
                        <a:lnTo>
                          <a:pt x="3780" y="678"/>
                        </a:lnTo>
                        <a:lnTo>
                          <a:pt x="3774" y="680"/>
                        </a:lnTo>
                        <a:lnTo>
                          <a:pt x="3768" y="684"/>
                        </a:lnTo>
                        <a:lnTo>
                          <a:pt x="3760" y="684"/>
                        </a:lnTo>
                        <a:lnTo>
                          <a:pt x="3750" y="686"/>
                        </a:lnTo>
                        <a:lnTo>
                          <a:pt x="3736" y="684"/>
                        </a:lnTo>
                        <a:lnTo>
                          <a:pt x="3720" y="680"/>
                        </a:lnTo>
                        <a:lnTo>
                          <a:pt x="3700" y="674"/>
                        </a:lnTo>
                        <a:lnTo>
                          <a:pt x="3676" y="664"/>
                        </a:lnTo>
                        <a:lnTo>
                          <a:pt x="3676" y="664"/>
                        </a:lnTo>
                        <a:lnTo>
                          <a:pt x="3666" y="662"/>
                        </a:lnTo>
                        <a:lnTo>
                          <a:pt x="3656" y="660"/>
                        </a:lnTo>
                        <a:lnTo>
                          <a:pt x="3648" y="660"/>
                        </a:lnTo>
                        <a:lnTo>
                          <a:pt x="3642" y="662"/>
                        </a:lnTo>
                        <a:lnTo>
                          <a:pt x="3636" y="664"/>
                        </a:lnTo>
                        <a:lnTo>
                          <a:pt x="3632" y="668"/>
                        </a:lnTo>
                        <a:lnTo>
                          <a:pt x="3626" y="678"/>
                        </a:lnTo>
                        <a:lnTo>
                          <a:pt x="3622" y="690"/>
                        </a:lnTo>
                        <a:lnTo>
                          <a:pt x="3622" y="702"/>
                        </a:lnTo>
                        <a:lnTo>
                          <a:pt x="3626" y="712"/>
                        </a:lnTo>
                        <a:lnTo>
                          <a:pt x="3630" y="720"/>
                        </a:lnTo>
                        <a:lnTo>
                          <a:pt x="3630" y="720"/>
                        </a:lnTo>
                        <a:lnTo>
                          <a:pt x="3634" y="726"/>
                        </a:lnTo>
                        <a:lnTo>
                          <a:pt x="3636" y="732"/>
                        </a:lnTo>
                        <a:lnTo>
                          <a:pt x="3638" y="738"/>
                        </a:lnTo>
                        <a:lnTo>
                          <a:pt x="3638" y="746"/>
                        </a:lnTo>
                        <a:lnTo>
                          <a:pt x="3634" y="760"/>
                        </a:lnTo>
                        <a:lnTo>
                          <a:pt x="3626" y="772"/>
                        </a:lnTo>
                        <a:lnTo>
                          <a:pt x="3626" y="772"/>
                        </a:lnTo>
                        <a:lnTo>
                          <a:pt x="3622" y="776"/>
                        </a:lnTo>
                        <a:lnTo>
                          <a:pt x="3622" y="780"/>
                        </a:lnTo>
                        <a:lnTo>
                          <a:pt x="3624" y="782"/>
                        </a:lnTo>
                        <a:lnTo>
                          <a:pt x="3626" y="786"/>
                        </a:lnTo>
                        <a:lnTo>
                          <a:pt x="3634" y="794"/>
                        </a:lnTo>
                        <a:lnTo>
                          <a:pt x="3640" y="802"/>
                        </a:lnTo>
                        <a:lnTo>
                          <a:pt x="3644" y="814"/>
                        </a:lnTo>
                        <a:lnTo>
                          <a:pt x="3644" y="814"/>
                        </a:lnTo>
                        <a:lnTo>
                          <a:pt x="3648" y="824"/>
                        </a:lnTo>
                        <a:lnTo>
                          <a:pt x="3650" y="832"/>
                        </a:lnTo>
                        <a:lnTo>
                          <a:pt x="3650" y="840"/>
                        </a:lnTo>
                        <a:lnTo>
                          <a:pt x="3648" y="844"/>
                        </a:lnTo>
                        <a:lnTo>
                          <a:pt x="3642" y="854"/>
                        </a:lnTo>
                        <a:lnTo>
                          <a:pt x="3636" y="870"/>
                        </a:lnTo>
                        <a:lnTo>
                          <a:pt x="3636" y="870"/>
                        </a:lnTo>
                        <a:lnTo>
                          <a:pt x="3634" y="878"/>
                        </a:lnTo>
                        <a:lnTo>
                          <a:pt x="3630" y="882"/>
                        </a:lnTo>
                        <a:lnTo>
                          <a:pt x="3620" y="888"/>
                        </a:lnTo>
                        <a:lnTo>
                          <a:pt x="3616" y="890"/>
                        </a:lnTo>
                        <a:lnTo>
                          <a:pt x="3612" y="894"/>
                        </a:lnTo>
                        <a:lnTo>
                          <a:pt x="3610" y="900"/>
                        </a:lnTo>
                        <a:lnTo>
                          <a:pt x="3606" y="910"/>
                        </a:lnTo>
                        <a:lnTo>
                          <a:pt x="3606" y="910"/>
                        </a:lnTo>
                        <a:lnTo>
                          <a:pt x="3606" y="916"/>
                        </a:lnTo>
                        <a:lnTo>
                          <a:pt x="3608" y="920"/>
                        </a:lnTo>
                        <a:lnTo>
                          <a:pt x="3614" y="926"/>
                        </a:lnTo>
                        <a:lnTo>
                          <a:pt x="3622" y="932"/>
                        </a:lnTo>
                        <a:lnTo>
                          <a:pt x="3634" y="940"/>
                        </a:lnTo>
                        <a:lnTo>
                          <a:pt x="3648" y="950"/>
                        </a:lnTo>
                        <a:lnTo>
                          <a:pt x="3660" y="964"/>
                        </a:lnTo>
                        <a:lnTo>
                          <a:pt x="3666" y="972"/>
                        </a:lnTo>
                        <a:lnTo>
                          <a:pt x="3672" y="984"/>
                        </a:lnTo>
                        <a:lnTo>
                          <a:pt x="3678" y="996"/>
                        </a:lnTo>
                        <a:lnTo>
                          <a:pt x="3684" y="1010"/>
                        </a:lnTo>
                        <a:lnTo>
                          <a:pt x="3684" y="1010"/>
                        </a:lnTo>
                        <a:lnTo>
                          <a:pt x="3686" y="1026"/>
                        </a:lnTo>
                        <a:lnTo>
                          <a:pt x="3688" y="1040"/>
                        </a:lnTo>
                        <a:lnTo>
                          <a:pt x="3688" y="1052"/>
                        </a:lnTo>
                        <a:lnTo>
                          <a:pt x="3684" y="1066"/>
                        </a:lnTo>
                        <a:lnTo>
                          <a:pt x="3680" y="1078"/>
                        </a:lnTo>
                        <a:lnTo>
                          <a:pt x="3674" y="1088"/>
                        </a:lnTo>
                        <a:lnTo>
                          <a:pt x="3668" y="1100"/>
                        </a:lnTo>
                        <a:lnTo>
                          <a:pt x="3660" y="1108"/>
                        </a:lnTo>
                        <a:lnTo>
                          <a:pt x="3642" y="1126"/>
                        </a:lnTo>
                        <a:lnTo>
                          <a:pt x="3624" y="1140"/>
                        </a:lnTo>
                        <a:lnTo>
                          <a:pt x="3604" y="1150"/>
                        </a:lnTo>
                        <a:lnTo>
                          <a:pt x="3584" y="1158"/>
                        </a:lnTo>
                        <a:lnTo>
                          <a:pt x="3584" y="1158"/>
                        </a:lnTo>
                        <a:lnTo>
                          <a:pt x="3570" y="1166"/>
                        </a:lnTo>
                        <a:lnTo>
                          <a:pt x="3562" y="1172"/>
                        </a:lnTo>
                        <a:lnTo>
                          <a:pt x="3562" y="1174"/>
                        </a:lnTo>
                        <a:lnTo>
                          <a:pt x="3562" y="1176"/>
                        </a:lnTo>
                        <a:lnTo>
                          <a:pt x="3566" y="1184"/>
                        </a:lnTo>
                        <a:lnTo>
                          <a:pt x="3572" y="1190"/>
                        </a:lnTo>
                        <a:lnTo>
                          <a:pt x="3578" y="1200"/>
                        </a:lnTo>
                        <a:lnTo>
                          <a:pt x="3582" y="1212"/>
                        </a:lnTo>
                        <a:lnTo>
                          <a:pt x="3584" y="1220"/>
                        </a:lnTo>
                        <a:lnTo>
                          <a:pt x="3584" y="1228"/>
                        </a:lnTo>
                        <a:lnTo>
                          <a:pt x="3584" y="1228"/>
                        </a:lnTo>
                        <a:lnTo>
                          <a:pt x="3586" y="1244"/>
                        </a:lnTo>
                        <a:lnTo>
                          <a:pt x="3588" y="1260"/>
                        </a:lnTo>
                        <a:lnTo>
                          <a:pt x="3598" y="1290"/>
                        </a:lnTo>
                        <a:lnTo>
                          <a:pt x="3602" y="1302"/>
                        </a:lnTo>
                        <a:lnTo>
                          <a:pt x="3604" y="1314"/>
                        </a:lnTo>
                        <a:lnTo>
                          <a:pt x="3604" y="1324"/>
                        </a:lnTo>
                        <a:lnTo>
                          <a:pt x="3600" y="1328"/>
                        </a:lnTo>
                        <a:lnTo>
                          <a:pt x="3598" y="1330"/>
                        </a:lnTo>
                        <a:lnTo>
                          <a:pt x="3598" y="1330"/>
                        </a:lnTo>
                        <a:lnTo>
                          <a:pt x="3594" y="1334"/>
                        </a:lnTo>
                        <a:lnTo>
                          <a:pt x="3592" y="1336"/>
                        </a:lnTo>
                        <a:lnTo>
                          <a:pt x="3590" y="1344"/>
                        </a:lnTo>
                        <a:lnTo>
                          <a:pt x="3592" y="1352"/>
                        </a:lnTo>
                        <a:lnTo>
                          <a:pt x="3594" y="1358"/>
                        </a:lnTo>
                        <a:lnTo>
                          <a:pt x="3596" y="1362"/>
                        </a:lnTo>
                        <a:lnTo>
                          <a:pt x="3594" y="1366"/>
                        </a:lnTo>
                        <a:lnTo>
                          <a:pt x="3590" y="1364"/>
                        </a:lnTo>
                        <a:lnTo>
                          <a:pt x="3580" y="1358"/>
                        </a:lnTo>
                        <a:lnTo>
                          <a:pt x="3580" y="1358"/>
                        </a:lnTo>
                        <a:lnTo>
                          <a:pt x="3570" y="1354"/>
                        </a:lnTo>
                        <a:lnTo>
                          <a:pt x="3568" y="1354"/>
                        </a:lnTo>
                        <a:lnTo>
                          <a:pt x="3566" y="1356"/>
                        </a:lnTo>
                        <a:lnTo>
                          <a:pt x="3562" y="1362"/>
                        </a:lnTo>
                        <a:lnTo>
                          <a:pt x="3562" y="1370"/>
                        </a:lnTo>
                        <a:lnTo>
                          <a:pt x="3562" y="1376"/>
                        </a:lnTo>
                        <a:lnTo>
                          <a:pt x="3560" y="1382"/>
                        </a:lnTo>
                        <a:lnTo>
                          <a:pt x="3558" y="1384"/>
                        </a:lnTo>
                        <a:lnTo>
                          <a:pt x="3554" y="1384"/>
                        </a:lnTo>
                        <a:lnTo>
                          <a:pt x="3546" y="1380"/>
                        </a:lnTo>
                        <a:lnTo>
                          <a:pt x="3546" y="1380"/>
                        </a:lnTo>
                        <a:lnTo>
                          <a:pt x="3536" y="1372"/>
                        </a:lnTo>
                        <a:lnTo>
                          <a:pt x="3530" y="1366"/>
                        </a:lnTo>
                        <a:lnTo>
                          <a:pt x="3522" y="1352"/>
                        </a:lnTo>
                        <a:lnTo>
                          <a:pt x="3516" y="1342"/>
                        </a:lnTo>
                        <a:lnTo>
                          <a:pt x="3508" y="1332"/>
                        </a:lnTo>
                        <a:lnTo>
                          <a:pt x="3494" y="1316"/>
                        </a:lnTo>
                        <a:lnTo>
                          <a:pt x="3474" y="1298"/>
                        </a:lnTo>
                        <a:lnTo>
                          <a:pt x="3474" y="1298"/>
                        </a:lnTo>
                        <a:lnTo>
                          <a:pt x="3464" y="1286"/>
                        </a:lnTo>
                        <a:lnTo>
                          <a:pt x="3458" y="1276"/>
                        </a:lnTo>
                        <a:lnTo>
                          <a:pt x="3456" y="1266"/>
                        </a:lnTo>
                        <a:lnTo>
                          <a:pt x="3456" y="1254"/>
                        </a:lnTo>
                        <a:lnTo>
                          <a:pt x="3456" y="1234"/>
                        </a:lnTo>
                        <a:lnTo>
                          <a:pt x="3456" y="1222"/>
                        </a:lnTo>
                        <a:lnTo>
                          <a:pt x="3454" y="1210"/>
                        </a:lnTo>
                        <a:lnTo>
                          <a:pt x="3454" y="1210"/>
                        </a:lnTo>
                        <a:lnTo>
                          <a:pt x="3450" y="1194"/>
                        </a:lnTo>
                        <a:lnTo>
                          <a:pt x="3450" y="1182"/>
                        </a:lnTo>
                        <a:lnTo>
                          <a:pt x="3454" y="1172"/>
                        </a:lnTo>
                        <a:lnTo>
                          <a:pt x="3456" y="1162"/>
                        </a:lnTo>
                        <a:lnTo>
                          <a:pt x="3458" y="1154"/>
                        </a:lnTo>
                        <a:lnTo>
                          <a:pt x="3456" y="1148"/>
                        </a:lnTo>
                        <a:lnTo>
                          <a:pt x="3452" y="1142"/>
                        </a:lnTo>
                        <a:lnTo>
                          <a:pt x="3440" y="1138"/>
                        </a:lnTo>
                        <a:lnTo>
                          <a:pt x="3440" y="1138"/>
                        </a:lnTo>
                        <a:lnTo>
                          <a:pt x="3414" y="1134"/>
                        </a:lnTo>
                        <a:lnTo>
                          <a:pt x="3394" y="1130"/>
                        </a:lnTo>
                        <a:lnTo>
                          <a:pt x="3378" y="1130"/>
                        </a:lnTo>
                        <a:lnTo>
                          <a:pt x="3368" y="1130"/>
                        </a:lnTo>
                        <a:lnTo>
                          <a:pt x="3354" y="1132"/>
                        </a:lnTo>
                        <a:lnTo>
                          <a:pt x="3346" y="1132"/>
                        </a:lnTo>
                        <a:lnTo>
                          <a:pt x="3340" y="1130"/>
                        </a:lnTo>
                        <a:lnTo>
                          <a:pt x="3340" y="1130"/>
                        </a:lnTo>
                        <a:lnTo>
                          <a:pt x="3334" y="1128"/>
                        </a:lnTo>
                        <a:lnTo>
                          <a:pt x="3330" y="1124"/>
                        </a:lnTo>
                        <a:lnTo>
                          <a:pt x="3322" y="1116"/>
                        </a:lnTo>
                        <a:lnTo>
                          <a:pt x="3316" y="1110"/>
                        </a:lnTo>
                        <a:lnTo>
                          <a:pt x="3306" y="1104"/>
                        </a:lnTo>
                        <a:lnTo>
                          <a:pt x="3290" y="1098"/>
                        </a:lnTo>
                        <a:lnTo>
                          <a:pt x="3268" y="1092"/>
                        </a:lnTo>
                        <a:lnTo>
                          <a:pt x="3268" y="1092"/>
                        </a:lnTo>
                        <a:lnTo>
                          <a:pt x="3246" y="1084"/>
                        </a:lnTo>
                        <a:lnTo>
                          <a:pt x="3236" y="1078"/>
                        </a:lnTo>
                        <a:lnTo>
                          <a:pt x="3232" y="1072"/>
                        </a:lnTo>
                        <a:lnTo>
                          <a:pt x="3230" y="1066"/>
                        </a:lnTo>
                        <a:lnTo>
                          <a:pt x="3226" y="1058"/>
                        </a:lnTo>
                        <a:lnTo>
                          <a:pt x="3216" y="1048"/>
                        </a:lnTo>
                        <a:lnTo>
                          <a:pt x="3198" y="1036"/>
                        </a:lnTo>
                        <a:lnTo>
                          <a:pt x="3166" y="1022"/>
                        </a:lnTo>
                        <a:lnTo>
                          <a:pt x="3166" y="1022"/>
                        </a:lnTo>
                        <a:lnTo>
                          <a:pt x="3146" y="1016"/>
                        </a:lnTo>
                        <a:lnTo>
                          <a:pt x="3130" y="1012"/>
                        </a:lnTo>
                        <a:lnTo>
                          <a:pt x="3114" y="1010"/>
                        </a:lnTo>
                        <a:lnTo>
                          <a:pt x="3102" y="1010"/>
                        </a:lnTo>
                        <a:lnTo>
                          <a:pt x="3090" y="1012"/>
                        </a:lnTo>
                        <a:lnTo>
                          <a:pt x="3080" y="1014"/>
                        </a:lnTo>
                        <a:lnTo>
                          <a:pt x="3064" y="1020"/>
                        </a:lnTo>
                        <a:lnTo>
                          <a:pt x="3052" y="1026"/>
                        </a:lnTo>
                        <a:lnTo>
                          <a:pt x="3046" y="1028"/>
                        </a:lnTo>
                        <a:lnTo>
                          <a:pt x="3044" y="1026"/>
                        </a:lnTo>
                        <a:lnTo>
                          <a:pt x="3042" y="1022"/>
                        </a:lnTo>
                        <a:lnTo>
                          <a:pt x="3040" y="1008"/>
                        </a:lnTo>
                        <a:lnTo>
                          <a:pt x="3040" y="1008"/>
                        </a:lnTo>
                        <a:lnTo>
                          <a:pt x="3040" y="992"/>
                        </a:lnTo>
                        <a:lnTo>
                          <a:pt x="3038" y="978"/>
                        </a:lnTo>
                        <a:lnTo>
                          <a:pt x="3032" y="962"/>
                        </a:lnTo>
                        <a:lnTo>
                          <a:pt x="3026" y="948"/>
                        </a:lnTo>
                        <a:lnTo>
                          <a:pt x="3024" y="938"/>
                        </a:lnTo>
                        <a:lnTo>
                          <a:pt x="3020" y="928"/>
                        </a:lnTo>
                        <a:lnTo>
                          <a:pt x="3020" y="928"/>
                        </a:lnTo>
                        <a:lnTo>
                          <a:pt x="3018" y="922"/>
                        </a:lnTo>
                        <a:lnTo>
                          <a:pt x="3016" y="918"/>
                        </a:lnTo>
                        <a:lnTo>
                          <a:pt x="3012" y="914"/>
                        </a:lnTo>
                        <a:lnTo>
                          <a:pt x="3008" y="914"/>
                        </a:lnTo>
                        <a:lnTo>
                          <a:pt x="2998" y="912"/>
                        </a:lnTo>
                        <a:lnTo>
                          <a:pt x="2986" y="912"/>
                        </a:lnTo>
                        <a:lnTo>
                          <a:pt x="2974" y="910"/>
                        </a:lnTo>
                        <a:lnTo>
                          <a:pt x="2968" y="908"/>
                        </a:lnTo>
                        <a:lnTo>
                          <a:pt x="2962" y="904"/>
                        </a:lnTo>
                        <a:lnTo>
                          <a:pt x="2958" y="898"/>
                        </a:lnTo>
                        <a:lnTo>
                          <a:pt x="2954" y="890"/>
                        </a:lnTo>
                        <a:lnTo>
                          <a:pt x="2950" y="882"/>
                        </a:lnTo>
                        <a:lnTo>
                          <a:pt x="2948" y="868"/>
                        </a:lnTo>
                        <a:lnTo>
                          <a:pt x="2948" y="868"/>
                        </a:lnTo>
                        <a:lnTo>
                          <a:pt x="2948" y="854"/>
                        </a:lnTo>
                        <a:lnTo>
                          <a:pt x="2948" y="840"/>
                        </a:lnTo>
                        <a:lnTo>
                          <a:pt x="2952" y="824"/>
                        </a:lnTo>
                        <a:lnTo>
                          <a:pt x="2956" y="808"/>
                        </a:lnTo>
                        <a:lnTo>
                          <a:pt x="2968" y="778"/>
                        </a:lnTo>
                        <a:lnTo>
                          <a:pt x="2982" y="750"/>
                        </a:lnTo>
                        <a:lnTo>
                          <a:pt x="2998" y="724"/>
                        </a:lnTo>
                        <a:lnTo>
                          <a:pt x="3014" y="706"/>
                        </a:lnTo>
                        <a:lnTo>
                          <a:pt x="3026" y="692"/>
                        </a:lnTo>
                        <a:lnTo>
                          <a:pt x="3030" y="690"/>
                        </a:lnTo>
                        <a:lnTo>
                          <a:pt x="3034" y="690"/>
                        </a:lnTo>
                        <a:lnTo>
                          <a:pt x="3034" y="690"/>
                        </a:lnTo>
                        <a:lnTo>
                          <a:pt x="3038" y="688"/>
                        </a:lnTo>
                        <a:lnTo>
                          <a:pt x="3042" y="684"/>
                        </a:lnTo>
                        <a:lnTo>
                          <a:pt x="3044" y="670"/>
                        </a:lnTo>
                        <a:lnTo>
                          <a:pt x="3048" y="662"/>
                        </a:lnTo>
                        <a:lnTo>
                          <a:pt x="3052" y="654"/>
                        </a:lnTo>
                        <a:lnTo>
                          <a:pt x="3060" y="648"/>
                        </a:lnTo>
                        <a:lnTo>
                          <a:pt x="3070" y="646"/>
                        </a:lnTo>
                        <a:lnTo>
                          <a:pt x="3070" y="646"/>
                        </a:lnTo>
                        <a:lnTo>
                          <a:pt x="3096" y="644"/>
                        </a:lnTo>
                        <a:lnTo>
                          <a:pt x="3106" y="640"/>
                        </a:lnTo>
                        <a:lnTo>
                          <a:pt x="3116" y="636"/>
                        </a:lnTo>
                        <a:lnTo>
                          <a:pt x="3120" y="630"/>
                        </a:lnTo>
                        <a:lnTo>
                          <a:pt x="3120" y="624"/>
                        </a:lnTo>
                        <a:lnTo>
                          <a:pt x="3116" y="614"/>
                        </a:lnTo>
                        <a:lnTo>
                          <a:pt x="3106" y="604"/>
                        </a:lnTo>
                        <a:lnTo>
                          <a:pt x="3106" y="604"/>
                        </a:lnTo>
                        <a:lnTo>
                          <a:pt x="3098" y="596"/>
                        </a:lnTo>
                        <a:lnTo>
                          <a:pt x="3098" y="594"/>
                        </a:lnTo>
                        <a:lnTo>
                          <a:pt x="3098" y="592"/>
                        </a:lnTo>
                        <a:lnTo>
                          <a:pt x="3104" y="590"/>
                        </a:lnTo>
                        <a:lnTo>
                          <a:pt x="3112" y="590"/>
                        </a:lnTo>
                        <a:lnTo>
                          <a:pt x="3124" y="590"/>
                        </a:lnTo>
                        <a:lnTo>
                          <a:pt x="3136" y="586"/>
                        </a:lnTo>
                        <a:lnTo>
                          <a:pt x="3140" y="584"/>
                        </a:lnTo>
                        <a:lnTo>
                          <a:pt x="3144" y="580"/>
                        </a:lnTo>
                        <a:lnTo>
                          <a:pt x="3148" y="576"/>
                        </a:lnTo>
                        <a:lnTo>
                          <a:pt x="3150" y="568"/>
                        </a:lnTo>
                        <a:lnTo>
                          <a:pt x="3150" y="568"/>
                        </a:lnTo>
                        <a:lnTo>
                          <a:pt x="3152" y="562"/>
                        </a:lnTo>
                        <a:lnTo>
                          <a:pt x="3154" y="558"/>
                        </a:lnTo>
                        <a:lnTo>
                          <a:pt x="3156" y="556"/>
                        </a:lnTo>
                        <a:lnTo>
                          <a:pt x="3158" y="556"/>
                        </a:lnTo>
                        <a:lnTo>
                          <a:pt x="3166" y="560"/>
                        </a:lnTo>
                        <a:lnTo>
                          <a:pt x="3176" y="566"/>
                        </a:lnTo>
                        <a:lnTo>
                          <a:pt x="3188" y="570"/>
                        </a:lnTo>
                        <a:lnTo>
                          <a:pt x="3194" y="572"/>
                        </a:lnTo>
                        <a:lnTo>
                          <a:pt x="3200" y="570"/>
                        </a:lnTo>
                        <a:lnTo>
                          <a:pt x="3206" y="568"/>
                        </a:lnTo>
                        <a:lnTo>
                          <a:pt x="3214" y="562"/>
                        </a:lnTo>
                        <a:lnTo>
                          <a:pt x="3220" y="554"/>
                        </a:lnTo>
                        <a:lnTo>
                          <a:pt x="3228" y="542"/>
                        </a:lnTo>
                        <a:lnTo>
                          <a:pt x="3228" y="542"/>
                        </a:lnTo>
                        <a:lnTo>
                          <a:pt x="3242" y="520"/>
                        </a:lnTo>
                        <a:lnTo>
                          <a:pt x="3252" y="506"/>
                        </a:lnTo>
                        <a:lnTo>
                          <a:pt x="3258" y="496"/>
                        </a:lnTo>
                        <a:lnTo>
                          <a:pt x="3260" y="492"/>
                        </a:lnTo>
                        <a:lnTo>
                          <a:pt x="3258" y="490"/>
                        </a:lnTo>
                        <a:lnTo>
                          <a:pt x="3256" y="488"/>
                        </a:lnTo>
                        <a:lnTo>
                          <a:pt x="3244" y="486"/>
                        </a:lnTo>
                        <a:lnTo>
                          <a:pt x="3228" y="484"/>
                        </a:lnTo>
                        <a:lnTo>
                          <a:pt x="3204" y="478"/>
                        </a:lnTo>
                        <a:lnTo>
                          <a:pt x="3204" y="478"/>
                        </a:lnTo>
                        <a:lnTo>
                          <a:pt x="3186" y="474"/>
                        </a:lnTo>
                        <a:lnTo>
                          <a:pt x="3176" y="470"/>
                        </a:lnTo>
                        <a:lnTo>
                          <a:pt x="3170" y="464"/>
                        </a:lnTo>
                        <a:lnTo>
                          <a:pt x="3164" y="460"/>
                        </a:lnTo>
                        <a:lnTo>
                          <a:pt x="3154" y="450"/>
                        </a:lnTo>
                        <a:lnTo>
                          <a:pt x="3144" y="444"/>
                        </a:lnTo>
                        <a:lnTo>
                          <a:pt x="3132" y="438"/>
                        </a:lnTo>
                        <a:lnTo>
                          <a:pt x="3132" y="438"/>
                        </a:lnTo>
                        <a:lnTo>
                          <a:pt x="3140" y="438"/>
                        </a:lnTo>
                        <a:lnTo>
                          <a:pt x="3148" y="438"/>
                        </a:lnTo>
                        <a:lnTo>
                          <a:pt x="3158" y="440"/>
                        </a:lnTo>
                        <a:lnTo>
                          <a:pt x="3166" y="442"/>
                        </a:lnTo>
                        <a:lnTo>
                          <a:pt x="3184" y="452"/>
                        </a:lnTo>
                        <a:lnTo>
                          <a:pt x="3202" y="462"/>
                        </a:lnTo>
                        <a:lnTo>
                          <a:pt x="3220" y="470"/>
                        </a:lnTo>
                        <a:lnTo>
                          <a:pt x="3230" y="472"/>
                        </a:lnTo>
                        <a:lnTo>
                          <a:pt x="3238" y="474"/>
                        </a:lnTo>
                        <a:lnTo>
                          <a:pt x="3246" y="474"/>
                        </a:lnTo>
                        <a:lnTo>
                          <a:pt x="3254" y="472"/>
                        </a:lnTo>
                        <a:lnTo>
                          <a:pt x="3262" y="466"/>
                        </a:lnTo>
                        <a:lnTo>
                          <a:pt x="3270" y="460"/>
                        </a:lnTo>
                        <a:lnTo>
                          <a:pt x="3270" y="460"/>
                        </a:lnTo>
                        <a:lnTo>
                          <a:pt x="3296" y="434"/>
                        </a:lnTo>
                        <a:lnTo>
                          <a:pt x="3302" y="426"/>
                        </a:lnTo>
                        <a:lnTo>
                          <a:pt x="3304" y="420"/>
                        </a:lnTo>
                        <a:lnTo>
                          <a:pt x="3304" y="416"/>
                        </a:lnTo>
                        <a:lnTo>
                          <a:pt x="3298" y="412"/>
                        </a:lnTo>
                        <a:lnTo>
                          <a:pt x="3278" y="402"/>
                        </a:lnTo>
                        <a:lnTo>
                          <a:pt x="3278" y="402"/>
                        </a:lnTo>
                        <a:lnTo>
                          <a:pt x="3270" y="394"/>
                        </a:lnTo>
                        <a:lnTo>
                          <a:pt x="3270" y="392"/>
                        </a:lnTo>
                        <a:lnTo>
                          <a:pt x="3270" y="390"/>
                        </a:lnTo>
                        <a:lnTo>
                          <a:pt x="3278" y="388"/>
                        </a:lnTo>
                        <a:lnTo>
                          <a:pt x="3288" y="388"/>
                        </a:lnTo>
                        <a:lnTo>
                          <a:pt x="3302" y="388"/>
                        </a:lnTo>
                        <a:lnTo>
                          <a:pt x="3316" y="390"/>
                        </a:lnTo>
                        <a:lnTo>
                          <a:pt x="3328" y="394"/>
                        </a:lnTo>
                        <a:lnTo>
                          <a:pt x="3336" y="400"/>
                        </a:lnTo>
                        <a:lnTo>
                          <a:pt x="3336" y="400"/>
                        </a:lnTo>
                        <a:lnTo>
                          <a:pt x="3346" y="410"/>
                        </a:lnTo>
                        <a:lnTo>
                          <a:pt x="3356" y="418"/>
                        </a:lnTo>
                        <a:lnTo>
                          <a:pt x="3366" y="426"/>
                        </a:lnTo>
                        <a:lnTo>
                          <a:pt x="3374" y="438"/>
                        </a:lnTo>
                        <a:lnTo>
                          <a:pt x="3374" y="438"/>
                        </a:lnTo>
                        <a:lnTo>
                          <a:pt x="3380" y="448"/>
                        </a:lnTo>
                        <a:lnTo>
                          <a:pt x="3388" y="452"/>
                        </a:lnTo>
                        <a:lnTo>
                          <a:pt x="3398" y="454"/>
                        </a:lnTo>
                        <a:lnTo>
                          <a:pt x="3410" y="452"/>
                        </a:lnTo>
                        <a:lnTo>
                          <a:pt x="3410" y="452"/>
                        </a:lnTo>
                        <a:lnTo>
                          <a:pt x="3412" y="450"/>
                        </a:lnTo>
                        <a:lnTo>
                          <a:pt x="3414" y="448"/>
                        </a:lnTo>
                        <a:lnTo>
                          <a:pt x="3412" y="444"/>
                        </a:lnTo>
                        <a:lnTo>
                          <a:pt x="3398" y="436"/>
                        </a:lnTo>
                        <a:lnTo>
                          <a:pt x="3392" y="432"/>
                        </a:lnTo>
                        <a:lnTo>
                          <a:pt x="3386" y="426"/>
                        </a:lnTo>
                        <a:lnTo>
                          <a:pt x="3384" y="424"/>
                        </a:lnTo>
                        <a:lnTo>
                          <a:pt x="3384" y="422"/>
                        </a:lnTo>
                        <a:lnTo>
                          <a:pt x="3386" y="418"/>
                        </a:lnTo>
                        <a:lnTo>
                          <a:pt x="3390" y="416"/>
                        </a:lnTo>
                        <a:lnTo>
                          <a:pt x="3390" y="416"/>
                        </a:lnTo>
                        <a:lnTo>
                          <a:pt x="3398" y="412"/>
                        </a:lnTo>
                        <a:lnTo>
                          <a:pt x="3404" y="406"/>
                        </a:lnTo>
                        <a:lnTo>
                          <a:pt x="3414" y="396"/>
                        </a:lnTo>
                        <a:lnTo>
                          <a:pt x="3426" y="388"/>
                        </a:lnTo>
                        <a:lnTo>
                          <a:pt x="3432" y="386"/>
                        </a:lnTo>
                        <a:lnTo>
                          <a:pt x="3438" y="386"/>
                        </a:lnTo>
                        <a:lnTo>
                          <a:pt x="3438" y="386"/>
                        </a:lnTo>
                        <a:lnTo>
                          <a:pt x="3444" y="386"/>
                        </a:lnTo>
                        <a:lnTo>
                          <a:pt x="3450" y="384"/>
                        </a:lnTo>
                        <a:lnTo>
                          <a:pt x="3456" y="380"/>
                        </a:lnTo>
                        <a:lnTo>
                          <a:pt x="3460" y="374"/>
                        </a:lnTo>
                        <a:lnTo>
                          <a:pt x="3468" y="364"/>
                        </a:lnTo>
                        <a:lnTo>
                          <a:pt x="3474" y="360"/>
                        </a:lnTo>
                        <a:lnTo>
                          <a:pt x="3478" y="360"/>
                        </a:lnTo>
                        <a:lnTo>
                          <a:pt x="3478" y="360"/>
                        </a:lnTo>
                        <a:lnTo>
                          <a:pt x="3484" y="358"/>
                        </a:lnTo>
                        <a:lnTo>
                          <a:pt x="3490" y="354"/>
                        </a:lnTo>
                        <a:lnTo>
                          <a:pt x="3492" y="348"/>
                        </a:lnTo>
                        <a:lnTo>
                          <a:pt x="3494" y="342"/>
                        </a:lnTo>
                        <a:lnTo>
                          <a:pt x="3492" y="334"/>
                        </a:lnTo>
                        <a:lnTo>
                          <a:pt x="3488" y="324"/>
                        </a:lnTo>
                        <a:lnTo>
                          <a:pt x="3482" y="316"/>
                        </a:lnTo>
                        <a:lnTo>
                          <a:pt x="3472" y="306"/>
                        </a:lnTo>
                        <a:lnTo>
                          <a:pt x="3472" y="306"/>
                        </a:lnTo>
                        <a:lnTo>
                          <a:pt x="3464" y="298"/>
                        </a:lnTo>
                        <a:lnTo>
                          <a:pt x="3460" y="292"/>
                        </a:lnTo>
                        <a:lnTo>
                          <a:pt x="3460" y="288"/>
                        </a:lnTo>
                        <a:lnTo>
                          <a:pt x="3462" y="284"/>
                        </a:lnTo>
                        <a:lnTo>
                          <a:pt x="3464" y="282"/>
                        </a:lnTo>
                        <a:lnTo>
                          <a:pt x="3466" y="278"/>
                        </a:lnTo>
                        <a:lnTo>
                          <a:pt x="3464" y="272"/>
                        </a:lnTo>
                        <a:lnTo>
                          <a:pt x="3458" y="266"/>
                        </a:lnTo>
                        <a:lnTo>
                          <a:pt x="3458" y="266"/>
                        </a:lnTo>
                        <a:lnTo>
                          <a:pt x="3452" y="260"/>
                        </a:lnTo>
                        <a:lnTo>
                          <a:pt x="3452" y="258"/>
                        </a:lnTo>
                        <a:lnTo>
                          <a:pt x="3452" y="258"/>
                        </a:lnTo>
                        <a:lnTo>
                          <a:pt x="3458" y="256"/>
                        </a:lnTo>
                        <a:lnTo>
                          <a:pt x="3466" y="256"/>
                        </a:lnTo>
                        <a:lnTo>
                          <a:pt x="3476" y="256"/>
                        </a:lnTo>
                        <a:lnTo>
                          <a:pt x="3484" y="254"/>
                        </a:lnTo>
                        <a:lnTo>
                          <a:pt x="3492" y="250"/>
                        </a:lnTo>
                        <a:lnTo>
                          <a:pt x="3494" y="248"/>
                        </a:lnTo>
                        <a:lnTo>
                          <a:pt x="3496" y="242"/>
                        </a:lnTo>
                        <a:lnTo>
                          <a:pt x="3496" y="242"/>
                        </a:lnTo>
                        <a:lnTo>
                          <a:pt x="3498" y="234"/>
                        </a:lnTo>
                        <a:lnTo>
                          <a:pt x="3496" y="230"/>
                        </a:lnTo>
                        <a:lnTo>
                          <a:pt x="3492" y="228"/>
                        </a:lnTo>
                        <a:lnTo>
                          <a:pt x="3488" y="226"/>
                        </a:lnTo>
                        <a:lnTo>
                          <a:pt x="3486" y="224"/>
                        </a:lnTo>
                        <a:lnTo>
                          <a:pt x="3484" y="222"/>
                        </a:lnTo>
                        <a:lnTo>
                          <a:pt x="3484" y="220"/>
                        </a:lnTo>
                        <a:lnTo>
                          <a:pt x="3490" y="214"/>
                        </a:lnTo>
                        <a:lnTo>
                          <a:pt x="3490" y="214"/>
                        </a:lnTo>
                        <a:lnTo>
                          <a:pt x="3492" y="206"/>
                        </a:lnTo>
                        <a:lnTo>
                          <a:pt x="3492" y="204"/>
                        </a:lnTo>
                        <a:lnTo>
                          <a:pt x="3486" y="202"/>
                        </a:lnTo>
                        <a:lnTo>
                          <a:pt x="3480" y="200"/>
                        </a:lnTo>
                        <a:lnTo>
                          <a:pt x="3472" y="198"/>
                        </a:lnTo>
                        <a:lnTo>
                          <a:pt x="3464" y="196"/>
                        </a:lnTo>
                        <a:lnTo>
                          <a:pt x="3458" y="192"/>
                        </a:lnTo>
                        <a:lnTo>
                          <a:pt x="3454" y="182"/>
                        </a:lnTo>
                        <a:lnTo>
                          <a:pt x="3454" y="182"/>
                        </a:lnTo>
                        <a:lnTo>
                          <a:pt x="3452" y="174"/>
                        </a:lnTo>
                        <a:lnTo>
                          <a:pt x="3446" y="170"/>
                        </a:lnTo>
                        <a:lnTo>
                          <a:pt x="3438" y="168"/>
                        </a:lnTo>
                        <a:lnTo>
                          <a:pt x="3428" y="168"/>
                        </a:lnTo>
                        <a:lnTo>
                          <a:pt x="3404" y="166"/>
                        </a:lnTo>
                        <a:lnTo>
                          <a:pt x="3392" y="164"/>
                        </a:lnTo>
                        <a:lnTo>
                          <a:pt x="3378" y="160"/>
                        </a:lnTo>
                        <a:lnTo>
                          <a:pt x="3378" y="160"/>
                        </a:lnTo>
                        <a:lnTo>
                          <a:pt x="3360" y="152"/>
                        </a:lnTo>
                        <a:lnTo>
                          <a:pt x="3356" y="152"/>
                        </a:lnTo>
                        <a:lnTo>
                          <a:pt x="3354" y="152"/>
                        </a:lnTo>
                        <a:lnTo>
                          <a:pt x="3348" y="156"/>
                        </a:lnTo>
                        <a:lnTo>
                          <a:pt x="3344" y="158"/>
                        </a:lnTo>
                        <a:lnTo>
                          <a:pt x="3334" y="158"/>
                        </a:lnTo>
                        <a:lnTo>
                          <a:pt x="3334" y="158"/>
                        </a:lnTo>
                        <a:lnTo>
                          <a:pt x="3326" y="160"/>
                        </a:lnTo>
                        <a:lnTo>
                          <a:pt x="3320" y="164"/>
                        </a:lnTo>
                        <a:lnTo>
                          <a:pt x="3318" y="172"/>
                        </a:lnTo>
                        <a:lnTo>
                          <a:pt x="3318" y="180"/>
                        </a:lnTo>
                        <a:lnTo>
                          <a:pt x="3322" y="190"/>
                        </a:lnTo>
                        <a:lnTo>
                          <a:pt x="3326" y="198"/>
                        </a:lnTo>
                        <a:lnTo>
                          <a:pt x="3330" y="206"/>
                        </a:lnTo>
                        <a:lnTo>
                          <a:pt x="3338" y="210"/>
                        </a:lnTo>
                        <a:lnTo>
                          <a:pt x="3338" y="210"/>
                        </a:lnTo>
                        <a:lnTo>
                          <a:pt x="3342" y="212"/>
                        </a:lnTo>
                        <a:lnTo>
                          <a:pt x="3346" y="216"/>
                        </a:lnTo>
                        <a:lnTo>
                          <a:pt x="3346" y="222"/>
                        </a:lnTo>
                        <a:lnTo>
                          <a:pt x="3344" y="226"/>
                        </a:lnTo>
                        <a:lnTo>
                          <a:pt x="3342" y="230"/>
                        </a:lnTo>
                        <a:lnTo>
                          <a:pt x="3338" y="232"/>
                        </a:lnTo>
                        <a:lnTo>
                          <a:pt x="3332" y="234"/>
                        </a:lnTo>
                        <a:lnTo>
                          <a:pt x="3326" y="234"/>
                        </a:lnTo>
                        <a:lnTo>
                          <a:pt x="3326" y="234"/>
                        </a:lnTo>
                        <a:lnTo>
                          <a:pt x="3322" y="236"/>
                        </a:lnTo>
                        <a:lnTo>
                          <a:pt x="3320" y="240"/>
                        </a:lnTo>
                        <a:lnTo>
                          <a:pt x="3318" y="256"/>
                        </a:lnTo>
                        <a:lnTo>
                          <a:pt x="3318" y="266"/>
                        </a:lnTo>
                        <a:lnTo>
                          <a:pt x="3316" y="278"/>
                        </a:lnTo>
                        <a:lnTo>
                          <a:pt x="3310" y="288"/>
                        </a:lnTo>
                        <a:lnTo>
                          <a:pt x="3300" y="296"/>
                        </a:lnTo>
                        <a:lnTo>
                          <a:pt x="3300" y="296"/>
                        </a:lnTo>
                        <a:lnTo>
                          <a:pt x="3292" y="302"/>
                        </a:lnTo>
                        <a:lnTo>
                          <a:pt x="3286" y="310"/>
                        </a:lnTo>
                        <a:lnTo>
                          <a:pt x="3284" y="316"/>
                        </a:lnTo>
                        <a:lnTo>
                          <a:pt x="3282" y="322"/>
                        </a:lnTo>
                        <a:lnTo>
                          <a:pt x="3280" y="328"/>
                        </a:lnTo>
                        <a:lnTo>
                          <a:pt x="3278" y="332"/>
                        </a:lnTo>
                        <a:lnTo>
                          <a:pt x="3274" y="338"/>
                        </a:lnTo>
                        <a:lnTo>
                          <a:pt x="3264" y="342"/>
                        </a:lnTo>
                        <a:lnTo>
                          <a:pt x="3264" y="342"/>
                        </a:lnTo>
                        <a:lnTo>
                          <a:pt x="3250" y="344"/>
                        </a:lnTo>
                        <a:lnTo>
                          <a:pt x="3246" y="344"/>
                        </a:lnTo>
                        <a:lnTo>
                          <a:pt x="3244" y="340"/>
                        </a:lnTo>
                        <a:lnTo>
                          <a:pt x="3238" y="330"/>
                        </a:lnTo>
                        <a:lnTo>
                          <a:pt x="3232" y="322"/>
                        </a:lnTo>
                        <a:lnTo>
                          <a:pt x="3222" y="312"/>
                        </a:lnTo>
                        <a:lnTo>
                          <a:pt x="3222" y="312"/>
                        </a:lnTo>
                        <a:lnTo>
                          <a:pt x="3214" y="304"/>
                        </a:lnTo>
                        <a:lnTo>
                          <a:pt x="3210" y="298"/>
                        </a:lnTo>
                        <a:lnTo>
                          <a:pt x="3212" y="292"/>
                        </a:lnTo>
                        <a:lnTo>
                          <a:pt x="3216" y="288"/>
                        </a:lnTo>
                        <a:lnTo>
                          <a:pt x="3226" y="280"/>
                        </a:lnTo>
                        <a:lnTo>
                          <a:pt x="3232" y="276"/>
                        </a:lnTo>
                        <a:lnTo>
                          <a:pt x="3234" y="270"/>
                        </a:lnTo>
                        <a:lnTo>
                          <a:pt x="3234" y="270"/>
                        </a:lnTo>
                        <a:lnTo>
                          <a:pt x="3232" y="260"/>
                        </a:lnTo>
                        <a:lnTo>
                          <a:pt x="3228" y="248"/>
                        </a:lnTo>
                        <a:lnTo>
                          <a:pt x="3220" y="234"/>
                        </a:lnTo>
                        <a:lnTo>
                          <a:pt x="3212" y="220"/>
                        </a:lnTo>
                        <a:lnTo>
                          <a:pt x="3200" y="210"/>
                        </a:lnTo>
                        <a:lnTo>
                          <a:pt x="3190" y="202"/>
                        </a:lnTo>
                        <a:lnTo>
                          <a:pt x="3184" y="200"/>
                        </a:lnTo>
                        <a:lnTo>
                          <a:pt x="3178" y="200"/>
                        </a:lnTo>
                        <a:lnTo>
                          <a:pt x="3172" y="202"/>
                        </a:lnTo>
                        <a:lnTo>
                          <a:pt x="3168" y="206"/>
                        </a:lnTo>
                        <a:lnTo>
                          <a:pt x="3168" y="206"/>
                        </a:lnTo>
                        <a:lnTo>
                          <a:pt x="3158" y="216"/>
                        </a:lnTo>
                        <a:lnTo>
                          <a:pt x="3154" y="230"/>
                        </a:lnTo>
                        <a:lnTo>
                          <a:pt x="3148" y="254"/>
                        </a:lnTo>
                        <a:lnTo>
                          <a:pt x="3146" y="262"/>
                        </a:lnTo>
                        <a:lnTo>
                          <a:pt x="3142" y="268"/>
                        </a:lnTo>
                        <a:lnTo>
                          <a:pt x="3140" y="268"/>
                        </a:lnTo>
                        <a:lnTo>
                          <a:pt x="3138" y="268"/>
                        </a:lnTo>
                        <a:lnTo>
                          <a:pt x="3130" y="260"/>
                        </a:lnTo>
                        <a:lnTo>
                          <a:pt x="3130" y="260"/>
                        </a:lnTo>
                        <a:lnTo>
                          <a:pt x="3124" y="252"/>
                        </a:lnTo>
                        <a:lnTo>
                          <a:pt x="3122" y="246"/>
                        </a:lnTo>
                        <a:lnTo>
                          <a:pt x="3122" y="242"/>
                        </a:lnTo>
                        <a:lnTo>
                          <a:pt x="3124" y="238"/>
                        </a:lnTo>
                        <a:lnTo>
                          <a:pt x="3126" y="236"/>
                        </a:lnTo>
                        <a:lnTo>
                          <a:pt x="3128" y="232"/>
                        </a:lnTo>
                        <a:lnTo>
                          <a:pt x="3124" y="226"/>
                        </a:lnTo>
                        <a:lnTo>
                          <a:pt x="3118" y="216"/>
                        </a:lnTo>
                        <a:lnTo>
                          <a:pt x="3118" y="216"/>
                        </a:lnTo>
                        <a:lnTo>
                          <a:pt x="3112" y="208"/>
                        </a:lnTo>
                        <a:lnTo>
                          <a:pt x="3110" y="204"/>
                        </a:lnTo>
                        <a:lnTo>
                          <a:pt x="3110" y="202"/>
                        </a:lnTo>
                        <a:lnTo>
                          <a:pt x="3114" y="198"/>
                        </a:lnTo>
                        <a:lnTo>
                          <a:pt x="3120" y="194"/>
                        </a:lnTo>
                        <a:lnTo>
                          <a:pt x="3126" y="192"/>
                        </a:lnTo>
                        <a:lnTo>
                          <a:pt x="3128" y="190"/>
                        </a:lnTo>
                        <a:lnTo>
                          <a:pt x="3126" y="186"/>
                        </a:lnTo>
                        <a:lnTo>
                          <a:pt x="3116" y="180"/>
                        </a:lnTo>
                        <a:lnTo>
                          <a:pt x="3116" y="180"/>
                        </a:lnTo>
                        <a:lnTo>
                          <a:pt x="3104" y="174"/>
                        </a:lnTo>
                        <a:lnTo>
                          <a:pt x="3094" y="172"/>
                        </a:lnTo>
                        <a:lnTo>
                          <a:pt x="3088" y="172"/>
                        </a:lnTo>
                        <a:lnTo>
                          <a:pt x="3082" y="174"/>
                        </a:lnTo>
                        <a:lnTo>
                          <a:pt x="3076" y="176"/>
                        </a:lnTo>
                        <a:lnTo>
                          <a:pt x="3070" y="178"/>
                        </a:lnTo>
                        <a:lnTo>
                          <a:pt x="3064" y="176"/>
                        </a:lnTo>
                        <a:lnTo>
                          <a:pt x="3054" y="172"/>
                        </a:lnTo>
                        <a:lnTo>
                          <a:pt x="3054" y="172"/>
                        </a:lnTo>
                        <a:lnTo>
                          <a:pt x="3050" y="170"/>
                        </a:lnTo>
                        <a:lnTo>
                          <a:pt x="3048" y="168"/>
                        </a:lnTo>
                        <a:lnTo>
                          <a:pt x="3048" y="164"/>
                        </a:lnTo>
                        <a:lnTo>
                          <a:pt x="3048" y="162"/>
                        </a:lnTo>
                        <a:lnTo>
                          <a:pt x="3054" y="154"/>
                        </a:lnTo>
                        <a:lnTo>
                          <a:pt x="3062" y="148"/>
                        </a:lnTo>
                        <a:lnTo>
                          <a:pt x="3076" y="134"/>
                        </a:lnTo>
                        <a:lnTo>
                          <a:pt x="3080" y="130"/>
                        </a:lnTo>
                        <a:lnTo>
                          <a:pt x="3080" y="126"/>
                        </a:lnTo>
                        <a:lnTo>
                          <a:pt x="3078" y="124"/>
                        </a:lnTo>
                        <a:lnTo>
                          <a:pt x="3078" y="124"/>
                        </a:lnTo>
                        <a:lnTo>
                          <a:pt x="3064" y="114"/>
                        </a:lnTo>
                        <a:lnTo>
                          <a:pt x="3046" y="102"/>
                        </a:lnTo>
                        <a:lnTo>
                          <a:pt x="3038" y="94"/>
                        </a:lnTo>
                        <a:lnTo>
                          <a:pt x="3032" y="86"/>
                        </a:lnTo>
                        <a:lnTo>
                          <a:pt x="3028" y="78"/>
                        </a:lnTo>
                        <a:lnTo>
                          <a:pt x="3026" y="66"/>
                        </a:lnTo>
                        <a:lnTo>
                          <a:pt x="3026" y="66"/>
                        </a:lnTo>
                        <a:lnTo>
                          <a:pt x="3026" y="62"/>
                        </a:lnTo>
                        <a:lnTo>
                          <a:pt x="3026" y="56"/>
                        </a:lnTo>
                        <a:lnTo>
                          <a:pt x="3020" y="44"/>
                        </a:lnTo>
                        <a:lnTo>
                          <a:pt x="3010" y="34"/>
                        </a:lnTo>
                        <a:lnTo>
                          <a:pt x="2998" y="24"/>
                        </a:lnTo>
                        <a:lnTo>
                          <a:pt x="2986" y="14"/>
                        </a:lnTo>
                        <a:lnTo>
                          <a:pt x="2972" y="8"/>
                        </a:lnTo>
                        <a:lnTo>
                          <a:pt x="2960" y="2"/>
                        </a:lnTo>
                        <a:lnTo>
                          <a:pt x="2948" y="0"/>
                        </a:lnTo>
                        <a:lnTo>
                          <a:pt x="2948" y="0"/>
                        </a:lnTo>
                        <a:lnTo>
                          <a:pt x="2940" y="0"/>
                        </a:lnTo>
                        <a:lnTo>
                          <a:pt x="2936" y="2"/>
                        </a:lnTo>
                        <a:lnTo>
                          <a:pt x="2934" y="4"/>
                        </a:lnTo>
                        <a:lnTo>
                          <a:pt x="2932" y="8"/>
                        </a:lnTo>
                        <a:lnTo>
                          <a:pt x="2932" y="12"/>
                        </a:lnTo>
                        <a:lnTo>
                          <a:pt x="2928" y="16"/>
                        </a:lnTo>
                        <a:lnTo>
                          <a:pt x="2924" y="20"/>
                        </a:lnTo>
                        <a:lnTo>
                          <a:pt x="2916" y="22"/>
                        </a:lnTo>
                        <a:lnTo>
                          <a:pt x="2916" y="22"/>
                        </a:lnTo>
                        <a:lnTo>
                          <a:pt x="2908" y="26"/>
                        </a:lnTo>
                        <a:lnTo>
                          <a:pt x="2904" y="28"/>
                        </a:lnTo>
                        <a:lnTo>
                          <a:pt x="2902" y="30"/>
                        </a:lnTo>
                        <a:lnTo>
                          <a:pt x="2902" y="34"/>
                        </a:lnTo>
                        <a:lnTo>
                          <a:pt x="2902" y="38"/>
                        </a:lnTo>
                        <a:lnTo>
                          <a:pt x="2900" y="42"/>
                        </a:lnTo>
                        <a:lnTo>
                          <a:pt x="2894" y="46"/>
                        </a:lnTo>
                        <a:lnTo>
                          <a:pt x="2886" y="50"/>
                        </a:lnTo>
                        <a:lnTo>
                          <a:pt x="2886" y="50"/>
                        </a:lnTo>
                        <a:lnTo>
                          <a:pt x="2878" y="56"/>
                        </a:lnTo>
                        <a:lnTo>
                          <a:pt x="2876" y="62"/>
                        </a:lnTo>
                        <a:lnTo>
                          <a:pt x="2876" y="70"/>
                        </a:lnTo>
                        <a:lnTo>
                          <a:pt x="2878" y="80"/>
                        </a:lnTo>
                        <a:lnTo>
                          <a:pt x="2886" y="98"/>
                        </a:lnTo>
                        <a:lnTo>
                          <a:pt x="2888" y="106"/>
                        </a:lnTo>
                        <a:lnTo>
                          <a:pt x="2886" y="114"/>
                        </a:lnTo>
                        <a:lnTo>
                          <a:pt x="2886" y="114"/>
                        </a:lnTo>
                        <a:lnTo>
                          <a:pt x="2884" y="128"/>
                        </a:lnTo>
                        <a:lnTo>
                          <a:pt x="2884" y="136"/>
                        </a:lnTo>
                        <a:lnTo>
                          <a:pt x="2886" y="142"/>
                        </a:lnTo>
                        <a:lnTo>
                          <a:pt x="2890" y="150"/>
                        </a:lnTo>
                        <a:lnTo>
                          <a:pt x="2898" y="156"/>
                        </a:lnTo>
                        <a:lnTo>
                          <a:pt x="2910" y="162"/>
                        </a:lnTo>
                        <a:lnTo>
                          <a:pt x="2924" y="168"/>
                        </a:lnTo>
                        <a:lnTo>
                          <a:pt x="2924" y="168"/>
                        </a:lnTo>
                        <a:lnTo>
                          <a:pt x="2940" y="172"/>
                        </a:lnTo>
                        <a:lnTo>
                          <a:pt x="2954" y="180"/>
                        </a:lnTo>
                        <a:lnTo>
                          <a:pt x="2964" y="186"/>
                        </a:lnTo>
                        <a:lnTo>
                          <a:pt x="2970" y="194"/>
                        </a:lnTo>
                        <a:lnTo>
                          <a:pt x="2974" y="202"/>
                        </a:lnTo>
                        <a:lnTo>
                          <a:pt x="2974" y="208"/>
                        </a:lnTo>
                        <a:lnTo>
                          <a:pt x="2972" y="214"/>
                        </a:lnTo>
                        <a:lnTo>
                          <a:pt x="2966" y="218"/>
                        </a:lnTo>
                        <a:lnTo>
                          <a:pt x="2966" y="218"/>
                        </a:lnTo>
                        <a:lnTo>
                          <a:pt x="2958" y="222"/>
                        </a:lnTo>
                        <a:lnTo>
                          <a:pt x="2954" y="226"/>
                        </a:lnTo>
                        <a:lnTo>
                          <a:pt x="2954" y="232"/>
                        </a:lnTo>
                        <a:lnTo>
                          <a:pt x="2956" y="234"/>
                        </a:lnTo>
                        <a:lnTo>
                          <a:pt x="2960" y="238"/>
                        </a:lnTo>
                        <a:lnTo>
                          <a:pt x="2966" y="238"/>
                        </a:lnTo>
                        <a:lnTo>
                          <a:pt x="2972" y="236"/>
                        </a:lnTo>
                        <a:lnTo>
                          <a:pt x="2980" y="234"/>
                        </a:lnTo>
                        <a:lnTo>
                          <a:pt x="2980" y="234"/>
                        </a:lnTo>
                        <a:lnTo>
                          <a:pt x="2986" y="230"/>
                        </a:lnTo>
                        <a:lnTo>
                          <a:pt x="2992" y="230"/>
                        </a:lnTo>
                        <a:lnTo>
                          <a:pt x="2996" y="232"/>
                        </a:lnTo>
                        <a:lnTo>
                          <a:pt x="2996" y="238"/>
                        </a:lnTo>
                        <a:lnTo>
                          <a:pt x="2994" y="246"/>
                        </a:lnTo>
                        <a:lnTo>
                          <a:pt x="2988" y="254"/>
                        </a:lnTo>
                        <a:lnTo>
                          <a:pt x="2980" y="262"/>
                        </a:lnTo>
                        <a:lnTo>
                          <a:pt x="2968" y="272"/>
                        </a:lnTo>
                        <a:lnTo>
                          <a:pt x="2968" y="272"/>
                        </a:lnTo>
                        <a:lnTo>
                          <a:pt x="2956" y="280"/>
                        </a:lnTo>
                        <a:lnTo>
                          <a:pt x="2946" y="282"/>
                        </a:lnTo>
                        <a:lnTo>
                          <a:pt x="2940" y="284"/>
                        </a:lnTo>
                        <a:lnTo>
                          <a:pt x="2934" y="282"/>
                        </a:lnTo>
                        <a:lnTo>
                          <a:pt x="2930" y="280"/>
                        </a:lnTo>
                        <a:lnTo>
                          <a:pt x="2928" y="282"/>
                        </a:lnTo>
                        <a:lnTo>
                          <a:pt x="2926" y="284"/>
                        </a:lnTo>
                        <a:lnTo>
                          <a:pt x="2922" y="290"/>
                        </a:lnTo>
                        <a:lnTo>
                          <a:pt x="2922" y="290"/>
                        </a:lnTo>
                        <a:lnTo>
                          <a:pt x="2920" y="300"/>
                        </a:lnTo>
                        <a:lnTo>
                          <a:pt x="2924" y="312"/>
                        </a:lnTo>
                        <a:lnTo>
                          <a:pt x="2930" y="334"/>
                        </a:lnTo>
                        <a:lnTo>
                          <a:pt x="2934" y="342"/>
                        </a:lnTo>
                        <a:lnTo>
                          <a:pt x="2934" y="348"/>
                        </a:lnTo>
                        <a:lnTo>
                          <a:pt x="2934" y="350"/>
                        </a:lnTo>
                        <a:lnTo>
                          <a:pt x="2930" y="348"/>
                        </a:lnTo>
                        <a:lnTo>
                          <a:pt x="2922" y="344"/>
                        </a:lnTo>
                        <a:lnTo>
                          <a:pt x="2922" y="344"/>
                        </a:lnTo>
                        <a:lnTo>
                          <a:pt x="2902" y="330"/>
                        </a:lnTo>
                        <a:lnTo>
                          <a:pt x="2896" y="326"/>
                        </a:lnTo>
                        <a:lnTo>
                          <a:pt x="2892" y="320"/>
                        </a:lnTo>
                        <a:lnTo>
                          <a:pt x="2892" y="316"/>
                        </a:lnTo>
                        <a:lnTo>
                          <a:pt x="2892" y="312"/>
                        </a:lnTo>
                        <a:lnTo>
                          <a:pt x="2896" y="298"/>
                        </a:lnTo>
                        <a:lnTo>
                          <a:pt x="2896" y="298"/>
                        </a:lnTo>
                        <a:lnTo>
                          <a:pt x="2900" y="286"/>
                        </a:lnTo>
                        <a:lnTo>
                          <a:pt x="2902" y="280"/>
                        </a:lnTo>
                        <a:lnTo>
                          <a:pt x="2900" y="276"/>
                        </a:lnTo>
                        <a:lnTo>
                          <a:pt x="2898" y="272"/>
                        </a:lnTo>
                        <a:lnTo>
                          <a:pt x="2892" y="270"/>
                        </a:lnTo>
                        <a:lnTo>
                          <a:pt x="2886" y="270"/>
                        </a:lnTo>
                        <a:lnTo>
                          <a:pt x="2876" y="270"/>
                        </a:lnTo>
                        <a:lnTo>
                          <a:pt x="2876" y="270"/>
                        </a:lnTo>
                        <a:lnTo>
                          <a:pt x="2866" y="270"/>
                        </a:lnTo>
                        <a:lnTo>
                          <a:pt x="2858" y="268"/>
                        </a:lnTo>
                        <a:lnTo>
                          <a:pt x="2844" y="260"/>
                        </a:lnTo>
                        <a:lnTo>
                          <a:pt x="2838" y="256"/>
                        </a:lnTo>
                        <a:lnTo>
                          <a:pt x="2830" y="254"/>
                        </a:lnTo>
                        <a:lnTo>
                          <a:pt x="2820" y="254"/>
                        </a:lnTo>
                        <a:lnTo>
                          <a:pt x="2810" y="258"/>
                        </a:lnTo>
                        <a:lnTo>
                          <a:pt x="2810" y="258"/>
                        </a:lnTo>
                        <a:lnTo>
                          <a:pt x="2800" y="264"/>
                        </a:lnTo>
                        <a:lnTo>
                          <a:pt x="2796" y="272"/>
                        </a:lnTo>
                        <a:lnTo>
                          <a:pt x="2796" y="278"/>
                        </a:lnTo>
                        <a:lnTo>
                          <a:pt x="2796" y="286"/>
                        </a:lnTo>
                        <a:lnTo>
                          <a:pt x="2798" y="292"/>
                        </a:lnTo>
                        <a:lnTo>
                          <a:pt x="2798" y="298"/>
                        </a:lnTo>
                        <a:lnTo>
                          <a:pt x="2794" y="304"/>
                        </a:lnTo>
                        <a:lnTo>
                          <a:pt x="2786" y="308"/>
                        </a:lnTo>
                        <a:lnTo>
                          <a:pt x="2786" y="308"/>
                        </a:lnTo>
                        <a:lnTo>
                          <a:pt x="2778" y="310"/>
                        </a:lnTo>
                        <a:lnTo>
                          <a:pt x="2772" y="308"/>
                        </a:lnTo>
                        <a:lnTo>
                          <a:pt x="2760" y="302"/>
                        </a:lnTo>
                        <a:lnTo>
                          <a:pt x="2752" y="300"/>
                        </a:lnTo>
                        <a:lnTo>
                          <a:pt x="2742" y="298"/>
                        </a:lnTo>
                        <a:lnTo>
                          <a:pt x="2726" y="298"/>
                        </a:lnTo>
                        <a:lnTo>
                          <a:pt x="2708" y="302"/>
                        </a:lnTo>
                        <a:lnTo>
                          <a:pt x="2708" y="302"/>
                        </a:lnTo>
                        <a:lnTo>
                          <a:pt x="2680" y="306"/>
                        </a:lnTo>
                        <a:lnTo>
                          <a:pt x="2658" y="306"/>
                        </a:lnTo>
                        <a:lnTo>
                          <a:pt x="2640" y="302"/>
                        </a:lnTo>
                        <a:lnTo>
                          <a:pt x="2626" y="298"/>
                        </a:lnTo>
                        <a:lnTo>
                          <a:pt x="2606" y="286"/>
                        </a:lnTo>
                        <a:lnTo>
                          <a:pt x="2598" y="284"/>
                        </a:lnTo>
                        <a:lnTo>
                          <a:pt x="2590" y="286"/>
                        </a:lnTo>
                        <a:lnTo>
                          <a:pt x="2590" y="286"/>
                        </a:lnTo>
                        <a:lnTo>
                          <a:pt x="2580" y="288"/>
                        </a:lnTo>
                        <a:lnTo>
                          <a:pt x="2572" y="288"/>
                        </a:lnTo>
                        <a:lnTo>
                          <a:pt x="2564" y="286"/>
                        </a:lnTo>
                        <a:lnTo>
                          <a:pt x="2556" y="282"/>
                        </a:lnTo>
                        <a:lnTo>
                          <a:pt x="2544" y="272"/>
                        </a:lnTo>
                        <a:lnTo>
                          <a:pt x="2532" y="260"/>
                        </a:lnTo>
                        <a:lnTo>
                          <a:pt x="2520" y="246"/>
                        </a:lnTo>
                        <a:lnTo>
                          <a:pt x="2510" y="234"/>
                        </a:lnTo>
                        <a:lnTo>
                          <a:pt x="2504" y="230"/>
                        </a:lnTo>
                        <a:lnTo>
                          <a:pt x="2498" y="226"/>
                        </a:lnTo>
                        <a:lnTo>
                          <a:pt x="2492" y="224"/>
                        </a:lnTo>
                        <a:lnTo>
                          <a:pt x="2486" y="224"/>
                        </a:lnTo>
                        <a:lnTo>
                          <a:pt x="2486" y="224"/>
                        </a:lnTo>
                        <a:lnTo>
                          <a:pt x="2456" y="230"/>
                        </a:lnTo>
                        <a:lnTo>
                          <a:pt x="2438" y="234"/>
                        </a:lnTo>
                        <a:lnTo>
                          <a:pt x="2422" y="240"/>
                        </a:lnTo>
                        <a:lnTo>
                          <a:pt x="2408" y="246"/>
                        </a:lnTo>
                        <a:lnTo>
                          <a:pt x="2398" y="252"/>
                        </a:lnTo>
                        <a:lnTo>
                          <a:pt x="2394" y="256"/>
                        </a:lnTo>
                        <a:lnTo>
                          <a:pt x="2392" y="262"/>
                        </a:lnTo>
                        <a:lnTo>
                          <a:pt x="2392" y="266"/>
                        </a:lnTo>
                        <a:lnTo>
                          <a:pt x="2394" y="270"/>
                        </a:lnTo>
                        <a:lnTo>
                          <a:pt x="2394" y="270"/>
                        </a:lnTo>
                        <a:lnTo>
                          <a:pt x="2398" y="274"/>
                        </a:lnTo>
                        <a:lnTo>
                          <a:pt x="2400" y="278"/>
                        </a:lnTo>
                        <a:lnTo>
                          <a:pt x="2406" y="280"/>
                        </a:lnTo>
                        <a:lnTo>
                          <a:pt x="2410" y="280"/>
                        </a:lnTo>
                        <a:lnTo>
                          <a:pt x="2420" y="278"/>
                        </a:lnTo>
                        <a:lnTo>
                          <a:pt x="2432" y="274"/>
                        </a:lnTo>
                        <a:lnTo>
                          <a:pt x="2456" y="264"/>
                        </a:lnTo>
                        <a:lnTo>
                          <a:pt x="2464" y="262"/>
                        </a:lnTo>
                        <a:lnTo>
                          <a:pt x="2468" y="262"/>
                        </a:lnTo>
                        <a:lnTo>
                          <a:pt x="2472" y="264"/>
                        </a:lnTo>
                        <a:lnTo>
                          <a:pt x="2472" y="264"/>
                        </a:lnTo>
                        <a:lnTo>
                          <a:pt x="2474" y="266"/>
                        </a:lnTo>
                        <a:lnTo>
                          <a:pt x="2476" y="268"/>
                        </a:lnTo>
                        <a:lnTo>
                          <a:pt x="2472" y="272"/>
                        </a:lnTo>
                        <a:lnTo>
                          <a:pt x="2456" y="278"/>
                        </a:lnTo>
                        <a:lnTo>
                          <a:pt x="2436" y="286"/>
                        </a:lnTo>
                        <a:lnTo>
                          <a:pt x="2428" y="292"/>
                        </a:lnTo>
                        <a:lnTo>
                          <a:pt x="2422" y="298"/>
                        </a:lnTo>
                        <a:lnTo>
                          <a:pt x="2422" y="298"/>
                        </a:lnTo>
                        <a:lnTo>
                          <a:pt x="2422" y="304"/>
                        </a:lnTo>
                        <a:lnTo>
                          <a:pt x="2424" y="308"/>
                        </a:lnTo>
                        <a:lnTo>
                          <a:pt x="2428" y="320"/>
                        </a:lnTo>
                        <a:lnTo>
                          <a:pt x="2440" y="342"/>
                        </a:lnTo>
                        <a:lnTo>
                          <a:pt x="2444" y="350"/>
                        </a:lnTo>
                        <a:lnTo>
                          <a:pt x="2444" y="352"/>
                        </a:lnTo>
                        <a:lnTo>
                          <a:pt x="2444" y="354"/>
                        </a:lnTo>
                        <a:lnTo>
                          <a:pt x="2436" y="350"/>
                        </a:lnTo>
                        <a:lnTo>
                          <a:pt x="2418" y="340"/>
                        </a:lnTo>
                        <a:lnTo>
                          <a:pt x="2418" y="340"/>
                        </a:lnTo>
                        <a:lnTo>
                          <a:pt x="2398" y="326"/>
                        </a:lnTo>
                        <a:lnTo>
                          <a:pt x="2382" y="318"/>
                        </a:lnTo>
                        <a:lnTo>
                          <a:pt x="2364" y="310"/>
                        </a:lnTo>
                        <a:lnTo>
                          <a:pt x="2354" y="306"/>
                        </a:lnTo>
                        <a:lnTo>
                          <a:pt x="2348" y="302"/>
                        </a:lnTo>
                        <a:lnTo>
                          <a:pt x="2340" y="294"/>
                        </a:lnTo>
                        <a:lnTo>
                          <a:pt x="2340" y="294"/>
                        </a:lnTo>
                        <a:lnTo>
                          <a:pt x="2334" y="288"/>
                        </a:lnTo>
                        <a:lnTo>
                          <a:pt x="2330" y="286"/>
                        </a:lnTo>
                        <a:lnTo>
                          <a:pt x="2326" y="288"/>
                        </a:lnTo>
                        <a:lnTo>
                          <a:pt x="2320" y="290"/>
                        </a:lnTo>
                        <a:lnTo>
                          <a:pt x="2314" y="296"/>
                        </a:lnTo>
                        <a:lnTo>
                          <a:pt x="2304" y="300"/>
                        </a:lnTo>
                        <a:lnTo>
                          <a:pt x="2286" y="304"/>
                        </a:lnTo>
                        <a:lnTo>
                          <a:pt x="2262" y="308"/>
                        </a:lnTo>
                        <a:lnTo>
                          <a:pt x="2262" y="308"/>
                        </a:lnTo>
                        <a:lnTo>
                          <a:pt x="2206" y="308"/>
                        </a:lnTo>
                        <a:lnTo>
                          <a:pt x="2180" y="308"/>
                        </a:lnTo>
                        <a:lnTo>
                          <a:pt x="2156" y="306"/>
                        </a:lnTo>
                        <a:lnTo>
                          <a:pt x="2140" y="302"/>
                        </a:lnTo>
                        <a:lnTo>
                          <a:pt x="2128" y="298"/>
                        </a:lnTo>
                        <a:lnTo>
                          <a:pt x="2124" y="296"/>
                        </a:lnTo>
                        <a:lnTo>
                          <a:pt x="2124" y="292"/>
                        </a:lnTo>
                        <a:lnTo>
                          <a:pt x="2126" y="288"/>
                        </a:lnTo>
                        <a:lnTo>
                          <a:pt x="2130" y="284"/>
                        </a:lnTo>
                        <a:lnTo>
                          <a:pt x="2130" y="284"/>
                        </a:lnTo>
                        <a:lnTo>
                          <a:pt x="2142" y="278"/>
                        </a:lnTo>
                        <a:lnTo>
                          <a:pt x="2154" y="274"/>
                        </a:lnTo>
                        <a:lnTo>
                          <a:pt x="2172" y="272"/>
                        </a:lnTo>
                        <a:lnTo>
                          <a:pt x="2178" y="270"/>
                        </a:lnTo>
                        <a:lnTo>
                          <a:pt x="2180" y="268"/>
                        </a:lnTo>
                        <a:lnTo>
                          <a:pt x="2178" y="264"/>
                        </a:lnTo>
                        <a:lnTo>
                          <a:pt x="2170" y="256"/>
                        </a:lnTo>
                        <a:lnTo>
                          <a:pt x="2170" y="256"/>
                        </a:lnTo>
                        <a:lnTo>
                          <a:pt x="2154" y="240"/>
                        </a:lnTo>
                        <a:lnTo>
                          <a:pt x="2144" y="232"/>
                        </a:lnTo>
                        <a:lnTo>
                          <a:pt x="2134" y="228"/>
                        </a:lnTo>
                        <a:lnTo>
                          <a:pt x="2124" y="222"/>
                        </a:lnTo>
                        <a:lnTo>
                          <a:pt x="2110" y="220"/>
                        </a:lnTo>
                        <a:lnTo>
                          <a:pt x="2096" y="220"/>
                        </a:lnTo>
                        <a:lnTo>
                          <a:pt x="2080" y="220"/>
                        </a:lnTo>
                        <a:lnTo>
                          <a:pt x="2080" y="220"/>
                        </a:lnTo>
                        <a:lnTo>
                          <a:pt x="2064" y="222"/>
                        </a:lnTo>
                        <a:lnTo>
                          <a:pt x="2046" y="220"/>
                        </a:lnTo>
                        <a:lnTo>
                          <a:pt x="2030" y="218"/>
                        </a:lnTo>
                        <a:lnTo>
                          <a:pt x="2014" y="212"/>
                        </a:lnTo>
                        <a:lnTo>
                          <a:pt x="1982" y="202"/>
                        </a:lnTo>
                        <a:lnTo>
                          <a:pt x="1948" y="194"/>
                        </a:lnTo>
                        <a:lnTo>
                          <a:pt x="1948" y="194"/>
                        </a:lnTo>
                        <a:lnTo>
                          <a:pt x="1932" y="190"/>
                        </a:lnTo>
                        <a:lnTo>
                          <a:pt x="1918" y="184"/>
                        </a:lnTo>
                        <a:lnTo>
                          <a:pt x="1890" y="172"/>
                        </a:lnTo>
                        <a:lnTo>
                          <a:pt x="1876" y="166"/>
                        </a:lnTo>
                        <a:lnTo>
                          <a:pt x="1862" y="160"/>
                        </a:lnTo>
                        <a:lnTo>
                          <a:pt x="1848" y="158"/>
                        </a:lnTo>
                        <a:lnTo>
                          <a:pt x="1832" y="158"/>
                        </a:lnTo>
                        <a:lnTo>
                          <a:pt x="1832" y="158"/>
                        </a:lnTo>
                        <a:lnTo>
                          <a:pt x="1820" y="160"/>
                        </a:lnTo>
                        <a:lnTo>
                          <a:pt x="1812" y="164"/>
                        </a:lnTo>
                        <a:lnTo>
                          <a:pt x="1808" y="170"/>
                        </a:lnTo>
                        <a:lnTo>
                          <a:pt x="1806" y="176"/>
                        </a:lnTo>
                        <a:lnTo>
                          <a:pt x="1804" y="182"/>
                        </a:lnTo>
                        <a:lnTo>
                          <a:pt x="1800" y="186"/>
                        </a:lnTo>
                        <a:lnTo>
                          <a:pt x="1792" y="188"/>
                        </a:lnTo>
                        <a:lnTo>
                          <a:pt x="1780" y="188"/>
                        </a:lnTo>
                        <a:lnTo>
                          <a:pt x="1780" y="188"/>
                        </a:lnTo>
                        <a:lnTo>
                          <a:pt x="1774" y="186"/>
                        </a:lnTo>
                        <a:lnTo>
                          <a:pt x="1768" y="184"/>
                        </a:lnTo>
                        <a:lnTo>
                          <a:pt x="1764" y="180"/>
                        </a:lnTo>
                        <a:lnTo>
                          <a:pt x="1762" y="176"/>
                        </a:lnTo>
                        <a:lnTo>
                          <a:pt x="1760" y="166"/>
                        </a:lnTo>
                        <a:lnTo>
                          <a:pt x="1760" y="156"/>
                        </a:lnTo>
                        <a:lnTo>
                          <a:pt x="1760" y="146"/>
                        </a:lnTo>
                        <a:lnTo>
                          <a:pt x="1758" y="138"/>
                        </a:lnTo>
                        <a:lnTo>
                          <a:pt x="1756" y="136"/>
                        </a:lnTo>
                        <a:lnTo>
                          <a:pt x="1750" y="134"/>
                        </a:lnTo>
                        <a:lnTo>
                          <a:pt x="1744" y="134"/>
                        </a:lnTo>
                        <a:lnTo>
                          <a:pt x="1736" y="134"/>
                        </a:lnTo>
                        <a:lnTo>
                          <a:pt x="1736" y="134"/>
                        </a:lnTo>
                        <a:lnTo>
                          <a:pt x="1732" y="136"/>
                        </a:lnTo>
                        <a:lnTo>
                          <a:pt x="1730" y="140"/>
                        </a:lnTo>
                        <a:lnTo>
                          <a:pt x="1726" y="148"/>
                        </a:lnTo>
                        <a:lnTo>
                          <a:pt x="1724" y="172"/>
                        </a:lnTo>
                        <a:lnTo>
                          <a:pt x="1720" y="182"/>
                        </a:lnTo>
                        <a:lnTo>
                          <a:pt x="1718" y="186"/>
                        </a:lnTo>
                        <a:lnTo>
                          <a:pt x="1716" y="190"/>
                        </a:lnTo>
                        <a:lnTo>
                          <a:pt x="1712" y="190"/>
                        </a:lnTo>
                        <a:lnTo>
                          <a:pt x="1706" y="190"/>
                        </a:lnTo>
                        <a:lnTo>
                          <a:pt x="1698" y="188"/>
                        </a:lnTo>
                        <a:lnTo>
                          <a:pt x="1688" y="184"/>
                        </a:lnTo>
                        <a:lnTo>
                          <a:pt x="1688" y="184"/>
                        </a:lnTo>
                        <a:lnTo>
                          <a:pt x="1684" y="182"/>
                        </a:lnTo>
                        <a:lnTo>
                          <a:pt x="1678" y="176"/>
                        </a:lnTo>
                        <a:lnTo>
                          <a:pt x="1668" y="162"/>
                        </a:lnTo>
                        <a:lnTo>
                          <a:pt x="1650" y="132"/>
                        </a:lnTo>
                        <a:lnTo>
                          <a:pt x="1640" y="116"/>
                        </a:lnTo>
                        <a:lnTo>
                          <a:pt x="1630" y="106"/>
                        </a:lnTo>
                        <a:lnTo>
                          <a:pt x="1624" y="104"/>
                        </a:lnTo>
                        <a:lnTo>
                          <a:pt x="1620" y="102"/>
                        </a:lnTo>
                        <a:lnTo>
                          <a:pt x="1614" y="102"/>
                        </a:lnTo>
                        <a:lnTo>
                          <a:pt x="1608" y="106"/>
                        </a:lnTo>
                        <a:lnTo>
                          <a:pt x="1608" y="106"/>
                        </a:lnTo>
                        <a:lnTo>
                          <a:pt x="1600" y="114"/>
                        </a:lnTo>
                        <a:lnTo>
                          <a:pt x="1598" y="116"/>
                        </a:lnTo>
                        <a:lnTo>
                          <a:pt x="1600" y="118"/>
                        </a:lnTo>
                        <a:lnTo>
                          <a:pt x="1604" y="120"/>
                        </a:lnTo>
                        <a:lnTo>
                          <a:pt x="1610" y="122"/>
                        </a:lnTo>
                        <a:lnTo>
                          <a:pt x="1616" y="124"/>
                        </a:lnTo>
                        <a:lnTo>
                          <a:pt x="1616" y="126"/>
                        </a:lnTo>
                        <a:lnTo>
                          <a:pt x="1616" y="130"/>
                        </a:lnTo>
                        <a:lnTo>
                          <a:pt x="1610" y="138"/>
                        </a:lnTo>
                        <a:lnTo>
                          <a:pt x="1592" y="150"/>
                        </a:lnTo>
                        <a:lnTo>
                          <a:pt x="1592" y="150"/>
                        </a:lnTo>
                        <a:lnTo>
                          <a:pt x="1574" y="160"/>
                        </a:lnTo>
                        <a:lnTo>
                          <a:pt x="1572" y="160"/>
                        </a:lnTo>
                        <a:lnTo>
                          <a:pt x="1570" y="158"/>
                        </a:lnTo>
                        <a:lnTo>
                          <a:pt x="1568" y="156"/>
                        </a:lnTo>
                        <a:lnTo>
                          <a:pt x="1560" y="156"/>
                        </a:lnTo>
                        <a:lnTo>
                          <a:pt x="1546" y="160"/>
                        </a:lnTo>
                        <a:lnTo>
                          <a:pt x="1522" y="168"/>
                        </a:lnTo>
                        <a:lnTo>
                          <a:pt x="1522" y="168"/>
                        </a:lnTo>
                        <a:lnTo>
                          <a:pt x="1482" y="180"/>
                        </a:lnTo>
                        <a:lnTo>
                          <a:pt x="1476" y="182"/>
                        </a:lnTo>
                        <a:lnTo>
                          <a:pt x="1476" y="180"/>
                        </a:lnTo>
                        <a:lnTo>
                          <a:pt x="1476" y="180"/>
                        </a:lnTo>
                        <a:lnTo>
                          <a:pt x="1494" y="168"/>
                        </a:lnTo>
                        <a:lnTo>
                          <a:pt x="1526" y="152"/>
                        </a:lnTo>
                        <a:lnTo>
                          <a:pt x="1526" y="152"/>
                        </a:lnTo>
                        <a:lnTo>
                          <a:pt x="1552" y="140"/>
                        </a:lnTo>
                        <a:lnTo>
                          <a:pt x="1558" y="136"/>
                        </a:lnTo>
                        <a:lnTo>
                          <a:pt x="1560" y="132"/>
                        </a:lnTo>
                        <a:lnTo>
                          <a:pt x="1560" y="132"/>
                        </a:lnTo>
                        <a:lnTo>
                          <a:pt x="1556" y="132"/>
                        </a:lnTo>
                        <a:lnTo>
                          <a:pt x="1538" y="134"/>
                        </a:lnTo>
                        <a:lnTo>
                          <a:pt x="1538" y="134"/>
                        </a:lnTo>
                        <a:lnTo>
                          <a:pt x="1530" y="136"/>
                        </a:lnTo>
                        <a:lnTo>
                          <a:pt x="1522" y="134"/>
                        </a:lnTo>
                        <a:lnTo>
                          <a:pt x="1510" y="134"/>
                        </a:lnTo>
                        <a:lnTo>
                          <a:pt x="1506" y="134"/>
                        </a:lnTo>
                        <a:lnTo>
                          <a:pt x="1498" y="136"/>
                        </a:lnTo>
                        <a:lnTo>
                          <a:pt x="1488" y="140"/>
                        </a:lnTo>
                        <a:lnTo>
                          <a:pt x="1474" y="148"/>
                        </a:lnTo>
                        <a:lnTo>
                          <a:pt x="1474" y="148"/>
                        </a:lnTo>
                        <a:lnTo>
                          <a:pt x="1462" y="156"/>
                        </a:lnTo>
                        <a:lnTo>
                          <a:pt x="1454" y="160"/>
                        </a:lnTo>
                        <a:lnTo>
                          <a:pt x="1448" y="160"/>
                        </a:lnTo>
                        <a:lnTo>
                          <a:pt x="1442" y="162"/>
                        </a:lnTo>
                        <a:lnTo>
                          <a:pt x="1438" y="162"/>
                        </a:lnTo>
                        <a:lnTo>
                          <a:pt x="1432" y="164"/>
                        </a:lnTo>
                        <a:lnTo>
                          <a:pt x="1422" y="168"/>
                        </a:lnTo>
                        <a:lnTo>
                          <a:pt x="1406" y="178"/>
                        </a:lnTo>
                        <a:lnTo>
                          <a:pt x="1406" y="178"/>
                        </a:lnTo>
                        <a:lnTo>
                          <a:pt x="1378" y="198"/>
                        </a:lnTo>
                        <a:lnTo>
                          <a:pt x="1358" y="210"/>
                        </a:lnTo>
                        <a:lnTo>
                          <a:pt x="1352" y="214"/>
                        </a:lnTo>
                        <a:lnTo>
                          <a:pt x="1350" y="218"/>
                        </a:lnTo>
                        <a:lnTo>
                          <a:pt x="1350" y="224"/>
                        </a:lnTo>
                        <a:lnTo>
                          <a:pt x="1352" y="230"/>
                        </a:lnTo>
                        <a:lnTo>
                          <a:pt x="1352" y="230"/>
                        </a:lnTo>
                        <a:lnTo>
                          <a:pt x="1352" y="234"/>
                        </a:lnTo>
                        <a:lnTo>
                          <a:pt x="1352" y="236"/>
                        </a:lnTo>
                        <a:lnTo>
                          <a:pt x="1340" y="232"/>
                        </a:lnTo>
                        <a:lnTo>
                          <a:pt x="1332" y="230"/>
                        </a:lnTo>
                        <a:lnTo>
                          <a:pt x="1324" y="228"/>
                        </a:lnTo>
                        <a:lnTo>
                          <a:pt x="1316" y="230"/>
                        </a:lnTo>
                        <a:lnTo>
                          <a:pt x="1308" y="232"/>
                        </a:lnTo>
                        <a:lnTo>
                          <a:pt x="1308" y="232"/>
                        </a:lnTo>
                        <a:lnTo>
                          <a:pt x="1300" y="236"/>
                        </a:lnTo>
                        <a:lnTo>
                          <a:pt x="1296" y="236"/>
                        </a:lnTo>
                        <a:lnTo>
                          <a:pt x="1294" y="236"/>
                        </a:lnTo>
                        <a:lnTo>
                          <a:pt x="1290" y="232"/>
                        </a:lnTo>
                        <a:lnTo>
                          <a:pt x="1286" y="228"/>
                        </a:lnTo>
                        <a:lnTo>
                          <a:pt x="1280" y="226"/>
                        </a:lnTo>
                        <a:lnTo>
                          <a:pt x="1270" y="224"/>
                        </a:lnTo>
                        <a:lnTo>
                          <a:pt x="1258" y="222"/>
                        </a:lnTo>
                        <a:lnTo>
                          <a:pt x="1258" y="222"/>
                        </a:lnTo>
                        <a:lnTo>
                          <a:pt x="1236" y="220"/>
                        </a:lnTo>
                        <a:lnTo>
                          <a:pt x="1216" y="214"/>
                        </a:lnTo>
                        <a:lnTo>
                          <a:pt x="1198" y="206"/>
                        </a:lnTo>
                        <a:lnTo>
                          <a:pt x="1178" y="196"/>
                        </a:lnTo>
                        <a:lnTo>
                          <a:pt x="1160" y="186"/>
                        </a:lnTo>
                        <a:lnTo>
                          <a:pt x="1138" y="178"/>
                        </a:lnTo>
                        <a:lnTo>
                          <a:pt x="1114" y="172"/>
                        </a:lnTo>
                        <a:lnTo>
                          <a:pt x="1102" y="172"/>
                        </a:lnTo>
                        <a:lnTo>
                          <a:pt x="1088" y="172"/>
                        </a:lnTo>
                        <a:lnTo>
                          <a:pt x="1088" y="172"/>
                        </a:lnTo>
                        <a:lnTo>
                          <a:pt x="1074" y="170"/>
                        </a:lnTo>
                        <a:lnTo>
                          <a:pt x="1062" y="168"/>
                        </a:lnTo>
                        <a:lnTo>
                          <a:pt x="1052" y="162"/>
                        </a:lnTo>
                        <a:lnTo>
                          <a:pt x="1044" y="158"/>
                        </a:lnTo>
                        <a:lnTo>
                          <a:pt x="1036" y="152"/>
                        </a:lnTo>
                        <a:lnTo>
                          <a:pt x="1026" y="146"/>
                        </a:lnTo>
                        <a:lnTo>
                          <a:pt x="1014" y="142"/>
                        </a:lnTo>
                        <a:lnTo>
                          <a:pt x="998" y="140"/>
                        </a:lnTo>
                        <a:lnTo>
                          <a:pt x="998" y="140"/>
                        </a:lnTo>
                        <a:lnTo>
                          <a:pt x="982" y="138"/>
                        </a:lnTo>
                        <a:lnTo>
                          <a:pt x="970" y="140"/>
                        </a:lnTo>
                        <a:lnTo>
                          <a:pt x="950" y="144"/>
                        </a:lnTo>
                        <a:lnTo>
                          <a:pt x="940" y="146"/>
                        </a:lnTo>
                        <a:lnTo>
                          <a:pt x="932" y="146"/>
                        </a:lnTo>
                        <a:lnTo>
                          <a:pt x="922" y="146"/>
                        </a:lnTo>
                        <a:lnTo>
                          <a:pt x="912" y="142"/>
                        </a:lnTo>
                        <a:lnTo>
                          <a:pt x="912" y="142"/>
                        </a:lnTo>
                        <a:lnTo>
                          <a:pt x="898" y="138"/>
                        </a:lnTo>
                        <a:lnTo>
                          <a:pt x="884" y="134"/>
                        </a:lnTo>
                        <a:lnTo>
                          <a:pt x="852" y="132"/>
                        </a:lnTo>
                        <a:lnTo>
                          <a:pt x="816" y="128"/>
                        </a:lnTo>
                        <a:lnTo>
                          <a:pt x="798" y="122"/>
                        </a:lnTo>
                        <a:lnTo>
                          <a:pt x="778" y="116"/>
                        </a:lnTo>
                        <a:lnTo>
                          <a:pt x="778" y="116"/>
                        </a:lnTo>
                        <a:lnTo>
                          <a:pt x="758" y="110"/>
                        </a:lnTo>
                        <a:lnTo>
                          <a:pt x="744" y="108"/>
                        </a:lnTo>
                        <a:lnTo>
                          <a:pt x="732" y="108"/>
                        </a:lnTo>
                        <a:lnTo>
                          <a:pt x="722" y="110"/>
                        </a:lnTo>
                        <a:lnTo>
                          <a:pt x="710" y="114"/>
                        </a:lnTo>
                        <a:lnTo>
                          <a:pt x="698" y="116"/>
                        </a:lnTo>
                        <a:lnTo>
                          <a:pt x="682" y="114"/>
                        </a:lnTo>
                        <a:lnTo>
                          <a:pt x="664" y="110"/>
                        </a:lnTo>
                        <a:lnTo>
                          <a:pt x="664" y="110"/>
                        </a:lnTo>
                        <a:lnTo>
                          <a:pt x="648" y="104"/>
                        </a:lnTo>
                        <a:lnTo>
                          <a:pt x="640" y="98"/>
                        </a:lnTo>
                        <a:lnTo>
                          <a:pt x="636" y="94"/>
                        </a:lnTo>
                        <a:lnTo>
                          <a:pt x="636" y="90"/>
                        </a:lnTo>
                        <a:lnTo>
                          <a:pt x="634" y="86"/>
                        </a:lnTo>
                        <a:lnTo>
                          <a:pt x="630" y="82"/>
                        </a:lnTo>
                        <a:lnTo>
                          <a:pt x="622" y="82"/>
                        </a:lnTo>
                        <a:lnTo>
                          <a:pt x="604" y="80"/>
                        </a:lnTo>
                        <a:lnTo>
                          <a:pt x="604" y="80"/>
                        </a:lnTo>
                        <a:lnTo>
                          <a:pt x="572" y="82"/>
                        </a:lnTo>
                        <a:lnTo>
                          <a:pt x="556" y="82"/>
                        </a:lnTo>
                        <a:lnTo>
                          <a:pt x="552" y="82"/>
                        </a:lnTo>
                        <a:lnTo>
                          <a:pt x="548" y="80"/>
                        </a:lnTo>
                        <a:lnTo>
                          <a:pt x="540" y="72"/>
                        </a:lnTo>
                        <a:lnTo>
                          <a:pt x="540" y="72"/>
                        </a:lnTo>
                        <a:lnTo>
                          <a:pt x="534" y="66"/>
                        </a:lnTo>
                        <a:lnTo>
                          <a:pt x="528" y="66"/>
                        </a:lnTo>
                        <a:lnTo>
                          <a:pt x="524" y="66"/>
                        </a:lnTo>
                        <a:lnTo>
                          <a:pt x="518" y="68"/>
                        </a:lnTo>
                        <a:lnTo>
                          <a:pt x="510" y="70"/>
                        </a:lnTo>
                        <a:lnTo>
                          <a:pt x="506" y="70"/>
                        </a:lnTo>
                        <a:lnTo>
                          <a:pt x="500" y="66"/>
                        </a:lnTo>
                        <a:lnTo>
                          <a:pt x="500" y="66"/>
                        </a:lnTo>
                        <a:lnTo>
                          <a:pt x="488" y="56"/>
                        </a:lnTo>
                        <a:lnTo>
                          <a:pt x="482" y="52"/>
                        </a:lnTo>
                        <a:lnTo>
                          <a:pt x="474" y="50"/>
                        </a:lnTo>
                        <a:lnTo>
                          <a:pt x="466" y="50"/>
                        </a:lnTo>
                        <a:lnTo>
                          <a:pt x="456" y="52"/>
                        </a:lnTo>
                        <a:lnTo>
                          <a:pt x="444" y="58"/>
                        </a:lnTo>
                        <a:lnTo>
                          <a:pt x="432" y="68"/>
                        </a:lnTo>
                        <a:lnTo>
                          <a:pt x="432" y="68"/>
                        </a:lnTo>
                        <a:lnTo>
                          <a:pt x="418" y="78"/>
                        </a:lnTo>
                        <a:lnTo>
                          <a:pt x="404" y="82"/>
                        </a:lnTo>
                        <a:lnTo>
                          <a:pt x="392" y="84"/>
                        </a:lnTo>
                        <a:lnTo>
                          <a:pt x="378" y="84"/>
                        </a:lnTo>
                        <a:lnTo>
                          <a:pt x="364" y="84"/>
                        </a:lnTo>
                        <a:lnTo>
                          <a:pt x="348" y="86"/>
                        </a:lnTo>
                        <a:lnTo>
                          <a:pt x="330" y="94"/>
                        </a:lnTo>
                        <a:lnTo>
                          <a:pt x="310" y="106"/>
                        </a:lnTo>
                        <a:lnTo>
                          <a:pt x="310" y="106"/>
                        </a:lnTo>
                        <a:lnTo>
                          <a:pt x="300" y="114"/>
                        </a:lnTo>
                        <a:lnTo>
                          <a:pt x="290" y="120"/>
                        </a:lnTo>
                        <a:lnTo>
                          <a:pt x="282" y="122"/>
                        </a:lnTo>
                        <a:lnTo>
                          <a:pt x="274" y="124"/>
                        </a:lnTo>
                        <a:lnTo>
                          <a:pt x="260" y="126"/>
                        </a:lnTo>
                        <a:lnTo>
                          <a:pt x="250" y="124"/>
                        </a:lnTo>
                        <a:lnTo>
                          <a:pt x="240" y="124"/>
                        </a:lnTo>
                        <a:lnTo>
                          <a:pt x="236" y="124"/>
                        </a:lnTo>
                        <a:lnTo>
                          <a:pt x="230" y="126"/>
                        </a:lnTo>
                        <a:lnTo>
                          <a:pt x="226" y="130"/>
                        </a:lnTo>
                        <a:lnTo>
                          <a:pt x="222" y="134"/>
                        </a:lnTo>
                        <a:lnTo>
                          <a:pt x="212" y="152"/>
                        </a:lnTo>
                        <a:lnTo>
                          <a:pt x="212" y="152"/>
                        </a:lnTo>
                        <a:lnTo>
                          <a:pt x="202" y="172"/>
                        </a:lnTo>
                        <a:lnTo>
                          <a:pt x="192" y="188"/>
                        </a:lnTo>
                        <a:lnTo>
                          <a:pt x="182" y="202"/>
                        </a:lnTo>
                        <a:lnTo>
                          <a:pt x="172" y="212"/>
                        </a:lnTo>
                        <a:lnTo>
                          <a:pt x="158" y="220"/>
                        </a:lnTo>
                        <a:lnTo>
                          <a:pt x="142" y="224"/>
                        </a:lnTo>
                        <a:lnTo>
                          <a:pt x="122" y="228"/>
                        </a:lnTo>
                        <a:lnTo>
                          <a:pt x="96" y="228"/>
                        </a:lnTo>
                        <a:lnTo>
                          <a:pt x="96" y="228"/>
                        </a:lnTo>
                        <a:lnTo>
                          <a:pt x="84" y="230"/>
                        </a:lnTo>
                        <a:lnTo>
                          <a:pt x="78" y="232"/>
                        </a:lnTo>
                        <a:lnTo>
                          <a:pt x="74" y="236"/>
                        </a:lnTo>
                        <a:lnTo>
                          <a:pt x="74" y="240"/>
                        </a:lnTo>
                        <a:lnTo>
                          <a:pt x="74" y="244"/>
                        </a:lnTo>
                        <a:lnTo>
                          <a:pt x="72" y="250"/>
                        </a:lnTo>
                        <a:lnTo>
                          <a:pt x="66" y="254"/>
                        </a:lnTo>
                        <a:lnTo>
                          <a:pt x="58" y="258"/>
                        </a:lnTo>
                        <a:lnTo>
                          <a:pt x="58" y="258"/>
                        </a:lnTo>
                        <a:lnTo>
                          <a:pt x="54" y="260"/>
                        </a:lnTo>
                        <a:lnTo>
                          <a:pt x="52" y="262"/>
                        </a:lnTo>
                        <a:lnTo>
                          <a:pt x="54" y="266"/>
                        </a:lnTo>
                        <a:lnTo>
                          <a:pt x="58" y="268"/>
                        </a:lnTo>
                        <a:lnTo>
                          <a:pt x="72" y="274"/>
                        </a:lnTo>
                        <a:lnTo>
                          <a:pt x="92" y="282"/>
                        </a:lnTo>
                        <a:lnTo>
                          <a:pt x="114" y="292"/>
                        </a:lnTo>
                        <a:lnTo>
                          <a:pt x="136" y="304"/>
                        </a:lnTo>
                        <a:lnTo>
                          <a:pt x="156" y="318"/>
                        </a:lnTo>
                        <a:lnTo>
                          <a:pt x="162" y="326"/>
                        </a:lnTo>
                        <a:lnTo>
                          <a:pt x="168" y="334"/>
                        </a:lnTo>
                        <a:lnTo>
                          <a:pt x="168" y="334"/>
                        </a:lnTo>
                        <a:lnTo>
                          <a:pt x="172" y="342"/>
                        </a:lnTo>
                        <a:lnTo>
                          <a:pt x="176" y="346"/>
                        </a:lnTo>
                        <a:lnTo>
                          <a:pt x="186" y="354"/>
                        </a:lnTo>
                        <a:lnTo>
                          <a:pt x="196" y="356"/>
                        </a:lnTo>
                        <a:lnTo>
                          <a:pt x="206" y="356"/>
                        </a:lnTo>
                        <a:lnTo>
                          <a:pt x="212" y="356"/>
                        </a:lnTo>
                        <a:lnTo>
                          <a:pt x="218" y="356"/>
                        </a:lnTo>
                        <a:lnTo>
                          <a:pt x="220" y="356"/>
                        </a:lnTo>
                        <a:lnTo>
                          <a:pt x="222" y="358"/>
                        </a:lnTo>
                        <a:lnTo>
                          <a:pt x="220" y="364"/>
                        </a:lnTo>
                        <a:lnTo>
                          <a:pt x="220" y="364"/>
                        </a:lnTo>
                        <a:lnTo>
                          <a:pt x="220" y="372"/>
                        </a:lnTo>
                        <a:lnTo>
                          <a:pt x="220" y="376"/>
                        </a:lnTo>
                        <a:lnTo>
                          <a:pt x="224" y="378"/>
                        </a:lnTo>
                        <a:lnTo>
                          <a:pt x="228" y="380"/>
                        </a:lnTo>
                        <a:lnTo>
                          <a:pt x="232" y="380"/>
                        </a:lnTo>
                        <a:lnTo>
                          <a:pt x="236" y="382"/>
                        </a:lnTo>
                        <a:lnTo>
                          <a:pt x="240" y="386"/>
                        </a:lnTo>
                        <a:lnTo>
                          <a:pt x="242" y="392"/>
                        </a:lnTo>
                        <a:lnTo>
                          <a:pt x="242" y="392"/>
                        </a:lnTo>
                        <a:lnTo>
                          <a:pt x="244" y="400"/>
                        </a:lnTo>
                        <a:lnTo>
                          <a:pt x="248" y="402"/>
                        </a:lnTo>
                        <a:lnTo>
                          <a:pt x="254" y="404"/>
                        </a:lnTo>
                        <a:lnTo>
                          <a:pt x="260" y="402"/>
                        </a:lnTo>
                        <a:lnTo>
                          <a:pt x="266" y="402"/>
                        </a:lnTo>
                        <a:lnTo>
                          <a:pt x="270" y="402"/>
                        </a:lnTo>
                        <a:lnTo>
                          <a:pt x="274" y="404"/>
                        </a:lnTo>
                        <a:lnTo>
                          <a:pt x="276" y="410"/>
                        </a:lnTo>
                        <a:lnTo>
                          <a:pt x="276" y="410"/>
                        </a:lnTo>
                        <a:lnTo>
                          <a:pt x="274" y="418"/>
                        </a:lnTo>
                        <a:lnTo>
                          <a:pt x="272" y="418"/>
                        </a:lnTo>
                        <a:lnTo>
                          <a:pt x="270" y="418"/>
                        </a:lnTo>
                        <a:lnTo>
                          <a:pt x="266" y="416"/>
                        </a:lnTo>
                        <a:lnTo>
                          <a:pt x="262" y="416"/>
                        </a:lnTo>
                        <a:lnTo>
                          <a:pt x="258" y="418"/>
                        </a:lnTo>
                        <a:lnTo>
                          <a:pt x="252" y="424"/>
                        </a:lnTo>
                        <a:lnTo>
                          <a:pt x="252" y="424"/>
                        </a:lnTo>
                        <a:lnTo>
                          <a:pt x="250" y="426"/>
                        </a:lnTo>
                        <a:lnTo>
                          <a:pt x="248" y="426"/>
                        </a:lnTo>
                        <a:lnTo>
                          <a:pt x="240" y="422"/>
                        </a:lnTo>
                        <a:lnTo>
                          <a:pt x="234" y="420"/>
                        </a:lnTo>
                        <a:lnTo>
                          <a:pt x="224" y="420"/>
                        </a:lnTo>
                        <a:lnTo>
                          <a:pt x="212" y="420"/>
                        </a:lnTo>
                        <a:lnTo>
                          <a:pt x="194" y="422"/>
                        </a:lnTo>
                        <a:lnTo>
                          <a:pt x="194" y="422"/>
                        </a:lnTo>
                        <a:lnTo>
                          <a:pt x="186" y="422"/>
                        </a:lnTo>
                        <a:lnTo>
                          <a:pt x="180" y="420"/>
                        </a:lnTo>
                        <a:lnTo>
                          <a:pt x="176" y="418"/>
                        </a:lnTo>
                        <a:lnTo>
                          <a:pt x="174" y="416"/>
                        </a:lnTo>
                        <a:lnTo>
                          <a:pt x="174" y="408"/>
                        </a:lnTo>
                        <a:lnTo>
                          <a:pt x="176" y="398"/>
                        </a:lnTo>
                        <a:lnTo>
                          <a:pt x="176" y="390"/>
                        </a:lnTo>
                        <a:lnTo>
                          <a:pt x="174" y="388"/>
                        </a:lnTo>
                        <a:lnTo>
                          <a:pt x="172" y="384"/>
                        </a:lnTo>
                        <a:lnTo>
                          <a:pt x="168" y="384"/>
                        </a:lnTo>
                        <a:lnTo>
                          <a:pt x="162" y="384"/>
                        </a:lnTo>
                        <a:lnTo>
                          <a:pt x="140" y="388"/>
                        </a:lnTo>
                        <a:lnTo>
                          <a:pt x="140" y="388"/>
                        </a:lnTo>
                        <a:lnTo>
                          <a:pt x="116" y="396"/>
                        </a:lnTo>
                        <a:lnTo>
                          <a:pt x="92" y="406"/>
                        </a:lnTo>
                        <a:lnTo>
                          <a:pt x="56" y="424"/>
                        </a:lnTo>
                        <a:lnTo>
                          <a:pt x="28" y="440"/>
                        </a:lnTo>
                        <a:lnTo>
                          <a:pt x="18" y="444"/>
                        </a:lnTo>
                        <a:lnTo>
                          <a:pt x="10" y="446"/>
                        </a:lnTo>
                        <a:lnTo>
                          <a:pt x="10" y="446"/>
                        </a:lnTo>
                        <a:lnTo>
                          <a:pt x="4" y="448"/>
                        </a:lnTo>
                        <a:lnTo>
                          <a:pt x="0" y="452"/>
                        </a:lnTo>
                        <a:lnTo>
                          <a:pt x="0" y="456"/>
                        </a:lnTo>
                        <a:lnTo>
                          <a:pt x="2" y="460"/>
                        </a:lnTo>
                        <a:lnTo>
                          <a:pt x="8" y="466"/>
                        </a:lnTo>
                        <a:lnTo>
                          <a:pt x="16" y="470"/>
                        </a:lnTo>
                        <a:lnTo>
                          <a:pt x="28" y="472"/>
                        </a:lnTo>
                        <a:lnTo>
                          <a:pt x="42" y="474"/>
                        </a:lnTo>
                        <a:lnTo>
                          <a:pt x="42" y="474"/>
                        </a:lnTo>
                        <a:lnTo>
                          <a:pt x="54" y="474"/>
                        </a:lnTo>
                        <a:lnTo>
                          <a:pt x="60" y="478"/>
                        </a:lnTo>
                        <a:lnTo>
                          <a:pt x="58" y="480"/>
                        </a:lnTo>
                        <a:lnTo>
                          <a:pt x="56" y="484"/>
                        </a:lnTo>
                        <a:lnTo>
                          <a:pt x="52" y="488"/>
                        </a:lnTo>
                        <a:lnTo>
                          <a:pt x="50" y="492"/>
                        </a:lnTo>
                        <a:lnTo>
                          <a:pt x="50" y="498"/>
                        </a:lnTo>
                        <a:lnTo>
                          <a:pt x="56" y="502"/>
                        </a:lnTo>
                        <a:lnTo>
                          <a:pt x="56" y="502"/>
                        </a:lnTo>
                        <a:lnTo>
                          <a:pt x="64" y="506"/>
                        </a:lnTo>
                        <a:lnTo>
                          <a:pt x="66" y="512"/>
                        </a:lnTo>
                        <a:lnTo>
                          <a:pt x="68" y="520"/>
                        </a:lnTo>
                        <a:lnTo>
                          <a:pt x="70" y="524"/>
                        </a:lnTo>
                        <a:lnTo>
                          <a:pt x="74" y="528"/>
                        </a:lnTo>
                        <a:lnTo>
                          <a:pt x="82" y="532"/>
                        </a:lnTo>
                        <a:lnTo>
                          <a:pt x="94" y="534"/>
                        </a:lnTo>
                        <a:lnTo>
                          <a:pt x="94" y="534"/>
                        </a:lnTo>
                        <a:lnTo>
                          <a:pt x="110" y="534"/>
                        </a:lnTo>
                        <a:lnTo>
                          <a:pt x="122" y="534"/>
                        </a:lnTo>
                        <a:lnTo>
                          <a:pt x="144" y="528"/>
                        </a:lnTo>
                        <a:lnTo>
                          <a:pt x="154" y="526"/>
                        </a:lnTo>
                        <a:lnTo>
                          <a:pt x="166" y="526"/>
                        </a:lnTo>
                        <a:lnTo>
                          <a:pt x="176" y="528"/>
                        </a:lnTo>
                        <a:lnTo>
                          <a:pt x="190" y="534"/>
                        </a:lnTo>
                        <a:lnTo>
                          <a:pt x="190" y="534"/>
                        </a:lnTo>
                        <a:lnTo>
                          <a:pt x="198" y="536"/>
                        </a:lnTo>
                        <a:lnTo>
                          <a:pt x="204" y="538"/>
                        </a:lnTo>
                        <a:lnTo>
                          <a:pt x="210" y="538"/>
                        </a:lnTo>
                        <a:lnTo>
                          <a:pt x="218" y="536"/>
                        </a:lnTo>
                        <a:lnTo>
                          <a:pt x="230" y="530"/>
                        </a:lnTo>
                        <a:lnTo>
                          <a:pt x="242" y="522"/>
                        </a:lnTo>
                        <a:lnTo>
                          <a:pt x="254" y="512"/>
                        </a:lnTo>
                        <a:lnTo>
                          <a:pt x="266" y="506"/>
                        </a:lnTo>
                        <a:lnTo>
                          <a:pt x="270" y="506"/>
                        </a:lnTo>
                        <a:lnTo>
                          <a:pt x="276" y="506"/>
                        </a:lnTo>
                        <a:lnTo>
                          <a:pt x="280" y="508"/>
                        </a:lnTo>
                        <a:lnTo>
                          <a:pt x="286" y="510"/>
                        </a:lnTo>
                        <a:lnTo>
                          <a:pt x="286" y="510"/>
                        </a:lnTo>
                        <a:lnTo>
                          <a:pt x="290" y="516"/>
                        </a:lnTo>
                        <a:lnTo>
                          <a:pt x="290" y="518"/>
                        </a:lnTo>
                        <a:lnTo>
                          <a:pt x="290" y="522"/>
                        </a:lnTo>
                        <a:lnTo>
                          <a:pt x="288" y="524"/>
                        </a:lnTo>
                        <a:lnTo>
                          <a:pt x="282" y="526"/>
                        </a:lnTo>
                        <a:lnTo>
                          <a:pt x="272" y="528"/>
                        </a:lnTo>
                        <a:lnTo>
                          <a:pt x="264" y="530"/>
                        </a:lnTo>
                        <a:lnTo>
                          <a:pt x="260" y="534"/>
                        </a:lnTo>
                        <a:lnTo>
                          <a:pt x="260" y="536"/>
                        </a:lnTo>
                        <a:lnTo>
                          <a:pt x="262" y="538"/>
                        </a:lnTo>
                        <a:lnTo>
                          <a:pt x="274" y="544"/>
                        </a:lnTo>
                        <a:lnTo>
                          <a:pt x="274" y="544"/>
                        </a:lnTo>
                        <a:lnTo>
                          <a:pt x="280" y="550"/>
                        </a:lnTo>
                        <a:lnTo>
                          <a:pt x="286" y="554"/>
                        </a:lnTo>
                        <a:lnTo>
                          <a:pt x="290" y="558"/>
                        </a:lnTo>
                        <a:lnTo>
                          <a:pt x="292" y="564"/>
                        </a:lnTo>
                        <a:lnTo>
                          <a:pt x="292" y="570"/>
                        </a:lnTo>
                        <a:lnTo>
                          <a:pt x="292" y="574"/>
                        </a:lnTo>
                        <a:lnTo>
                          <a:pt x="288" y="584"/>
                        </a:lnTo>
                        <a:lnTo>
                          <a:pt x="280" y="592"/>
                        </a:lnTo>
                        <a:lnTo>
                          <a:pt x="270" y="598"/>
                        </a:lnTo>
                        <a:lnTo>
                          <a:pt x="258" y="600"/>
                        </a:lnTo>
                        <a:lnTo>
                          <a:pt x="244" y="598"/>
                        </a:lnTo>
                        <a:lnTo>
                          <a:pt x="244" y="598"/>
                        </a:lnTo>
                        <a:lnTo>
                          <a:pt x="240" y="598"/>
                        </a:lnTo>
                        <a:lnTo>
                          <a:pt x="234" y="598"/>
                        </a:lnTo>
                        <a:lnTo>
                          <a:pt x="226" y="602"/>
                        </a:lnTo>
                        <a:lnTo>
                          <a:pt x="220" y="610"/>
                        </a:lnTo>
                        <a:lnTo>
                          <a:pt x="214" y="618"/>
                        </a:lnTo>
                        <a:lnTo>
                          <a:pt x="210" y="624"/>
                        </a:lnTo>
                        <a:lnTo>
                          <a:pt x="202" y="630"/>
                        </a:lnTo>
                        <a:lnTo>
                          <a:pt x="198" y="630"/>
                        </a:lnTo>
                        <a:lnTo>
                          <a:pt x="192" y="630"/>
                        </a:lnTo>
                        <a:lnTo>
                          <a:pt x="186" y="628"/>
                        </a:lnTo>
                        <a:lnTo>
                          <a:pt x="180" y="624"/>
                        </a:lnTo>
                        <a:lnTo>
                          <a:pt x="180" y="624"/>
                        </a:lnTo>
                        <a:lnTo>
                          <a:pt x="172" y="620"/>
                        </a:lnTo>
                        <a:lnTo>
                          <a:pt x="166" y="618"/>
                        </a:lnTo>
                        <a:lnTo>
                          <a:pt x="160" y="618"/>
                        </a:lnTo>
                        <a:lnTo>
                          <a:pt x="154" y="620"/>
                        </a:lnTo>
                        <a:lnTo>
                          <a:pt x="144" y="626"/>
                        </a:lnTo>
                        <a:lnTo>
                          <a:pt x="136" y="636"/>
                        </a:lnTo>
                        <a:lnTo>
                          <a:pt x="124" y="658"/>
                        </a:lnTo>
                        <a:lnTo>
                          <a:pt x="118" y="666"/>
                        </a:lnTo>
                        <a:lnTo>
                          <a:pt x="112" y="672"/>
                        </a:lnTo>
                        <a:lnTo>
                          <a:pt x="112" y="672"/>
                        </a:lnTo>
                        <a:lnTo>
                          <a:pt x="106" y="674"/>
                        </a:lnTo>
                        <a:lnTo>
                          <a:pt x="102" y="678"/>
                        </a:lnTo>
                        <a:lnTo>
                          <a:pt x="96" y="690"/>
                        </a:lnTo>
                        <a:lnTo>
                          <a:pt x="92" y="702"/>
                        </a:lnTo>
                        <a:lnTo>
                          <a:pt x="88" y="708"/>
                        </a:lnTo>
                        <a:lnTo>
                          <a:pt x="82" y="712"/>
                        </a:lnTo>
                        <a:lnTo>
                          <a:pt x="82" y="712"/>
                        </a:lnTo>
                        <a:lnTo>
                          <a:pt x="76" y="716"/>
                        </a:lnTo>
                        <a:lnTo>
                          <a:pt x="74" y="720"/>
                        </a:lnTo>
                        <a:lnTo>
                          <a:pt x="74" y="726"/>
                        </a:lnTo>
                        <a:lnTo>
                          <a:pt x="76" y="730"/>
                        </a:lnTo>
                        <a:lnTo>
                          <a:pt x="88" y="740"/>
                        </a:lnTo>
                        <a:lnTo>
                          <a:pt x="108" y="756"/>
                        </a:lnTo>
                        <a:lnTo>
                          <a:pt x="108" y="756"/>
                        </a:lnTo>
                        <a:lnTo>
                          <a:pt x="116" y="764"/>
                        </a:lnTo>
                        <a:lnTo>
                          <a:pt x="118" y="772"/>
                        </a:lnTo>
                        <a:lnTo>
                          <a:pt x="118" y="778"/>
                        </a:lnTo>
                        <a:lnTo>
                          <a:pt x="116" y="784"/>
                        </a:lnTo>
                        <a:lnTo>
                          <a:pt x="114" y="790"/>
                        </a:lnTo>
                        <a:lnTo>
                          <a:pt x="112" y="794"/>
                        </a:lnTo>
                        <a:lnTo>
                          <a:pt x="112" y="800"/>
                        </a:lnTo>
                        <a:lnTo>
                          <a:pt x="116" y="804"/>
                        </a:lnTo>
                        <a:lnTo>
                          <a:pt x="116" y="804"/>
                        </a:lnTo>
                        <a:lnTo>
                          <a:pt x="132" y="818"/>
                        </a:lnTo>
                        <a:lnTo>
                          <a:pt x="148" y="834"/>
                        </a:lnTo>
                        <a:lnTo>
                          <a:pt x="158" y="840"/>
                        </a:lnTo>
                        <a:lnTo>
                          <a:pt x="168" y="844"/>
                        </a:lnTo>
                        <a:lnTo>
                          <a:pt x="180" y="844"/>
                        </a:lnTo>
                        <a:lnTo>
                          <a:pt x="194" y="840"/>
                        </a:lnTo>
                        <a:lnTo>
                          <a:pt x="194" y="840"/>
                        </a:lnTo>
                        <a:lnTo>
                          <a:pt x="208" y="836"/>
                        </a:lnTo>
                        <a:lnTo>
                          <a:pt x="218" y="834"/>
                        </a:lnTo>
                        <a:lnTo>
                          <a:pt x="228" y="836"/>
                        </a:lnTo>
                        <a:lnTo>
                          <a:pt x="234" y="838"/>
                        </a:lnTo>
                        <a:lnTo>
                          <a:pt x="240" y="842"/>
                        </a:lnTo>
                        <a:lnTo>
                          <a:pt x="242" y="848"/>
                        </a:lnTo>
                        <a:lnTo>
                          <a:pt x="242" y="858"/>
                        </a:lnTo>
                        <a:lnTo>
                          <a:pt x="238" y="868"/>
                        </a:lnTo>
                        <a:lnTo>
                          <a:pt x="238" y="868"/>
                        </a:lnTo>
                        <a:lnTo>
                          <a:pt x="236" y="878"/>
                        </a:lnTo>
                        <a:lnTo>
                          <a:pt x="236" y="884"/>
                        </a:lnTo>
                        <a:lnTo>
                          <a:pt x="238" y="888"/>
                        </a:lnTo>
                        <a:lnTo>
                          <a:pt x="242" y="890"/>
                        </a:lnTo>
                        <a:lnTo>
                          <a:pt x="244" y="892"/>
                        </a:lnTo>
                        <a:lnTo>
                          <a:pt x="246" y="896"/>
                        </a:lnTo>
                        <a:lnTo>
                          <a:pt x="246" y="900"/>
                        </a:lnTo>
                        <a:lnTo>
                          <a:pt x="244" y="908"/>
                        </a:lnTo>
                        <a:lnTo>
                          <a:pt x="244" y="908"/>
                        </a:lnTo>
                        <a:lnTo>
                          <a:pt x="242" y="918"/>
                        </a:lnTo>
                        <a:lnTo>
                          <a:pt x="244" y="922"/>
                        </a:lnTo>
                        <a:lnTo>
                          <a:pt x="248" y="924"/>
                        </a:lnTo>
                        <a:lnTo>
                          <a:pt x="254" y="924"/>
                        </a:lnTo>
                        <a:lnTo>
                          <a:pt x="262" y="920"/>
                        </a:lnTo>
                        <a:lnTo>
                          <a:pt x="270" y="916"/>
                        </a:lnTo>
                        <a:lnTo>
                          <a:pt x="284" y="904"/>
                        </a:lnTo>
                        <a:lnTo>
                          <a:pt x="284" y="904"/>
                        </a:lnTo>
                        <a:lnTo>
                          <a:pt x="292" y="900"/>
                        </a:lnTo>
                        <a:lnTo>
                          <a:pt x="300" y="898"/>
                        </a:lnTo>
                        <a:lnTo>
                          <a:pt x="308" y="898"/>
                        </a:lnTo>
                        <a:lnTo>
                          <a:pt x="316" y="902"/>
                        </a:lnTo>
                        <a:lnTo>
                          <a:pt x="326" y="906"/>
                        </a:lnTo>
                        <a:lnTo>
                          <a:pt x="336" y="912"/>
                        </a:lnTo>
                        <a:lnTo>
                          <a:pt x="352" y="926"/>
                        </a:lnTo>
                        <a:lnTo>
                          <a:pt x="352" y="926"/>
                        </a:lnTo>
                        <a:lnTo>
                          <a:pt x="358" y="930"/>
                        </a:lnTo>
                        <a:lnTo>
                          <a:pt x="362" y="932"/>
                        </a:lnTo>
                        <a:lnTo>
                          <a:pt x="366" y="930"/>
                        </a:lnTo>
                        <a:lnTo>
                          <a:pt x="370" y="926"/>
                        </a:lnTo>
                        <a:lnTo>
                          <a:pt x="376" y="918"/>
                        </a:lnTo>
                        <a:lnTo>
                          <a:pt x="380" y="916"/>
                        </a:lnTo>
                        <a:lnTo>
                          <a:pt x="386" y="918"/>
                        </a:lnTo>
                        <a:lnTo>
                          <a:pt x="386" y="918"/>
                        </a:lnTo>
                        <a:lnTo>
                          <a:pt x="392" y="920"/>
                        </a:lnTo>
                        <a:lnTo>
                          <a:pt x="402" y="918"/>
                        </a:lnTo>
                        <a:lnTo>
                          <a:pt x="420" y="912"/>
                        </a:lnTo>
                        <a:lnTo>
                          <a:pt x="432" y="908"/>
                        </a:lnTo>
                        <a:lnTo>
                          <a:pt x="432" y="908"/>
                        </a:lnTo>
                        <a:lnTo>
                          <a:pt x="432" y="910"/>
                        </a:lnTo>
                        <a:lnTo>
                          <a:pt x="430" y="916"/>
                        </a:lnTo>
                        <a:lnTo>
                          <a:pt x="430" y="916"/>
                        </a:lnTo>
                        <a:lnTo>
                          <a:pt x="418" y="932"/>
                        </a:lnTo>
                        <a:lnTo>
                          <a:pt x="412" y="946"/>
                        </a:lnTo>
                        <a:lnTo>
                          <a:pt x="410" y="962"/>
                        </a:lnTo>
                        <a:lnTo>
                          <a:pt x="410" y="978"/>
                        </a:lnTo>
                        <a:lnTo>
                          <a:pt x="410" y="978"/>
                        </a:lnTo>
                        <a:lnTo>
                          <a:pt x="408" y="986"/>
                        </a:lnTo>
                        <a:lnTo>
                          <a:pt x="406" y="990"/>
                        </a:lnTo>
                        <a:lnTo>
                          <a:pt x="402" y="992"/>
                        </a:lnTo>
                        <a:lnTo>
                          <a:pt x="396" y="994"/>
                        </a:lnTo>
                        <a:lnTo>
                          <a:pt x="392" y="998"/>
                        </a:lnTo>
                        <a:lnTo>
                          <a:pt x="386" y="1000"/>
                        </a:lnTo>
                        <a:lnTo>
                          <a:pt x="380" y="1008"/>
                        </a:lnTo>
                        <a:lnTo>
                          <a:pt x="374" y="1018"/>
                        </a:lnTo>
                        <a:lnTo>
                          <a:pt x="374" y="1018"/>
                        </a:lnTo>
                        <a:lnTo>
                          <a:pt x="368" y="1028"/>
                        </a:lnTo>
                        <a:lnTo>
                          <a:pt x="360" y="1036"/>
                        </a:lnTo>
                        <a:lnTo>
                          <a:pt x="352" y="1040"/>
                        </a:lnTo>
                        <a:lnTo>
                          <a:pt x="342" y="1044"/>
                        </a:lnTo>
                        <a:lnTo>
                          <a:pt x="332" y="1048"/>
                        </a:lnTo>
                        <a:lnTo>
                          <a:pt x="324" y="1054"/>
                        </a:lnTo>
                        <a:lnTo>
                          <a:pt x="314" y="1060"/>
                        </a:lnTo>
                        <a:lnTo>
                          <a:pt x="306" y="1072"/>
                        </a:lnTo>
                        <a:lnTo>
                          <a:pt x="306" y="1072"/>
                        </a:lnTo>
                        <a:lnTo>
                          <a:pt x="300" y="1082"/>
                        </a:lnTo>
                        <a:lnTo>
                          <a:pt x="296" y="1088"/>
                        </a:lnTo>
                        <a:lnTo>
                          <a:pt x="292" y="1090"/>
                        </a:lnTo>
                        <a:lnTo>
                          <a:pt x="288" y="1088"/>
                        </a:lnTo>
                        <a:lnTo>
                          <a:pt x="276" y="1086"/>
                        </a:lnTo>
                        <a:lnTo>
                          <a:pt x="268" y="1088"/>
                        </a:lnTo>
                        <a:lnTo>
                          <a:pt x="254" y="1090"/>
                        </a:lnTo>
                        <a:lnTo>
                          <a:pt x="254" y="1090"/>
                        </a:lnTo>
                        <a:lnTo>
                          <a:pt x="244" y="1096"/>
                        </a:lnTo>
                        <a:lnTo>
                          <a:pt x="236" y="1100"/>
                        </a:lnTo>
                        <a:lnTo>
                          <a:pt x="232" y="1104"/>
                        </a:lnTo>
                        <a:lnTo>
                          <a:pt x="228" y="1110"/>
                        </a:lnTo>
                        <a:lnTo>
                          <a:pt x="222" y="1118"/>
                        </a:lnTo>
                        <a:lnTo>
                          <a:pt x="218" y="1124"/>
                        </a:lnTo>
                        <a:lnTo>
                          <a:pt x="210" y="1128"/>
                        </a:lnTo>
                        <a:lnTo>
                          <a:pt x="210" y="1128"/>
                        </a:lnTo>
                        <a:lnTo>
                          <a:pt x="200" y="1132"/>
                        </a:lnTo>
                        <a:lnTo>
                          <a:pt x="194" y="1138"/>
                        </a:lnTo>
                        <a:lnTo>
                          <a:pt x="188" y="1144"/>
                        </a:lnTo>
                        <a:lnTo>
                          <a:pt x="186" y="1148"/>
                        </a:lnTo>
                        <a:lnTo>
                          <a:pt x="188" y="1152"/>
                        </a:lnTo>
                        <a:lnTo>
                          <a:pt x="192" y="1154"/>
                        </a:lnTo>
                        <a:lnTo>
                          <a:pt x="200" y="1154"/>
                        </a:lnTo>
                        <a:lnTo>
                          <a:pt x="212" y="1150"/>
                        </a:lnTo>
                        <a:lnTo>
                          <a:pt x="212" y="1150"/>
                        </a:lnTo>
                        <a:lnTo>
                          <a:pt x="224" y="1144"/>
                        </a:lnTo>
                        <a:lnTo>
                          <a:pt x="234" y="1138"/>
                        </a:lnTo>
                        <a:lnTo>
                          <a:pt x="248" y="1124"/>
                        </a:lnTo>
                        <a:lnTo>
                          <a:pt x="256" y="1116"/>
                        </a:lnTo>
                        <a:lnTo>
                          <a:pt x="258" y="1116"/>
                        </a:lnTo>
                        <a:lnTo>
                          <a:pt x="262" y="1120"/>
                        </a:lnTo>
                        <a:lnTo>
                          <a:pt x="262" y="1120"/>
                        </a:lnTo>
                        <a:lnTo>
                          <a:pt x="266" y="1124"/>
                        </a:lnTo>
                        <a:lnTo>
                          <a:pt x="270" y="1124"/>
                        </a:lnTo>
                        <a:lnTo>
                          <a:pt x="278" y="1122"/>
                        </a:lnTo>
                        <a:lnTo>
                          <a:pt x="282" y="1120"/>
                        </a:lnTo>
                        <a:lnTo>
                          <a:pt x="284" y="1120"/>
                        </a:lnTo>
                        <a:lnTo>
                          <a:pt x="288" y="1124"/>
                        </a:lnTo>
                        <a:lnTo>
                          <a:pt x="290" y="1128"/>
                        </a:lnTo>
                        <a:lnTo>
                          <a:pt x="290" y="1128"/>
                        </a:lnTo>
                        <a:lnTo>
                          <a:pt x="292" y="1136"/>
                        </a:lnTo>
                        <a:lnTo>
                          <a:pt x="296" y="1138"/>
                        </a:lnTo>
                        <a:lnTo>
                          <a:pt x="298" y="1140"/>
                        </a:lnTo>
                        <a:lnTo>
                          <a:pt x="302" y="1138"/>
                        </a:lnTo>
                        <a:lnTo>
                          <a:pt x="306" y="1136"/>
                        </a:lnTo>
                        <a:lnTo>
                          <a:pt x="308" y="1130"/>
                        </a:lnTo>
                        <a:lnTo>
                          <a:pt x="308" y="1126"/>
                        </a:lnTo>
                        <a:lnTo>
                          <a:pt x="306" y="1120"/>
                        </a:lnTo>
                        <a:lnTo>
                          <a:pt x="306" y="1120"/>
                        </a:lnTo>
                        <a:lnTo>
                          <a:pt x="306" y="1114"/>
                        </a:lnTo>
                        <a:lnTo>
                          <a:pt x="308" y="1110"/>
                        </a:lnTo>
                        <a:lnTo>
                          <a:pt x="312" y="1106"/>
                        </a:lnTo>
                        <a:lnTo>
                          <a:pt x="316" y="1102"/>
                        </a:lnTo>
                        <a:lnTo>
                          <a:pt x="322" y="1100"/>
                        </a:lnTo>
                        <a:lnTo>
                          <a:pt x="328" y="1100"/>
                        </a:lnTo>
                        <a:lnTo>
                          <a:pt x="332" y="1102"/>
                        </a:lnTo>
                        <a:lnTo>
                          <a:pt x="334" y="1108"/>
                        </a:lnTo>
                        <a:lnTo>
                          <a:pt x="334" y="1108"/>
                        </a:lnTo>
                        <a:lnTo>
                          <a:pt x="334" y="1110"/>
                        </a:lnTo>
                        <a:lnTo>
                          <a:pt x="336" y="1110"/>
                        </a:lnTo>
                        <a:lnTo>
                          <a:pt x="340" y="1110"/>
                        </a:lnTo>
                        <a:lnTo>
                          <a:pt x="354" y="1100"/>
                        </a:lnTo>
                        <a:lnTo>
                          <a:pt x="372" y="1088"/>
                        </a:lnTo>
                        <a:lnTo>
                          <a:pt x="380" y="1084"/>
                        </a:lnTo>
                        <a:lnTo>
                          <a:pt x="388" y="1082"/>
                        </a:lnTo>
                        <a:lnTo>
                          <a:pt x="388" y="1082"/>
                        </a:lnTo>
                        <a:lnTo>
                          <a:pt x="394" y="1082"/>
                        </a:lnTo>
                        <a:lnTo>
                          <a:pt x="396" y="1080"/>
                        </a:lnTo>
                        <a:lnTo>
                          <a:pt x="394" y="1074"/>
                        </a:lnTo>
                        <a:lnTo>
                          <a:pt x="394" y="1068"/>
                        </a:lnTo>
                        <a:lnTo>
                          <a:pt x="398" y="1062"/>
                        </a:lnTo>
                        <a:lnTo>
                          <a:pt x="408" y="1052"/>
                        </a:lnTo>
                        <a:lnTo>
                          <a:pt x="424" y="1042"/>
                        </a:lnTo>
                        <a:lnTo>
                          <a:pt x="424" y="1042"/>
                        </a:lnTo>
                        <a:lnTo>
                          <a:pt x="440" y="1032"/>
                        </a:lnTo>
                        <a:lnTo>
                          <a:pt x="452" y="1024"/>
                        </a:lnTo>
                        <a:lnTo>
                          <a:pt x="462" y="1016"/>
                        </a:lnTo>
                        <a:lnTo>
                          <a:pt x="468" y="1010"/>
                        </a:lnTo>
                        <a:lnTo>
                          <a:pt x="478" y="998"/>
                        </a:lnTo>
                        <a:lnTo>
                          <a:pt x="484" y="994"/>
                        </a:lnTo>
                        <a:lnTo>
                          <a:pt x="492" y="988"/>
                        </a:lnTo>
                        <a:lnTo>
                          <a:pt x="492" y="988"/>
                        </a:lnTo>
                        <a:lnTo>
                          <a:pt x="516" y="976"/>
                        </a:lnTo>
                        <a:lnTo>
                          <a:pt x="538" y="964"/>
                        </a:lnTo>
                        <a:lnTo>
                          <a:pt x="548" y="956"/>
                        </a:lnTo>
                        <a:lnTo>
                          <a:pt x="556" y="950"/>
                        </a:lnTo>
                        <a:lnTo>
                          <a:pt x="562" y="942"/>
                        </a:lnTo>
                        <a:lnTo>
                          <a:pt x="566" y="934"/>
                        </a:lnTo>
                        <a:lnTo>
                          <a:pt x="566" y="934"/>
                        </a:lnTo>
                        <a:lnTo>
                          <a:pt x="568" y="928"/>
                        </a:lnTo>
                        <a:lnTo>
                          <a:pt x="572" y="922"/>
                        </a:lnTo>
                        <a:lnTo>
                          <a:pt x="580" y="916"/>
                        </a:lnTo>
                        <a:lnTo>
                          <a:pt x="588" y="912"/>
                        </a:lnTo>
                        <a:lnTo>
                          <a:pt x="592" y="906"/>
                        </a:lnTo>
                        <a:lnTo>
                          <a:pt x="592" y="900"/>
                        </a:lnTo>
                        <a:lnTo>
                          <a:pt x="592" y="900"/>
                        </a:lnTo>
                        <a:lnTo>
                          <a:pt x="592" y="898"/>
                        </a:lnTo>
                        <a:lnTo>
                          <a:pt x="590" y="896"/>
                        </a:lnTo>
                        <a:lnTo>
                          <a:pt x="582" y="892"/>
                        </a:lnTo>
                        <a:lnTo>
                          <a:pt x="564" y="892"/>
                        </a:lnTo>
                        <a:lnTo>
                          <a:pt x="556" y="890"/>
                        </a:lnTo>
                        <a:lnTo>
                          <a:pt x="554" y="890"/>
                        </a:lnTo>
                        <a:lnTo>
                          <a:pt x="554" y="888"/>
                        </a:lnTo>
                        <a:lnTo>
                          <a:pt x="554" y="886"/>
                        </a:lnTo>
                        <a:lnTo>
                          <a:pt x="556" y="882"/>
                        </a:lnTo>
                        <a:lnTo>
                          <a:pt x="570" y="870"/>
                        </a:lnTo>
                        <a:lnTo>
                          <a:pt x="570" y="870"/>
                        </a:lnTo>
                        <a:lnTo>
                          <a:pt x="598" y="846"/>
                        </a:lnTo>
                        <a:lnTo>
                          <a:pt x="616" y="828"/>
                        </a:lnTo>
                        <a:lnTo>
                          <a:pt x="630" y="810"/>
                        </a:lnTo>
                        <a:lnTo>
                          <a:pt x="644" y="786"/>
                        </a:lnTo>
                        <a:lnTo>
                          <a:pt x="644" y="786"/>
                        </a:lnTo>
                        <a:lnTo>
                          <a:pt x="654" y="774"/>
                        </a:lnTo>
                        <a:lnTo>
                          <a:pt x="666" y="764"/>
                        </a:lnTo>
                        <a:lnTo>
                          <a:pt x="680" y="756"/>
                        </a:lnTo>
                        <a:lnTo>
                          <a:pt x="694" y="750"/>
                        </a:lnTo>
                        <a:lnTo>
                          <a:pt x="710" y="750"/>
                        </a:lnTo>
                        <a:lnTo>
                          <a:pt x="726" y="752"/>
                        </a:lnTo>
                        <a:lnTo>
                          <a:pt x="742" y="758"/>
                        </a:lnTo>
                        <a:lnTo>
                          <a:pt x="750" y="764"/>
                        </a:lnTo>
                        <a:lnTo>
                          <a:pt x="758" y="770"/>
                        </a:lnTo>
                        <a:lnTo>
                          <a:pt x="758" y="770"/>
                        </a:lnTo>
                        <a:lnTo>
                          <a:pt x="768" y="782"/>
                        </a:lnTo>
                        <a:lnTo>
                          <a:pt x="770" y="784"/>
                        </a:lnTo>
                        <a:lnTo>
                          <a:pt x="770" y="784"/>
                        </a:lnTo>
                        <a:lnTo>
                          <a:pt x="752" y="776"/>
                        </a:lnTo>
                        <a:lnTo>
                          <a:pt x="738" y="768"/>
                        </a:lnTo>
                        <a:lnTo>
                          <a:pt x="720" y="764"/>
                        </a:lnTo>
                        <a:lnTo>
                          <a:pt x="712" y="762"/>
                        </a:lnTo>
                        <a:lnTo>
                          <a:pt x="704" y="762"/>
                        </a:lnTo>
                        <a:lnTo>
                          <a:pt x="696" y="764"/>
                        </a:lnTo>
                        <a:lnTo>
                          <a:pt x="690" y="768"/>
                        </a:lnTo>
                        <a:lnTo>
                          <a:pt x="690" y="768"/>
                        </a:lnTo>
                        <a:lnTo>
                          <a:pt x="680" y="776"/>
                        </a:lnTo>
                        <a:lnTo>
                          <a:pt x="674" y="784"/>
                        </a:lnTo>
                        <a:lnTo>
                          <a:pt x="672" y="790"/>
                        </a:lnTo>
                        <a:lnTo>
                          <a:pt x="672" y="796"/>
                        </a:lnTo>
                        <a:lnTo>
                          <a:pt x="672" y="802"/>
                        </a:lnTo>
                        <a:lnTo>
                          <a:pt x="670" y="810"/>
                        </a:lnTo>
                        <a:lnTo>
                          <a:pt x="666" y="818"/>
                        </a:lnTo>
                        <a:lnTo>
                          <a:pt x="658" y="828"/>
                        </a:lnTo>
                        <a:lnTo>
                          <a:pt x="658" y="828"/>
                        </a:lnTo>
                        <a:lnTo>
                          <a:pt x="652" y="836"/>
                        </a:lnTo>
                        <a:lnTo>
                          <a:pt x="650" y="844"/>
                        </a:lnTo>
                        <a:lnTo>
                          <a:pt x="652" y="848"/>
                        </a:lnTo>
                        <a:lnTo>
                          <a:pt x="656" y="852"/>
                        </a:lnTo>
                        <a:lnTo>
                          <a:pt x="660" y="856"/>
                        </a:lnTo>
                        <a:lnTo>
                          <a:pt x="662" y="858"/>
                        </a:lnTo>
                        <a:lnTo>
                          <a:pt x="662" y="862"/>
                        </a:lnTo>
                        <a:lnTo>
                          <a:pt x="656" y="866"/>
                        </a:lnTo>
                        <a:lnTo>
                          <a:pt x="656" y="866"/>
                        </a:lnTo>
                        <a:lnTo>
                          <a:pt x="646" y="874"/>
                        </a:lnTo>
                        <a:lnTo>
                          <a:pt x="644" y="876"/>
                        </a:lnTo>
                        <a:lnTo>
                          <a:pt x="644" y="878"/>
                        </a:lnTo>
                        <a:lnTo>
                          <a:pt x="646" y="880"/>
                        </a:lnTo>
                        <a:lnTo>
                          <a:pt x="648" y="882"/>
                        </a:lnTo>
                        <a:lnTo>
                          <a:pt x="658" y="884"/>
                        </a:lnTo>
                        <a:lnTo>
                          <a:pt x="670" y="884"/>
                        </a:lnTo>
                        <a:lnTo>
                          <a:pt x="684" y="882"/>
                        </a:lnTo>
                        <a:lnTo>
                          <a:pt x="698" y="876"/>
                        </a:lnTo>
                        <a:lnTo>
                          <a:pt x="712" y="866"/>
                        </a:lnTo>
                        <a:lnTo>
                          <a:pt x="712" y="866"/>
                        </a:lnTo>
                        <a:lnTo>
                          <a:pt x="732" y="850"/>
                        </a:lnTo>
                        <a:lnTo>
                          <a:pt x="748" y="840"/>
                        </a:lnTo>
                        <a:lnTo>
                          <a:pt x="762" y="834"/>
                        </a:lnTo>
                        <a:lnTo>
                          <a:pt x="778" y="834"/>
                        </a:lnTo>
                        <a:lnTo>
                          <a:pt x="778" y="834"/>
                        </a:lnTo>
                        <a:lnTo>
                          <a:pt x="786" y="832"/>
                        </a:lnTo>
                        <a:lnTo>
                          <a:pt x="790" y="830"/>
                        </a:lnTo>
                        <a:lnTo>
                          <a:pt x="790" y="828"/>
                        </a:lnTo>
                        <a:lnTo>
                          <a:pt x="790" y="824"/>
                        </a:lnTo>
                        <a:lnTo>
                          <a:pt x="790" y="820"/>
                        </a:lnTo>
                        <a:lnTo>
                          <a:pt x="790" y="818"/>
                        </a:lnTo>
                        <a:lnTo>
                          <a:pt x="794" y="814"/>
                        </a:lnTo>
                        <a:lnTo>
                          <a:pt x="800" y="810"/>
                        </a:lnTo>
                        <a:lnTo>
                          <a:pt x="800" y="810"/>
                        </a:lnTo>
                        <a:lnTo>
                          <a:pt x="804" y="806"/>
                        </a:lnTo>
                        <a:lnTo>
                          <a:pt x="806" y="802"/>
                        </a:lnTo>
                        <a:lnTo>
                          <a:pt x="804" y="796"/>
                        </a:lnTo>
                        <a:lnTo>
                          <a:pt x="802" y="790"/>
                        </a:lnTo>
                        <a:lnTo>
                          <a:pt x="800" y="784"/>
                        </a:lnTo>
                        <a:lnTo>
                          <a:pt x="800" y="780"/>
                        </a:lnTo>
                        <a:lnTo>
                          <a:pt x="804" y="776"/>
                        </a:lnTo>
                        <a:lnTo>
                          <a:pt x="812" y="774"/>
                        </a:lnTo>
                        <a:lnTo>
                          <a:pt x="812" y="774"/>
                        </a:lnTo>
                        <a:lnTo>
                          <a:pt x="824" y="772"/>
                        </a:lnTo>
                        <a:lnTo>
                          <a:pt x="834" y="770"/>
                        </a:lnTo>
                        <a:lnTo>
                          <a:pt x="850" y="764"/>
                        </a:lnTo>
                        <a:lnTo>
                          <a:pt x="856" y="764"/>
                        </a:lnTo>
                        <a:lnTo>
                          <a:pt x="860" y="764"/>
                        </a:lnTo>
                        <a:lnTo>
                          <a:pt x="862" y="768"/>
                        </a:lnTo>
                        <a:lnTo>
                          <a:pt x="862" y="774"/>
                        </a:lnTo>
                        <a:lnTo>
                          <a:pt x="862" y="774"/>
                        </a:lnTo>
                        <a:lnTo>
                          <a:pt x="862" y="780"/>
                        </a:lnTo>
                        <a:lnTo>
                          <a:pt x="866" y="784"/>
                        </a:lnTo>
                        <a:lnTo>
                          <a:pt x="870" y="788"/>
                        </a:lnTo>
                        <a:lnTo>
                          <a:pt x="874" y="790"/>
                        </a:lnTo>
                        <a:lnTo>
                          <a:pt x="888" y="794"/>
                        </a:lnTo>
                        <a:lnTo>
                          <a:pt x="896" y="798"/>
                        </a:lnTo>
                        <a:lnTo>
                          <a:pt x="906" y="802"/>
                        </a:lnTo>
                        <a:lnTo>
                          <a:pt x="906" y="802"/>
                        </a:lnTo>
                        <a:lnTo>
                          <a:pt x="912" y="806"/>
                        </a:lnTo>
                        <a:lnTo>
                          <a:pt x="918" y="806"/>
                        </a:lnTo>
                        <a:lnTo>
                          <a:pt x="922" y="804"/>
                        </a:lnTo>
                        <a:lnTo>
                          <a:pt x="924" y="802"/>
                        </a:lnTo>
                        <a:lnTo>
                          <a:pt x="926" y="800"/>
                        </a:lnTo>
                        <a:lnTo>
                          <a:pt x="930" y="800"/>
                        </a:lnTo>
                        <a:lnTo>
                          <a:pt x="934" y="804"/>
                        </a:lnTo>
                        <a:lnTo>
                          <a:pt x="940" y="810"/>
                        </a:lnTo>
                        <a:lnTo>
                          <a:pt x="940" y="810"/>
                        </a:lnTo>
                        <a:lnTo>
                          <a:pt x="948" y="820"/>
                        </a:lnTo>
                        <a:lnTo>
                          <a:pt x="958" y="824"/>
                        </a:lnTo>
                        <a:lnTo>
                          <a:pt x="968" y="828"/>
                        </a:lnTo>
                        <a:lnTo>
                          <a:pt x="978" y="828"/>
                        </a:lnTo>
                        <a:lnTo>
                          <a:pt x="1002" y="826"/>
                        </a:lnTo>
                        <a:lnTo>
                          <a:pt x="1024" y="824"/>
                        </a:lnTo>
                        <a:lnTo>
                          <a:pt x="1024" y="824"/>
                        </a:lnTo>
                        <a:lnTo>
                          <a:pt x="1036" y="826"/>
                        </a:lnTo>
                        <a:lnTo>
                          <a:pt x="1050" y="830"/>
                        </a:lnTo>
                        <a:lnTo>
                          <a:pt x="1076" y="842"/>
                        </a:lnTo>
                        <a:lnTo>
                          <a:pt x="1090" y="846"/>
                        </a:lnTo>
                        <a:lnTo>
                          <a:pt x="1104" y="850"/>
                        </a:lnTo>
                        <a:lnTo>
                          <a:pt x="1116" y="850"/>
                        </a:lnTo>
                        <a:lnTo>
                          <a:pt x="1122" y="848"/>
                        </a:lnTo>
                        <a:lnTo>
                          <a:pt x="1126" y="846"/>
                        </a:lnTo>
                        <a:lnTo>
                          <a:pt x="1126" y="846"/>
                        </a:lnTo>
                        <a:lnTo>
                          <a:pt x="1136" y="842"/>
                        </a:lnTo>
                        <a:lnTo>
                          <a:pt x="1142" y="840"/>
                        </a:lnTo>
                        <a:lnTo>
                          <a:pt x="1146" y="840"/>
                        </a:lnTo>
                        <a:lnTo>
                          <a:pt x="1150" y="842"/>
                        </a:lnTo>
                        <a:lnTo>
                          <a:pt x="1150" y="846"/>
                        </a:lnTo>
                        <a:lnTo>
                          <a:pt x="1150" y="850"/>
                        </a:lnTo>
                        <a:lnTo>
                          <a:pt x="1146" y="854"/>
                        </a:lnTo>
                        <a:lnTo>
                          <a:pt x="1142" y="858"/>
                        </a:lnTo>
                        <a:lnTo>
                          <a:pt x="1142" y="858"/>
                        </a:lnTo>
                        <a:lnTo>
                          <a:pt x="1138" y="860"/>
                        </a:lnTo>
                        <a:lnTo>
                          <a:pt x="1140" y="864"/>
                        </a:lnTo>
                        <a:lnTo>
                          <a:pt x="1146" y="868"/>
                        </a:lnTo>
                        <a:lnTo>
                          <a:pt x="1154" y="874"/>
                        </a:lnTo>
                        <a:lnTo>
                          <a:pt x="1174" y="882"/>
                        </a:lnTo>
                        <a:lnTo>
                          <a:pt x="1192" y="892"/>
                        </a:lnTo>
                        <a:lnTo>
                          <a:pt x="1192" y="892"/>
                        </a:lnTo>
                        <a:lnTo>
                          <a:pt x="1206" y="900"/>
                        </a:lnTo>
                        <a:lnTo>
                          <a:pt x="1216" y="912"/>
                        </a:lnTo>
                        <a:lnTo>
                          <a:pt x="1228" y="924"/>
                        </a:lnTo>
                        <a:lnTo>
                          <a:pt x="1244" y="934"/>
                        </a:lnTo>
                        <a:lnTo>
                          <a:pt x="1244" y="934"/>
                        </a:lnTo>
                        <a:lnTo>
                          <a:pt x="1254" y="938"/>
                        </a:lnTo>
                        <a:lnTo>
                          <a:pt x="1264" y="940"/>
                        </a:lnTo>
                        <a:lnTo>
                          <a:pt x="1272" y="940"/>
                        </a:lnTo>
                        <a:lnTo>
                          <a:pt x="1278" y="940"/>
                        </a:lnTo>
                        <a:lnTo>
                          <a:pt x="1282" y="938"/>
                        </a:lnTo>
                        <a:lnTo>
                          <a:pt x="1284" y="934"/>
                        </a:lnTo>
                        <a:lnTo>
                          <a:pt x="1284" y="930"/>
                        </a:lnTo>
                        <a:lnTo>
                          <a:pt x="1280" y="924"/>
                        </a:lnTo>
                        <a:lnTo>
                          <a:pt x="1280" y="924"/>
                        </a:lnTo>
                        <a:lnTo>
                          <a:pt x="1272" y="912"/>
                        </a:lnTo>
                        <a:lnTo>
                          <a:pt x="1268" y="904"/>
                        </a:lnTo>
                        <a:lnTo>
                          <a:pt x="1268" y="902"/>
                        </a:lnTo>
                        <a:lnTo>
                          <a:pt x="1270" y="902"/>
                        </a:lnTo>
                        <a:lnTo>
                          <a:pt x="1282" y="912"/>
                        </a:lnTo>
                        <a:lnTo>
                          <a:pt x="1282" y="912"/>
                        </a:lnTo>
                        <a:lnTo>
                          <a:pt x="1298" y="928"/>
                        </a:lnTo>
                        <a:lnTo>
                          <a:pt x="1314" y="938"/>
                        </a:lnTo>
                        <a:lnTo>
                          <a:pt x="1320" y="940"/>
                        </a:lnTo>
                        <a:lnTo>
                          <a:pt x="1324" y="940"/>
                        </a:lnTo>
                        <a:lnTo>
                          <a:pt x="1326" y="938"/>
                        </a:lnTo>
                        <a:lnTo>
                          <a:pt x="1326" y="930"/>
                        </a:lnTo>
                        <a:lnTo>
                          <a:pt x="1326" y="930"/>
                        </a:lnTo>
                        <a:lnTo>
                          <a:pt x="1322" y="916"/>
                        </a:lnTo>
                        <a:lnTo>
                          <a:pt x="1322" y="908"/>
                        </a:lnTo>
                        <a:lnTo>
                          <a:pt x="1322" y="906"/>
                        </a:lnTo>
                        <a:lnTo>
                          <a:pt x="1324" y="908"/>
                        </a:lnTo>
                        <a:lnTo>
                          <a:pt x="1332" y="922"/>
                        </a:lnTo>
                        <a:lnTo>
                          <a:pt x="1332" y="922"/>
                        </a:lnTo>
                        <a:lnTo>
                          <a:pt x="1338" y="930"/>
                        </a:lnTo>
                        <a:lnTo>
                          <a:pt x="1344" y="934"/>
                        </a:lnTo>
                        <a:lnTo>
                          <a:pt x="1348" y="936"/>
                        </a:lnTo>
                        <a:lnTo>
                          <a:pt x="1354" y="938"/>
                        </a:lnTo>
                        <a:lnTo>
                          <a:pt x="1358" y="938"/>
                        </a:lnTo>
                        <a:lnTo>
                          <a:pt x="1362" y="940"/>
                        </a:lnTo>
                        <a:lnTo>
                          <a:pt x="1368" y="942"/>
                        </a:lnTo>
                        <a:lnTo>
                          <a:pt x="1372" y="950"/>
                        </a:lnTo>
                        <a:lnTo>
                          <a:pt x="1372" y="950"/>
                        </a:lnTo>
                        <a:lnTo>
                          <a:pt x="1378" y="966"/>
                        </a:lnTo>
                        <a:lnTo>
                          <a:pt x="1382" y="976"/>
                        </a:lnTo>
                        <a:lnTo>
                          <a:pt x="1384" y="982"/>
                        </a:lnTo>
                        <a:lnTo>
                          <a:pt x="1390" y="988"/>
                        </a:lnTo>
                        <a:lnTo>
                          <a:pt x="1390" y="988"/>
                        </a:lnTo>
                        <a:lnTo>
                          <a:pt x="1394" y="992"/>
                        </a:lnTo>
                        <a:lnTo>
                          <a:pt x="1394" y="996"/>
                        </a:lnTo>
                        <a:lnTo>
                          <a:pt x="1390" y="1002"/>
                        </a:lnTo>
                        <a:lnTo>
                          <a:pt x="1388" y="1006"/>
                        </a:lnTo>
                        <a:lnTo>
                          <a:pt x="1388" y="1008"/>
                        </a:lnTo>
                        <a:lnTo>
                          <a:pt x="1392" y="1012"/>
                        </a:lnTo>
                        <a:lnTo>
                          <a:pt x="1398" y="1014"/>
                        </a:lnTo>
                        <a:lnTo>
                          <a:pt x="1398" y="1014"/>
                        </a:lnTo>
                        <a:lnTo>
                          <a:pt x="1412" y="1020"/>
                        </a:lnTo>
                        <a:lnTo>
                          <a:pt x="1414" y="1024"/>
                        </a:lnTo>
                        <a:lnTo>
                          <a:pt x="1416" y="1026"/>
                        </a:lnTo>
                        <a:lnTo>
                          <a:pt x="1422" y="1036"/>
                        </a:lnTo>
                        <a:lnTo>
                          <a:pt x="1426" y="1042"/>
                        </a:lnTo>
                        <a:lnTo>
                          <a:pt x="1434" y="1052"/>
                        </a:lnTo>
                        <a:lnTo>
                          <a:pt x="1434" y="1052"/>
                        </a:lnTo>
                        <a:lnTo>
                          <a:pt x="1452" y="1064"/>
                        </a:lnTo>
                        <a:lnTo>
                          <a:pt x="1464" y="1070"/>
                        </a:lnTo>
                        <a:lnTo>
                          <a:pt x="1466" y="1074"/>
                        </a:lnTo>
                        <a:lnTo>
                          <a:pt x="1460" y="1076"/>
                        </a:lnTo>
                        <a:lnTo>
                          <a:pt x="1460" y="1076"/>
                        </a:lnTo>
                        <a:lnTo>
                          <a:pt x="1452" y="1080"/>
                        </a:lnTo>
                        <a:lnTo>
                          <a:pt x="1450" y="1086"/>
                        </a:lnTo>
                        <a:lnTo>
                          <a:pt x="1448" y="1092"/>
                        </a:lnTo>
                        <a:lnTo>
                          <a:pt x="1442" y="1100"/>
                        </a:lnTo>
                        <a:lnTo>
                          <a:pt x="1442" y="1100"/>
                        </a:lnTo>
                        <a:lnTo>
                          <a:pt x="1440" y="1104"/>
                        </a:lnTo>
                        <a:lnTo>
                          <a:pt x="1440" y="1108"/>
                        </a:lnTo>
                        <a:lnTo>
                          <a:pt x="1440" y="1112"/>
                        </a:lnTo>
                        <a:lnTo>
                          <a:pt x="1442" y="1114"/>
                        </a:lnTo>
                        <a:lnTo>
                          <a:pt x="1446" y="1116"/>
                        </a:lnTo>
                        <a:lnTo>
                          <a:pt x="1450" y="1114"/>
                        </a:lnTo>
                        <a:lnTo>
                          <a:pt x="1452" y="1112"/>
                        </a:lnTo>
                        <a:lnTo>
                          <a:pt x="1456" y="1106"/>
                        </a:lnTo>
                        <a:lnTo>
                          <a:pt x="1456" y="1106"/>
                        </a:lnTo>
                        <a:lnTo>
                          <a:pt x="1462" y="1092"/>
                        </a:lnTo>
                        <a:lnTo>
                          <a:pt x="1466" y="1088"/>
                        </a:lnTo>
                        <a:lnTo>
                          <a:pt x="1470" y="1084"/>
                        </a:lnTo>
                        <a:lnTo>
                          <a:pt x="1474" y="1082"/>
                        </a:lnTo>
                        <a:lnTo>
                          <a:pt x="1478" y="1084"/>
                        </a:lnTo>
                        <a:lnTo>
                          <a:pt x="1484" y="1088"/>
                        </a:lnTo>
                        <a:lnTo>
                          <a:pt x="1488" y="1094"/>
                        </a:lnTo>
                        <a:lnTo>
                          <a:pt x="1488" y="1094"/>
                        </a:lnTo>
                        <a:lnTo>
                          <a:pt x="1492" y="1104"/>
                        </a:lnTo>
                        <a:lnTo>
                          <a:pt x="1494" y="1112"/>
                        </a:lnTo>
                        <a:lnTo>
                          <a:pt x="1494" y="1118"/>
                        </a:lnTo>
                        <a:lnTo>
                          <a:pt x="1492" y="1124"/>
                        </a:lnTo>
                        <a:lnTo>
                          <a:pt x="1488" y="1134"/>
                        </a:lnTo>
                        <a:lnTo>
                          <a:pt x="1488" y="1138"/>
                        </a:lnTo>
                        <a:lnTo>
                          <a:pt x="1488" y="1144"/>
                        </a:lnTo>
                        <a:lnTo>
                          <a:pt x="1488" y="1144"/>
                        </a:lnTo>
                        <a:lnTo>
                          <a:pt x="1492" y="1152"/>
                        </a:lnTo>
                        <a:lnTo>
                          <a:pt x="1494" y="1160"/>
                        </a:lnTo>
                        <a:lnTo>
                          <a:pt x="1496" y="1164"/>
                        </a:lnTo>
                        <a:lnTo>
                          <a:pt x="1498" y="1164"/>
                        </a:lnTo>
                        <a:lnTo>
                          <a:pt x="1502" y="1162"/>
                        </a:lnTo>
                        <a:lnTo>
                          <a:pt x="1508" y="1158"/>
                        </a:lnTo>
                        <a:lnTo>
                          <a:pt x="1508" y="1158"/>
                        </a:lnTo>
                        <a:lnTo>
                          <a:pt x="1516" y="1150"/>
                        </a:lnTo>
                        <a:lnTo>
                          <a:pt x="1524" y="1142"/>
                        </a:lnTo>
                        <a:lnTo>
                          <a:pt x="1526" y="1138"/>
                        </a:lnTo>
                        <a:lnTo>
                          <a:pt x="1526" y="1132"/>
                        </a:lnTo>
                        <a:lnTo>
                          <a:pt x="1524" y="1118"/>
                        </a:lnTo>
                        <a:lnTo>
                          <a:pt x="1524" y="1118"/>
                        </a:lnTo>
                        <a:lnTo>
                          <a:pt x="1522" y="1106"/>
                        </a:lnTo>
                        <a:lnTo>
                          <a:pt x="1524" y="1098"/>
                        </a:lnTo>
                        <a:lnTo>
                          <a:pt x="1528" y="1094"/>
                        </a:lnTo>
                        <a:lnTo>
                          <a:pt x="1530" y="1090"/>
                        </a:lnTo>
                        <a:lnTo>
                          <a:pt x="1530" y="1090"/>
                        </a:lnTo>
                        <a:lnTo>
                          <a:pt x="1528" y="1098"/>
                        </a:lnTo>
                        <a:lnTo>
                          <a:pt x="1530" y="1106"/>
                        </a:lnTo>
                        <a:lnTo>
                          <a:pt x="1532" y="1118"/>
                        </a:lnTo>
                        <a:lnTo>
                          <a:pt x="1534" y="1130"/>
                        </a:lnTo>
                        <a:lnTo>
                          <a:pt x="1532" y="1136"/>
                        </a:lnTo>
                        <a:lnTo>
                          <a:pt x="1530" y="1140"/>
                        </a:lnTo>
                        <a:lnTo>
                          <a:pt x="1530" y="1140"/>
                        </a:lnTo>
                        <a:lnTo>
                          <a:pt x="1526" y="1142"/>
                        </a:lnTo>
                        <a:lnTo>
                          <a:pt x="1526" y="1146"/>
                        </a:lnTo>
                        <a:lnTo>
                          <a:pt x="1526" y="1152"/>
                        </a:lnTo>
                        <a:lnTo>
                          <a:pt x="1526" y="1160"/>
                        </a:lnTo>
                        <a:lnTo>
                          <a:pt x="1524" y="1162"/>
                        </a:lnTo>
                        <a:lnTo>
                          <a:pt x="1522" y="1166"/>
                        </a:lnTo>
                        <a:lnTo>
                          <a:pt x="1522" y="1166"/>
                        </a:lnTo>
                        <a:lnTo>
                          <a:pt x="1516" y="1172"/>
                        </a:lnTo>
                        <a:lnTo>
                          <a:pt x="1512" y="1178"/>
                        </a:lnTo>
                        <a:lnTo>
                          <a:pt x="1512" y="1182"/>
                        </a:lnTo>
                        <a:lnTo>
                          <a:pt x="1512" y="1186"/>
                        </a:lnTo>
                        <a:lnTo>
                          <a:pt x="1518" y="1192"/>
                        </a:lnTo>
                        <a:lnTo>
                          <a:pt x="1520" y="1194"/>
                        </a:lnTo>
                        <a:lnTo>
                          <a:pt x="1524" y="1198"/>
                        </a:lnTo>
                        <a:lnTo>
                          <a:pt x="1524" y="1198"/>
                        </a:lnTo>
                        <a:lnTo>
                          <a:pt x="1528" y="1210"/>
                        </a:lnTo>
                        <a:lnTo>
                          <a:pt x="1534" y="1222"/>
                        </a:lnTo>
                        <a:lnTo>
                          <a:pt x="1542" y="1232"/>
                        </a:lnTo>
                        <a:lnTo>
                          <a:pt x="1554" y="1244"/>
                        </a:lnTo>
                        <a:lnTo>
                          <a:pt x="1554" y="1244"/>
                        </a:lnTo>
                        <a:lnTo>
                          <a:pt x="1558" y="1246"/>
                        </a:lnTo>
                        <a:lnTo>
                          <a:pt x="1560" y="1244"/>
                        </a:lnTo>
                        <a:lnTo>
                          <a:pt x="1562" y="1236"/>
                        </a:lnTo>
                        <a:lnTo>
                          <a:pt x="1564" y="1230"/>
                        </a:lnTo>
                        <a:lnTo>
                          <a:pt x="1566" y="1224"/>
                        </a:lnTo>
                        <a:lnTo>
                          <a:pt x="1574" y="1218"/>
                        </a:lnTo>
                        <a:lnTo>
                          <a:pt x="1584" y="1216"/>
                        </a:lnTo>
                        <a:lnTo>
                          <a:pt x="1584" y="1216"/>
                        </a:lnTo>
                        <a:lnTo>
                          <a:pt x="1592" y="1216"/>
                        </a:lnTo>
                        <a:lnTo>
                          <a:pt x="1594" y="1216"/>
                        </a:lnTo>
                        <a:lnTo>
                          <a:pt x="1586" y="1222"/>
                        </a:lnTo>
                        <a:lnTo>
                          <a:pt x="1582" y="1228"/>
                        </a:lnTo>
                        <a:lnTo>
                          <a:pt x="1578" y="1234"/>
                        </a:lnTo>
                        <a:lnTo>
                          <a:pt x="1574" y="1240"/>
                        </a:lnTo>
                        <a:lnTo>
                          <a:pt x="1576" y="1248"/>
                        </a:lnTo>
                        <a:lnTo>
                          <a:pt x="1576" y="1248"/>
                        </a:lnTo>
                        <a:lnTo>
                          <a:pt x="1582" y="1258"/>
                        </a:lnTo>
                        <a:lnTo>
                          <a:pt x="1586" y="1260"/>
                        </a:lnTo>
                        <a:lnTo>
                          <a:pt x="1588" y="1262"/>
                        </a:lnTo>
                        <a:lnTo>
                          <a:pt x="1590" y="1274"/>
                        </a:lnTo>
                        <a:lnTo>
                          <a:pt x="1590" y="1274"/>
                        </a:lnTo>
                        <a:lnTo>
                          <a:pt x="1592" y="1280"/>
                        </a:lnTo>
                        <a:lnTo>
                          <a:pt x="1596" y="1280"/>
                        </a:lnTo>
                        <a:lnTo>
                          <a:pt x="1600" y="1280"/>
                        </a:lnTo>
                        <a:lnTo>
                          <a:pt x="1604" y="1278"/>
                        </a:lnTo>
                        <a:lnTo>
                          <a:pt x="1608" y="1278"/>
                        </a:lnTo>
                        <a:lnTo>
                          <a:pt x="1610" y="1278"/>
                        </a:lnTo>
                        <a:lnTo>
                          <a:pt x="1610" y="1280"/>
                        </a:lnTo>
                        <a:lnTo>
                          <a:pt x="1606" y="1290"/>
                        </a:lnTo>
                        <a:lnTo>
                          <a:pt x="1606" y="1290"/>
                        </a:lnTo>
                        <a:lnTo>
                          <a:pt x="1598" y="1306"/>
                        </a:lnTo>
                        <a:lnTo>
                          <a:pt x="1596" y="1318"/>
                        </a:lnTo>
                        <a:lnTo>
                          <a:pt x="1598" y="1322"/>
                        </a:lnTo>
                        <a:lnTo>
                          <a:pt x="1600" y="1322"/>
                        </a:lnTo>
                        <a:lnTo>
                          <a:pt x="1600" y="1322"/>
                        </a:lnTo>
                        <a:lnTo>
                          <a:pt x="1602" y="1322"/>
                        </a:lnTo>
                        <a:lnTo>
                          <a:pt x="1602" y="1324"/>
                        </a:lnTo>
                        <a:lnTo>
                          <a:pt x="1602" y="1330"/>
                        </a:lnTo>
                        <a:lnTo>
                          <a:pt x="1602" y="1336"/>
                        </a:lnTo>
                        <a:lnTo>
                          <a:pt x="1604" y="1340"/>
                        </a:lnTo>
                        <a:lnTo>
                          <a:pt x="1608" y="1342"/>
                        </a:lnTo>
                        <a:lnTo>
                          <a:pt x="1608" y="1342"/>
                        </a:lnTo>
                        <a:lnTo>
                          <a:pt x="1610" y="1342"/>
                        </a:lnTo>
                        <a:lnTo>
                          <a:pt x="1612" y="1340"/>
                        </a:lnTo>
                        <a:lnTo>
                          <a:pt x="1614" y="1330"/>
                        </a:lnTo>
                        <a:lnTo>
                          <a:pt x="1616" y="1320"/>
                        </a:lnTo>
                        <a:lnTo>
                          <a:pt x="1618" y="1316"/>
                        </a:lnTo>
                        <a:lnTo>
                          <a:pt x="1622" y="1314"/>
                        </a:lnTo>
                        <a:lnTo>
                          <a:pt x="1622" y="1314"/>
                        </a:lnTo>
                        <a:lnTo>
                          <a:pt x="1630" y="1310"/>
                        </a:lnTo>
                        <a:lnTo>
                          <a:pt x="1636" y="1304"/>
                        </a:lnTo>
                        <a:lnTo>
                          <a:pt x="1642" y="1300"/>
                        </a:lnTo>
                        <a:lnTo>
                          <a:pt x="1642" y="1300"/>
                        </a:lnTo>
                        <a:lnTo>
                          <a:pt x="1644" y="1304"/>
                        </a:lnTo>
                        <a:lnTo>
                          <a:pt x="1644" y="1304"/>
                        </a:lnTo>
                        <a:lnTo>
                          <a:pt x="1646" y="1306"/>
                        </a:lnTo>
                        <a:lnTo>
                          <a:pt x="1648" y="1308"/>
                        </a:lnTo>
                        <a:lnTo>
                          <a:pt x="1654" y="1308"/>
                        </a:lnTo>
                        <a:lnTo>
                          <a:pt x="1660" y="1308"/>
                        </a:lnTo>
                        <a:lnTo>
                          <a:pt x="1660" y="1310"/>
                        </a:lnTo>
                        <a:lnTo>
                          <a:pt x="1660" y="1314"/>
                        </a:lnTo>
                        <a:lnTo>
                          <a:pt x="1660" y="1314"/>
                        </a:lnTo>
                        <a:lnTo>
                          <a:pt x="1660" y="1318"/>
                        </a:lnTo>
                        <a:lnTo>
                          <a:pt x="1658" y="1318"/>
                        </a:lnTo>
                        <a:lnTo>
                          <a:pt x="1656" y="1316"/>
                        </a:lnTo>
                        <a:lnTo>
                          <a:pt x="1652" y="1314"/>
                        </a:lnTo>
                        <a:lnTo>
                          <a:pt x="1648" y="1312"/>
                        </a:lnTo>
                        <a:lnTo>
                          <a:pt x="1642" y="1314"/>
                        </a:lnTo>
                        <a:lnTo>
                          <a:pt x="1634" y="1318"/>
                        </a:lnTo>
                        <a:lnTo>
                          <a:pt x="1634" y="1318"/>
                        </a:lnTo>
                        <a:lnTo>
                          <a:pt x="1622" y="1330"/>
                        </a:lnTo>
                        <a:lnTo>
                          <a:pt x="1618" y="1336"/>
                        </a:lnTo>
                        <a:lnTo>
                          <a:pt x="1618" y="1342"/>
                        </a:lnTo>
                        <a:lnTo>
                          <a:pt x="1618" y="1350"/>
                        </a:lnTo>
                        <a:lnTo>
                          <a:pt x="1618" y="1350"/>
                        </a:lnTo>
                        <a:lnTo>
                          <a:pt x="1620" y="1356"/>
                        </a:lnTo>
                        <a:lnTo>
                          <a:pt x="1622" y="1358"/>
                        </a:lnTo>
                        <a:lnTo>
                          <a:pt x="1626" y="1360"/>
                        </a:lnTo>
                        <a:lnTo>
                          <a:pt x="1628" y="1362"/>
                        </a:lnTo>
                        <a:lnTo>
                          <a:pt x="1624" y="1366"/>
                        </a:lnTo>
                        <a:lnTo>
                          <a:pt x="1624" y="1366"/>
                        </a:lnTo>
                        <a:lnTo>
                          <a:pt x="1622" y="1368"/>
                        </a:lnTo>
                        <a:lnTo>
                          <a:pt x="1622" y="1370"/>
                        </a:lnTo>
                        <a:lnTo>
                          <a:pt x="1624" y="1372"/>
                        </a:lnTo>
                        <a:lnTo>
                          <a:pt x="1626" y="1374"/>
                        </a:lnTo>
                        <a:lnTo>
                          <a:pt x="1624" y="1376"/>
                        </a:lnTo>
                        <a:lnTo>
                          <a:pt x="1624" y="1376"/>
                        </a:lnTo>
                        <a:lnTo>
                          <a:pt x="1620" y="1378"/>
                        </a:lnTo>
                        <a:lnTo>
                          <a:pt x="1620" y="1382"/>
                        </a:lnTo>
                        <a:lnTo>
                          <a:pt x="1620" y="1384"/>
                        </a:lnTo>
                        <a:lnTo>
                          <a:pt x="1622" y="1386"/>
                        </a:lnTo>
                        <a:lnTo>
                          <a:pt x="1630" y="1392"/>
                        </a:lnTo>
                        <a:lnTo>
                          <a:pt x="1642" y="1396"/>
                        </a:lnTo>
                        <a:lnTo>
                          <a:pt x="1642" y="1396"/>
                        </a:lnTo>
                        <a:lnTo>
                          <a:pt x="1650" y="1398"/>
                        </a:lnTo>
                        <a:lnTo>
                          <a:pt x="1656" y="1396"/>
                        </a:lnTo>
                        <a:lnTo>
                          <a:pt x="1662" y="1394"/>
                        </a:lnTo>
                        <a:lnTo>
                          <a:pt x="1670" y="1394"/>
                        </a:lnTo>
                        <a:lnTo>
                          <a:pt x="1670" y="1394"/>
                        </a:lnTo>
                        <a:lnTo>
                          <a:pt x="1676" y="1396"/>
                        </a:lnTo>
                        <a:lnTo>
                          <a:pt x="1676" y="1398"/>
                        </a:lnTo>
                        <a:lnTo>
                          <a:pt x="1676" y="1400"/>
                        </a:lnTo>
                        <a:lnTo>
                          <a:pt x="1682" y="1400"/>
                        </a:lnTo>
                        <a:lnTo>
                          <a:pt x="1682" y="1400"/>
                        </a:lnTo>
                        <a:lnTo>
                          <a:pt x="1688" y="1402"/>
                        </a:lnTo>
                        <a:lnTo>
                          <a:pt x="1688" y="1404"/>
                        </a:lnTo>
                        <a:lnTo>
                          <a:pt x="1686" y="1412"/>
                        </a:lnTo>
                        <a:lnTo>
                          <a:pt x="1686" y="1416"/>
                        </a:lnTo>
                        <a:lnTo>
                          <a:pt x="1686" y="1420"/>
                        </a:lnTo>
                        <a:lnTo>
                          <a:pt x="1688" y="1422"/>
                        </a:lnTo>
                        <a:lnTo>
                          <a:pt x="1694" y="1420"/>
                        </a:lnTo>
                        <a:lnTo>
                          <a:pt x="1694" y="1420"/>
                        </a:lnTo>
                        <a:lnTo>
                          <a:pt x="1700" y="1420"/>
                        </a:lnTo>
                        <a:lnTo>
                          <a:pt x="1702" y="1422"/>
                        </a:lnTo>
                        <a:lnTo>
                          <a:pt x="1706" y="1424"/>
                        </a:lnTo>
                        <a:lnTo>
                          <a:pt x="1714" y="1422"/>
                        </a:lnTo>
                        <a:lnTo>
                          <a:pt x="1714" y="1422"/>
                        </a:lnTo>
                        <a:lnTo>
                          <a:pt x="1718" y="1422"/>
                        </a:lnTo>
                        <a:lnTo>
                          <a:pt x="1722" y="1422"/>
                        </a:lnTo>
                        <a:lnTo>
                          <a:pt x="1730" y="1426"/>
                        </a:lnTo>
                        <a:lnTo>
                          <a:pt x="1736" y="1430"/>
                        </a:lnTo>
                        <a:lnTo>
                          <a:pt x="1738" y="1430"/>
                        </a:lnTo>
                        <a:lnTo>
                          <a:pt x="1742" y="1428"/>
                        </a:lnTo>
                        <a:lnTo>
                          <a:pt x="1742" y="1428"/>
                        </a:lnTo>
                        <a:lnTo>
                          <a:pt x="1744" y="1428"/>
                        </a:lnTo>
                        <a:lnTo>
                          <a:pt x="1748" y="1430"/>
                        </a:lnTo>
                        <a:lnTo>
                          <a:pt x="1750" y="1434"/>
                        </a:lnTo>
                        <a:lnTo>
                          <a:pt x="1750" y="1442"/>
                        </a:lnTo>
                        <a:lnTo>
                          <a:pt x="1748" y="1444"/>
                        </a:lnTo>
                        <a:lnTo>
                          <a:pt x="1744" y="1446"/>
                        </a:lnTo>
                        <a:lnTo>
                          <a:pt x="1744" y="1446"/>
                        </a:lnTo>
                        <a:lnTo>
                          <a:pt x="1742" y="1448"/>
                        </a:lnTo>
                        <a:lnTo>
                          <a:pt x="1742" y="1450"/>
                        </a:lnTo>
                        <a:lnTo>
                          <a:pt x="1748" y="1458"/>
                        </a:lnTo>
                        <a:lnTo>
                          <a:pt x="1758" y="1464"/>
                        </a:lnTo>
                        <a:lnTo>
                          <a:pt x="1764" y="1464"/>
                        </a:lnTo>
                        <a:lnTo>
                          <a:pt x="1768" y="1464"/>
                        </a:lnTo>
                        <a:lnTo>
                          <a:pt x="1768" y="1464"/>
                        </a:lnTo>
                        <a:lnTo>
                          <a:pt x="1774" y="1458"/>
                        </a:lnTo>
                        <a:lnTo>
                          <a:pt x="1778" y="1454"/>
                        </a:lnTo>
                        <a:lnTo>
                          <a:pt x="1778" y="1452"/>
                        </a:lnTo>
                        <a:lnTo>
                          <a:pt x="1778" y="1454"/>
                        </a:lnTo>
                        <a:lnTo>
                          <a:pt x="1780" y="1460"/>
                        </a:lnTo>
                        <a:lnTo>
                          <a:pt x="1780" y="1460"/>
                        </a:lnTo>
                        <a:lnTo>
                          <a:pt x="1780" y="1468"/>
                        </a:lnTo>
                        <a:lnTo>
                          <a:pt x="1784" y="1470"/>
                        </a:lnTo>
                        <a:lnTo>
                          <a:pt x="1786" y="1470"/>
                        </a:lnTo>
                        <a:lnTo>
                          <a:pt x="1786" y="1474"/>
                        </a:lnTo>
                        <a:lnTo>
                          <a:pt x="1786" y="1474"/>
                        </a:lnTo>
                        <a:lnTo>
                          <a:pt x="1784" y="1476"/>
                        </a:lnTo>
                        <a:lnTo>
                          <a:pt x="1782" y="1476"/>
                        </a:lnTo>
                        <a:lnTo>
                          <a:pt x="1780" y="1472"/>
                        </a:lnTo>
                        <a:lnTo>
                          <a:pt x="1776" y="1468"/>
                        </a:lnTo>
                        <a:lnTo>
                          <a:pt x="1774" y="1468"/>
                        </a:lnTo>
                        <a:lnTo>
                          <a:pt x="1772" y="1470"/>
                        </a:lnTo>
                        <a:lnTo>
                          <a:pt x="1772" y="1470"/>
                        </a:lnTo>
                        <a:lnTo>
                          <a:pt x="1770" y="1472"/>
                        </a:lnTo>
                        <a:lnTo>
                          <a:pt x="1772" y="1476"/>
                        </a:lnTo>
                        <a:lnTo>
                          <a:pt x="1780" y="1484"/>
                        </a:lnTo>
                        <a:lnTo>
                          <a:pt x="1790" y="1486"/>
                        </a:lnTo>
                        <a:lnTo>
                          <a:pt x="1794" y="1486"/>
                        </a:lnTo>
                        <a:lnTo>
                          <a:pt x="1794" y="1484"/>
                        </a:lnTo>
                        <a:lnTo>
                          <a:pt x="1794" y="1484"/>
                        </a:lnTo>
                        <a:lnTo>
                          <a:pt x="1796" y="1478"/>
                        </a:lnTo>
                        <a:lnTo>
                          <a:pt x="1800" y="1474"/>
                        </a:lnTo>
                        <a:lnTo>
                          <a:pt x="1804" y="1474"/>
                        </a:lnTo>
                        <a:lnTo>
                          <a:pt x="1804" y="1478"/>
                        </a:lnTo>
                        <a:lnTo>
                          <a:pt x="1804" y="1478"/>
                        </a:lnTo>
                        <a:lnTo>
                          <a:pt x="1804" y="1486"/>
                        </a:lnTo>
                        <a:lnTo>
                          <a:pt x="1806" y="1492"/>
                        </a:lnTo>
                        <a:lnTo>
                          <a:pt x="1808" y="1498"/>
                        </a:lnTo>
                        <a:lnTo>
                          <a:pt x="1808" y="1504"/>
                        </a:lnTo>
                        <a:lnTo>
                          <a:pt x="1808" y="1504"/>
                        </a:lnTo>
                        <a:lnTo>
                          <a:pt x="1808" y="1510"/>
                        </a:lnTo>
                        <a:lnTo>
                          <a:pt x="1810" y="1512"/>
                        </a:lnTo>
                        <a:lnTo>
                          <a:pt x="1812" y="1510"/>
                        </a:lnTo>
                        <a:lnTo>
                          <a:pt x="1816" y="1506"/>
                        </a:lnTo>
                        <a:lnTo>
                          <a:pt x="1816" y="1506"/>
                        </a:lnTo>
                        <a:lnTo>
                          <a:pt x="1818" y="1504"/>
                        </a:lnTo>
                        <a:lnTo>
                          <a:pt x="1820" y="1506"/>
                        </a:lnTo>
                        <a:lnTo>
                          <a:pt x="1822" y="1508"/>
                        </a:lnTo>
                        <a:lnTo>
                          <a:pt x="1822" y="1508"/>
                        </a:lnTo>
                        <a:lnTo>
                          <a:pt x="1822" y="1516"/>
                        </a:lnTo>
                        <a:lnTo>
                          <a:pt x="1824" y="1520"/>
                        </a:lnTo>
                        <a:lnTo>
                          <a:pt x="1828" y="1526"/>
                        </a:lnTo>
                        <a:lnTo>
                          <a:pt x="1832" y="1528"/>
                        </a:lnTo>
                        <a:lnTo>
                          <a:pt x="1832" y="1530"/>
                        </a:lnTo>
                        <a:lnTo>
                          <a:pt x="1832" y="1534"/>
                        </a:lnTo>
                        <a:lnTo>
                          <a:pt x="1832" y="1534"/>
                        </a:lnTo>
                        <a:lnTo>
                          <a:pt x="1832" y="1538"/>
                        </a:lnTo>
                        <a:lnTo>
                          <a:pt x="1830" y="1538"/>
                        </a:lnTo>
                        <a:lnTo>
                          <a:pt x="1826" y="1540"/>
                        </a:lnTo>
                        <a:lnTo>
                          <a:pt x="1824" y="1540"/>
                        </a:lnTo>
                        <a:lnTo>
                          <a:pt x="1824" y="1542"/>
                        </a:lnTo>
                        <a:lnTo>
                          <a:pt x="1830" y="1550"/>
                        </a:lnTo>
                        <a:lnTo>
                          <a:pt x="1830" y="1550"/>
                        </a:lnTo>
                        <a:lnTo>
                          <a:pt x="1836" y="1562"/>
                        </a:lnTo>
                        <a:lnTo>
                          <a:pt x="1840" y="1570"/>
                        </a:lnTo>
                        <a:lnTo>
                          <a:pt x="1840" y="1582"/>
                        </a:lnTo>
                        <a:lnTo>
                          <a:pt x="1840" y="1600"/>
                        </a:lnTo>
                        <a:lnTo>
                          <a:pt x="1840" y="1600"/>
                        </a:lnTo>
                        <a:lnTo>
                          <a:pt x="1838" y="1608"/>
                        </a:lnTo>
                        <a:lnTo>
                          <a:pt x="1836" y="1610"/>
                        </a:lnTo>
                        <a:lnTo>
                          <a:pt x="1834" y="1608"/>
                        </a:lnTo>
                        <a:lnTo>
                          <a:pt x="1834" y="1604"/>
                        </a:lnTo>
                        <a:lnTo>
                          <a:pt x="1828" y="1570"/>
                        </a:lnTo>
                        <a:lnTo>
                          <a:pt x="1828" y="1570"/>
                        </a:lnTo>
                        <a:lnTo>
                          <a:pt x="1824" y="1564"/>
                        </a:lnTo>
                        <a:lnTo>
                          <a:pt x="1816" y="1560"/>
                        </a:lnTo>
                        <a:lnTo>
                          <a:pt x="1808" y="1558"/>
                        </a:lnTo>
                        <a:lnTo>
                          <a:pt x="1798" y="1556"/>
                        </a:lnTo>
                        <a:lnTo>
                          <a:pt x="1776" y="1554"/>
                        </a:lnTo>
                        <a:lnTo>
                          <a:pt x="1766" y="1552"/>
                        </a:lnTo>
                        <a:lnTo>
                          <a:pt x="1758" y="1548"/>
                        </a:lnTo>
                        <a:lnTo>
                          <a:pt x="1758" y="1548"/>
                        </a:lnTo>
                        <a:lnTo>
                          <a:pt x="1752" y="1546"/>
                        </a:lnTo>
                        <a:lnTo>
                          <a:pt x="1746" y="1546"/>
                        </a:lnTo>
                        <a:lnTo>
                          <a:pt x="1744" y="1548"/>
                        </a:lnTo>
                        <a:lnTo>
                          <a:pt x="1742" y="1552"/>
                        </a:lnTo>
                        <a:lnTo>
                          <a:pt x="1744" y="1556"/>
                        </a:lnTo>
                        <a:lnTo>
                          <a:pt x="1746" y="1564"/>
                        </a:lnTo>
                        <a:lnTo>
                          <a:pt x="1754" y="1578"/>
                        </a:lnTo>
                        <a:lnTo>
                          <a:pt x="1754" y="1578"/>
                        </a:lnTo>
                        <a:lnTo>
                          <a:pt x="1758" y="1586"/>
                        </a:lnTo>
                        <a:lnTo>
                          <a:pt x="1764" y="1598"/>
                        </a:lnTo>
                        <a:lnTo>
                          <a:pt x="1770" y="1626"/>
                        </a:lnTo>
                        <a:lnTo>
                          <a:pt x="1774" y="1658"/>
                        </a:lnTo>
                        <a:lnTo>
                          <a:pt x="1774" y="1690"/>
                        </a:lnTo>
                        <a:lnTo>
                          <a:pt x="1774" y="1690"/>
                        </a:lnTo>
                        <a:lnTo>
                          <a:pt x="1774" y="1726"/>
                        </a:lnTo>
                        <a:lnTo>
                          <a:pt x="1770" y="1768"/>
                        </a:lnTo>
                        <a:lnTo>
                          <a:pt x="1766" y="1810"/>
                        </a:lnTo>
                        <a:lnTo>
                          <a:pt x="1762" y="1828"/>
                        </a:lnTo>
                        <a:lnTo>
                          <a:pt x="1756" y="1842"/>
                        </a:lnTo>
                        <a:lnTo>
                          <a:pt x="1756" y="1842"/>
                        </a:lnTo>
                        <a:lnTo>
                          <a:pt x="1754" y="1854"/>
                        </a:lnTo>
                        <a:lnTo>
                          <a:pt x="1754" y="1870"/>
                        </a:lnTo>
                        <a:lnTo>
                          <a:pt x="1756" y="1886"/>
                        </a:lnTo>
                        <a:lnTo>
                          <a:pt x="1760" y="1904"/>
                        </a:lnTo>
                        <a:lnTo>
                          <a:pt x="1764" y="1920"/>
                        </a:lnTo>
                        <a:lnTo>
                          <a:pt x="1766" y="1938"/>
                        </a:lnTo>
                        <a:lnTo>
                          <a:pt x="1766" y="1956"/>
                        </a:lnTo>
                        <a:lnTo>
                          <a:pt x="1762" y="1972"/>
                        </a:lnTo>
                        <a:lnTo>
                          <a:pt x="1762" y="1972"/>
                        </a:lnTo>
                        <a:lnTo>
                          <a:pt x="1760" y="1986"/>
                        </a:lnTo>
                        <a:lnTo>
                          <a:pt x="1758" y="1996"/>
                        </a:lnTo>
                        <a:lnTo>
                          <a:pt x="1762" y="2006"/>
                        </a:lnTo>
                        <a:lnTo>
                          <a:pt x="1766" y="2012"/>
                        </a:lnTo>
                        <a:lnTo>
                          <a:pt x="1774" y="2030"/>
                        </a:lnTo>
                        <a:lnTo>
                          <a:pt x="1778" y="2042"/>
                        </a:lnTo>
                        <a:lnTo>
                          <a:pt x="1780" y="2056"/>
                        </a:lnTo>
                        <a:lnTo>
                          <a:pt x="1780" y="2056"/>
                        </a:lnTo>
                        <a:lnTo>
                          <a:pt x="1784" y="2072"/>
                        </a:lnTo>
                        <a:lnTo>
                          <a:pt x="1786" y="2082"/>
                        </a:lnTo>
                        <a:lnTo>
                          <a:pt x="1792" y="2090"/>
                        </a:lnTo>
                        <a:lnTo>
                          <a:pt x="1798" y="2096"/>
                        </a:lnTo>
                        <a:lnTo>
                          <a:pt x="1808" y="2104"/>
                        </a:lnTo>
                        <a:lnTo>
                          <a:pt x="1812" y="2110"/>
                        </a:lnTo>
                        <a:lnTo>
                          <a:pt x="1814" y="2118"/>
                        </a:lnTo>
                        <a:lnTo>
                          <a:pt x="1814" y="2118"/>
                        </a:lnTo>
                        <a:lnTo>
                          <a:pt x="1816" y="2124"/>
                        </a:lnTo>
                        <a:lnTo>
                          <a:pt x="1818" y="2128"/>
                        </a:lnTo>
                        <a:lnTo>
                          <a:pt x="1824" y="2132"/>
                        </a:lnTo>
                        <a:lnTo>
                          <a:pt x="1828" y="2136"/>
                        </a:lnTo>
                        <a:lnTo>
                          <a:pt x="1832" y="2140"/>
                        </a:lnTo>
                        <a:lnTo>
                          <a:pt x="1834" y="2146"/>
                        </a:lnTo>
                        <a:lnTo>
                          <a:pt x="1836" y="2158"/>
                        </a:lnTo>
                        <a:lnTo>
                          <a:pt x="1836" y="2158"/>
                        </a:lnTo>
                        <a:lnTo>
                          <a:pt x="1838" y="2170"/>
                        </a:lnTo>
                        <a:lnTo>
                          <a:pt x="1842" y="2178"/>
                        </a:lnTo>
                        <a:lnTo>
                          <a:pt x="1846" y="2182"/>
                        </a:lnTo>
                        <a:lnTo>
                          <a:pt x="1852" y="2186"/>
                        </a:lnTo>
                        <a:lnTo>
                          <a:pt x="1856" y="2188"/>
                        </a:lnTo>
                        <a:lnTo>
                          <a:pt x="1860" y="2190"/>
                        </a:lnTo>
                        <a:lnTo>
                          <a:pt x="1862" y="2194"/>
                        </a:lnTo>
                        <a:lnTo>
                          <a:pt x="1860" y="2200"/>
                        </a:lnTo>
                        <a:lnTo>
                          <a:pt x="1860" y="2200"/>
                        </a:lnTo>
                        <a:lnTo>
                          <a:pt x="1858" y="2208"/>
                        </a:lnTo>
                        <a:lnTo>
                          <a:pt x="1858" y="2214"/>
                        </a:lnTo>
                        <a:lnTo>
                          <a:pt x="1860" y="2218"/>
                        </a:lnTo>
                        <a:lnTo>
                          <a:pt x="1862" y="2224"/>
                        </a:lnTo>
                        <a:lnTo>
                          <a:pt x="1872" y="2238"/>
                        </a:lnTo>
                        <a:lnTo>
                          <a:pt x="1890" y="2260"/>
                        </a:lnTo>
                        <a:lnTo>
                          <a:pt x="1890" y="2260"/>
                        </a:lnTo>
                        <a:lnTo>
                          <a:pt x="1900" y="2272"/>
                        </a:lnTo>
                        <a:lnTo>
                          <a:pt x="1904" y="2282"/>
                        </a:lnTo>
                        <a:lnTo>
                          <a:pt x="1908" y="2292"/>
                        </a:lnTo>
                        <a:lnTo>
                          <a:pt x="1908" y="2298"/>
                        </a:lnTo>
                        <a:lnTo>
                          <a:pt x="1910" y="2310"/>
                        </a:lnTo>
                        <a:lnTo>
                          <a:pt x="1912" y="2314"/>
                        </a:lnTo>
                        <a:lnTo>
                          <a:pt x="1916" y="2318"/>
                        </a:lnTo>
                        <a:lnTo>
                          <a:pt x="1916" y="2318"/>
                        </a:lnTo>
                        <a:lnTo>
                          <a:pt x="1920" y="2322"/>
                        </a:lnTo>
                        <a:lnTo>
                          <a:pt x="1926" y="2324"/>
                        </a:lnTo>
                        <a:lnTo>
                          <a:pt x="1940" y="2326"/>
                        </a:lnTo>
                        <a:lnTo>
                          <a:pt x="1948" y="2328"/>
                        </a:lnTo>
                        <a:lnTo>
                          <a:pt x="1958" y="2332"/>
                        </a:lnTo>
                        <a:lnTo>
                          <a:pt x="1968" y="2336"/>
                        </a:lnTo>
                        <a:lnTo>
                          <a:pt x="1978" y="2344"/>
                        </a:lnTo>
                        <a:lnTo>
                          <a:pt x="1978" y="2344"/>
                        </a:lnTo>
                        <a:lnTo>
                          <a:pt x="1986" y="2352"/>
                        </a:lnTo>
                        <a:lnTo>
                          <a:pt x="1994" y="2358"/>
                        </a:lnTo>
                        <a:lnTo>
                          <a:pt x="2006" y="2360"/>
                        </a:lnTo>
                        <a:lnTo>
                          <a:pt x="2016" y="2364"/>
                        </a:lnTo>
                        <a:lnTo>
                          <a:pt x="2022" y="2368"/>
                        </a:lnTo>
                        <a:lnTo>
                          <a:pt x="2030" y="2374"/>
                        </a:lnTo>
                        <a:lnTo>
                          <a:pt x="2030" y="2374"/>
                        </a:lnTo>
                        <a:lnTo>
                          <a:pt x="2036" y="2382"/>
                        </a:lnTo>
                        <a:lnTo>
                          <a:pt x="2040" y="2388"/>
                        </a:lnTo>
                        <a:lnTo>
                          <a:pt x="2046" y="2400"/>
                        </a:lnTo>
                        <a:lnTo>
                          <a:pt x="2048" y="2410"/>
                        </a:lnTo>
                        <a:lnTo>
                          <a:pt x="2052" y="2424"/>
                        </a:lnTo>
                        <a:lnTo>
                          <a:pt x="2052" y="2424"/>
                        </a:lnTo>
                        <a:lnTo>
                          <a:pt x="2052" y="2424"/>
                        </a:lnTo>
                        <a:lnTo>
                          <a:pt x="2052" y="2424"/>
                        </a:lnTo>
                        <a:lnTo>
                          <a:pt x="2066" y="2454"/>
                        </a:lnTo>
                        <a:lnTo>
                          <a:pt x="2078" y="2480"/>
                        </a:lnTo>
                        <a:lnTo>
                          <a:pt x="2092" y="2520"/>
                        </a:lnTo>
                        <a:lnTo>
                          <a:pt x="2100" y="2548"/>
                        </a:lnTo>
                        <a:lnTo>
                          <a:pt x="2106" y="2560"/>
                        </a:lnTo>
                        <a:lnTo>
                          <a:pt x="2112" y="2568"/>
                        </a:lnTo>
                        <a:lnTo>
                          <a:pt x="2112" y="2568"/>
                        </a:lnTo>
                        <a:lnTo>
                          <a:pt x="2120" y="2578"/>
                        </a:lnTo>
                        <a:lnTo>
                          <a:pt x="2130" y="2586"/>
                        </a:lnTo>
                        <a:lnTo>
                          <a:pt x="2150" y="2604"/>
                        </a:lnTo>
                        <a:lnTo>
                          <a:pt x="2160" y="2614"/>
                        </a:lnTo>
                        <a:lnTo>
                          <a:pt x="2166" y="2624"/>
                        </a:lnTo>
                        <a:lnTo>
                          <a:pt x="2170" y="2636"/>
                        </a:lnTo>
                        <a:lnTo>
                          <a:pt x="2170" y="2650"/>
                        </a:lnTo>
                        <a:lnTo>
                          <a:pt x="2170" y="2650"/>
                        </a:lnTo>
                        <a:lnTo>
                          <a:pt x="2170" y="2656"/>
                        </a:lnTo>
                        <a:lnTo>
                          <a:pt x="2168" y="2662"/>
                        </a:lnTo>
                        <a:lnTo>
                          <a:pt x="2164" y="2664"/>
                        </a:lnTo>
                        <a:lnTo>
                          <a:pt x="2162" y="2668"/>
                        </a:lnTo>
                        <a:lnTo>
                          <a:pt x="2154" y="2668"/>
                        </a:lnTo>
                        <a:lnTo>
                          <a:pt x="2148" y="2668"/>
                        </a:lnTo>
                        <a:lnTo>
                          <a:pt x="2142" y="2668"/>
                        </a:lnTo>
                        <a:lnTo>
                          <a:pt x="2138" y="2668"/>
                        </a:lnTo>
                        <a:lnTo>
                          <a:pt x="2140" y="2672"/>
                        </a:lnTo>
                        <a:lnTo>
                          <a:pt x="2146" y="2682"/>
                        </a:lnTo>
                        <a:lnTo>
                          <a:pt x="2146" y="2682"/>
                        </a:lnTo>
                        <a:lnTo>
                          <a:pt x="2156" y="2692"/>
                        </a:lnTo>
                        <a:lnTo>
                          <a:pt x="2166" y="2700"/>
                        </a:lnTo>
                        <a:lnTo>
                          <a:pt x="2188" y="2716"/>
                        </a:lnTo>
                        <a:lnTo>
                          <a:pt x="2212" y="2730"/>
                        </a:lnTo>
                        <a:lnTo>
                          <a:pt x="2226" y="2738"/>
                        </a:lnTo>
                        <a:lnTo>
                          <a:pt x="2238" y="2748"/>
                        </a:lnTo>
                        <a:lnTo>
                          <a:pt x="2238" y="2748"/>
                        </a:lnTo>
                        <a:lnTo>
                          <a:pt x="2244" y="2754"/>
                        </a:lnTo>
                        <a:lnTo>
                          <a:pt x="2248" y="2758"/>
                        </a:lnTo>
                        <a:lnTo>
                          <a:pt x="2250" y="2764"/>
                        </a:lnTo>
                        <a:lnTo>
                          <a:pt x="2252" y="2770"/>
                        </a:lnTo>
                        <a:lnTo>
                          <a:pt x="2250" y="2782"/>
                        </a:lnTo>
                        <a:lnTo>
                          <a:pt x="2250" y="2794"/>
                        </a:lnTo>
                        <a:lnTo>
                          <a:pt x="2248" y="2808"/>
                        </a:lnTo>
                        <a:lnTo>
                          <a:pt x="2250" y="2814"/>
                        </a:lnTo>
                        <a:lnTo>
                          <a:pt x="2252" y="2820"/>
                        </a:lnTo>
                        <a:lnTo>
                          <a:pt x="2256" y="2828"/>
                        </a:lnTo>
                        <a:lnTo>
                          <a:pt x="2262" y="2834"/>
                        </a:lnTo>
                        <a:lnTo>
                          <a:pt x="2270" y="2842"/>
                        </a:lnTo>
                        <a:lnTo>
                          <a:pt x="2280" y="2850"/>
                        </a:lnTo>
                        <a:lnTo>
                          <a:pt x="2280" y="2850"/>
                        </a:lnTo>
                        <a:lnTo>
                          <a:pt x="2300" y="2866"/>
                        </a:lnTo>
                        <a:lnTo>
                          <a:pt x="2316" y="2882"/>
                        </a:lnTo>
                        <a:lnTo>
                          <a:pt x="2326" y="2894"/>
                        </a:lnTo>
                        <a:lnTo>
                          <a:pt x="2332" y="2906"/>
                        </a:lnTo>
                        <a:lnTo>
                          <a:pt x="2336" y="2914"/>
                        </a:lnTo>
                        <a:lnTo>
                          <a:pt x="2340" y="2918"/>
                        </a:lnTo>
                        <a:lnTo>
                          <a:pt x="2344" y="2920"/>
                        </a:lnTo>
                        <a:lnTo>
                          <a:pt x="2350" y="2916"/>
                        </a:lnTo>
                        <a:lnTo>
                          <a:pt x="2350" y="2916"/>
                        </a:lnTo>
                        <a:lnTo>
                          <a:pt x="2358" y="2910"/>
                        </a:lnTo>
                        <a:lnTo>
                          <a:pt x="2362" y="2906"/>
                        </a:lnTo>
                        <a:lnTo>
                          <a:pt x="2364" y="2900"/>
                        </a:lnTo>
                        <a:lnTo>
                          <a:pt x="2364" y="2896"/>
                        </a:lnTo>
                        <a:lnTo>
                          <a:pt x="2358" y="2884"/>
                        </a:lnTo>
                        <a:lnTo>
                          <a:pt x="2346" y="2864"/>
                        </a:lnTo>
                        <a:lnTo>
                          <a:pt x="2346" y="2864"/>
                        </a:lnTo>
                        <a:lnTo>
                          <a:pt x="2340" y="2856"/>
                        </a:lnTo>
                        <a:lnTo>
                          <a:pt x="2336" y="2850"/>
                        </a:lnTo>
                        <a:lnTo>
                          <a:pt x="2332" y="2850"/>
                        </a:lnTo>
                        <a:lnTo>
                          <a:pt x="2330" y="2850"/>
                        </a:lnTo>
                        <a:lnTo>
                          <a:pt x="2324" y="2854"/>
                        </a:lnTo>
                        <a:lnTo>
                          <a:pt x="2320" y="2854"/>
                        </a:lnTo>
                        <a:lnTo>
                          <a:pt x="2316" y="2850"/>
                        </a:lnTo>
                        <a:lnTo>
                          <a:pt x="2316" y="2850"/>
                        </a:lnTo>
                        <a:lnTo>
                          <a:pt x="2312" y="2846"/>
                        </a:lnTo>
                        <a:lnTo>
                          <a:pt x="2310" y="2842"/>
                        </a:lnTo>
                        <a:lnTo>
                          <a:pt x="2310" y="2832"/>
                        </a:lnTo>
                        <a:lnTo>
                          <a:pt x="2310" y="2826"/>
                        </a:lnTo>
                        <a:lnTo>
                          <a:pt x="2310" y="2820"/>
                        </a:lnTo>
                        <a:lnTo>
                          <a:pt x="2306" y="2810"/>
                        </a:lnTo>
                        <a:lnTo>
                          <a:pt x="2300" y="2798"/>
                        </a:lnTo>
                        <a:lnTo>
                          <a:pt x="2300" y="2798"/>
                        </a:lnTo>
                        <a:lnTo>
                          <a:pt x="2290" y="2776"/>
                        </a:lnTo>
                        <a:lnTo>
                          <a:pt x="2286" y="2762"/>
                        </a:lnTo>
                        <a:lnTo>
                          <a:pt x="2282" y="2748"/>
                        </a:lnTo>
                        <a:lnTo>
                          <a:pt x="2276" y="2730"/>
                        </a:lnTo>
                        <a:lnTo>
                          <a:pt x="2276" y="2730"/>
                        </a:lnTo>
                        <a:lnTo>
                          <a:pt x="2270" y="2718"/>
                        </a:lnTo>
                        <a:lnTo>
                          <a:pt x="2264" y="2708"/>
                        </a:lnTo>
                        <a:lnTo>
                          <a:pt x="2250" y="2690"/>
                        </a:lnTo>
                        <a:lnTo>
                          <a:pt x="2236" y="2672"/>
                        </a:lnTo>
                        <a:lnTo>
                          <a:pt x="2230" y="2662"/>
                        </a:lnTo>
                        <a:lnTo>
                          <a:pt x="2224" y="2648"/>
                        </a:lnTo>
                        <a:lnTo>
                          <a:pt x="2224" y="2648"/>
                        </a:lnTo>
                        <a:lnTo>
                          <a:pt x="2220" y="2636"/>
                        </a:lnTo>
                        <a:lnTo>
                          <a:pt x="2214" y="2624"/>
                        </a:lnTo>
                        <a:lnTo>
                          <a:pt x="2198" y="2604"/>
                        </a:lnTo>
                        <a:lnTo>
                          <a:pt x="2182" y="2584"/>
                        </a:lnTo>
                        <a:lnTo>
                          <a:pt x="2168" y="2564"/>
                        </a:lnTo>
                        <a:lnTo>
                          <a:pt x="2168" y="2564"/>
                        </a:lnTo>
                        <a:lnTo>
                          <a:pt x="2160" y="2550"/>
                        </a:lnTo>
                        <a:lnTo>
                          <a:pt x="2154" y="2534"/>
                        </a:lnTo>
                        <a:lnTo>
                          <a:pt x="2148" y="2516"/>
                        </a:lnTo>
                        <a:lnTo>
                          <a:pt x="2144" y="2498"/>
                        </a:lnTo>
                        <a:lnTo>
                          <a:pt x="2142" y="2482"/>
                        </a:lnTo>
                        <a:lnTo>
                          <a:pt x="2142" y="2470"/>
                        </a:lnTo>
                        <a:lnTo>
                          <a:pt x="2144" y="2466"/>
                        </a:lnTo>
                        <a:lnTo>
                          <a:pt x="2146" y="2464"/>
                        </a:lnTo>
                        <a:lnTo>
                          <a:pt x="2148" y="2464"/>
                        </a:lnTo>
                        <a:lnTo>
                          <a:pt x="2154" y="2466"/>
                        </a:lnTo>
                        <a:lnTo>
                          <a:pt x="2154" y="2466"/>
                        </a:lnTo>
                        <a:lnTo>
                          <a:pt x="2168" y="2474"/>
                        </a:lnTo>
                        <a:lnTo>
                          <a:pt x="2172" y="2476"/>
                        </a:lnTo>
                        <a:lnTo>
                          <a:pt x="2178" y="2474"/>
                        </a:lnTo>
                        <a:lnTo>
                          <a:pt x="2186" y="2478"/>
                        </a:lnTo>
                        <a:lnTo>
                          <a:pt x="2186" y="2478"/>
                        </a:lnTo>
                        <a:lnTo>
                          <a:pt x="2198" y="2484"/>
                        </a:lnTo>
                        <a:lnTo>
                          <a:pt x="2202" y="2488"/>
                        </a:lnTo>
                        <a:lnTo>
                          <a:pt x="2206" y="2492"/>
                        </a:lnTo>
                        <a:lnTo>
                          <a:pt x="2214" y="2508"/>
                        </a:lnTo>
                        <a:lnTo>
                          <a:pt x="2222" y="2536"/>
                        </a:lnTo>
                        <a:lnTo>
                          <a:pt x="2222" y="2536"/>
                        </a:lnTo>
                        <a:lnTo>
                          <a:pt x="2228" y="2556"/>
                        </a:lnTo>
                        <a:lnTo>
                          <a:pt x="2236" y="2574"/>
                        </a:lnTo>
                        <a:lnTo>
                          <a:pt x="2244" y="2594"/>
                        </a:lnTo>
                        <a:lnTo>
                          <a:pt x="2254" y="2612"/>
                        </a:lnTo>
                        <a:lnTo>
                          <a:pt x="2264" y="2628"/>
                        </a:lnTo>
                        <a:lnTo>
                          <a:pt x="2276" y="2642"/>
                        </a:lnTo>
                        <a:lnTo>
                          <a:pt x="2288" y="2654"/>
                        </a:lnTo>
                        <a:lnTo>
                          <a:pt x="2300" y="2664"/>
                        </a:lnTo>
                        <a:lnTo>
                          <a:pt x="2300" y="2664"/>
                        </a:lnTo>
                        <a:lnTo>
                          <a:pt x="2308" y="2672"/>
                        </a:lnTo>
                        <a:lnTo>
                          <a:pt x="2314" y="2678"/>
                        </a:lnTo>
                        <a:lnTo>
                          <a:pt x="2320" y="2694"/>
                        </a:lnTo>
                        <a:lnTo>
                          <a:pt x="2324" y="2700"/>
                        </a:lnTo>
                        <a:lnTo>
                          <a:pt x="2328" y="2706"/>
                        </a:lnTo>
                        <a:lnTo>
                          <a:pt x="2338" y="2714"/>
                        </a:lnTo>
                        <a:lnTo>
                          <a:pt x="2352" y="2722"/>
                        </a:lnTo>
                        <a:lnTo>
                          <a:pt x="2352" y="2722"/>
                        </a:lnTo>
                        <a:lnTo>
                          <a:pt x="2360" y="2724"/>
                        </a:lnTo>
                        <a:lnTo>
                          <a:pt x="2364" y="2728"/>
                        </a:lnTo>
                        <a:lnTo>
                          <a:pt x="2368" y="2732"/>
                        </a:lnTo>
                        <a:lnTo>
                          <a:pt x="2370" y="2736"/>
                        </a:lnTo>
                        <a:lnTo>
                          <a:pt x="2368" y="2746"/>
                        </a:lnTo>
                        <a:lnTo>
                          <a:pt x="2366" y="2754"/>
                        </a:lnTo>
                        <a:lnTo>
                          <a:pt x="2364" y="2764"/>
                        </a:lnTo>
                        <a:lnTo>
                          <a:pt x="2362" y="2772"/>
                        </a:lnTo>
                        <a:lnTo>
                          <a:pt x="2364" y="2776"/>
                        </a:lnTo>
                        <a:lnTo>
                          <a:pt x="2368" y="2782"/>
                        </a:lnTo>
                        <a:lnTo>
                          <a:pt x="2372" y="2786"/>
                        </a:lnTo>
                        <a:lnTo>
                          <a:pt x="2380" y="2790"/>
                        </a:lnTo>
                        <a:lnTo>
                          <a:pt x="2380" y="2790"/>
                        </a:lnTo>
                        <a:lnTo>
                          <a:pt x="2394" y="2798"/>
                        </a:lnTo>
                        <a:lnTo>
                          <a:pt x="2402" y="2804"/>
                        </a:lnTo>
                        <a:lnTo>
                          <a:pt x="2408" y="2810"/>
                        </a:lnTo>
                        <a:lnTo>
                          <a:pt x="2410" y="2816"/>
                        </a:lnTo>
                        <a:lnTo>
                          <a:pt x="2422" y="2834"/>
                        </a:lnTo>
                        <a:lnTo>
                          <a:pt x="2432" y="2848"/>
                        </a:lnTo>
                        <a:lnTo>
                          <a:pt x="2450" y="2864"/>
                        </a:lnTo>
                        <a:lnTo>
                          <a:pt x="2450" y="2864"/>
                        </a:lnTo>
                        <a:lnTo>
                          <a:pt x="2476" y="2890"/>
                        </a:lnTo>
                        <a:lnTo>
                          <a:pt x="2494" y="2912"/>
                        </a:lnTo>
                        <a:lnTo>
                          <a:pt x="2504" y="2928"/>
                        </a:lnTo>
                        <a:lnTo>
                          <a:pt x="2512" y="2942"/>
                        </a:lnTo>
                        <a:lnTo>
                          <a:pt x="2516" y="2954"/>
                        </a:lnTo>
                        <a:lnTo>
                          <a:pt x="2518" y="2964"/>
                        </a:lnTo>
                        <a:lnTo>
                          <a:pt x="2522" y="2976"/>
                        </a:lnTo>
                        <a:lnTo>
                          <a:pt x="2526" y="2988"/>
                        </a:lnTo>
                        <a:lnTo>
                          <a:pt x="2526" y="2988"/>
                        </a:lnTo>
                        <a:lnTo>
                          <a:pt x="2530" y="2998"/>
                        </a:lnTo>
                        <a:lnTo>
                          <a:pt x="2530" y="3010"/>
                        </a:lnTo>
                        <a:lnTo>
                          <a:pt x="2528" y="3020"/>
                        </a:lnTo>
                        <a:lnTo>
                          <a:pt x="2524" y="3028"/>
                        </a:lnTo>
                        <a:lnTo>
                          <a:pt x="2518" y="3038"/>
                        </a:lnTo>
                        <a:lnTo>
                          <a:pt x="2516" y="3050"/>
                        </a:lnTo>
                        <a:lnTo>
                          <a:pt x="2516" y="3060"/>
                        </a:lnTo>
                        <a:lnTo>
                          <a:pt x="2520" y="3072"/>
                        </a:lnTo>
                        <a:lnTo>
                          <a:pt x="2520" y="3072"/>
                        </a:lnTo>
                        <a:lnTo>
                          <a:pt x="2528" y="3084"/>
                        </a:lnTo>
                        <a:lnTo>
                          <a:pt x="2534" y="3094"/>
                        </a:lnTo>
                        <a:lnTo>
                          <a:pt x="2550" y="3106"/>
                        </a:lnTo>
                        <a:lnTo>
                          <a:pt x="2570" y="3120"/>
                        </a:lnTo>
                        <a:lnTo>
                          <a:pt x="2580" y="3130"/>
                        </a:lnTo>
                        <a:lnTo>
                          <a:pt x="2594" y="3140"/>
                        </a:lnTo>
                        <a:lnTo>
                          <a:pt x="2594" y="3140"/>
                        </a:lnTo>
                        <a:lnTo>
                          <a:pt x="2606" y="3152"/>
                        </a:lnTo>
                        <a:lnTo>
                          <a:pt x="2618" y="3158"/>
                        </a:lnTo>
                        <a:lnTo>
                          <a:pt x="2628" y="3162"/>
                        </a:lnTo>
                        <a:lnTo>
                          <a:pt x="2638" y="3164"/>
                        </a:lnTo>
                        <a:lnTo>
                          <a:pt x="2648" y="3168"/>
                        </a:lnTo>
                        <a:lnTo>
                          <a:pt x="2658" y="3170"/>
                        </a:lnTo>
                        <a:lnTo>
                          <a:pt x="2668" y="3176"/>
                        </a:lnTo>
                        <a:lnTo>
                          <a:pt x="2680" y="3186"/>
                        </a:lnTo>
                        <a:lnTo>
                          <a:pt x="2680" y="3186"/>
                        </a:lnTo>
                        <a:lnTo>
                          <a:pt x="2694" y="3198"/>
                        </a:lnTo>
                        <a:lnTo>
                          <a:pt x="2714" y="3210"/>
                        </a:lnTo>
                        <a:lnTo>
                          <a:pt x="2736" y="3224"/>
                        </a:lnTo>
                        <a:lnTo>
                          <a:pt x="2762" y="3236"/>
                        </a:lnTo>
                        <a:lnTo>
                          <a:pt x="2814" y="3260"/>
                        </a:lnTo>
                        <a:lnTo>
                          <a:pt x="2862" y="3278"/>
                        </a:lnTo>
                        <a:lnTo>
                          <a:pt x="2862" y="3278"/>
                        </a:lnTo>
                        <a:lnTo>
                          <a:pt x="2880" y="3282"/>
                        </a:lnTo>
                        <a:lnTo>
                          <a:pt x="2894" y="3282"/>
                        </a:lnTo>
                        <a:lnTo>
                          <a:pt x="2906" y="3278"/>
                        </a:lnTo>
                        <a:lnTo>
                          <a:pt x="2916" y="3272"/>
                        </a:lnTo>
                        <a:lnTo>
                          <a:pt x="2926" y="3266"/>
                        </a:lnTo>
                        <a:lnTo>
                          <a:pt x="2938" y="3260"/>
                        </a:lnTo>
                        <a:lnTo>
                          <a:pt x="2950" y="3258"/>
                        </a:lnTo>
                        <a:lnTo>
                          <a:pt x="2968" y="3260"/>
                        </a:lnTo>
                        <a:lnTo>
                          <a:pt x="2968" y="3260"/>
                        </a:lnTo>
                        <a:lnTo>
                          <a:pt x="2984" y="3264"/>
                        </a:lnTo>
                        <a:lnTo>
                          <a:pt x="2996" y="3272"/>
                        </a:lnTo>
                        <a:lnTo>
                          <a:pt x="3006" y="3280"/>
                        </a:lnTo>
                        <a:lnTo>
                          <a:pt x="3014" y="3290"/>
                        </a:lnTo>
                        <a:lnTo>
                          <a:pt x="3032" y="3314"/>
                        </a:lnTo>
                        <a:lnTo>
                          <a:pt x="3042" y="3326"/>
                        </a:lnTo>
                        <a:lnTo>
                          <a:pt x="3054" y="3338"/>
                        </a:lnTo>
                        <a:lnTo>
                          <a:pt x="3054" y="3338"/>
                        </a:lnTo>
                        <a:lnTo>
                          <a:pt x="3072" y="3356"/>
                        </a:lnTo>
                        <a:lnTo>
                          <a:pt x="3086" y="3364"/>
                        </a:lnTo>
                        <a:lnTo>
                          <a:pt x="3094" y="3368"/>
                        </a:lnTo>
                        <a:lnTo>
                          <a:pt x="3104" y="3368"/>
                        </a:lnTo>
                        <a:lnTo>
                          <a:pt x="3104" y="3368"/>
                        </a:lnTo>
                        <a:lnTo>
                          <a:pt x="3116" y="3368"/>
                        </a:lnTo>
                        <a:lnTo>
                          <a:pt x="3124" y="3370"/>
                        </a:lnTo>
                        <a:lnTo>
                          <a:pt x="3140" y="3376"/>
                        </a:lnTo>
                        <a:lnTo>
                          <a:pt x="3140" y="3376"/>
                        </a:lnTo>
                        <a:lnTo>
                          <a:pt x="3146" y="3382"/>
                        </a:lnTo>
                        <a:lnTo>
                          <a:pt x="3150" y="3386"/>
                        </a:lnTo>
                        <a:lnTo>
                          <a:pt x="3152" y="3388"/>
                        </a:lnTo>
                        <a:lnTo>
                          <a:pt x="3160" y="3390"/>
                        </a:lnTo>
                        <a:lnTo>
                          <a:pt x="3160" y="3390"/>
                        </a:lnTo>
                        <a:lnTo>
                          <a:pt x="3174" y="3392"/>
                        </a:lnTo>
                        <a:lnTo>
                          <a:pt x="3186" y="3398"/>
                        </a:lnTo>
                        <a:lnTo>
                          <a:pt x="3196" y="3404"/>
                        </a:lnTo>
                        <a:lnTo>
                          <a:pt x="3204" y="3406"/>
                        </a:lnTo>
                        <a:lnTo>
                          <a:pt x="3204" y="3406"/>
                        </a:lnTo>
                        <a:lnTo>
                          <a:pt x="3204" y="3406"/>
                        </a:lnTo>
                        <a:lnTo>
                          <a:pt x="3204" y="3404"/>
                        </a:lnTo>
                        <a:lnTo>
                          <a:pt x="3202" y="3402"/>
                        </a:lnTo>
                        <a:lnTo>
                          <a:pt x="3202" y="3400"/>
                        </a:lnTo>
                        <a:lnTo>
                          <a:pt x="3210" y="3404"/>
                        </a:lnTo>
                        <a:lnTo>
                          <a:pt x="3210" y="3404"/>
                        </a:lnTo>
                        <a:lnTo>
                          <a:pt x="3212" y="3406"/>
                        </a:lnTo>
                        <a:lnTo>
                          <a:pt x="3218" y="3406"/>
                        </a:lnTo>
                        <a:lnTo>
                          <a:pt x="3226" y="3406"/>
                        </a:lnTo>
                        <a:lnTo>
                          <a:pt x="3234" y="3404"/>
                        </a:lnTo>
                        <a:lnTo>
                          <a:pt x="3236" y="3402"/>
                        </a:lnTo>
                        <a:lnTo>
                          <a:pt x="3234" y="3400"/>
                        </a:lnTo>
                        <a:lnTo>
                          <a:pt x="3234" y="3400"/>
                        </a:lnTo>
                        <a:lnTo>
                          <a:pt x="3230" y="3398"/>
                        </a:lnTo>
                        <a:lnTo>
                          <a:pt x="3230" y="3396"/>
                        </a:lnTo>
                        <a:lnTo>
                          <a:pt x="3230" y="3394"/>
                        </a:lnTo>
                        <a:lnTo>
                          <a:pt x="3232" y="3394"/>
                        </a:lnTo>
                        <a:lnTo>
                          <a:pt x="3232" y="3394"/>
                        </a:lnTo>
                        <a:lnTo>
                          <a:pt x="3236" y="3396"/>
                        </a:lnTo>
                        <a:lnTo>
                          <a:pt x="3238" y="3396"/>
                        </a:lnTo>
                        <a:lnTo>
                          <a:pt x="3240" y="3392"/>
                        </a:lnTo>
                        <a:lnTo>
                          <a:pt x="3240" y="3392"/>
                        </a:lnTo>
                        <a:lnTo>
                          <a:pt x="3242" y="3398"/>
                        </a:lnTo>
                        <a:lnTo>
                          <a:pt x="3242" y="3398"/>
                        </a:lnTo>
                        <a:lnTo>
                          <a:pt x="3248" y="3406"/>
                        </a:lnTo>
                        <a:lnTo>
                          <a:pt x="3252" y="3410"/>
                        </a:lnTo>
                        <a:lnTo>
                          <a:pt x="3254" y="3412"/>
                        </a:lnTo>
                        <a:lnTo>
                          <a:pt x="3252" y="3416"/>
                        </a:lnTo>
                        <a:lnTo>
                          <a:pt x="3252" y="3416"/>
                        </a:lnTo>
                        <a:lnTo>
                          <a:pt x="3250" y="3418"/>
                        </a:lnTo>
                        <a:lnTo>
                          <a:pt x="3250" y="3418"/>
                        </a:lnTo>
                        <a:lnTo>
                          <a:pt x="3246" y="3416"/>
                        </a:lnTo>
                        <a:lnTo>
                          <a:pt x="3244" y="3412"/>
                        </a:lnTo>
                        <a:lnTo>
                          <a:pt x="3242" y="3412"/>
                        </a:lnTo>
                        <a:lnTo>
                          <a:pt x="3240" y="3414"/>
                        </a:lnTo>
                        <a:lnTo>
                          <a:pt x="3240" y="3414"/>
                        </a:lnTo>
                        <a:lnTo>
                          <a:pt x="3238" y="3418"/>
                        </a:lnTo>
                        <a:lnTo>
                          <a:pt x="3242" y="3422"/>
                        </a:lnTo>
                        <a:lnTo>
                          <a:pt x="3246" y="3426"/>
                        </a:lnTo>
                        <a:lnTo>
                          <a:pt x="3252" y="3434"/>
                        </a:lnTo>
                        <a:lnTo>
                          <a:pt x="3252" y="3434"/>
                        </a:lnTo>
                        <a:lnTo>
                          <a:pt x="3258" y="3442"/>
                        </a:lnTo>
                        <a:lnTo>
                          <a:pt x="3266" y="3448"/>
                        </a:lnTo>
                        <a:lnTo>
                          <a:pt x="3274" y="3454"/>
                        </a:lnTo>
                        <a:lnTo>
                          <a:pt x="3278" y="3460"/>
                        </a:lnTo>
                        <a:lnTo>
                          <a:pt x="3282" y="3466"/>
                        </a:lnTo>
                        <a:lnTo>
                          <a:pt x="3282" y="3466"/>
                        </a:lnTo>
                        <a:lnTo>
                          <a:pt x="3288" y="3478"/>
                        </a:lnTo>
                        <a:lnTo>
                          <a:pt x="3294" y="3486"/>
                        </a:lnTo>
                        <a:lnTo>
                          <a:pt x="3304" y="3494"/>
                        </a:lnTo>
                        <a:lnTo>
                          <a:pt x="3316" y="3506"/>
                        </a:lnTo>
                        <a:lnTo>
                          <a:pt x="3316" y="3506"/>
                        </a:lnTo>
                        <a:lnTo>
                          <a:pt x="3318" y="3510"/>
                        </a:lnTo>
                        <a:lnTo>
                          <a:pt x="3318" y="3512"/>
                        </a:lnTo>
                        <a:lnTo>
                          <a:pt x="3314" y="3514"/>
                        </a:lnTo>
                        <a:lnTo>
                          <a:pt x="3310" y="3518"/>
                        </a:lnTo>
                        <a:lnTo>
                          <a:pt x="3310" y="3518"/>
                        </a:lnTo>
                        <a:lnTo>
                          <a:pt x="3310" y="3520"/>
                        </a:lnTo>
                        <a:lnTo>
                          <a:pt x="3310" y="3520"/>
                        </a:lnTo>
                        <a:lnTo>
                          <a:pt x="3316" y="3522"/>
                        </a:lnTo>
                        <a:lnTo>
                          <a:pt x="3318" y="3522"/>
                        </a:lnTo>
                        <a:lnTo>
                          <a:pt x="3318" y="3522"/>
                        </a:lnTo>
                        <a:lnTo>
                          <a:pt x="3318" y="3528"/>
                        </a:lnTo>
                        <a:lnTo>
                          <a:pt x="3318" y="3528"/>
                        </a:lnTo>
                        <a:lnTo>
                          <a:pt x="3318" y="3534"/>
                        </a:lnTo>
                        <a:lnTo>
                          <a:pt x="3316" y="3534"/>
                        </a:lnTo>
                        <a:lnTo>
                          <a:pt x="3314" y="3536"/>
                        </a:lnTo>
                        <a:lnTo>
                          <a:pt x="3312" y="3540"/>
                        </a:lnTo>
                        <a:lnTo>
                          <a:pt x="3312" y="3540"/>
                        </a:lnTo>
                        <a:lnTo>
                          <a:pt x="3312" y="3550"/>
                        </a:lnTo>
                        <a:lnTo>
                          <a:pt x="3314" y="3558"/>
                        </a:lnTo>
                        <a:lnTo>
                          <a:pt x="3318" y="3564"/>
                        </a:lnTo>
                        <a:lnTo>
                          <a:pt x="3322" y="3566"/>
                        </a:lnTo>
                        <a:lnTo>
                          <a:pt x="3322" y="3566"/>
                        </a:lnTo>
                        <a:lnTo>
                          <a:pt x="3330" y="3570"/>
                        </a:lnTo>
                        <a:lnTo>
                          <a:pt x="3334" y="3574"/>
                        </a:lnTo>
                        <a:lnTo>
                          <a:pt x="3338" y="3578"/>
                        </a:lnTo>
                        <a:lnTo>
                          <a:pt x="3338" y="3578"/>
                        </a:lnTo>
                        <a:lnTo>
                          <a:pt x="3340" y="3582"/>
                        </a:lnTo>
                        <a:lnTo>
                          <a:pt x="3342" y="3580"/>
                        </a:lnTo>
                        <a:lnTo>
                          <a:pt x="3348" y="3574"/>
                        </a:lnTo>
                        <a:lnTo>
                          <a:pt x="3348" y="3574"/>
                        </a:lnTo>
                        <a:lnTo>
                          <a:pt x="3350" y="3572"/>
                        </a:lnTo>
                        <a:lnTo>
                          <a:pt x="3350" y="3570"/>
                        </a:lnTo>
                        <a:lnTo>
                          <a:pt x="3348" y="3566"/>
                        </a:lnTo>
                        <a:lnTo>
                          <a:pt x="3338" y="3558"/>
                        </a:lnTo>
                        <a:lnTo>
                          <a:pt x="3338" y="3558"/>
                        </a:lnTo>
                        <a:lnTo>
                          <a:pt x="3336" y="3554"/>
                        </a:lnTo>
                        <a:lnTo>
                          <a:pt x="3336" y="3552"/>
                        </a:lnTo>
                        <a:lnTo>
                          <a:pt x="3336" y="3550"/>
                        </a:lnTo>
                        <a:lnTo>
                          <a:pt x="3338" y="3552"/>
                        </a:lnTo>
                        <a:lnTo>
                          <a:pt x="3338" y="3552"/>
                        </a:lnTo>
                        <a:lnTo>
                          <a:pt x="3342" y="3554"/>
                        </a:lnTo>
                        <a:lnTo>
                          <a:pt x="3348" y="3558"/>
                        </a:lnTo>
                        <a:lnTo>
                          <a:pt x="3354" y="3562"/>
                        </a:lnTo>
                        <a:lnTo>
                          <a:pt x="3358" y="3566"/>
                        </a:lnTo>
                        <a:lnTo>
                          <a:pt x="3358" y="3566"/>
                        </a:lnTo>
                        <a:lnTo>
                          <a:pt x="3358" y="3576"/>
                        </a:lnTo>
                        <a:lnTo>
                          <a:pt x="3360" y="3578"/>
                        </a:lnTo>
                        <a:lnTo>
                          <a:pt x="3362" y="3582"/>
                        </a:lnTo>
                        <a:lnTo>
                          <a:pt x="3362" y="3582"/>
                        </a:lnTo>
                        <a:lnTo>
                          <a:pt x="3366" y="3584"/>
                        </a:lnTo>
                        <a:lnTo>
                          <a:pt x="3368" y="3586"/>
                        </a:lnTo>
                        <a:lnTo>
                          <a:pt x="3374" y="3586"/>
                        </a:lnTo>
                        <a:lnTo>
                          <a:pt x="3384" y="3592"/>
                        </a:lnTo>
                        <a:lnTo>
                          <a:pt x="3384" y="3592"/>
                        </a:lnTo>
                        <a:lnTo>
                          <a:pt x="3398" y="3604"/>
                        </a:lnTo>
                        <a:lnTo>
                          <a:pt x="3402" y="3608"/>
                        </a:lnTo>
                        <a:lnTo>
                          <a:pt x="3402" y="3612"/>
                        </a:lnTo>
                        <a:lnTo>
                          <a:pt x="3402" y="3612"/>
                        </a:lnTo>
                        <a:lnTo>
                          <a:pt x="3402" y="3620"/>
                        </a:lnTo>
                        <a:lnTo>
                          <a:pt x="3400" y="3624"/>
                        </a:lnTo>
                        <a:lnTo>
                          <a:pt x="3398" y="3626"/>
                        </a:lnTo>
                        <a:lnTo>
                          <a:pt x="3398" y="3626"/>
                        </a:lnTo>
                        <a:lnTo>
                          <a:pt x="3398" y="3628"/>
                        </a:lnTo>
                        <a:lnTo>
                          <a:pt x="3396" y="3630"/>
                        </a:lnTo>
                        <a:lnTo>
                          <a:pt x="3400" y="3634"/>
                        </a:lnTo>
                        <a:lnTo>
                          <a:pt x="3404" y="3636"/>
                        </a:lnTo>
                        <a:lnTo>
                          <a:pt x="3408" y="3638"/>
                        </a:lnTo>
                        <a:lnTo>
                          <a:pt x="3408" y="3638"/>
                        </a:lnTo>
                        <a:lnTo>
                          <a:pt x="3410" y="3640"/>
                        </a:lnTo>
                        <a:lnTo>
                          <a:pt x="3414" y="3640"/>
                        </a:lnTo>
                        <a:lnTo>
                          <a:pt x="3414" y="3642"/>
                        </a:lnTo>
                        <a:lnTo>
                          <a:pt x="3416" y="3640"/>
                        </a:lnTo>
                        <a:lnTo>
                          <a:pt x="3416" y="3640"/>
                        </a:lnTo>
                        <a:lnTo>
                          <a:pt x="3416" y="3636"/>
                        </a:lnTo>
                        <a:lnTo>
                          <a:pt x="3414" y="3634"/>
                        </a:lnTo>
                        <a:lnTo>
                          <a:pt x="3410" y="3630"/>
                        </a:lnTo>
                        <a:lnTo>
                          <a:pt x="3406" y="3626"/>
                        </a:lnTo>
                        <a:lnTo>
                          <a:pt x="3408" y="3626"/>
                        </a:lnTo>
                        <a:lnTo>
                          <a:pt x="3410" y="3624"/>
                        </a:lnTo>
                        <a:lnTo>
                          <a:pt x="3410" y="3624"/>
                        </a:lnTo>
                        <a:lnTo>
                          <a:pt x="3414" y="3622"/>
                        </a:lnTo>
                        <a:lnTo>
                          <a:pt x="3414" y="3624"/>
                        </a:lnTo>
                        <a:lnTo>
                          <a:pt x="3416" y="3628"/>
                        </a:lnTo>
                        <a:lnTo>
                          <a:pt x="3418" y="3630"/>
                        </a:lnTo>
                        <a:lnTo>
                          <a:pt x="3418" y="3630"/>
                        </a:lnTo>
                        <a:lnTo>
                          <a:pt x="3420" y="3630"/>
                        </a:lnTo>
                        <a:lnTo>
                          <a:pt x="3422" y="3632"/>
                        </a:lnTo>
                        <a:lnTo>
                          <a:pt x="3422" y="3636"/>
                        </a:lnTo>
                        <a:lnTo>
                          <a:pt x="3422" y="3642"/>
                        </a:lnTo>
                        <a:lnTo>
                          <a:pt x="3422" y="3646"/>
                        </a:lnTo>
                        <a:lnTo>
                          <a:pt x="3422" y="3646"/>
                        </a:lnTo>
                        <a:lnTo>
                          <a:pt x="3428" y="3654"/>
                        </a:lnTo>
                        <a:lnTo>
                          <a:pt x="3430" y="3656"/>
                        </a:lnTo>
                        <a:lnTo>
                          <a:pt x="3432" y="3656"/>
                        </a:lnTo>
                        <a:lnTo>
                          <a:pt x="3432" y="3656"/>
                        </a:lnTo>
                        <a:lnTo>
                          <a:pt x="3434" y="3648"/>
                        </a:lnTo>
                        <a:lnTo>
                          <a:pt x="3436" y="3646"/>
                        </a:lnTo>
                        <a:lnTo>
                          <a:pt x="3440" y="3644"/>
                        </a:lnTo>
                        <a:lnTo>
                          <a:pt x="3440" y="3644"/>
                        </a:lnTo>
                        <a:lnTo>
                          <a:pt x="3452" y="3646"/>
                        </a:lnTo>
                        <a:lnTo>
                          <a:pt x="3464" y="3650"/>
                        </a:lnTo>
                        <a:lnTo>
                          <a:pt x="3472" y="3652"/>
                        </a:lnTo>
                        <a:lnTo>
                          <a:pt x="3476" y="3654"/>
                        </a:lnTo>
                        <a:lnTo>
                          <a:pt x="3476" y="3654"/>
                        </a:lnTo>
                        <a:lnTo>
                          <a:pt x="3478" y="3652"/>
                        </a:lnTo>
                        <a:lnTo>
                          <a:pt x="3480" y="3654"/>
                        </a:lnTo>
                        <a:lnTo>
                          <a:pt x="3482" y="3662"/>
                        </a:lnTo>
                        <a:lnTo>
                          <a:pt x="3482" y="3662"/>
                        </a:lnTo>
                        <a:lnTo>
                          <a:pt x="3484" y="3666"/>
                        </a:lnTo>
                        <a:lnTo>
                          <a:pt x="3484" y="3670"/>
                        </a:lnTo>
                        <a:lnTo>
                          <a:pt x="3486" y="3672"/>
                        </a:lnTo>
                        <a:lnTo>
                          <a:pt x="3490" y="3676"/>
                        </a:lnTo>
                        <a:lnTo>
                          <a:pt x="3490" y="3676"/>
                        </a:lnTo>
                        <a:lnTo>
                          <a:pt x="3496" y="3678"/>
                        </a:lnTo>
                        <a:lnTo>
                          <a:pt x="3498" y="3678"/>
                        </a:lnTo>
                        <a:lnTo>
                          <a:pt x="3498" y="3674"/>
                        </a:lnTo>
                        <a:lnTo>
                          <a:pt x="3498" y="3674"/>
                        </a:lnTo>
                        <a:lnTo>
                          <a:pt x="3500" y="3668"/>
                        </a:lnTo>
                        <a:lnTo>
                          <a:pt x="3502" y="3666"/>
                        </a:lnTo>
                        <a:lnTo>
                          <a:pt x="3504" y="3666"/>
                        </a:lnTo>
                        <a:lnTo>
                          <a:pt x="3504" y="3668"/>
                        </a:lnTo>
                        <a:lnTo>
                          <a:pt x="3504" y="3668"/>
                        </a:lnTo>
                        <a:lnTo>
                          <a:pt x="3504" y="3672"/>
                        </a:lnTo>
                        <a:lnTo>
                          <a:pt x="3508" y="3680"/>
                        </a:lnTo>
                        <a:lnTo>
                          <a:pt x="3510" y="3686"/>
                        </a:lnTo>
                        <a:lnTo>
                          <a:pt x="3510" y="3694"/>
                        </a:lnTo>
                        <a:lnTo>
                          <a:pt x="3510" y="3694"/>
                        </a:lnTo>
                        <a:lnTo>
                          <a:pt x="3510" y="3696"/>
                        </a:lnTo>
                        <a:lnTo>
                          <a:pt x="3510" y="3698"/>
                        </a:lnTo>
                        <a:lnTo>
                          <a:pt x="3516" y="3698"/>
                        </a:lnTo>
                        <a:lnTo>
                          <a:pt x="3528" y="3696"/>
                        </a:lnTo>
                        <a:lnTo>
                          <a:pt x="3528" y="3696"/>
                        </a:lnTo>
                        <a:lnTo>
                          <a:pt x="3530" y="3696"/>
                        </a:lnTo>
                        <a:lnTo>
                          <a:pt x="3532" y="3696"/>
                        </a:lnTo>
                        <a:lnTo>
                          <a:pt x="3532" y="3692"/>
                        </a:lnTo>
                        <a:lnTo>
                          <a:pt x="3532" y="3690"/>
                        </a:lnTo>
                        <a:lnTo>
                          <a:pt x="3538" y="3688"/>
                        </a:lnTo>
                        <a:lnTo>
                          <a:pt x="3538" y="3688"/>
                        </a:lnTo>
                        <a:lnTo>
                          <a:pt x="3544" y="3688"/>
                        </a:lnTo>
                        <a:lnTo>
                          <a:pt x="3546" y="3686"/>
                        </a:lnTo>
                        <a:lnTo>
                          <a:pt x="3548" y="3684"/>
                        </a:lnTo>
                        <a:lnTo>
                          <a:pt x="3546" y="3680"/>
                        </a:lnTo>
                        <a:lnTo>
                          <a:pt x="3542" y="3672"/>
                        </a:lnTo>
                        <a:lnTo>
                          <a:pt x="3542" y="3672"/>
                        </a:lnTo>
                        <a:lnTo>
                          <a:pt x="3536" y="3664"/>
                        </a:lnTo>
                        <a:lnTo>
                          <a:pt x="3534" y="3660"/>
                        </a:lnTo>
                        <a:lnTo>
                          <a:pt x="3534" y="3658"/>
                        </a:lnTo>
                        <a:lnTo>
                          <a:pt x="3532" y="3658"/>
                        </a:lnTo>
                        <a:lnTo>
                          <a:pt x="3532" y="3658"/>
                        </a:lnTo>
                        <a:lnTo>
                          <a:pt x="3530" y="3658"/>
                        </a:lnTo>
                        <a:lnTo>
                          <a:pt x="3528" y="3656"/>
                        </a:lnTo>
                        <a:lnTo>
                          <a:pt x="3526" y="3652"/>
                        </a:lnTo>
                        <a:lnTo>
                          <a:pt x="3528" y="3648"/>
                        </a:lnTo>
                        <a:lnTo>
                          <a:pt x="3530" y="3646"/>
                        </a:lnTo>
                        <a:lnTo>
                          <a:pt x="3532" y="3646"/>
                        </a:lnTo>
                        <a:lnTo>
                          <a:pt x="3532" y="3646"/>
                        </a:lnTo>
                        <a:lnTo>
                          <a:pt x="3538" y="3644"/>
                        </a:lnTo>
                        <a:lnTo>
                          <a:pt x="3544" y="3642"/>
                        </a:lnTo>
                        <a:lnTo>
                          <a:pt x="3550" y="3636"/>
                        </a:lnTo>
                        <a:lnTo>
                          <a:pt x="3556" y="3628"/>
                        </a:lnTo>
                        <a:lnTo>
                          <a:pt x="3556" y="3628"/>
                        </a:lnTo>
                        <a:lnTo>
                          <a:pt x="3558" y="3624"/>
                        </a:lnTo>
                        <a:lnTo>
                          <a:pt x="3558" y="3622"/>
                        </a:lnTo>
                        <a:lnTo>
                          <a:pt x="3558" y="3618"/>
                        </a:lnTo>
                        <a:lnTo>
                          <a:pt x="3562" y="3616"/>
                        </a:lnTo>
                        <a:lnTo>
                          <a:pt x="3562" y="3616"/>
                        </a:lnTo>
                        <a:lnTo>
                          <a:pt x="3566" y="3614"/>
                        </a:lnTo>
                        <a:lnTo>
                          <a:pt x="3568" y="3612"/>
                        </a:lnTo>
                        <a:lnTo>
                          <a:pt x="3570" y="3610"/>
                        </a:lnTo>
                        <a:lnTo>
                          <a:pt x="3576" y="3610"/>
                        </a:lnTo>
                        <a:lnTo>
                          <a:pt x="3576" y="3610"/>
                        </a:lnTo>
                        <a:lnTo>
                          <a:pt x="3586" y="3612"/>
                        </a:lnTo>
                        <a:lnTo>
                          <a:pt x="3598" y="3620"/>
                        </a:lnTo>
                        <a:lnTo>
                          <a:pt x="3606" y="3626"/>
                        </a:lnTo>
                        <a:lnTo>
                          <a:pt x="3608" y="3630"/>
                        </a:lnTo>
                        <a:lnTo>
                          <a:pt x="3608" y="3632"/>
                        </a:lnTo>
                        <a:lnTo>
                          <a:pt x="3608" y="3632"/>
                        </a:lnTo>
                        <a:lnTo>
                          <a:pt x="3606" y="3636"/>
                        </a:lnTo>
                        <a:lnTo>
                          <a:pt x="3608" y="3638"/>
                        </a:lnTo>
                        <a:lnTo>
                          <a:pt x="3610" y="3640"/>
                        </a:lnTo>
                        <a:lnTo>
                          <a:pt x="3612" y="3640"/>
                        </a:lnTo>
                        <a:lnTo>
                          <a:pt x="3612" y="3640"/>
                        </a:lnTo>
                        <a:lnTo>
                          <a:pt x="3616" y="3638"/>
                        </a:lnTo>
                        <a:lnTo>
                          <a:pt x="3616" y="3638"/>
                        </a:lnTo>
                        <a:lnTo>
                          <a:pt x="3618" y="3638"/>
                        </a:lnTo>
                        <a:lnTo>
                          <a:pt x="3620" y="3638"/>
                        </a:lnTo>
                        <a:lnTo>
                          <a:pt x="3620" y="3638"/>
                        </a:lnTo>
                        <a:lnTo>
                          <a:pt x="3622" y="3638"/>
                        </a:lnTo>
                        <a:lnTo>
                          <a:pt x="3620" y="3640"/>
                        </a:lnTo>
                        <a:lnTo>
                          <a:pt x="3618" y="3648"/>
                        </a:lnTo>
                        <a:lnTo>
                          <a:pt x="3614" y="3658"/>
                        </a:lnTo>
                        <a:lnTo>
                          <a:pt x="3612" y="3662"/>
                        </a:lnTo>
                        <a:lnTo>
                          <a:pt x="3614" y="3666"/>
                        </a:lnTo>
                        <a:lnTo>
                          <a:pt x="3614" y="3666"/>
                        </a:lnTo>
                        <a:lnTo>
                          <a:pt x="3622" y="3682"/>
                        </a:lnTo>
                        <a:lnTo>
                          <a:pt x="3626" y="3690"/>
                        </a:lnTo>
                        <a:lnTo>
                          <a:pt x="3632" y="3696"/>
                        </a:lnTo>
                        <a:lnTo>
                          <a:pt x="3632" y="3696"/>
                        </a:lnTo>
                        <a:lnTo>
                          <a:pt x="3636" y="3700"/>
                        </a:lnTo>
                        <a:lnTo>
                          <a:pt x="3638" y="3702"/>
                        </a:lnTo>
                        <a:lnTo>
                          <a:pt x="3640" y="3704"/>
                        </a:lnTo>
                        <a:lnTo>
                          <a:pt x="3640" y="3708"/>
                        </a:lnTo>
                        <a:lnTo>
                          <a:pt x="3672" y="3654"/>
                        </a:lnTo>
                        <a:lnTo>
                          <a:pt x="3672" y="3654"/>
                        </a:lnTo>
                        <a:lnTo>
                          <a:pt x="3654" y="3626"/>
                        </a:lnTo>
                        <a:lnTo>
                          <a:pt x="3654" y="3626"/>
                        </a:lnTo>
                        <a:close/>
                        <a:moveTo>
                          <a:pt x="3590" y="1870"/>
                        </a:moveTo>
                        <a:lnTo>
                          <a:pt x="3590" y="1870"/>
                        </a:lnTo>
                        <a:lnTo>
                          <a:pt x="3570" y="1886"/>
                        </a:lnTo>
                        <a:lnTo>
                          <a:pt x="3558" y="1894"/>
                        </a:lnTo>
                        <a:lnTo>
                          <a:pt x="3546" y="1900"/>
                        </a:lnTo>
                        <a:lnTo>
                          <a:pt x="3546" y="1900"/>
                        </a:lnTo>
                        <a:lnTo>
                          <a:pt x="3536" y="1904"/>
                        </a:lnTo>
                        <a:lnTo>
                          <a:pt x="3524" y="1910"/>
                        </a:lnTo>
                        <a:lnTo>
                          <a:pt x="3508" y="1920"/>
                        </a:lnTo>
                        <a:lnTo>
                          <a:pt x="3488" y="1932"/>
                        </a:lnTo>
                        <a:lnTo>
                          <a:pt x="3488" y="1932"/>
                        </a:lnTo>
                        <a:lnTo>
                          <a:pt x="3466" y="1938"/>
                        </a:lnTo>
                        <a:lnTo>
                          <a:pt x="3448" y="1942"/>
                        </a:lnTo>
                        <a:lnTo>
                          <a:pt x="3434" y="1942"/>
                        </a:lnTo>
                        <a:lnTo>
                          <a:pt x="3426" y="1940"/>
                        </a:lnTo>
                        <a:lnTo>
                          <a:pt x="3426" y="1940"/>
                        </a:lnTo>
                        <a:lnTo>
                          <a:pt x="3424" y="1938"/>
                        </a:lnTo>
                        <a:lnTo>
                          <a:pt x="3424" y="1938"/>
                        </a:lnTo>
                        <a:lnTo>
                          <a:pt x="3430" y="1936"/>
                        </a:lnTo>
                        <a:lnTo>
                          <a:pt x="3434" y="1936"/>
                        </a:lnTo>
                        <a:lnTo>
                          <a:pt x="3434" y="1934"/>
                        </a:lnTo>
                        <a:lnTo>
                          <a:pt x="3434" y="1934"/>
                        </a:lnTo>
                        <a:lnTo>
                          <a:pt x="3434" y="1934"/>
                        </a:lnTo>
                        <a:lnTo>
                          <a:pt x="3426" y="1932"/>
                        </a:lnTo>
                        <a:lnTo>
                          <a:pt x="3418" y="1930"/>
                        </a:lnTo>
                        <a:lnTo>
                          <a:pt x="3410" y="1930"/>
                        </a:lnTo>
                        <a:lnTo>
                          <a:pt x="3408" y="1928"/>
                        </a:lnTo>
                        <a:lnTo>
                          <a:pt x="3406" y="1926"/>
                        </a:lnTo>
                        <a:lnTo>
                          <a:pt x="3406" y="1926"/>
                        </a:lnTo>
                        <a:lnTo>
                          <a:pt x="3408" y="1922"/>
                        </a:lnTo>
                        <a:lnTo>
                          <a:pt x="3410" y="1916"/>
                        </a:lnTo>
                        <a:lnTo>
                          <a:pt x="3414" y="1910"/>
                        </a:lnTo>
                        <a:lnTo>
                          <a:pt x="3416" y="1900"/>
                        </a:lnTo>
                        <a:lnTo>
                          <a:pt x="3416" y="1900"/>
                        </a:lnTo>
                        <a:lnTo>
                          <a:pt x="3420" y="1892"/>
                        </a:lnTo>
                        <a:lnTo>
                          <a:pt x="3422" y="1890"/>
                        </a:lnTo>
                        <a:lnTo>
                          <a:pt x="3426" y="1886"/>
                        </a:lnTo>
                        <a:lnTo>
                          <a:pt x="3430" y="1880"/>
                        </a:lnTo>
                        <a:lnTo>
                          <a:pt x="3430" y="1880"/>
                        </a:lnTo>
                        <a:lnTo>
                          <a:pt x="3434" y="1872"/>
                        </a:lnTo>
                        <a:lnTo>
                          <a:pt x="3436" y="1870"/>
                        </a:lnTo>
                        <a:lnTo>
                          <a:pt x="3438" y="1872"/>
                        </a:lnTo>
                        <a:lnTo>
                          <a:pt x="3440" y="1880"/>
                        </a:lnTo>
                        <a:lnTo>
                          <a:pt x="3440" y="1880"/>
                        </a:lnTo>
                        <a:lnTo>
                          <a:pt x="3446" y="1882"/>
                        </a:lnTo>
                        <a:lnTo>
                          <a:pt x="3448" y="1884"/>
                        </a:lnTo>
                        <a:lnTo>
                          <a:pt x="3450" y="1886"/>
                        </a:lnTo>
                        <a:lnTo>
                          <a:pt x="3448" y="1888"/>
                        </a:lnTo>
                        <a:lnTo>
                          <a:pt x="3442" y="1892"/>
                        </a:lnTo>
                        <a:lnTo>
                          <a:pt x="3432" y="1894"/>
                        </a:lnTo>
                        <a:lnTo>
                          <a:pt x="3432" y="1894"/>
                        </a:lnTo>
                        <a:lnTo>
                          <a:pt x="3426" y="1894"/>
                        </a:lnTo>
                        <a:lnTo>
                          <a:pt x="3424" y="1896"/>
                        </a:lnTo>
                        <a:lnTo>
                          <a:pt x="3422" y="1898"/>
                        </a:lnTo>
                        <a:lnTo>
                          <a:pt x="3422" y="1902"/>
                        </a:lnTo>
                        <a:lnTo>
                          <a:pt x="3422" y="1904"/>
                        </a:lnTo>
                        <a:lnTo>
                          <a:pt x="3424" y="1906"/>
                        </a:lnTo>
                        <a:lnTo>
                          <a:pt x="3428" y="1908"/>
                        </a:lnTo>
                        <a:lnTo>
                          <a:pt x="3432" y="1908"/>
                        </a:lnTo>
                        <a:lnTo>
                          <a:pt x="3432" y="1908"/>
                        </a:lnTo>
                        <a:lnTo>
                          <a:pt x="3438" y="1908"/>
                        </a:lnTo>
                        <a:lnTo>
                          <a:pt x="3442" y="1910"/>
                        </a:lnTo>
                        <a:lnTo>
                          <a:pt x="3444" y="1912"/>
                        </a:lnTo>
                        <a:lnTo>
                          <a:pt x="3446" y="1910"/>
                        </a:lnTo>
                        <a:lnTo>
                          <a:pt x="3446" y="1910"/>
                        </a:lnTo>
                        <a:lnTo>
                          <a:pt x="3450" y="1904"/>
                        </a:lnTo>
                        <a:lnTo>
                          <a:pt x="3456" y="1900"/>
                        </a:lnTo>
                        <a:lnTo>
                          <a:pt x="3466" y="1896"/>
                        </a:lnTo>
                        <a:lnTo>
                          <a:pt x="3466" y="1896"/>
                        </a:lnTo>
                        <a:lnTo>
                          <a:pt x="3470" y="1892"/>
                        </a:lnTo>
                        <a:lnTo>
                          <a:pt x="3474" y="1888"/>
                        </a:lnTo>
                        <a:lnTo>
                          <a:pt x="3482" y="1880"/>
                        </a:lnTo>
                        <a:lnTo>
                          <a:pt x="3488" y="1876"/>
                        </a:lnTo>
                        <a:lnTo>
                          <a:pt x="3496" y="1874"/>
                        </a:lnTo>
                        <a:lnTo>
                          <a:pt x="3504" y="1874"/>
                        </a:lnTo>
                        <a:lnTo>
                          <a:pt x="3518" y="1876"/>
                        </a:lnTo>
                        <a:lnTo>
                          <a:pt x="3518" y="1876"/>
                        </a:lnTo>
                        <a:lnTo>
                          <a:pt x="3534" y="1880"/>
                        </a:lnTo>
                        <a:lnTo>
                          <a:pt x="3538" y="1880"/>
                        </a:lnTo>
                        <a:lnTo>
                          <a:pt x="3536" y="1878"/>
                        </a:lnTo>
                        <a:lnTo>
                          <a:pt x="3532" y="1876"/>
                        </a:lnTo>
                        <a:lnTo>
                          <a:pt x="3532" y="1872"/>
                        </a:lnTo>
                        <a:lnTo>
                          <a:pt x="3532" y="1870"/>
                        </a:lnTo>
                        <a:lnTo>
                          <a:pt x="3532" y="1870"/>
                        </a:lnTo>
                        <a:lnTo>
                          <a:pt x="3536" y="1866"/>
                        </a:lnTo>
                        <a:lnTo>
                          <a:pt x="3540" y="1864"/>
                        </a:lnTo>
                        <a:lnTo>
                          <a:pt x="3560" y="1862"/>
                        </a:lnTo>
                        <a:lnTo>
                          <a:pt x="3560" y="1862"/>
                        </a:lnTo>
                        <a:lnTo>
                          <a:pt x="3580" y="1860"/>
                        </a:lnTo>
                        <a:lnTo>
                          <a:pt x="3584" y="1860"/>
                        </a:lnTo>
                        <a:lnTo>
                          <a:pt x="3586" y="1858"/>
                        </a:lnTo>
                        <a:lnTo>
                          <a:pt x="3586" y="1858"/>
                        </a:lnTo>
                        <a:lnTo>
                          <a:pt x="3586" y="1854"/>
                        </a:lnTo>
                        <a:lnTo>
                          <a:pt x="3586" y="1852"/>
                        </a:lnTo>
                        <a:lnTo>
                          <a:pt x="3588" y="1850"/>
                        </a:lnTo>
                        <a:lnTo>
                          <a:pt x="3588" y="1850"/>
                        </a:lnTo>
                        <a:lnTo>
                          <a:pt x="3590" y="1850"/>
                        </a:lnTo>
                        <a:lnTo>
                          <a:pt x="3592" y="1852"/>
                        </a:lnTo>
                        <a:lnTo>
                          <a:pt x="3594" y="1858"/>
                        </a:lnTo>
                        <a:lnTo>
                          <a:pt x="3592" y="1864"/>
                        </a:lnTo>
                        <a:lnTo>
                          <a:pt x="3590" y="1870"/>
                        </a:lnTo>
                        <a:lnTo>
                          <a:pt x="3590" y="1870"/>
                        </a:lnTo>
                        <a:close/>
                        <a:moveTo>
                          <a:pt x="3578" y="1812"/>
                        </a:moveTo>
                        <a:lnTo>
                          <a:pt x="3578" y="1812"/>
                        </a:lnTo>
                        <a:lnTo>
                          <a:pt x="3586" y="1806"/>
                        </a:lnTo>
                        <a:lnTo>
                          <a:pt x="3596" y="1804"/>
                        </a:lnTo>
                        <a:lnTo>
                          <a:pt x="3624" y="1798"/>
                        </a:lnTo>
                        <a:lnTo>
                          <a:pt x="3624" y="1798"/>
                        </a:lnTo>
                        <a:lnTo>
                          <a:pt x="3636" y="1796"/>
                        </a:lnTo>
                        <a:lnTo>
                          <a:pt x="3642" y="1794"/>
                        </a:lnTo>
                        <a:lnTo>
                          <a:pt x="3656" y="1802"/>
                        </a:lnTo>
                        <a:lnTo>
                          <a:pt x="3656" y="1802"/>
                        </a:lnTo>
                        <a:lnTo>
                          <a:pt x="3662" y="1804"/>
                        </a:lnTo>
                        <a:lnTo>
                          <a:pt x="3664" y="1804"/>
                        </a:lnTo>
                        <a:lnTo>
                          <a:pt x="3668" y="1804"/>
                        </a:lnTo>
                        <a:lnTo>
                          <a:pt x="3668" y="1802"/>
                        </a:lnTo>
                        <a:lnTo>
                          <a:pt x="3672" y="1794"/>
                        </a:lnTo>
                        <a:lnTo>
                          <a:pt x="3674" y="1790"/>
                        </a:lnTo>
                        <a:lnTo>
                          <a:pt x="3678" y="1788"/>
                        </a:lnTo>
                        <a:lnTo>
                          <a:pt x="3678" y="1788"/>
                        </a:lnTo>
                        <a:lnTo>
                          <a:pt x="3686" y="1782"/>
                        </a:lnTo>
                        <a:lnTo>
                          <a:pt x="3696" y="1778"/>
                        </a:lnTo>
                        <a:lnTo>
                          <a:pt x="3706" y="1776"/>
                        </a:lnTo>
                        <a:lnTo>
                          <a:pt x="3716" y="1770"/>
                        </a:lnTo>
                        <a:lnTo>
                          <a:pt x="3716" y="1770"/>
                        </a:lnTo>
                        <a:lnTo>
                          <a:pt x="3714" y="1774"/>
                        </a:lnTo>
                        <a:lnTo>
                          <a:pt x="3712" y="1778"/>
                        </a:lnTo>
                        <a:lnTo>
                          <a:pt x="3708" y="1782"/>
                        </a:lnTo>
                        <a:lnTo>
                          <a:pt x="3702" y="1784"/>
                        </a:lnTo>
                        <a:lnTo>
                          <a:pt x="3702" y="1784"/>
                        </a:lnTo>
                        <a:lnTo>
                          <a:pt x="3698" y="1786"/>
                        </a:lnTo>
                        <a:lnTo>
                          <a:pt x="3694" y="1790"/>
                        </a:lnTo>
                        <a:lnTo>
                          <a:pt x="3696" y="1794"/>
                        </a:lnTo>
                        <a:lnTo>
                          <a:pt x="3698" y="1798"/>
                        </a:lnTo>
                        <a:lnTo>
                          <a:pt x="3698" y="1798"/>
                        </a:lnTo>
                        <a:lnTo>
                          <a:pt x="3702" y="1800"/>
                        </a:lnTo>
                        <a:lnTo>
                          <a:pt x="3702" y="1802"/>
                        </a:lnTo>
                        <a:lnTo>
                          <a:pt x="3700" y="1806"/>
                        </a:lnTo>
                        <a:lnTo>
                          <a:pt x="3700" y="1814"/>
                        </a:lnTo>
                        <a:lnTo>
                          <a:pt x="3700" y="1814"/>
                        </a:lnTo>
                        <a:lnTo>
                          <a:pt x="3700" y="1820"/>
                        </a:lnTo>
                        <a:lnTo>
                          <a:pt x="3696" y="1822"/>
                        </a:lnTo>
                        <a:lnTo>
                          <a:pt x="3690" y="1826"/>
                        </a:lnTo>
                        <a:lnTo>
                          <a:pt x="3684" y="1830"/>
                        </a:lnTo>
                        <a:lnTo>
                          <a:pt x="3684" y="1830"/>
                        </a:lnTo>
                        <a:lnTo>
                          <a:pt x="3680" y="1834"/>
                        </a:lnTo>
                        <a:lnTo>
                          <a:pt x="3676" y="1836"/>
                        </a:lnTo>
                        <a:lnTo>
                          <a:pt x="3662" y="1838"/>
                        </a:lnTo>
                        <a:lnTo>
                          <a:pt x="3648" y="1838"/>
                        </a:lnTo>
                        <a:lnTo>
                          <a:pt x="3638" y="1834"/>
                        </a:lnTo>
                        <a:lnTo>
                          <a:pt x="3638" y="1834"/>
                        </a:lnTo>
                        <a:lnTo>
                          <a:pt x="3628" y="1832"/>
                        </a:lnTo>
                        <a:lnTo>
                          <a:pt x="3616" y="1830"/>
                        </a:lnTo>
                        <a:lnTo>
                          <a:pt x="3604" y="1832"/>
                        </a:lnTo>
                        <a:lnTo>
                          <a:pt x="3594" y="1834"/>
                        </a:lnTo>
                        <a:lnTo>
                          <a:pt x="3594" y="1834"/>
                        </a:lnTo>
                        <a:lnTo>
                          <a:pt x="3588" y="1838"/>
                        </a:lnTo>
                        <a:lnTo>
                          <a:pt x="3582" y="1840"/>
                        </a:lnTo>
                        <a:lnTo>
                          <a:pt x="3574" y="1842"/>
                        </a:lnTo>
                        <a:lnTo>
                          <a:pt x="3574" y="1842"/>
                        </a:lnTo>
                        <a:lnTo>
                          <a:pt x="3568" y="1842"/>
                        </a:lnTo>
                        <a:lnTo>
                          <a:pt x="3562" y="1842"/>
                        </a:lnTo>
                        <a:lnTo>
                          <a:pt x="3560" y="1840"/>
                        </a:lnTo>
                        <a:lnTo>
                          <a:pt x="3558" y="1838"/>
                        </a:lnTo>
                        <a:lnTo>
                          <a:pt x="3558" y="1834"/>
                        </a:lnTo>
                        <a:lnTo>
                          <a:pt x="3560" y="1828"/>
                        </a:lnTo>
                        <a:lnTo>
                          <a:pt x="3560" y="1828"/>
                        </a:lnTo>
                        <a:lnTo>
                          <a:pt x="3564" y="1820"/>
                        </a:lnTo>
                        <a:lnTo>
                          <a:pt x="3570" y="1818"/>
                        </a:lnTo>
                        <a:lnTo>
                          <a:pt x="3574" y="1816"/>
                        </a:lnTo>
                        <a:lnTo>
                          <a:pt x="3578" y="1812"/>
                        </a:lnTo>
                        <a:lnTo>
                          <a:pt x="3578" y="1812"/>
                        </a:lnTo>
                        <a:close/>
                        <a:moveTo>
                          <a:pt x="3092" y="1606"/>
                        </a:moveTo>
                        <a:lnTo>
                          <a:pt x="3092" y="1606"/>
                        </a:lnTo>
                        <a:lnTo>
                          <a:pt x="3104" y="1594"/>
                        </a:lnTo>
                        <a:lnTo>
                          <a:pt x="3118" y="1586"/>
                        </a:lnTo>
                        <a:lnTo>
                          <a:pt x="3158" y="1566"/>
                        </a:lnTo>
                        <a:lnTo>
                          <a:pt x="3158" y="1566"/>
                        </a:lnTo>
                        <a:lnTo>
                          <a:pt x="3164" y="1564"/>
                        </a:lnTo>
                        <a:lnTo>
                          <a:pt x="3164" y="1564"/>
                        </a:lnTo>
                        <a:lnTo>
                          <a:pt x="3168" y="1560"/>
                        </a:lnTo>
                        <a:lnTo>
                          <a:pt x="3172" y="1556"/>
                        </a:lnTo>
                        <a:lnTo>
                          <a:pt x="3176" y="1544"/>
                        </a:lnTo>
                        <a:lnTo>
                          <a:pt x="3176" y="1544"/>
                        </a:lnTo>
                        <a:lnTo>
                          <a:pt x="3180" y="1538"/>
                        </a:lnTo>
                        <a:lnTo>
                          <a:pt x="3184" y="1534"/>
                        </a:lnTo>
                        <a:lnTo>
                          <a:pt x="3188" y="1534"/>
                        </a:lnTo>
                        <a:lnTo>
                          <a:pt x="3190" y="1536"/>
                        </a:lnTo>
                        <a:lnTo>
                          <a:pt x="3190" y="1538"/>
                        </a:lnTo>
                        <a:lnTo>
                          <a:pt x="3190" y="1542"/>
                        </a:lnTo>
                        <a:lnTo>
                          <a:pt x="3190" y="1542"/>
                        </a:lnTo>
                        <a:lnTo>
                          <a:pt x="3188" y="1548"/>
                        </a:lnTo>
                        <a:lnTo>
                          <a:pt x="3192" y="1544"/>
                        </a:lnTo>
                        <a:lnTo>
                          <a:pt x="3196" y="1536"/>
                        </a:lnTo>
                        <a:lnTo>
                          <a:pt x="3200" y="1524"/>
                        </a:lnTo>
                        <a:lnTo>
                          <a:pt x="3200" y="1524"/>
                        </a:lnTo>
                        <a:lnTo>
                          <a:pt x="3204" y="1516"/>
                        </a:lnTo>
                        <a:lnTo>
                          <a:pt x="3206" y="1516"/>
                        </a:lnTo>
                        <a:lnTo>
                          <a:pt x="3208" y="1516"/>
                        </a:lnTo>
                        <a:lnTo>
                          <a:pt x="3208" y="1522"/>
                        </a:lnTo>
                        <a:lnTo>
                          <a:pt x="3206" y="1532"/>
                        </a:lnTo>
                        <a:lnTo>
                          <a:pt x="3206" y="1532"/>
                        </a:lnTo>
                        <a:lnTo>
                          <a:pt x="3204" y="1538"/>
                        </a:lnTo>
                        <a:lnTo>
                          <a:pt x="3204" y="1540"/>
                        </a:lnTo>
                        <a:lnTo>
                          <a:pt x="3204" y="1540"/>
                        </a:lnTo>
                        <a:lnTo>
                          <a:pt x="3216" y="1532"/>
                        </a:lnTo>
                        <a:lnTo>
                          <a:pt x="3216" y="1532"/>
                        </a:lnTo>
                        <a:lnTo>
                          <a:pt x="3218" y="1530"/>
                        </a:lnTo>
                        <a:lnTo>
                          <a:pt x="3220" y="1526"/>
                        </a:lnTo>
                        <a:lnTo>
                          <a:pt x="3218" y="1520"/>
                        </a:lnTo>
                        <a:lnTo>
                          <a:pt x="3216" y="1514"/>
                        </a:lnTo>
                        <a:lnTo>
                          <a:pt x="3216" y="1512"/>
                        </a:lnTo>
                        <a:lnTo>
                          <a:pt x="3216" y="1510"/>
                        </a:lnTo>
                        <a:lnTo>
                          <a:pt x="3216" y="1510"/>
                        </a:lnTo>
                        <a:lnTo>
                          <a:pt x="3220" y="1508"/>
                        </a:lnTo>
                        <a:lnTo>
                          <a:pt x="3224" y="1510"/>
                        </a:lnTo>
                        <a:lnTo>
                          <a:pt x="3236" y="1514"/>
                        </a:lnTo>
                        <a:lnTo>
                          <a:pt x="3248" y="1520"/>
                        </a:lnTo>
                        <a:lnTo>
                          <a:pt x="3254" y="1522"/>
                        </a:lnTo>
                        <a:lnTo>
                          <a:pt x="3260" y="1522"/>
                        </a:lnTo>
                        <a:lnTo>
                          <a:pt x="3260" y="1522"/>
                        </a:lnTo>
                        <a:lnTo>
                          <a:pt x="3268" y="1522"/>
                        </a:lnTo>
                        <a:lnTo>
                          <a:pt x="3272" y="1522"/>
                        </a:lnTo>
                        <a:lnTo>
                          <a:pt x="3276" y="1522"/>
                        </a:lnTo>
                        <a:lnTo>
                          <a:pt x="3284" y="1522"/>
                        </a:lnTo>
                        <a:lnTo>
                          <a:pt x="3284" y="1522"/>
                        </a:lnTo>
                        <a:lnTo>
                          <a:pt x="3288" y="1524"/>
                        </a:lnTo>
                        <a:lnTo>
                          <a:pt x="3292" y="1528"/>
                        </a:lnTo>
                        <a:lnTo>
                          <a:pt x="3296" y="1542"/>
                        </a:lnTo>
                        <a:lnTo>
                          <a:pt x="3298" y="1550"/>
                        </a:lnTo>
                        <a:lnTo>
                          <a:pt x="3302" y="1558"/>
                        </a:lnTo>
                        <a:lnTo>
                          <a:pt x="3308" y="1566"/>
                        </a:lnTo>
                        <a:lnTo>
                          <a:pt x="3314" y="1570"/>
                        </a:lnTo>
                        <a:lnTo>
                          <a:pt x="3314" y="1570"/>
                        </a:lnTo>
                        <a:lnTo>
                          <a:pt x="3320" y="1572"/>
                        </a:lnTo>
                        <a:lnTo>
                          <a:pt x="3328" y="1572"/>
                        </a:lnTo>
                        <a:lnTo>
                          <a:pt x="3340" y="1570"/>
                        </a:lnTo>
                        <a:lnTo>
                          <a:pt x="3344" y="1570"/>
                        </a:lnTo>
                        <a:lnTo>
                          <a:pt x="3348" y="1570"/>
                        </a:lnTo>
                        <a:lnTo>
                          <a:pt x="3348" y="1574"/>
                        </a:lnTo>
                        <a:lnTo>
                          <a:pt x="3346" y="1580"/>
                        </a:lnTo>
                        <a:lnTo>
                          <a:pt x="3346" y="1580"/>
                        </a:lnTo>
                        <a:lnTo>
                          <a:pt x="3344" y="1588"/>
                        </a:lnTo>
                        <a:lnTo>
                          <a:pt x="3346" y="1594"/>
                        </a:lnTo>
                        <a:lnTo>
                          <a:pt x="3358" y="1604"/>
                        </a:lnTo>
                        <a:lnTo>
                          <a:pt x="3358" y="1604"/>
                        </a:lnTo>
                        <a:lnTo>
                          <a:pt x="3360" y="1606"/>
                        </a:lnTo>
                        <a:lnTo>
                          <a:pt x="3360" y="1610"/>
                        </a:lnTo>
                        <a:lnTo>
                          <a:pt x="3358" y="1618"/>
                        </a:lnTo>
                        <a:lnTo>
                          <a:pt x="3354" y="1624"/>
                        </a:lnTo>
                        <a:lnTo>
                          <a:pt x="3354" y="1626"/>
                        </a:lnTo>
                        <a:lnTo>
                          <a:pt x="3356" y="1630"/>
                        </a:lnTo>
                        <a:lnTo>
                          <a:pt x="3356" y="1630"/>
                        </a:lnTo>
                        <a:lnTo>
                          <a:pt x="3362" y="1630"/>
                        </a:lnTo>
                        <a:lnTo>
                          <a:pt x="3364" y="1630"/>
                        </a:lnTo>
                        <a:lnTo>
                          <a:pt x="3366" y="1630"/>
                        </a:lnTo>
                        <a:lnTo>
                          <a:pt x="3368" y="1632"/>
                        </a:lnTo>
                        <a:lnTo>
                          <a:pt x="3368" y="1632"/>
                        </a:lnTo>
                        <a:lnTo>
                          <a:pt x="3370" y="1634"/>
                        </a:lnTo>
                        <a:lnTo>
                          <a:pt x="3368" y="1636"/>
                        </a:lnTo>
                        <a:lnTo>
                          <a:pt x="3364" y="1640"/>
                        </a:lnTo>
                        <a:lnTo>
                          <a:pt x="3362" y="1642"/>
                        </a:lnTo>
                        <a:lnTo>
                          <a:pt x="3362" y="1648"/>
                        </a:lnTo>
                        <a:lnTo>
                          <a:pt x="3362" y="1648"/>
                        </a:lnTo>
                        <a:lnTo>
                          <a:pt x="3362" y="1652"/>
                        </a:lnTo>
                        <a:lnTo>
                          <a:pt x="3364" y="1654"/>
                        </a:lnTo>
                        <a:lnTo>
                          <a:pt x="3372" y="1652"/>
                        </a:lnTo>
                        <a:lnTo>
                          <a:pt x="3380" y="1652"/>
                        </a:lnTo>
                        <a:lnTo>
                          <a:pt x="3382" y="1652"/>
                        </a:lnTo>
                        <a:lnTo>
                          <a:pt x="3382" y="1656"/>
                        </a:lnTo>
                        <a:lnTo>
                          <a:pt x="3382" y="1656"/>
                        </a:lnTo>
                        <a:lnTo>
                          <a:pt x="3382" y="1662"/>
                        </a:lnTo>
                        <a:lnTo>
                          <a:pt x="3386" y="1664"/>
                        </a:lnTo>
                        <a:lnTo>
                          <a:pt x="3392" y="1666"/>
                        </a:lnTo>
                        <a:lnTo>
                          <a:pt x="3402" y="1668"/>
                        </a:lnTo>
                        <a:lnTo>
                          <a:pt x="3402" y="1668"/>
                        </a:lnTo>
                        <a:lnTo>
                          <a:pt x="3416" y="1672"/>
                        </a:lnTo>
                        <a:lnTo>
                          <a:pt x="3430" y="1674"/>
                        </a:lnTo>
                        <a:lnTo>
                          <a:pt x="3446" y="1674"/>
                        </a:lnTo>
                        <a:lnTo>
                          <a:pt x="3460" y="1676"/>
                        </a:lnTo>
                        <a:lnTo>
                          <a:pt x="3460" y="1676"/>
                        </a:lnTo>
                        <a:lnTo>
                          <a:pt x="3470" y="1676"/>
                        </a:lnTo>
                        <a:lnTo>
                          <a:pt x="3478" y="1676"/>
                        </a:lnTo>
                        <a:lnTo>
                          <a:pt x="3484" y="1678"/>
                        </a:lnTo>
                        <a:lnTo>
                          <a:pt x="3484" y="1678"/>
                        </a:lnTo>
                        <a:lnTo>
                          <a:pt x="3484" y="1680"/>
                        </a:lnTo>
                        <a:lnTo>
                          <a:pt x="3484" y="1680"/>
                        </a:lnTo>
                        <a:lnTo>
                          <a:pt x="3484" y="1682"/>
                        </a:lnTo>
                        <a:lnTo>
                          <a:pt x="3484" y="1684"/>
                        </a:lnTo>
                        <a:lnTo>
                          <a:pt x="3490" y="1686"/>
                        </a:lnTo>
                        <a:lnTo>
                          <a:pt x="3508" y="1686"/>
                        </a:lnTo>
                        <a:lnTo>
                          <a:pt x="3508" y="1686"/>
                        </a:lnTo>
                        <a:lnTo>
                          <a:pt x="3514" y="1688"/>
                        </a:lnTo>
                        <a:lnTo>
                          <a:pt x="3518" y="1692"/>
                        </a:lnTo>
                        <a:lnTo>
                          <a:pt x="3526" y="1704"/>
                        </a:lnTo>
                        <a:lnTo>
                          <a:pt x="3532" y="1716"/>
                        </a:lnTo>
                        <a:lnTo>
                          <a:pt x="3534" y="1718"/>
                        </a:lnTo>
                        <a:lnTo>
                          <a:pt x="3536" y="1718"/>
                        </a:lnTo>
                        <a:lnTo>
                          <a:pt x="3536" y="1718"/>
                        </a:lnTo>
                        <a:lnTo>
                          <a:pt x="3540" y="1716"/>
                        </a:lnTo>
                        <a:lnTo>
                          <a:pt x="3542" y="1716"/>
                        </a:lnTo>
                        <a:lnTo>
                          <a:pt x="3544" y="1720"/>
                        </a:lnTo>
                        <a:lnTo>
                          <a:pt x="3544" y="1726"/>
                        </a:lnTo>
                        <a:lnTo>
                          <a:pt x="3544" y="1726"/>
                        </a:lnTo>
                        <a:lnTo>
                          <a:pt x="3544" y="1730"/>
                        </a:lnTo>
                        <a:lnTo>
                          <a:pt x="3546" y="1734"/>
                        </a:lnTo>
                        <a:lnTo>
                          <a:pt x="3552" y="1742"/>
                        </a:lnTo>
                        <a:lnTo>
                          <a:pt x="3556" y="1748"/>
                        </a:lnTo>
                        <a:lnTo>
                          <a:pt x="3560" y="1756"/>
                        </a:lnTo>
                        <a:lnTo>
                          <a:pt x="3560" y="1756"/>
                        </a:lnTo>
                        <a:lnTo>
                          <a:pt x="3558" y="1758"/>
                        </a:lnTo>
                        <a:lnTo>
                          <a:pt x="3558" y="1758"/>
                        </a:lnTo>
                        <a:lnTo>
                          <a:pt x="3554" y="1754"/>
                        </a:lnTo>
                        <a:lnTo>
                          <a:pt x="3548" y="1750"/>
                        </a:lnTo>
                        <a:lnTo>
                          <a:pt x="3546" y="1750"/>
                        </a:lnTo>
                        <a:lnTo>
                          <a:pt x="3544" y="1750"/>
                        </a:lnTo>
                        <a:lnTo>
                          <a:pt x="3544" y="1750"/>
                        </a:lnTo>
                        <a:lnTo>
                          <a:pt x="3542" y="1752"/>
                        </a:lnTo>
                        <a:lnTo>
                          <a:pt x="3542" y="1754"/>
                        </a:lnTo>
                        <a:lnTo>
                          <a:pt x="3546" y="1760"/>
                        </a:lnTo>
                        <a:lnTo>
                          <a:pt x="3548" y="1766"/>
                        </a:lnTo>
                        <a:lnTo>
                          <a:pt x="3546" y="1768"/>
                        </a:lnTo>
                        <a:lnTo>
                          <a:pt x="3544" y="1770"/>
                        </a:lnTo>
                        <a:lnTo>
                          <a:pt x="3544" y="1770"/>
                        </a:lnTo>
                        <a:lnTo>
                          <a:pt x="3542" y="1772"/>
                        </a:lnTo>
                        <a:lnTo>
                          <a:pt x="3538" y="1770"/>
                        </a:lnTo>
                        <a:lnTo>
                          <a:pt x="3530" y="1764"/>
                        </a:lnTo>
                        <a:lnTo>
                          <a:pt x="3520" y="1760"/>
                        </a:lnTo>
                        <a:lnTo>
                          <a:pt x="3516" y="1758"/>
                        </a:lnTo>
                        <a:lnTo>
                          <a:pt x="3512" y="1760"/>
                        </a:lnTo>
                        <a:lnTo>
                          <a:pt x="3512" y="1760"/>
                        </a:lnTo>
                        <a:lnTo>
                          <a:pt x="3508" y="1762"/>
                        </a:lnTo>
                        <a:lnTo>
                          <a:pt x="3508" y="1758"/>
                        </a:lnTo>
                        <a:lnTo>
                          <a:pt x="3508" y="1754"/>
                        </a:lnTo>
                        <a:lnTo>
                          <a:pt x="3508" y="1754"/>
                        </a:lnTo>
                        <a:lnTo>
                          <a:pt x="3504" y="1754"/>
                        </a:lnTo>
                        <a:lnTo>
                          <a:pt x="3504" y="1754"/>
                        </a:lnTo>
                        <a:lnTo>
                          <a:pt x="3502" y="1754"/>
                        </a:lnTo>
                        <a:lnTo>
                          <a:pt x="3502" y="1754"/>
                        </a:lnTo>
                        <a:lnTo>
                          <a:pt x="3504" y="1750"/>
                        </a:lnTo>
                        <a:lnTo>
                          <a:pt x="3506" y="1746"/>
                        </a:lnTo>
                        <a:lnTo>
                          <a:pt x="3504" y="1744"/>
                        </a:lnTo>
                        <a:lnTo>
                          <a:pt x="3502" y="1742"/>
                        </a:lnTo>
                        <a:lnTo>
                          <a:pt x="3502" y="1742"/>
                        </a:lnTo>
                        <a:lnTo>
                          <a:pt x="3498" y="1742"/>
                        </a:lnTo>
                        <a:lnTo>
                          <a:pt x="3496" y="1740"/>
                        </a:lnTo>
                        <a:lnTo>
                          <a:pt x="3494" y="1734"/>
                        </a:lnTo>
                        <a:lnTo>
                          <a:pt x="3494" y="1728"/>
                        </a:lnTo>
                        <a:lnTo>
                          <a:pt x="3492" y="1728"/>
                        </a:lnTo>
                        <a:lnTo>
                          <a:pt x="3490" y="1726"/>
                        </a:lnTo>
                        <a:lnTo>
                          <a:pt x="3490" y="1726"/>
                        </a:lnTo>
                        <a:lnTo>
                          <a:pt x="3486" y="1726"/>
                        </a:lnTo>
                        <a:lnTo>
                          <a:pt x="3482" y="1726"/>
                        </a:lnTo>
                        <a:lnTo>
                          <a:pt x="3480" y="1724"/>
                        </a:lnTo>
                        <a:lnTo>
                          <a:pt x="3478" y="1726"/>
                        </a:lnTo>
                        <a:lnTo>
                          <a:pt x="3478" y="1726"/>
                        </a:lnTo>
                        <a:lnTo>
                          <a:pt x="3480" y="1730"/>
                        </a:lnTo>
                        <a:lnTo>
                          <a:pt x="3484" y="1736"/>
                        </a:lnTo>
                        <a:lnTo>
                          <a:pt x="3490" y="1744"/>
                        </a:lnTo>
                        <a:lnTo>
                          <a:pt x="3496" y="1756"/>
                        </a:lnTo>
                        <a:lnTo>
                          <a:pt x="3496" y="1756"/>
                        </a:lnTo>
                        <a:lnTo>
                          <a:pt x="3496" y="1762"/>
                        </a:lnTo>
                        <a:lnTo>
                          <a:pt x="3494" y="1766"/>
                        </a:lnTo>
                        <a:lnTo>
                          <a:pt x="3486" y="1776"/>
                        </a:lnTo>
                        <a:lnTo>
                          <a:pt x="3482" y="1782"/>
                        </a:lnTo>
                        <a:lnTo>
                          <a:pt x="3480" y="1788"/>
                        </a:lnTo>
                        <a:lnTo>
                          <a:pt x="3476" y="1796"/>
                        </a:lnTo>
                        <a:lnTo>
                          <a:pt x="3476" y="1806"/>
                        </a:lnTo>
                        <a:lnTo>
                          <a:pt x="3476" y="1806"/>
                        </a:lnTo>
                        <a:lnTo>
                          <a:pt x="3476" y="1826"/>
                        </a:lnTo>
                        <a:lnTo>
                          <a:pt x="3476" y="1832"/>
                        </a:lnTo>
                        <a:lnTo>
                          <a:pt x="3472" y="1838"/>
                        </a:lnTo>
                        <a:lnTo>
                          <a:pt x="3468" y="1842"/>
                        </a:lnTo>
                        <a:lnTo>
                          <a:pt x="3464" y="1844"/>
                        </a:lnTo>
                        <a:lnTo>
                          <a:pt x="3448" y="1852"/>
                        </a:lnTo>
                        <a:lnTo>
                          <a:pt x="3448" y="1852"/>
                        </a:lnTo>
                        <a:lnTo>
                          <a:pt x="3446" y="1846"/>
                        </a:lnTo>
                        <a:lnTo>
                          <a:pt x="3444" y="1838"/>
                        </a:lnTo>
                        <a:lnTo>
                          <a:pt x="3440" y="1818"/>
                        </a:lnTo>
                        <a:lnTo>
                          <a:pt x="3438" y="1808"/>
                        </a:lnTo>
                        <a:lnTo>
                          <a:pt x="3434" y="1802"/>
                        </a:lnTo>
                        <a:lnTo>
                          <a:pt x="3428" y="1796"/>
                        </a:lnTo>
                        <a:lnTo>
                          <a:pt x="3424" y="1796"/>
                        </a:lnTo>
                        <a:lnTo>
                          <a:pt x="3424" y="1796"/>
                        </a:lnTo>
                        <a:lnTo>
                          <a:pt x="3418" y="1798"/>
                        </a:lnTo>
                        <a:lnTo>
                          <a:pt x="3414" y="1800"/>
                        </a:lnTo>
                        <a:lnTo>
                          <a:pt x="3408" y="1808"/>
                        </a:lnTo>
                        <a:lnTo>
                          <a:pt x="3404" y="1816"/>
                        </a:lnTo>
                        <a:lnTo>
                          <a:pt x="3400" y="1818"/>
                        </a:lnTo>
                        <a:lnTo>
                          <a:pt x="3398" y="1820"/>
                        </a:lnTo>
                        <a:lnTo>
                          <a:pt x="3398" y="1820"/>
                        </a:lnTo>
                        <a:lnTo>
                          <a:pt x="3394" y="1818"/>
                        </a:lnTo>
                        <a:lnTo>
                          <a:pt x="3392" y="1816"/>
                        </a:lnTo>
                        <a:lnTo>
                          <a:pt x="3388" y="1810"/>
                        </a:lnTo>
                        <a:lnTo>
                          <a:pt x="3390" y="1802"/>
                        </a:lnTo>
                        <a:lnTo>
                          <a:pt x="3392" y="1798"/>
                        </a:lnTo>
                        <a:lnTo>
                          <a:pt x="3394" y="1796"/>
                        </a:lnTo>
                        <a:lnTo>
                          <a:pt x="3394" y="1796"/>
                        </a:lnTo>
                        <a:lnTo>
                          <a:pt x="3400" y="1790"/>
                        </a:lnTo>
                        <a:lnTo>
                          <a:pt x="3406" y="1784"/>
                        </a:lnTo>
                        <a:lnTo>
                          <a:pt x="3410" y="1776"/>
                        </a:lnTo>
                        <a:lnTo>
                          <a:pt x="3412" y="1764"/>
                        </a:lnTo>
                        <a:lnTo>
                          <a:pt x="3412" y="1764"/>
                        </a:lnTo>
                        <a:lnTo>
                          <a:pt x="3412" y="1758"/>
                        </a:lnTo>
                        <a:lnTo>
                          <a:pt x="3412" y="1754"/>
                        </a:lnTo>
                        <a:lnTo>
                          <a:pt x="3410" y="1746"/>
                        </a:lnTo>
                        <a:lnTo>
                          <a:pt x="3408" y="1740"/>
                        </a:lnTo>
                        <a:lnTo>
                          <a:pt x="3408" y="1738"/>
                        </a:lnTo>
                        <a:lnTo>
                          <a:pt x="3410" y="1738"/>
                        </a:lnTo>
                        <a:lnTo>
                          <a:pt x="3410" y="1738"/>
                        </a:lnTo>
                        <a:lnTo>
                          <a:pt x="3414" y="1736"/>
                        </a:lnTo>
                        <a:lnTo>
                          <a:pt x="3414" y="1734"/>
                        </a:lnTo>
                        <a:lnTo>
                          <a:pt x="3410" y="1728"/>
                        </a:lnTo>
                        <a:lnTo>
                          <a:pt x="3402" y="1722"/>
                        </a:lnTo>
                        <a:lnTo>
                          <a:pt x="3392" y="1716"/>
                        </a:lnTo>
                        <a:lnTo>
                          <a:pt x="3392" y="1716"/>
                        </a:lnTo>
                        <a:lnTo>
                          <a:pt x="3382" y="1712"/>
                        </a:lnTo>
                        <a:lnTo>
                          <a:pt x="3380" y="1708"/>
                        </a:lnTo>
                        <a:lnTo>
                          <a:pt x="3378" y="1706"/>
                        </a:lnTo>
                        <a:lnTo>
                          <a:pt x="3372" y="1704"/>
                        </a:lnTo>
                        <a:lnTo>
                          <a:pt x="3372" y="1704"/>
                        </a:lnTo>
                        <a:lnTo>
                          <a:pt x="3366" y="1702"/>
                        </a:lnTo>
                        <a:lnTo>
                          <a:pt x="3362" y="1698"/>
                        </a:lnTo>
                        <a:lnTo>
                          <a:pt x="3358" y="1696"/>
                        </a:lnTo>
                        <a:lnTo>
                          <a:pt x="3356" y="1696"/>
                        </a:lnTo>
                        <a:lnTo>
                          <a:pt x="3352" y="1698"/>
                        </a:lnTo>
                        <a:lnTo>
                          <a:pt x="3346" y="1702"/>
                        </a:lnTo>
                        <a:lnTo>
                          <a:pt x="3346" y="1702"/>
                        </a:lnTo>
                        <a:lnTo>
                          <a:pt x="3342" y="1706"/>
                        </a:lnTo>
                        <a:lnTo>
                          <a:pt x="3340" y="1710"/>
                        </a:lnTo>
                        <a:lnTo>
                          <a:pt x="3342" y="1712"/>
                        </a:lnTo>
                        <a:lnTo>
                          <a:pt x="3344" y="1714"/>
                        </a:lnTo>
                        <a:lnTo>
                          <a:pt x="3346" y="1718"/>
                        </a:lnTo>
                        <a:lnTo>
                          <a:pt x="3340" y="1720"/>
                        </a:lnTo>
                        <a:lnTo>
                          <a:pt x="3340" y="1720"/>
                        </a:lnTo>
                        <a:lnTo>
                          <a:pt x="3334" y="1722"/>
                        </a:lnTo>
                        <a:lnTo>
                          <a:pt x="3330" y="1726"/>
                        </a:lnTo>
                        <a:lnTo>
                          <a:pt x="3328" y="1732"/>
                        </a:lnTo>
                        <a:lnTo>
                          <a:pt x="3328" y="1738"/>
                        </a:lnTo>
                        <a:lnTo>
                          <a:pt x="3326" y="1748"/>
                        </a:lnTo>
                        <a:lnTo>
                          <a:pt x="3324" y="1752"/>
                        </a:lnTo>
                        <a:lnTo>
                          <a:pt x="3322" y="1752"/>
                        </a:lnTo>
                        <a:lnTo>
                          <a:pt x="3322" y="1752"/>
                        </a:lnTo>
                        <a:lnTo>
                          <a:pt x="3320" y="1752"/>
                        </a:lnTo>
                        <a:lnTo>
                          <a:pt x="3318" y="1748"/>
                        </a:lnTo>
                        <a:lnTo>
                          <a:pt x="3318" y="1738"/>
                        </a:lnTo>
                        <a:lnTo>
                          <a:pt x="3318" y="1734"/>
                        </a:lnTo>
                        <a:lnTo>
                          <a:pt x="3316" y="1734"/>
                        </a:lnTo>
                        <a:lnTo>
                          <a:pt x="3314" y="1736"/>
                        </a:lnTo>
                        <a:lnTo>
                          <a:pt x="3308" y="1744"/>
                        </a:lnTo>
                        <a:lnTo>
                          <a:pt x="3308" y="1744"/>
                        </a:lnTo>
                        <a:lnTo>
                          <a:pt x="3300" y="1752"/>
                        </a:lnTo>
                        <a:lnTo>
                          <a:pt x="3296" y="1754"/>
                        </a:lnTo>
                        <a:lnTo>
                          <a:pt x="3294" y="1756"/>
                        </a:lnTo>
                        <a:lnTo>
                          <a:pt x="3294" y="1766"/>
                        </a:lnTo>
                        <a:lnTo>
                          <a:pt x="3294" y="1766"/>
                        </a:lnTo>
                        <a:lnTo>
                          <a:pt x="3296" y="1772"/>
                        </a:lnTo>
                        <a:lnTo>
                          <a:pt x="3294" y="1778"/>
                        </a:lnTo>
                        <a:lnTo>
                          <a:pt x="3290" y="1786"/>
                        </a:lnTo>
                        <a:lnTo>
                          <a:pt x="3286" y="1792"/>
                        </a:lnTo>
                        <a:lnTo>
                          <a:pt x="3286" y="1796"/>
                        </a:lnTo>
                        <a:lnTo>
                          <a:pt x="3286" y="1800"/>
                        </a:lnTo>
                        <a:lnTo>
                          <a:pt x="3286" y="1800"/>
                        </a:lnTo>
                        <a:lnTo>
                          <a:pt x="3288" y="1808"/>
                        </a:lnTo>
                        <a:lnTo>
                          <a:pt x="3286" y="1812"/>
                        </a:lnTo>
                        <a:lnTo>
                          <a:pt x="3284" y="1818"/>
                        </a:lnTo>
                        <a:lnTo>
                          <a:pt x="3286" y="1828"/>
                        </a:lnTo>
                        <a:lnTo>
                          <a:pt x="3286" y="1828"/>
                        </a:lnTo>
                        <a:lnTo>
                          <a:pt x="3292" y="1840"/>
                        </a:lnTo>
                        <a:lnTo>
                          <a:pt x="3294" y="1852"/>
                        </a:lnTo>
                        <a:lnTo>
                          <a:pt x="3296" y="1862"/>
                        </a:lnTo>
                        <a:lnTo>
                          <a:pt x="3294" y="1872"/>
                        </a:lnTo>
                        <a:lnTo>
                          <a:pt x="3294" y="1880"/>
                        </a:lnTo>
                        <a:lnTo>
                          <a:pt x="3290" y="1890"/>
                        </a:lnTo>
                        <a:lnTo>
                          <a:pt x="3282" y="1908"/>
                        </a:lnTo>
                        <a:lnTo>
                          <a:pt x="3282" y="1908"/>
                        </a:lnTo>
                        <a:lnTo>
                          <a:pt x="3276" y="1916"/>
                        </a:lnTo>
                        <a:lnTo>
                          <a:pt x="3270" y="1922"/>
                        </a:lnTo>
                        <a:lnTo>
                          <a:pt x="3264" y="1928"/>
                        </a:lnTo>
                        <a:lnTo>
                          <a:pt x="3258" y="1930"/>
                        </a:lnTo>
                        <a:lnTo>
                          <a:pt x="3252" y="1930"/>
                        </a:lnTo>
                        <a:lnTo>
                          <a:pt x="3246" y="1926"/>
                        </a:lnTo>
                        <a:lnTo>
                          <a:pt x="3242" y="1922"/>
                        </a:lnTo>
                        <a:lnTo>
                          <a:pt x="3236" y="1914"/>
                        </a:lnTo>
                        <a:lnTo>
                          <a:pt x="3236" y="1914"/>
                        </a:lnTo>
                        <a:lnTo>
                          <a:pt x="3232" y="1904"/>
                        </a:lnTo>
                        <a:lnTo>
                          <a:pt x="3230" y="1898"/>
                        </a:lnTo>
                        <a:lnTo>
                          <a:pt x="3230" y="1884"/>
                        </a:lnTo>
                        <a:lnTo>
                          <a:pt x="3230" y="1872"/>
                        </a:lnTo>
                        <a:lnTo>
                          <a:pt x="3230" y="1864"/>
                        </a:lnTo>
                        <a:lnTo>
                          <a:pt x="3230" y="1856"/>
                        </a:lnTo>
                        <a:lnTo>
                          <a:pt x="3230" y="1856"/>
                        </a:lnTo>
                        <a:lnTo>
                          <a:pt x="3228" y="1842"/>
                        </a:lnTo>
                        <a:lnTo>
                          <a:pt x="3228" y="1834"/>
                        </a:lnTo>
                        <a:lnTo>
                          <a:pt x="3232" y="1824"/>
                        </a:lnTo>
                        <a:lnTo>
                          <a:pt x="3234" y="1810"/>
                        </a:lnTo>
                        <a:lnTo>
                          <a:pt x="3234" y="1810"/>
                        </a:lnTo>
                        <a:lnTo>
                          <a:pt x="3234" y="1802"/>
                        </a:lnTo>
                        <a:lnTo>
                          <a:pt x="3236" y="1796"/>
                        </a:lnTo>
                        <a:lnTo>
                          <a:pt x="3238" y="1792"/>
                        </a:lnTo>
                        <a:lnTo>
                          <a:pt x="3240" y="1792"/>
                        </a:lnTo>
                        <a:lnTo>
                          <a:pt x="3242" y="1790"/>
                        </a:lnTo>
                        <a:lnTo>
                          <a:pt x="3242" y="1784"/>
                        </a:lnTo>
                        <a:lnTo>
                          <a:pt x="3242" y="1784"/>
                        </a:lnTo>
                        <a:lnTo>
                          <a:pt x="3240" y="1780"/>
                        </a:lnTo>
                        <a:lnTo>
                          <a:pt x="3242" y="1776"/>
                        </a:lnTo>
                        <a:lnTo>
                          <a:pt x="3246" y="1764"/>
                        </a:lnTo>
                        <a:lnTo>
                          <a:pt x="3248" y="1754"/>
                        </a:lnTo>
                        <a:lnTo>
                          <a:pt x="3248" y="1752"/>
                        </a:lnTo>
                        <a:lnTo>
                          <a:pt x="3246" y="1748"/>
                        </a:lnTo>
                        <a:lnTo>
                          <a:pt x="3246" y="1748"/>
                        </a:lnTo>
                        <a:lnTo>
                          <a:pt x="3240" y="1748"/>
                        </a:lnTo>
                        <a:lnTo>
                          <a:pt x="3238" y="1752"/>
                        </a:lnTo>
                        <a:lnTo>
                          <a:pt x="3234" y="1758"/>
                        </a:lnTo>
                        <a:lnTo>
                          <a:pt x="3228" y="1764"/>
                        </a:lnTo>
                        <a:lnTo>
                          <a:pt x="3228" y="1764"/>
                        </a:lnTo>
                        <a:lnTo>
                          <a:pt x="3226" y="1766"/>
                        </a:lnTo>
                        <a:lnTo>
                          <a:pt x="3224" y="1766"/>
                        </a:lnTo>
                        <a:lnTo>
                          <a:pt x="3224" y="1758"/>
                        </a:lnTo>
                        <a:lnTo>
                          <a:pt x="3226" y="1750"/>
                        </a:lnTo>
                        <a:lnTo>
                          <a:pt x="3230" y="1746"/>
                        </a:lnTo>
                        <a:lnTo>
                          <a:pt x="3232" y="1742"/>
                        </a:lnTo>
                        <a:lnTo>
                          <a:pt x="3232" y="1742"/>
                        </a:lnTo>
                        <a:lnTo>
                          <a:pt x="3236" y="1740"/>
                        </a:lnTo>
                        <a:lnTo>
                          <a:pt x="3238" y="1736"/>
                        </a:lnTo>
                        <a:lnTo>
                          <a:pt x="3240" y="1732"/>
                        </a:lnTo>
                        <a:lnTo>
                          <a:pt x="3244" y="1726"/>
                        </a:lnTo>
                        <a:lnTo>
                          <a:pt x="3244" y="1726"/>
                        </a:lnTo>
                        <a:lnTo>
                          <a:pt x="3252" y="1714"/>
                        </a:lnTo>
                        <a:lnTo>
                          <a:pt x="3258" y="1700"/>
                        </a:lnTo>
                        <a:lnTo>
                          <a:pt x="3264" y="1692"/>
                        </a:lnTo>
                        <a:lnTo>
                          <a:pt x="3266" y="1690"/>
                        </a:lnTo>
                        <a:lnTo>
                          <a:pt x="3266" y="1692"/>
                        </a:lnTo>
                        <a:lnTo>
                          <a:pt x="3266" y="1692"/>
                        </a:lnTo>
                        <a:lnTo>
                          <a:pt x="3268" y="1696"/>
                        </a:lnTo>
                        <a:lnTo>
                          <a:pt x="3270" y="1696"/>
                        </a:lnTo>
                        <a:lnTo>
                          <a:pt x="3274" y="1694"/>
                        </a:lnTo>
                        <a:lnTo>
                          <a:pt x="3278" y="1692"/>
                        </a:lnTo>
                        <a:lnTo>
                          <a:pt x="3280" y="1692"/>
                        </a:lnTo>
                        <a:lnTo>
                          <a:pt x="3278" y="1698"/>
                        </a:lnTo>
                        <a:lnTo>
                          <a:pt x="3278" y="1698"/>
                        </a:lnTo>
                        <a:lnTo>
                          <a:pt x="3278" y="1702"/>
                        </a:lnTo>
                        <a:lnTo>
                          <a:pt x="3278" y="1702"/>
                        </a:lnTo>
                        <a:lnTo>
                          <a:pt x="3284" y="1696"/>
                        </a:lnTo>
                        <a:lnTo>
                          <a:pt x="3292" y="1688"/>
                        </a:lnTo>
                        <a:lnTo>
                          <a:pt x="3296" y="1686"/>
                        </a:lnTo>
                        <a:lnTo>
                          <a:pt x="3300" y="1684"/>
                        </a:lnTo>
                        <a:lnTo>
                          <a:pt x="3300" y="1684"/>
                        </a:lnTo>
                        <a:lnTo>
                          <a:pt x="3310" y="1684"/>
                        </a:lnTo>
                        <a:lnTo>
                          <a:pt x="3314" y="1684"/>
                        </a:lnTo>
                        <a:lnTo>
                          <a:pt x="3320" y="1678"/>
                        </a:lnTo>
                        <a:lnTo>
                          <a:pt x="3324" y="1676"/>
                        </a:lnTo>
                        <a:lnTo>
                          <a:pt x="3328" y="1678"/>
                        </a:lnTo>
                        <a:lnTo>
                          <a:pt x="3336" y="1680"/>
                        </a:lnTo>
                        <a:lnTo>
                          <a:pt x="3346" y="1686"/>
                        </a:lnTo>
                        <a:lnTo>
                          <a:pt x="3346" y="1686"/>
                        </a:lnTo>
                        <a:lnTo>
                          <a:pt x="3352" y="1690"/>
                        </a:lnTo>
                        <a:lnTo>
                          <a:pt x="3354" y="1690"/>
                        </a:lnTo>
                        <a:lnTo>
                          <a:pt x="3356" y="1688"/>
                        </a:lnTo>
                        <a:lnTo>
                          <a:pt x="3358" y="1686"/>
                        </a:lnTo>
                        <a:lnTo>
                          <a:pt x="3358" y="1682"/>
                        </a:lnTo>
                        <a:lnTo>
                          <a:pt x="3360" y="1680"/>
                        </a:lnTo>
                        <a:lnTo>
                          <a:pt x="3362" y="1680"/>
                        </a:lnTo>
                        <a:lnTo>
                          <a:pt x="3362" y="1680"/>
                        </a:lnTo>
                        <a:lnTo>
                          <a:pt x="3370" y="1684"/>
                        </a:lnTo>
                        <a:lnTo>
                          <a:pt x="3380" y="1686"/>
                        </a:lnTo>
                        <a:lnTo>
                          <a:pt x="3386" y="1684"/>
                        </a:lnTo>
                        <a:lnTo>
                          <a:pt x="3388" y="1682"/>
                        </a:lnTo>
                        <a:lnTo>
                          <a:pt x="3388" y="1678"/>
                        </a:lnTo>
                        <a:lnTo>
                          <a:pt x="3388" y="1678"/>
                        </a:lnTo>
                        <a:lnTo>
                          <a:pt x="3384" y="1674"/>
                        </a:lnTo>
                        <a:lnTo>
                          <a:pt x="3380" y="1672"/>
                        </a:lnTo>
                        <a:lnTo>
                          <a:pt x="3376" y="1670"/>
                        </a:lnTo>
                        <a:lnTo>
                          <a:pt x="3374" y="1662"/>
                        </a:lnTo>
                        <a:lnTo>
                          <a:pt x="3374" y="1662"/>
                        </a:lnTo>
                        <a:lnTo>
                          <a:pt x="3374" y="1658"/>
                        </a:lnTo>
                        <a:lnTo>
                          <a:pt x="3372" y="1658"/>
                        </a:lnTo>
                        <a:lnTo>
                          <a:pt x="3368" y="1658"/>
                        </a:lnTo>
                        <a:lnTo>
                          <a:pt x="3360" y="1658"/>
                        </a:lnTo>
                        <a:lnTo>
                          <a:pt x="3348" y="1654"/>
                        </a:lnTo>
                        <a:lnTo>
                          <a:pt x="3348" y="1654"/>
                        </a:lnTo>
                        <a:lnTo>
                          <a:pt x="3346" y="1652"/>
                        </a:lnTo>
                        <a:lnTo>
                          <a:pt x="3344" y="1650"/>
                        </a:lnTo>
                        <a:lnTo>
                          <a:pt x="3344" y="1644"/>
                        </a:lnTo>
                        <a:lnTo>
                          <a:pt x="3346" y="1638"/>
                        </a:lnTo>
                        <a:lnTo>
                          <a:pt x="3344" y="1638"/>
                        </a:lnTo>
                        <a:lnTo>
                          <a:pt x="3340" y="1640"/>
                        </a:lnTo>
                        <a:lnTo>
                          <a:pt x="3340" y="1640"/>
                        </a:lnTo>
                        <a:lnTo>
                          <a:pt x="3330" y="1642"/>
                        </a:lnTo>
                        <a:lnTo>
                          <a:pt x="3314" y="1644"/>
                        </a:lnTo>
                        <a:lnTo>
                          <a:pt x="3300" y="1646"/>
                        </a:lnTo>
                        <a:lnTo>
                          <a:pt x="3294" y="1648"/>
                        </a:lnTo>
                        <a:lnTo>
                          <a:pt x="3288" y="1652"/>
                        </a:lnTo>
                        <a:lnTo>
                          <a:pt x="3288" y="1652"/>
                        </a:lnTo>
                        <a:lnTo>
                          <a:pt x="3280" y="1656"/>
                        </a:lnTo>
                        <a:lnTo>
                          <a:pt x="3274" y="1656"/>
                        </a:lnTo>
                        <a:lnTo>
                          <a:pt x="3268" y="1656"/>
                        </a:lnTo>
                        <a:lnTo>
                          <a:pt x="3258" y="1654"/>
                        </a:lnTo>
                        <a:lnTo>
                          <a:pt x="3258" y="1654"/>
                        </a:lnTo>
                        <a:lnTo>
                          <a:pt x="3252" y="1654"/>
                        </a:lnTo>
                        <a:lnTo>
                          <a:pt x="3250" y="1652"/>
                        </a:lnTo>
                        <a:lnTo>
                          <a:pt x="3244" y="1646"/>
                        </a:lnTo>
                        <a:lnTo>
                          <a:pt x="3238" y="1636"/>
                        </a:lnTo>
                        <a:lnTo>
                          <a:pt x="3234" y="1632"/>
                        </a:lnTo>
                        <a:lnTo>
                          <a:pt x="3228" y="1630"/>
                        </a:lnTo>
                        <a:lnTo>
                          <a:pt x="3228" y="1630"/>
                        </a:lnTo>
                        <a:lnTo>
                          <a:pt x="3222" y="1628"/>
                        </a:lnTo>
                        <a:lnTo>
                          <a:pt x="3218" y="1628"/>
                        </a:lnTo>
                        <a:lnTo>
                          <a:pt x="3210" y="1632"/>
                        </a:lnTo>
                        <a:lnTo>
                          <a:pt x="3208" y="1634"/>
                        </a:lnTo>
                        <a:lnTo>
                          <a:pt x="3206" y="1634"/>
                        </a:lnTo>
                        <a:lnTo>
                          <a:pt x="3206" y="1632"/>
                        </a:lnTo>
                        <a:lnTo>
                          <a:pt x="3204" y="1628"/>
                        </a:lnTo>
                        <a:lnTo>
                          <a:pt x="3204" y="1628"/>
                        </a:lnTo>
                        <a:lnTo>
                          <a:pt x="3202" y="1618"/>
                        </a:lnTo>
                        <a:lnTo>
                          <a:pt x="3200" y="1616"/>
                        </a:lnTo>
                        <a:lnTo>
                          <a:pt x="3198" y="1614"/>
                        </a:lnTo>
                        <a:lnTo>
                          <a:pt x="3190" y="1618"/>
                        </a:lnTo>
                        <a:lnTo>
                          <a:pt x="3180" y="1628"/>
                        </a:lnTo>
                        <a:lnTo>
                          <a:pt x="3180" y="1628"/>
                        </a:lnTo>
                        <a:lnTo>
                          <a:pt x="3176" y="1632"/>
                        </a:lnTo>
                        <a:lnTo>
                          <a:pt x="3170" y="1634"/>
                        </a:lnTo>
                        <a:lnTo>
                          <a:pt x="3164" y="1636"/>
                        </a:lnTo>
                        <a:lnTo>
                          <a:pt x="3156" y="1636"/>
                        </a:lnTo>
                        <a:lnTo>
                          <a:pt x="3150" y="1638"/>
                        </a:lnTo>
                        <a:lnTo>
                          <a:pt x="3144" y="1642"/>
                        </a:lnTo>
                        <a:lnTo>
                          <a:pt x="3144" y="1642"/>
                        </a:lnTo>
                        <a:lnTo>
                          <a:pt x="3134" y="1648"/>
                        </a:lnTo>
                        <a:lnTo>
                          <a:pt x="3126" y="1650"/>
                        </a:lnTo>
                        <a:lnTo>
                          <a:pt x="3118" y="1648"/>
                        </a:lnTo>
                        <a:lnTo>
                          <a:pt x="3110" y="1648"/>
                        </a:lnTo>
                        <a:lnTo>
                          <a:pt x="3110" y="1648"/>
                        </a:lnTo>
                        <a:lnTo>
                          <a:pt x="3106" y="1650"/>
                        </a:lnTo>
                        <a:lnTo>
                          <a:pt x="3104" y="1648"/>
                        </a:lnTo>
                        <a:lnTo>
                          <a:pt x="3108" y="1640"/>
                        </a:lnTo>
                        <a:lnTo>
                          <a:pt x="3112" y="1632"/>
                        </a:lnTo>
                        <a:lnTo>
                          <a:pt x="3110" y="1630"/>
                        </a:lnTo>
                        <a:lnTo>
                          <a:pt x="3108" y="1628"/>
                        </a:lnTo>
                        <a:lnTo>
                          <a:pt x="3108" y="1628"/>
                        </a:lnTo>
                        <a:lnTo>
                          <a:pt x="3104" y="1628"/>
                        </a:lnTo>
                        <a:lnTo>
                          <a:pt x="3098" y="1630"/>
                        </a:lnTo>
                        <a:lnTo>
                          <a:pt x="3086" y="1636"/>
                        </a:lnTo>
                        <a:lnTo>
                          <a:pt x="3074" y="1642"/>
                        </a:lnTo>
                        <a:lnTo>
                          <a:pt x="3068" y="1642"/>
                        </a:lnTo>
                        <a:lnTo>
                          <a:pt x="3062" y="1642"/>
                        </a:lnTo>
                        <a:lnTo>
                          <a:pt x="3062" y="1642"/>
                        </a:lnTo>
                        <a:lnTo>
                          <a:pt x="3058" y="1640"/>
                        </a:lnTo>
                        <a:lnTo>
                          <a:pt x="3058" y="1638"/>
                        </a:lnTo>
                        <a:lnTo>
                          <a:pt x="3060" y="1636"/>
                        </a:lnTo>
                        <a:lnTo>
                          <a:pt x="3064" y="1632"/>
                        </a:lnTo>
                        <a:lnTo>
                          <a:pt x="3076" y="1620"/>
                        </a:lnTo>
                        <a:lnTo>
                          <a:pt x="3092" y="1606"/>
                        </a:lnTo>
                        <a:lnTo>
                          <a:pt x="3092" y="160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5" name="Freeform 6087"/>
                  <p:cNvSpPr>
                    <a:spLocks/>
                  </p:cNvSpPr>
                  <p:nvPr/>
                </p:nvSpPr>
                <p:spPr bwMode="auto">
                  <a:xfrm>
                    <a:off x="1927860" y="823913"/>
                    <a:ext cx="304800" cy="171450"/>
                  </a:xfrm>
                  <a:custGeom>
                    <a:avLst/>
                    <a:gdLst/>
                    <a:ahLst/>
                    <a:cxnLst>
                      <a:cxn ang="0">
                        <a:pos x="78" y="174"/>
                      </a:cxn>
                      <a:cxn ang="0">
                        <a:pos x="110" y="166"/>
                      </a:cxn>
                      <a:cxn ang="0">
                        <a:pos x="110" y="174"/>
                      </a:cxn>
                      <a:cxn ang="0">
                        <a:pos x="176" y="164"/>
                      </a:cxn>
                      <a:cxn ang="0">
                        <a:pos x="174" y="172"/>
                      </a:cxn>
                      <a:cxn ang="0">
                        <a:pos x="118" y="192"/>
                      </a:cxn>
                      <a:cxn ang="0">
                        <a:pos x="108" y="204"/>
                      </a:cxn>
                      <a:cxn ang="0">
                        <a:pos x="148" y="238"/>
                      </a:cxn>
                      <a:cxn ang="0">
                        <a:pos x="224" y="268"/>
                      </a:cxn>
                      <a:cxn ang="0">
                        <a:pos x="260" y="262"/>
                      </a:cxn>
                      <a:cxn ang="0">
                        <a:pos x="268" y="252"/>
                      </a:cxn>
                      <a:cxn ang="0">
                        <a:pos x="288" y="260"/>
                      </a:cxn>
                      <a:cxn ang="0">
                        <a:pos x="282" y="242"/>
                      </a:cxn>
                      <a:cxn ang="0">
                        <a:pos x="296" y="246"/>
                      </a:cxn>
                      <a:cxn ang="0">
                        <a:pos x="322" y="266"/>
                      </a:cxn>
                      <a:cxn ang="0">
                        <a:pos x="328" y="246"/>
                      </a:cxn>
                      <a:cxn ang="0">
                        <a:pos x="340" y="234"/>
                      </a:cxn>
                      <a:cxn ang="0">
                        <a:pos x="364" y="230"/>
                      </a:cxn>
                      <a:cxn ang="0">
                        <a:pos x="426" y="192"/>
                      </a:cxn>
                      <a:cxn ang="0">
                        <a:pos x="480" y="174"/>
                      </a:cxn>
                      <a:cxn ang="0">
                        <a:pos x="472" y="166"/>
                      </a:cxn>
                      <a:cxn ang="0">
                        <a:pos x="438" y="146"/>
                      </a:cxn>
                      <a:cxn ang="0">
                        <a:pos x="400" y="146"/>
                      </a:cxn>
                      <a:cxn ang="0">
                        <a:pos x="390" y="142"/>
                      </a:cxn>
                      <a:cxn ang="0">
                        <a:pos x="400" y="122"/>
                      </a:cxn>
                      <a:cxn ang="0">
                        <a:pos x="382" y="108"/>
                      </a:cxn>
                      <a:cxn ang="0">
                        <a:pos x="376" y="86"/>
                      </a:cxn>
                      <a:cxn ang="0">
                        <a:pos x="352" y="78"/>
                      </a:cxn>
                      <a:cxn ang="0">
                        <a:pos x="328" y="90"/>
                      </a:cxn>
                      <a:cxn ang="0">
                        <a:pos x="326" y="102"/>
                      </a:cxn>
                      <a:cxn ang="0">
                        <a:pos x="306" y="92"/>
                      </a:cxn>
                      <a:cxn ang="0">
                        <a:pos x="306" y="74"/>
                      </a:cxn>
                      <a:cxn ang="0">
                        <a:pos x="274" y="68"/>
                      </a:cxn>
                      <a:cxn ang="0">
                        <a:pos x="192" y="20"/>
                      </a:cxn>
                      <a:cxn ang="0">
                        <a:pos x="134" y="0"/>
                      </a:cxn>
                      <a:cxn ang="0">
                        <a:pos x="100" y="4"/>
                      </a:cxn>
                      <a:cxn ang="0">
                        <a:pos x="112" y="20"/>
                      </a:cxn>
                      <a:cxn ang="0">
                        <a:pos x="98" y="28"/>
                      </a:cxn>
                      <a:cxn ang="0">
                        <a:pos x="66" y="32"/>
                      </a:cxn>
                      <a:cxn ang="0">
                        <a:pos x="54" y="54"/>
                      </a:cxn>
                      <a:cxn ang="0">
                        <a:pos x="26" y="76"/>
                      </a:cxn>
                      <a:cxn ang="0">
                        <a:pos x="18" y="92"/>
                      </a:cxn>
                      <a:cxn ang="0">
                        <a:pos x="50" y="100"/>
                      </a:cxn>
                      <a:cxn ang="0">
                        <a:pos x="90" y="104"/>
                      </a:cxn>
                      <a:cxn ang="0">
                        <a:pos x="72" y="112"/>
                      </a:cxn>
                      <a:cxn ang="0">
                        <a:pos x="4" y="106"/>
                      </a:cxn>
                      <a:cxn ang="0">
                        <a:pos x="2" y="116"/>
                      </a:cxn>
                      <a:cxn ang="0">
                        <a:pos x="32" y="148"/>
                      </a:cxn>
                    </a:cxnLst>
                    <a:rect l="0" t="0" r="r" b="b"/>
                    <a:pathLst>
                      <a:path w="480" h="270">
                        <a:moveTo>
                          <a:pt x="54" y="164"/>
                        </a:moveTo>
                        <a:lnTo>
                          <a:pt x="54" y="164"/>
                        </a:lnTo>
                        <a:lnTo>
                          <a:pt x="66" y="172"/>
                        </a:lnTo>
                        <a:lnTo>
                          <a:pt x="78" y="174"/>
                        </a:lnTo>
                        <a:lnTo>
                          <a:pt x="88" y="172"/>
                        </a:lnTo>
                        <a:lnTo>
                          <a:pt x="98" y="170"/>
                        </a:lnTo>
                        <a:lnTo>
                          <a:pt x="108" y="164"/>
                        </a:lnTo>
                        <a:lnTo>
                          <a:pt x="110" y="166"/>
                        </a:lnTo>
                        <a:lnTo>
                          <a:pt x="108" y="170"/>
                        </a:lnTo>
                        <a:lnTo>
                          <a:pt x="108" y="170"/>
                        </a:lnTo>
                        <a:lnTo>
                          <a:pt x="108" y="172"/>
                        </a:lnTo>
                        <a:lnTo>
                          <a:pt x="110" y="174"/>
                        </a:lnTo>
                        <a:lnTo>
                          <a:pt x="116" y="176"/>
                        </a:lnTo>
                        <a:lnTo>
                          <a:pt x="142" y="168"/>
                        </a:lnTo>
                        <a:lnTo>
                          <a:pt x="168" y="162"/>
                        </a:lnTo>
                        <a:lnTo>
                          <a:pt x="176" y="164"/>
                        </a:lnTo>
                        <a:lnTo>
                          <a:pt x="176" y="164"/>
                        </a:lnTo>
                        <a:lnTo>
                          <a:pt x="176" y="168"/>
                        </a:lnTo>
                        <a:lnTo>
                          <a:pt x="176" y="168"/>
                        </a:lnTo>
                        <a:lnTo>
                          <a:pt x="174" y="172"/>
                        </a:lnTo>
                        <a:lnTo>
                          <a:pt x="170" y="174"/>
                        </a:lnTo>
                        <a:lnTo>
                          <a:pt x="158" y="180"/>
                        </a:lnTo>
                        <a:lnTo>
                          <a:pt x="130" y="188"/>
                        </a:lnTo>
                        <a:lnTo>
                          <a:pt x="118" y="192"/>
                        </a:lnTo>
                        <a:lnTo>
                          <a:pt x="108" y="196"/>
                        </a:lnTo>
                        <a:lnTo>
                          <a:pt x="104" y="200"/>
                        </a:lnTo>
                        <a:lnTo>
                          <a:pt x="106" y="202"/>
                        </a:lnTo>
                        <a:lnTo>
                          <a:pt x="108" y="204"/>
                        </a:lnTo>
                        <a:lnTo>
                          <a:pt x="108" y="204"/>
                        </a:lnTo>
                        <a:lnTo>
                          <a:pt x="122" y="214"/>
                        </a:lnTo>
                        <a:lnTo>
                          <a:pt x="134" y="226"/>
                        </a:lnTo>
                        <a:lnTo>
                          <a:pt x="148" y="238"/>
                        </a:lnTo>
                        <a:lnTo>
                          <a:pt x="166" y="250"/>
                        </a:lnTo>
                        <a:lnTo>
                          <a:pt x="166" y="250"/>
                        </a:lnTo>
                        <a:lnTo>
                          <a:pt x="194" y="260"/>
                        </a:lnTo>
                        <a:lnTo>
                          <a:pt x="224" y="268"/>
                        </a:lnTo>
                        <a:lnTo>
                          <a:pt x="238" y="270"/>
                        </a:lnTo>
                        <a:lnTo>
                          <a:pt x="250" y="270"/>
                        </a:lnTo>
                        <a:lnTo>
                          <a:pt x="258" y="266"/>
                        </a:lnTo>
                        <a:lnTo>
                          <a:pt x="260" y="262"/>
                        </a:lnTo>
                        <a:lnTo>
                          <a:pt x="262" y="260"/>
                        </a:lnTo>
                        <a:lnTo>
                          <a:pt x="262" y="260"/>
                        </a:lnTo>
                        <a:lnTo>
                          <a:pt x="262" y="254"/>
                        </a:lnTo>
                        <a:lnTo>
                          <a:pt x="268" y="252"/>
                        </a:lnTo>
                        <a:lnTo>
                          <a:pt x="274" y="254"/>
                        </a:lnTo>
                        <a:lnTo>
                          <a:pt x="280" y="256"/>
                        </a:lnTo>
                        <a:lnTo>
                          <a:pt x="284" y="258"/>
                        </a:lnTo>
                        <a:lnTo>
                          <a:pt x="288" y="260"/>
                        </a:lnTo>
                        <a:lnTo>
                          <a:pt x="290" y="258"/>
                        </a:lnTo>
                        <a:lnTo>
                          <a:pt x="286" y="250"/>
                        </a:lnTo>
                        <a:lnTo>
                          <a:pt x="286" y="250"/>
                        </a:lnTo>
                        <a:lnTo>
                          <a:pt x="282" y="242"/>
                        </a:lnTo>
                        <a:lnTo>
                          <a:pt x="280" y="236"/>
                        </a:lnTo>
                        <a:lnTo>
                          <a:pt x="282" y="236"/>
                        </a:lnTo>
                        <a:lnTo>
                          <a:pt x="284" y="236"/>
                        </a:lnTo>
                        <a:lnTo>
                          <a:pt x="296" y="246"/>
                        </a:lnTo>
                        <a:lnTo>
                          <a:pt x="314" y="260"/>
                        </a:lnTo>
                        <a:lnTo>
                          <a:pt x="314" y="260"/>
                        </a:lnTo>
                        <a:lnTo>
                          <a:pt x="320" y="266"/>
                        </a:lnTo>
                        <a:lnTo>
                          <a:pt x="322" y="266"/>
                        </a:lnTo>
                        <a:lnTo>
                          <a:pt x="324" y="266"/>
                        </a:lnTo>
                        <a:lnTo>
                          <a:pt x="326" y="262"/>
                        </a:lnTo>
                        <a:lnTo>
                          <a:pt x="328" y="254"/>
                        </a:lnTo>
                        <a:lnTo>
                          <a:pt x="328" y="246"/>
                        </a:lnTo>
                        <a:lnTo>
                          <a:pt x="330" y="240"/>
                        </a:lnTo>
                        <a:lnTo>
                          <a:pt x="334" y="236"/>
                        </a:lnTo>
                        <a:lnTo>
                          <a:pt x="336" y="234"/>
                        </a:lnTo>
                        <a:lnTo>
                          <a:pt x="340" y="234"/>
                        </a:lnTo>
                        <a:lnTo>
                          <a:pt x="340" y="234"/>
                        </a:lnTo>
                        <a:lnTo>
                          <a:pt x="348" y="236"/>
                        </a:lnTo>
                        <a:lnTo>
                          <a:pt x="356" y="234"/>
                        </a:lnTo>
                        <a:lnTo>
                          <a:pt x="364" y="230"/>
                        </a:lnTo>
                        <a:lnTo>
                          <a:pt x="374" y="226"/>
                        </a:lnTo>
                        <a:lnTo>
                          <a:pt x="414" y="198"/>
                        </a:lnTo>
                        <a:lnTo>
                          <a:pt x="414" y="198"/>
                        </a:lnTo>
                        <a:lnTo>
                          <a:pt x="426" y="192"/>
                        </a:lnTo>
                        <a:lnTo>
                          <a:pt x="440" y="186"/>
                        </a:lnTo>
                        <a:lnTo>
                          <a:pt x="466" y="180"/>
                        </a:lnTo>
                        <a:lnTo>
                          <a:pt x="474" y="176"/>
                        </a:lnTo>
                        <a:lnTo>
                          <a:pt x="480" y="174"/>
                        </a:lnTo>
                        <a:lnTo>
                          <a:pt x="480" y="172"/>
                        </a:lnTo>
                        <a:lnTo>
                          <a:pt x="480" y="170"/>
                        </a:lnTo>
                        <a:lnTo>
                          <a:pt x="472" y="166"/>
                        </a:lnTo>
                        <a:lnTo>
                          <a:pt x="472" y="166"/>
                        </a:lnTo>
                        <a:lnTo>
                          <a:pt x="464" y="162"/>
                        </a:lnTo>
                        <a:lnTo>
                          <a:pt x="456" y="156"/>
                        </a:lnTo>
                        <a:lnTo>
                          <a:pt x="444" y="148"/>
                        </a:lnTo>
                        <a:lnTo>
                          <a:pt x="438" y="146"/>
                        </a:lnTo>
                        <a:lnTo>
                          <a:pt x="430" y="144"/>
                        </a:lnTo>
                        <a:lnTo>
                          <a:pt x="418" y="144"/>
                        </a:lnTo>
                        <a:lnTo>
                          <a:pt x="400" y="146"/>
                        </a:lnTo>
                        <a:lnTo>
                          <a:pt x="400" y="146"/>
                        </a:lnTo>
                        <a:lnTo>
                          <a:pt x="388" y="148"/>
                        </a:lnTo>
                        <a:lnTo>
                          <a:pt x="384" y="148"/>
                        </a:lnTo>
                        <a:lnTo>
                          <a:pt x="386" y="146"/>
                        </a:lnTo>
                        <a:lnTo>
                          <a:pt x="390" y="142"/>
                        </a:lnTo>
                        <a:lnTo>
                          <a:pt x="396" y="136"/>
                        </a:lnTo>
                        <a:lnTo>
                          <a:pt x="400" y="130"/>
                        </a:lnTo>
                        <a:lnTo>
                          <a:pt x="400" y="126"/>
                        </a:lnTo>
                        <a:lnTo>
                          <a:pt x="400" y="122"/>
                        </a:lnTo>
                        <a:lnTo>
                          <a:pt x="396" y="118"/>
                        </a:lnTo>
                        <a:lnTo>
                          <a:pt x="392" y="114"/>
                        </a:lnTo>
                        <a:lnTo>
                          <a:pt x="392" y="114"/>
                        </a:lnTo>
                        <a:lnTo>
                          <a:pt x="382" y="108"/>
                        </a:lnTo>
                        <a:lnTo>
                          <a:pt x="376" y="100"/>
                        </a:lnTo>
                        <a:lnTo>
                          <a:pt x="376" y="96"/>
                        </a:lnTo>
                        <a:lnTo>
                          <a:pt x="376" y="90"/>
                        </a:lnTo>
                        <a:lnTo>
                          <a:pt x="376" y="86"/>
                        </a:lnTo>
                        <a:lnTo>
                          <a:pt x="372" y="82"/>
                        </a:lnTo>
                        <a:lnTo>
                          <a:pt x="366" y="80"/>
                        </a:lnTo>
                        <a:lnTo>
                          <a:pt x="352" y="78"/>
                        </a:lnTo>
                        <a:lnTo>
                          <a:pt x="352" y="78"/>
                        </a:lnTo>
                        <a:lnTo>
                          <a:pt x="338" y="76"/>
                        </a:lnTo>
                        <a:lnTo>
                          <a:pt x="330" y="80"/>
                        </a:lnTo>
                        <a:lnTo>
                          <a:pt x="328" y="84"/>
                        </a:lnTo>
                        <a:lnTo>
                          <a:pt x="328" y="90"/>
                        </a:lnTo>
                        <a:lnTo>
                          <a:pt x="330" y="96"/>
                        </a:lnTo>
                        <a:lnTo>
                          <a:pt x="328" y="100"/>
                        </a:lnTo>
                        <a:lnTo>
                          <a:pt x="328" y="102"/>
                        </a:lnTo>
                        <a:lnTo>
                          <a:pt x="326" y="102"/>
                        </a:lnTo>
                        <a:lnTo>
                          <a:pt x="318" y="100"/>
                        </a:lnTo>
                        <a:lnTo>
                          <a:pt x="318" y="100"/>
                        </a:lnTo>
                        <a:lnTo>
                          <a:pt x="310" y="96"/>
                        </a:lnTo>
                        <a:lnTo>
                          <a:pt x="306" y="92"/>
                        </a:lnTo>
                        <a:lnTo>
                          <a:pt x="306" y="86"/>
                        </a:lnTo>
                        <a:lnTo>
                          <a:pt x="308" y="82"/>
                        </a:lnTo>
                        <a:lnTo>
                          <a:pt x="308" y="78"/>
                        </a:lnTo>
                        <a:lnTo>
                          <a:pt x="306" y="74"/>
                        </a:lnTo>
                        <a:lnTo>
                          <a:pt x="298" y="70"/>
                        </a:lnTo>
                        <a:lnTo>
                          <a:pt x="284" y="70"/>
                        </a:lnTo>
                        <a:lnTo>
                          <a:pt x="284" y="70"/>
                        </a:lnTo>
                        <a:lnTo>
                          <a:pt x="274" y="68"/>
                        </a:lnTo>
                        <a:lnTo>
                          <a:pt x="266" y="66"/>
                        </a:lnTo>
                        <a:lnTo>
                          <a:pt x="248" y="56"/>
                        </a:lnTo>
                        <a:lnTo>
                          <a:pt x="212" y="32"/>
                        </a:lnTo>
                        <a:lnTo>
                          <a:pt x="192" y="20"/>
                        </a:lnTo>
                        <a:lnTo>
                          <a:pt x="170" y="10"/>
                        </a:lnTo>
                        <a:lnTo>
                          <a:pt x="158" y="6"/>
                        </a:lnTo>
                        <a:lnTo>
                          <a:pt x="146" y="2"/>
                        </a:lnTo>
                        <a:lnTo>
                          <a:pt x="134" y="0"/>
                        </a:lnTo>
                        <a:lnTo>
                          <a:pt x="118" y="0"/>
                        </a:lnTo>
                        <a:lnTo>
                          <a:pt x="118" y="0"/>
                        </a:lnTo>
                        <a:lnTo>
                          <a:pt x="104" y="2"/>
                        </a:lnTo>
                        <a:lnTo>
                          <a:pt x="100" y="4"/>
                        </a:lnTo>
                        <a:lnTo>
                          <a:pt x="100" y="6"/>
                        </a:lnTo>
                        <a:lnTo>
                          <a:pt x="102" y="10"/>
                        </a:lnTo>
                        <a:lnTo>
                          <a:pt x="108" y="14"/>
                        </a:lnTo>
                        <a:lnTo>
                          <a:pt x="112" y="20"/>
                        </a:lnTo>
                        <a:lnTo>
                          <a:pt x="114" y="24"/>
                        </a:lnTo>
                        <a:lnTo>
                          <a:pt x="114" y="24"/>
                        </a:lnTo>
                        <a:lnTo>
                          <a:pt x="110" y="26"/>
                        </a:lnTo>
                        <a:lnTo>
                          <a:pt x="98" y="28"/>
                        </a:lnTo>
                        <a:lnTo>
                          <a:pt x="98" y="28"/>
                        </a:lnTo>
                        <a:lnTo>
                          <a:pt x="82" y="28"/>
                        </a:lnTo>
                        <a:lnTo>
                          <a:pt x="70" y="30"/>
                        </a:lnTo>
                        <a:lnTo>
                          <a:pt x="66" y="32"/>
                        </a:lnTo>
                        <a:lnTo>
                          <a:pt x="64" y="36"/>
                        </a:lnTo>
                        <a:lnTo>
                          <a:pt x="58" y="48"/>
                        </a:lnTo>
                        <a:lnTo>
                          <a:pt x="58" y="48"/>
                        </a:lnTo>
                        <a:lnTo>
                          <a:pt x="54" y="54"/>
                        </a:lnTo>
                        <a:lnTo>
                          <a:pt x="52" y="58"/>
                        </a:lnTo>
                        <a:lnTo>
                          <a:pt x="42" y="64"/>
                        </a:lnTo>
                        <a:lnTo>
                          <a:pt x="32" y="72"/>
                        </a:lnTo>
                        <a:lnTo>
                          <a:pt x="26" y="76"/>
                        </a:lnTo>
                        <a:lnTo>
                          <a:pt x="20" y="84"/>
                        </a:lnTo>
                        <a:lnTo>
                          <a:pt x="20" y="84"/>
                        </a:lnTo>
                        <a:lnTo>
                          <a:pt x="18" y="88"/>
                        </a:lnTo>
                        <a:lnTo>
                          <a:pt x="18" y="92"/>
                        </a:lnTo>
                        <a:lnTo>
                          <a:pt x="20" y="94"/>
                        </a:lnTo>
                        <a:lnTo>
                          <a:pt x="24" y="96"/>
                        </a:lnTo>
                        <a:lnTo>
                          <a:pt x="34" y="98"/>
                        </a:lnTo>
                        <a:lnTo>
                          <a:pt x="50" y="100"/>
                        </a:lnTo>
                        <a:lnTo>
                          <a:pt x="78" y="102"/>
                        </a:lnTo>
                        <a:lnTo>
                          <a:pt x="86" y="102"/>
                        </a:lnTo>
                        <a:lnTo>
                          <a:pt x="88" y="102"/>
                        </a:lnTo>
                        <a:lnTo>
                          <a:pt x="90" y="104"/>
                        </a:lnTo>
                        <a:lnTo>
                          <a:pt x="90" y="104"/>
                        </a:lnTo>
                        <a:lnTo>
                          <a:pt x="86" y="108"/>
                        </a:lnTo>
                        <a:lnTo>
                          <a:pt x="82" y="110"/>
                        </a:lnTo>
                        <a:lnTo>
                          <a:pt x="72" y="112"/>
                        </a:lnTo>
                        <a:lnTo>
                          <a:pt x="58" y="112"/>
                        </a:lnTo>
                        <a:lnTo>
                          <a:pt x="42" y="110"/>
                        </a:lnTo>
                        <a:lnTo>
                          <a:pt x="14" y="106"/>
                        </a:lnTo>
                        <a:lnTo>
                          <a:pt x="4" y="106"/>
                        </a:lnTo>
                        <a:lnTo>
                          <a:pt x="2" y="108"/>
                        </a:lnTo>
                        <a:lnTo>
                          <a:pt x="0" y="110"/>
                        </a:lnTo>
                        <a:lnTo>
                          <a:pt x="0" y="110"/>
                        </a:lnTo>
                        <a:lnTo>
                          <a:pt x="2" y="116"/>
                        </a:lnTo>
                        <a:lnTo>
                          <a:pt x="4" y="122"/>
                        </a:lnTo>
                        <a:lnTo>
                          <a:pt x="8" y="128"/>
                        </a:lnTo>
                        <a:lnTo>
                          <a:pt x="14" y="134"/>
                        </a:lnTo>
                        <a:lnTo>
                          <a:pt x="32" y="148"/>
                        </a:lnTo>
                        <a:lnTo>
                          <a:pt x="54" y="164"/>
                        </a:lnTo>
                        <a:lnTo>
                          <a:pt x="54" y="16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6" name="Freeform 6088"/>
                  <p:cNvSpPr>
                    <a:spLocks/>
                  </p:cNvSpPr>
                  <p:nvPr/>
                </p:nvSpPr>
                <p:spPr bwMode="auto">
                  <a:xfrm>
                    <a:off x="2100580" y="1206183"/>
                    <a:ext cx="734060" cy="539750"/>
                  </a:xfrm>
                  <a:custGeom>
                    <a:avLst/>
                    <a:gdLst/>
                    <a:ahLst/>
                    <a:cxnLst>
                      <a:cxn ang="0">
                        <a:pos x="1088" y="504"/>
                      </a:cxn>
                      <a:cxn ang="0">
                        <a:pos x="1060" y="480"/>
                      </a:cxn>
                      <a:cxn ang="0">
                        <a:pos x="960" y="426"/>
                      </a:cxn>
                      <a:cxn ang="0">
                        <a:pos x="890" y="396"/>
                      </a:cxn>
                      <a:cxn ang="0">
                        <a:pos x="890" y="348"/>
                      </a:cxn>
                      <a:cxn ang="0">
                        <a:pos x="926" y="328"/>
                      </a:cxn>
                      <a:cxn ang="0">
                        <a:pos x="926" y="298"/>
                      </a:cxn>
                      <a:cxn ang="0">
                        <a:pos x="846" y="276"/>
                      </a:cxn>
                      <a:cxn ang="0">
                        <a:pos x="844" y="232"/>
                      </a:cxn>
                      <a:cxn ang="0">
                        <a:pos x="782" y="204"/>
                      </a:cxn>
                      <a:cxn ang="0">
                        <a:pos x="706" y="174"/>
                      </a:cxn>
                      <a:cxn ang="0">
                        <a:pos x="642" y="134"/>
                      </a:cxn>
                      <a:cxn ang="0">
                        <a:pos x="560" y="98"/>
                      </a:cxn>
                      <a:cxn ang="0">
                        <a:pos x="462" y="112"/>
                      </a:cxn>
                      <a:cxn ang="0">
                        <a:pos x="404" y="110"/>
                      </a:cxn>
                      <a:cxn ang="0">
                        <a:pos x="388" y="90"/>
                      </a:cxn>
                      <a:cxn ang="0">
                        <a:pos x="352" y="18"/>
                      </a:cxn>
                      <a:cxn ang="0">
                        <a:pos x="200" y="50"/>
                      </a:cxn>
                      <a:cxn ang="0">
                        <a:pos x="174" y="84"/>
                      </a:cxn>
                      <a:cxn ang="0">
                        <a:pos x="168" y="138"/>
                      </a:cxn>
                      <a:cxn ang="0">
                        <a:pos x="222" y="180"/>
                      </a:cxn>
                      <a:cxn ang="0">
                        <a:pos x="150" y="122"/>
                      </a:cxn>
                      <a:cxn ang="0">
                        <a:pos x="188" y="26"/>
                      </a:cxn>
                      <a:cxn ang="0">
                        <a:pos x="116" y="8"/>
                      </a:cxn>
                      <a:cxn ang="0">
                        <a:pos x="18" y="90"/>
                      </a:cxn>
                      <a:cxn ang="0">
                        <a:pos x="58" y="196"/>
                      </a:cxn>
                      <a:cxn ang="0">
                        <a:pos x="40" y="216"/>
                      </a:cxn>
                      <a:cxn ang="0">
                        <a:pos x="118" y="270"/>
                      </a:cxn>
                      <a:cxn ang="0">
                        <a:pos x="234" y="288"/>
                      </a:cxn>
                      <a:cxn ang="0">
                        <a:pos x="336" y="290"/>
                      </a:cxn>
                      <a:cxn ang="0">
                        <a:pos x="358" y="284"/>
                      </a:cxn>
                      <a:cxn ang="0">
                        <a:pos x="462" y="284"/>
                      </a:cxn>
                      <a:cxn ang="0">
                        <a:pos x="498" y="274"/>
                      </a:cxn>
                      <a:cxn ang="0">
                        <a:pos x="580" y="338"/>
                      </a:cxn>
                      <a:cxn ang="0">
                        <a:pos x="538" y="376"/>
                      </a:cxn>
                      <a:cxn ang="0">
                        <a:pos x="654" y="402"/>
                      </a:cxn>
                      <a:cxn ang="0">
                        <a:pos x="712" y="474"/>
                      </a:cxn>
                      <a:cxn ang="0">
                        <a:pos x="640" y="558"/>
                      </a:cxn>
                      <a:cxn ang="0">
                        <a:pos x="628" y="608"/>
                      </a:cxn>
                      <a:cxn ang="0">
                        <a:pos x="510" y="624"/>
                      </a:cxn>
                      <a:cxn ang="0">
                        <a:pos x="514" y="688"/>
                      </a:cxn>
                      <a:cxn ang="0">
                        <a:pos x="616" y="688"/>
                      </a:cxn>
                      <a:cxn ang="0">
                        <a:pos x="656" y="674"/>
                      </a:cxn>
                      <a:cxn ang="0">
                        <a:pos x="736" y="724"/>
                      </a:cxn>
                      <a:cxn ang="0">
                        <a:pos x="732" y="752"/>
                      </a:cxn>
                      <a:cxn ang="0">
                        <a:pos x="854" y="818"/>
                      </a:cxn>
                      <a:cxn ang="0">
                        <a:pos x="966" y="822"/>
                      </a:cxn>
                      <a:cxn ang="0">
                        <a:pos x="854" y="724"/>
                      </a:cxn>
                      <a:cxn ang="0">
                        <a:pos x="908" y="744"/>
                      </a:cxn>
                      <a:cxn ang="0">
                        <a:pos x="1012" y="814"/>
                      </a:cxn>
                      <a:cxn ang="0">
                        <a:pos x="1018" y="766"/>
                      </a:cxn>
                      <a:cxn ang="0">
                        <a:pos x="1022" y="724"/>
                      </a:cxn>
                      <a:cxn ang="0">
                        <a:pos x="1000" y="694"/>
                      </a:cxn>
                      <a:cxn ang="0">
                        <a:pos x="942" y="632"/>
                      </a:cxn>
                      <a:cxn ang="0">
                        <a:pos x="890" y="586"/>
                      </a:cxn>
                      <a:cxn ang="0">
                        <a:pos x="902" y="544"/>
                      </a:cxn>
                      <a:cxn ang="0">
                        <a:pos x="942" y="544"/>
                      </a:cxn>
                      <a:cxn ang="0">
                        <a:pos x="990" y="580"/>
                      </a:cxn>
                      <a:cxn ang="0">
                        <a:pos x="1070" y="648"/>
                      </a:cxn>
                      <a:cxn ang="0">
                        <a:pos x="1102" y="596"/>
                      </a:cxn>
                      <a:cxn ang="0">
                        <a:pos x="1128" y="568"/>
                      </a:cxn>
                      <a:cxn ang="0">
                        <a:pos x="1148" y="514"/>
                      </a:cxn>
                    </a:cxnLst>
                    <a:rect l="0" t="0" r="r" b="b"/>
                    <a:pathLst>
                      <a:path w="1156" h="850">
                        <a:moveTo>
                          <a:pt x="1148" y="514"/>
                        </a:moveTo>
                        <a:lnTo>
                          <a:pt x="1148" y="514"/>
                        </a:lnTo>
                        <a:lnTo>
                          <a:pt x="1144" y="506"/>
                        </a:lnTo>
                        <a:lnTo>
                          <a:pt x="1138" y="502"/>
                        </a:lnTo>
                        <a:lnTo>
                          <a:pt x="1134" y="500"/>
                        </a:lnTo>
                        <a:lnTo>
                          <a:pt x="1128" y="498"/>
                        </a:lnTo>
                        <a:lnTo>
                          <a:pt x="1116" y="498"/>
                        </a:lnTo>
                        <a:lnTo>
                          <a:pt x="1106" y="502"/>
                        </a:lnTo>
                        <a:lnTo>
                          <a:pt x="1096" y="506"/>
                        </a:lnTo>
                        <a:lnTo>
                          <a:pt x="1090" y="508"/>
                        </a:lnTo>
                        <a:lnTo>
                          <a:pt x="1088" y="506"/>
                        </a:lnTo>
                        <a:lnTo>
                          <a:pt x="1088" y="504"/>
                        </a:lnTo>
                        <a:lnTo>
                          <a:pt x="1090" y="496"/>
                        </a:lnTo>
                        <a:lnTo>
                          <a:pt x="1090" y="496"/>
                        </a:lnTo>
                        <a:lnTo>
                          <a:pt x="1092" y="486"/>
                        </a:lnTo>
                        <a:lnTo>
                          <a:pt x="1090" y="482"/>
                        </a:lnTo>
                        <a:lnTo>
                          <a:pt x="1088" y="480"/>
                        </a:lnTo>
                        <a:lnTo>
                          <a:pt x="1084" y="480"/>
                        </a:lnTo>
                        <a:lnTo>
                          <a:pt x="1076" y="482"/>
                        </a:lnTo>
                        <a:lnTo>
                          <a:pt x="1062" y="486"/>
                        </a:lnTo>
                        <a:lnTo>
                          <a:pt x="1060" y="486"/>
                        </a:lnTo>
                        <a:lnTo>
                          <a:pt x="1058" y="486"/>
                        </a:lnTo>
                        <a:lnTo>
                          <a:pt x="1060" y="480"/>
                        </a:lnTo>
                        <a:lnTo>
                          <a:pt x="1060" y="480"/>
                        </a:lnTo>
                        <a:lnTo>
                          <a:pt x="1062" y="472"/>
                        </a:lnTo>
                        <a:lnTo>
                          <a:pt x="1062" y="466"/>
                        </a:lnTo>
                        <a:lnTo>
                          <a:pt x="1060" y="462"/>
                        </a:lnTo>
                        <a:lnTo>
                          <a:pt x="1056" y="458"/>
                        </a:lnTo>
                        <a:lnTo>
                          <a:pt x="1042" y="450"/>
                        </a:lnTo>
                        <a:lnTo>
                          <a:pt x="1022" y="436"/>
                        </a:lnTo>
                        <a:lnTo>
                          <a:pt x="1022" y="436"/>
                        </a:lnTo>
                        <a:lnTo>
                          <a:pt x="1010" y="430"/>
                        </a:lnTo>
                        <a:lnTo>
                          <a:pt x="996" y="428"/>
                        </a:lnTo>
                        <a:lnTo>
                          <a:pt x="984" y="426"/>
                        </a:lnTo>
                        <a:lnTo>
                          <a:pt x="970" y="426"/>
                        </a:lnTo>
                        <a:lnTo>
                          <a:pt x="960" y="426"/>
                        </a:lnTo>
                        <a:lnTo>
                          <a:pt x="950" y="424"/>
                        </a:lnTo>
                        <a:lnTo>
                          <a:pt x="944" y="420"/>
                        </a:lnTo>
                        <a:lnTo>
                          <a:pt x="942" y="416"/>
                        </a:lnTo>
                        <a:lnTo>
                          <a:pt x="940" y="410"/>
                        </a:lnTo>
                        <a:lnTo>
                          <a:pt x="940" y="410"/>
                        </a:lnTo>
                        <a:lnTo>
                          <a:pt x="938" y="406"/>
                        </a:lnTo>
                        <a:lnTo>
                          <a:pt x="936" y="402"/>
                        </a:lnTo>
                        <a:lnTo>
                          <a:pt x="930" y="400"/>
                        </a:lnTo>
                        <a:lnTo>
                          <a:pt x="926" y="398"/>
                        </a:lnTo>
                        <a:lnTo>
                          <a:pt x="914" y="396"/>
                        </a:lnTo>
                        <a:lnTo>
                          <a:pt x="900" y="396"/>
                        </a:lnTo>
                        <a:lnTo>
                          <a:pt x="890" y="396"/>
                        </a:lnTo>
                        <a:lnTo>
                          <a:pt x="882" y="394"/>
                        </a:lnTo>
                        <a:lnTo>
                          <a:pt x="882" y="394"/>
                        </a:lnTo>
                        <a:lnTo>
                          <a:pt x="882" y="392"/>
                        </a:lnTo>
                        <a:lnTo>
                          <a:pt x="890" y="384"/>
                        </a:lnTo>
                        <a:lnTo>
                          <a:pt x="890" y="384"/>
                        </a:lnTo>
                        <a:lnTo>
                          <a:pt x="896" y="380"/>
                        </a:lnTo>
                        <a:lnTo>
                          <a:pt x="900" y="376"/>
                        </a:lnTo>
                        <a:lnTo>
                          <a:pt x="902" y="372"/>
                        </a:lnTo>
                        <a:lnTo>
                          <a:pt x="902" y="366"/>
                        </a:lnTo>
                        <a:lnTo>
                          <a:pt x="900" y="360"/>
                        </a:lnTo>
                        <a:lnTo>
                          <a:pt x="894" y="352"/>
                        </a:lnTo>
                        <a:lnTo>
                          <a:pt x="890" y="348"/>
                        </a:lnTo>
                        <a:lnTo>
                          <a:pt x="888" y="344"/>
                        </a:lnTo>
                        <a:lnTo>
                          <a:pt x="890" y="344"/>
                        </a:lnTo>
                        <a:lnTo>
                          <a:pt x="902" y="346"/>
                        </a:lnTo>
                        <a:lnTo>
                          <a:pt x="902" y="346"/>
                        </a:lnTo>
                        <a:lnTo>
                          <a:pt x="916" y="348"/>
                        </a:lnTo>
                        <a:lnTo>
                          <a:pt x="928" y="348"/>
                        </a:lnTo>
                        <a:lnTo>
                          <a:pt x="938" y="346"/>
                        </a:lnTo>
                        <a:lnTo>
                          <a:pt x="942" y="342"/>
                        </a:lnTo>
                        <a:lnTo>
                          <a:pt x="944" y="340"/>
                        </a:lnTo>
                        <a:lnTo>
                          <a:pt x="944" y="338"/>
                        </a:lnTo>
                        <a:lnTo>
                          <a:pt x="938" y="334"/>
                        </a:lnTo>
                        <a:lnTo>
                          <a:pt x="926" y="328"/>
                        </a:lnTo>
                        <a:lnTo>
                          <a:pt x="906" y="324"/>
                        </a:lnTo>
                        <a:lnTo>
                          <a:pt x="906" y="324"/>
                        </a:lnTo>
                        <a:lnTo>
                          <a:pt x="876" y="318"/>
                        </a:lnTo>
                        <a:lnTo>
                          <a:pt x="876" y="318"/>
                        </a:lnTo>
                        <a:lnTo>
                          <a:pt x="876" y="318"/>
                        </a:lnTo>
                        <a:lnTo>
                          <a:pt x="880" y="316"/>
                        </a:lnTo>
                        <a:lnTo>
                          <a:pt x="900" y="312"/>
                        </a:lnTo>
                        <a:lnTo>
                          <a:pt x="910" y="308"/>
                        </a:lnTo>
                        <a:lnTo>
                          <a:pt x="920" y="304"/>
                        </a:lnTo>
                        <a:lnTo>
                          <a:pt x="920" y="304"/>
                        </a:lnTo>
                        <a:lnTo>
                          <a:pt x="924" y="300"/>
                        </a:lnTo>
                        <a:lnTo>
                          <a:pt x="926" y="298"/>
                        </a:lnTo>
                        <a:lnTo>
                          <a:pt x="926" y="294"/>
                        </a:lnTo>
                        <a:lnTo>
                          <a:pt x="926" y="290"/>
                        </a:lnTo>
                        <a:lnTo>
                          <a:pt x="922" y="284"/>
                        </a:lnTo>
                        <a:lnTo>
                          <a:pt x="914" y="278"/>
                        </a:lnTo>
                        <a:lnTo>
                          <a:pt x="904" y="272"/>
                        </a:lnTo>
                        <a:lnTo>
                          <a:pt x="894" y="268"/>
                        </a:lnTo>
                        <a:lnTo>
                          <a:pt x="886" y="268"/>
                        </a:lnTo>
                        <a:lnTo>
                          <a:pt x="880" y="270"/>
                        </a:lnTo>
                        <a:lnTo>
                          <a:pt x="880" y="270"/>
                        </a:lnTo>
                        <a:lnTo>
                          <a:pt x="872" y="274"/>
                        </a:lnTo>
                        <a:lnTo>
                          <a:pt x="864" y="276"/>
                        </a:lnTo>
                        <a:lnTo>
                          <a:pt x="846" y="276"/>
                        </a:lnTo>
                        <a:lnTo>
                          <a:pt x="842" y="276"/>
                        </a:lnTo>
                        <a:lnTo>
                          <a:pt x="840" y="274"/>
                        </a:lnTo>
                        <a:lnTo>
                          <a:pt x="842" y="270"/>
                        </a:lnTo>
                        <a:lnTo>
                          <a:pt x="852" y="266"/>
                        </a:lnTo>
                        <a:lnTo>
                          <a:pt x="852" y="266"/>
                        </a:lnTo>
                        <a:lnTo>
                          <a:pt x="874" y="258"/>
                        </a:lnTo>
                        <a:lnTo>
                          <a:pt x="880" y="254"/>
                        </a:lnTo>
                        <a:lnTo>
                          <a:pt x="882" y="252"/>
                        </a:lnTo>
                        <a:lnTo>
                          <a:pt x="878" y="248"/>
                        </a:lnTo>
                        <a:lnTo>
                          <a:pt x="872" y="244"/>
                        </a:lnTo>
                        <a:lnTo>
                          <a:pt x="844" y="232"/>
                        </a:lnTo>
                        <a:lnTo>
                          <a:pt x="844" y="232"/>
                        </a:lnTo>
                        <a:lnTo>
                          <a:pt x="826" y="226"/>
                        </a:lnTo>
                        <a:lnTo>
                          <a:pt x="812" y="226"/>
                        </a:lnTo>
                        <a:lnTo>
                          <a:pt x="802" y="228"/>
                        </a:lnTo>
                        <a:lnTo>
                          <a:pt x="794" y="230"/>
                        </a:lnTo>
                        <a:lnTo>
                          <a:pt x="790" y="232"/>
                        </a:lnTo>
                        <a:lnTo>
                          <a:pt x="786" y="232"/>
                        </a:lnTo>
                        <a:lnTo>
                          <a:pt x="786" y="230"/>
                        </a:lnTo>
                        <a:lnTo>
                          <a:pt x="786" y="220"/>
                        </a:lnTo>
                        <a:lnTo>
                          <a:pt x="786" y="220"/>
                        </a:lnTo>
                        <a:lnTo>
                          <a:pt x="788" y="210"/>
                        </a:lnTo>
                        <a:lnTo>
                          <a:pt x="784" y="206"/>
                        </a:lnTo>
                        <a:lnTo>
                          <a:pt x="782" y="204"/>
                        </a:lnTo>
                        <a:lnTo>
                          <a:pt x="776" y="204"/>
                        </a:lnTo>
                        <a:lnTo>
                          <a:pt x="768" y="206"/>
                        </a:lnTo>
                        <a:lnTo>
                          <a:pt x="764" y="204"/>
                        </a:lnTo>
                        <a:lnTo>
                          <a:pt x="762" y="198"/>
                        </a:lnTo>
                        <a:lnTo>
                          <a:pt x="762" y="198"/>
                        </a:lnTo>
                        <a:lnTo>
                          <a:pt x="762" y="190"/>
                        </a:lnTo>
                        <a:lnTo>
                          <a:pt x="756" y="184"/>
                        </a:lnTo>
                        <a:lnTo>
                          <a:pt x="748" y="178"/>
                        </a:lnTo>
                        <a:lnTo>
                          <a:pt x="738" y="174"/>
                        </a:lnTo>
                        <a:lnTo>
                          <a:pt x="728" y="170"/>
                        </a:lnTo>
                        <a:lnTo>
                          <a:pt x="716" y="170"/>
                        </a:lnTo>
                        <a:lnTo>
                          <a:pt x="706" y="174"/>
                        </a:lnTo>
                        <a:lnTo>
                          <a:pt x="696" y="182"/>
                        </a:lnTo>
                        <a:lnTo>
                          <a:pt x="696" y="182"/>
                        </a:lnTo>
                        <a:lnTo>
                          <a:pt x="686" y="190"/>
                        </a:lnTo>
                        <a:lnTo>
                          <a:pt x="680" y="192"/>
                        </a:lnTo>
                        <a:lnTo>
                          <a:pt x="674" y="190"/>
                        </a:lnTo>
                        <a:lnTo>
                          <a:pt x="670" y="186"/>
                        </a:lnTo>
                        <a:lnTo>
                          <a:pt x="666" y="178"/>
                        </a:lnTo>
                        <a:lnTo>
                          <a:pt x="662" y="168"/>
                        </a:lnTo>
                        <a:lnTo>
                          <a:pt x="652" y="148"/>
                        </a:lnTo>
                        <a:lnTo>
                          <a:pt x="652" y="148"/>
                        </a:lnTo>
                        <a:lnTo>
                          <a:pt x="648" y="138"/>
                        </a:lnTo>
                        <a:lnTo>
                          <a:pt x="642" y="134"/>
                        </a:lnTo>
                        <a:lnTo>
                          <a:pt x="638" y="134"/>
                        </a:lnTo>
                        <a:lnTo>
                          <a:pt x="632" y="134"/>
                        </a:lnTo>
                        <a:lnTo>
                          <a:pt x="628" y="134"/>
                        </a:lnTo>
                        <a:lnTo>
                          <a:pt x="622" y="134"/>
                        </a:lnTo>
                        <a:lnTo>
                          <a:pt x="616" y="128"/>
                        </a:lnTo>
                        <a:lnTo>
                          <a:pt x="610" y="120"/>
                        </a:lnTo>
                        <a:lnTo>
                          <a:pt x="610" y="120"/>
                        </a:lnTo>
                        <a:lnTo>
                          <a:pt x="602" y="110"/>
                        </a:lnTo>
                        <a:lnTo>
                          <a:pt x="594" y="104"/>
                        </a:lnTo>
                        <a:lnTo>
                          <a:pt x="586" y="100"/>
                        </a:lnTo>
                        <a:lnTo>
                          <a:pt x="578" y="100"/>
                        </a:lnTo>
                        <a:lnTo>
                          <a:pt x="560" y="98"/>
                        </a:lnTo>
                        <a:lnTo>
                          <a:pt x="552" y="98"/>
                        </a:lnTo>
                        <a:lnTo>
                          <a:pt x="546" y="94"/>
                        </a:lnTo>
                        <a:lnTo>
                          <a:pt x="546" y="94"/>
                        </a:lnTo>
                        <a:lnTo>
                          <a:pt x="528" y="88"/>
                        </a:lnTo>
                        <a:lnTo>
                          <a:pt x="518" y="84"/>
                        </a:lnTo>
                        <a:lnTo>
                          <a:pt x="506" y="82"/>
                        </a:lnTo>
                        <a:lnTo>
                          <a:pt x="494" y="84"/>
                        </a:lnTo>
                        <a:lnTo>
                          <a:pt x="484" y="88"/>
                        </a:lnTo>
                        <a:lnTo>
                          <a:pt x="474" y="94"/>
                        </a:lnTo>
                        <a:lnTo>
                          <a:pt x="466" y="106"/>
                        </a:lnTo>
                        <a:lnTo>
                          <a:pt x="466" y="106"/>
                        </a:lnTo>
                        <a:lnTo>
                          <a:pt x="462" y="112"/>
                        </a:lnTo>
                        <a:lnTo>
                          <a:pt x="460" y="116"/>
                        </a:lnTo>
                        <a:lnTo>
                          <a:pt x="456" y="118"/>
                        </a:lnTo>
                        <a:lnTo>
                          <a:pt x="452" y="118"/>
                        </a:lnTo>
                        <a:lnTo>
                          <a:pt x="444" y="116"/>
                        </a:lnTo>
                        <a:lnTo>
                          <a:pt x="436" y="112"/>
                        </a:lnTo>
                        <a:lnTo>
                          <a:pt x="428" y="106"/>
                        </a:lnTo>
                        <a:lnTo>
                          <a:pt x="420" y="104"/>
                        </a:lnTo>
                        <a:lnTo>
                          <a:pt x="416" y="102"/>
                        </a:lnTo>
                        <a:lnTo>
                          <a:pt x="412" y="104"/>
                        </a:lnTo>
                        <a:lnTo>
                          <a:pt x="408" y="106"/>
                        </a:lnTo>
                        <a:lnTo>
                          <a:pt x="404" y="110"/>
                        </a:lnTo>
                        <a:lnTo>
                          <a:pt x="404" y="110"/>
                        </a:lnTo>
                        <a:lnTo>
                          <a:pt x="396" y="118"/>
                        </a:lnTo>
                        <a:lnTo>
                          <a:pt x="388" y="124"/>
                        </a:lnTo>
                        <a:lnTo>
                          <a:pt x="380" y="130"/>
                        </a:lnTo>
                        <a:lnTo>
                          <a:pt x="376" y="132"/>
                        </a:lnTo>
                        <a:lnTo>
                          <a:pt x="372" y="132"/>
                        </a:lnTo>
                        <a:lnTo>
                          <a:pt x="370" y="130"/>
                        </a:lnTo>
                        <a:lnTo>
                          <a:pt x="372" y="126"/>
                        </a:lnTo>
                        <a:lnTo>
                          <a:pt x="376" y="118"/>
                        </a:lnTo>
                        <a:lnTo>
                          <a:pt x="376" y="118"/>
                        </a:lnTo>
                        <a:lnTo>
                          <a:pt x="382" y="110"/>
                        </a:lnTo>
                        <a:lnTo>
                          <a:pt x="386" y="100"/>
                        </a:lnTo>
                        <a:lnTo>
                          <a:pt x="388" y="90"/>
                        </a:lnTo>
                        <a:lnTo>
                          <a:pt x="388" y="82"/>
                        </a:lnTo>
                        <a:lnTo>
                          <a:pt x="386" y="72"/>
                        </a:lnTo>
                        <a:lnTo>
                          <a:pt x="382" y="64"/>
                        </a:lnTo>
                        <a:lnTo>
                          <a:pt x="376" y="58"/>
                        </a:lnTo>
                        <a:lnTo>
                          <a:pt x="368" y="54"/>
                        </a:lnTo>
                        <a:lnTo>
                          <a:pt x="368" y="54"/>
                        </a:lnTo>
                        <a:lnTo>
                          <a:pt x="360" y="50"/>
                        </a:lnTo>
                        <a:lnTo>
                          <a:pt x="356" y="44"/>
                        </a:lnTo>
                        <a:lnTo>
                          <a:pt x="356" y="38"/>
                        </a:lnTo>
                        <a:lnTo>
                          <a:pt x="354" y="32"/>
                        </a:lnTo>
                        <a:lnTo>
                          <a:pt x="354" y="24"/>
                        </a:lnTo>
                        <a:lnTo>
                          <a:pt x="352" y="18"/>
                        </a:lnTo>
                        <a:lnTo>
                          <a:pt x="346" y="14"/>
                        </a:lnTo>
                        <a:lnTo>
                          <a:pt x="338" y="12"/>
                        </a:lnTo>
                        <a:lnTo>
                          <a:pt x="338" y="12"/>
                        </a:lnTo>
                        <a:lnTo>
                          <a:pt x="326" y="10"/>
                        </a:lnTo>
                        <a:lnTo>
                          <a:pt x="306" y="12"/>
                        </a:lnTo>
                        <a:lnTo>
                          <a:pt x="282" y="14"/>
                        </a:lnTo>
                        <a:lnTo>
                          <a:pt x="260" y="18"/>
                        </a:lnTo>
                        <a:lnTo>
                          <a:pt x="236" y="24"/>
                        </a:lnTo>
                        <a:lnTo>
                          <a:pt x="218" y="32"/>
                        </a:lnTo>
                        <a:lnTo>
                          <a:pt x="210" y="38"/>
                        </a:lnTo>
                        <a:lnTo>
                          <a:pt x="204" y="44"/>
                        </a:lnTo>
                        <a:lnTo>
                          <a:pt x="200" y="50"/>
                        </a:lnTo>
                        <a:lnTo>
                          <a:pt x="198" y="56"/>
                        </a:lnTo>
                        <a:lnTo>
                          <a:pt x="198" y="56"/>
                        </a:lnTo>
                        <a:lnTo>
                          <a:pt x="198" y="62"/>
                        </a:lnTo>
                        <a:lnTo>
                          <a:pt x="196" y="66"/>
                        </a:lnTo>
                        <a:lnTo>
                          <a:pt x="194" y="68"/>
                        </a:lnTo>
                        <a:lnTo>
                          <a:pt x="192" y="70"/>
                        </a:lnTo>
                        <a:lnTo>
                          <a:pt x="186" y="72"/>
                        </a:lnTo>
                        <a:lnTo>
                          <a:pt x="178" y="70"/>
                        </a:lnTo>
                        <a:lnTo>
                          <a:pt x="174" y="72"/>
                        </a:lnTo>
                        <a:lnTo>
                          <a:pt x="172" y="72"/>
                        </a:lnTo>
                        <a:lnTo>
                          <a:pt x="172" y="74"/>
                        </a:lnTo>
                        <a:lnTo>
                          <a:pt x="174" y="84"/>
                        </a:lnTo>
                        <a:lnTo>
                          <a:pt x="182" y="100"/>
                        </a:lnTo>
                        <a:lnTo>
                          <a:pt x="182" y="100"/>
                        </a:lnTo>
                        <a:lnTo>
                          <a:pt x="188" y="116"/>
                        </a:lnTo>
                        <a:lnTo>
                          <a:pt x="188" y="122"/>
                        </a:lnTo>
                        <a:lnTo>
                          <a:pt x="188" y="126"/>
                        </a:lnTo>
                        <a:lnTo>
                          <a:pt x="188" y="130"/>
                        </a:lnTo>
                        <a:lnTo>
                          <a:pt x="184" y="130"/>
                        </a:lnTo>
                        <a:lnTo>
                          <a:pt x="180" y="132"/>
                        </a:lnTo>
                        <a:lnTo>
                          <a:pt x="174" y="132"/>
                        </a:lnTo>
                        <a:lnTo>
                          <a:pt x="168" y="134"/>
                        </a:lnTo>
                        <a:lnTo>
                          <a:pt x="168" y="136"/>
                        </a:lnTo>
                        <a:lnTo>
                          <a:pt x="168" y="138"/>
                        </a:lnTo>
                        <a:lnTo>
                          <a:pt x="174" y="148"/>
                        </a:lnTo>
                        <a:lnTo>
                          <a:pt x="174" y="148"/>
                        </a:lnTo>
                        <a:lnTo>
                          <a:pt x="184" y="158"/>
                        </a:lnTo>
                        <a:lnTo>
                          <a:pt x="192" y="164"/>
                        </a:lnTo>
                        <a:lnTo>
                          <a:pt x="200" y="166"/>
                        </a:lnTo>
                        <a:lnTo>
                          <a:pt x="208" y="166"/>
                        </a:lnTo>
                        <a:lnTo>
                          <a:pt x="212" y="164"/>
                        </a:lnTo>
                        <a:lnTo>
                          <a:pt x="218" y="166"/>
                        </a:lnTo>
                        <a:lnTo>
                          <a:pt x="220" y="168"/>
                        </a:lnTo>
                        <a:lnTo>
                          <a:pt x="222" y="176"/>
                        </a:lnTo>
                        <a:lnTo>
                          <a:pt x="222" y="176"/>
                        </a:lnTo>
                        <a:lnTo>
                          <a:pt x="222" y="180"/>
                        </a:lnTo>
                        <a:lnTo>
                          <a:pt x="220" y="182"/>
                        </a:lnTo>
                        <a:lnTo>
                          <a:pt x="216" y="184"/>
                        </a:lnTo>
                        <a:lnTo>
                          <a:pt x="210" y="184"/>
                        </a:lnTo>
                        <a:lnTo>
                          <a:pt x="196" y="180"/>
                        </a:lnTo>
                        <a:lnTo>
                          <a:pt x="180" y="174"/>
                        </a:lnTo>
                        <a:lnTo>
                          <a:pt x="164" y="164"/>
                        </a:lnTo>
                        <a:lnTo>
                          <a:pt x="152" y="150"/>
                        </a:lnTo>
                        <a:lnTo>
                          <a:pt x="148" y="144"/>
                        </a:lnTo>
                        <a:lnTo>
                          <a:pt x="146" y="136"/>
                        </a:lnTo>
                        <a:lnTo>
                          <a:pt x="146" y="130"/>
                        </a:lnTo>
                        <a:lnTo>
                          <a:pt x="150" y="122"/>
                        </a:lnTo>
                        <a:lnTo>
                          <a:pt x="150" y="122"/>
                        </a:lnTo>
                        <a:lnTo>
                          <a:pt x="154" y="110"/>
                        </a:lnTo>
                        <a:lnTo>
                          <a:pt x="152" y="102"/>
                        </a:lnTo>
                        <a:lnTo>
                          <a:pt x="150" y="98"/>
                        </a:lnTo>
                        <a:lnTo>
                          <a:pt x="144" y="94"/>
                        </a:lnTo>
                        <a:lnTo>
                          <a:pt x="142" y="90"/>
                        </a:lnTo>
                        <a:lnTo>
                          <a:pt x="140" y="84"/>
                        </a:lnTo>
                        <a:lnTo>
                          <a:pt x="144" y="74"/>
                        </a:lnTo>
                        <a:lnTo>
                          <a:pt x="154" y="60"/>
                        </a:lnTo>
                        <a:lnTo>
                          <a:pt x="154" y="60"/>
                        </a:lnTo>
                        <a:lnTo>
                          <a:pt x="168" y="44"/>
                        </a:lnTo>
                        <a:lnTo>
                          <a:pt x="180" y="34"/>
                        </a:lnTo>
                        <a:lnTo>
                          <a:pt x="188" y="26"/>
                        </a:lnTo>
                        <a:lnTo>
                          <a:pt x="198" y="22"/>
                        </a:lnTo>
                        <a:lnTo>
                          <a:pt x="208" y="16"/>
                        </a:lnTo>
                        <a:lnTo>
                          <a:pt x="212" y="14"/>
                        </a:lnTo>
                        <a:lnTo>
                          <a:pt x="212" y="10"/>
                        </a:lnTo>
                        <a:lnTo>
                          <a:pt x="212" y="10"/>
                        </a:lnTo>
                        <a:lnTo>
                          <a:pt x="212" y="8"/>
                        </a:lnTo>
                        <a:lnTo>
                          <a:pt x="210" y="6"/>
                        </a:lnTo>
                        <a:lnTo>
                          <a:pt x="200" y="2"/>
                        </a:lnTo>
                        <a:lnTo>
                          <a:pt x="184" y="0"/>
                        </a:lnTo>
                        <a:lnTo>
                          <a:pt x="164" y="0"/>
                        </a:lnTo>
                        <a:lnTo>
                          <a:pt x="140" y="2"/>
                        </a:lnTo>
                        <a:lnTo>
                          <a:pt x="116" y="8"/>
                        </a:lnTo>
                        <a:lnTo>
                          <a:pt x="92" y="16"/>
                        </a:lnTo>
                        <a:lnTo>
                          <a:pt x="70" y="26"/>
                        </a:lnTo>
                        <a:lnTo>
                          <a:pt x="70" y="26"/>
                        </a:lnTo>
                        <a:lnTo>
                          <a:pt x="52" y="38"/>
                        </a:lnTo>
                        <a:lnTo>
                          <a:pt x="40" y="48"/>
                        </a:lnTo>
                        <a:lnTo>
                          <a:pt x="34" y="56"/>
                        </a:lnTo>
                        <a:lnTo>
                          <a:pt x="32" y="62"/>
                        </a:lnTo>
                        <a:lnTo>
                          <a:pt x="30" y="72"/>
                        </a:lnTo>
                        <a:lnTo>
                          <a:pt x="28" y="76"/>
                        </a:lnTo>
                        <a:lnTo>
                          <a:pt x="24" y="82"/>
                        </a:lnTo>
                        <a:lnTo>
                          <a:pt x="24" y="82"/>
                        </a:lnTo>
                        <a:lnTo>
                          <a:pt x="18" y="90"/>
                        </a:lnTo>
                        <a:lnTo>
                          <a:pt x="14" y="96"/>
                        </a:lnTo>
                        <a:lnTo>
                          <a:pt x="8" y="112"/>
                        </a:lnTo>
                        <a:lnTo>
                          <a:pt x="4" y="132"/>
                        </a:lnTo>
                        <a:lnTo>
                          <a:pt x="2" y="156"/>
                        </a:lnTo>
                        <a:lnTo>
                          <a:pt x="2" y="156"/>
                        </a:lnTo>
                        <a:lnTo>
                          <a:pt x="0" y="168"/>
                        </a:lnTo>
                        <a:lnTo>
                          <a:pt x="0" y="178"/>
                        </a:lnTo>
                        <a:lnTo>
                          <a:pt x="2" y="184"/>
                        </a:lnTo>
                        <a:lnTo>
                          <a:pt x="8" y="188"/>
                        </a:lnTo>
                        <a:lnTo>
                          <a:pt x="14" y="192"/>
                        </a:lnTo>
                        <a:lnTo>
                          <a:pt x="26" y="194"/>
                        </a:lnTo>
                        <a:lnTo>
                          <a:pt x="58" y="196"/>
                        </a:lnTo>
                        <a:lnTo>
                          <a:pt x="58" y="196"/>
                        </a:lnTo>
                        <a:lnTo>
                          <a:pt x="76" y="200"/>
                        </a:lnTo>
                        <a:lnTo>
                          <a:pt x="90" y="202"/>
                        </a:lnTo>
                        <a:lnTo>
                          <a:pt x="100" y="208"/>
                        </a:lnTo>
                        <a:lnTo>
                          <a:pt x="106" y="212"/>
                        </a:lnTo>
                        <a:lnTo>
                          <a:pt x="106" y="216"/>
                        </a:lnTo>
                        <a:lnTo>
                          <a:pt x="102" y="218"/>
                        </a:lnTo>
                        <a:lnTo>
                          <a:pt x="94" y="220"/>
                        </a:lnTo>
                        <a:lnTo>
                          <a:pt x="78" y="218"/>
                        </a:lnTo>
                        <a:lnTo>
                          <a:pt x="78" y="218"/>
                        </a:lnTo>
                        <a:lnTo>
                          <a:pt x="50" y="216"/>
                        </a:lnTo>
                        <a:lnTo>
                          <a:pt x="40" y="216"/>
                        </a:lnTo>
                        <a:lnTo>
                          <a:pt x="32" y="218"/>
                        </a:lnTo>
                        <a:lnTo>
                          <a:pt x="32" y="220"/>
                        </a:lnTo>
                        <a:lnTo>
                          <a:pt x="30" y="222"/>
                        </a:lnTo>
                        <a:lnTo>
                          <a:pt x="32" y="228"/>
                        </a:lnTo>
                        <a:lnTo>
                          <a:pt x="40" y="238"/>
                        </a:lnTo>
                        <a:lnTo>
                          <a:pt x="52" y="250"/>
                        </a:lnTo>
                        <a:lnTo>
                          <a:pt x="52" y="250"/>
                        </a:lnTo>
                        <a:lnTo>
                          <a:pt x="68" y="262"/>
                        </a:lnTo>
                        <a:lnTo>
                          <a:pt x="82" y="268"/>
                        </a:lnTo>
                        <a:lnTo>
                          <a:pt x="94" y="270"/>
                        </a:lnTo>
                        <a:lnTo>
                          <a:pt x="106" y="270"/>
                        </a:lnTo>
                        <a:lnTo>
                          <a:pt x="118" y="270"/>
                        </a:lnTo>
                        <a:lnTo>
                          <a:pt x="130" y="270"/>
                        </a:lnTo>
                        <a:lnTo>
                          <a:pt x="142" y="272"/>
                        </a:lnTo>
                        <a:lnTo>
                          <a:pt x="152" y="278"/>
                        </a:lnTo>
                        <a:lnTo>
                          <a:pt x="152" y="278"/>
                        </a:lnTo>
                        <a:lnTo>
                          <a:pt x="162" y="284"/>
                        </a:lnTo>
                        <a:lnTo>
                          <a:pt x="174" y="288"/>
                        </a:lnTo>
                        <a:lnTo>
                          <a:pt x="184" y="290"/>
                        </a:lnTo>
                        <a:lnTo>
                          <a:pt x="194" y="288"/>
                        </a:lnTo>
                        <a:lnTo>
                          <a:pt x="208" y="286"/>
                        </a:lnTo>
                        <a:lnTo>
                          <a:pt x="218" y="286"/>
                        </a:lnTo>
                        <a:lnTo>
                          <a:pt x="218" y="286"/>
                        </a:lnTo>
                        <a:lnTo>
                          <a:pt x="234" y="288"/>
                        </a:lnTo>
                        <a:lnTo>
                          <a:pt x="244" y="290"/>
                        </a:lnTo>
                        <a:lnTo>
                          <a:pt x="260" y="290"/>
                        </a:lnTo>
                        <a:lnTo>
                          <a:pt x="268" y="290"/>
                        </a:lnTo>
                        <a:lnTo>
                          <a:pt x="276" y="290"/>
                        </a:lnTo>
                        <a:lnTo>
                          <a:pt x="288" y="292"/>
                        </a:lnTo>
                        <a:lnTo>
                          <a:pt x="304" y="296"/>
                        </a:lnTo>
                        <a:lnTo>
                          <a:pt x="304" y="296"/>
                        </a:lnTo>
                        <a:lnTo>
                          <a:pt x="316" y="300"/>
                        </a:lnTo>
                        <a:lnTo>
                          <a:pt x="324" y="298"/>
                        </a:lnTo>
                        <a:lnTo>
                          <a:pt x="328" y="296"/>
                        </a:lnTo>
                        <a:lnTo>
                          <a:pt x="332" y="292"/>
                        </a:lnTo>
                        <a:lnTo>
                          <a:pt x="336" y="290"/>
                        </a:lnTo>
                        <a:lnTo>
                          <a:pt x="340" y="290"/>
                        </a:lnTo>
                        <a:lnTo>
                          <a:pt x="346" y="292"/>
                        </a:lnTo>
                        <a:lnTo>
                          <a:pt x="356" y="298"/>
                        </a:lnTo>
                        <a:lnTo>
                          <a:pt x="356" y="298"/>
                        </a:lnTo>
                        <a:lnTo>
                          <a:pt x="374" y="312"/>
                        </a:lnTo>
                        <a:lnTo>
                          <a:pt x="378" y="314"/>
                        </a:lnTo>
                        <a:lnTo>
                          <a:pt x="380" y="312"/>
                        </a:lnTo>
                        <a:lnTo>
                          <a:pt x="378" y="310"/>
                        </a:lnTo>
                        <a:lnTo>
                          <a:pt x="376" y="306"/>
                        </a:lnTo>
                        <a:lnTo>
                          <a:pt x="362" y="292"/>
                        </a:lnTo>
                        <a:lnTo>
                          <a:pt x="362" y="292"/>
                        </a:lnTo>
                        <a:lnTo>
                          <a:pt x="358" y="284"/>
                        </a:lnTo>
                        <a:lnTo>
                          <a:pt x="358" y="282"/>
                        </a:lnTo>
                        <a:lnTo>
                          <a:pt x="360" y="282"/>
                        </a:lnTo>
                        <a:lnTo>
                          <a:pt x="368" y="282"/>
                        </a:lnTo>
                        <a:lnTo>
                          <a:pt x="380" y="284"/>
                        </a:lnTo>
                        <a:lnTo>
                          <a:pt x="410" y="290"/>
                        </a:lnTo>
                        <a:lnTo>
                          <a:pt x="444" y="296"/>
                        </a:lnTo>
                        <a:lnTo>
                          <a:pt x="444" y="296"/>
                        </a:lnTo>
                        <a:lnTo>
                          <a:pt x="450" y="296"/>
                        </a:lnTo>
                        <a:lnTo>
                          <a:pt x="454" y="296"/>
                        </a:lnTo>
                        <a:lnTo>
                          <a:pt x="458" y="294"/>
                        </a:lnTo>
                        <a:lnTo>
                          <a:pt x="460" y="290"/>
                        </a:lnTo>
                        <a:lnTo>
                          <a:pt x="462" y="284"/>
                        </a:lnTo>
                        <a:lnTo>
                          <a:pt x="460" y="274"/>
                        </a:lnTo>
                        <a:lnTo>
                          <a:pt x="456" y="260"/>
                        </a:lnTo>
                        <a:lnTo>
                          <a:pt x="456" y="260"/>
                        </a:lnTo>
                        <a:lnTo>
                          <a:pt x="458" y="260"/>
                        </a:lnTo>
                        <a:lnTo>
                          <a:pt x="464" y="264"/>
                        </a:lnTo>
                        <a:lnTo>
                          <a:pt x="464" y="264"/>
                        </a:lnTo>
                        <a:lnTo>
                          <a:pt x="472" y="270"/>
                        </a:lnTo>
                        <a:lnTo>
                          <a:pt x="478" y="272"/>
                        </a:lnTo>
                        <a:lnTo>
                          <a:pt x="484" y="272"/>
                        </a:lnTo>
                        <a:lnTo>
                          <a:pt x="490" y="272"/>
                        </a:lnTo>
                        <a:lnTo>
                          <a:pt x="494" y="272"/>
                        </a:lnTo>
                        <a:lnTo>
                          <a:pt x="498" y="274"/>
                        </a:lnTo>
                        <a:lnTo>
                          <a:pt x="500" y="278"/>
                        </a:lnTo>
                        <a:lnTo>
                          <a:pt x="502" y="286"/>
                        </a:lnTo>
                        <a:lnTo>
                          <a:pt x="502" y="286"/>
                        </a:lnTo>
                        <a:lnTo>
                          <a:pt x="502" y="294"/>
                        </a:lnTo>
                        <a:lnTo>
                          <a:pt x="504" y="302"/>
                        </a:lnTo>
                        <a:lnTo>
                          <a:pt x="508" y="306"/>
                        </a:lnTo>
                        <a:lnTo>
                          <a:pt x="512" y="310"/>
                        </a:lnTo>
                        <a:lnTo>
                          <a:pt x="528" y="318"/>
                        </a:lnTo>
                        <a:lnTo>
                          <a:pt x="556" y="326"/>
                        </a:lnTo>
                        <a:lnTo>
                          <a:pt x="556" y="326"/>
                        </a:lnTo>
                        <a:lnTo>
                          <a:pt x="570" y="332"/>
                        </a:lnTo>
                        <a:lnTo>
                          <a:pt x="580" y="338"/>
                        </a:lnTo>
                        <a:lnTo>
                          <a:pt x="584" y="344"/>
                        </a:lnTo>
                        <a:lnTo>
                          <a:pt x="584" y="348"/>
                        </a:lnTo>
                        <a:lnTo>
                          <a:pt x="580" y="352"/>
                        </a:lnTo>
                        <a:lnTo>
                          <a:pt x="574" y="356"/>
                        </a:lnTo>
                        <a:lnTo>
                          <a:pt x="568" y="356"/>
                        </a:lnTo>
                        <a:lnTo>
                          <a:pt x="558" y="356"/>
                        </a:lnTo>
                        <a:lnTo>
                          <a:pt x="558" y="356"/>
                        </a:lnTo>
                        <a:lnTo>
                          <a:pt x="550" y="358"/>
                        </a:lnTo>
                        <a:lnTo>
                          <a:pt x="542" y="360"/>
                        </a:lnTo>
                        <a:lnTo>
                          <a:pt x="538" y="366"/>
                        </a:lnTo>
                        <a:lnTo>
                          <a:pt x="538" y="370"/>
                        </a:lnTo>
                        <a:lnTo>
                          <a:pt x="538" y="376"/>
                        </a:lnTo>
                        <a:lnTo>
                          <a:pt x="544" y="378"/>
                        </a:lnTo>
                        <a:lnTo>
                          <a:pt x="550" y="380"/>
                        </a:lnTo>
                        <a:lnTo>
                          <a:pt x="562" y="378"/>
                        </a:lnTo>
                        <a:lnTo>
                          <a:pt x="562" y="378"/>
                        </a:lnTo>
                        <a:lnTo>
                          <a:pt x="576" y="374"/>
                        </a:lnTo>
                        <a:lnTo>
                          <a:pt x="590" y="374"/>
                        </a:lnTo>
                        <a:lnTo>
                          <a:pt x="606" y="376"/>
                        </a:lnTo>
                        <a:lnTo>
                          <a:pt x="618" y="380"/>
                        </a:lnTo>
                        <a:lnTo>
                          <a:pt x="630" y="384"/>
                        </a:lnTo>
                        <a:lnTo>
                          <a:pt x="640" y="390"/>
                        </a:lnTo>
                        <a:lnTo>
                          <a:pt x="648" y="396"/>
                        </a:lnTo>
                        <a:lnTo>
                          <a:pt x="654" y="402"/>
                        </a:lnTo>
                        <a:lnTo>
                          <a:pt x="654" y="402"/>
                        </a:lnTo>
                        <a:lnTo>
                          <a:pt x="656" y="406"/>
                        </a:lnTo>
                        <a:lnTo>
                          <a:pt x="662" y="408"/>
                        </a:lnTo>
                        <a:lnTo>
                          <a:pt x="674" y="414"/>
                        </a:lnTo>
                        <a:lnTo>
                          <a:pt x="682" y="416"/>
                        </a:lnTo>
                        <a:lnTo>
                          <a:pt x="688" y="420"/>
                        </a:lnTo>
                        <a:lnTo>
                          <a:pt x="692" y="428"/>
                        </a:lnTo>
                        <a:lnTo>
                          <a:pt x="696" y="438"/>
                        </a:lnTo>
                        <a:lnTo>
                          <a:pt x="696" y="438"/>
                        </a:lnTo>
                        <a:lnTo>
                          <a:pt x="698" y="450"/>
                        </a:lnTo>
                        <a:lnTo>
                          <a:pt x="704" y="460"/>
                        </a:lnTo>
                        <a:lnTo>
                          <a:pt x="712" y="474"/>
                        </a:lnTo>
                        <a:lnTo>
                          <a:pt x="716" y="480"/>
                        </a:lnTo>
                        <a:lnTo>
                          <a:pt x="718" y="486"/>
                        </a:lnTo>
                        <a:lnTo>
                          <a:pt x="716" y="490"/>
                        </a:lnTo>
                        <a:lnTo>
                          <a:pt x="710" y="494"/>
                        </a:lnTo>
                        <a:lnTo>
                          <a:pt x="710" y="494"/>
                        </a:lnTo>
                        <a:lnTo>
                          <a:pt x="696" y="504"/>
                        </a:lnTo>
                        <a:lnTo>
                          <a:pt x="682" y="518"/>
                        </a:lnTo>
                        <a:lnTo>
                          <a:pt x="668" y="532"/>
                        </a:lnTo>
                        <a:lnTo>
                          <a:pt x="648" y="548"/>
                        </a:lnTo>
                        <a:lnTo>
                          <a:pt x="648" y="548"/>
                        </a:lnTo>
                        <a:lnTo>
                          <a:pt x="644" y="554"/>
                        </a:lnTo>
                        <a:lnTo>
                          <a:pt x="640" y="558"/>
                        </a:lnTo>
                        <a:lnTo>
                          <a:pt x="640" y="564"/>
                        </a:lnTo>
                        <a:lnTo>
                          <a:pt x="642" y="570"/>
                        </a:lnTo>
                        <a:lnTo>
                          <a:pt x="646" y="580"/>
                        </a:lnTo>
                        <a:lnTo>
                          <a:pt x="654" y="590"/>
                        </a:lnTo>
                        <a:lnTo>
                          <a:pt x="666" y="604"/>
                        </a:lnTo>
                        <a:lnTo>
                          <a:pt x="666" y="606"/>
                        </a:lnTo>
                        <a:lnTo>
                          <a:pt x="666" y="608"/>
                        </a:lnTo>
                        <a:lnTo>
                          <a:pt x="656" y="606"/>
                        </a:lnTo>
                        <a:lnTo>
                          <a:pt x="656" y="606"/>
                        </a:lnTo>
                        <a:lnTo>
                          <a:pt x="646" y="602"/>
                        </a:lnTo>
                        <a:lnTo>
                          <a:pt x="636" y="604"/>
                        </a:lnTo>
                        <a:lnTo>
                          <a:pt x="628" y="608"/>
                        </a:lnTo>
                        <a:lnTo>
                          <a:pt x="620" y="612"/>
                        </a:lnTo>
                        <a:lnTo>
                          <a:pt x="608" y="616"/>
                        </a:lnTo>
                        <a:lnTo>
                          <a:pt x="594" y="620"/>
                        </a:lnTo>
                        <a:lnTo>
                          <a:pt x="576" y="620"/>
                        </a:lnTo>
                        <a:lnTo>
                          <a:pt x="552" y="614"/>
                        </a:lnTo>
                        <a:lnTo>
                          <a:pt x="552" y="614"/>
                        </a:lnTo>
                        <a:lnTo>
                          <a:pt x="528" y="610"/>
                        </a:lnTo>
                        <a:lnTo>
                          <a:pt x="516" y="608"/>
                        </a:lnTo>
                        <a:lnTo>
                          <a:pt x="510" y="608"/>
                        </a:lnTo>
                        <a:lnTo>
                          <a:pt x="510" y="612"/>
                        </a:lnTo>
                        <a:lnTo>
                          <a:pt x="510" y="616"/>
                        </a:lnTo>
                        <a:lnTo>
                          <a:pt x="510" y="624"/>
                        </a:lnTo>
                        <a:lnTo>
                          <a:pt x="504" y="630"/>
                        </a:lnTo>
                        <a:lnTo>
                          <a:pt x="494" y="638"/>
                        </a:lnTo>
                        <a:lnTo>
                          <a:pt x="494" y="638"/>
                        </a:lnTo>
                        <a:lnTo>
                          <a:pt x="488" y="642"/>
                        </a:lnTo>
                        <a:lnTo>
                          <a:pt x="484" y="648"/>
                        </a:lnTo>
                        <a:lnTo>
                          <a:pt x="482" y="652"/>
                        </a:lnTo>
                        <a:lnTo>
                          <a:pt x="480" y="658"/>
                        </a:lnTo>
                        <a:lnTo>
                          <a:pt x="482" y="664"/>
                        </a:lnTo>
                        <a:lnTo>
                          <a:pt x="484" y="668"/>
                        </a:lnTo>
                        <a:lnTo>
                          <a:pt x="494" y="678"/>
                        </a:lnTo>
                        <a:lnTo>
                          <a:pt x="506" y="686"/>
                        </a:lnTo>
                        <a:lnTo>
                          <a:pt x="514" y="688"/>
                        </a:lnTo>
                        <a:lnTo>
                          <a:pt x="522" y="690"/>
                        </a:lnTo>
                        <a:lnTo>
                          <a:pt x="532" y="690"/>
                        </a:lnTo>
                        <a:lnTo>
                          <a:pt x="542" y="690"/>
                        </a:lnTo>
                        <a:lnTo>
                          <a:pt x="552" y="686"/>
                        </a:lnTo>
                        <a:lnTo>
                          <a:pt x="562" y="682"/>
                        </a:lnTo>
                        <a:lnTo>
                          <a:pt x="562" y="682"/>
                        </a:lnTo>
                        <a:lnTo>
                          <a:pt x="580" y="676"/>
                        </a:lnTo>
                        <a:lnTo>
                          <a:pt x="592" y="674"/>
                        </a:lnTo>
                        <a:lnTo>
                          <a:pt x="602" y="676"/>
                        </a:lnTo>
                        <a:lnTo>
                          <a:pt x="608" y="680"/>
                        </a:lnTo>
                        <a:lnTo>
                          <a:pt x="612" y="684"/>
                        </a:lnTo>
                        <a:lnTo>
                          <a:pt x="616" y="688"/>
                        </a:lnTo>
                        <a:lnTo>
                          <a:pt x="622" y="686"/>
                        </a:lnTo>
                        <a:lnTo>
                          <a:pt x="628" y="680"/>
                        </a:lnTo>
                        <a:lnTo>
                          <a:pt x="628" y="680"/>
                        </a:lnTo>
                        <a:lnTo>
                          <a:pt x="634" y="674"/>
                        </a:lnTo>
                        <a:lnTo>
                          <a:pt x="640" y="674"/>
                        </a:lnTo>
                        <a:lnTo>
                          <a:pt x="642" y="676"/>
                        </a:lnTo>
                        <a:lnTo>
                          <a:pt x="644" y="680"/>
                        </a:lnTo>
                        <a:lnTo>
                          <a:pt x="646" y="688"/>
                        </a:lnTo>
                        <a:lnTo>
                          <a:pt x="648" y="690"/>
                        </a:lnTo>
                        <a:lnTo>
                          <a:pt x="650" y="686"/>
                        </a:lnTo>
                        <a:lnTo>
                          <a:pt x="650" y="686"/>
                        </a:lnTo>
                        <a:lnTo>
                          <a:pt x="656" y="674"/>
                        </a:lnTo>
                        <a:lnTo>
                          <a:pt x="658" y="672"/>
                        </a:lnTo>
                        <a:lnTo>
                          <a:pt x="662" y="672"/>
                        </a:lnTo>
                        <a:lnTo>
                          <a:pt x="666" y="674"/>
                        </a:lnTo>
                        <a:lnTo>
                          <a:pt x="672" y="680"/>
                        </a:lnTo>
                        <a:lnTo>
                          <a:pt x="696" y="706"/>
                        </a:lnTo>
                        <a:lnTo>
                          <a:pt x="696" y="706"/>
                        </a:lnTo>
                        <a:lnTo>
                          <a:pt x="708" y="720"/>
                        </a:lnTo>
                        <a:lnTo>
                          <a:pt x="718" y="726"/>
                        </a:lnTo>
                        <a:lnTo>
                          <a:pt x="724" y="728"/>
                        </a:lnTo>
                        <a:lnTo>
                          <a:pt x="728" y="728"/>
                        </a:lnTo>
                        <a:lnTo>
                          <a:pt x="732" y="726"/>
                        </a:lnTo>
                        <a:lnTo>
                          <a:pt x="736" y="724"/>
                        </a:lnTo>
                        <a:lnTo>
                          <a:pt x="742" y="726"/>
                        </a:lnTo>
                        <a:lnTo>
                          <a:pt x="750" y="732"/>
                        </a:lnTo>
                        <a:lnTo>
                          <a:pt x="750" y="732"/>
                        </a:lnTo>
                        <a:lnTo>
                          <a:pt x="756" y="738"/>
                        </a:lnTo>
                        <a:lnTo>
                          <a:pt x="756" y="740"/>
                        </a:lnTo>
                        <a:lnTo>
                          <a:pt x="754" y="742"/>
                        </a:lnTo>
                        <a:lnTo>
                          <a:pt x="750" y="744"/>
                        </a:lnTo>
                        <a:lnTo>
                          <a:pt x="742" y="744"/>
                        </a:lnTo>
                        <a:lnTo>
                          <a:pt x="734" y="746"/>
                        </a:lnTo>
                        <a:lnTo>
                          <a:pt x="732" y="748"/>
                        </a:lnTo>
                        <a:lnTo>
                          <a:pt x="732" y="750"/>
                        </a:lnTo>
                        <a:lnTo>
                          <a:pt x="732" y="752"/>
                        </a:lnTo>
                        <a:lnTo>
                          <a:pt x="734" y="756"/>
                        </a:lnTo>
                        <a:lnTo>
                          <a:pt x="744" y="768"/>
                        </a:lnTo>
                        <a:lnTo>
                          <a:pt x="744" y="768"/>
                        </a:lnTo>
                        <a:lnTo>
                          <a:pt x="754" y="776"/>
                        </a:lnTo>
                        <a:lnTo>
                          <a:pt x="766" y="780"/>
                        </a:lnTo>
                        <a:lnTo>
                          <a:pt x="792" y="788"/>
                        </a:lnTo>
                        <a:lnTo>
                          <a:pt x="816" y="794"/>
                        </a:lnTo>
                        <a:lnTo>
                          <a:pt x="826" y="798"/>
                        </a:lnTo>
                        <a:lnTo>
                          <a:pt x="834" y="804"/>
                        </a:lnTo>
                        <a:lnTo>
                          <a:pt x="834" y="804"/>
                        </a:lnTo>
                        <a:lnTo>
                          <a:pt x="842" y="812"/>
                        </a:lnTo>
                        <a:lnTo>
                          <a:pt x="854" y="818"/>
                        </a:lnTo>
                        <a:lnTo>
                          <a:pt x="868" y="824"/>
                        </a:lnTo>
                        <a:lnTo>
                          <a:pt x="882" y="828"/>
                        </a:lnTo>
                        <a:lnTo>
                          <a:pt x="916" y="836"/>
                        </a:lnTo>
                        <a:lnTo>
                          <a:pt x="948" y="846"/>
                        </a:lnTo>
                        <a:lnTo>
                          <a:pt x="948" y="846"/>
                        </a:lnTo>
                        <a:lnTo>
                          <a:pt x="962" y="850"/>
                        </a:lnTo>
                        <a:lnTo>
                          <a:pt x="970" y="850"/>
                        </a:lnTo>
                        <a:lnTo>
                          <a:pt x="972" y="848"/>
                        </a:lnTo>
                        <a:lnTo>
                          <a:pt x="974" y="846"/>
                        </a:lnTo>
                        <a:lnTo>
                          <a:pt x="974" y="840"/>
                        </a:lnTo>
                        <a:lnTo>
                          <a:pt x="972" y="832"/>
                        </a:lnTo>
                        <a:lnTo>
                          <a:pt x="966" y="822"/>
                        </a:lnTo>
                        <a:lnTo>
                          <a:pt x="958" y="812"/>
                        </a:lnTo>
                        <a:lnTo>
                          <a:pt x="948" y="802"/>
                        </a:lnTo>
                        <a:lnTo>
                          <a:pt x="948" y="802"/>
                        </a:lnTo>
                        <a:lnTo>
                          <a:pt x="936" y="792"/>
                        </a:lnTo>
                        <a:lnTo>
                          <a:pt x="920" y="780"/>
                        </a:lnTo>
                        <a:lnTo>
                          <a:pt x="888" y="758"/>
                        </a:lnTo>
                        <a:lnTo>
                          <a:pt x="872" y="748"/>
                        </a:lnTo>
                        <a:lnTo>
                          <a:pt x="862" y="738"/>
                        </a:lnTo>
                        <a:lnTo>
                          <a:pt x="854" y="732"/>
                        </a:lnTo>
                        <a:lnTo>
                          <a:pt x="854" y="728"/>
                        </a:lnTo>
                        <a:lnTo>
                          <a:pt x="854" y="724"/>
                        </a:lnTo>
                        <a:lnTo>
                          <a:pt x="854" y="724"/>
                        </a:lnTo>
                        <a:lnTo>
                          <a:pt x="854" y="724"/>
                        </a:lnTo>
                        <a:lnTo>
                          <a:pt x="858" y="722"/>
                        </a:lnTo>
                        <a:lnTo>
                          <a:pt x="864" y="724"/>
                        </a:lnTo>
                        <a:lnTo>
                          <a:pt x="880" y="736"/>
                        </a:lnTo>
                        <a:lnTo>
                          <a:pt x="894" y="748"/>
                        </a:lnTo>
                        <a:lnTo>
                          <a:pt x="900" y="748"/>
                        </a:lnTo>
                        <a:lnTo>
                          <a:pt x="902" y="748"/>
                        </a:lnTo>
                        <a:lnTo>
                          <a:pt x="902" y="746"/>
                        </a:lnTo>
                        <a:lnTo>
                          <a:pt x="902" y="746"/>
                        </a:lnTo>
                        <a:lnTo>
                          <a:pt x="902" y="742"/>
                        </a:lnTo>
                        <a:lnTo>
                          <a:pt x="904" y="742"/>
                        </a:lnTo>
                        <a:lnTo>
                          <a:pt x="908" y="744"/>
                        </a:lnTo>
                        <a:lnTo>
                          <a:pt x="924" y="754"/>
                        </a:lnTo>
                        <a:lnTo>
                          <a:pt x="932" y="762"/>
                        </a:lnTo>
                        <a:lnTo>
                          <a:pt x="944" y="770"/>
                        </a:lnTo>
                        <a:lnTo>
                          <a:pt x="956" y="776"/>
                        </a:lnTo>
                        <a:lnTo>
                          <a:pt x="968" y="778"/>
                        </a:lnTo>
                        <a:lnTo>
                          <a:pt x="968" y="778"/>
                        </a:lnTo>
                        <a:lnTo>
                          <a:pt x="980" y="782"/>
                        </a:lnTo>
                        <a:lnTo>
                          <a:pt x="990" y="788"/>
                        </a:lnTo>
                        <a:lnTo>
                          <a:pt x="998" y="798"/>
                        </a:lnTo>
                        <a:lnTo>
                          <a:pt x="1004" y="806"/>
                        </a:lnTo>
                        <a:lnTo>
                          <a:pt x="1010" y="812"/>
                        </a:lnTo>
                        <a:lnTo>
                          <a:pt x="1012" y="814"/>
                        </a:lnTo>
                        <a:lnTo>
                          <a:pt x="1014" y="812"/>
                        </a:lnTo>
                        <a:lnTo>
                          <a:pt x="1012" y="802"/>
                        </a:lnTo>
                        <a:lnTo>
                          <a:pt x="1012" y="802"/>
                        </a:lnTo>
                        <a:lnTo>
                          <a:pt x="1012" y="792"/>
                        </a:lnTo>
                        <a:lnTo>
                          <a:pt x="1012" y="788"/>
                        </a:lnTo>
                        <a:lnTo>
                          <a:pt x="1014" y="788"/>
                        </a:lnTo>
                        <a:lnTo>
                          <a:pt x="1016" y="788"/>
                        </a:lnTo>
                        <a:lnTo>
                          <a:pt x="1018" y="788"/>
                        </a:lnTo>
                        <a:lnTo>
                          <a:pt x="1020" y="786"/>
                        </a:lnTo>
                        <a:lnTo>
                          <a:pt x="1020" y="780"/>
                        </a:lnTo>
                        <a:lnTo>
                          <a:pt x="1018" y="766"/>
                        </a:lnTo>
                        <a:lnTo>
                          <a:pt x="1018" y="766"/>
                        </a:lnTo>
                        <a:lnTo>
                          <a:pt x="1016" y="750"/>
                        </a:lnTo>
                        <a:lnTo>
                          <a:pt x="1018" y="752"/>
                        </a:lnTo>
                        <a:lnTo>
                          <a:pt x="1020" y="754"/>
                        </a:lnTo>
                        <a:lnTo>
                          <a:pt x="1022" y="758"/>
                        </a:lnTo>
                        <a:lnTo>
                          <a:pt x="1026" y="760"/>
                        </a:lnTo>
                        <a:lnTo>
                          <a:pt x="1028" y="756"/>
                        </a:lnTo>
                        <a:lnTo>
                          <a:pt x="1032" y="746"/>
                        </a:lnTo>
                        <a:lnTo>
                          <a:pt x="1032" y="746"/>
                        </a:lnTo>
                        <a:lnTo>
                          <a:pt x="1032" y="734"/>
                        </a:lnTo>
                        <a:lnTo>
                          <a:pt x="1030" y="728"/>
                        </a:lnTo>
                        <a:lnTo>
                          <a:pt x="1026" y="724"/>
                        </a:lnTo>
                        <a:lnTo>
                          <a:pt x="1022" y="724"/>
                        </a:lnTo>
                        <a:lnTo>
                          <a:pt x="1018" y="722"/>
                        </a:lnTo>
                        <a:lnTo>
                          <a:pt x="1014" y="722"/>
                        </a:lnTo>
                        <a:lnTo>
                          <a:pt x="1014" y="720"/>
                        </a:lnTo>
                        <a:lnTo>
                          <a:pt x="1018" y="714"/>
                        </a:lnTo>
                        <a:lnTo>
                          <a:pt x="1018" y="714"/>
                        </a:lnTo>
                        <a:lnTo>
                          <a:pt x="1022" y="708"/>
                        </a:lnTo>
                        <a:lnTo>
                          <a:pt x="1020" y="704"/>
                        </a:lnTo>
                        <a:lnTo>
                          <a:pt x="1016" y="702"/>
                        </a:lnTo>
                        <a:lnTo>
                          <a:pt x="1012" y="700"/>
                        </a:lnTo>
                        <a:lnTo>
                          <a:pt x="1006" y="700"/>
                        </a:lnTo>
                        <a:lnTo>
                          <a:pt x="1000" y="698"/>
                        </a:lnTo>
                        <a:lnTo>
                          <a:pt x="1000" y="694"/>
                        </a:lnTo>
                        <a:lnTo>
                          <a:pt x="1002" y="688"/>
                        </a:lnTo>
                        <a:lnTo>
                          <a:pt x="1002" y="688"/>
                        </a:lnTo>
                        <a:lnTo>
                          <a:pt x="1006" y="682"/>
                        </a:lnTo>
                        <a:lnTo>
                          <a:pt x="1010" y="676"/>
                        </a:lnTo>
                        <a:lnTo>
                          <a:pt x="1008" y="672"/>
                        </a:lnTo>
                        <a:lnTo>
                          <a:pt x="1006" y="668"/>
                        </a:lnTo>
                        <a:lnTo>
                          <a:pt x="1000" y="664"/>
                        </a:lnTo>
                        <a:lnTo>
                          <a:pt x="992" y="660"/>
                        </a:lnTo>
                        <a:lnTo>
                          <a:pt x="966" y="648"/>
                        </a:lnTo>
                        <a:lnTo>
                          <a:pt x="966" y="648"/>
                        </a:lnTo>
                        <a:lnTo>
                          <a:pt x="952" y="642"/>
                        </a:lnTo>
                        <a:lnTo>
                          <a:pt x="942" y="632"/>
                        </a:lnTo>
                        <a:lnTo>
                          <a:pt x="936" y="622"/>
                        </a:lnTo>
                        <a:lnTo>
                          <a:pt x="930" y="612"/>
                        </a:lnTo>
                        <a:lnTo>
                          <a:pt x="928" y="602"/>
                        </a:lnTo>
                        <a:lnTo>
                          <a:pt x="924" y="596"/>
                        </a:lnTo>
                        <a:lnTo>
                          <a:pt x="918" y="592"/>
                        </a:lnTo>
                        <a:lnTo>
                          <a:pt x="912" y="592"/>
                        </a:lnTo>
                        <a:lnTo>
                          <a:pt x="912" y="592"/>
                        </a:lnTo>
                        <a:lnTo>
                          <a:pt x="904" y="594"/>
                        </a:lnTo>
                        <a:lnTo>
                          <a:pt x="896" y="594"/>
                        </a:lnTo>
                        <a:lnTo>
                          <a:pt x="892" y="592"/>
                        </a:lnTo>
                        <a:lnTo>
                          <a:pt x="890" y="590"/>
                        </a:lnTo>
                        <a:lnTo>
                          <a:pt x="890" y="586"/>
                        </a:lnTo>
                        <a:lnTo>
                          <a:pt x="894" y="584"/>
                        </a:lnTo>
                        <a:lnTo>
                          <a:pt x="900" y="580"/>
                        </a:lnTo>
                        <a:lnTo>
                          <a:pt x="908" y="578"/>
                        </a:lnTo>
                        <a:lnTo>
                          <a:pt x="908" y="578"/>
                        </a:lnTo>
                        <a:lnTo>
                          <a:pt x="912" y="576"/>
                        </a:lnTo>
                        <a:lnTo>
                          <a:pt x="916" y="576"/>
                        </a:lnTo>
                        <a:lnTo>
                          <a:pt x="916" y="572"/>
                        </a:lnTo>
                        <a:lnTo>
                          <a:pt x="916" y="570"/>
                        </a:lnTo>
                        <a:lnTo>
                          <a:pt x="914" y="564"/>
                        </a:lnTo>
                        <a:lnTo>
                          <a:pt x="910" y="556"/>
                        </a:lnTo>
                        <a:lnTo>
                          <a:pt x="902" y="546"/>
                        </a:lnTo>
                        <a:lnTo>
                          <a:pt x="902" y="544"/>
                        </a:lnTo>
                        <a:lnTo>
                          <a:pt x="904" y="544"/>
                        </a:lnTo>
                        <a:lnTo>
                          <a:pt x="910" y="546"/>
                        </a:lnTo>
                        <a:lnTo>
                          <a:pt x="910" y="546"/>
                        </a:lnTo>
                        <a:lnTo>
                          <a:pt x="918" y="548"/>
                        </a:lnTo>
                        <a:lnTo>
                          <a:pt x="924" y="546"/>
                        </a:lnTo>
                        <a:lnTo>
                          <a:pt x="928" y="542"/>
                        </a:lnTo>
                        <a:lnTo>
                          <a:pt x="930" y="538"/>
                        </a:lnTo>
                        <a:lnTo>
                          <a:pt x="932" y="536"/>
                        </a:lnTo>
                        <a:lnTo>
                          <a:pt x="934" y="534"/>
                        </a:lnTo>
                        <a:lnTo>
                          <a:pt x="938" y="536"/>
                        </a:lnTo>
                        <a:lnTo>
                          <a:pt x="942" y="544"/>
                        </a:lnTo>
                        <a:lnTo>
                          <a:pt x="942" y="544"/>
                        </a:lnTo>
                        <a:lnTo>
                          <a:pt x="950" y="552"/>
                        </a:lnTo>
                        <a:lnTo>
                          <a:pt x="954" y="556"/>
                        </a:lnTo>
                        <a:lnTo>
                          <a:pt x="958" y="558"/>
                        </a:lnTo>
                        <a:lnTo>
                          <a:pt x="962" y="558"/>
                        </a:lnTo>
                        <a:lnTo>
                          <a:pt x="968" y="560"/>
                        </a:lnTo>
                        <a:lnTo>
                          <a:pt x="972" y="562"/>
                        </a:lnTo>
                        <a:lnTo>
                          <a:pt x="974" y="568"/>
                        </a:lnTo>
                        <a:lnTo>
                          <a:pt x="974" y="568"/>
                        </a:lnTo>
                        <a:lnTo>
                          <a:pt x="976" y="574"/>
                        </a:lnTo>
                        <a:lnTo>
                          <a:pt x="980" y="576"/>
                        </a:lnTo>
                        <a:lnTo>
                          <a:pt x="986" y="580"/>
                        </a:lnTo>
                        <a:lnTo>
                          <a:pt x="990" y="580"/>
                        </a:lnTo>
                        <a:lnTo>
                          <a:pt x="992" y="582"/>
                        </a:lnTo>
                        <a:lnTo>
                          <a:pt x="994" y="586"/>
                        </a:lnTo>
                        <a:lnTo>
                          <a:pt x="994" y="592"/>
                        </a:lnTo>
                        <a:lnTo>
                          <a:pt x="994" y="592"/>
                        </a:lnTo>
                        <a:lnTo>
                          <a:pt x="994" y="596"/>
                        </a:lnTo>
                        <a:lnTo>
                          <a:pt x="996" y="600"/>
                        </a:lnTo>
                        <a:lnTo>
                          <a:pt x="1008" y="614"/>
                        </a:lnTo>
                        <a:lnTo>
                          <a:pt x="1022" y="626"/>
                        </a:lnTo>
                        <a:lnTo>
                          <a:pt x="1040" y="638"/>
                        </a:lnTo>
                        <a:lnTo>
                          <a:pt x="1056" y="646"/>
                        </a:lnTo>
                        <a:lnTo>
                          <a:pt x="1064" y="648"/>
                        </a:lnTo>
                        <a:lnTo>
                          <a:pt x="1070" y="648"/>
                        </a:lnTo>
                        <a:lnTo>
                          <a:pt x="1074" y="646"/>
                        </a:lnTo>
                        <a:lnTo>
                          <a:pt x="1078" y="642"/>
                        </a:lnTo>
                        <a:lnTo>
                          <a:pt x="1080" y="636"/>
                        </a:lnTo>
                        <a:lnTo>
                          <a:pt x="1078" y="628"/>
                        </a:lnTo>
                        <a:lnTo>
                          <a:pt x="1078" y="628"/>
                        </a:lnTo>
                        <a:lnTo>
                          <a:pt x="1078" y="618"/>
                        </a:lnTo>
                        <a:lnTo>
                          <a:pt x="1078" y="612"/>
                        </a:lnTo>
                        <a:lnTo>
                          <a:pt x="1080" y="606"/>
                        </a:lnTo>
                        <a:lnTo>
                          <a:pt x="1082" y="602"/>
                        </a:lnTo>
                        <a:lnTo>
                          <a:pt x="1086" y="600"/>
                        </a:lnTo>
                        <a:lnTo>
                          <a:pt x="1092" y="598"/>
                        </a:lnTo>
                        <a:lnTo>
                          <a:pt x="1102" y="596"/>
                        </a:lnTo>
                        <a:lnTo>
                          <a:pt x="1118" y="598"/>
                        </a:lnTo>
                        <a:lnTo>
                          <a:pt x="1122" y="596"/>
                        </a:lnTo>
                        <a:lnTo>
                          <a:pt x="1122" y="596"/>
                        </a:lnTo>
                        <a:lnTo>
                          <a:pt x="1122" y="592"/>
                        </a:lnTo>
                        <a:lnTo>
                          <a:pt x="1122" y="588"/>
                        </a:lnTo>
                        <a:lnTo>
                          <a:pt x="1122" y="588"/>
                        </a:lnTo>
                        <a:lnTo>
                          <a:pt x="1118" y="582"/>
                        </a:lnTo>
                        <a:lnTo>
                          <a:pt x="1118" y="576"/>
                        </a:lnTo>
                        <a:lnTo>
                          <a:pt x="1120" y="574"/>
                        </a:lnTo>
                        <a:lnTo>
                          <a:pt x="1122" y="574"/>
                        </a:lnTo>
                        <a:lnTo>
                          <a:pt x="1128" y="570"/>
                        </a:lnTo>
                        <a:lnTo>
                          <a:pt x="1128" y="568"/>
                        </a:lnTo>
                        <a:lnTo>
                          <a:pt x="1126" y="564"/>
                        </a:lnTo>
                        <a:lnTo>
                          <a:pt x="1126" y="564"/>
                        </a:lnTo>
                        <a:lnTo>
                          <a:pt x="1126" y="560"/>
                        </a:lnTo>
                        <a:lnTo>
                          <a:pt x="1126" y="558"/>
                        </a:lnTo>
                        <a:lnTo>
                          <a:pt x="1130" y="554"/>
                        </a:lnTo>
                        <a:lnTo>
                          <a:pt x="1144" y="548"/>
                        </a:lnTo>
                        <a:lnTo>
                          <a:pt x="1150" y="544"/>
                        </a:lnTo>
                        <a:lnTo>
                          <a:pt x="1154" y="536"/>
                        </a:lnTo>
                        <a:lnTo>
                          <a:pt x="1156" y="532"/>
                        </a:lnTo>
                        <a:lnTo>
                          <a:pt x="1154" y="528"/>
                        </a:lnTo>
                        <a:lnTo>
                          <a:pt x="1148" y="514"/>
                        </a:lnTo>
                        <a:lnTo>
                          <a:pt x="1148" y="51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7" name="Freeform 6089"/>
                  <p:cNvSpPr>
                    <a:spLocks/>
                  </p:cNvSpPr>
                  <p:nvPr/>
                </p:nvSpPr>
                <p:spPr bwMode="auto">
                  <a:xfrm>
                    <a:off x="2731770" y="1751013"/>
                    <a:ext cx="20320" cy="15240"/>
                  </a:xfrm>
                  <a:custGeom>
                    <a:avLst/>
                    <a:gdLst/>
                    <a:ahLst/>
                    <a:cxnLst>
                      <a:cxn ang="0">
                        <a:pos x="6" y="0"/>
                      </a:cxn>
                      <a:cxn ang="0">
                        <a:pos x="6" y="0"/>
                      </a:cxn>
                      <a:cxn ang="0">
                        <a:pos x="2" y="4"/>
                      </a:cxn>
                      <a:cxn ang="0">
                        <a:pos x="0" y="8"/>
                      </a:cxn>
                      <a:cxn ang="0">
                        <a:pos x="2" y="12"/>
                      </a:cxn>
                      <a:cxn ang="0">
                        <a:pos x="8" y="18"/>
                      </a:cxn>
                      <a:cxn ang="0">
                        <a:pos x="14" y="22"/>
                      </a:cxn>
                      <a:cxn ang="0">
                        <a:pos x="20" y="24"/>
                      </a:cxn>
                      <a:cxn ang="0">
                        <a:pos x="26" y="24"/>
                      </a:cxn>
                      <a:cxn ang="0">
                        <a:pos x="30" y="22"/>
                      </a:cxn>
                      <a:cxn ang="0">
                        <a:pos x="30" y="22"/>
                      </a:cxn>
                      <a:cxn ang="0">
                        <a:pos x="32" y="16"/>
                      </a:cxn>
                      <a:cxn ang="0">
                        <a:pos x="32" y="12"/>
                      </a:cxn>
                      <a:cxn ang="0">
                        <a:pos x="32" y="8"/>
                      </a:cxn>
                      <a:cxn ang="0">
                        <a:pos x="28" y="4"/>
                      </a:cxn>
                      <a:cxn ang="0">
                        <a:pos x="24" y="2"/>
                      </a:cxn>
                      <a:cxn ang="0">
                        <a:pos x="20" y="0"/>
                      </a:cxn>
                      <a:cxn ang="0">
                        <a:pos x="14" y="0"/>
                      </a:cxn>
                      <a:cxn ang="0">
                        <a:pos x="6" y="0"/>
                      </a:cxn>
                      <a:cxn ang="0">
                        <a:pos x="6" y="0"/>
                      </a:cxn>
                    </a:cxnLst>
                    <a:rect l="0" t="0" r="r" b="b"/>
                    <a:pathLst>
                      <a:path w="32" h="24">
                        <a:moveTo>
                          <a:pt x="6" y="0"/>
                        </a:moveTo>
                        <a:lnTo>
                          <a:pt x="6" y="0"/>
                        </a:lnTo>
                        <a:lnTo>
                          <a:pt x="2" y="4"/>
                        </a:lnTo>
                        <a:lnTo>
                          <a:pt x="0" y="8"/>
                        </a:lnTo>
                        <a:lnTo>
                          <a:pt x="2" y="12"/>
                        </a:lnTo>
                        <a:lnTo>
                          <a:pt x="8" y="18"/>
                        </a:lnTo>
                        <a:lnTo>
                          <a:pt x="14" y="22"/>
                        </a:lnTo>
                        <a:lnTo>
                          <a:pt x="20" y="24"/>
                        </a:lnTo>
                        <a:lnTo>
                          <a:pt x="26" y="24"/>
                        </a:lnTo>
                        <a:lnTo>
                          <a:pt x="30" y="22"/>
                        </a:lnTo>
                        <a:lnTo>
                          <a:pt x="30" y="22"/>
                        </a:lnTo>
                        <a:lnTo>
                          <a:pt x="32" y="16"/>
                        </a:lnTo>
                        <a:lnTo>
                          <a:pt x="32" y="12"/>
                        </a:lnTo>
                        <a:lnTo>
                          <a:pt x="32" y="8"/>
                        </a:lnTo>
                        <a:lnTo>
                          <a:pt x="28" y="4"/>
                        </a:lnTo>
                        <a:lnTo>
                          <a:pt x="24" y="2"/>
                        </a:lnTo>
                        <a:lnTo>
                          <a:pt x="20" y="0"/>
                        </a:lnTo>
                        <a:lnTo>
                          <a:pt x="14" y="0"/>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8" name="Freeform 6091"/>
                  <p:cNvSpPr>
                    <a:spLocks/>
                  </p:cNvSpPr>
                  <p:nvPr/>
                </p:nvSpPr>
                <p:spPr bwMode="auto">
                  <a:xfrm>
                    <a:off x="2656840" y="1799273"/>
                    <a:ext cx="13970" cy="15240"/>
                  </a:xfrm>
                  <a:custGeom>
                    <a:avLst/>
                    <a:gdLst/>
                    <a:ahLst/>
                    <a:cxnLst>
                      <a:cxn ang="0">
                        <a:pos x="4" y="24"/>
                      </a:cxn>
                      <a:cxn ang="0">
                        <a:pos x="4" y="24"/>
                      </a:cxn>
                      <a:cxn ang="0">
                        <a:pos x="12" y="22"/>
                      </a:cxn>
                      <a:cxn ang="0">
                        <a:pos x="20" y="16"/>
                      </a:cxn>
                      <a:cxn ang="0">
                        <a:pos x="22" y="12"/>
                      </a:cxn>
                      <a:cxn ang="0">
                        <a:pos x="22" y="10"/>
                      </a:cxn>
                      <a:cxn ang="0">
                        <a:pos x="22" y="6"/>
                      </a:cxn>
                      <a:cxn ang="0">
                        <a:pos x="18" y="2"/>
                      </a:cxn>
                      <a:cxn ang="0">
                        <a:pos x="18" y="2"/>
                      </a:cxn>
                      <a:cxn ang="0">
                        <a:pos x="14" y="0"/>
                      </a:cxn>
                      <a:cxn ang="0">
                        <a:pos x="10" y="2"/>
                      </a:cxn>
                      <a:cxn ang="0">
                        <a:pos x="6" y="4"/>
                      </a:cxn>
                      <a:cxn ang="0">
                        <a:pos x="2" y="10"/>
                      </a:cxn>
                      <a:cxn ang="0">
                        <a:pos x="0" y="14"/>
                      </a:cxn>
                      <a:cxn ang="0">
                        <a:pos x="0" y="18"/>
                      </a:cxn>
                      <a:cxn ang="0">
                        <a:pos x="2" y="22"/>
                      </a:cxn>
                      <a:cxn ang="0">
                        <a:pos x="4" y="24"/>
                      </a:cxn>
                      <a:cxn ang="0">
                        <a:pos x="4" y="24"/>
                      </a:cxn>
                    </a:cxnLst>
                    <a:rect l="0" t="0" r="r" b="b"/>
                    <a:pathLst>
                      <a:path w="22" h="24">
                        <a:moveTo>
                          <a:pt x="4" y="24"/>
                        </a:moveTo>
                        <a:lnTo>
                          <a:pt x="4" y="24"/>
                        </a:lnTo>
                        <a:lnTo>
                          <a:pt x="12" y="22"/>
                        </a:lnTo>
                        <a:lnTo>
                          <a:pt x="20" y="16"/>
                        </a:lnTo>
                        <a:lnTo>
                          <a:pt x="22" y="12"/>
                        </a:lnTo>
                        <a:lnTo>
                          <a:pt x="22" y="10"/>
                        </a:lnTo>
                        <a:lnTo>
                          <a:pt x="22" y="6"/>
                        </a:lnTo>
                        <a:lnTo>
                          <a:pt x="18" y="2"/>
                        </a:lnTo>
                        <a:lnTo>
                          <a:pt x="18" y="2"/>
                        </a:lnTo>
                        <a:lnTo>
                          <a:pt x="14" y="0"/>
                        </a:lnTo>
                        <a:lnTo>
                          <a:pt x="10" y="2"/>
                        </a:lnTo>
                        <a:lnTo>
                          <a:pt x="6" y="4"/>
                        </a:lnTo>
                        <a:lnTo>
                          <a:pt x="2" y="10"/>
                        </a:lnTo>
                        <a:lnTo>
                          <a:pt x="0" y="14"/>
                        </a:lnTo>
                        <a:lnTo>
                          <a:pt x="0" y="18"/>
                        </a:lnTo>
                        <a:lnTo>
                          <a:pt x="2" y="22"/>
                        </a:lnTo>
                        <a:lnTo>
                          <a:pt x="4" y="24"/>
                        </a:lnTo>
                        <a:lnTo>
                          <a:pt x="4" y="2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29" name="Freeform 6092"/>
                  <p:cNvSpPr>
                    <a:spLocks/>
                  </p:cNvSpPr>
                  <p:nvPr/>
                </p:nvSpPr>
                <p:spPr bwMode="auto">
                  <a:xfrm>
                    <a:off x="2352040" y="1724343"/>
                    <a:ext cx="22860" cy="34290"/>
                  </a:xfrm>
                  <a:custGeom>
                    <a:avLst/>
                    <a:gdLst/>
                    <a:ahLst/>
                    <a:cxnLst>
                      <a:cxn ang="0">
                        <a:pos x="20" y="54"/>
                      </a:cxn>
                      <a:cxn ang="0">
                        <a:pos x="20" y="54"/>
                      </a:cxn>
                      <a:cxn ang="0">
                        <a:pos x="26" y="50"/>
                      </a:cxn>
                      <a:cxn ang="0">
                        <a:pos x="30" y="42"/>
                      </a:cxn>
                      <a:cxn ang="0">
                        <a:pos x="34" y="32"/>
                      </a:cxn>
                      <a:cxn ang="0">
                        <a:pos x="36" y="22"/>
                      </a:cxn>
                      <a:cxn ang="0">
                        <a:pos x="36" y="12"/>
                      </a:cxn>
                      <a:cxn ang="0">
                        <a:pos x="34" y="4"/>
                      </a:cxn>
                      <a:cxn ang="0">
                        <a:pos x="32" y="2"/>
                      </a:cxn>
                      <a:cxn ang="0">
                        <a:pos x="28" y="0"/>
                      </a:cxn>
                      <a:cxn ang="0">
                        <a:pos x="24" y="0"/>
                      </a:cxn>
                      <a:cxn ang="0">
                        <a:pos x="18" y="0"/>
                      </a:cxn>
                      <a:cxn ang="0">
                        <a:pos x="18" y="0"/>
                      </a:cxn>
                      <a:cxn ang="0">
                        <a:pos x="14" y="2"/>
                      </a:cxn>
                      <a:cxn ang="0">
                        <a:pos x="8" y="6"/>
                      </a:cxn>
                      <a:cxn ang="0">
                        <a:pos x="4" y="12"/>
                      </a:cxn>
                      <a:cxn ang="0">
                        <a:pos x="0" y="22"/>
                      </a:cxn>
                      <a:cxn ang="0">
                        <a:pos x="2" y="32"/>
                      </a:cxn>
                      <a:cxn ang="0">
                        <a:pos x="4" y="40"/>
                      </a:cxn>
                      <a:cxn ang="0">
                        <a:pos x="8" y="48"/>
                      </a:cxn>
                      <a:cxn ang="0">
                        <a:pos x="14" y="52"/>
                      </a:cxn>
                      <a:cxn ang="0">
                        <a:pos x="20" y="54"/>
                      </a:cxn>
                      <a:cxn ang="0">
                        <a:pos x="20" y="54"/>
                      </a:cxn>
                    </a:cxnLst>
                    <a:rect l="0" t="0" r="r" b="b"/>
                    <a:pathLst>
                      <a:path w="36" h="54">
                        <a:moveTo>
                          <a:pt x="20" y="54"/>
                        </a:moveTo>
                        <a:lnTo>
                          <a:pt x="20" y="54"/>
                        </a:lnTo>
                        <a:lnTo>
                          <a:pt x="26" y="50"/>
                        </a:lnTo>
                        <a:lnTo>
                          <a:pt x="30" y="42"/>
                        </a:lnTo>
                        <a:lnTo>
                          <a:pt x="34" y="32"/>
                        </a:lnTo>
                        <a:lnTo>
                          <a:pt x="36" y="22"/>
                        </a:lnTo>
                        <a:lnTo>
                          <a:pt x="36" y="12"/>
                        </a:lnTo>
                        <a:lnTo>
                          <a:pt x="34" y="4"/>
                        </a:lnTo>
                        <a:lnTo>
                          <a:pt x="32" y="2"/>
                        </a:lnTo>
                        <a:lnTo>
                          <a:pt x="28" y="0"/>
                        </a:lnTo>
                        <a:lnTo>
                          <a:pt x="24" y="0"/>
                        </a:lnTo>
                        <a:lnTo>
                          <a:pt x="18" y="0"/>
                        </a:lnTo>
                        <a:lnTo>
                          <a:pt x="18" y="0"/>
                        </a:lnTo>
                        <a:lnTo>
                          <a:pt x="14" y="2"/>
                        </a:lnTo>
                        <a:lnTo>
                          <a:pt x="8" y="6"/>
                        </a:lnTo>
                        <a:lnTo>
                          <a:pt x="4" y="12"/>
                        </a:lnTo>
                        <a:lnTo>
                          <a:pt x="0" y="22"/>
                        </a:lnTo>
                        <a:lnTo>
                          <a:pt x="2" y="32"/>
                        </a:lnTo>
                        <a:lnTo>
                          <a:pt x="4" y="40"/>
                        </a:lnTo>
                        <a:lnTo>
                          <a:pt x="8" y="48"/>
                        </a:lnTo>
                        <a:lnTo>
                          <a:pt x="14" y="52"/>
                        </a:lnTo>
                        <a:lnTo>
                          <a:pt x="20" y="54"/>
                        </a:lnTo>
                        <a:lnTo>
                          <a:pt x="20" y="5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0" name="Freeform 6094"/>
                  <p:cNvSpPr>
                    <a:spLocks/>
                  </p:cNvSpPr>
                  <p:nvPr/>
                </p:nvSpPr>
                <p:spPr bwMode="auto">
                  <a:xfrm>
                    <a:off x="2428240" y="1463993"/>
                    <a:ext cx="59690" cy="48260"/>
                  </a:xfrm>
                  <a:custGeom>
                    <a:avLst/>
                    <a:gdLst/>
                    <a:ahLst/>
                    <a:cxnLst>
                      <a:cxn ang="0">
                        <a:pos x="8" y="26"/>
                      </a:cxn>
                      <a:cxn ang="0">
                        <a:pos x="8" y="26"/>
                      </a:cxn>
                      <a:cxn ang="0">
                        <a:pos x="4" y="36"/>
                      </a:cxn>
                      <a:cxn ang="0">
                        <a:pos x="0" y="46"/>
                      </a:cxn>
                      <a:cxn ang="0">
                        <a:pos x="0" y="56"/>
                      </a:cxn>
                      <a:cxn ang="0">
                        <a:pos x="2" y="64"/>
                      </a:cxn>
                      <a:cxn ang="0">
                        <a:pos x="8" y="70"/>
                      </a:cxn>
                      <a:cxn ang="0">
                        <a:pos x="18" y="74"/>
                      </a:cxn>
                      <a:cxn ang="0">
                        <a:pos x="34" y="76"/>
                      </a:cxn>
                      <a:cxn ang="0">
                        <a:pos x="54" y="76"/>
                      </a:cxn>
                      <a:cxn ang="0">
                        <a:pos x="54" y="76"/>
                      </a:cxn>
                      <a:cxn ang="0">
                        <a:pos x="72" y="74"/>
                      </a:cxn>
                      <a:cxn ang="0">
                        <a:pos x="84" y="70"/>
                      </a:cxn>
                      <a:cxn ang="0">
                        <a:pos x="90" y="64"/>
                      </a:cxn>
                      <a:cxn ang="0">
                        <a:pos x="94" y="58"/>
                      </a:cxn>
                      <a:cxn ang="0">
                        <a:pos x="92" y="50"/>
                      </a:cxn>
                      <a:cxn ang="0">
                        <a:pos x="92" y="40"/>
                      </a:cxn>
                      <a:cxn ang="0">
                        <a:pos x="90" y="32"/>
                      </a:cxn>
                      <a:cxn ang="0">
                        <a:pos x="92" y="22"/>
                      </a:cxn>
                      <a:cxn ang="0">
                        <a:pos x="92" y="22"/>
                      </a:cxn>
                      <a:cxn ang="0">
                        <a:pos x="92" y="18"/>
                      </a:cxn>
                      <a:cxn ang="0">
                        <a:pos x="90" y="14"/>
                      </a:cxn>
                      <a:cxn ang="0">
                        <a:pos x="88" y="10"/>
                      </a:cxn>
                      <a:cxn ang="0">
                        <a:pos x="84" y="6"/>
                      </a:cxn>
                      <a:cxn ang="0">
                        <a:pos x="74" y="2"/>
                      </a:cxn>
                      <a:cxn ang="0">
                        <a:pos x="60" y="0"/>
                      </a:cxn>
                      <a:cxn ang="0">
                        <a:pos x="46" y="2"/>
                      </a:cxn>
                      <a:cxn ang="0">
                        <a:pos x="32" y="6"/>
                      </a:cxn>
                      <a:cxn ang="0">
                        <a:pos x="18" y="14"/>
                      </a:cxn>
                      <a:cxn ang="0">
                        <a:pos x="14" y="20"/>
                      </a:cxn>
                      <a:cxn ang="0">
                        <a:pos x="8" y="26"/>
                      </a:cxn>
                      <a:cxn ang="0">
                        <a:pos x="8" y="26"/>
                      </a:cxn>
                    </a:cxnLst>
                    <a:rect l="0" t="0" r="r" b="b"/>
                    <a:pathLst>
                      <a:path w="94" h="76">
                        <a:moveTo>
                          <a:pt x="8" y="26"/>
                        </a:moveTo>
                        <a:lnTo>
                          <a:pt x="8" y="26"/>
                        </a:lnTo>
                        <a:lnTo>
                          <a:pt x="4" y="36"/>
                        </a:lnTo>
                        <a:lnTo>
                          <a:pt x="0" y="46"/>
                        </a:lnTo>
                        <a:lnTo>
                          <a:pt x="0" y="56"/>
                        </a:lnTo>
                        <a:lnTo>
                          <a:pt x="2" y="64"/>
                        </a:lnTo>
                        <a:lnTo>
                          <a:pt x="8" y="70"/>
                        </a:lnTo>
                        <a:lnTo>
                          <a:pt x="18" y="74"/>
                        </a:lnTo>
                        <a:lnTo>
                          <a:pt x="34" y="76"/>
                        </a:lnTo>
                        <a:lnTo>
                          <a:pt x="54" y="76"/>
                        </a:lnTo>
                        <a:lnTo>
                          <a:pt x="54" y="76"/>
                        </a:lnTo>
                        <a:lnTo>
                          <a:pt x="72" y="74"/>
                        </a:lnTo>
                        <a:lnTo>
                          <a:pt x="84" y="70"/>
                        </a:lnTo>
                        <a:lnTo>
                          <a:pt x="90" y="64"/>
                        </a:lnTo>
                        <a:lnTo>
                          <a:pt x="94" y="58"/>
                        </a:lnTo>
                        <a:lnTo>
                          <a:pt x="92" y="50"/>
                        </a:lnTo>
                        <a:lnTo>
                          <a:pt x="92" y="40"/>
                        </a:lnTo>
                        <a:lnTo>
                          <a:pt x="90" y="32"/>
                        </a:lnTo>
                        <a:lnTo>
                          <a:pt x="92" y="22"/>
                        </a:lnTo>
                        <a:lnTo>
                          <a:pt x="92" y="22"/>
                        </a:lnTo>
                        <a:lnTo>
                          <a:pt x="92" y="18"/>
                        </a:lnTo>
                        <a:lnTo>
                          <a:pt x="90" y="14"/>
                        </a:lnTo>
                        <a:lnTo>
                          <a:pt x="88" y="10"/>
                        </a:lnTo>
                        <a:lnTo>
                          <a:pt x="84" y="6"/>
                        </a:lnTo>
                        <a:lnTo>
                          <a:pt x="74" y="2"/>
                        </a:lnTo>
                        <a:lnTo>
                          <a:pt x="60" y="0"/>
                        </a:lnTo>
                        <a:lnTo>
                          <a:pt x="46" y="2"/>
                        </a:lnTo>
                        <a:lnTo>
                          <a:pt x="32" y="6"/>
                        </a:lnTo>
                        <a:lnTo>
                          <a:pt x="18" y="14"/>
                        </a:lnTo>
                        <a:lnTo>
                          <a:pt x="14" y="20"/>
                        </a:lnTo>
                        <a:lnTo>
                          <a:pt x="8" y="26"/>
                        </a:lnTo>
                        <a:lnTo>
                          <a:pt x="8" y="2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1" name="Freeform 6098"/>
                  <p:cNvSpPr>
                    <a:spLocks/>
                  </p:cNvSpPr>
                  <p:nvPr/>
                </p:nvSpPr>
                <p:spPr bwMode="auto">
                  <a:xfrm>
                    <a:off x="1668780" y="1211263"/>
                    <a:ext cx="63500" cy="43180"/>
                  </a:xfrm>
                  <a:custGeom>
                    <a:avLst/>
                    <a:gdLst/>
                    <a:ahLst/>
                    <a:cxnLst>
                      <a:cxn ang="0">
                        <a:pos x="46" y="2"/>
                      </a:cxn>
                      <a:cxn ang="0">
                        <a:pos x="46" y="2"/>
                      </a:cxn>
                      <a:cxn ang="0">
                        <a:pos x="32" y="4"/>
                      </a:cxn>
                      <a:cxn ang="0">
                        <a:pos x="20" y="6"/>
                      </a:cxn>
                      <a:cxn ang="0">
                        <a:pos x="10" y="10"/>
                      </a:cxn>
                      <a:cxn ang="0">
                        <a:pos x="4" y="12"/>
                      </a:cxn>
                      <a:cxn ang="0">
                        <a:pos x="0" y="16"/>
                      </a:cxn>
                      <a:cxn ang="0">
                        <a:pos x="0" y="20"/>
                      </a:cxn>
                      <a:cxn ang="0">
                        <a:pos x="2" y="22"/>
                      </a:cxn>
                      <a:cxn ang="0">
                        <a:pos x="8" y="24"/>
                      </a:cxn>
                      <a:cxn ang="0">
                        <a:pos x="8" y="24"/>
                      </a:cxn>
                      <a:cxn ang="0">
                        <a:pos x="20" y="28"/>
                      </a:cxn>
                      <a:cxn ang="0">
                        <a:pos x="28" y="32"/>
                      </a:cxn>
                      <a:cxn ang="0">
                        <a:pos x="32" y="36"/>
                      </a:cxn>
                      <a:cxn ang="0">
                        <a:pos x="34" y="40"/>
                      </a:cxn>
                      <a:cxn ang="0">
                        <a:pos x="34" y="40"/>
                      </a:cxn>
                      <a:cxn ang="0">
                        <a:pos x="38" y="46"/>
                      </a:cxn>
                      <a:cxn ang="0">
                        <a:pos x="44" y="50"/>
                      </a:cxn>
                      <a:cxn ang="0">
                        <a:pos x="54" y="56"/>
                      </a:cxn>
                      <a:cxn ang="0">
                        <a:pos x="64" y="66"/>
                      </a:cxn>
                      <a:cxn ang="0">
                        <a:pos x="64" y="66"/>
                      </a:cxn>
                      <a:cxn ang="0">
                        <a:pos x="68" y="68"/>
                      </a:cxn>
                      <a:cxn ang="0">
                        <a:pos x="70" y="68"/>
                      </a:cxn>
                      <a:cxn ang="0">
                        <a:pos x="70" y="66"/>
                      </a:cxn>
                      <a:cxn ang="0">
                        <a:pos x="70" y="66"/>
                      </a:cxn>
                      <a:cxn ang="0">
                        <a:pos x="70" y="62"/>
                      </a:cxn>
                      <a:cxn ang="0">
                        <a:pos x="74" y="60"/>
                      </a:cxn>
                      <a:cxn ang="0">
                        <a:pos x="80" y="56"/>
                      </a:cxn>
                      <a:cxn ang="0">
                        <a:pos x="86" y="48"/>
                      </a:cxn>
                      <a:cxn ang="0">
                        <a:pos x="86" y="48"/>
                      </a:cxn>
                      <a:cxn ang="0">
                        <a:pos x="100" y="26"/>
                      </a:cxn>
                      <a:cxn ang="0">
                        <a:pos x="100" y="20"/>
                      </a:cxn>
                      <a:cxn ang="0">
                        <a:pos x="100" y="16"/>
                      </a:cxn>
                      <a:cxn ang="0">
                        <a:pos x="98" y="14"/>
                      </a:cxn>
                      <a:cxn ang="0">
                        <a:pos x="94" y="10"/>
                      </a:cxn>
                      <a:cxn ang="0">
                        <a:pos x="94" y="10"/>
                      </a:cxn>
                      <a:cxn ang="0">
                        <a:pos x="86" y="6"/>
                      </a:cxn>
                      <a:cxn ang="0">
                        <a:pos x="80" y="2"/>
                      </a:cxn>
                      <a:cxn ang="0">
                        <a:pos x="70" y="0"/>
                      </a:cxn>
                      <a:cxn ang="0">
                        <a:pos x="46" y="2"/>
                      </a:cxn>
                      <a:cxn ang="0">
                        <a:pos x="46" y="2"/>
                      </a:cxn>
                    </a:cxnLst>
                    <a:rect l="0" t="0" r="r" b="b"/>
                    <a:pathLst>
                      <a:path w="100" h="68">
                        <a:moveTo>
                          <a:pt x="46" y="2"/>
                        </a:moveTo>
                        <a:lnTo>
                          <a:pt x="46" y="2"/>
                        </a:lnTo>
                        <a:lnTo>
                          <a:pt x="32" y="4"/>
                        </a:lnTo>
                        <a:lnTo>
                          <a:pt x="20" y="6"/>
                        </a:lnTo>
                        <a:lnTo>
                          <a:pt x="10" y="10"/>
                        </a:lnTo>
                        <a:lnTo>
                          <a:pt x="4" y="12"/>
                        </a:lnTo>
                        <a:lnTo>
                          <a:pt x="0" y="16"/>
                        </a:lnTo>
                        <a:lnTo>
                          <a:pt x="0" y="20"/>
                        </a:lnTo>
                        <a:lnTo>
                          <a:pt x="2" y="22"/>
                        </a:lnTo>
                        <a:lnTo>
                          <a:pt x="8" y="24"/>
                        </a:lnTo>
                        <a:lnTo>
                          <a:pt x="8" y="24"/>
                        </a:lnTo>
                        <a:lnTo>
                          <a:pt x="20" y="28"/>
                        </a:lnTo>
                        <a:lnTo>
                          <a:pt x="28" y="32"/>
                        </a:lnTo>
                        <a:lnTo>
                          <a:pt x="32" y="36"/>
                        </a:lnTo>
                        <a:lnTo>
                          <a:pt x="34" y="40"/>
                        </a:lnTo>
                        <a:lnTo>
                          <a:pt x="34" y="40"/>
                        </a:lnTo>
                        <a:lnTo>
                          <a:pt x="38" y="46"/>
                        </a:lnTo>
                        <a:lnTo>
                          <a:pt x="44" y="50"/>
                        </a:lnTo>
                        <a:lnTo>
                          <a:pt x="54" y="56"/>
                        </a:lnTo>
                        <a:lnTo>
                          <a:pt x="64" y="66"/>
                        </a:lnTo>
                        <a:lnTo>
                          <a:pt x="64" y="66"/>
                        </a:lnTo>
                        <a:lnTo>
                          <a:pt x="68" y="68"/>
                        </a:lnTo>
                        <a:lnTo>
                          <a:pt x="70" y="68"/>
                        </a:lnTo>
                        <a:lnTo>
                          <a:pt x="70" y="66"/>
                        </a:lnTo>
                        <a:lnTo>
                          <a:pt x="70" y="66"/>
                        </a:lnTo>
                        <a:lnTo>
                          <a:pt x="70" y="62"/>
                        </a:lnTo>
                        <a:lnTo>
                          <a:pt x="74" y="60"/>
                        </a:lnTo>
                        <a:lnTo>
                          <a:pt x="80" y="56"/>
                        </a:lnTo>
                        <a:lnTo>
                          <a:pt x="86" y="48"/>
                        </a:lnTo>
                        <a:lnTo>
                          <a:pt x="86" y="48"/>
                        </a:lnTo>
                        <a:lnTo>
                          <a:pt x="100" y="26"/>
                        </a:lnTo>
                        <a:lnTo>
                          <a:pt x="100" y="20"/>
                        </a:lnTo>
                        <a:lnTo>
                          <a:pt x="100" y="16"/>
                        </a:lnTo>
                        <a:lnTo>
                          <a:pt x="98" y="14"/>
                        </a:lnTo>
                        <a:lnTo>
                          <a:pt x="94" y="10"/>
                        </a:lnTo>
                        <a:lnTo>
                          <a:pt x="94" y="10"/>
                        </a:lnTo>
                        <a:lnTo>
                          <a:pt x="86" y="6"/>
                        </a:lnTo>
                        <a:lnTo>
                          <a:pt x="80" y="2"/>
                        </a:lnTo>
                        <a:lnTo>
                          <a:pt x="70" y="0"/>
                        </a:lnTo>
                        <a:lnTo>
                          <a:pt x="46" y="2"/>
                        </a:lnTo>
                        <a:lnTo>
                          <a:pt x="4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2" name="Freeform 6099"/>
                  <p:cNvSpPr>
                    <a:spLocks/>
                  </p:cNvSpPr>
                  <p:nvPr/>
                </p:nvSpPr>
                <p:spPr bwMode="auto">
                  <a:xfrm>
                    <a:off x="1733550" y="1088073"/>
                    <a:ext cx="48260" cy="10160"/>
                  </a:xfrm>
                  <a:custGeom>
                    <a:avLst/>
                    <a:gdLst/>
                    <a:ahLst/>
                    <a:cxnLst>
                      <a:cxn ang="0">
                        <a:pos x="76" y="2"/>
                      </a:cxn>
                      <a:cxn ang="0">
                        <a:pos x="76" y="2"/>
                      </a:cxn>
                      <a:cxn ang="0">
                        <a:pos x="68" y="0"/>
                      </a:cxn>
                      <a:cxn ang="0">
                        <a:pos x="56" y="0"/>
                      </a:cxn>
                      <a:cxn ang="0">
                        <a:pos x="30" y="2"/>
                      </a:cxn>
                      <a:cxn ang="0">
                        <a:pos x="16" y="6"/>
                      </a:cxn>
                      <a:cxn ang="0">
                        <a:pos x="6" y="8"/>
                      </a:cxn>
                      <a:cxn ang="0">
                        <a:pos x="0" y="12"/>
                      </a:cxn>
                      <a:cxn ang="0">
                        <a:pos x="0" y="14"/>
                      </a:cxn>
                      <a:cxn ang="0">
                        <a:pos x="2" y="16"/>
                      </a:cxn>
                      <a:cxn ang="0">
                        <a:pos x="2" y="16"/>
                      </a:cxn>
                      <a:cxn ang="0">
                        <a:pos x="8" y="16"/>
                      </a:cxn>
                      <a:cxn ang="0">
                        <a:pos x="20" y="16"/>
                      </a:cxn>
                      <a:cxn ang="0">
                        <a:pos x="48" y="14"/>
                      </a:cxn>
                      <a:cxn ang="0">
                        <a:pos x="70" y="8"/>
                      </a:cxn>
                      <a:cxn ang="0">
                        <a:pos x="76" y="4"/>
                      </a:cxn>
                      <a:cxn ang="0">
                        <a:pos x="76" y="2"/>
                      </a:cxn>
                      <a:cxn ang="0">
                        <a:pos x="76" y="2"/>
                      </a:cxn>
                      <a:cxn ang="0">
                        <a:pos x="76" y="2"/>
                      </a:cxn>
                    </a:cxnLst>
                    <a:rect l="0" t="0" r="r" b="b"/>
                    <a:pathLst>
                      <a:path w="76" h="16">
                        <a:moveTo>
                          <a:pt x="76" y="2"/>
                        </a:moveTo>
                        <a:lnTo>
                          <a:pt x="76" y="2"/>
                        </a:lnTo>
                        <a:lnTo>
                          <a:pt x="68" y="0"/>
                        </a:lnTo>
                        <a:lnTo>
                          <a:pt x="56" y="0"/>
                        </a:lnTo>
                        <a:lnTo>
                          <a:pt x="30" y="2"/>
                        </a:lnTo>
                        <a:lnTo>
                          <a:pt x="16" y="6"/>
                        </a:lnTo>
                        <a:lnTo>
                          <a:pt x="6" y="8"/>
                        </a:lnTo>
                        <a:lnTo>
                          <a:pt x="0" y="12"/>
                        </a:lnTo>
                        <a:lnTo>
                          <a:pt x="0" y="14"/>
                        </a:lnTo>
                        <a:lnTo>
                          <a:pt x="2" y="16"/>
                        </a:lnTo>
                        <a:lnTo>
                          <a:pt x="2" y="16"/>
                        </a:lnTo>
                        <a:lnTo>
                          <a:pt x="8" y="16"/>
                        </a:lnTo>
                        <a:lnTo>
                          <a:pt x="20" y="16"/>
                        </a:lnTo>
                        <a:lnTo>
                          <a:pt x="48" y="14"/>
                        </a:lnTo>
                        <a:lnTo>
                          <a:pt x="70" y="8"/>
                        </a:lnTo>
                        <a:lnTo>
                          <a:pt x="76" y="4"/>
                        </a:lnTo>
                        <a:lnTo>
                          <a:pt x="76" y="2"/>
                        </a:lnTo>
                        <a:lnTo>
                          <a:pt x="76" y="2"/>
                        </a:lnTo>
                        <a:lnTo>
                          <a:pt x="7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3" name="Freeform 6100"/>
                  <p:cNvSpPr>
                    <a:spLocks/>
                  </p:cNvSpPr>
                  <p:nvPr/>
                </p:nvSpPr>
                <p:spPr bwMode="auto">
                  <a:xfrm>
                    <a:off x="1723390" y="1129983"/>
                    <a:ext cx="30480" cy="20320"/>
                  </a:xfrm>
                  <a:custGeom>
                    <a:avLst/>
                    <a:gdLst/>
                    <a:ahLst/>
                    <a:cxnLst>
                      <a:cxn ang="0">
                        <a:pos x="0" y="20"/>
                      </a:cxn>
                      <a:cxn ang="0">
                        <a:pos x="0" y="20"/>
                      </a:cxn>
                      <a:cxn ang="0">
                        <a:pos x="0" y="22"/>
                      </a:cxn>
                      <a:cxn ang="0">
                        <a:pos x="2" y="26"/>
                      </a:cxn>
                      <a:cxn ang="0">
                        <a:pos x="8" y="30"/>
                      </a:cxn>
                      <a:cxn ang="0">
                        <a:pos x="16" y="32"/>
                      </a:cxn>
                      <a:cxn ang="0">
                        <a:pos x="26" y="32"/>
                      </a:cxn>
                      <a:cxn ang="0">
                        <a:pos x="34" y="30"/>
                      </a:cxn>
                      <a:cxn ang="0">
                        <a:pos x="42" y="28"/>
                      </a:cxn>
                      <a:cxn ang="0">
                        <a:pos x="46" y="22"/>
                      </a:cxn>
                      <a:cxn ang="0">
                        <a:pos x="48" y="20"/>
                      </a:cxn>
                      <a:cxn ang="0">
                        <a:pos x="48" y="18"/>
                      </a:cxn>
                      <a:cxn ang="0">
                        <a:pos x="48" y="18"/>
                      </a:cxn>
                      <a:cxn ang="0">
                        <a:pos x="44" y="12"/>
                      </a:cxn>
                      <a:cxn ang="0">
                        <a:pos x="38" y="6"/>
                      </a:cxn>
                      <a:cxn ang="0">
                        <a:pos x="30" y="2"/>
                      </a:cxn>
                      <a:cxn ang="0">
                        <a:pos x="22" y="0"/>
                      </a:cxn>
                      <a:cxn ang="0">
                        <a:pos x="14" y="0"/>
                      </a:cxn>
                      <a:cxn ang="0">
                        <a:pos x="6" y="2"/>
                      </a:cxn>
                      <a:cxn ang="0">
                        <a:pos x="2" y="8"/>
                      </a:cxn>
                      <a:cxn ang="0">
                        <a:pos x="0" y="20"/>
                      </a:cxn>
                      <a:cxn ang="0">
                        <a:pos x="0" y="20"/>
                      </a:cxn>
                    </a:cxnLst>
                    <a:rect l="0" t="0" r="r" b="b"/>
                    <a:pathLst>
                      <a:path w="48" h="32">
                        <a:moveTo>
                          <a:pt x="0" y="20"/>
                        </a:moveTo>
                        <a:lnTo>
                          <a:pt x="0" y="20"/>
                        </a:lnTo>
                        <a:lnTo>
                          <a:pt x="0" y="22"/>
                        </a:lnTo>
                        <a:lnTo>
                          <a:pt x="2" y="26"/>
                        </a:lnTo>
                        <a:lnTo>
                          <a:pt x="8" y="30"/>
                        </a:lnTo>
                        <a:lnTo>
                          <a:pt x="16" y="32"/>
                        </a:lnTo>
                        <a:lnTo>
                          <a:pt x="26" y="32"/>
                        </a:lnTo>
                        <a:lnTo>
                          <a:pt x="34" y="30"/>
                        </a:lnTo>
                        <a:lnTo>
                          <a:pt x="42" y="28"/>
                        </a:lnTo>
                        <a:lnTo>
                          <a:pt x="46" y="22"/>
                        </a:lnTo>
                        <a:lnTo>
                          <a:pt x="48" y="20"/>
                        </a:lnTo>
                        <a:lnTo>
                          <a:pt x="48" y="18"/>
                        </a:lnTo>
                        <a:lnTo>
                          <a:pt x="48" y="18"/>
                        </a:lnTo>
                        <a:lnTo>
                          <a:pt x="44" y="12"/>
                        </a:lnTo>
                        <a:lnTo>
                          <a:pt x="38" y="6"/>
                        </a:lnTo>
                        <a:lnTo>
                          <a:pt x="30" y="2"/>
                        </a:lnTo>
                        <a:lnTo>
                          <a:pt x="22" y="0"/>
                        </a:lnTo>
                        <a:lnTo>
                          <a:pt x="14" y="0"/>
                        </a:lnTo>
                        <a:lnTo>
                          <a:pt x="6" y="2"/>
                        </a:lnTo>
                        <a:lnTo>
                          <a:pt x="2" y="8"/>
                        </a:lnTo>
                        <a:lnTo>
                          <a:pt x="0" y="20"/>
                        </a:lnTo>
                        <a:lnTo>
                          <a:pt x="0" y="2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4" name="Freeform 6101"/>
                  <p:cNvSpPr>
                    <a:spLocks/>
                  </p:cNvSpPr>
                  <p:nvPr/>
                </p:nvSpPr>
                <p:spPr bwMode="auto">
                  <a:xfrm>
                    <a:off x="1728470" y="1065213"/>
                    <a:ext cx="44450" cy="21590"/>
                  </a:xfrm>
                  <a:custGeom>
                    <a:avLst/>
                    <a:gdLst/>
                    <a:ahLst/>
                    <a:cxnLst>
                      <a:cxn ang="0">
                        <a:pos x="62" y="18"/>
                      </a:cxn>
                      <a:cxn ang="0">
                        <a:pos x="62" y="18"/>
                      </a:cxn>
                      <a:cxn ang="0">
                        <a:pos x="52" y="16"/>
                      </a:cxn>
                      <a:cxn ang="0">
                        <a:pos x="44" y="14"/>
                      </a:cxn>
                      <a:cxn ang="0">
                        <a:pos x="34" y="6"/>
                      </a:cxn>
                      <a:cxn ang="0">
                        <a:pos x="30" y="2"/>
                      </a:cxn>
                      <a:cxn ang="0">
                        <a:pos x="24" y="0"/>
                      </a:cxn>
                      <a:cxn ang="0">
                        <a:pos x="18" y="2"/>
                      </a:cxn>
                      <a:cxn ang="0">
                        <a:pos x="8" y="6"/>
                      </a:cxn>
                      <a:cxn ang="0">
                        <a:pos x="8" y="6"/>
                      </a:cxn>
                      <a:cxn ang="0">
                        <a:pos x="2" y="8"/>
                      </a:cxn>
                      <a:cxn ang="0">
                        <a:pos x="0" y="12"/>
                      </a:cxn>
                      <a:cxn ang="0">
                        <a:pos x="2" y="18"/>
                      </a:cxn>
                      <a:cxn ang="0">
                        <a:pos x="8" y="28"/>
                      </a:cxn>
                      <a:cxn ang="0">
                        <a:pos x="8" y="28"/>
                      </a:cxn>
                      <a:cxn ang="0">
                        <a:pos x="12" y="30"/>
                      </a:cxn>
                      <a:cxn ang="0">
                        <a:pos x="16" y="32"/>
                      </a:cxn>
                      <a:cxn ang="0">
                        <a:pos x="26" y="34"/>
                      </a:cxn>
                      <a:cxn ang="0">
                        <a:pos x="40" y="32"/>
                      </a:cxn>
                      <a:cxn ang="0">
                        <a:pos x="52" y="30"/>
                      </a:cxn>
                      <a:cxn ang="0">
                        <a:pos x="62" y="28"/>
                      </a:cxn>
                      <a:cxn ang="0">
                        <a:pos x="68" y="24"/>
                      </a:cxn>
                      <a:cxn ang="0">
                        <a:pos x="70" y="22"/>
                      </a:cxn>
                      <a:cxn ang="0">
                        <a:pos x="70" y="20"/>
                      </a:cxn>
                      <a:cxn ang="0">
                        <a:pos x="62" y="18"/>
                      </a:cxn>
                      <a:cxn ang="0">
                        <a:pos x="62" y="18"/>
                      </a:cxn>
                    </a:cxnLst>
                    <a:rect l="0" t="0" r="r" b="b"/>
                    <a:pathLst>
                      <a:path w="70" h="34">
                        <a:moveTo>
                          <a:pt x="62" y="18"/>
                        </a:moveTo>
                        <a:lnTo>
                          <a:pt x="62" y="18"/>
                        </a:lnTo>
                        <a:lnTo>
                          <a:pt x="52" y="16"/>
                        </a:lnTo>
                        <a:lnTo>
                          <a:pt x="44" y="14"/>
                        </a:lnTo>
                        <a:lnTo>
                          <a:pt x="34" y="6"/>
                        </a:lnTo>
                        <a:lnTo>
                          <a:pt x="30" y="2"/>
                        </a:lnTo>
                        <a:lnTo>
                          <a:pt x="24" y="0"/>
                        </a:lnTo>
                        <a:lnTo>
                          <a:pt x="18" y="2"/>
                        </a:lnTo>
                        <a:lnTo>
                          <a:pt x="8" y="6"/>
                        </a:lnTo>
                        <a:lnTo>
                          <a:pt x="8" y="6"/>
                        </a:lnTo>
                        <a:lnTo>
                          <a:pt x="2" y="8"/>
                        </a:lnTo>
                        <a:lnTo>
                          <a:pt x="0" y="12"/>
                        </a:lnTo>
                        <a:lnTo>
                          <a:pt x="2" y="18"/>
                        </a:lnTo>
                        <a:lnTo>
                          <a:pt x="8" y="28"/>
                        </a:lnTo>
                        <a:lnTo>
                          <a:pt x="8" y="28"/>
                        </a:lnTo>
                        <a:lnTo>
                          <a:pt x="12" y="30"/>
                        </a:lnTo>
                        <a:lnTo>
                          <a:pt x="16" y="32"/>
                        </a:lnTo>
                        <a:lnTo>
                          <a:pt x="26" y="34"/>
                        </a:lnTo>
                        <a:lnTo>
                          <a:pt x="40" y="32"/>
                        </a:lnTo>
                        <a:lnTo>
                          <a:pt x="52" y="30"/>
                        </a:lnTo>
                        <a:lnTo>
                          <a:pt x="62" y="28"/>
                        </a:lnTo>
                        <a:lnTo>
                          <a:pt x="68" y="24"/>
                        </a:lnTo>
                        <a:lnTo>
                          <a:pt x="70" y="22"/>
                        </a:lnTo>
                        <a:lnTo>
                          <a:pt x="70" y="20"/>
                        </a:lnTo>
                        <a:lnTo>
                          <a:pt x="62" y="18"/>
                        </a:lnTo>
                        <a:lnTo>
                          <a:pt x="62" y="1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5" name="Freeform 6102"/>
                  <p:cNvSpPr>
                    <a:spLocks/>
                  </p:cNvSpPr>
                  <p:nvPr/>
                </p:nvSpPr>
                <p:spPr bwMode="auto">
                  <a:xfrm>
                    <a:off x="1922780" y="1048703"/>
                    <a:ext cx="449580" cy="129540"/>
                  </a:xfrm>
                  <a:custGeom>
                    <a:avLst/>
                    <a:gdLst/>
                    <a:ahLst/>
                    <a:cxnLst>
                      <a:cxn ang="0">
                        <a:pos x="342" y="198"/>
                      </a:cxn>
                      <a:cxn ang="0">
                        <a:pos x="406" y="202"/>
                      </a:cxn>
                      <a:cxn ang="0">
                        <a:pos x="530" y="198"/>
                      </a:cxn>
                      <a:cxn ang="0">
                        <a:pos x="560" y="176"/>
                      </a:cxn>
                      <a:cxn ang="0">
                        <a:pos x="566" y="188"/>
                      </a:cxn>
                      <a:cxn ang="0">
                        <a:pos x="624" y="200"/>
                      </a:cxn>
                      <a:cxn ang="0">
                        <a:pos x="680" y="190"/>
                      </a:cxn>
                      <a:cxn ang="0">
                        <a:pos x="688" y="174"/>
                      </a:cxn>
                      <a:cxn ang="0">
                        <a:pos x="708" y="168"/>
                      </a:cxn>
                      <a:cxn ang="0">
                        <a:pos x="694" y="158"/>
                      </a:cxn>
                      <a:cxn ang="0">
                        <a:pos x="700" y="144"/>
                      </a:cxn>
                      <a:cxn ang="0">
                        <a:pos x="700" y="126"/>
                      </a:cxn>
                      <a:cxn ang="0">
                        <a:pos x="672" y="110"/>
                      </a:cxn>
                      <a:cxn ang="0">
                        <a:pos x="642" y="104"/>
                      </a:cxn>
                      <a:cxn ang="0">
                        <a:pos x="600" y="96"/>
                      </a:cxn>
                      <a:cxn ang="0">
                        <a:pos x="480" y="110"/>
                      </a:cxn>
                      <a:cxn ang="0">
                        <a:pos x="442" y="126"/>
                      </a:cxn>
                      <a:cxn ang="0">
                        <a:pos x="416" y="122"/>
                      </a:cxn>
                      <a:cxn ang="0">
                        <a:pos x="374" y="120"/>
                      </a:cxn>
                      <a:cxn ang="0">
                        <a:pos x="346" y="114"/>
                      </a:cxn>
                      <a:cxn ang="0">
                        <a:pos x="330" y="110"/>
                      </a:cxn>
                      <a:cxn ang="0">
                        <a:pos x="324" y="124"/>
                      </a:cxn>
                      <a:cxn ang="0">
                        <a:pos x="310" y="116"/>
                      </a:cxn>
                      <a:cxn ang="0">
                        <a:pos x="310" y="102"/>
                      </a:cxn>
                      <a:cxn ang="0">
                        <a:pos x="294" y="84"/>
                      </a:cxn>
                      <a:cxn ang="0">
                        <a:pos x="268" y="84"/>
                      </a:cxn>
                      <a:cxn ang="0">
                        <a:pos x="262" y="76"/>
                      </a:cxn>
                      <a:cxn ang="0">
                        <a:pos x="308" y="74"/>
                      </a:cxn>
                      <a:cxn ang="0">
                        <a:pos x="316" y="66"/>
                      </a:cxn>
                      <a:cxn ang="0">
                        <a:pos x="278" y="52"/>
                      </a:cxn>
                      <a:cxn ang="0">
                        <a:pos x="240" y="34"/>
                      </a:cxn>
                      <a:cxn ang="0">
                        <a:pos x="182" y="36"/>
                      </a:cxn>
                      <a:cxn ang="0">
                        <a:pos x="154" y="30"/>
                      </a:cxn>
                      <a:cxn ang="0">
                        <a:pos x="124" y="10"/>
                      </a:cxn>
                      <a:cxn ang="0">
                        <a:pos x="78" y="6"/>
                      </a:cxn>
                      <a:cxn ang="0">
                        <a:pos x="10" y="0"/>
                      </a:cxn>
                      <a:cxn ang="0">
                        <a:pos x="2" y="12"/>
                      </a:cxn>
                      <a:cxn ang="0">
                        <a:pos x="18" y="32"/>
                      </a:cxn>
                      <a:cxn ang="0">
                        <a:pos x="58" y="52"/>
                      </a:cxn>
                      <a:cxn ang="0">
                        <a:pos x="66" y="66"/>
                      </a:cxn>
                      <a:cxn ang="0">
                        <a:pos x="112" y="66"/>
                      </a:cxn>
                      <a:cxn ang="0">
                        <a:pos x="160" y="60"/>
                      </a:cxn>
                      <a:cxn ang="0">
                        <a:pos x="186" y="84"/>
                      </a:cxn>
                      <a:cxn ang="0">
                        <a:pos x="202" y="98"/>
                      </a:cxn>
                      <a:cxn ang="0">
                        <a:pos x="194" y="120"/>
                      </a:cxn>
                      <a:cxn ang="0">
                        <a:pos x="186" y="142"/>
                      </a:cxn>
                      <a:cxn ang="0">
                        <a:pos x="198" y="154"/>
                      </a:cxn>
                      <a:cxn ang="0">
                        <a:pos x="206" y="182"/>
                      </a:cxn>
                      <a:cxn ang="0">
                        <a:pos x="232" y="190"/>
                      </a:cxn>
                      <a:cxn ang="0">
                        <a:pos x="250" y="186"/>
                      </a:cxn>
                      <a:cxn ang="0">
                        <a:pos x="282" y="198"/>
                      </a:cxn>
                      <a:cxn ang="0">
                        <a:pos x="326" y="188"/>
                      </a:cxn>
                      <a:cxn ang="0">
                        <a:pos x="342" y="188"/>
                      </a:cxn>
                    </a:cxnLst>
                    <a:rect l="0" t="0" r="r" b="b"/>
                    <a:pathLst>
                      <a:path w="708" h="204">
                        <a:moveTo>
                          <a:pt x="342" y="188"/>
                        </a:moveTo>
                        <a:lnTo>
                          <a:pt x="342" y="188"/>
                        </a:lnTo>
                        <a:lnTo>
                          <a:pt x="342" y="196"/>
                        </a:lnTo>
                        <a:lnTo>
                          <a:pt x="342" y="198"/>
                        </a:lnTo>
                        <a:lnTo>
                          <a:pt x="344" y="200"/>
                        </a:lnTo>
                        <a:lnTo>
                          <a:pt x="352" y="202"/>
                        </a:lnTo>
                        <a:lnTo>
                          <a:pt x="364" y="204"/>
                        </a:lnTo>
                        <a:lnTo>
                          <a:pt x="406" y="202"/>
                        </a:lnTo>
                        <a:lnTo>
                          <a:pt x="472" y="202"/>
                        </a:lnTo>
                        <a:lnTo>
                          <a:pt x="472" y="202"/>
                        </a:lnTo>
                        <a:lnTo>
                          <a:pt x="506" y="202"/>
                        </a:lnTo>
                        <a:lnTo>
                          <a:pt x="530" y="198"/>
                        </a:lnTo>
                        <a:lnTo>
                          <a:pt x="546" y="192"/>
                        </a:lnTo>
                        <a:lnTo>
                          <a:pt x="554" y="186"/>
                        </a:lnTo>
                        <a:lnTo>
                          <a:pt x="558" y="180"/>
                        </a:lnTo>
                        <a:lnTo>
                          <a:pt x="560" y="176"/>
                        </a:lnTo>
                        <a:lnTo>
                          <a:pt x="562" y="178"/>
                        </a:lnTo>
                        <a:lnTo>
                          <a:pt x="562" y="184"/>
                        </a:lnTo>
                        <a:lnTo>
                          <a:pt x="562" y="184"/>
                        </a:lnTo>
                        <a:lnTo>
                          <a:pt x="566" y="188"/>
                        </a:lnTo>
                        <a:lnTo>
                          <a:pt x="570" y="190"/>
                        </a:lnTo>
                        <a:lnTo>
                          <a:pt x="584" y="196"/>
                        </a:lnTo>
                        <a:lnTo>
                          <a:pt x="604" y="200"/>
                        </a:lnTo>
                        <a:lnTo>
                          <a:pt x="624" y="200"/>
                        </a:lnTo>
                        <a:lnTo>
                          <a:pt x="646" y="200"/>
                        </a:lnTo>
                        <a:lnTo>
                          <a:pt x="664" y="198"/>
                        </a:lnTo>
                        <a:lnTo>
                          <a:pt x="676" y="192"/>
                        </a:lnTo>
                        <a:lnTo>
                          <a:pt x="680" y="190"/>
                        </a:lnTo>
                        <a:lnTo>
                          <a:pt x="682" y="186"/>
                        </a:lnTo>
                        <a:lnTo>
                          <a:pt x="682" y="186"/>
                        </a:lnTo>
                        <a:lnTo>
                          <a:pt x="684" y="178"/>
                        </a:lnTo>
                        <a:lnTo>
                          <a:pt x="688" y="174"/>
                        </a:lnTo>
                        <a:lnTo>
                          <a:pt x="694" y="172"/>
                        </a:lnTo>
                        <a:lnTo>
                          <a:pt x="700" y="170"/>
                        </a:lnTo>
                        <a:lnTo>
                          <a:pt x="706" y="168"/>
                        </a:lnTo>
                        <a:lnTo>
                          <a:pt x="708" y="168"/>
                        </a:lnTo>
                        <a:lnTo>
                          <a:pt x="708" y="166"/>
                        </a:lnTo>
                        <a:lnTo>
                          <a:pt x="700" y="162"/>
                        </a:lnTo>
                        <a:lnTo>
                          <a:pt x="700" y="162"/>
                        </a:lnTo>
                        <a:lnTo>
                          <a:pt x="694" y="158"/>
                        </a:lnTo>
                        <a:lnTo>
                          <a:pt x="690" y="154"/>
                        </a:lnTo>
                        <a:lnTo>
                          <a:pt x="692" y="152"/>
                        </a:lnTo>
                        <a:lnTo>
                          <a:pt x="696" y="148"/>
                        </a:lnTo>
                        <a:lnTo>
                          <a:pt x="700" y="144"/>
                        </a:lnTo>
                        <a:lnTo>
                          <a:pt x="702" y="140"/>
                        </a:lnTo>
                        <a:lnTo>
                          <a:pt x="704" y="134"/>
                        </a:lnTo>
                        <a:lnTo>
                          <a:pt x="700" y="126"/>
                        </a:lnTo>
                        <a:lnTo>
                          <a:pt x="700" y="126"/>
                        </a:lnTo>
                        <a:lnTo>
                          <a:pt x="694" y="118"/>
                        </a:lnTo>
                        <a:lnTo>
                          <a:pt x="688" y="114"/>
                        </a:lnTo>
                        <a:lnTo>
                          <a:pt x="680" y="112"/>
                        </a:lnTo>
                        <a:lnTo>
                          <a:pt x="672" y="110"/>
                        </a:lnTo>
                        <a:lnTo>
                          <a:pt x="654" y="110"/>
                        </a:lnTo>
                        <a:lnTo>
                          <a:pt x="648" y="108"/>
                        </a:lnTo>
                        <a:lnTo>
                          <a:pt x="642" y="104"/>
                        </a:lnTo>
                        <a:lnTo>
                          <a:pt x="642" y="104"/>
                        </a:lnTo>
                        <a:lnTo>
                          <a:pt x="636" y="98"/>
                        </a:lnTo>
                        <a:lnTo>
                          <a:pt x="626" y="96"/>
                        </a:lnTo>
                        <a:lnTo>
                          <a:pt x="614" y="94"/>
                        </a:lnTo>
                        <a:lnTo>
                          <a:pt x="600" y="96"/>
                        </a:lnTo>
                        <a:lnTo>
                          <a:pt x="560" y="98"/>
                        </a:lnTo>
                        <a:lnTo>
                          <a:pt x="506" y="106"/>
                        </a:lnTo>
                        <a:lnTo>
                          <a:pt x="506" y="106"/>
                        </a:lnTo>
                        <a:lnTo>
                          <a:pt x="480" y="110"/>
                        </a:lnTo>
                        <a:lnTo>
                          <a:pt x="464" y="114"/>
                        </a:lnTo>
                        <a:lnTo>
                          <a:pt x="454" y="120"/>
                        </a:lnTo>
                        <a:lnTo>
                          <a:pt x="446" y="124"/>
                        </a:lnTo>
                        <a:lnTo>
                          <a:pt x="442" y="126"/>
                        </a:lnTo>
                        <a:lnTo>
                          <a:pt x="438" y="128"/>
                        </a:lnTo>
                        <a:lnTo>
                          <a:pt x="430" y="126"/>
                        </a:lnTo>
                        <a:lnTo>
                          <a:pt x="416" y="122"/>
                        </a:lnTo>
                        <a:lnTo>
                          <a:pt x="416" y="122"/>
                        </a:lnTo>
                        <a:lnTo>
                          <a:pt x="402" y="118"/>
                        </a:lnTo>
                        <a:lnTo>
                          <a:pt x="390" y="118"/>
                        </a:lnTo>
                        <a:lnTo>
                          <a:pt x="382" y="118"/>
                        </a:lnTo>
                        <a:lnTo>
                          <a:pt x="374" y="120"/>
                        </a:lnTo>
                        <a:lnTo>
                          <a:pt x="368" y="122"/>
                        </a:lnTo>
                        <a:lnTo>
                          <a:pt x="362" y="122"/>
                        </a:lnTo>
                        <a:lnTo>
                          <a:pt x="354" y="120"/>
                        </a:lnTo>
                        <a:lnTo>
                          <a:pt x="346" y="114"/>
                        </a:lnTo>
                        <a:lnTo>
                          <a:pt x="346" y="114"/>
                        </a:lnTo>
                        <a:lnTo>
                          <a:pt x="338" y="110"/>
                        </a:lnTo>
                        <a:lnTo>
                          <a:pt x="332" y="108"/>
                        </a:lnTo>
                        <a:lnTo>
                          <a:pt x="330" y="110"/>
                        </a:lnTo>
                        <a:lnTo>
                          <a:pt x="328" y="114"/>
                        </a:lnTo>
                        <a:lnTo>
                          <a:pt x="328" y="118"/>
                        </a:lnTo>
                        <a:lnTo>
                          <a:pt x="326" y="122"/>
                        </a:lnTo>
                        <a:lnTo>
                          <a:pt x="324" y="124"/>
                        </a:lnTo>
                        <a:lnTo>
                          <a:pt x="318" y="122"/>
                        </a:lnTo>
                        <a:lnTo>
                          <a:pt x="318" y="122"/>
                        </a:lnTo>
                        <a:lnTo>
                          <a:pt x="312" y="118"/>
                        </a:lnTo>
                        <a:lnTo>
                          <a:pt x="310" y="116"/>
                        </a:lnTo>
                        <a:lnTo>
                          <a:pt x="310" y="112"/>
                        </a:lnTo>
                        <a:lnTo>
                          <a:pt x="310" y="110"/>
                        </a:lnTo>
                        <a:lnTo>
                          <a:pt x="312" y="106"/>
                        </a:lnTo>
                        <a:lnTo>
                          <a:pt x="310" y="102"/>
                        </a:lnTo>
                        <a:lnTo>
                          <a:pt x="308" y="96"/>
                        </a:lnTo>
                        <a:lnTo>
                          <a:pt x="300" y="90"/>
                        </a:lnTo>
                        <a:lnTo>
                          <a:pt x="300" y="90"/>
                        </a:lnTo>
                        <a:lnTo>
                          <a:pt x="294" y="84"/>
                        </a:lnTo>
                        <a:lnTo>
                          <a:pt x="286" y="82"/>
                        </a:lnTo>
                        <a:lnTo>
                          <a:pt x="280" y="82"/>
                        </a:lnTo>
                        <a:lnTo>
                          <a:pt x="276" y="82"/>
                        </a:lnTo>
                        <a:lnTo>
                          <a:pt x="268" y="84"/>
                        </a:lnTo>
                        <a:lnTo>
                          <a:pt x="266" y="82"/>
                        </a:lnTo>
                        <a:lnTo>
                          <a:pt x="264" y="78"/>
                        </a:lnTo>
                        <a:lnTo>
                          <a:pt x="264" y="78"/>
                        </a:lnTo>
                        <a:lnTo>
                          <a:pt x="262" y="76"/>
                        </a:lnTo>
                        <a:lnTo>
                          <a:pt x="264" y="74"/>
                        </a:lnTo>
                        <a:lnTo>
                          <a:pt x="270" y="72"/>
                        </a:lnTo>
                        <a:lnTo>
                          <a:pt x="290" y="72"/>
                        </a:lnTo>
                        <a:lnTo>
                          <a:pt x="308" y="74"/>
                        </a:lnTo>
                        <a:lnTo>
                          <a:pt x="314" y="72"/>
                        </a:lnTo>
                        <a:lnTo>
                          <a:pt x="316" y="70"/>
                        </a:lnTo>
                        <a:lnTo>
                          <a:pt x="316" y="66"/>
                        </a:lnTo>
                        <a:lnTo>
                          <a:pt x="316" y="66"/>
                        </a:lnTo>
                        <a:lnTo>
                          <a:pt x="314" y="62"/>
                        </a:lnTo>
                        <a:lnTo>
                          <a:pt x="308" y="58"/>
                        </a:lnTo>
                        <a:lnTo>
                          <a:pt x="296" y="56"/>
                        </a:lnTo>
                        <a:lnTo>
                          <a:pt x="278" y="52"/>
                        </a:lnTo>
                        <a:lnTo>
                          <a:pt x="268" y="48"/>
                        </a:lnTo>
                        <a:lnTo>
                          <a:pt x="258" y="44"/>
                        </a:lnTo>
                        <a:lnTo>
                          <a:pt x="258" y="44"/>
                        </a:lnTo>
                        <a:lnTo>
                          <a:pt x="240" y="34"/>
                        </a:lnTo>
                        <a:lnTo>
                          <a:pt x="232" y="32"/>
                        </a:lnTo>
                        <a:lnTo>
                          <a:pt x="224" y="30"/>
                        </a:lnTo>
                        <a:lnTo>
                          <a:pt x="204" y="32"/>
                        </a:lnTo>
                        <a:lnTo>
                          <a:pt x="182" y="36"/>
                        </a:lnTo>
                        <a:lnTo>
                          <a:pt x="182" y="36"/>
                        </a:lnTo>
                        <a:lnTo>
                          <a:pt x="170" y="36"/>
                        </a:lnTo>
                        <a:lnTo>
                          <a:pt x="162" y="34"/>
                        </a:lnTo>
                        <a:lnTo>
                          <a:pt x="154" y="30"/>
                        </a:lnTo>
                        <a:lnTo>
                          <a:pt x="148" y="24"/>
                        </a:lnTo>
                        <a:lnTo>
                          <a:pt x="136" y="14"/>
                        </a:lnTo>
                        <a:lnTo>
                          <a:pt x="130" y="10"/>
                        </a:lnTo>
                        <a:lnTo>
                          <a:pt x="124" y="10"/>
                        </a:lnTo>
                        <a:lnTo>
                          <a:pt x="124" y="10"/>
                        </a:lnTo>
                        <a:lnTo>
                          <a:pt x="114" y="10"/>
                        </a:lnTo>
                        <a:lnTo>
                          <a:pt x="104" y="10"/>
                        </a:lnTo>
                        <a:lnTo>
                          <a:pt x="78" y="6"/>
                        </a:lnTo>
                        <a:lnTo>
                          <a:pt x="48" y="2"/>
                        </a:lnTo>
                        <a:lnTo>
                          <a:pt x="14" y="0"/>
                        </a:lnTo>
                        <a:lnTo>
                          <a:pt x="14" y="0"/>
                        </a:lnTo>
                        <a:lnTo>
                          <a:pt x="10" y="0"/>
                        </a:lnTo>
                        <a:lnTo>
                          <a:pt x="4" y="2"/>
                        </a:lnTo>
                        <a:lnTo>
                          <a:pt x="2" y="4"/>
                        </a:lnTo>
                        <a:lnTo>
                          <a:pt x="0" y="8"/>
                        </a:lnTo>
                        <a:lnTo>
                          <a:pt x="2" y="12"/>
                        </a:lnTo>
                        <a:lnTo>
                          <a:pt x="4" y="18"/>
                        </a:lnTo>
                        <a:lnTo>
                          <a:pt x="10" y="24"/>
                        </a:lnTo>
                        <a:lnTo>
                          <a:pt x="18" y="32"/>
                        </a:lnTo>
                        <a:lnTo>
                          <a:pt x="18" y="32"/>
                        </a:lnTo>
                        <a:lnTo>
                          <a:pt x="26" y="38"/>
                        </a:lnTo>
                        <a:lnTo>
                          <a:pt x="36" y="42"/>
                        </a:lnTo>
                        <a:lnTo>
                          <a:pt x="50" y="48"/>
                        </a:lnTo>
                        <a:lnTo>
                          <a:pt x="58" y="52"/>
                        </a:lnTo>
                        <a:lnTo>
                          <a:pt x="62" y="56"/>
                        </a:lnTo>
                        <a:lnTo>
                          <a:pt x="62" y="60"/>
                        </a:lnTo>
                        <a:lnTo>
                          <a:pt x="62" y="60"/>
                        </a:lnTo>
                        <a:lnTo>
                          <a:pt x="66" y="66"/>
                        </a:lnTo>
                        <a:lnTo>
                          <a:pt x="70" y="68"/>
                        </a:lnTo>
                        <a:lnTo>
                          <a:pt x="78" y="70"/>
                        </a:lnTo>
                        <a:lnTo>
                          <a:pt x="88" y="70"/>
                        </a:lnTo>
                        <a:lnTo>
                          <a:pt x="112" y="66"/>
                        </a:lnTo>
                        <a:lnTo>
                          <a:pt x="138" y="60"/>
                        </a:lnTo>
                        <a:lnTo>
                          <a:pt x="138" y="60"/>
                        </a:lnTo>
                        <a:lnTo>
                          <a:pt x="150" y="60"/>
                        </a:lnTo>
                        <a:lnTo>
                          <a:pt x="160" y="60"/>
                        </a:lnTo>
                        <a:lnTo>
                          <a:pt x="166" y="62"/>
                        </a:lnTo>
                        <a:lnTo>
                          <a:pt x="170" y="66"/>
                        </a:lnTo>
                        <a:lnTo>
                          <a:pt x="180" y="78"/>
                        </a:lnTo>
                        <a:lnTo>
                          <a:pt x="186" y="84"/>
                        </a:lnTo>
                        <a:lnTo>
                          <a:pt x="194" y="90"/>
                        </a:lnTo>
                        <a:lnTo>
                          <a:pt x="194" y="90"/>
                        </a:lnTo>
                        <a:lnTo>
                          <a:pt x="198" y="94"/>
                        </a:lnTo>
                        <a:lnTo>
                          <a:pt x="202" y="98"/>
                        </a:lnTo>
                        <a:lnTo>
                          <a:pt x="202" y="102"/>
                        </a:lnTo>
                        <a:lnTo>
                          <a:pt x="202" y="106"/>
                        </a:lnTo>
                        <a:lnTo>
                          <a:pt x="200" y="114"/>
                        </a:lnTo>
                        <a:lnTo>
                          <a:pt x="194" y="120"/>
                        </a:lnTo>
                        <a:lnTo>
                          <a:pt x="190" y="128"/>
                        </a:lnTo>
                        <a:lnTo>
                          <a:pt x="186" y="134"/>
                        </a:lnTo>
                        <a:lnTo>
                          <a:pt x="184" y="140"/>
                        </a:lnTo>
                        <a:lnTo>
                          <a:pt x="186" y="142"/>
                        </a:lnTo>
                        <a:lnTo>
                          <a:pt x="190" y="144"/>
                        </a:lnTo>
                        <a:lnTo>
                          <a:pt x="190" y="144"/>
                        </a:lnTo>
                        <a:lnTo>
                          <a:pt x="196" y="150"/>
                        </a:lnTo>
                        <a:lnTo>
                          <a:pt x="198" y="154"/>
                        </a:lnTo>
                        <a:lnTo>
                          <a:pt x="200" y="164"/>
                        </a:lnTo>
                        <a:lnTo>
                          <a:pt x="200" y="170"/>
                        </a:lnTo>
                        <a:lnTo>
                          <a:pt x="202" y="176"/>
                        </a:lnTo>
                        <a:lnTo>
                          <a:pt x="206" y="182"/>
                        </a:lnTo>
                        <a:lnTo>
                          <a:pt x="216" y="186"/>
                        </a:lnTo>
                        <a:lnTo>
                          <a:pt x="216" y="186"/>
                        </a:lnTo>
                        <a:lnTo>
                          <a:pt x="224" y="190"/>
                        </a:lnTo>
                        <a:lnTo>
                          <a:pt x="232" y="190"/>
                        </a:lnTo>
                        <a:lnTo>
                          <a:pt x="236" y="190"/>
                        </a:lnTo>
                        <a:lnTo>
                          <a:pt x="240" y="188"/>
                        </a:lnTo>
                        <a:lnTo>
                          <a:pt x="244" y="186"/>
                        </a:lnTo>
                        <a:lnTo>
                          <a:pt x="250" y="186"/>
                        </a:lnTo>
                        <a:lnTo>
                          <a:pt x="260" y="188"/>
                        </a:lnTo>
                        <a:lnTo>
                          <a:pt x="274" y="194"/>
                        </a:lnTo>
                        <a:lnTo>
                          <a:pt x="274" y="194"/>
                        </a:lnTo>
                        <a:lnTo>
                          <a:pt x="282" y="198"/>
                        </a:lnTo>
                        <a:lnTo>
                          <a:pt x="290" y="198"/>
                        </a:lnTo>
                        <a:lnTo>
                          <a:pt x="304" y="198"/>
                        </a:lnTo>
                        <a:lnTo>
                          <a:pt x="316" y="194"/>
                        </a:lnTo>
                        <a:lnTo>
                          <a:pt x="326" y="188"/>
                        </a:lnTo>
                        <a:lnTo>
                          <a:pt x="340" y="180"/>
                        </a:lnTo>
                        <a:lnTo>
                          <a:pt x="342" y="180"/>
                        </a:lnTo>
                        <a:lnTo>
                          <a:pt x="342" y="180"/>
                        </a:lnTo>
                        <a:lnTo>
                          <a:pt x="342" y="188"/>
                        </a:lnTo>
                        <a:lnTo>
                          <a:pt x="342" y="18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6" name="Freeform 6103"/>
                  <p:cNvSpPr>
                    <a:spLocks/>
                  </p:cNvSpPr>
                  <p:nvPr/>
                </p:nvSpPr>
                <p:spPr bwMode="auto">
                  <a:xfrm>
                    <a:off x="1936750" y="1119823"/>
                    <a:ext cx="81280" cy="49530"/>
                  </a:xfrm>
                  <a:custGeom>
                    <a:avLst/>
                    <a:gdLst/>
                    <a:ahLst/>
                    <a:cxnLst>
                      <a:cxn ang="0">
                        <a:pos x="94" y="78"/>
                      </a:cxn>
                      <a:cxn ang="0">
                        <a:pos x="94" y="78"/>
                      </a:cxn>
                      <a:cxn ang="0">
                        <a:pos x="110" y="76"/>
                      </a:cxn>
                      <a:cxn ang="0">
                        <a:pos x="120" y="72"/>
                      </a:cxn>
                      <a:cxn ang="0">
                        <a:pos x="126" y="66"/>
                      </a:cxn>
                      <a:cxn ang="0">
                        <a:pos x="128" y="58"/>
                      </a:cxn>
                      <a:cxn ang="0">
                        <a:pos x="126" y="48"/>
                      </a:cxn>
                      <a:cxn ang="0">
                        <a:pos x="120" y="38"/>
                      </a:cxn>
                      <a:cxn ang="0">
                        <a:pos x="114" y="28"/>
                      </a:cxn>
                      <a:cxn ang="0">
                        <a:pos x="104" y="16"/>
                      </a:cxn>
                      <a:cxn ang="0">
                        <a:pos x="104" y="16"/>
                      </a:cxn>
                      <a:cxn ang="0">
                        <a:pos x="92" y="8"/>
                      </a:cxn>
                      <a:cxn ang="0">
                        <a:pos x="80" y="2"/>
                      </a:cxn>
                      <a:cxn ang="0">
                        <a:pos x="68" y="0"/>
                      </a:cxn>
                      <a:cxn ang="0">
                        <a:pos x="58" y="0"/>
                      </a:cxn>
                      <a:cxn ang="0">
                        <a:pos x="46" y="2"/>
                      </a:cxn>
                      <a:cxn ang="0">
                        <a:pos x="34" y="8"/>
                      </a:cxn>
                      <a:cxn ang="0">
                        <a:pos x="24" y="14"/>
                      </a:cxn>
                      <a:cxn ang="0">
                        <a:pos x="16" y="24"/>
                      </a:cxn>
                      <a:cxn ang="0">
                        <a:pos x="16" y="24"/>
                      </a:cxn>
                      <a:cxn ang="0">
                        <a:pos x="6" y="36"/>
                      </a:cxn>
                      <a:cxn ang="0">
                        <a:pos x="2" y="42"/>
                      </a:cxn>
                      <a:cxn ang="0">
                        <a:pos x="0" y="48"/>
                      </a:cxn>
                      <a:cxn ang="0">
                        <a:pos x="0" y="52"/>
                      </a:cxn>
                      <a:cxn ang="0">
                        <a:pos x="4" y="56"/>
                      </a:cxn>
                      <a:cxn ang="0">
                        <a:pos x="10" y="58"/>
                      </a:cxn>
                      <a:cxn ang="0">
                        <a:pos x="22" y="60"/>
                      </a:cxn>
                      <a:cxn ang="0">
                        <a:pos x="22" y="60"/>
                      </a:cxn>
                      <a:cxn ang="0">
                        <a:pos x="32" y="62"/>
                      </a:cxn>
                      <a:cxn ang="0">
                        <a:pos x="40" y="64"/>
                      </a:cxn>
                      <a:cxn ang="0">
                        <a:pos x="54" y="70"/>
                      </a:cxn>
                      <a:cxn ang="0">
                        <a:pos x="68" y="76"/>
                      </a:cxn>
                      <a:cxn ang="0">
                        <a:pos x="80" y="76"/>
                      </a:cxn>
                      <a:cxn ang="0">
                        <a:pos x="94" y="78"/>
                      </a:cxn>
                      <a:cxn ang="0">
                        <a:pos x="94" y="78"/>
                      </a:cxn>
                    </a:cxnLst>
                    <a:rect l="0" t="0" r="r" b="b"/>
                    <a:pathLst>
                      <a:path w="128" h="78">
                        <a:moveTo>
                          <a:pt x="94" y="78"/>
                        </a:moveTo>
                        <a:lnTo>
                          <a:pt x="94" y="78"/>
                        </a:lnTo>
                        <a:lnTo>
                          <a:pt x="110" y="76"/>
                        </a:lnTo>
                        <a:lnTo>
                          <a:pt x="120" y="72"/>
                        </a:lnTo>
                        <a:lnTo>
                          <a:pt x="126" y="66"/>
                        </a:lnTo>
                        <a:lnTo>
                          <a:pt x="128" y="58"/>
                        </a:lnTo>
                        <a:lnTo>
                          <a:pt x="126" y="48"/>
                        </a:lnTo>
                        <a:lnTo>
                          <a:pt x="120" y="38"/>
                        </a:lnTo>
                        <a:lnTo>
                          <a:pt x="114" y="28"/>
                        </a:lnTo>
                        <a:lnTo>
                          <a:pt x="104" y="16"/>
                        </a:lnTo>
                        <a:lnTo>
                          <a:pt x="104" y="16"/>
                        </a:lnTo>
                        <a:lnTo>
                          <a:pt x="92" y="8"/>
                        </a:lnTo>
                        <a:lnTo>
                          <a:pt x="80" y="2"/>
                        </a:lnTo>
                        <a:lnTo>
                          <a:pt x="68" y="0"/>
                        </a:lnTo>
                        <a:lnTo>
                          <a:pt x="58" y="0"/>
                        </a:lnTo>
                        <a:lnTo>
                          <a:pt x="46" y="2"/>
                        </a:lnTo>
                        <a:lnTo>
                          <a:pt x="34" y="8"/>
                        </a:lnTo>
                        <a:lnTo>
                          <a:pt x="24" y="14"/>
                        </a:lnTo>
                        <a:lnTo>
                          <a:pt x="16" y="24"/>
                        </a:lnTo>
                        <a:lnTo>
                          <a:pt x="16" y="24"/>
                        </a:lnTo>
                        <a:lnTo>
                          <a:pt x="6" y="36"/>
                        </a:lnTo>
                        <a:lnTo>
                          <a:pt x="2" y="42"/>
                        </a:lnTo>
                        <a:lnTo>
                          <a:pt x="0" y="48"/>
                        </a:lnTo>
                        <a:lnTo>
                          <a:pt x="0" y="52"/>
                        </a:lnTo>
                        <a:lnTo>
                          <a:pt x="4" y="56"/>
                        </a:lnTo>
                        <a:lnTo>
                          <a:pt x="10" y="58"/>
                        </a:lnTo>
                        <a:lnTo>
                          <a:pt x="22" y="60"/>
                        </a:lnTo>
                        <a:lnTo>
                          <a:pt x="22" y="60"/>
                        </a:lnTo>
                        <a:lnTo>
                          <a:pt x="32" y="62"/>
                        </a:lnTo>
                        <a:lnTo>
                          <a:pt x="40" y="64"/>
                        </a:lnTo>
                        <a:lnTo>
                          <a:pt x="54" y="70"/>
                        </a:lnTo>
                        <a:lnTo>
                          <a:pt x="68" y="76"/>
                        </a:lnTo>
                        <a:lnTo>
                          <a:pt x="80" y="76"/>
                        </a:lnTo>
                        <a:lnTo>
                          <a:pt x="94" y="78"/>
                        </a:lnTo>
                        <a:lnTo>
                          <a:pt x="94" y="7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7" name="Freeform 6104"/>
                  <p:cNvSpPr>
                    <a:spLocks/>
                  </p:cNvSpPr>
                  <p:nvPr/>
                </p:nvSpPr>
                <p:spPr bwMode="auto">
                  <a:xfrm>
                    <a:off x="1940560" y="1010603"/>
                    <a:ext cx="80010" cy="19050"/>
                  </a:xfrm>
                  <a:custGeom>
                    <a:avLst/>
                    <a:gdLst/>
                    <a:ahLst/>
                    <a:cxnLst>
                      <a:cxn ang="0">
                        <a:pos x="92" y="28"/>
                      </a:cxn>
                      <a:cxn ang="0">
                        <a:pos x="92" y="28"/>
                      </a:cxn>
                      <a:cxn ang="0">
                        <a:pos x="108" y="28"/>
                      </a:cxn>
                      <a:cxn ang="0">
                        <a:pos x="120" y="26"/>
                      </a:cxn>
                      <a:cxn ang="0">
                        <a:pos x="124" y="22"/>
                      </a:cxn>
                      <a:cxn ang="0">
                        <a:pos x="126" y="20"/>
                      </a:cxn>
                      <a:cxn ang="0">
                        <a:pos x="126" y="16"/>
                      </a:cxn>
                      <a:cxn ang="0">
                        <a:pos x="122" y="12"/>
                      </a:cxn>
                      <a:cxn ang="0">
                        <a:pos x="112" y="8"/>
                      </a:cxn>
                      <a:cxn ang="0">
                        <a:pos x="100" y="4"/>
                      </a:cxn>
                      <a:cxn ang="0">
                        <a:pos x="82" y="2"/>
                      </a:cxn>
                      <a:cxn ang="0">
                        <a:pos x="82" y="2"/>
                      </a:cxn>
                      <a:cxn ang="0">
                        <a:pos x="48" y="0"/>
                      </a:cxn>
                      <a:cxn ang="0">
                        <a:pos x="22" y="4"/>
                      </a:cxn>
                      <a:cxn ang="0">
                        <a:pos x="14" y="6"/>
                      </a:cxn>
                      <a:cxn ang="0">
                        <a:pos x="6" y="8"/>
                      </a:cxn>
                      <a:cxn ang="0">
                        <a:pos x="2" y="12"/>
                      </a:cxn>
                      <a:cxn ang="0">
                        <a:pos x="0" y="18"/>
                      </a:cxn>
                      <a:cxn ang="0">
                        <a:pos x="0" y="18"/>
                      </a:cxn>
                      <a:cxn ang="0">
                        <a:pos x="2" y="24"/>
                      </a:cxn>
                      <a:cxn ang="0">
                        <a:pos x="6" y="26"/>
                      </a:cxn>
                      <a:cxn ang="0">
                        <a:pos x="16" y="28"/>
                      </a:cxn>
                      <a:cxn ang="0">
                        <a:pos x="26" y="30"/>
                      </a:cxn>
                      <a:cxn ang="0">
                        <a:pos x="56" y="28"/>
                      </a:cxn>
                      <a:cxn ang="0">
                        <a:pos x="92" y="28"/>
                      </a:cxn>
                      <a:cxn ang="0">
                        <a:pos x="92" y="28"/>
                      </a:cxn>
                    </a:cxnLst>
                    <a:rect l="0" t="0" r="r" b="b"/>
                    <a:pathLst>
                      <a:path w="126" h="30">
                        <a:moveTo>
                          <a:pt x="92" y="28"/>
                        </a:moveTo>
                        <a:lnTo>
                          <a:pt x="92" y="28"/>
                        </a:lnTo>
                        <a:lnTo>
                          <a:pt x="108" y="28"/>
                        </a:lnTo>
                        <a:lnTo>
                          <a:pt x="120" y="26"/>
                        </a:lnTo>
                        <a:lnTo>
                          <a:pt x="124" y="22"/>
                        </a:lnTo>
                        <a:lnTo>
                          <a:pt x="126" y="20"/>
                        </a:lnTo>
                        <a:lnTo>
                          <a:pt x="126" y="16"/>
                        </a:lnTo>
                        <a:lnTo>
                          <a:pt x="122" y="12"/>
                        </a:lnTo>
                        <a:lnTo>
                          <a:pt x="112" y="8"/>
                        </a:lnTo>
                        <a:lnTo>
                          <a:pt x="100" y="4"/>
                        </a:lnTo>
                        <a:lnTo>
                          <a:pt x="82" y="2"/>
                        </a:lnTo>
                        <a:lnTo>
                          <a:pt x="82" y="2"/>
                        </a:lnTo>
                        <a:lnTo>
                          <a:pt x="48" y="0"/>
                        </a:lnTo>
                        <a:lnTo>
                          <a:pt x="22" y="4"/>
                        </a:lnTo>
                        <a:lnTo>
                          <a:pt x="14" y="6"/>
                        </a:lnTo>
                        <a:lnTo>
                          <a:pt x="6" y="8"/>
                        </a:lnTo>
                        <a:lnTo>
                          <a:pt x="2" y="12"/>
                        </a:lnTo>
                        <a:lnTo>
                          <a:pt x="0" y="18"/>
                        </a:lnTo>
                        <a:lnTo>
                          <a:pt x="0" y="18"/>
                        </a:lnTo>
                        <a:lnTo>
                          <a:pt x="2" y="24"/>
                        </a:lnTo>
                        <a:lnTo>
                          <a:pt x="6" y="26"/>
                        </a:lnTo>
                        <a:lnTo>
                          <a:pt x="16" y="28"/>
                        </a:lnTo>
                        <a:lnTo>
                          <a:pt x="26" y="30"/>
                        </a:lnTo>
                        <a:lnTo>
                          <a:pt x="56" y="28"/>
                        </a:lnTo>
                        <a:lnTo>
                          <a:pt x="92" y="28"/>
                        </a:lnTo>
                        <a:lnTo>
                          <a:pt x="92" y="2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8" name="Freeform 6105"/>
                  <p:cNvSpPr>
                    <a:spLocks/>
                  </p:cNvSpPr>
                  <p:nvPr/>
                </p:nvSpPr>
                <p:spPr bwMode="auto">
                  <a:xfrm>
                    <a:off x="2194560" y="944563"/>
                    <a:ext cx="34290" cy="12700"/>
                  </a:xfrm>
                  <a:custGeom>
                    <a:avLst/>
                    <a:gdLst/>
                    <a:ahLst/>
                    <a:cxnLst>
                      <a:cxn ang="0">
                        <a:pos x="54" y="4"/>
                      </a:cxn>
                      <a:cxn ang="0">
                        <a:pos x="54" y="4"/>
                      </a:cxn>
                      <a:cxn ang="0">
                        <a:pos x="54" y="2"/>
                      </a:cxn>
                      <a:cxn ang="0">
                        <a:pos x="50" y="0"/>
                      </a:cxn>
                      <a:cxn ang="0">
                        <a:pos x="36" y="0"/>
                      </a:cxn>
                      <a:cxn ang="0">
                        <a:pos x="18" y="6"/>
                      </a:cxn>
                      <a:cxn ang="0">
                        <a:pos x="8" y="10"/>
                      </a:cxn>
                      <a:cxn ang="0">
                        <a:pos x="2" y="14"/>
                      </a:cxn>
                      <a:cxn ang="0">
                        <a:pos x="2" y="14"/>
                      </a:cxn>
                      <a:cxn ang="0">
                        <a:pos x="0" y="18"/>
                      </a:cxn>
                      <a:cxn ang="0">
                        <a:pos x="4" y="20"/>
                      </a:cxn>
                      <a:cxn ang="0">
                        <a:pos x="20" y="18"/>
                      </a:cxn>
                      <a:cxn ang="0">
                        <a:pos x="42" y="12"/>
                      </a:cxn>
                      <a:cxn ang="0">
                        <a:pos x="50" y="8"/>
                      </a:cxn>
                      <a:cxn ang="0">
                        <a:pos x="54" y="4"/>
                      </a:cxn>
                      <a:cxn ang="0">
                        <a:pos x="54" y="4"/>
                      </a:cxn>
                    </a:cxnLst>
                    <a:rect l="0" t="0" r="r" b="b"/>
                    <a:pathLst>
                      <a:path w="54" h="20">
                        <a:moveTo>
                          <a:pt x="54" y="4"/>
                        </a:moveTo>
                        <a:lnTo>
                          <a:pt x="54" y="4"/>
                        </a:lnTo>
                        <a:lnTo>
                          <a:pt x="54" y="2"/>
                        </a:lnTo>
                        <a:lnTo>
                          <a:pt x="50" y="0"/>
                        </a:lnTo>
                        <a:lnTo>
                          <a:pt x="36" y="0"/>
                        </a:lnTo>
                        <a:lnTo>
                          <a:pt x="18" y="6"/>
                        </a:lnTo>
                        <a:lnTo>
                          <a:pt x="8" y="10"/>
                        </a:lnTo>
                        <a:lnTo>
                          <a:pt x="2" y="14"/>
                        </a:lnTo>
                        <a:lnTo>
                          <a:pt x="2" y="14"/>
                        </a:lnTo>
                        <a:lnTo>
                          <a:pt x="0" y="18"/>
                        </a:lnTo>
                        <a:lnTo>
                          <a:pt x="4" y="20"/>
                        </a:lnTo>
                        <a:lnTo>
                          <a:pt x="20" y="18"/>
                        </a:lnTo>
                        <a:lnTo>
                          <a:pt x="42" y="12"/>
                        </a:lnTo>
                        <a:lnTo>
                          <a:pt x="50" y="8"/>
                        </a:lnTo>
                        <a:lnTo>
                          <a:pt x="54" y="4"/>
                        </a:lnTo>
                        <a:lnTo>
                          <a:pt x="54"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39" name="Freeform 6106"/>
                  <p:cNvSpPr>
                    <a:spLocks/>
                  </p:cNvSpPr>
                  <p:nvPr/>
                </p:nvSpPr>
                <p:spPr bwMode="auto">
                  <a:xfrm>
                    <a:off x="2057400" y="727393"/>
                    <a:ext cx="784860" cy="367030"/>
                  </a:xfrm>
                  <a:custGeom>
                    <a:avLst/>
                    <a:gdLst/>
                    <a:ahLst/>
                    <a:cxnLst>
                      <a:cxn ang="0">
                        <a:pos x="68" y="162"/>
                      </a:cxn>
                      <a:cxn ang="0">
                        <a:pos x="122" y="204"/>
                      </a:cxn>
                      <a:cxn ang="0">
                        <a:pos x="246" y="182"/>
                      </a:cxn>
                      <a:cxn ang="0">
                        <a:pos x="202" y="210"/>
                      </a:cxn>
                      <a:cxn ang="0">
                        <a:pos x="334" y="210"/>
                      </a:cxn>
                      <a:cxn ang="0">
                        <a:pos x="494" y="186"/>
                      </a:cxn>
                      <a:cxn ang="0">
                        <a:pos x="540" y="190"/>
                      </a:cxn>
                      <a:cxn ang="0">
                        <a:pos x="450" y="222"/>
                      </a:cxn>
                      <a:cxn ang="0">
                        <a:pos x="402" y="274"/>
                      </a:cxn>
                      <a:cxn ang="0">
                        <a:pos x="402" y="298"/>
                      </a:cxn>
                      <a:cxn ang="0">
                        <a:pos x="246" y="240"/>
                      </a:cxn>
                      <a:cxn ang="0">
                        <a:pos x="226" y="284"/>
                      </a:cxn>
                      <a:cxn ang="0">
                        <a:pos x="296" y="336"/>
                      </a:cxn>
                      <a:cxn ang="0">
                        <a:pos x="336" y="356"/>
                      </a:cxn>
                      <a:cxn ang="0">
                        <a:pos x="298" y="364"/>
                      </a:cxn>
                      <a:cxn ang="0">
                        <a:pos x="168" y="410"/>
                      </a:cxn>
                      <a:cxn ang="0">
                        <a:pos x="226" y="422"/>
                      </a:cxn>
                      <a:cxn ang="0">
                        <a:pos x="256" y="440"/>
                      </a:cxn>
                      <a:cxn ang="0">
                        <a:pos x="330" y="460"/>
                      </a:cxn>
                      <a:cxn ang="0">
                        <a:pos x="342" y="464"/>
                      </a:cxn>
                      <a:cxn ang="0">
                        <a:pos x="238" y="460"/>
                      </a:cxn>
                      <a:cxn ang="0">
                        <a:pos x="140" y="450"/>
                      </a:cxn>
                      <a:cxn ang="0">
                        <a:pos x="160" y="502"/>
                      </a:cxn>
                      <a:cxn ang="0">
                        <a:pos x="92" y="546"/>
                      </a:cxn>
                      <a:cxn ang="0">
                        <a:pos x="146" y="562"/>
                      </a:cxn>
                      <a:cxn ang="0">
                        <a:pos x="244" y="562"/>
                      </a:cxn>
                      <a:cxn ang="0">
                        <a:pos x="322" y="552"/>
                      </a:cxn>
                      <a:cxn ang="0">
                        <a:pos x="438" y="548"/>
                      </a:cxn>
                      <a:cxn ang="0">
                        <a:pos x="462" y="578"/>
                      </a:cxn>
                      <a:cxn ang="0">
                        <a:pos x="560" y="538"/>
                      </a:cxn>
                      <a:cxn ang="0">
                        <a:pos x="518" y="514"/>
                      </a:cxn>
                      <a:cxn ang="0">
                        <a:pos x="550" y="472"/>
                      </a:cxn>
                      <a:cxn ang="0">
                        <a:pos x="550" y="432"/>
                      </a:cxn>
                      <a:cxn ang="0">
                        <a:pos x="668" y="402"/>
                      </a:cxn>
                      <a:cxn ang="0">
                        <a:pos x="684" y="372"/>
                      </a:cxn>
                      <a:cxn ang="0">
                        <a:pos x="686" y="348"/>
                      </a:cxn>
                      <a:cxn ang="0">
                        <a:pos x="658" y="326"/>
                      </a:cxn>
                      <a:cxn ang="0">
                        <a:pos x="588" y="318"/>
                      </a:cxn>
                      <a:cxn ang="0">
                        <a:pos x="752" y="284"/>
                      </a:cxn>
                      <a:cxn ang="0">
                        <a:pos x="832" y="278"/>
                      </a:cxn>
                      <a:cxn ang="0">
                        <a:pos x="1076" y="154"/>
                      </a:cxn>
                      <a:cxn ang="0">
                        <a:pos x="1000" y="142"/>
                      </a:cxn>
                      <a:cxn ang="0">
                        <a:pos x="1232" y="76"/>
                      </a:cxn>
                      <a:cxn ang="0">
                        <a:pos x="1168" y="54"/>
                      </a:cxn>
                      <a:cxn ang="0">
                        <a:pos x="1094" y="20"/>
                      </a:cxn>
                      <a:cxn ang="0">
                        <a:pos x="962" y="40"/>
                      </a:cxn>
                      <a:cxn ang="0">
                        <a:pos x="1006" y="20"/>
                      </a:cxn>
                      <a:cxn ang="0">
                        <a:pos x="858" y="2"/>
                      </a:cxn>
                      <a:cxn ang="0">
                        <a:pos x="690" y="10"/>
                      </a:cxn>
                      <a:cxn ang="0">
                        <a:pos x="500" y="14"/>
                      </a:cxn>
                      <a:cxn ang="0">
                        <a:pos x="412" y="24"/>
                      </a:cxn>
                      <a:cxn ang="0">
                        <a:pos x="392" y="42"/>
                      </a:cxn>
                      <a:cxn ang="0">
                        <a:pos x="340" y="70"/>
                      </a:cxn>
                      <a:cxn ang="0">
                        <a:pos x="264" y="52"/>
                      </a:cxn>
                      <a:cxn ang="0">
                        <a:pos x="224" y="76"/>
                      </a:cxn>
                      <a:cxn ang="0">
                        <a:pos x="248" y="98"/>
                      </a:cxn>
                      <a:cxn ang="0">
                        <a:pos x="130" y="92"/>
                      </a:cxn>
                      <a:cxn ang="0">
                        <a:pos x="50" y="104"/>
                      </a:cxn>
                      <a:cxn ang="0">
                        <a:pos x="12" y="144"/>
                      </a:cxn>
                    </a:cxnLst>
                    <a:rect l="0" t="0" r="r" b="b"/>
                    <a:pathLst>
                      <a:path w="1236" h="578">
                        <a:moveTo>
                          <a:pt x="44" y="148"/>
                        </a:moveTo>
                        <a:lnTo>
                          <a:pt x="44" y="148"/>
                        </a:lnTo>
                        <a:lnTo>
                          <a:pt x="50" y="150"/>
                        </a:lnTo>
                        <a:lnTo>
                          <a:pt x="58" y="152"/>
                        </a:lnTo>
                        <a:lnTo>
                          <a:pt x="74" y="150"/>
                        </a:lnTo>
                        <a:lnTo>
                          <a:pt x="80" y="150"/>
                        </a:lnTo>
                        <a:lnTo>
                          <a:pt x="80" y="152"/>
                        </a:lnTo>
                        <a:lnTo>
                          <a:pt x="74" y="156"/>
                        </a:lnTo>
                        <a:lnTo>
                          <a:pt x="74" y="156"/>
                        </a:lnTo>
                        <a:lnTo>
                          <a:pt x="68" y="162"/>
                        </a:lnTo>
                        <a:lnTo>
                          <a:pt x="62" y="168"/>
                        </a:lnTo>
                        <a:lnTo>
                          <a:pt x="62" y="172"/>
                        </a:lnTo>
                        <a:lnTo>
                          <a:pt x="62" y="178"/>
                        </a:lnTo>
                        <a:lnTo>
                          <a:pt x="66" y="182"/>
                        </a:lnTo>
                        <a:lnTo>
                          <a:pt x="72" y="186"/>
                        </a:lnTo>
                        <a:lnTo>
                          <a:pt x="82" y="190"/>
                        </a:lnTo>
                        <a:lnTo>
                          <a:pt x="94" y="194"/>
                        </a:lnTo>
                        <a:lnTo>
                          <a:pt x="94" y="194"/>
                        </a:lnTo>
                        <a:lnTo>
                          <a:pt x="108" y="200"/>
                        </a:lnTo>
                        <a:lnTo>
                          <a:pt x="122" y="204"/>
                        </a:lnTo>
                        <a:lnTo>
                          <a:pt x="144" y="212"/>
                        </a:lnTo>
                        <a:lnTo>
                          <a:pt x="156" y="216"/>
                        </a:lnTo>
                        <a:lnTo>
                          <a:pt x="166" y="214"/>
                        </a:lnTo>
                        <a:lnTo>
                          <a:pt x="178" y="212"/>
                        </a:lnTo>
                        <a:lnTo>
                          <a:pt x="192" y="204"/>
                        </a:lnTo>
                        <a:lnTo>
                          <a:pt x="192" y="204"/>
                        </a:lnTo>
                        <a:lnTo>
                          <a:pt x="206" y="194"/>
                        </a:lnTo>
                        <a:lnTo>
                          <a:pt x="222" y="188"/>
                        </a:lnTo>
                        <a:lnTo>
                          <a:pt x="234" y="184"/>
                        </a:lnTo>
                        <a:lnTo>
                          <a:pt x="246" y="182"/>
                        </a:lnTo>
                        <a:lnTo>
                          <a:pt x="254" y="182"/>
                        </a:lnTo>
                        <a:lnTo>
                          <a:pt x="258" y="182"/>
                        </a:lnTo>
                        <a:lnTo>
                          <a:pt x="256" y="184"/>
                        </a:lnTo>
                        <a:lnTo>
                          <a:pt x="250" y="186"/>
                        </a:lnTo>
                        <a:lnTo>
                          <a:pt x="250" y="186"/>
                        </a:lnTo>
                        <a:lnTo>
                          <a:pt x="224" y="194"/>
                        </a:lnTo>
                        <a:lnTo>
                          <a:pt x="212" y="200"/>
                        </a:lnTo>
                        <a:lnTo>
                          <a:pt x="204" y="206"/>
                        </a:lnTo>
                        <a:lnTo>
                          <a:pt x="202" y="208"/>
                        </a:lnTo>
                        <a:lnTo>
                          <a:pt x="202" y="210"/>
                        </a:lnTo>
                        <a:lnTo>
                          <a:pt x="204" y="214"/>
                        </a:lnTo>
                        <a:lnTo>
                          <a:pt x="208" y="216"/>
                        </a:lnTo>
                        <a:lnTo>
                          <a:pt x="224" y="220"/>
                        </a:lnTo>
                        <a:lnTo>
                          <a:pt x="254" y="224"/>
                        </a:lnTo>
                        <a:lnTo>
                          <a:pt x="254" y="224"/>
                        </a:lnTo>
                        <a:lnTo>
                          <a:pt x="284" y="224"/>
                        </a:lnTo>
                        <a:lnTo>
                          <a:pt x="304" y="224"/>
                        </a:lnTo>
                        <a:lnTo>
                          <a:pt x="318" y="220"/>
                        </a:lnTo>
                        <a:lnTo>
                          <a:pt x="326" y="216"/>
                        </a:lnTo>
                        <a:lnTo>
                          <a:pt x="334" y="210"/>
                        </a:lnTo>
                        <a:lnTo>
                          <a:pt x="338" y="210"/>
                        </a:lnTo>
                        <a:lnTo>
                          <a:pt x="346" y="214"/>
                        </a:lnTo>
                        <a:lnTo>
                          <a:pt x="346" y="214"/>
                        </a:lnTo>
                        <a:lnTo>
                          <a:pt x="358" y="218"/>
                        </a:lnTo>
                        <a:lnTo>
                          <a:pt x="374" y="218"/>
                        </a:lnTo>
                        <a:lnTo>
                          <a:pt x="394" y="216"/>
                        </a:lnTo>
                        <a:lnTo>
                          <a:pt x="418" y="212"/>
                        </a:lnTo>
                        <a:lnTo>
                          <a:pt x="442" y="206"/>
                        </a:lnTo>
                        <a:lnTo>
                          <a:pt x="468" y="196"/>
                        </a:lnTo>
                        <a:lnTo>
                          <a:pt x="494" y="186"/>
                        </a:lnTo>
                        <a:lnTo>
                          <a:pt x="520" y="174"/>
                        </a:lnTo>
                        <a:lnTo>
                          <a:pt x="520" y="174"/>
                        </a:lnTo>
                        <a:lnTo>
                          <a:pt x="546" y="160"/>
                        </a:lnTo>
                        <a:lnTo>
                          <a:pt x="544" y="162"/>
                        </a:lnTo>
                        <a:lnTo>
                          <a:pt x="540" y="168"/>
                        </a:lnTo>
                        <a:lnTo>
                          <a:pt x="536" y="176"/>
                        </a:lnTo>
                        <a:lnTo>
                          <a:pt x="534" y="180"/>
                        </a:lnTo>
                        <a:lnTo>
                          <a:pt x="534" y="184"/>
                        </a:lnTo>
                        <a:lnTo>
                          <a:pt x="536" y="186"/>
                        </a:lnTo>
                        <a:lnTo>
                          <a:pt x="540" y="190"/>
                        </a:lnTo>
                        <a:lnTo>
                          <a:pt x="548" y="192"/>
                        </a:lnTo>
                        <a:lnTo>
                          <a:pt x="558" y="192"/>
                        </a:lnTo>
                        <a:lnTo>
                          <a:pt x="558" y="192"/>
                        </a:lnTo>
                        <a:lnTo>
                          <a:pt x="576" y="194"/>
                        </a:lnTo>
                        <a:lnTo>
                          <a:pt x="584" y="196"/>
                        </a:lnTo>
                        <a:lnTo>
                          <a:pt x="584" y="196"/>
                        </a:lnTo>
                        <a:lnTo>
                          <a:pt x="580" y="198"/>
                        </a:lnTo>
                        <a:lnTo>
                          <a:pt x="570" y="200"/>
                        </a:lnTo>
                        <a:lnTo>
                          <a:pt x="524" y="208"/>
                        </a:lnTo>
                        <a:lnTo>
                          <a:pt x="450" y="222"/>
                        </a:lnTo>
                        <a:lnTo>
                          <a:pt x="450" y="222"/>
                        </a:lnTo>
                        <a:lnTo>
                          <a:pt x="388" y="236"/>
                        </a:lnTo>
                        <a:lnTo>
                          <a:pt x="370" y="238"/>
                        </a:lnTo>
                        <a:lnTo>
                          <a:pt x="360" y="242"/>
                        </a:lnTo>
                        <a:lnTo>
                          <a:pt x="358" y="242"/>
                        </a:lnTo>
                        <a:lnTo>
                          <a:pt x="358" y="244"/>
                        </a:lnTo>
                        <a:lnTo>
                          <a:pt x="362" y="248"/>
                        </a:lnTo>
                        <a:lnTo>
                          <a:pt x="386" y="264"/>
                        </a:lnTo>
                        <a:lnTo>
                          <a:pt x="386" y="264"/>
                        </a:lnTo>
                        <a:lnTo>
                          <a:pt x="402" y="274"/>
                        </a:lnTo>
                        <a:lnTo>
                          <a:pt x="418" y="282"/>
                        </a:lnTo>
                        <a:lnTo>
                          <a:pt x="442" y="292"/>
                        </a:lnTo>
                        <a:lnTo>
                          <a:pt x="450" y="296"/>
                        </a:lnTo>
                        <a:lnTo>
                          <a:pt x="452" y="298"/>
                        </a:lnTo>
                        <a:lnTo>
                          <a:pt x="448" y="302"/>
                        </a:lnTo>
                        <a:lnTo>
                          <a:pt x="436" y="304"/>
                        </a:lnTo>
                        <a:lnTo>
                          <a:pt x="436" y="304"/>
                        </a:lnTo>
                        <a:lnTo>
                          <a:pt x="422" y="304"/>
                        </a:lnTo>
                        <a:lnTo>
                          <a:pt x="410" y="302"/>
                        </a:lnTo>
                        <a:lnTo>
                          <a:pt x="402" y="298"/>
                        </a:lnTo>
                        <a:lnTo>
                          <a:pt x="394" y="292"/>
                        </a:lnTo>
                        <a:lnTo>
                          <a:pt x="378" y="276"/>
                        </a:lnTo>
                        <a:lnTo>
                          <a:pt x="368" y="268"/>
                        </a:lnTo>
                        <a:lnTo>
                          <a:pt x="356" y="260"/>
                        </a:lnTo>
                        <a:lnTo>
                          <a:pt x="356" y="260"/>
                        </a:lnTo>
                        <a:lnTo>
                          <a:pt x="338" y="254"/>
                        </a:lnTo>
                        <a:lnTo>
                          <a:pt x="316" y="248"/>
                        </a:lnTo>
                        <a:lnTo>
                          <a:pt x="292" y="244"/>
                        </a:lnTo>
                        <a:lnTo>
                          <a:pt x="268" y="242"/>
                        </a:lnTo>
                        <a:lnTo>
                          <a:pt x="246" y="240"/>
                        </a:lnTo>
                        <a:lnTo>
                          <a:pt x="228" y="242"/>
                        </a:lnTo>
                        <a:lnTo>
                          <a:pt x="220" y="244"/>
                        </a:lnTo>
                        <a:lnTo>
                          <a:pt x="216" y="246"/>
                        </a:lnTo>
                        <a:lnTo>
                          <a:pt x="212" y="250"/>
                        </a:lnTo>
                        <a:lnTo>
                          <a:pt x="210" y="254"/>
                        </a:lnTo>
                        <a:lnTo>
                          <a:pt x="210" y="254"/>
                        </a:lnTo>
                        <a:lnTo>
                          <a:pt x="210" y="270"/>
                        </a:lnTo>
                        <a:lnTo>
                          <a:pt x="212" y="274"/>
                        </a:lnTo>
                        <a:lnTo>
                          <a:pt x="214" y="278"/>
                        </a:lnTo>
                        <a:lnTo>
                          <a:pt x="226" y="284"/>
                        </a:lnTo>
                        <a:lnTo>
                          <a:pt x="250" y="292"/>
                        </a:lnTo>
                        <a:lnTo>
                          <a:pt x="250" y="292"/>
                        </a:lnTo>
                        <a:lnTo>
                          <a:pt x="262" y="298"/>
                        </a:lnTo>
                        <a:lnTo>
                          <a:pt x="276" y="304"/>
                        </a:lnTo>
                        <a:lnTo>
                          <a:pt x="294" y="318"/>
                        </a:lnTo>
                        <a:lnTo>
                          <a:pt x="300" y="326"/>
                        </a:lnTo>
                        <a:lnTo>
                          <a:pt x="302" y="330"/>
                        </a:lnTo>
                        <a:lnTo>
                          <a:pt x="302" y="334"/>
                        </a:lnTo>
                        <a:lnTo>
                          <a:pt x="296" y="336"/>
                        </a:lnTo>
                        <a:lnTo>
                          <a:pt x="296" y="336"/>
                        </a:lnTo>
                        <a:lnTo>
                          <a:pt x="290" y="338"/>
                        </a:lnTo>
                        <a:lnTo>
                          <a:pt x="286" y="340"/>
                        </a:lnTo>
                        <a:lnTo>
                          <a:pt x="284" y="344"/>
                        </a:lnTo>
                        <a:lnTo>
                          <a:pt x="286" y="346"/>
                        </a:lnTo>
                        <a:lnTo>
                          <a:pt x="290" y="348"/>
                        </a:lnTo>
                        <a:lnTo>
                          <a:pt x="296" y="352"/>
                        </a:lnTo>
                        <a:lnTo>
                          <a:pt x="308" y="354"/>
                        </a:lnTo>
                        <a:lnTo>
                          <a:pt x="320" y="356"/>
                        </a:lnTo>
                        <a:lnTo>
                          <a:pt x="320" y="356"/>
                        </a:lnTo>
                        <a:lnTo>
                          <a:pt x="336" y="356"/>
                        </a:lnTo>
                        <a:lnTo>
                          <a:pt x="348" y="360"/>
                        </a:lnTo>
                        <a:lnTo>
                          <a:pt x="356" y="362"/>
                        </a:lnTo>
                        <a:lnTo>
                          <a:pt x="362" y="366"/>
                        </a:lnTo>
                        <a:lnTo>
                          <a:pt x="364" y="368"/>
                        </a:lnTo>
                        <a:lnTo>
                          <a:pt x="360" y="368"/>
                        </a:lnTo>
                        <a:lnTo>
                          <a:pt x="352" y="368"/>
                        </a:lnTo>
                        <a:lnTo>
                          <a:pt x="340" y="368"/>
                        </a:lnTo>
                        <a:lnTo>
                          <a:pt x="340" y="368"/>
                        </a:lnTo>
                        <a:lnTo>
                          <a:pt x="320" y="366"/>
                        </a:lnTo>
                        <a:lnTo>
                          <a:pt x="298" y="364"/>
                        </a:lnTo>
                        <a:lnTo>
                          <a:pt x="250" y="366"/>
                        </a:lnTo>
                        <a:lnTo>
                          <a:pt x="228" y="368"/>
                        </a:lnTo>
                        <a:lnTo>
                          <a:pt x="208" y="372"/>
                        </a:lnTo>
                        <a:lnTo>
                          <a:pt x="192" y="376"/>
                        </a:lnTo>
                        <a:lnTo>
                          <a:pt x="182" y="382"/>
                        </a:lnTo>
                        <a:lnTo>
                          <a:pt x="182" y="382"/>
                        </a:lnTo>
                        <a:lnTo>
                          <a:pt x="176" y="388"/>
                        </a:lnTo>
                        <a:lnTo>
                          <a:pt x="172" y="394"/>
                        </a:lnTo>
                        <a:lnTo>
                          <a:pt x="170" y="402"/>
                        </a:lnTo>
                        <a:lnTo>
                          <a:pt x="168" y="410"/>
                        </a:lnTo>
                        <a:lnTo>
                          <a:pt x="170" y="416"/>
                        </a:lnTo>
                        <a:lnTo>
                          <a:pt x="176" y="420"/>
                        </a:lnTo>
                        <a:lnTo>
                          <a:pt x="184" y="422"/>
                        </a:lnTo>
                        <a:lnTo>
                          <a:pt x="196" y="420"/>
                        </a:lnTo>
                        <a:lnTo>
                          <a:pt x="196" y="420"/>
                        </a:lnTo>
                        <a:lnTo>
                          <a:pt x="208" y="418"/>
                        </a:lnTo>
                        <a:lnTo>
                          <a:pt x="216" y="418"/>
                        </a:lnTo>
                        <a:lnTo>
                          <a:pt x="220" y="418"/>
                        </a:lnTo>
                        <a:lnTo>
                          <a:pt x="224" y="420"/>
                        </a:lnTo>
                        <a:lnTo>
                          <a:pt x="226" y="422"/>
                        </a:lnTo>
                        <a:lnTo>
                          <a:pt x="230" y="424"/>
                        </a:lnTo>
                        <a:lnTo>
                          <a:pt x="236" y="424"/>
                        </a:lnTo>
                        <a:lnTo>
                          <a:pt x="246" y="424"/>
                        </a:lnTo>
                        <a:lnTo>
                          <a:pt x="246" y="424"/>
                        </a:lnTo>
                        <a:lnTo>
                          <a:pt x="256" y="422"/>
                        </a:lnTo>
                        <a:lnTo>
                          <a:pt x="260" y="422"/>
                        </a:lnTo>
                        <a:lnTo>
                          <a:pt x="260" y="424"/>
                        </a:lnTo>
                        <a:lnTo>
                          <a:pt x="260" y="428"/>
                        </a:lnTo>
                        <a:lnTo>
                          <a:pt x="258" y="434"/>
                        </a:lnTo>
                        <a:lnTo>
                          <a:pt x="256" y="440"/>
                        </a:lnTo>
                        <a:lnTo>
                          <a:pt x="258" y="450"/>
                        </a:lnTo>
                        <a:lnTo>
                          <a:pt x="266" y="460"/>
                        </a:lnTo>
                        <a:lnTo>
                          <a:pt x="266" y="460"/>
                        </a:lnTo>
                        <a:lnTo>
                          <a:pt x="270" y="464"/>
                        </a:lnTo>
                        <a:lnTo>
                          <a:pt x="276" y="468"/>
                        </a:lnTo>
                        <a:lnTo>
                          <a:pt x="282" y="470"/>
                        </a:lnTo>
                        <a:lnTo>
                          <a:pt x="288" y="472"/>
                        </a:lnTo>
                        <a:lnTo>
                          <a:pt x="302" y="470"/>
                        </a:lnTo>
                        <a:lnTo>
                          <a:pt x="316" y="466"/>
                        </a:lnTo>
                        <a:lnTo>
                          <a:pt x="330" y="460"/>
                        </a:lnTo>
                        <a:lnTo>
                          <a:pt x="342" y="450"/>
                        </a:lnTo>
                        <a:lnTo>
                          <a:pt x="354" y="442"/>
                        </a:lnTo>
                        <a:lnTo>
                          <a:pt x="366" y="432"/>
                        </a:lnTo>
                        <a:lnTo>
                          <a:pt x="366" y="432"/>
                        </a:lnTo>
                        <a:lnTo>
                          <a:pt x="372" y="426"/>
                        </a:lnTo>
                        <a:lnTo>
                          <a:pt x="372" y="428"/>
                        </a:lnTo>
                        <a:lnTo>
                          <a:pt x="372" y="430"/>
                        </a:lnTo>
                        <a:lnTo>
                          <a:pt x="366" y="440"/>
                        </a:lnTo>
                        <a:lnTo>
                          <a:pt x="356" y="452"/>
                        </a:lnTo>
                        <a:lnTo>
                          <a:pt x="342" y="464"/>
                        </a:lnTo>
                        <a:lnTo>
                          <a:pt x="326" y="476"/>
                        </a:lnTo>
                        <a:lnTo>
                          <a:pt x="316" y="482"/>
                        </a:lnTo>
                        <a:lnTo>
                          <a:pt x="306" y="484"/>
                        </a:lnTo>
                        <a:lnTo>
                          <a:pt x="296" y="486"/>
                        </a:lnTo>
                        <a:lnTo>
                          <a:pt x="286" y="486"/>
                        </a:lnTo>
                        <a:lnTo>
                          <a:pt x="286" y="486"/>
                        </a:lnTo>
                        <a:lnTo>
                          <a:pt x="270" y="482"/>
                        </a:lnTo>
                        <a:lnTo>
                          <a:pt x="256" y="476"/>
                        </a:lnTo>
                        <a:lnTo>
                          <a:pt x="246" y="468"/>
                        </a:lnTo>
                        <a:lnTo>
                          <a:pt x="238" y="460"/>
                        </a:lnTo>
                        <a:lnTo>
                          <a:pt x="228" y="452"/>
                        </a:lnTo>
                        <a:lnTo>
                          <a:pt x="218" y="446"/>
                        </a:lnTo>
                        <a:lnTo>
                          <a:pt x="206" y="440"/>
                        </a:lnTo>
                        <a:lnTo>
                          <a:pt x="190" y="438"/>
                        </a:lnTo>
                        <a:lnTo>
                          <a:pt x="190" y="438"/>
                        </a:lnTo>
                        <a:lnTo>
                          <a:pt x="160" y="440"/>
                        </a:lnTo>
                        <a:lnTo>
                          <a:pt x="150" y="440"/>
                        </a:lnTo>
                        <a:lnTo>
                          <a:pt x="144" y="444"/>
                        </a:lnTo>
                        <a:lnTo>
                          <a:pt x="140" y="446"/>
                        </a:lnTo>
                        <a:lnTo>
                          <a:pt x="140" y="450"/>
                        </a:lnTo>
                        <a:lnTo>
                          <a:pt x="144" y="456"/>
                        </a:lnTo>
                        <a:lnTo>
                          <a:pt x="150" y="462"/>
                        </a:lnTo>
                        <a:lnTo>
                          <a:pt x="150" y="462"/>
                        </a:lnTo>
                        <a:lnTo>
                          <a:pt x="166" y="476"/>
                        </a:lnTo>
                        <a:lnTo>
                          <a:pt x="182" y="490"/>
                        </a:lnTo>
                        <a:lnTo>
                          <a:pt x="184" y="494"/>
                        </a:lnTo>
                        <a:lnTo>
                          <a:pt x="184" y="496"/>
                        </a:lnTo>
                        <a:lnTo>
                          <a:pt x="182" y="498"/>
                        </a:lnTo>
                        <a:lnTo>
                          <a:pt x="174" y="500"/>
                        </a:lnTo>
                        <a:lnTo>
                          <a:pt x="160" y="502"/>
                        </a:lnTo>
                        <a:lnTo>
                          <a:pt x="160" y="502"/>
                        </a:lnTo>
                        <a:lnTo>
                          <a:pt x="142" y="502"/>
                        </a:lnTo>
                        <a:lnTo>
                          <a:pt x="124" y="506"/>
                        </a:lnTo>
                        <a:lnTo>
                          <a:pt x="110" y="512"/>
                        </a:lnTo>
                        <a:lnTo>
                          <a:pt x="98" y="518"/>
                        </a:lnTo>
                        <a:lnTo>
                          <a:pt x="90" y="526"/>
                        </a:lnTo>
                        <a:lnTo>
                          <a:pt x="88" y="534"/>
                        </a:lnTo>
                        <a:lnTo>
                          <a:pt x="88" y="538"/>
                        </a:lnTo>
                        <a:lnTo>
                          <a:pt x="88" y="542"/>
                        </a:lnTo>
                        <a:lnTo>
                          <a:pt x="92" y="546"/>
                        </a:lnTo>
                        <a:lnTo>
                          <a:pt x="96" y="550"/>
                        </a:lnTo>
                        <a:lnTo>
                          <a:pt x="96" y="550"/>
                        </a:lnTo>
                        <a:lnTo>
                          <a:pt x="100" y="552"/>
                        </a:lnTo>
                        <a:lnTo>
                          <a:pt x="104" y="552"/>
                        </a:lnTo>
                        <a:lnTo>
                          <a:pt x="114" y="552"/>
                        </a:lnTo>
                        <a:lnTo>
                          <a:pt x="124" y="552"/>
                        </a:lnTo>
                        <a:lnTo>
                          <a:pt x="130" y="554"/>
                        </a:lnTo>
                        <a:lnTo>
                          <a:pt x="138" y="558"/>
                        </a:lnTo>
                        <a:lnTo>
                          <a:pt x="138" y="558"/>
                        </a:lnTo>
                        <a:lnTo>
                          <a:pt x="146" y="562"/>
                        </a:lnTo>
                        <a:lnTo>
                          <a:pt x="154" y="566"/>
                        </a:lnTo>
                        <a:lnTo>
                          <a:pt x="162" y="566"/>
                        </a:lnTo>
                        <a:lnTo>
                          <a:pt x="170" y="564"/>
                        </a:lnTo>
                        <a:lnTo>
                          <a:pt x="186" y="560"/>
                        </a:lnTo>
                        <a:lnTo>
                          <a:pt x="200" y="552"/>
                        </a:lnTo>
                        <a:lnTo>
                          <a:pt x="200" y="552"/>
                        </a:lnTo>
                        <a:lnTo>
                          <a:pt x="206" y="552"/>
                        </a:lnTo>
                        <a:lnTo>
                          <a:pt x="212" y="552"/>
                        </a:lnTo>
                        <a:lnTo>
                          <a:pt x="226" y="556"/>
                        </a:lnTo>
                        <a:lnTo>
                          <a:pt x="244" y="562"/>
                        </a:lnTo>
                        <a:lnTo>
                          <a:pt x="256" y="566"/>
                        </a:lnTo>
                        <a:lnTo>
                          <a:pt x="272" y="566"/>
                        </a:lnTo>
                        <a:lnTo>
                          <a:pt x="272" y="566"/>
                        </a:lnTo>
                        <a:lnTo>
                          <a:pt x="286" y="566"/>
                        </a:lnTo>
                        <a:lnTo>
                          <a:pt x="294" y="564"/>
                        </a:lnTo>
                        <a:lnTo>
                          <a:pt x="298" y="560"/>
                        </a:lnTo>
                        <a:lnTo>
                          <a:pt x="302" y="556"/>
                        </a:lnTo>
                        <a:lnTo>
                          <a:pt x="306" y="554"/>
                        </a:lnTo>
                        <a:lnTo>
                          <a:pt x="312" y="552"/>
                        </a:lnTo>
                        <a:lnTo>
                          <a:pt x="322" y="552"/>
                        </a:lnTo>
                        <a:lnTo>
                          <a:pt x="336" y="558"/>
                        </a:lnTo>
                        <a:lnTo>
                          <a:pt x="336" y="558"/>
                        </a:lnTo>
                        <a:lnTo>
                          <a:pt x="346" y="560"/>
                        </a:lnTo>
                        <a:lnTo>
                          <a:pt x="356" y="560"/>
                        </a:lnTo>
                        <a:lnTo>
                          <a:pt x="376" y="560"/>
                        </a:lnTo>
                        <a:lnTo>
                          <a:pt x="394" y="556"/>
                        </a:lnTo>
                        <a:lnTo>
                          <a:pt x="412" y="552"/>
                        </a:lnTo>
                        <a:lnTo>
                          <a:pt x="426" y="548"/>
                        </a:lnTo>
                        <a:lnTo>
                          <a:pt x="436" y="548"/>
                        </a:lnTo>
                        <a:lnTo>
                          <a:pt x="438" y="548"/>
                        </a:lnTo>
                        <a:lnTo>
                          <a:pt x="440" y="550"/>
                        </a:lnTo>
                        <a:lnTo>
                          <a:pt x="442" y="554"/>
                        </a:lnTo>
                        <a:lnTo>
                          <a:pt x="440" y="560"/>
                        </a:lnTo>
                        <a:lnTo>
                          <a:pt x="440" y="560"/>
                        </a:lnTo>
                        <a:lnTo>
                          <a:pt x="438" y="564"/>
                        </a:lnTo>
                        <a:lnTo>
                          <a:pt x="438" y="570"/>
                        </a:lnTo>
                        <a:lnTo>
                          <a:pt x="440" y="572"/>
                        </a:lnTo>
                        <a:lnTo>
                          <a:pt x="442" y="576"/>
                        </a:lnTo>
                        <a:lnTo>
                          <a:pt x="450" y="578"/>
                        </a:lnTo>
                        <a:lnTo>
                          <a:pt x="462" y="578"/>
                        </a:lnTo>
                        <a:lnTo>
                          <a:pt x="474" y="574"/>
                        </a:lnTo>
                        <a:lnTo>
                          <a:pt x="486" y="570"/>
                        </a:lnTo>
                        <a:lnTo>
                          <a:pt x="510" y="558"/>
                        </a:lnTo>
                        <a:lnTo>
                          <a:pt x="510" y="558"/>
                        </a:lnTo>
                        <a:lnTo>
                          <a:pt x="518" y="552"/>
                        </a:lnTo>
                        <a:lnTo>
                          <a:pt x="528" y="552"/>
                        </a:lnTo>
                        <a:lnTo>
                          <a:pt x="544" y="550"/>
                        </a:lnTo>
                        <a:lnTo>
                          <a:pt x="550" y="550"/>
                        </a:lnTo>
                        <a:lnTo>
                          <a:pt x="556" y="546"/>
                        </a:lnTo>
                        <a:lnTo>
                          <a:pt x="560" y="538"/>
                        </a:lnTo>
                        <a:lnTo>
                          <a:pt x="562" y="526"/>
                        </a:lnTo>
                        <a:lnTo>
                          <a:pt x="562" y="526"/>
                        </a:lnTo>
                        <a:lnTo>
                          <a:pt x="562" y="520"/>
                        </a:lnTo>
                        <a:lnTo>
                          <a:pt x="560" y="518"/>
                        </a:lnTo>
                        <a:lnTo>
                          <a:pt x="558" y="514"/>
                        </a:lnTo>
                        <a:lnTo>
                          <a:pt x="556" y="514"/>
                        </a:lnTo>
                        <a:lnTo>
                          <a:pt x="546" y="512"/>
                        </a:lnTo>
                        <a:lnTo>
                          <a:pt x="536" y="512"/>
                        </a:lnTo>
                        <a:lnTo>
                          <a:pt x="526" y="514"/>
                        </a:lnTo>
                        <a:lnTo>
                          <a:pt x="518" y="514"/>
                        </a:lnTo>
                        <a:lnTo>
                          <a:pt x="512" y="512"/>
                        </a:lnTo>
                        <a:lnTo>
                          <a:pt x="510" y="510"/>
                        </a:lnTo>
                        <a:lnTo>
                          <a:pt x="508" y="506"/>
                        </a:lnTo>
                        <a:lnTo>
                          <a:pt x="508" y="506"/>
                        </a:lnTo>
                        <a:lnTo>
                          <a:pt x="510" y="500"/>
                        </a:lnTo>
                        <a:lnTo>
                          <a:pt x="512" y="494"/>
                        </a:lnTo>
                        <a:lnTo>
                          <a:pt x="514" y="490"/>
                        </a:lnTo>
                        <a:lnTo>
                          <a:pt x="520" y="488"/>
                        </a:lnTo>
                        <a:lnTo>
                          <a:pt x="532" y="482"/>
                        </a:lnTo>
                        <a:lnTo>
                          <a:pt x="550" y="472"/>
                        </a:lnTo>
                        <a:lnTo>
                          <a:pt x="550" y="472"/>
                        </a:lnTo>
                        <a:lnTo>
                          <a:pt x="554" y="468"/>
                        </a:lnTo>
                        <a:lnTo>
                          <a:pt x="556" y="464"/>
                        </a:lnTo>
                        <a:lnTo>
                          <a:pt x="556" y="460"/>
                        </a:lnTo>
                        <a:lnTo>
                          <a:pt x="556" y="456"/>
                        </a:lnTo>
                        <a:lnTo>
                          <a:pt x="552" y="448"/>
                        </a:lnTo>
                        <a:lnTo>
                          <a:pt x="548" y="442"/>
                        </a:lnTo>
                        <a:lnTo>
                          <a:pt x="546" y="436"/>
                        </a:lnTo>
                        <a:lnTo>
                          <a:pt x="548" y="434"/>
                        </a:lnTo>
                        <a:lnTo>
                          <a:pt x="550" y="432"/>
                        </a:lnTo>
                        <a:lnTo>
                          <a:pt x="560" y="430"/>
                        </a:lnTo>
                        <a:lnTo>
                          <a:pt x="582" y="434"/>
                        </a:lnTo>
                        <a:lnTo>
                          <a:pt x="582" y="434"/>
                        </a:lnTo>
                        <a:lnTo>
                          <a:pt x="602" y="436"/>
                        </a:lnTo>
                        <a:lnTo>
                          <a:pt x="620" y="434"/>
                        </a:lnTo>
                        <a:lnTo>
                          <a:pt x="636" y="430"/>
                        </a:lnTo>
                        <a:lnTo>
                          <a:pt x="650" y="424"/>
                        </a:lnTo>
                        <a:lnTo>
                          <a:pt x="660" y="418"/>
                        </a:lnTo>
                        <a:lnTo>
                          <a:pt x="666" y="410"/>
                        </a:lnTo>
                        <a:lnTo>
                          <a:pt x="668" y="402"/>
                        </a:lnTo>
                        <a:lnTo>
                          <a:pt x="668" y="400"/>
                        </a:lnTo>
                        <a:lnTo>
                          <a:pt x="666" y="396"/>
                        </a:lnTo>
                        <a:lnTo>
                          <a:pt x="666" y="396"/>
                        </a:lnTo>
                        <a:lnTo>
                          <a:pt x="664" y="394"/>
                        </a:lnTo>
                        <a:lnTo>
                          <a:pt x="664" y="392"/>
                        </a:lnTo>
                        <a:lnTo>
                          <a:pt x="666" y="388"/>
                        </a:lnTo>
                        <a:lnTo>
                          <a:pt x="680" y="382"/>
                        </a:lnTo>
                        <a:lnTo>
                          <a:pt x="684" y="378"/>
                        </a:lnTo>
                        <a:lnTo>
                          <a:pt x="684" y="376"/>
                        </a:lnTo>
                        <a:lnTo>
                          <a:pt x="684" y="372"/>
                        </a:lnTo>
                        <a:lnTo>
                          <a:pt x="678" y="366"/>
                        </a:lnTo>
                        <a:lnTo>
                          <a:pt x="662" y="356"/>
                        </a:lnTo>
                        <a:lnTo>
                          <a:pt x="662" y="356"/>
                        </a:lnTo>
                        <a:lnTo>
                          <a:pt x="648" y="350"/>
                        </a:lnTo>
                        <a:lnTo>
                          <a:pt x="644" y="348"/>
                        </a:lnTo>
                        <a:lnTo>
                          <a:pt x="644" y="346"/>
                        </a:lnTo>
                        <a:lnTo>
                          <a:pt x="650" y="346"/>
                        </a:lnTo>
                        <a:lnTo>
                          <a:pt x="662" y="348"/>
                        </a:lnTo>
                        <a:lnTo>
                          <a:pt x="674" y="348"/>
                        </a:lnTo>
                        <a:lnTo>
                          <a:pt x="686" y="348"/>
                        </a:lnTo>
                        <a:lnTo>
                          <a:pt x="690" y="348"/>
                        </a:lnTo>
                        <a:lnTo>
                          <a:pt x="694" y="346"/>
                        </a:lnTo>
                        <a:lnTo>
                          <a:pt x="696" y="344"/>
                        </a:lnTo>
                        <a:lnTo>
                          <a:pt x="694" y="340"/>
                        </a:lnTo>
                        <a:lnTo>
                          <a:pt x="694" y="340"/>
                        </a:lnTo>
                        <a:lnTo>
                          <a:pt x="690" y="332"/>
                        </a:lnTo>
                        <a:lnTo>
                          <a:pt x="684" y="328"/>
                        </a:lnTo>
                        <a:lnTo>
                          <a:pt x="680" y="324"/>
                        </a:lnTo>
                        <a:lnTo>
                          <a:pt x="674" y="324"/>
                        </a:lnTo>
                        <a:lnTo>
                          <a:pt x="658" y="326"/>
                        </a:lnTo>
                        <a:lnTo>
                          <a:pt x="638" y="328"/>
                        </a:lnTo>
                        <a:lnTo>
                          <a:pt x="638" y="328"/>
                        </a:lnTo>
                        <a:lnTo>
                          <a:pt x="614" y="328"/>
                        </a:lnTo>
                        <a:lnTo>
                          <a:pt x="592" y="328"/>
                        </a:lnTo>
                        <a:lnTo>
                          <a:pt x="584" y="328"/>
                        </a:lnTo>
                        <a:lnTo>
                          <a:pt x="578" y="326"/>
                        </a:lnTo>
                        <a:lnTo>
                          <a:pt x="576" y="324"/>
                        </a:lnTo>
                        <a:lnTo>
                          <a:pt x="580" y="320"/>
                        </a:lnTo>
                        <a:lnTo>
                          <a:pt x="580" y="320"/>
                        </a:lnTo>
                        <a:lnTo>
                          <a:pt x="588" y="318"/>
                        </a:lnTo>
                        <a:lnTo>
                          <a:pt x="602" y="314"/>
                        </a:lnTo>
                        <a:lnTo>
                          <a:pt x="644" y="312"/>
                        </a:lnTo>
                        <a:lnTo>
                          <a:pt x="692" y="310"/>
                        </a:lnTo>
                        <a:lnTo>
                          <a:pt x="730" y="306"/>
                        </a:lnTo>
                        <a:lnTo>
                          <a:pt x="730" y="306"/>
                        </a:lnTo>
                        <a:lnTo>
                          <a:pt x="742" y="304"/>
                        </a:lnTo>
                        <a:lnTo>
                          <a:pt x="750" y="300"/>
                        </a:lnTo>
                        <a:lnTo>
                          <a:pt x="752" y="296"/>
                        </a:lnTo>
                        <a:lnTo>
                          <a:pt x="752" y="290"/>
                        </a:lnTo>
                        <a:lnTo>
                          <a:pt x="752" y="284"/>
                        </a:lnTo>
                        <a:lnTo>
                          <a:pt x="754" y="284"/>
                        </a:lnTo>
                        <a:lnTo>
                          <a:pt x="762" y="286"/>
                        </a:lnTo>
                        <a:lnTo>
                          <a:pt x="762" y="286"/>
                        </a:lnTo>
                        <a:lnTo>
                          <a:pt x="770" y="290"/>
                        </a:lnTo>
                        <a:lnTo>
                          <a:pt x="780" y="292"/>
                        </a:lnTo>
                        <a:lnTo>
                          <a:pt x="790" y="294"/>
                        </a:lnTo>
                        <a:lnTo>
                          <a:pt x="800" y="292"/>
                        </a:lnTo>
                        <a:lnTo>
                          <a:pt x="812" y="290"/>
                        </a:lnTo>
                        <a:lnTo>
                          <a:pt x="822" y="286"/>
                        </a:lnTo>
                        <a:lnTo>
                          <a:pt x="832" y="278"/>
                        </a:lnTo>
                        <a:lnTo>
                          <a:pt x="842" y="270"/>
                        </a:lnTo>
                        <a:lnTo>
                          <a:pt x="842" y="270"/>
                        </a:lnTo>
                        <a:lnTo>
                          <a:pt x="852" y="260"/>
                        </a:lnTo>
                        <a:lnTo>
                          <a:pt x="866" y="248"/>
                        </a:lnTo>
                        <a:lnTo>
                          <a:pt x="882" y="238"/>
                        </a:lnTo>
                        <a:lnTo>
                          <a:pt x="902" y="228"/>
                        </a:lnTo>
                        <a:lnTo>
                          <a:pt x="954" y="204"/>
                        </a:lnTo>
                        <a:lnTo>
                          <a:pt x="1020" y="178"/>
                        </a:lnTo>
                        <a:lnTo>
                          <a:pt x="1020" y="178"/>
                        </a:lnTo>
                        <a:lnTo>
                          <a:pt x="1076" y="154"/>
                        </a:lnTo>
                        <a:lnTo>
                          <a:pt x="1092" y="146"/>
                        </a:lnTo>
                        <a:lnTo>
                          <a:pt x="1098" y="142"/>
                        </a:lnTo>
                        <a:lnTo>
                          <a:pt x="1098" y="140"/>
                        </a:lnTo>
                        <a:lnTo>
                          <a:pt x="1094" y="140"/>
                        </a:lnTo>
                        <a:lnTo>
                          <a:pt x="1084" y="140"/>
                        </a:lnTo>
                        <a:lnTo>
                          <a:pt x="1038" y="142"/>
                        </a:lnTo>
                        <a:lnTo>
                          <a:pt x="1038" y="142"/>
                        </a:lnTo>
                        <a:lnTo>
                          <a:pt x="1014" y="144"/>
                        </a:lnTo>
                        <a:lnTo>
                          <a:pt x="1002" y="144"/>
                        </a:lnTo>
                        <a:lnTo>
                          <a:pt x="1000" y="142"/>
                        </a:lnTo>
                        <a:lnTo>
                          <a:pt x="1000" y="142"/>
                        </a:lnTo>
                        <a:lnTo>
                          <a:pt x="1006" y="138"/>
                        </a:lnTo>
                        <a:lnTo>
                          <a:pt x="1034" y="130"/>
                        </a:lnTo>
                        <a:lnTo>
                          <a:pt x="1072" y="122"/>
                        </a:lnTo>
                        <a:lnTo>
                          <a:pt x="1072" y="122"/>
                        </a:lnTo>
                        <a:lnTo>
                          <a:pt x="1118" y="112"/>
                        </a:lnTo>
                        <a:lnTo>
                          <a:pt x="1172" y="100"/>
                        </a:lnTo>
                        <a:lnTo>
                          <a:pt x="1198" y="92"/>
                        </a:lnTo>
                        <a:lnTo>
                          <a:pt x="1218" y="84"/>
                        </a:lnTo>
                        <a:lnTo>
                          <a:pt x="1232" y="76"/>
                        </a:lnTo>
                        <a:lnTo>
                          <a:pt x="1236" y="72"/>
                        </a:lnTo>
                        <a:lnTo>
                          <a:pt x="1236" y="68"/>
                        </a:lnTo>
                        <a:lnTo>
                          <a:pt x="1236" y="68"/>
                        </a:lnTo>
                        <a:lnTo>
                          <a:pt x="1236" y="64"/>
                        </a:lnTo>
                        <a:lnTo>
                          <a:pt x="1234" y="62"/>
                        </a:lnTo>
                        <a:lnTo>
                          <a:pt x="1224" y="58"/>
                        </a:lnTo>
                        <a:lnTo>
                          <a:pt x="1210" y="58"/>
                        </a:lnTo>
                        <a:lnTo>
                          <a:pt x="1196" y="56"/>
                        </a:lnTo>
                        <a:lnTo>
                          <a:pt x="1182" y="56"/>
                        </a:lnTo>
                        <a:lnTo>
                          <a:pt x="1168" y="54"/>
                        </a:lnTo>
                        <a:lnTo>
                          <a:pt x="1160" y="50"/>
                        </a:lnTo>
                        <a:lnTo>
                          <a:pt x="1158" y="48"/>
                        </a:lnTo>
                        <a:lnTo>
                          <a:pt x="1156" y="44"/>
                        </a:lnTo>
                        <a:lnTo>
                          <a:pt x="1156" y="44"/>
                        </a:lnTo>
                        <a:lnTo>
                          <a:pt x="1156" y="40"/>
                        </a:lnTo>
                        <a:lnTo>
                          <a:pt x="1154" y="36"/>
                        </a:lnTo>
                        <a:lnTo>
                          <a:pt x="1146" y="30"/>
                        </a:lnTo>
                        <a:lnTo>
                          <a:pt x="1136" y="26"/>
                        </a:lnTo>
                        <a:lnTo>
                          <a:pt x="1122" y="24"/>
                        </a:lnTo>
                        <a:lnTo>
                          <a:pt x="1094" y="20"/>
                        </a:lnTo>
                        <a:lnTo>
                          <a:pt x="1078" y="20"/>
                        </a:lnTo>
                        <a:lnTo>
                          <a:pt x="1078" y="20"/>
                        </a:lnTo>
                        <a:lnTo>
                          <a:pt x="1062" y="22"/>
                        </a:lnTo>
                        <a:lnTo>
                          <a:pt x="1050" y="22"/>
                        </a:lnTo>
                        <a:lnTo>
                          <a:pt x="1038" y="22"/>
                        </a:lnTo>
                        <a:lnTo>
                          <a:pt x="1018" y="30"/>
                        </a:lnTo>
                        <a:lnTo>
                          <a:pt x="1018" y="30"/>
                        </a:lnTo>
                        <a:lnTo>
                          <a:pt x="1004" y="34"/>
                        </a:lnTo>
                        <a:lnTo>
                          <a:pt x="990" y="38"/>
                        </a:lnTo>
                        <a:lnTo>
                          <a:pt x="962" y="40"/>
                        </a:lnTo>
                        <a:lnTo>
                          <a:pt x="948" y="40"/>
                        </a:lnTo>
                        <a:lnTo>
                          <a:pt x="948" y="40"/>
                        </a:lnTo>
                        <a:lnTo>
                          <a:pt x="948" y="38"/>
                        </a:lnTo>
                        <a:lnTo>
                          <a:pt x="958" y="36"/>
                        </a:lnTo>
                        <a:lnTo>
                          <a:pt x="958" y="36"/>
                        </a:lnTo>
                        <a:lnTo>
                          <a:pt x="986" y="30"/>
                        </a:lnTo>
                        <a:lnTo>
                          <a:pt x="1004" y="24"/>
                        </a:lnTo>
                        <a:lnTo>
                          <a:pt x="1008" y="22"/>
                        </a:lnTo>
                        <a:lnTo>
                          <a:pt x="1008" y="20"/>
                        </a:lnTo>
                        <a:lnTo>
                          <a:pt x="1006" y="20"/>
                        </a:lnTo>
                        <a:lnTo>
                          <a:pt x="998" y="18"/>
                        </a:lnTo>
                        <a:lnTo>
                          <a:pt x="980" y="16"/>
                        </a:lnTo>
                        <a:lnTo>
                          <a:pt x="980" y="16"/>
                        </a:lnTo>
                        <a:lnTo>
                          <a:pt x="958" y="16"/>
                        </a:lnTo>
                        <a:lnTo>
                          <a:pt x="942" y="14"/>
                        </a:lnTo>
                        <a:lnTo>
                          <a:pt x="912" y="6"/>
                        </a:lnTo>
                        <a:lnTo>
                          <a:pt x="900" y="2"/>
                        </a:lnTo>
                        <a:lnTo>
                          <a:pt x="888" y="0"/>
                        </a:lnTo>
                        <a:lnTo>
                          <a:pt x="874" y="0"/>
                        </a:lnTo>
                        <a:lnTo>
                          <a:pt x="858" y="2"/>
                        </a:lnTo>
                        <a:lnTo>
                          <a:pt x="858" y="2"/>
                        </a:lnTo>
                        <a:lnTo>
                          <a:pt x="830" y="4"/>
                        </a:lnTo>
                        <a:lnTo>
                          <a:pt x="808" y="4"/>
                        </a:lnTo>
                        <a:lnTo>
                          <a:pt x="788" y="4"/>
                        </a:lnTo>
                        <a:lnTo>
                          <a:pt x="776" y="6"/>
                        </a:lnTo>
                        <a:lnTo>
                          <a:pt x="762" y="10"/>
                        </a:lnTo>
                        <a:lnTo>
                          <a:pt x="762" y="10"/>
                        </a:lnTo>
                        <a:lnTo>
                          <a:pt x="746" y="14"/>
                        </a:lnTo>
                        <a:lnTo>
                          <a:pt x="728" y="14"/>
                        </a:lnTo>
                        <a:lnTo>
                          <a:pt x="690" y="10"/>
                        </a:lnTo>
                        <a:lnTo>
                          <a:pt x="666" y="10"/>
                        </a:lnTo>
                        <a:lnTo>
                          <a:pt x="640" y="10"/>
                        </a:lnTo>
                        <a:lnTo>
                          <a:pt x="608" y="12"/>
                        </a:lnTo>
                        <a:lnTo>
                          <a:pt x="574" y="20"/>
                        </a:lnTo>
                        <a:lnTo>
                          <a:pt x="574" y="20"/>
                        </a:lnTo>
                        <a:lnTo>
                          <a:pt x="556" y="22"/>
                        </a:lnTo>
                        <a:lnTo>
                          <a:pt x="540" y="22"/>
                        </a:lnTo>
                        <a:lnTo>
                          <a:pt x="526" y="20"/>
                        </a:lnTo>
                        <a:lnTo>
                          <a:pt x="514" y="16"/>
                        </a:lnTo>
                        <a:lnTo>
                          <a:pt x="500" y="14"/>
                        </a:lnTo>
                        <a:lnTo>
                          <a:pt x="490" y="12"/>
                        </a:lnTo>
                        <a:lnTo>
                          <a:pt x="478" y="14"/>
                        </a:lnTo>
                        <a:lnTo>
                          <a:pt x="466" y="18"/>
                        </a:lnTo>
                        <a:lnTo>
                          <a:pt x="466" y="18"/>
                        </a:lnTo>
                        <a:lnTo>
                          <a:pt x="454" y="22"/>
                        </a:lnTo>
                        <a:lnTo>
                          <a:pt x="442" y="24"/>
                        </a:lnTo>
                        <a:lnTo>
                          <a:pt x="432" y="24"/>
                        </a:lnTo>
                        <a:lnTo>
                          <a:pt x="422" y="24"/>
                        </a:lnTo>
                        <a:lnTo>
                          <a:pt x="416" y="22"/>
                        </a:lnTo>
                        <a:lnTo>
                          <a:pt x="412" y="24"/>
                        </a:lnTo>
                        <a:lnTo>
                          <a:pt x="416" y="28"/>
                        </a:lnTo>
                        <a:lnTo>
                          <a:pt x="424" y="36"/>
                        </a:lnTo>
                        <a:lnTo>
                          <a:pt x="424" y="36"/>
                        </a:lnTo>
                        <a:lnTo>
                          <a:pt x="430" y="44"/>
                        </a:lnTo>
                        <a:lnTo>
                          <a:pt x="430" y="46"/>
                        </a:lnTo>
                        <a:lnTo>
                          <a:pt x="430" y="48"/>
                        </a:lnTo>
                        <a:lnTo>
                          <a:pt x="424" y="48"/>
                        </a:lnTo>
                        <a:lnTo>
                          <a:pt x="414" y="46"/>
                        </a:lnTo>
                        <a:lnTo>
                          <a:pt x="404" y="44"/>
                        </a:lnTo>
                        <a:lnTo>
                          <a:pt x="392" y="42"/>
                        </a:lnTo>
                        <a:lnTo>
                          <a:pt x="384" y="44"/>
                        </a:lnTo>
                        <a:lnTo>
                          <a:pt x="380" y="46"/>
                        </a:lnTo>
                        <a:lnTo>
                          <a:pt x="378" y="50"/>
                        </a:lnTo>
                        <a:lnTo>
                          <a:pt x="378" y="50"/>
                        </a:lnTo>
                        <a:lnTo>
                          <a:pt x="376" y="58"/>
                        </a:lnTo>
                        <a:lnTo>
                          <a:pt x="372" y="62"/>
                        </a:lnTo>
                        <a:lnTo>
                          <a:pt x="366" y="66"/>
                        </a:lnTo>
                        <a:lnTo>
                          <a:pt x="360" y="68"/>
                        </a:lnTo>
                        <a:lnTo>
                          <a:pt x="352" y="70"/>
                        </a:lnTo>
                        <a:lnTo>
                          <a:pt x="340" y="70"/>
                        </a:lnTo>
                        <a:lnTo>
                          <a:pt x="312" y="68"/>
                        </a:lnTo>
                        <a:lnTo>
                          <a:pt x="312" y="68"/>
                        </a:lnTo>
                        <a:lnTo>
                          <a:pt x="300" y="66"/>
                        </a:lnTo>
                        <a:lnTo>
                          <a:pt x="292" y="64"/>
                        </a:lnTo>
                        <a:lnTo>
                          <a:pt x="290" y="60"/>
                        </a:lnTo>
                        <a:lnTo>
                          <a:pt x="290" y="58"/>
                        </a:lnTo>
                        <a:lnTo>
                          <a:pt x="290" y="56"/>
                        </a:lnTo>
                        <a:lnTo>
                          <a:pt x="288" y="54"/>
                        </a:lnTo>
                        <a:lnTo>
                          <a:pt x="280" y="52"/>
                        </a:lnTo>
                        <a:lnTo>
                          <a:pt x="264" y="52"/>
                        </a:lnTo>
                        <a:lnTo>
                          <a:pt x="264" y="52"/>
                        </a:lnTo>
                        <a:lnTo>
                          <a:pt x="250" y="52"/>
                        </a:lnTo>
                        <a:lnTo>
                          <a:pt x="244" y="52"/>
                        </a:lnTo>
                        <a:lnTo>
                          <a:pt x="244" y="56"/>
                        </a:lnTo>
                        <a:lnTo>
                          <a:pt x="246" y="60"/>
                        </a:lnTo>
                        <a:lnTo>
                          <a:pt x="248" y="64"/>
                        </a:lnTo>
                        <a:lnTo>
                          <a:pt x="248" y="66"/>
                        </a:lnTo>
                        <a:lnTo>
                          <a:pt x="248" y="68"/>
                        </a:lnTo>
                        <a:lnTo>
                          <a:pt x="240" y="72"/>
                        </a:lnTo>
                        <a:lnTo>
                          <a:pt x="224" y="76"/>
                        </a:lnTo>
                        <a:lnTo>
                          <a:pt x="224" y="76"/>
                        </a:lnTo>
                        <a:lnTo>
                          <a:pt x="208" y="78"/>
                        </a:lnTo>
                        <a:lnTo>
                          <a:pt x="206" y="78"/>
                        </a:lnTo>
                        <a:lnTo>
                          <a:pt x="206" y="80"/>
                        </a:lnTo>
                        <a:lnTo>
                          <a:pt x="212" y="82"/>
                        </a:lnTo>
                        <a:lnTo>
                          <a:pt x="224" y="86"/>
                        </a:lnTo>
                        <a:lnTo>
                          <a:pt x="248" y="92"/>
                        </a:lnTo>
                        <a:lnTo>
                          <a:pt x="254" y="94"/>
                        </a:lnTo>
                        <a:lnTo>
                          <a:pt x="252" y="96"/>
                        </a:lnTo>
                        <a:lnTo>
                          <a:pt x="248" y="98"/>
                        </a:lnTo>
                        <a:lnTo>
                          <a:pt x="248" y="98"/>
                        </a:lnTo>
                        <a:lnTo>
                          <a:pt x="238" y="98"/>
                        </a:lnTo>
                        <a:lnTo>
                          <a:pt x="228" y="98"/>
                        </a:lnTo>
                        <a:lnTo>
                          <a:pt x="206" y="92"/>
                        </a:lnTo>
                        <a:lnTo>
                          <a:pt x="194" y="90"/>
                        </a:lnTo>
                        <a:lnTo>
                          <a:pt x="180" y="88"/>
                        </a:lnTo>
                        <a:lnTo>
                          <a:pt x="166" y="86"/>
                        </a:lnTo>
                        <a:lnTo>
                          <a:pt x="146" y="88"/>
                        </a:lnTo>
                        <a:lnTo>
                          <a:pt x="146" y="88"/>
                        </a:lnTo>
                        <a:lnTo>
                          <a:pt x="130" y="92"/>
                        </a:lnTo>
                        <a:lnTo>
                          <a:pt x="120" y="94"/>
                        </a:lnTo>
                        <a:lnTo>
                          <a:pt x="112" y="98"/>
                        </a:lnTo>
                        <a:lnTo>
                          <a:pt x="108" y="102"/>
                        </a:lnTo>
                        <a:lnTo>
                          <a:pt x="104" y="106"/>
                        </a:lnTo>
                        <a:lnTo>
                          <a:pt x="100" y="106"/>
                        </a:lnTo>
                        <a:lnTo>
                          <a:pt x="92" y="108"/>
                        </a:lnTo>
                        <a:lnTo>
                          <a:pt x="80" y="106"/>
                        </a:lnTo>
                        <a:lnTo>
                          <a:pt x="80" y="106"/>
                        </a:lnTo>
                        <a:lnTo>
                          <a:pt x="66" y="104"/>
                        </a:lnTo>
                        <a:lnTo>
                          <a:pt x="50" y="104"/>
                        </a:lnTo>
                        <a:lnTo>
                          <a:pt x="36" y="108"/>
                        </a:lnTo>
                        <a:lnTo>
                          <a:pt x="22" y="112"/>
                        </a:lnTo>
                        <a:lnTo>
                          <a:pt x="12" y="118"/>
                        </a:lnTo>
                        <a:lnTo>
                          <a:pt x="4" y="124"/>
                        </a:lnTo>
                        <a:lnTo>
                          <a:pt x="0" y="130"/>
                        </a:lnTo>
                        <a:lnTo>
                          <a:pt x="2" y="134"/>
                        </a:lnTo>
                        <a:lnTo>
                          <a:pt x="4" y="138"/>
                        </a:lnTo>
                        <a:lnTo>
                          <a:pt x="4" y="138"/>
                        </a:lnTo>
                        <a:lnTo>
                          <a:pt x="8" y="142"/>
                        </a:lnTo>
                        <a:lnTo>
                          <a:pt x="12" y="144"/>
                        </a:lnTo>
                        <a:lnTo>
                          <a:pt x="16" y="144"/>
                        </a:lnTo>
                        <a:lnTo>
                          <a:pt x="22" y="144"/>
                        </a:lnTo>
                        <a:lnTo>
                          <a:pt x="32" y="144"/>
                        </a:lnTo>
                        <a:lnTo>
                          <a:pt x="36" y="144"/>
                        </a:lnTo>
                        <a:lnTo>
                          <a:pt x="44" y="148"/>
                        </a:lnTo>
                        <a:lnTo>
                          <a:pt x="44" y="14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0" name="Freeform 6107"/>
                  <p:cNvSpPr>
                    <a:spLocks/>
                  </p:cNvSpPr>
                  <p:nvPr/>
                </p:nvSpPr>
                <p:spPr bwMode="auto">
                  <a:xfrm>
                    <a:off x="2335530" y="1211263"/>
                    <a:ext cx="121920" cy="48260"/>
                  </a:xfrm>
                  <a:custGeom>
                    <a:avLst/>
                    <a:gdLst/>
                    <a:ahLst/>
                    <a:cxnLst>
                      <a:cxn ang="0">
                        <a:pos x="2" y="16"/>
                      </a:cxn>
                      <a:cxn ang="0">
                        <a:pos x="2" y="16"/>
                      </a:cxn>
                      <a:cxn ang="0">
                        <a:pos x="0" y="24"/>
                      </a:cxn>
                      <a:cxn ang="0">
                        <a:pos x="2" y="30"/>
                      </a:cxn>
                      <a:cxn ang="0">
                        <a:pos x="6" y="34"/>
                      </a:cxn>
                      <a:cxn ang="0">
                        <a:pos x="18" y="38"/>
                      </a:cxn>
                      <a:cxn ang="0">
                        <a:pos x="18" y="38"/>
                      </a:cxn>
                      <a:cxn ang="0">
                        <a:pos x="22" y="42"/>
                      </a:cxn>
                      <a:cxn ang="0">
                        <a:pos x="26" y="46"/>
                      </a:cxn>
                      <a:cxn ang="0">
                        <a:pos x="26" y="52"/>
                      </a:cxn>
                      <a:cxn ang="0">
                        <a:pos x="28" y="56"/>
                      </a:cxn>
                      <a:cxn ang="0">
                        <a:pos x="30" y="62"/>
                      </a:cxn>
                      <a:cxn ang="0">
                        <a:pos x="36" y="66"/>
                      </a:cxn>
                      <a:cxn ang="0">
                        <a:pos x="46" y="72"/>
                      </a:cxn>
                      <a:cxn ang="0">
                        <a:pos x="46" y="72"/>
                      </a:cxn>
                      <a:cxn ang="0">
                        <a:pos x="56" y="76"/>
                      </a:cxn>
                      <a:cxn ang="0">
                        <a:pos x="66" y="76"/>
                      </a:cxn>
                      <a:cxn ang="0">
                        <a:pos x="72" y="76"/>
                      </a:cxn>
                      <a:cxn ang="0">
                        <a:pos x="80" y="74"/>
                      </a:cxn>
                      <a:cxn ang="0">
                        <a:pos x="94" y="68"/>
                      </a:cxn>
                      <a:cxn ang="0">
                        <a:pos x="104" y="66"/>
                      </a:cxn>
                      <a:cxn ang="0">
                        <a:pos x="118" y="68"/>
                      </a:cxn>
                      <a:cxn ang="0">
                        <a:pos x="118" y="68"/>
                      </a:cxn>
                      <a:cxn ang="0">
                        <a:pos x="148" y="70"/>
                      </a:cxn>
                      <a:cxn ang="0">
                        <a:pos x="176" y="72"/>
                      </a:cxn>
                      <a:cxn ang="0">
                        <a:pos x="184" y="70"/>
                      </a:cxn>
                      <a:cxn ang="0">
                        <a:pos x="192" y="68"/>
                      </a:cxn>
                      <a:cxn ang="0">
                        <a:pos x="192" y="66"/>
                      </a:cxn>
                      <a:cxn ang="0">
                        <a:pos x="192" y="62"/>
                      </a:cxn>
                      <a:cxn ang="0">
                        <a:pos x="188" y="58"/>
                      </a:cxn>
                      <a:cxn ang="0">
                        <a:pos x="188" y="58"/>
                      </a:cxn>
                      <a:cxn ang="0">
                        <a:pos x="174" y="42"/>
                      </a:cxn>
                      <a:cxn ang="0">
                        <a:pos x="166" y="34"/>
                      </a:cxn>
                      <a:cxn ang="0">
                        <a:pos x="156" y="26"/>
                      </a:cxn>
                      <a:cxn ang="0">
                        <a:pos x="144" y="18"/>
                      </a:cxn>
                      <a:cxn ang="0">
                        <a:pos x="130" y="12"/>
                      </a:cxn>
                      <a:cxn ang="0">
                        <a:pos x="114" y="10"/>
                      </a:cxn>
                      <a:cxn ang="0">
                        <a:pos x="96" y="10"/>
                      </a:cxn>
                      <a:cxn ang="0">
                        <a:pos x="96" y="10"/>
                      </a:cxn>
                      <a:cxn ang="0">
                        <a:pos x="76" y="8"/>
                      </a:cxn>
                      <a:cxn ang="0">
                        <a:pos x="58" y="6"/>
                      </a:cxn>
                      <a:cxn ang="0">
                        <a:pos x="30" y="2"/>
                      </a:cxn>
                      <a:cxn ang="0">
                        <a:pos x="18" y="0"/>
                      </a:cxn>
                      <a:cxn ang="0">
                        <a:pos x="10" y="2"/>
                      </a:cxn>
                      <a:cxn ang="0">
                        <a:pos x="8" y="4"/>
                      </a:cxn>
                      <a:cxn ang="0">
                        <a:pos x="4" y="6"/>
                      </a:cxn>
                      <a:cxn ang="0">
                        <a:pos x="2" y="16"/>
                      </a:cxn>
                      <a:cxn ang="0">
                        <a:pos x="2" y="16"/>
                      </a:cxn>
                    </a:cxnLst>
                    <a:rect l="0" t="0" r="r" b="b"/>
                    <a:pathLst>
                      <a:path w="192" h="76">
                        <a:moveTo>
                          <a:pt x="2" y="16"/>
                        </a:moveTo>
                        <a:lnTo>
                          <a:pt x="2" y="16"/>
                        </a:lnTo>
                        <a:lnTo>
                          <a:pt x="0" y="24"/>
                        </a:lnTo>
                        <a:lnTo>
                          <a:pt x="2" y="30"/>
                        </a:lnTo>
                        <a:lnTo>
                          <a:pt x="6" y="34"/>
                        </a:lnTo>
                        <a:lnTo>
                          <a:pt x="18" y="38"/>
                        </a:lnTo>
                        <a:lnTo>
                          <a:pt x="18" y="38"/>
                        </a:lnTo>
                        <a:lnTo>
                          <a:pt x="22" y="42"/>
                        </a:lnTo>
                        <a:lnTo>
                          <a:pt x="26" y="46"/>
                        </a:lnTo>
                        <a:lnTo>
                          <a:pt x="26" y="52"/>
                        </a:lnTo>
                        <a:lnTo>
                          <a:pt x="28" y="56"/>
                        </a:lnTo>
                        <a:lnTo>
                          <a:pt x="30" y="62"/>
                        </a:lnTo>
                        <a:lnTo>
                          <a:pt x="36" y="66"/>
                        </a:lnTo>
                        <a:lnTo>
                          <a:pt x="46" y="72"/>
                        </a:lnTo>
                        <a:lnTo>
                          <a:pt x="46" y="72"/>
                        </a:lnTo>
                        <a:lnTo>
                          <a:pt x="56" y="76"/>
                        </a:lnTo>
                        <a:lnTo>
                          <a:pt x="66" y="76"/>
                        </a:lnTo>
                        <a:lnTo>
                          <a:pt x="72" y="76"/>
                        </a:lnTo>
                        <a:lnTo>
                          <a:pt x="80" y="74"/>
                        </a:lnTo>
                        <a:lnTo>
                          <a:pt x="94" y="68"/>
                        </a:lnTo>
                        <a:lnTo>
                          <a:pt x="104" y="66"/>
                        </a:lnTo>
                        <a:lnTo>
                          <a:pt x="118" y="68"/>
                        </a:lnTo>
                        <a:lnTo>
                          <a:pt x="118" y="68"/>
                        </a:lnTo>
                        <a:lnTo>
                          <a:pt x="148" y="70"/>
                        </a:lnTo>
                        <a:lnTo>
                          <a:pt x="176" y="72"/>
                        </a:lnTo>
                        <a:lnTo>
                          <a:pt x="184" y="70"/>
                        </a:lnTo>
                        <a:lnTo>
                          <a:pt x="192" y="68"/>
                        </a:lnTo>
                        <a:lnTo>
                          <a:pt x="192" y="66"/>
                        </a:lnTo>
                        <a:lnTo>
                          <a:pt x="192" y="62"/>
                        </a:lnTo>
                        <a:lnTo>
                          <a:pt x="188" y="58"/>
                        </a:lnTo>
                        <a:lnTo>
                          <a:pt x="188" y="58"/>
                        </a:lnTo>
                        <a:lnTo>
                          <a:pt x="174" y="42"/>
                        </a:lnTo>
                        <a:lnTo>
                          <a:pt x="166" y="34"/>
                        </a:lnTo>
                        <a:lnTo>
                          <a:pt x="156" y="26"/>
                        </a:lnTo>
                        <a:lnTo>
                          <a:pt x="144" y="18"/>
                        </a:lnTo>
                        <a:lnTo>
                          <a:pt x="130" y="12"/>
                        </a:lnTo>
                        <a:lnTo>
                          <a:pt x="114" y="10"/>
                        </a:lnTo>
                        <a:lnTo>
                          <a:pt x="96" y="10"/>
                        </a:lnTo>
                        <a:lnTo>
                          <a:pt x="96" y="10"/>
                        </a:lnTo>
                        <a:lnTo>
                          <a:pt x="76" y="8"/>
                        </a:lnTo>
                        <a:lnTo>
                          <a:pt x="58" y="6"/>
                        </a:lnTo>
                        <a:lnTo>
                          <a:pt x="30" y="2"/>
                        </a:lnTo>
                        <a:lnTo>
                          <a:pt x="18" y="0"/>
                        </a:lnTo>
                        <a:lnTo>
                          <a:pt x="10" y="2"/>
                        </a:lnTo>
                        <a:lnTo>
                          <a:pt x="8" y="4"/>
                        </a:lnTo>
                        <a:lnTo>
                          <a:pt x="4" y="6"/>
                        </a:lnTo>
                        <a:lnTo>
                          <a:pt x="2" y="16"/>
                        </a:lnTo>
                        <a:lnTo>
                          <a:pt x="2" y="1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1" name="Freeform 6108"/>
                  <p:cNvSpPr>
                    <a:spLocks/>
                  </p:cNvSpPr>
                  <p:nvPr/>
                </p:nvSpPr>
                <p:spPr bwMode="auto">
                  <a:xfrm>
                    <a:off x="1762760" y="1103313"/>
                    <a:ext cx="29210" cy="11430"/>
                  </a:xfrm>
                  <a:custGeom>
                    <a:avLst/>
                    <a:gdLst/>
                    <a:ahLst/>
                    <a:cxnLst>
                      <a:cxn ang="0">
                        <a:pos x="2" y="18"/>
                      </a:cxn>
                      <a:cxn ang="0">
                        <a:pos x="2" y="18"/>
                      </a:cxn>
                      <a:cxn ang="0">
                        <a:pos x="8" y="18"/>
                      </a:cxn>
                      <a:cxn ang="0">
                        <a:pos x="14" y="18"/>
                      </a:cxn>
                      <a:cxn ang="0">
                        <a:pos x="30" y="12"/>
                      </a:cxn>
                      <a:cxn ang="0">
                        <a:pos x="42" y="4"/>
                      </a:cxn>
                      <a:cxn ang="0">
                        <a:pos x="46" y="2"/>
                      </a:cxn>
                      <a:cxn ang="0">
                        <a:pos x="44" y="0"/>
                      </a:cxn>
                      <a:cxn ang="0">
                        <a:pos x="44" y="0"/>
                      </a:cxn>
                      <a:cxn ang="0">
                        <a:pos x="32" y="2"/>
                      </a:cxn>
                      <a:cxn ang="0">
                        <a:pos x="16" y="6"/>
                      </a:cxn>
                      <a:cxn ang="0">
                        <a:pos x="2" y="14"/>
                      </a:cxn>
                      <a:cxn ang="0">
                        <a:pos x="0" y="16"/>
                      </a:cxn>
                      <a:cxn ang="0">
                        <a:pos x="2" y="18"/>
                      </a:cxn>
                      <a:cxn ang="0">
                        <a:pos x="2" y="18"/>
                      </a:cxn>
                    </a:cxnLst>
                    <a:rect l="0" t="0" r="r" b="b"/>
                    <a:pathLst>
                      <a:path w="46" h="18">
                        <a:moveTo>
                          <a:pt x="2" y="18"/>
                        </a:moveTo>
                        <a:lnTo>
                          <a:pt x="2" y="18"/>
                        </a:lnTo>
                        <a:lnTo>
                          <a:pt x="8" y="18"/>
                        </a:lnTo>
                        <a:lnTo>
                          <a:pt x="14" y="18"/>
                        </a:lnTo>
                        <a:lnTo>
                          <a:pt x="30" y="12"/>
                        </a:lnTo>
                        <a:lnTo>
                          <a:pt x="42" y="4"/>
                        </a:lnTo>
                        <a:lnTo>
                          <a:pt x="46" y="2"/>
                        </a:lnTo>
                        <a:lnTo>
                          <a:pt x="44" y="0"/>
                        </a:lnTo>
                        <a:lnTo>
                          <a:pt x="44" y="0"/>
                        </a:lnTo>
                        <a:lnTo>
                          <a:pt x="32" y="2"/>
                        </a:lnTo>
                        <a:lnTo>
                          <a:pt x="16" y="6"/>
                        </a:lnTo>
                        <a:lnTo>
                          <a:pt x="2" y="14"/>
                        </a:lnTo>
                        <a:lnTo>
                          <a:pt x="0" y="16"/>
                        </a:lnTo>
                        <a:lnTo>
                          <a:pt x="2" y="18"/>
                        </a:lnTo>
                        <a:lnTo>
                          <a:pt x="2" y="1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2" name="Freeform 6109"/>
                  <p:cNvSpPr>
                    <a:spLocks/>
                  </p:cNvSpPr>
                  <p:nvPr/>
                </p:nvSpPr>
                <p:spPr bwMode="auto">
                  <a:xfrm>
                    <a:off x="1954530" y="1190943"/>
                    <a:ext cx="138430" cy="102870"/>
                  </a:xfrm>
                  <a:custGeom>
                    <a:avLst/>
                    <a:gdLst/>
                    <a:ahLst/>
                    <a:cxnLst>
                      <a:cxn ang="0">
                        <a:pos x="166" y="92"/>
                      </a:cxn>
                      <a:cxn ang="0">
                        <a:pos x="186" y="66"/>
                      </a:cxn>
                      <a:cxn ang="0">
                        <a:pos x="216" y="36"/>
                      </a:cxn>
                      <a:cxn ang="0">
                        <a:pos x="218" y="28"/>
                      </a:cxn>
                      <a:cxn ang="0">
                        <a:pos x="216" y="22"/>
                      </a:cxn>
                      <a:cxn ang="0">
                        <a:pos x="204" y="16"/>
                      </a:cxn>
                      <a:cxn ang="0">
                        <a:pos x="190" y="12"/>
                      </a:cxn>
                      <a:cxn ang="0">
                        <a:pos x="172" y="12"/>
                      </a:cxn>
                      <a:cxn ang="0">
                        <a:pos x="156" y="16"/>
                      </a:cxn>
                      <a:cxn ang="0">
                        <a:pos x="140" y="12"/>
                      </a:cxn>
                      <a:cxn ang="0">
                        <a:pos x="122" y="4"/>
                      </a:cxn>
                      <a:cxn ang="0">
                        <a:pos x="106" y="0"/>
                      </a:cxn>
                      <a:cxn ang="0">
                        <a:pos x="84" y="0"/>
                      </a:cxn>
                      <a:cxn ang="0">
                        <a:pos x="48" y="6"/>
                      </a:cxn>
                      <a:cxn ang="0">
                        <a:pos x="20" y="16"/>
                      </a:cxn>
                      <a:cxn ang="0">
                        <a:pos x="16" y="24"/>
                      </a:cxn>
                      <a:cxn ang="0">
                        <a:pos x="22" y="30"/>
                      </a:cxn>
                      <a:cxn ang="0">
                        <a:pos x="18" y="32"/>
                      </a:cxn>
                      <a:cxn ang="0">
                        <a:pos x="6" y="32"/>
                      </a:cxn>
                      <a:cxn ang="0">
                        <a:pos x="0" y="48"/>
                      </a:cxn>
                      <a:cxn ang="0">
                        <a:pos x="0" y="74"/>
                      </a:cxn>
                      <a:cxn ang="0">
                        <a:pos x="2" y="98"/>
                      </a:cxn>
                      <a:cxn ang="0">
                        <a:pos x="10" y="114"/>
                      </a:cxn>
                      <a:cxn ang="0">
                        <a:pos x="20" y="134"/>
                      </a:cxn>
                      <a:cxn ang="0">
                        <a:pos x="20" y="142"/>
                      </a:cxn>
                      <a:cxn ang="0">
                        <a:pos x="22" y="154"/>
                      </a:cxn>
                      <a:cxn ang="0">
                        <a:pos x="30" y="156"/>
                      </a:cxn>
                      <a:cxn ang="0">
                        <a:pos x="54" y="156"/>
                      </a:cxn>
                      <a:cxn ang="0">
                        <a:pos x="62" y="160"/>
                      </a:cxn>
                      <a:cxn ang="0">
                        <a:pos x="70" y="160"/>
                      </a:cxn>
                      <a:cxn ang="0">
                        <a:pos x="76" y="146"/>
                      </a:cxn>
                      <a:cxn ang="0">
                        <a:pos x="82" y="138"/>
                      </a:cxn>
                      <a:cxn ang="0">
                        <a:pos x="90" y="132"/>
                      </a:cxn>
                      <a:cxn ang="0">
                        <a:pos x="90" y="122"/>
                      </a:cxn>
                      <a:cxn ang="0">
                        <a:pos x="86" y="114"/>
                      </a:cxn>
                      <a:cxn ang="0">
                        <a:pos x="84" y="106"/>
                      </a:cxn>
                      <a:cxn ang="0">
                        <a:pos x="88" y="104"/>
                      </a:cxn>
                      <a:cxn ang="0">
                        <a:pos x="112" y="106"/>
                      </a:cxn>
                      <a:cxn ang="0">
                        <a:pos x="142" y="106"/>
                      </a:cxn>
                      <a:cxn ang="0">
                        <a:pos x="156" y="102"/>
                      </a:cxn>
                      <a:cxn ang="0">
                        <a:pos x="166" y="92"/>
                      </a:cxn>
                    </a:cxnLst>
                    <a:rect l="0" t="0" r="r" b="b"/>
                    <a:pathLst>
                      <a:path w="218" h="162">
                        <a:moveTo>
                          <a:pt x="166" y="92"/>
                        </a:moveTo>
                        <a:lnTo>
                          <a:pt x="166" y="92"/>
                        </a:lnTo>
                        <a:lnTo>
                          <a:pt x="176" y="80"/>
                        </a:lnTo>
                        <a:lnTo>
                          <a:pt x="186" y="66"/>
                        </a:lnTo>
                        <a:lnTo>
                          <a:pt x="208" y="46"/>
                        </a:lnTo>
                        <a:lnTo>
                          <a:pt x="216" y="36"/>
                        </a:lnTo>
                        <a:lnTo>
                          <a:pt x="218" y="32"/>
                        </a:lnTo>
                        <a:lnTo>
                          <a:pt x="218" y="28"/>
                        </a:lnTo>
                        <a:lnTo>
                          <a:pt x="218" y="24"/>
                        </a:lnTo>
                        <a:lnTo>
                          <a:pt x="216" y="22"/>
                        </a:lnTo>
                        <a:lnTo>
                          <a:pt x="210" y="18"/>
                        </a:lnTo>
                        <a:lnTo>
                          <a:pt x="204" y="16"/>
                        </a:lnTo>
                        <a:lnTo>
                          <a:pt x="204" y="16"/>
                        </a:lnTo>
                        <a:lnTo>
                          <a:pt x="190" y="12"/>
                        </a:lnTo>
                        <a:lnTo>
                          <a:pt x="180" y="12"/>
                        </a:lnTo>
                        <a:lnTo>
                          <a:pt x="172" y="12"/>
                        </a:lnTo>
                        <a:lnTo>
                          <a:pt x="166" y="14"/>
                        </a:lnTo>
                        <a:lnTo>
                          <a:pt x="156" y="16"/>
                        </a:lnTo>
                        <a:lnTo>
                          <a:pt x="148" y="16"/>
                        </a:lnTo>
                        <a:lnTo>
                          <a:pt x="140" y="12"/>
                        </a:lnTo>
                        <a:lnTo>
                          <a:pt x="140" y="12"/>
                        </a:lnTo>
                        <a:lnTo>
                          <a:pt x="122" y="4"/>
                        </a:lnTo>
                        <a:lnTo>
                          <a:pt x="114" y="2"/>
                        </a:lnTo>
                        <a:lnTo>
                          <a:pt x="106" y="0"/>
                        </a:lnTo>
                        <a:lnTo>
                          <a:pt x="96" y="0"/>
                        </a:lnTo>
                        <a:lnTo>
                          <a:pt x="84" y="0"/>
                        </a:lnTo>
                        <a:lnTo>
                          <a:pt x="48" y="6"/>
                        </a:lnTo>
                        <a:lnTo>
                          <a:pt x="48" y="6"/>
                        </a:lnTo>
                        <a:lnTo>
                          <a:pt x="30" y="10"/>
                        </a:lnTo>
                        <a:lnTo>
                          <a:pt x="20" y="16"/>
                        </a:lnTo>
                        <a:lnTo>
                          <a:pt x="16" y="20"/>
                        </a:lnTo>
                        <a:lnTo>
                          <a:pt x="16" y="24"/>
                        </a:lnTo>
                        <a:lnTo>
                          <a:pt x="22" y="30"/>
                        </a:lnTo>
                        <a:lnTo>
                          <a:pt x="22" y="30"/>
                        </a:lnTo>
                        <a:lnTo>
                          <a:pt x="18" y="32"/>
                        </a:lnTo>
                        <a:lnTo>
                          <a:pt x="18" y="32"/>
                        </a:lnTo>
                        <a:lnTo>
                          <a:pt x="8" y="30"/>
                        </a:lnTo>
                        <a:lnTo>
                          <a:pt x="6" y="32"/>
                        </a:lnTo>
                        <a:lnTo>
                          <a:pt x="4" y="36"/>
                        </a:lnTo>
                        <a:lnTo>
                          <a:pt x="0" y="48"/>
                        </a:lnTo>
                        <a:lnTo>
                          <a:pt x="0" y="74"/>
                        </a:lnTo>
                        <a:lnTo>
                          <a:pt x="0" y="74"/>
                        </a:lnTo>
                        <a:lnTo>
                          <a:pt x="0" y="88"/>
                        </a:lnTo>
                        <a:lnTo>
                          <a:pt x="2" y="98"/>
                        </a:lnTo>
                        <a:lnTo>
                          <a:pt x="6" y="108"/>
                        </a:lnTo>
                        <a:lnTo>
                          <a:pt x="10" y="114"/>
                        </a:lnTo>
                        <a:lnTo>
                          <a:pt x="18" y="126"/>
                        </a:lnTo>
                        <a:lnTo>
                          <a:pt x="20" y="134"/>
                        </a:lnTo>
                        <a:lnTo>
                          <a:pt x="20" y="142"/>
                        </a:lnTo>
                        <a:lnTo>
                          <a:pt x="20" y="142"/>
                        </a:lnTo>
                        <a:lnTo>
                          <a:pt x="20" y="150"/>
                        </a:lnTo>
                        <a:lnTo>
                          <a:pt x="22" y="154"/>
                        </a:lnTo>
                        <a:lnTo>
                          <a:pt x="26" y="156"/>
                        </a:lnTo>
                        <a:lnTo>
                          <a:pt x="30" y="156"/>
                        </a:lnTo>
                        <a:lnTo>
                          <a:pt x="46" y="156"/>
                        </a:lnTo>
                        <a:lnTo>
                          <a:pt x="54" y="156"/>
                        </a:lnTo>
                        <a:lnTo>
                          <a:pt x="62" y="160"/>
                        </a:lnTo>
                        <a:lnTo>
                          <a:pt x="62" y="160"/>
                        </a:lnTo>
                        <a:lnTo>
                          <a:pt x="68" y="162"/>
                        </a:lnTo>
                        <a:lnTo>
                          <a:pt x="70" y="160"/>
                        </a:lnTo>
                        <a:lnTo>
                          <a:pt x="76" y="146"/>
                        </a:lnTo>
                        <a:lnTo>
                          <a:pt x="76" y="146"/>
                        </a:lnTo>
                        <a:lnTo>
                          <a:pt x="78" y="140"/>
                        </a:lnTo>
                        <a:lnTo>
                          <a:pt x="82" y="138"/>
                        </a:lnTo>
                        <a:lnTo>
                          <a:pt x="88" y="134"/>
                        </a:lnTo>
                        <a:lnTo>
                          <a:pt x="90" y="132"/>
                        </a:lnTo>
                        <a:lnTo>
                          <a:pt x="90" y="128"/>
                        </a:lnTo>
                        <a:lnTo>
                          <a:pt x="90" y="122"/>
                        </a:lnTo>
                        <a:lnTo>
                          <a:pt x="86" y="114"/>
                        </a:lnTo>
                        <a:lnTo>
                          <a:pt x="86" y="114"/>
                        </a:lnTo>
                        <a:lnTo>
                          <a:pt x="84" y="110"/>
                        </a:lnTo>
                        <a:lnTo>
                          <a:pt x="84" y="106"/>
                        </a:lnTo>
                        <a:lnTo>
                          <a:pt x="86" y="104"/>
                        </a:lnTo>
                        <a:lnTo>
                          <a:pt x="88" y="104"/>
                        </a:lnTo>
                        <a:lnTo>
                          <a:pt x="98" y="104"/>
                        </a:lnTo>
                        <a:lnTo>
                          <a:pt x="112" y="106"/>
                        </a:lnTo>
                        <a:lnTo>
                          <a:pt x="128" y="108"/>
                        </a:lnTo>
                        <a:lnTo>
                          <a:pt x="142" y="106"/>
                        </a:lnTo>
                        <a:lnTo>
                          <a:pt x="150" y="106"/>
                        </a:lnTo>
                        <a:lnTo>
                          <a:pt x="156" y="102"/>
                        </a:lnTo>
                        <a:lnTo>
                          <a:pt x="162" y="98"/>
                        </a:lnTo>
                        <a:lnTo>
                          <a:pt x="166" y="92"/>
                        </a:lnTo>
                        <a:lnTo>
                          <a:pt x="166" y="9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3" name="Freeform 6110"/>
                  <p:cNvSpPr>
                    <a:spLocks/>
                  </p:cNvSpPr>
                  <p:nvPr/>
                </p:nvSpPr>
                <p:spPr bwMode="auto">
                  <a:xfrm>
                    <a:off x="2172970" y="1573213"/>
                    <a:ext cx="176530" cy="121920"/>
                  </a:xfrm>
                  <a:custGeom>
                    <a:avLst/>
                    <a:gdLst/>
                    <a:ahLst/>
                    <a:cxnLst>
                      <a:cxn ang="0">
                        <a:pos x="272" y="132"/>
                      </a:cxn>
                      <a:cxn ang="0">
                        <a:pos x="258" y="122"/>
                      </a:cxn>
                      <a:cxn ang="0">
                        <a:pos x="250" y="126"/>
                      </a:cxn>
                      <a:cxn ang="0">
                        <a:pos x="236" y="124"/>
                      </a:cxn>
                      <a:cxn ang="0">
                        <a:pos x="228" y="120"/>
                      </a:cxn>
                      <a:cxn ang="0">
                        <a:pos x="220" y="102"/>
                      </a:cxn>
                      <a:cxn ang="0">
                        <a:pos x="212" y="88"/>
                      </a:cxn>
                      <a:cxn ang="0">
                        <a:pos x="192" y="78"/>
                      </a:cxn>
                      <a:cxn ang="0">
                        <a:pos x="178" y="72"/>
                      </a:cxn>
                      <a:cxn ang="0">
                        <a:pos x="140" y="46"/>
                      </a:cxn>
                      <a:cxn ang="0">
                        <a:pos x="122" y="34"/>
                      </a:cxn>
                      <a:cxn ang="0">
                        <a:pos x="110" y="34"/>
                      </a:cxn>
                      <a:cxn ang="0">
                        <a:pos x="106" y="36"/>
                      </a:cxn>
                      <a:cxn ang="0">
                        <a:pos x="100" y="40"/>
                      </a:cxn>
                      <a:cxn ang="0">
                        <a:pos x="96" y="38"/>
                      </a:cxn>
                      <a:cxn ang="0">
                        <a:pos x="86" y="24"/>
                      </a:cxn>
                      <a:cxn ang="0">
                        <a:pos x="76" y="8"/>
                      </a:cxn>
                      <a:cxn ang="0">
                        <a:pos x="66" y="0"/>
                      </a:cxn>
                      <a:cxn ang="0">
                        <a:pos x="62" y="2"/>
                      </a:cxn>
                      <a:cxn ang="0">
                        <a:pos x="54" y="6"/>
                      </a:cxn>
                      <a:cxn ang="0">
                        <a:pos x="42" y="26"/>
                      </a:cxn>
                      <a:cxn ang="0">
                        <a:pos x="36" y="58"/>
                      </a:cxn>
                      <a:cxn ang="0">
                        <a:pos x="34" y="90"/>
                      </a:cxn>
                      <a:cxn ang="0">
                        <a:pos x="38" y="106"/>
                      </a:cxn>
                      <a:cxn ang="0">
                        <a:pos x="38" y="116"/>
                      </a:cxn>
                      <a:cxn ang="0">
                        <a:pos x="34" y="124"/>
                      </a:cxn>
                      <a:cxn ang="0">
                        <a:pos x="18" y="134"/>
                      </a:cxn>
                      <a:cxn ang="0">
                        <a:pos x="4" y="142"/>
                      </a:cxn>
                      <a:cxn ang="0">
                        <a:pos x="0" y="150"/>
                      </a:cxn>
                      <a:cxn ang="0">
                        <a:pos x="4" y="158"/>
                      </a:cxn>
                      <a:cxn ang="0">
                        <a:pos x="4" y="160"/>
                      </a:cxn>
                      <a:cxn ang="0">
                        <a:pos x="16" y="162"/>
                      </a:cxn>
                      <a:cxn ang="0">
                        <a:pos x="50" y="156"/>
                      </a:cxn>
                      <a:cxn ang="0">
                        <a:pos x="64" y="156"/>
                      </a:cxn>
                      <a:cxn ang="0">
                        <a:pos x="66" y="162"/>
                      </a:cxn>
                      <a:cxn ang="0">
                        <a:pos x="66" y="166"/>
                      </a:cxn>
                      <a:cxn ang="0">
                        <a:pos x="70" y="182"/>
                      </a:cxn>
                      <a:cxn ang="0">
                        <a:pos x="82" y="190"/>
                      </a:cxn>
                      <a:cxn ang="0">
                        <a:pos x="96" y="190"/>
                      </a:cxn>
                      <a:cxn ang="0">
                        <a:pos x="110" y="176"/>
                      </a:cxn>
                      <a:cxn ang="0">
                        <a:pos x="114" y="166"/>
                      </a:cxn>
                      <a:cxn ang="0">
                        <a:pos x="124" y="160"/>
                      </a:cxn>
                      <a:cxn ang="0">
                        <a:pos x="134" y="158"/>
                      </a:cxn>
                      <a:cxn ang="0">
                        <a:pos x="142" y="150"/>
                      </a:cxn>
                      <a:cxn ang="0">
                        <a:pos x="144" y="142"/>
                      </a:cxn>
                      <a:cxn ang="0">
                        <a:pos x="154" y="128"/>
                      </a:cxn>
                      <a:cxn ang="0">
                        <a:pos x="170" y="124"/>
                      </a:cxn>
                      <a:cxn ang="0">
                        <a:pos x="184" y="130"/>
                      </a:cxn>
                      <a:cxn ang="0">
                        <a:pos x="192" y="142"/>
                      </a:cxn>
                      <a:cxn ang="0">
                        <a:pos x="194" y="148"/>
                      </a:cxn>
                      <a:cxn ang="0">
                        <a:pos x="198" y="154"/>
                      </a:cxn>
                      <a:cxn ang="0">
                        <a:pos x="214" y="156"/>
                      </a:cxn>
                      <a:cxn ang="0">
                        <a:pos x="232" y="160"/>
                      </a:cxn>
                      <a:cxn ang="0">
                        <a:pos x="254" y="162"/>
                      </a:cxn>
                      <a:cxn ang="0">
                        <a:pos x="272" y="158"/>
                      </a:cxn>
                      <a:cxn ang="0">
                        <a:pos x="278" y="148"/>
                      </a:cxn>
                      <a:cxn ang="0">
                        <a:pos x="272" y="132"/>
                      </a:cxn>
                    </a:cxnLst>
                    <a:rect l="0" t="0" r="r" b="b"/>
                    <a:pathLst>
                      <a:path w="278" h="192">
                        <a:moveTo>
                          <a:pt x="272" y="132"/>
                        </a:moveTo>
                        <a:lnTo>
                          <a:pt x="272" y="132"/>
                        </a:lnTo>
                        <a:lnTo>
                          <a:pt x="262" y="122"/>
                        </a:lnTo>
                        <a:lnTo>
                          <a:pt x="258" y="122"/>
                        </a:lnTo>
                        <a:lnTo>
                          <a:pt x="256" y="122"/>
                        </a:lnTo>
                        <a:lnTo>
                          <a:pt x="250" y="126"/>
                        </a:lnTo>
                        <a:lnTo>
                          <a:pt x="244" y="126"/>
                        </a:lnTo>
                        <a:lnTo>
                          <a:pt x="236" y="124"/>
                        </a:lnTo>
                        <a:lnTo>
                          <a:pt x="236" y="124"/>
                        </a:lnTo>
                        <a:lnTo>
                          <a:pt x="228" y="120"/>
                        </a:lnTo>
                        <a:lnTo>
                          <a:pt x="224" y="114"/>
                        </a:lnTo>
                        <a:lnTo>
                          <a:pt x="220" y="102"/>
                        </a:lnTo>
                        <a:lnTo>
                          <a:pt x="218" y="96"/>
                        </a:lnTo>
                        <a:lnTo>
                          <a:pt x="212" y="88"/>
                        </a:lnTo>
                        <a:lnTo>
                          <a:pt x="204" y="82"/>
                        </a:lnTo>
                        <a:lnTo>
                          <a:pt x="192" y="78"/>
                        </a:lnTo>
                        <a:lnTo>
                          <a:pt x="192" y="78"/>
                        </a:lnTo>
                        <a:lnTo>
                          <a:pt x="178" y="72"/>
                        </a:lnTo>
                        <a:lnTo>
                          <a:pt x="164" y="64"/>
                        </a:lnTo>
                        <a:lnTo>
                          <a:pt x="140" y="46"/>
                        </a:lnTo>
                        <a:lnTo>
                          <a:pt x="130" y="38"/>
                        </a:lnTo>
                        <a:lnTo>
                          <a:pt x="122" y="34"/>
                        </a:lnTo>
                        <a:lnTo>
                          <a:pt x="114" y="32"/>
                        </a:lnTo>
                        <a:lnTo>
                          <a:pt x="110" y="34"/>
                        </a:lnTo>
                        <a:lnTo>
                          <a:pt x="106" y="36"/>
                        </a:lnTo>
                        <a:lnTo>
                          <a:pt x="106" y="36"/>
                        </a:lnTo>
                        <a:lnTo>
                          <a:pt x="104" y="38"/>
                        </a:lnTo>
                        <a:lnTo>
                          <a:pt x="100" y="40"/>
                        </a:lnTo>
                        <a:lnTo>
                          <a:pt x="98" y="40"/>
                        </a:lnTo>
                        <a:lnTo>
                          <a:pt x="96" y="38"/>
                        </a:lnTo>
                        <a:lnTo>
                          <a:pt x="90" y="32"/>
                        </a:lnTo>
                        <a:lnTo>
                          <a:pt x="86" y="24"/>
                        </a:lnTo>
                        <a:lnTo>
                          <a:pt x="82" y="14"/>
                        </a:lnTo>
                        <a:lnTo>
                          <a:pt x="76" y="8"/>
                        </a:lnTo>
                        <a:lnTo>
                          <a:pt x="70" y="2"/>
                        </a:lnTo>
                        <a:lnTo>
                          <a:pt x="66" y="0"/>
                        </a:lnTo>
                        <a:lnTo>
                          <a:pt x="62" y="2"/>
                        </a:lnTo>
                        <a:lnTo>
                          <a:pt x="62" y="2"/>
                        </a:lnTo>
                        <a:lnTo>
                          <a:pt x="58" y="2"/>
                        </a:lnTo>
                        <a:lnTo>
                          <a:pt x="54" y="6"/>
                        </a:lnTo>
                        <a:lnTo>
                          <a:pt x="48" y="14"/>
                        </a:lnTo>
                        <a:lnTo>
                          <a:pt x="42" y="26"/>
                        </a:lnTo>
                        <a:lnTo>
                          <a:pt x="38" y="42"/>
                        </a:lnTo>
                        <a:lnTo>
                          <a:pt x="36" y="58"/>
                        </a:lnTo>
                        <a:lnTo>
                          <a:pt x="34" y="74"/>
                        </a:lnTo>
                        <a:lnTo>
                          <a:pt x="34" y="90"/>
                        </a:lnTo>
                        <a:lnTo>
                          <a:pt x="38" y="106"/>
                        </a:lnTo>
                        <a:lnTo>
                          <a:pt x="38" y="106"/>
                        </a:lnTo>
                        <a:lnTo>
                          <a:pt x="38" y="112"/>
                        </a:lnTo>
                        <a:lnTo>
                          <a:pt x="38" y="116"/>
                        </a:lnTo>
                        <a:lnTo>
                          <a:pt x="36" y="122"/>
                        </a:lnTo>
                        <a:lnTo>
                          <a:pt x="34" y="124"/>
                        </a:lnTo>
                        <a:lnTo>
                          <a:pt x="26" y="130"/>
                        </a:lnTo>
                        <a:lnTo>
                          <a:pt x="18" y="134"/>
                        </a:lnTo>
                        <a:lnTo>
                          <a:pt x="10" y="138"/>
                        </a:lnTo>
                        <a:lnTo>
                          <a:pt x="4" y="142"/>
                        </a:lnTo>
                        <a:lnTo>
                          <a:pt x="2" y="146"/>
                        </a:lnTo>
                        <a:lnTo>
                          <a:pt x="0" y="150"/>
                        </a:lnTo>
                        <a:lnTo>
                          <a:pt x="2" y="154"/>
                        </a:lnTo>
                        <a:lnTo>
                          <a:pt x="4" y="158"/>
                        </a:lnTo>
                        <a:lnTo>
                          <a:pt x="4" y="158"/>
                        </a:lnTo>
                        <a:lnTo>
                          <a:pt x="4" y="160"/>
                        </a:lnTo>
                        <a:lnTo>
                          <a:pt x="8" y="162"/>
                        </a:lnTo>
                        <a:lnTo>
                          <a:pt x="16" y="162"/>
                        </a:lnTo>
                        <a:lnTo>
                          <a:pt x="38" y="158"/>
                        </a:lnTo>
                        <a:lnTo>
                          <a:pt x="50" y="156"/>
                        </a:lnTo>
                        <a:lnTo>
                          <a:pt x="60" y="156"/>
                        </a:lnTo>
                        <a:lnTo>
                          <a:pt x="64" y="156"/>
                        </a:lnTo>
                        <a:lnTo>
                          <a:pt x="66" y="158"/>
                        </a:lnTo>
                        <a:lnTo>
                          <a:pt x="66" y="162"/>
                        </a:lnTo>
                        <a:lnTo>
                          <a:pt x="66" y="166"/>
                        </a:lnTo>
                        <a:lnTo>
                          <a:pt x="66" y="166"/>
                        </a:lnTo>
                        <a:lnTo>
                          <a:pt x="66" y="174"/>
                        </a:lnTo>
                        <a:lnTo>
                          <a:pt x="70" y="182"/>
                        </a:lnTo>
                        <a:lnTo>
                          <a:pt x="74" y="188"/>
                        </a:lnTo>
                        <a:lnTo>
                          <a:pt x="82" y="190"/>
                        </a:lnTo>
                        <a:lnTo>
                          <a:pt x="88" y="192"/>
                        </a:lnTo>
                        <a:lnTo>
                          <a:pt x="96" y="190"/>
                        </a:lnTo>
                        <a:lnTo>
                          <a:pt x="104" y="184"/>
                        </a:lnTo>
                        <a:lnTo>
                          <a:pt x="110" y="176"/>
                        </a:lnTo>
                        <a:lnTo>
                          <a:pt x="110" y="176"/>
                        </a:lnTo>
                        <a:lnTo>
                          <a:pt x="114" y="166"/>
                        </a:lnTo>
                        <a:lnTo>
                          <a:pt x="120" y="162"/>
                        </a:lnTo>
                        <a:lnTo>
                          <a:pt x="124" y="160"/>
                        </a:lnTo>
                        <a:lnTo>
                          <a:pt x="130" y="158"/>
                        </a:lnTo>
                        <a:lnTo>
                          <a:pt x="134" y="158"/>
                        </a:lnTo>
                        <a:lnTo>
                          <a:pt x="138" y="156"/>
                        </a:lnTo>
                        <a:lnTo>
                          <a:pt x="142" y="150"/>
                        </a:lnTo>
                        <a:lnTo>
                          <a:pt x="144" y="142"/>
                        </a:lnTo>
                        <a:lnTo>
                          <a:pt x="144" y="142"/>
                        </a:lnTo>
                        <a:lnTo>
                          <a:pt x="148" y="134"/>
                        </a:lnTo>
                        <a:lnTo>
                          <a:pt x="154" y="128"/>
                        </a:lnTo>
                        <a:lnTo>
                          <a:pt x="162" y="124"/>
                        </a:lnTo>
                        <a:lnTo>
                          <a:pt x="170" y="124"/>
                        </a:lnTo>
                        <a:lnTo>
                          <a:pt x="178" y="126"/>
                        </a:lnTo>
                        <a:lnTo>
                          <a:pt x="184" y="130"/>
                        </a:lnTo>
                        <a:lnTo>
                          <a:pt x="190" y="136"/>
                        </a:lnTo>
                        <a:lnTo>
                          <a:pt x="192" y="142"/>
                        </a:lnTo>
                        <a:lnTo>
                          <a:pt x="192" y="142"/>
                        </a:lnTo>
                        <a:lnTo>
                          <a:pt x="194" y="148"/>
                        </a:lnTo>
                        <a:lnTo>
                          <a:pt x="196" y="152"/>
                        </a:lnTo>
                        <a:lnTo>
                          <a:pt x="198" y="154"/>
                        </a:lnTo>
                        <a:lnTo>
                          <a:pt x="202" y="156"/>
                        </a:lnTo>
                        <a:lnTo>
                          <a:pt x="214" y="156"/>
                        </a:lnTo>
                        <a:lnTo>
                          <a:pt x="232" y="160"/>
                        </a:lnTo>
                        <a:lnTo>
                          <a:pt x="232" y="160"/>
                        </a:lnTo>
                        <a:lnTo>
                          <a:pt x="244" y="162"/>
                        </a:lnTo>
                        <a:lnTo>
                          <a:pt x="254" y="162"/>
                        </a:lnTo>
                        <a:lnTo>
                          <a:pt x="264" y="160"/>
                        </a:lnTo>
                        <a:lnTo>
                          <a:pt x="272" y="158"/>
                        </a:lnTo>
                        <a:lnTo>
                          <a:pt x="276" y="154"/>
                        </a:lnTo>
                        <a:lnTo>
                          <a:pt x="278" y="148"/>
                        </a:lnTo>
                        <a:lnTo>
                          <a:pt x="278" y="140"/>
                        </a:lnTo>
                        <a:lnTo>
                          <a:pt x="272" y="132"/>
                        </a:lnTo>
                        <a:lnTo>
                          <a:pt x="272" y="13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4" name="Freeform 6111"/>
                  <p:cNvSpPr>
                    <a:spLocks/>
                  </p:cNvSpPr>
                  <p:nvPr/>
                </p:nvSpPr>
                <p:spPr bwMode="auto">
                  <a:xfrm>
                    <a:off x="2178050" y="1465263"/>
                    <a:ext cx="15240" cy="24130"/>
                  </a:xfrm>
                  <a:custGeom>
                    <a:avLst/>
                    <a:gdLst/>
                    <a:ahLst/>
                    <a:cxnLst>
                      <a:cxn ang="0">
                        <a:pos x="4" y="28"/>
                      </a:cxn>
                      <a:cxn ang="0">
                        <a:pos x="4" y="28"/>
                      </a:cxn>
                      <a:cxn ang="0">
                        <a:pos x="12" y="36"/>
                      </a:cxn>
                      <a:cxn ang="0">
                        <a:pos x="16" y="38"/>
                      </a:cxn>
                      <a:cxn ang="0">
                        <a:pos x="18" y="38"/>
                      </a:cxn>
                      <a:cxn ang="0">
                        <a:pos x="22" y="36"/>
                      </a:cxn>
                      <a:cxn ang="0">
                        <a:pos x="24" y="30"/>
                      </a:cxn>
                      <a:cxn ang="0">
                        <a:pos x="24" y="12"/>
                      </a:cxn>
                      <a:cxn ang="0">
                        <a:pos x="20" y="0"/>
                      </a:cxn>
                      <a:cxn ang="0">
                        <a:pos x="20" y="0"/>
                      </a:cxn>
                      <a:cxn ang="0">
                        <a:pos x="18" y="0"/>
                      </a:cxn>
                      <a:cxn ang="0">
                        <a:pos x="14" y="0"/>
                      </a:cxn>
                      <a:cxn ang="0">
                        <a:pos x="10" y="2"/>
                      </a:cxn>
                      <a:cxn ang="0">
                        <a:pos x="6" y="6"/>
                      </a:cxn>
                      <a:cxn ang="0">
                        <a:pos x="2" y="10"/>
                      </a:cxn>
                      <a:cxn ang="0">
                        <a:pos x="0" y="16"/>
                      </a:cxn>
                      <a:cxn ang="0">
                        <a:pos x="0" y="22"/>
                      </a:cxn>
                      <a:cxn ang="0">
                        <a:pos x="4" y="28"/>
                      </a:cxn>
                      <a:cxn ang="0">
                        <a:pos x="4" y="28"/>
                      </a:cxn>
                    </a:cxnLst>
                    <a:rect l="0" t="0" r="r" b="b"/>
                    <a:pathLst>
                      <a:path w="24" h="38">
                        <a:moveTo>
                          <a:pt x="4" y="28"/>
                        </a:moveTo>
                        <a:lnTo>
                          <a:pt x="4" y="28"/>
                        </a:lnTo>
                        <a:lnTo>
                          <a:pt x="12" y="36"/>
                        </a:lnTo>
                        <a:lnTo>
                          <a:pt x="16" y="38"/>
                        </a:lnTo>
                        <a:lnTo>
                          <a:pt x="18" y="38"/>
                        </a:lnTo>
                        <a:lnTo>
                          <a:pt x="22" y="36"/>
                        </a:lnTo>
                        <a:lnTo>
                          <a:pt x="24" y="30"/>
                        </a:lnTo>
                        <a:lnTo>
                          <a:pt x="24" y="12"/>
                        </a:lnTo>
                        <a:lnTo>
                          <a:pt x="20" y="0"/>
                        </a:lnTo>
                        <a:lnTo>
                          <a:pt x="20" y="0"/>
                        </a:lnTo>
                        <a:lnTo>
                          <a:pt x="18" y="0"/>
                        </a:lnTo>
                        <a:lnTo>
                          <a:pt x="14" y="0"/>
                        </a:lnTo>
                        <a:lnTo>
                          <a:pt x="10" y="2"/>
                        </a:lnTo>
                        <a:lnTo>
                          <a:pt x="6" y="6"/>
                        </a:lnTo>
                        <a:lnTo>
                          <a:pt x="2" y="10"/>
                        </a:lnTo>
                        <a:lnTo>
                          <a:pt x="0" y="16"/>
                        </a:lnTo>
                        <a:lnTo>
                          <a:pt x="0" y="22"/>
                        </a:lnTo>
                        <a:lnTo>
                          <a:pt x="4" y="28"/>
                        </a:lnTo>
                        <a:lnTo>
                          <a:pt x="4" y="2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5" name="Freeform 6112"/>
                  <p:cNvSpPr>
                    <a:spLocks/>
                  </p:cNvSpPr>
                  <p:nvPr/>
                </p:nvSpPr>
                <p:spPr bwMode="auto">
                  <a:xfrm>
                    <a:off x="2258060" y="1697673"/>
                    <a:ext cx="52070" cy="36830"/>
                  </a:xfrm>
                  <a:custGeom>
                    <a:avLst/>
                    <a:gdLst/>
                    <a:ahLst/>
                    <a:cxnLst>
                      <a:cxn ang="0">
                        <a:pos x="78" y="4"/>
                      </a:cxn>
                      <a:cxn ang="0">
                        <a:pos x="78" y="4"/>
                      </a:cxn>
                      <a:cxn ang="0">
                        <a:pos x="72" y="2"/>
                      </a:cxn>
                      <a:cxn ang="0">
                        <a:pos x="68" y="0"/>
                      </a:cxn>
                      <a:cxn ang="0">
                        <a:pos x="54" y="2"/>
                      </a:cxn>
                      <a:cxn ang="0">
                        <a:pos x="38" y="6"/>
                      </a:cxn>
                      <a:cxn ang="0">
                        <a:pos x="24" y="14"/>
                      </a:cxn>
                      <a:cxn ang="0">
                        <a:pos x="12" y="22"/>
                      </a:cxn>
                      <a:cxn ang="0">
                        <a:pos x="4" y="32"/>
                      </a:cxn>
                      <a:cxn ang="0">
                        <a:pos x="0" y="38"/>
                      </a:cxn>
                      <a:cxn ang="0">
                        <a:pos x="0" y="42"/>
                      </a:cxn>
                      <a:cxn ang="0">
                        <a:pos x="2" y="48"/>
                      </a:cxn>
                      <a:cxn ang="0">
                        <a:pos x="6" y="52"/>
                      </a:cxn>
                      <a:cxn ang="0">
                        <a:pos x="6" y="52"/>
                      </a:cxn>
                      <a:cxn ang="0">
                        <a:pos x="10" y="56"/>
                      </a:cxn>
                      <a:cxn ang="0">
                        <a:pos x="16" y="58"/>
                      </a:cxn>
                      <a:cxn ang="0">
                        <a:pos x="22" y="58"/>
                      </a:cxn>
                      <a:cxn ang="0">
                        <a:pos x="28" y="56"/>
                      </a:cxn>
                      <a:cxn ang="0">
                        <a:pos x="42" y="50"/>
                      </a:cxn>
                      <a:cxn ang="0">
                        <a:pos x="58" y="42"/>
                      </a:cxn>
                      <a:cxn ang="0">
                        <a:pos x="70" y="32"/>
                      </a:cxn>
                      <a:cxn ang="0">
                        <a:pos x="78" y="20"/>
                      </a:cxn>
                      <a:cxn ang="0">
                        <a:pos x="80" y="16"/>
                      </a:cxn>
                      <a:cxn ang="0">
                        <a:pos x="82" y="10"/>
                      </a:cxn>
                      <a:cxn ang="0">
                        <a:pos x="80" y="6"/>
                      </a:cxn>
                      <a:cxn ang="0">
                        <a:pos x="78" y="4"/>
                      </a:cxn>
                      <a:cxn ang="0">
                        <a:pos x="78" y="4"/>
                      </a:cxn>
                    </a:cxnLst>
                    <a:rect l="0" t="0" r="r" b="b"/>
                    <a:pathLst>
                      <a:path w="82" h="58">
                        <a:moveTo>
                          <a:pt x="78" y="4"/>
                        </a:moveTo>
                        <a:lnTo>
                          <a:pt x="78" y="4"/>
                        </a:lnTo>
                        <a:lnTo>
                          <a:pt x="72" y="2"/>
                        </a:lnTo>
                        <a:lnTo>
                          <a:pt x="68" y="0"/>
                        </a:lnTo>
                        <a:lnTo>
                          <a:pt x="54" y="2"/>
                        </a:lnTo>
                        <a:lnTo>
                          <a:pt x="38" y="6"/>
                        </a:lnTo>
                        <a:lnTo>
                          <a:pt x="24" y="14"/>
                        </a:lnTo>
                        <a:lnTo>
                          <a:pt x="12" y="22"/>
                        </a:lnTo>
                        <a:lnTo>
                          <a:pt x="4" y="32"/>
                        </a:lnTo>
                        <a:lnTo>
                          <a:pt x="0" y="38"/>
                        </a:lnTo>
                        <a:lnTo>
                          <a:pt x="0" y="42"/>
                        </a:lnTo>
                        <a:lnTo>
                          <a:pt x="2" y="48"/>
                        </a:lnTo>
                        <a:lnTo>
                          <a:pt x="6" y="52"/>
                        </a:lnTo>
                        <a:lnTo>
                          <a:pt x="6" y="52"/>
                        </a:lnTo>
                        <a:lnTo>
                          <a:pt x="10" y="56"/>
                        </a:lnTo>
                        <a:lnTo>
                          <a:pt x="16" y="58"/>
                        </a:lnTo>
                        <a:lnTo>
                          <a:pt x="22" y="58"/>
                        </a:lnTo>
                        <a:lnTo>
                          <a:pt x="28" y="56"/>
                        </a:lnTo>
                        <a:lnTo>
                          <a:pt x="42" y="50"/>
                        </a:lnTo>
                        <a:lnTo>
                          <a:pt x="58" y="42"/>
                        </a:lnTo>
                        <a:lnTo>
                          <a:pt x="70" y="32"/>
                        </a:lnTo>
                        <a:lnTo>
                          <a:pt x="78" y="20"/>
                        </a:lnTo>
                        <a:lnTo>
                          <a:pt x="80" y="16"/>
                        </a:lnTo>
                        <a:lnTo>
                          <a:pt x="82" y="10"/>
                        </a:lnTo>
                        <a:lnTo>
                          <a:pt x="80" y="6"/>
                        </a:lnTo>
                        <a:lnTo>
                          <a:pt x="78" y="4"/>
                        </a:lnTo>
                        <a:lnTo>
                          <a:pt x="78"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6" name="Freeform 6113"/>
                  <p:cNvSpPr>
                    <a:spLocks/>
                  </p:cNvSpPr>
                  <p:nvPr/>
                </p:nvSpPr>
                <p:spPr bwMode="auto">
                  <a:xfrm>
                    <a:off x="1357630" y="1230313"/>
                    <a:ext cx="467360" cy="227330"/>
                  </a:xfrm>
                  <a:custGeom>
                    <a:avLst/>
                    <a:gdLst/>
                    <a:ahLst/>
                    <a:cxnLst>
                      <a:cxn ang="0">
                        <a:pos x="700" y="272"/>
                      </a:cxn>
                      <a:cxn ang="0">
                        <a:pos x="720" y="274"/>
                      </a:cxn>
                      <a:cxn ang="0">
                        <a:pos x="736" y="254"/>
                      </a:cxn>
                      <a:cxn ang="0">
                        <a:pos x="708" y="238"/>
                      </a:cxn>
                      <a:cxn ang="0">
                        <a:pos x="684" y="224"/>
                      </a:cxn>
                      <a:cxn ang="0">
                        <a:pos x="646" y="206"/>
                      </a:cxn>
                      <a:cxn ang="0">
                        <a:pos x="608" y="190"/>
                      </a:cxn>
                      <a:cxn ang="0">
                        <a:pos x="586" y="166"/>
                      </a:cxn>
                      <a:cxn ang="0">
                        <a:pos x="592" y="128"/>
                      </a:cxn>
                      <a:cxn ang="0">
                        <a:pos x="560" y="58"/>
                      </a:cxn>
                      <a:cxn ang="0">
                        <a:pos x="506" y="10"/>
                      </a:cxn>
                      <a:cxn ang="0">
                        <a:pos x="482" y="10"/>
                      </a:cxn>
                      <a:cxn ang="0">
                        <a:pos x="438" y="8"/>
                      </a:cxn>
                      <a:cxn ang="0">
                        <a:pos x="450" y="68"/>
                      </a:cxn>
                      <a:cxn ang="0">
                        <a:pos x="478" y="114"/>
                      </a:cxn>
                      <a:cxn ang="0">
                        <a:pos x="456" y="132"/>
                      </a:cxn>
                      <a:cxn ang="0">
                        <a:pos x="420" y="68"/>
                      </a:cxn>
                      <a:cxn ang="0">
                        <a:pos x="382" y="40"/>
                      </a:cxn>
                      <a:cxn ang="0">
                        <a:pos x="354" y="26"/>
                      </a:cxn>
                      <a:cxn ang="0">
                        <a:pos x="352" y="40"/>
                      </a:cxn>
                      <a:cxn ang="0">
                        <a:pos x="372" y="58"/>
                      </a:cxn>
                      <a:cxn ang="0">
                        <a:pos x="336" y="62"/>
                      </a:cxn>
                      <a:cxn ang="0">
                        <a:pos x="318" y="74"/>
                      </a:cxn>
                      <a:cxn ang="0">
                        <a:pos x="296" y="40"/>
                      </a:cxn>
                      <a:cxn ang="0">
                        <a:pos x="224" y="38"/>
                      </a:cxn>
                      <a:cxn ang="0">
                        <a:pos x="190" y="60"/>
                      </a:cxn>
                      <a:cxn ang="0">
                        <a:pos x="206" y="32"/>
                      </a:cxn>
                      <a:cxn ang="0">
                        <a:pos x="196" y="2"/>
                      </a:cxn>
                      <a:cxn ang="0">
                        <a:pos x="100" y="26"/>
                      </a:cxn>
                      <a:cxn ang="0">
                        <a:pos x="22" y="72"/>
                      </a:cxn>
                      <a:cxn ang="0">
                        <a:pos x="40" y="86"/>
                      </a:cxn>
                      <a:cxn ang="0">
                        <a:pos x="2" y="116"/>
                      </a:cxn>
                      <a:cxn ang="0">
                        <a:pos x="14" y="130"/>
                      </a:cxn>
                      <a:cxn ang="0">
                        <a:pos x="34" y="146"/>
                      </a:cxn>
                      <a:cxn ang="0">
                        <a:pos x="116" y="140"/>
                      </a:cxn>
                      <a:cxn ang="0">
                        <a:pos x="76" y="160"/>
                      </a:cxn>
                      <a:cxn ang="0">
                        <a:pos x="44" y="192"/>
                      </a:cxn>
                      <a:cxn ang="0">
                        <a:pos x="110" y="204"/>
                      </a:cxn>
                      <a:cxn ang="0">
                        <a:pos x="210" y="202"/>
                      </a:cxn>
                      <a:cxn ang="0">
                        <a:pos x="276" y="214"/>
                      </a:cxn>
                      <a:cxn ang="0">
                        <a:pos x="294" y="230"/>
                      </a:cxn>
                      <a:cxn ang="0">
                        <a:pos x="168" y="230"/>
                      </a:cxn>
                      <a:cxn ang="0">
                        <a:pos x="70" y="254"/>
                      </a:cxn>
                      <a:cxn ang="0">
                        <a:pos x="122" y="300"/>
                      </a:cxn>
                      <a:cxn ang="0">
                        <a:pos x="222" y="308"/>
                      </a:cxn>
                      <a:cxn ang="0">
                        <a:pos x="232" y="350"/>
                      </a:cxn>
                      <a:cxn ang="0">
                        <a:pos x="314" y="358"/>
                      </a:cxn>
                      <a:cxn ang="0">
                        <a:pos x="420" y="332"/>
                      </a:cxn>
                      <a:cxn ang="0">
                        <a:pos x="478" y="318"/>
                      </a:cxn>
                      <a:cxn ang="0">
                        <a:pos x="490" y="296"/>
                      </a:cxn>
                      <a:cxn ang="0">
                        <a:pos x="516" y="294"/>
                      </a:cxn>
                      <a:cxn ang="0">
                        <a:pos x="540" y="312"/>
                      </a:cxn>
                      <a:cxn ang="0">
                        <a:pos x="560" y="324"/>
                      </a:cxn>
                      <a:cxn ang="0">
                        <a:pos x="592" y="328"/>
                      </a:cxn>
                      <a:cxn ang="0">
                        <a:pos x="640" y="334"/>
                      </a:cxn>
                      <a:cxn ang="0">
                        <a:pos x="680" y="324"/>
                      </a:cxn>
                      <a:cxn ang="0">
                        <a:pos x="700" y="306"/>
                      </a:cxn>
                      <a:cxn ang="0">
                        <a:pos x="692" y="288"/>
                      </a:cxn>
                      <a:cxn ang="0">
                        <a:pos x="648" y="300"/>
                      </a:cxn>
                      <a:cxn ang="0">
                        <a:pos x="632" y="278"/>
                      </a:cxn>
                      <a:cxn ang="0">
                        <a:pos x="660" y="282"/>
                      </a:cxn>
                      <a:cxn ang="0">
                        <a:pos x="668" y="272"/>
                      </a:cxn>
                    </a:cxnLst>
                    <a:rect l="0" t="0" r="r" b="b"/>
                    <a:pathLst>
                      <a:path w="736" h="358">
                        <a:moveTo>
                          <a:pt x="674" y="264"/>
                        </a:moveTo>
                        <a:lnTo>
                          <a:pt x="674" y="264"/>
                        </a:lnTo>
                        <a:lnTo>
                          <a:pt x="682" y="262"/>
                        </a:lnTo>
                        <a:lnTo>
                          <a:pt x="686" y="262"/>
                        </a:lnTo>
                        <a:lnTo>
                          <a:pt x="690" y="264"/>
                        </a:lnTo>
                        <a:lnTo>
                          <a:pt x="694" y="268"/>
                        </a:lnTo>
                        <a:lnTo>
                          <a:pt x="700" y="272"/>
                        </a:lnTo>
                        <a:lnTo>
                          <a:pt x="702" y="274"/>
                        </a:lnTo>
                        <a:lnTo>
                          <a:pt x="704" y="272"/>
                        </a:lnTo>
                        <a:lnTo>
                          <a:pt x="704" y="272"/>
                        </a:lnTo>
                        <a:lnTo>
                          <a:pt x="710" y="268"/>
                        </a:lnTo>
                        <a:lnTo>
                          <a:pt x="714" y="268"/>
                        </a:lnTo>
                        <a:lnTo>
                          <a:pt x="718" y="272"/>
                        </a:lnTo>
                        <a:lnTo>
                          <a:pt x="720" y="274"/>
                        </a:lnTo>
                        <a:lnTo>
                          <a:pt x="726" y="274"/>
                        </a:lnTo>
                        <a:lnTo>
                          <a:pt x="726" y="274"/>
                        </a:lnTo>
                        <a:lnTo>
                          <a:pt x="730" y="274"/>
                        </a:lnTo>
                        <a:lnTo>
                          <a:pt x="734" y="272"/>
                        </a:lnTo>
                        <a:lnTo>
                          <a:pt x="736" y="268"/>
                        </a:lnTo>
                        <a:lnTo>
                          <a:pt x="736" y="264"/>
                        </a:lnTo>
                        <a:lnTo>
                          <a:pt x="736" y="254"/>
                        </a:lnTo>
                        <a:lnTo>
                          <a:pt x="734" y="244"/>
                        </a:lnTo>
                        <a:lnTo>
                          <a:pt x="734" y="244"/>
                        </a:lnTo>
                        <a:lnTo>
                          <a:pt x="732" y="240"/>
                        </a:lnTo>
                        <a:lnTo>
                          <a:pt x="728" y="238"/>
                        </a:lnTo>
                        <a:lnTo>
                          <a:pt x="720" y="238"/>
                        </a:lnTo>
                        <a:lnTo>
                          <a:pt x="712" y="238"/>
                        </a:lnTo>
                        <a:lnTo>
                          <a:pt x="708" y="238"/>
                        </a:lnTo>
                        <a:lnTo>
                          <a:pt x="708" y="234"/>
                        </a:lnTo>
                        <a:lnTo>
                          <a:pt x="708" y="234"/>
                        </a:lnTo>
                        <a:lnTo>
                          <a:pt x="706" y="230"/>
                        </a:lnTo>
                        <a:lnTo>
                          <a:pt x="704" y="230"/>
                        </a:lnTo>
                        <a:lnTo>
                          <a:pt x="698" y="228"/>
                        </a:lnTo>
                        <a:lnTo>
                          <a:pt x="692" y="228"/>
                        </a:lnTo>
                        <a:lnTo>
                          <a:pt x="684" y="224"/>
                        </a:lnTo>
                        <a:lnTo>
                          <a:pt x="674" y="218"/>
                        </a:lnTo>
                        <a:lnTo>
                          <a:pt x="660" y="210"/>
                        </a:lnTo>
                        <a:lnTo>
                          <a:pt x="660" y="210"/>
                        </a:lnTo>
                        <a:lnTo>
                          <a:pt x="652" y="204"/>
                        </a:lnTo>
                        <a:lnTo>
                          <a:pt x="648" y="200"/>
                        </a:lnTo>
                        <a:lnTo>
                          <a:pt x="644" y="202"/>
                        </a:lnTo>
                        <a:lnTo>
                          <a:pt x="646" y="206"/>
                        </a:lnTo>
                        <a:lnTo>
                          <a:pt x="646" y="206"/>
                        </a:lnTo>
                        <a:lnTo>
                          <a:pt x="646" y="208"/>
                        </a:lnTo>
                        <a:lnTo>
                          <a:pt x="642" y="210"/>
                        </a:lnTo>
                        <a:lnTo>
                          <a:pt x="632" y="208"/>
                        </a:lnTo>
                        <a:lnTo>
                          <a:pt x="618" y="200"/>
                        </a:lnTo>
                        <a:lnTo>
                          <a:pt x="612" y="196"/>
                        </a:lnTo>
                        <a:lnTo>
                          <a:pt x="608" y="190"/>
                        </a:lnTo>
                        <a:lnTo>
                          <a:pt x="608" y="190"/>
                        </a:lnTo>
                        <a:lnTo>
                          <a:pt x="602" y="184"/>
                        </a:lnTo>
                        <a:lnTo>
                          <a:pt x="598" y="180"/>
                        </a:lnTo>
                        <a:lnTo>
                          <a:pt x="590" y="174"/>
                        </a:lnTo>
                        <a:lnTo>
                          <a:pt x="586" y="172"/>
                        </a:lnTo>
                        <a:lnTo>
                          <a:pt x="584" y="168"/>
                        </a:lnTo>
                        <a:lnTo>
                          <a:pt x="586" y="166"/>
                        </a:lnTo>
                        <a:lnTo>
                          <a:pt x="588" y="162"/>
                        </a:lnTo>
                        <a:lnTo>
                          <a:pt x="588" y="162"/>
                        </a:lnTo>
                        <a:lnTo>
                          <a:pt x="594" y="152"/>
                        </a:lnTo>
                        <a:lnTo>
                          <a:pt x="596" y="146"/>
                        </a:lnTo>
                        <a:lnTo>
                          <a:pt x="596" y="140"/>
                        </a:lnTo>
                        <a:lnTo>
                          <a:pt x="594" y="134"/>
                        </a:lnTo>
                        <a:lnTo>
                          <a:pt x="592" y="128"/>
                        </a:lnTo>
                        <a:lnTo>
                          <a:pt x="588" y="124"/>
                        </a:lnTo>
                        <a:lnTo>
                          <a:pt x="582" y="118"/>
                        </a:lnTo>
                        <a:lnTo>
                          <a:pt x="582" y="118"/>
                        </a:lnTo>
                        <a:lnTo>
                          <a:pt x="576" y="112"/>
                        </a:lnTo>
                        <a:lnTo>
                          <a:pt x="572" y="102"/>
                        </a:lnTo>
                        <a:lnTo>
                          <a:pt x="566" y="82"/>
                        </a:lnTo>
                        <a:lnTo>
                          <a:pt x="560" y="58"/>
                        </a:lnTo>
                        <a:lnTo>
                          <a:pt x="554" y="48"/>
                        </a:lnTo>
                        <a:lnTo>
                          <a:pt x="548" y="38"/>
                        </a:lnTo>
                        <a:lnTo>
                          <a:pt x="548" y="38"/>
                        </a:lnTo>
                        <a:lnTo>
                          <a:pt x="540" y="28"/>
                        </a:lnTo>
                        <a:lnTo>
                          <a:pt x="532" y="24"/>
                        </a:lnTo>
                        <a:lnTo>
                          <a:pt x="522" y="20"/>
                        </a:lnTo>
                        <a:lnTo>
                          <a:pt x="506" y="10"/>
                        </a:lnTo>
                        <a:lnTo>
                          <a:pt x="506" y="10"/>
                        </a:lnTo>
                        <a:lnTo>
                          <a:pt x="498" y="6"/>
                        </a:lnTo>
                        <a:lnTo>
                          <a:pt x="492" y="4"/>
                        </a:lnTo>
                        <a:lnTo>
                          <a:pt x="490" y="4"/>
                        </a:lnTo>
                        <a:lnTo>
                          <a:pt x="488" y="6"/>
                        </a:lnTo>
                        <a:lnTo>
                          <a:pt x="486" y="8"/>
                        </a:lnTo>
                        <a:lnTo>
                          <a:pt x="482" y="10"/>
                        </a:lnTo>
                        <a:lnTo>
                          <a:pt x="476" y="10"/>
                        </a:lnTo>
                        <a:lnTo>
                          <a:pt x="464" y="6"/>
                        </a:lnTo>
                        <a:lnTo>
                          <a:pt x="464" y="6"/>
                        </a:lnTo>
                        <a:lnTo>
                          <a:pt x="450" y="2"/>
                        </a:lnTo>
                        <a:lnTo>
                          <a:pt x="446" y="2"/>
                        </a:lnTo>
                        <a:lnTo>
                          <a:pt x="440" y="4"/>
                        </a:lnTo>
                        <a:lnTo>
                          <a:pt x="438" y="8"/>
                        </a:lnTo>
                        <a:lnTo>
                          <a:pt x="436" y="12"/>
                        </a:lnTo>
                        <a:lnTo>
                          <a:pt x="436" y="20"/>
                        </a:lnTo>
                        <a:lnTo>
                          <a:pt x="440" y="28"/>
                        </a:lnTo>
                        <a:lnTo>
                          <a:pt x="440" y="28"/>
                        </a:lnTo>
                        <a:lnTo>
                          <a:pt x="444" y="38"/>
                        </a:lnTo>
                        <a:lnTo>
                          <a:pt x="446" y="48"/>
                        </a:lnTo>
                        <a:lnTo>
                          <a:pt x="450" y="68"/>
                        </a:lnTo>
                        <a:lnTo>
                          <a:pt x="454" y="78"/>
                        </a:lnTo>
                        <a:lnTo>
                          <a:pt x="458" y="88"/>
                        </a:lnTo>
                        <a:lnTo>
                          <a:pt x="464" y="98"/>
                        </a:lnTo>
                        <a:lnTo>
                          <a:pt x="472" y="106"/>
                        </a:lnTo>
                        <a:lnTo>
                          <a:pt x="472" y="106"/>
                        </a:lnTo>
                        <a:lnTo>
                          <a:pt x="476" y="110"/>
                        </a:lnTo>
                        <a:lnTo>
                          <a:pt x="478" y="114"/>
                        </a:lnTo>
                        <a:lnTo>
                          <a:pt x="478" y="116"/>
                        </a:lnTo>
                        <a:lnTo>
                          <a:pt x="474" y="118"/>
                        </a:lnTo>
                        <a:lnTo>
                          <a:pt x="468" y="122"/>
                        </a:lnTo>
                        <a:lnTo>
                          <a:pt x="462" y="128"/>
                        </a:lnTo>
                        <a:lnTo>
                          <a:pt x="462" y="128"/>
                        </a:lnTo>
                        <a:lnTo>
                          <a:pt x="458" y="130"/>
                        </a:lnTo>
                        <a:lnTo>
                          <a:pt x="456" y="132"/>
                        </a:lnTo>
                        <a:lnTo>
                          <a:pt x="452" y="130"/>
                        </a:lnTo>
                        <a:lnTo>
                          <a:pt x="446" y="122"/>
                        </a:lnTo>
                        <a:lnTo>
                          <a:pt x="434" y="104"/>
                        </a:lnTo>
                        <a:lnTo>
                          <a:pt x="434" y="104"/>
                        </a:lnTo>
                        <a:lnTo>
                          <a:pt x="430" y="94"/>
                        </a:lnTo>
                        <a:lnTo>
                          <a:pt x="426" y="84"/>
                        </a:lnTo>
                        <a:lnTo>
                          <a:pt x="420" y="68"/>
                        </a:lnTo>
                        <a:lnTo>
                          <a:pt x="418" y="62"/>
                        </a:lnTo>
                        <a:lnTo>
                          <a:pt x="412" y="56"/>
                        </a:lnTo>
                        <a:lnTo>
                          <a:pt x="406" y="50"/>
                        </a:lnTo>
                        <a:lnTo>
                          <a:pt x="396" y="46"/>
                        </a:lnTo>
                        <a:lnTo>
                          <a:pt x="396" y="46"/>
                        </a:lnTo>
                        <a:lnTo>
                          <a:pt x="384" y="42"/>
                        </a:lnTo>
                        <a:lnTo>
                          <a:pt x="382" y="40"/>
                        </a:lnTo>
                        <a:lnTo>
                          <a:pt x="384" y="38"/>
                        </a:lnTo>
                        <a:lnTo>
                          <a:pt x="384" y="36"/>
                        </a:lnTo>
                        <a:lnTo>
                          <a:pt x="384" y="34"/>
                        </a:lnTo>
                        <a:lnTo>
                          <a:pt x="380" y="32"/>
                        </a:lnTo>
                        <a:lnTo>
                          <a:pt x="372" y="30"/>
                        </a:lnTo>
                        <a:lnTo>
                          <a:pt x="372" y="30"/>
                        </a:lnTo>
                        <a:lnTo>
                          <a:pt x="354" y="26"/>
                        </a:lnTo>
                        <a:lnTo>
                          <a:pt x="340" y="26"/>
                        </a:lnTo>
                        <a:lnTo>
                          <a:pt x="338" y="28"/>
                        </a:lnTo>
                        <a:lnTo>
                          <a:pt x="338" y="30"/>
                        </a:lnTo>
                        <a:lnTo>
                          <a:pt x="340" y="32"/>
                        </a:lnTo>
                        <a:lnTo>
                          <a:pt x="346" y="36"/>
                        </a:lnTo>
                        <a:lnTo>
                          <a:pt x="346" y="36"/>
                        </a:lnTo>
                        <a:lnTo>
                          <a:pt x="352" y="40"/>
                        </a:lnTo>
                        <a:lnTo>
                          <a:pt x="356" y="44"/>
                        </a:lnTo>
                        <a:lnTo>
                          <a:pt x="358" y="46"/>
                        </a:lnTo>
                        <a:lnTo>
                          <a:pt x="356" y="48"/>
                        </a:lnTo>
                        <a:lnTo>
                          <a:pt x="356" y="52"/>
                        </a:lnTo>
                        <a:lnTo>
                          <a:pt x="362" y="54"/>
                        </a:lnTo>
                        <a:lnTo>
                          <a:pt x="362" y="54"/>
                        </a:lnTo>
                        <a:lnTo>
                          <a:pt x="372" y="58"/>
                        </a:lnTo>
                        <a:lnTo>
                          <a:pt x="376" y="62"/>
                        </a:lnTo>
                        <a:lnTo>
                          <a:pt x="376" y="64"/>
                        </a:lnTo>
                        <a:lnTo>
                          <a:pt x="372" y="64"/>
                        </a:lnTo>
                        <a:lnTo>
                          <a:pt x="354" y="60"/>
                        </a:lnTo>
                        <a:lnTo>
                          <a:pt x="354" y="60"/>
                        </a:lnTo>
                        <a:lnTo>
                          <a:pt x="344" y="60"/>
                        </a:lnTo>
                        <a:lnTo>
                          <a:pt x="336" y="62"/>
                        </a:lnTo>
                        <a:lnTo>
                          <a:pt x="332" y="66"/>
                        </a:lnTo>
                        <a:lnTo>
                          <a:pt x="330" y="70"/>
                        </a:lnTo>
                        <a:lnTo>
                          <a:pt x="328" y="76"/>
                        </a:lnTo>
                        <a:lnTo>
                          <a:pt x="326" y="78"/>
                        </a:lnTo>
                        <a:lnTo>
                          <a:pt x="322" y="78"/>
                        </a:lnTo>
                        <a:lnTo>
                          <a:pt x="318" y="74"/>
                        </a:lnTo>
                        <a:lnTo>
                          <a:pt x="318" y="74"/>
                        </a:lnTo>
                        <a:lnTo>
                          <a:pt x="314" y="68"/>
                        </a:lnTo>
                        <a:lnTo>
                          <a:pt x="314" y="64"/>
                        </a:lnTo>
                        <a:lnTo>
                          <a:pt x="318" y="56"/>
                        </a:lnTo>
                        <a:lnTo>
                          <a:pt x="318" y="52"/>
                        </a:lnTo>
                        <a:lnTo>
                          <a:pt x="316" y="48"/>
                        </a:lnTo>
                        <a:lnTo>
                          <a:pt x="310" y="44"/>
                        </a:lnTo>
                        <a:lnTo>
                          <a:pt x="296" y="40"/>
                        </a:lnTo>
                        <a:lnTo>
                          <a:pt x="296" y="40"/>
                        </a:lnTo>
                        <a:lnTo>
                          <a:pt x="268" y="34"/>
                        </a:lnTo>
                        <a:lnTo>
                          <a:pt x="250" y="30"/>
                        </a:lnTo>
                        <a:lnTo>
                          <a:pt x="238" y="32"/>
                        </a:lnTo>
                        <a:lnTo>
                          <a:pt x="230" y="36"/>
                        </a:lnTo>
                        <a:lnTo>
                          <a:pt x="230" y="36"/>
                        </a:lnTo>
                        <a:lnTo>
                          <a:pt x="224" y="38"/>
                        </a:lnTo>
                        <a:lnTo>
                          <a:pt x="224" y="42"/>
                        </a:lnTo>
                        <a:lnTo>
                          <a:pt x="226" y="46"/>
                        </a:lnTo>
                        <a:lnTo>
                          <a:pt x="224" y="48"/>
                        </a:lnTo>
                        <a:lnTo>
                          <a:pt x="220" y="50"/>
                        </a:lnTo>
                        <a:lnTo>
                          <a:pt x="198" y="58"/>
                        </a:lnTo>
                        <a:lnTo>
                          <a:pt x="198" y="58"/>
                        </a:lnTo>
                        <a:lnTo>
                          <a:pt x="190" y="60"/>
                        </a:lnTo>
                        <a:lnTo>
                          <a:pt x="186" y="60"/>
                        </a:lnTo>
                        <a:lnTo>
                          <a:pt x="192" y="54"/>
                        </a:lnTo>
                        <a:lnTo>
                          <a:pt x="204" y="44"/>
                        </a:lnTo>
                        <a:lnTo>
                          <a:pt x="206" y="40"/>
                        </a:lnTo>
                        <a:lnTo>
                          <a:pt x="206" y="36"/>
                        </a:lnTo>
                        <a:lnTo>
                          <a:pt x="206" y="36"/>
                        </a:lnTo>
                        <a:lnTo>
                          <a:pt x="206" y="32"/>
                        </a:lnTo>
                        <a:lnTo>
                          <a:pt x="206" y="28"/>
                        </a:lnTo>
                        <a:lnTo>
                          <a:pt x="208" y="20"/>
                        </a:lnTo>
                        <a:lnTo>
                          <a:pt x="208" y="16"/>
                        </a:lnTo>
                        <a:lnTo>
                          <a:pt x="208" y="12"/>
                        </a:lnTo>
                        <a:lnTo>
                          <a:pt x="204" y="8"/>
                        </a:lnTo>
                        <a:lnTo>
                          <a:pt x="196" y="2"/>
                        </a:lnTo>
                        <a:lnTo>
                          <a:pt x="196" y="2"/>
                        </a:lnTo>
                        <a:lnTo>
                          <a:pt x="186" y="0"/>
                        </a:lnTo>
                        <a:lnTo>
                          <a:pt x="176" y="0"/>
                        </a:lnTo>
                        <a:lnTo>
                          <a:pt x="162" y="4"/>
                        </a:lnTo>
                        <a:lnTo>
                          <a:pt x="150" y="8"/>
                        </a:lnTo>
                        <a:lnTo>
                          <a:pt x="122" y="18"/>
                        </a:lnTo>
                        <a:lnTo>
                          <a:pt x="100" y="26"/>
                        </a:lnTo>
                        <a:lnTo>
                          <a:pt x="100" y="26"/>
                        </a:lnTo>
                        <a:lnTo>
                          <a:pt x="82" y="32"/>
                        </a:lnTo>
                        <a:lnTo>
                          <a:pt x="66" y="40"/>
                        </a:lnTo>
                        <a:lnTo>
                          <a:pt x="32" y="60"/>
                        </a:lnTo>
                        <a:lnTo>
                          <a:pt x="32" y="60"/>
                        </a:lnTo>
                        <a:lnTo>
                          <a:pt x="24" y="66"/>
                        </a:lnTo>
                        <a:lnTo>
                          <a:pt x="22" y="70"/>
                        </a:lnTo>
                        <a:lnTo>
                          <a:pt x="22" y="72"/>
                        </a:lnTo>
                        <a:lnTo>
                          <a:pt x="26" y="74"/>
                        </a:lnTo>
                        <a:lnTo>
                          <a:pt x="36" y="78"/>
                        </a:lnTo>
                        <a:lnTo>
                          <a:pt x="40" y="80"/>
                        </a:lnTo>
                        <a:lnTo>
                          <a:pt x="42" y="82"/>
                        </a:lnTo>
                        <a:lnTo>
                          <a:pt x="42" y="82"/>
                        </a:lnTo>
                        <a:lnTo>
                          <a:pt x="42" y="86"/>
                        </a:lnTo>
                        <a:lnTo>
                          <a:pt x="40" y="86"/>
                        </a:lnTo>
                        <a:lnTo>
                          <a:pt x="32" y="90"/>
                        </a:lnTo>
                        <a:lnTo>
                          <a:pt x="20" y="94"/>
                        </a:lnTo>
                        <a:lnTo>
                          <a:pt x="16" y="98"/>
                        </a:lnTo>
                        <a:lnTo>
                          <a:pt x="10" y="104"/>
                        </a:lnTo>
                        <a:lnTo>
                          <a:pt x="10" y="104"/>
                        </a:lnTo>
                        <a:lnTo>
                          <a:pt x="4" y="110"/>
                        </a:lnTo>
                        <a:lnTo>
                          <a:pt x="2" y="116"/>
                        </a:lnTo>
                        <a:lnTo>
                          <a:pt x="0" y="122"/>
                        </a:lnTo>
                        <a:lnTo>
                          <a:pt x="0" y="126"/>
                        </a:lnTo>
                        <a:lnTo>
                          <a:pt x="2" y="130"/>
                        </a:lnTo>
                        <a:lnTo>
                          <a:pt x="6" y="132"/>
                        </a:lnTo>
                        <a:lnTo>
                          <a:pt x="10" y="132"/>
                        </a:lnTo>
                        <a:lnTo>
                          <a:pt x="14" y="130"/>
                        </a:lnTo>
                        <a:lnTo>
                          <a:pt x="14" y="130"/>
                        </a:lnTo>
                        <a:lnTo>
                          <a:pt x="20" y="128"/>
                        </a:lnTo>
                        <a:lnTo>
                          <a:pt x="24" y="126"/>
                        </a:lnTo>
                        <a:lnTo>
                          <a:pt x="26" y="128"/>
                        </a:lnTo>
                        <a:lnTo>
                          <a:pt x="28" y="130"/>
                        </a:lnTo>
                        <a:lnTo>
                          <a:pt x="30" y="138"/>
                        </a:lnTo>
                        <a:lnTo>
                          <a:pt x="34" y="146"/>
                        </a:lnTo>
                        <a:lnTo>
                          <a:pt x="34" y="146"/>
                        </a:lnTo>
                        <a:lnTo>
                          <a:pt x="38" y="150"/>
                        </a:lnTo>
                        <a:lnTo>
                          <a:pt x="44" y="150"/>
                        </a:lnTo>
                        <a:lnTo>
                          <a:pt x="64" y="150"/>
                        </a:lnTo>
                        <a:lnTo>
                          <a:pt x="88" y="144"/>
                        </a:lnTo>
                        <a:lnTo>
                          <a:pt x="104" y="140"/>
                        </a:lnTo>
                        <a:lnTo>
                          <a:pt x="104" y="140"/>
                        </a:lnTo>
                        <a:lnTo>
                          <a:pt x="116" y="140"/>
                        </a:lnTo>
                        <a:lnTo>
                          <a:pt x="120" y="142"/>
                        </a:lnTo>
                        <a:lnTo>
                          <a:pt x="122" y="144"/>
                        </a:lnTo>
                        <a:lnTo>
                          <a:pt x="120" y="146"/>
                        </a:lnTo>
                        <a:lnTo>
                          <a:pt x="114" y="150"/>
                        </a:lnTo>
                        <a:lnTo>
                          <a:pt x="98" y="156"/>
                        </a:lnTo>
                        <a:lnTo>
                          <a:pt x="76" y="160"/>
                        </a:lnTo>
                        <a:lnTo>
                          <a:pt x="76" y="160"/>
                        </a:lnTo>
                        <a:lnTo>
                          <a:pt x="46" y="168"/>
                        </a:lnTo>
                        <a:lnTo>
                          <a:pt x="38" y="170"/>
                        </a:lnTo>
                        <a:lnTo>
                          <a:pt x="34" y="174"/>
                        </a:lnTo>
                        <a:lnTo>
                          <a:pt x="32" y="178"/>
                        </a:lnTo>
                        <a:lnTo>
                          <a:pt x="34" y="182"/>
                        </a:lnTo>
                        <a:lnTo>
                          <a:pt x="38" y="188"/>
                        </a:lnTo>
                        <a:lnTo>
                          <a:pt x="44" y="192"/>
                        </a:lnTo>
                        <a:lnTo>
                          <a:pt x="44" y="192"/>
                        </a:lnTo>
                        <a:lnTo>
                          <a:pt x="56" y="202"/>
                        </a:lnTo>
                        <a:lnTo>
                          <a:pt x="66" y="206"/>
                        </a:lnTo>
                        <a:lnTo>
                          <a:pt x="76" y="206"/>
                        </a:lnTo>
                        <a:lnTo>
                          <a:pt x="94" y="204"/>
                        </a:lnTo>
                        <a:lnTo>
                          <a:pt x="94" y="204"/>
                        </a:lnTo>
                        <a:lnTo>
                          <a:pt x="110" y="204"/>
                        </a:lnTo>
                        <a:lnTo>
                          <a:pt x="120" y="206"/>
                        </a:lnTo>
                        <a:lnTo>
                          <a:pt x="132" y="208"/>
                        </a:lnTo>
                        <a:lnTo>
                          <a:pt x="152" y="208"/>
                        </a:lnTo>
                        <a:lnTo>
                          <a:pt x="152" y="208"/>
                        </a:lnTo>
                        <a:lnTo>
                          <a:pt x="176" y="206"/>
                        </a:lnTo>
                        <a:lnTo>
                          <a:pt x="194" y="202"/>
                        </a:lnTo>
                        <a:lnTo>
                          <a:pt x="210" y="202"/>
                        </a:lnTo>
                        <a:lnTo>
                          <a:pt x="220" y="202"/>
                        </a:lnTo>
                        <a:lnTo>
                          <a:pt x="232" y="204"/>
                        </a:lnTo>
                        <a:lnTo>
                          <a:pt x="232" y="204"/>
                        </a:lnTo>
                        <a:lnTo>
                          <a:pt x="250" y="208"/>
                        </a:lnTo>
                        <a:lnTo>
                          <a:pt x="262" y="210"/>
                        </a:lnTo>
                        <a:lnTo>
                          <a:pt x="268" y="210"/>
                        </a:lnTo>
                        <a:lnTo>
                          <a:pt x="276" y="214"/>
                        </a:lnTo>
                        <a:lnTo>
                          <a:pt x="276" y="214"/>
                        </a:lnTo>
                        <a:lnTo>
                          <a:pt x="290" y="220"/>
                        </a:lnTo>
                        <a:lnTo>
                          <a:pt x="302" y="226"/>
                        </a:lnTo>
                        <a:lnTo>
                          <a:pt x="306" y="228"/>
                        </a:lnTo>
                        <a:lnTo>
                          <a:pt x="306" y="230"/>
                        </a:lnTo>
                        <a:lnTo>
                          <a:pt x="294" y="230"/>
                        </a:lnTo>
                        <a:lnTo>
                          <a:pt x="294" y="230"/>
                        </a:lnTo>
                        <a:lnTo>
                          <a:pt x="280" y="230"/>
                        </a:lnTo>
                        <a:lnTo>
                          <a:pt x="276" y="232"/>
                        </a:lnTo>
                        <a:lnTo>
                          <a:pt x="268" y="232"/>
                        </a:lnTo>
                        <a:lnTo>
                          <a:pt x="246" y="230"/>
                        </a:lnTo>
                        <a:lnTo>
                          <a:pt x="246" y="230"/>
                        </a:lnTo>
                        <a:lnTo>
                          <a:pt x="210" y="228"/>
                        </a:lnTo>
                        <a:lnTo>
                          <a:pt x="168" y="230"/>
                        </a:lnTo>
                        <a:lnTo>
                          <a:pt x="126" y="234"/>
                        </a:lnTo>
                        <a:lnTo>
                          <a:pt x="90" y="240"/>
                        </a:lnTo>
                        <a:lnTo>
                          <a:pt x="90" y="240"/>
                        </a:lnTo>
                        <a:lnTo>
                          <a:pt x="76" y="244"/>
                        </a:lnTo>
                        <a:lnTo>
                          <a:pt x="70" y="250"/>
                        </a:lnTo>
                        <a:lnTo>
                          <a:pt x="70" y="252"/>
                        </a:lnTo>
                        <a:lnTo>
                          <a:pt x="70" y="254"/>
                        </a:lnTo>
                        <a:lnTo>
                          <a:pt x="72" y="262"/>
                        </a:lnTo>
                        <a:lnTo>
                          <a:pt x="78" y="268"/>
                        </a:lnTo>
                        <a:lnTo>
                          <a:pt x="86" y="274"/>
                        </a:lnTo>
                        <a:lnTo>
                          <a:pt x="100" y="290"/>
                        </a:lnTo>
                        <a:lnTo>
                          <a:pt x="100" y="290"/>
                        </a:lnTo>
                        <a:lnTo>
                          <a:pt x="110" y="296"/>
                        </a:lnTo>
                        <a:lnTo>
                          <a:pt x="122" y="300"/>
                        </a:lnTo>
                        <a:lnTo>
                          <a:pt x="138" y="302"/>
                        </a:lnTo>
                        <a:lnTo>
                          <a:pt x="156" y="304"/>
                        </a:lnTo>
                        <a:lnTo>
                          <a:pt x="190" y="304"/>
                        </a:lnTo>
                        <a:lnTo>
                          <a:pt x="214" y="304"/>
                        </a:lnTo>
                        <a:lnTo>
                          <a:pt x="214" y="304"/>
                        </a:lnTo>
                        <a:lnTo>
                          <a:pt x="220" y="306"/>
                        </a:lnTo>
                        <a:lnTo>
                          <a:pt x="222" y="308"/>
                        </a:lnTo>
                        <a:lnTo>
                          <a:pt x="224" y="314"/>
                        </a:lnTo>
                        <a:lnTo>
                          <a:pt x="224" y="320"/>
                        </a:lnTo>
                        <a:lnTo>
                          <a:pt x="222" y="332"/>
                        </a:lnTo>
                        <a:lnTo>
                          <a:pt x="222" y="338"/>
                        </a:lnTo>
                        <a:lnTo>
                          <a:pt x="224" y="342"/>
                        </a:lnTo>
                        <a:lnTo>
                          <a:pt x="224" y="342"/>
                        </a:lnTo>
                        <a:lnTo>
                          <a:pt x="232" y="350"/>
                        </a:lnTo>
                        <a:lnTo>
                          <a:pt x="238" y="356"/>
                        </a:lnTo>
                        <a:lnTo>
                          <a:pt x="246" y="358"/>
                        </a:lnTo>
                        <a:lnTo>
                          <a:pt x="260" y="358"/>
                        </a:lnTo>
                        <a:lnTo>
                          <a:pt x="260" y="358"/>
                        </a:lnTo>
                        <a:lnTo>
                          <a:pt x="282" y="358"/>
                        </a:lnTo>
                        <a:lnTo>
                          <a:pt x="300" y="358"/>
                        </a:lnTo>
                        <a:lnTo>
                          <a:pt x="314" y="358"/>
                        </a:lnTo>
                        <a:lnTo>
                          <a:pt x="324" y="356"/>
                        </a:lnTo>
                        <a:lnTo>
                          <a:pt x="324" y="356"/>
                        </a:lnTo>
                        <a:lnTo>
                          <a:pt x="342" y="352"/>
                        </a:lnTo>
                        <a:lnTo>
                          <a:pt x="370" y="348"/>
                        </a:lnTo>
                        <a:lnTo>
                          <a:pt x="398" y="342"/>
                        </a:lnTo>
                        <a:lnTo>
                          <a:pt x="412" y="338"/>
                        </a:lnTo>
                        <a:lnTo>
                          <a:pt x="420" y="332"/>
                        </a:lnTo>
                        <a:lnTo>
                          <a:pt x="420" y="332"/>
                        </a:lnTo>
                        <a:lnTo>
                          <a:pt x="428" y="328"/>
                        </a:lnTo>
                        <a:lnTo>
                          <a:pt x="436" y="326"/>
                        </a:lnTo>
                        <a:lnTo>
                          <a:pt x="450" y="326"/>
                        </a:lnTo>
                        <a:lnTo>
                          <a:pt x="462" y="324"/>
                        </a:lnTo>
                        <a:lnTo>
                          <a:pt x="470" y="322"/>
                        </a:lnTo>
                        <a:lnTo>
                          <a:pt x="478" y="318"/>
                        </a:lnTo>
                        <a:lnTo>
                          <a:pt x="478" y="318"/>
                        </a:lnTo>
                        <a:lnTo>
                          <a:pt x="486" y="312"/>
                        </a:lnTo>
                        <a:lnTo>
                          <a:pt x="488" y="308"/>
                        </a:lnTo>
                        <a:lnTo>
                          <a:pt x="490" y="304"/>
                        </a:lnTo>
                        <a:lnTo>
                          <a:pt x="490" y="302"/>
                        </a:lnTo>
                        <a:lnTo>
                          <a:pt x="490" y="300"/>
                        </a:lnTo>
                        <a:lnTo>
                          <a:pt x="490" y="296"/>
                        </a:lnTo>
                        <a:lnTo>
                          <a:pt x="494" y="294"/>
                        </a:lnTo>
                        <a:lnTo>
                          <a:pt x="500" y="290"/>
                        </a:lnTo>
                        <a:lnTo>
                          <a:pt x="500" y="290"/>
                        </a:lnTo>
                        <a:lnTo>
                          <a:pt x="506" y="288"/>
                        </a:lnTo>
                        <a:lnTo>
                          <a:pt x="512" y="290"/>
                        </a:lnTo>
                        <a:lnTo>
                          <a:pt x="514" y="292"/>
                        </a:lnTo>
                        <a:lnTo>
                          <a:pt x="516" y="294"/>
                        </a:lnTo>
                        <a:lnTo>
                          <a:pt x="514" y="304"/>
                        </a:lnTo>
                        <a:lnTo>
                          <a:pt x="514" y="304"/>
                        </a:lnTo>
                        <a:lnTo>
                          <a:pt x="514" y="312"/>
                        </a:lnTo>
                        <a:lnTo>
                          <a:pt x="514" y="312"/>
                        </a:lnTo>
                        <a:lnTo>
                          <a:pt x="518" y="312"/>
                        </a:lnTo>
                        <a:lnTo>
                          <a:pt x="530" y="310"/>
                        </a:lnTo>
                        <a:lnTo>
                          <a:pt x="540" y="312"/>
                        </a:lnTo>
                        <a:lnTo>
                          <a:pt x="554" y="314"/>
                        </a:lnTo>
                        <a:lnTo>
                          <a:pt x="554" y="314"/>
                        </a:lnTo>
                        <a:lnTo>
                          <a:pt x="564" y="318"/>
                        </a:lnTo>
                        <a:lnTo>
                          <a:pt x="568" y="320"/>
                        </a:lnTo>
                        <a:lnTo>
                          <a:pt x="568" y="322"/>
                        </a:lnTo>
                        <a:lnTo>
                          <a:pt x="566" y="322"/>
                        </a:lnTo>
                        <a:lnTo>
                          <a:pt x="560" y="324"/>
                        </a:lnTo>
                        <a:lnTo>
                          <a:pt x="562" y="326"/>
                        </a:lnTo>
                        <a:lnTo>
                          <a:pt x="568" y="330"/>
                        </a:lnTo>
                        <a:lnTo>
                          <a:pt x="568" y="330"/>
                        </a:lnTo>
                        <a:lnTo>
                          <a:pt x="576" y="332"/>
                        </a:lnTo>
                        <a:lnTo>
                          <a:pt x="582" y="332"/>
                        </a:lnTo>
                        <a:lnTo>
                          <a:pt x="588" y="330"/>
                        </a:lnTo>
                        <a:lnTo>
                          <a:pt x="592" y="328"/>
                        </a:lnTo>
                        <a:lnTo>
                          <a:pt x="596" y="328"/>
                        </a:lnTo>
                        <a:lnTo>
                          <a:pt x="602" y="328"/>
                        </a:lnTo>
                        <a:lnTo>
                          <a:pt x="612" y="332"/>
                        </a:lnTo>
                        <a:lnTo>
                          <a:pt x="612" y="332"/>
                        </a:lnTo>
                        <a:lnTo>
                          <a:pt x="628" y="336"/>
                        </a:lnTo>
                        <a:lnTo>
                          <a:pt x="636" y="336"/>
                        </a:lnTo>
                        <a:lnTo>
                          <a:pt x="640" y="334"/>
                        </a:lnTo>
                        <a:lnTo>
                          <a:pt x="648" y="336"/>
                        </a:lnTo>
                        <a:lnTo>
                          <a:pt x="648" y="336"/>
                        </a:lnTo>
                        <a:lnTo>
                          <a:pt x="654" y="336"/>
                        </a:lnTo>
                        <a:lnTo>
                          <a:pt x="658" y="336"/>
                        </a:lnTo>
                        <a:lnTo>
                          <a:pt x="668" y="332"/>
                        </a:lnTo>
                        <a:lnTo>
                          <a:pt x="676" y="326"/>
                        </a:lnTo>
                        <a:lnTo>
                          <a:pt x="680" y="324"/>
                        </a:lnTo>
                        <a:lnTo>
                          <a:pt x="686" y="324"/>
                        </a:lnTo>
                        <a:lnTo>
                          <a:pt x="686" y="324"/>
                        </a:lnTo>
                        <a:lnTo>
                          <a:pt x="694" y="322"/>
                        </a:lnTo>
                        <a:lnTo>
                          <a:pt x="700" y="316"/>
                        </a:lnTo>
                        <a:lnTo>
                          <a:pt x="702" y="314"/>
                        </a:lnTo>
                        <a:lnTo>
                          <a:pt x="702" y="310"/>
                        </a:lnTo>
                        <a:lnTo>
                          <a:pt x="700" y="306"/>
                        </a:lnTo>
                        <a:lnTo>
                          <a:pt x="696" y="304"/>
                        </a:lnTo>
                        <a:lnTo>
                          <a:pt x="696" y="304"/>
                        </a:lnTo>
                        <a:lnTo>
                          <a:pt x="692" y="300"/>
                        </a:lnTo>
                        <a:lnTo>
                          <a:pt x="690" y="298"/>
                        </a:lnTo>
                        <a:lnTo>
                          <a:pt x="692" y="294"/>
                        </a:lnTo>
                        <a:lnTo>
                          <a:pt x="694" y="290"/>
                        </a:lnTo>
                        <a:lnTo>
                          <a:pt x="692" y="288"/>
                        </a:lnTo>
                        <a:lnTo>
                          <a:pt x="688" y="286"/>
                        </a:lnTo>
                        <a:lnTo>
                          <a:pt x="688" y="286"/>
                        </a:lnTo>
                        <a:lnTo>
                          <a:pt x="682" y="286"/>
                        </a:lnTo>
                        <a:lnTo>
                          <a:pt x="674" y="288"/>
                        </a:lnTo>
                        <a:lnTo>
                          <a:pt x="660" y="296"/>
                        </a:lnTo>
                        <a:lnTo>
                          <a:pt x="648" y="300"/>
                        </a:lnTo>
                        <a:lnTo>
                          <a:pt x="648" y="300"/>
                        </a:lnTo>
                        <a:lnTo>
                          <a:pt x="650" y="296"/>
                        </a:lnTo>
                        <a:lnTo>
                          <a:pt x="650" y="296"/>
                        </a:lnTo>
                        <a:lnTo>
                          <a:pt x="652" y="290"/>
                        </a:lnTo>
                        <a:lnTo>
                          <a:pt x="650" y="286"/>
                        </a:lnTo>
                        <a:lnTo>
                          <a:pt x="646" y="284"/>
                        </a:lnTo>
                        <a:lnTo>
                          <a:pt x="642" y="280"/>
                        </a:lnTo>
                        <a:lnTo>
                          <a:pt x="632" y="278"/>
                        </a:lnTo>
                        <a:lnTo>
                          <a:pt x="630" y="276"/>
                        </a:lnTo>
                        <a:lnTo>
                          <a:pt x="632" y="274"/>
                        </a:lnTo>
                        <a:lnTo>
                          <a:pt x="632" y="274"/>
                        </a:lnTo>
                        <a:lnTo>
                          <a:pt x="634" y="272"/>
                        </a:lnTo>
                        <a:lnTo>
                          <a:pt x="638" y="272"/>
                        </a:lnTo>
                        <a:lnTo>
                          <a:pt x="650" y="278"/>
                        </a:lnTo>
                        <a:lnTo>
                          <a:pt x="660" y="282"/>
                        </a:lnTo>
                        <a:lnTo>
                          <a:pt x="666" y="282"/>
                        </a:lnTo>
                        <a:lnTo>
                          <a:pt x="670" y="280"/>
                        </a:lnTo>
                        <a:lnTo>
                          <a:pt x="670" y="280"/>
                        </a:lnTo>
                        <a:lnTo>
                          <a:pt x="672" y="278"/>
                        </a:lnTo>
                        <a:lnTo>
                          <a:pt x="672" y="276"/>
                        </a:lnTo>
                        <a:lnTo>
                          <a:pt x="670" y="272"/>
                        </a:lnTo>
                        <a:lnTo>
                          <a:pt x="668" y="272"/>
                        </a:lnTo>
                        <a:lnTo>
                          <a:pt x="668" y="270"/>
                        </a:lnTo>
                        <a:lnTo>
                          <a:pt x="670" y="266"/>
                        </a:lnTo>
                        <a:lnTo>
                          <a:pt x="674" y="264"/>
                        </a:lnTo>
                        <a:lnTo>
                          <a:pt x="674" y="26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7" name="Freeform 6115"/>
                  <p:cNvSpPr>
                    <a:spLocks/>
                  </p:cNvSpPr>
                  <p:nvPr/>
                </p:nvSpPr>
                <p:spPr bwMode="auto">
                  <a:xfrm>
                    <a:off x="1776730" y="1203643"/>
                    <a:ext cx="165100" cy="125730"/>
                  </a:xfrm>
                  <a:custGeom>
                    <a:avLst/>
                    <a:gdLst/>
                    <a:ahLst/>
                    <a:cxnLst>
                      <a:cxn ang="0">
                        <a:pos x="256" y="98"/>
                      </a:cxn>
                      <a:cxn ang="0">
                        <a:pos x="250" y="90"/>
                      </a:cxn>
                      <a:cxn ang="0">
                        <a:pos x="242" y="92"/>
                      </a:cxn>
                      <a:cxn ang="0">
                        <a:pos x="234" y="94"/>
                      </a:cxn>
                      <a:cxn ang="0">
                        <a:pos x="222" y="84"/>
                      </a:cxn>
                      <a:cxn ang="0">
                        <a:pos x="216" y="74"/>
                      </a:cxn>
                      <a:cxn ang="0">
                        <a:pos x="192" y="60"/>
                      </a:cxn>
                      <a:cxn ang="0">
                        <a:pos x="188" y="56"/>
                      </a:cxn>
                      <a:cxn ang="0">
                        <a:pos x="196" y="52"/>
                      </a:cxn>
                      <a:cxn ang="0">
                        <a:pos x="208" y="48"/>
                      </a:cxn>
                      <a:cxn ang="0">
                        <a:pos x="226" y="42"/>
                      </a:cxn>
                      <a:cxn ang="0">
                        <a:pos x="222" y="38"/>
                      </a:cxn>
                      <a:cxn ang="0">
                        <a:pos x="216" y="32"/>
                      </a:cxn>
                      <a:cxn ang="0">
                        <a:pos x="222" y="24"/>
                      </a:cxn>
                      <a:cxn ang="0">
                        <a:pos x="230" y="20"/>
                      </a:cxn>
                      <a:cxn ang="0">
                        <a:pos x="230" y="10"/>
                      </a:cxn>
                      <a:cxn ang="0">
                        <a:pos x="218" y="4"/>
                      </a:cxn>
                      <a:cxn ang="0">
                        <a:pos x="194" y="4"/>
                      </a:cxn>
                      <a:cxn ang="0">
                        <a:pos x="180" y="8"/>
                      </a:cxn>
                      <a:cxn ang="0">
                        <a:pos x="152" y="12"/>
                      </a:cxn>
                      <a:cxn ang="0">
                        <a:pos x="130" y="6"/>
                      </a:cxn>
                      <a:cxn ang="0">
                        <a:pos x="110" y="0"/>
                      </a:cxn>
                      <a:cxn ang="0">
                        <a:pos x="86" y="4"/>
                      </a:cxn>
                      <a:cxn ang="0">
                        <a:pos x="64" y="14"/>
                      </a:cxn>
                      <a:cxn ang="0">
                        <a:pos x="50" y="24"/>
                      </a:cxn>
                      <a:cxn ang="0">
                        <a:pos x="48" y="34"/>
                      </a:cxn>
                      <a:cxn ang="0">
                        <a:pos x="62" y="44"/>
                      </a:cxn>
                      <a:cxn ang="0">
                        <a:pos x="70" y="48"/>
                      </a:cxn>
                      <a:cxn ang="0">
                        <a:pos x="88" y="58"/>
                      </a:cxn>
                      <a:cxn ang="0">
                        <a:pos x="96" y="68"/>
                      </a:cxn>
                      <a:cxn ang="0">
                        <a:pos x="92" y="78"/>
                      </a:cxn>
                      <a:cxn ang="0">
                        <a:pos x="78" y="88"/>
                      </a:cxn>
                      <a:cxn ang="0">
                        <a:pos x="74" y="88"/>
                      </a:cxn>
                      <a:cxn ang="0">
                        <a:pos x="58" y="86"/>
                      </a:cxn>
                      <a:cxn ang="0">
                        <a:pos x="38" y="74"/>
                      </a:cxn>
                      <a:cxn ang="0">
                        <a:pos x="20" y="64"/>
                      </a:cxn>
                      <a:cxn ang="0">
                        <a:pos x="10" y="64"/>
                      </a:cxn>
                      <a:cxn ang="0">
                        <a:pos x="2" y="72"/>
                      </a:cxn>
                      <a:cxn ang="0">
                        <a:pos x="0" y="78"/>
                      </a:cxn>
                      <a:cxn ang="0">
                        <a:pos x="6" y="94"/>
                      </a:cxn>
                      <a:cxn ang="0">
                        <a:pos x="26" y="110"/>
                      </a:cxn>
                      <a:cxn ang="0">
                        <a:pos x="56" y="124"/>
                      </a:cxn>
                      <a:cxn ang="0">
                        <a:pos x="74" y="132"/>
                      </a:cxn>
                      <a:cxn ang="0">
                        <a:pos x="104" y="148"/>
                      </a:cxn>
                      <a:cxn ang="0">
                        <a:pos x="124" y="168"/>
                      </a:cxn>
                      <a:cxn ang="0">
                        <a:pos x="150" y="194"/>
                      </a:cxn>
                      <a:cxn ang="0">
                        <a:pos x="162" y="198"/>
                      </a:cxn>
                      <a:cxn ang="0">
                        <a:pos x="176" y="194"/>
                      </a:cxn>
                      <a:cxn ang="0">
                        <a:pos x="180" y="184"/>
                      </a:cxn>
                      <a:cxn ang="0">
                        <a:pos x="182" y="174"/>
                      </a:cxn>
                      <a:cxn ang="0">
                        <a:pos x="192" y="170"/>
                      </a:cxn>
                      <a:cxn ang="0">
                        <a:pos x="200" y="172"/>
                      </a:cxn>
                      <a:cxn ang="0">
                        <a:pos x="220" y="170"/>
                      </a:cxn>
                      <a:cxn ang="0">
                        <a:pos x="238" y="162"/>
                      </a:cxn>
                      <a:cxn ang="0">
                        <a:pos x="250" y="148"/>
                      </a:cxn>
                      <a:cxn ang="0">
                        <a:pos x="252" y="138"/>
                      </a:cxn>
                      <a:cxn ang="0">
                        <a:pos x="252" y="124"/>
                      </a:cxn>
                      <a:cxn ang="0">
                        <a:pos x="258" y="114"/>
                      </a:cxn>
                      <a:cxn ang="0">
                        <a:pos x="258" y="106"/>
                      </a:cxn>
                      <a:cxn ang="0">
                        <a:pos x="256" y="98"/>
                      </a:cxn>
                    </a:cxnLst>
                    <a:rect l="0" t="0" r="r" b="b"/>
                    <a:pathLst>
                      <a:path w="260" h="198">
                        <a:moveTo>
                          <a:pt x="256" y="98"/>
                        </a:moveTo>
                        <a:lnTo>
                          <a:pt x="256" y="98"/>
                        </a:lnTo>
                        <a:lnTo>
                          <a:pt x="254" y="92"/>
                        </a:lnTo>
                        <a:lnTo>
                          <a:pt x="250" y="90"/>
                        </a:lnTo>
                        <a:lnTo>
                          <a:pt x="246" y="90"/>
                        </a:lnTo>
                        <a:lnTo>
                          <a:pt x="242" y="92"/>
                        </a:lnTo>
                        <a:lnTo>
                          <a:pt x="238" y="94"/>
                        </a:lnTo>
                        <a:lnTo>
                          <a:pt x="234" y="94"/>
                        </a:lnTo>
                        <a:lnTo>
                          <a:pt x="228" y="90"/>
                        </a:lnTo>
                        <a:lnTo>
                          <a:pt x="222" y="84"/>
                        </a:lnTo>
                        <a:lnTo>
                          <a:pt x="222" y="84"/>
                        </a:lnTo>
                        <a:lnTo>
                          <a:pt x="216" y="74"/>
                        </a:lnTo>
                        <a:lnTo>
                          <a:pt x="208" y="68"/>
                        </a:lnTo>
                        <a:lnTo>
                          <a:pt x="192" y="60"/>
                        </a:lnTo>
                        <a:lnTo>
                          <a:pt x="190" y="58"/>
                        </a:lnTo>
                        <a:lnTo>
                          <a:pt x="188" y="56"/>
                        </a:lnTo>
                        <a:lnTo>
                          <a:pt x="190" y="54"/>
                        </a:lnTo>
                        <a:lnTo>
                          <a:pt x="196" y="52"/>
                        </a:lnTo>
                        <a:lnTo>
                          <a:pt x="208" y="48"/>
                        </a:lnTo>
                        <a:lnTo>
                          <a:pt x="208" y="48"/>
                        </a:lnTo>
                        <a:lnTo>
                          <a:pt x="220" y="46"/>
                        </a:lnTo>
                        <a:lnTo>
                          <a:pt x="226" y="42"/>
                        </a:lnTo>
                        <a:lnTo>
                          <a:pt x="226" y="40"/>
                        </a:lnTo>
                        <a:lnTo>
                          <a:pt x="222" y="38"/>
                        </a:lnTo>
                        <a:lnTo>
                          <a:pt x="218" y="34"/>
                        </a:lnTo>
                        <a:lnTo>
                          <a:pt x="216" y="32"/>
                        </a:lnTo>
                        <a:lnTo>
                          <a:pt x="216" y="28"/>
                        </a:lnTo>
                        <a:lnTo>
                          <a:pt x="222" y="24"/>
                        </a:lnTo>
                        <a:lnTo>
                          <a:pt x="222" y="24"/>
                        </a:lnTo>
                        <a:lnTo>
                          <a:pt x="230" y="20"/>
                        </a:lnTo>
                        <a:lnTo>
                          <a:pt x="232" y="16"/>
                        </a:lnTo>
                        <a:lnTo>
                          <a:pt x="230" y="10"/>
                        </a:lnTo>
                        <a:lnTo>
                          <a:pt x="226" y="6"/>
                        </a:lnTo>
                        <a:lnTo>
                          <a:pt x="218" y="4"/>
                        </a:lnTo>
                        <a:lnTo>
                          <a:pt x="208" y="4"/>
                        </a:lnTo>
                        <a:lnTo>
                          <a:pt x="194" y="4"/>
                        </a:lnTo>
                        <a:lnTo>
                          <a:pt x="180" y="8"/>
                        </a:lnTo>
                        <a:lnTo>
                          <a:pt x="180" y="8"/>
                        </a:lnTo>
                        <a:lnTo>
                          <a:pt x="164" y="12"/>
                        </a:lnTo>
                        <a:lnTo>
                          <a:pt x="152" y="12"/>
                        </a:lnTo>
                        <a:lnTo>
                          <a:pt x="140" y="10"/>
                        </a:lnTo>
                        <a:lnTo>
                          <a:pt x="130" y="6"/>
                        </a:lnTo>
                        <a:lnTo>
                          <a:pt x="120" y="4"/>
                        </a:lnTo>
                        <a:lnTo>
                          <a:pt x="110" y="0"/>
                        </a:lnTo>
                        <a:lnTo>
                          <a:pt x="98" y="0"/>
                        </a:lnTo>
                        <a:lnTo>
                          <a:pt x="86" y="4"/>
                        </a:lnTo>
                        <a:lnTo>
                          <a:pt x="86" y="4"/>
                        </a:lnTo>
                        <a:lnTo>
                          <a:pt x="64" y="14"/>
                        </a:lnTo>
                        <a:lnTo>
                          <a:pt x="56" y="20"/>
                        </a:lnTo>
                        <a:lnTo>
                          <a:pt x="50" y="24"/>
                        </a:lnTo>
                        <a:lnTo>
                          <a:pt x="46" y="28"/>
                        </a:lnTo>
                        <a:lnTo>
                          <a:pt x="48" y="34"/>
                        </a:lnTo>
                        <a:lnTo>
                          <a:pt x="52" y="38"/>
                        </a:lnTo>
                        <a:lnTo>
                          <a:pt x="62" y="44"/>
                        </a:lnTo>
                        <a:lnTo>
                          <a:pt x="70" y="48"/>
                        </a:lnTo>
                        <a:lnTo>
                          <a:pt x="70" y="48"/>
                        </a:lnTo>
                        <a:lnTo>
                          <a:pt x="82" y="52"/>
                        </a:lnTo>
                        <a:lnTo>
                          <a:pt x="88" y="58"/>
                        </a:lnTo>
                        <a:lnTo>
                          <a:pt x="94" y="62"/>
                        </a:lnTo>
                        <a:lnTo>
                          <a:pt x="96" y="68"/>
                        </a:lnTo>
                        <a:lnTo>
                          <a:pt x="94" y="74"/>
                        </a:lnTo>
                        <a:lnTo>
                          <a:pt x="92" y="78"/>
                        </a:lnTo>
                        <a:lnTo>
                          <a:pt x="86" y="84"/>
                        </a:lnTo>
                        <a:lnTo>
                          <a:pt x="78" y="88"/>
                        </a:lnTo>
                        <a:lnTo>
                          <a:pt x="78" y="88"/>
                        </a:lnTo>
                        <a:lnTo>
                          <a:pt x="74" y="88"/>
                        </a:lnTo>
                        <a:lnTo>
                          <a:pt x="68" y="90"/>
                        </a:lnTo>
                        <a:lnTo>
                          <a:pt x="58" y="86"/>
                        </a:lnTo>
                        <a:lnTo>
                          <a:pt x="48" y="80"/>
                        </a:lnTo>
                        <a:lnTo>
                          <a:pt x="38" y="74"/>
                        </a:lnTo>
                        <a:lnTo>
                          <a:pt x="28" y="68"/>
                        </a:lnTo>
                        <a:lnTo>
                          <a:pt x="20" y="64"/>
                        </a:lnTo>
                        <a:lnTo>
                          <a:pt x="16" y="64"/>
                        </a:lnTo>
                        <a:lnTo>
                          <a:pt x="10" y="64"/>
                        </a:lnTo>
                        <a:lnTo>
                          <a:pt x="6" y="66"/>
                        </a:lnTo>
                        <a:lnTo>
                          <a:pt x="2" y="72"/>
                        </a:lnTo>
                        <a:lnTo>
                          <a:pt x="2" y="72"/>
                        </a:lnTo>
                        <a:lnTo>
                          <a:pt x="0" y="78"/>
                        </a:lnTo>
                        <a:lnTo>
                          <a:pt x="0" y="86"/>
                        </a:lnTo>
                        <a:lnTo>
                          <a:pt x="6" y="94"/>
                        </a:lnTo>
                        <a:lnTo>
                          <a:pt x="14" y="102"/>
                        </a:lnTo>
                        <a:lnTo>
                          <a:pt x="26" y="110"/>
                        </a:lnTo>
                        <a:lnTo>
                          <a:pt x="40" y="118"/>
                        </a:lnTo>
                        <a:lnTo>
                          <a:pt x="56" y="124"/>
                        </a:lnTo>
                        <a:lnTo>
                          <a:pt x="74" y="132"/>
                        </a:lnTo>
                        <a:lnTo>
                          <a:pt x="74" y="132"/>
                        </a:lnTo>
                        <a:lnTo>
                          <a:pt x="90" y="138"/>
                        </a:lnTo>
                        <a:lnTo>
                          <a:pt x="104" y="148"/>
                        </a:lnTo>
                        <a:lnTo>
                          <a:pt x="116" y="158"/>
                        </a:lnTo>
                        <a:lnTo>
                          <a:pt x="124" y="168"/>
                        </a:lnTo>
                        <a:lnTo>
                          <a:pt x="142" y="188"/>
                        </a:lnTo>
                        <a:lnTo>
                          <a:pt x="150" y="194"/>
                        </a:lnTo>
                        <a:lnTo>
                          <a:pt x="162" y="198"/>
                        </a:lnTo>
                        <a:lnTo>
                          <a:pt x="162" y="198"/>
                        </a:lnTo>
                        <a:lnTo>
                          <a:pt x="170" y="198"/>
                        </a:lnTo>
                        <a:lnTo>
                          <a:pt x="176" y="194"/>
                        </a:lnTo>
                        <a:lnTo>
                          <a:pt x="178" y="190"/>
                        </a:lnTo>
                        <a:lnTo>
                          <a:pt x="180" y="184"/>
                        </a:lnTo>
                        <a:lnTo>
                          <a:pt x="182" y="178"/>
                        </a:lnTo>
                        <a:lnTo>
                          <a:pt x="182" y="174"/>
                        </a:lnTo>
                        <a:lnTo>
                          <a:pt x="186" y="170"/>
                        </a:lnTo>
                        <a:lnTo>
                          <a:pt x="192" y="170"/>
                        </a:lnTo>
                        <a:lnTo>
                          <a:pt x="192" y="170"/>
                        </a:lnTo>
                        <a:lnTo>
                          <a:pt x="200" y="172"/>
                        </a:lnTo>
                        <a:lnTo>
                          <a:pt x="210" y="172"/>
                        </a:lnTo>
                        <a:lnTo>
                          <a:pt x="220" y="170"/>
                        </a:lnTo>
                        <a:lnTo>
                          <a:pt x="230" y="166"/>
                        </a:lnTo>
                        <a:lnTo>
                          <a:pt x="238" y="162"/>
                        </a:lnTo>
                        <a:lnTo>
                          <a:pt x="246" y="156"/>
                        </a:lnTo>
                        <a:lnTo>
                          <a:pt x="250" y="148"/>
                        </a:lnTo>
                        <a:lnTo>
                          <a:pt x="252" y="138"/>
                        </a:lnTo>
                        <a:lnTo>
                          <a:pt x="252" y="138"/>
                        </a:lnTo>
                        <a:lnTo>
                          <a:pt x="252" y="130"/>
                        </a:lnTo>
                        <a:lnTo>
                          <a:pt x="252" y="124"/>
                        </a:lnTo>
                        <a:lnTo>
                          <a:pt x="256" y="118"/>
                        </a:lnTo>
                        <a:lnTo>
                          <a:pt x="258" y="114"/>
                        </a:lnTo>
                        <a:lnTo>
                          <a:pt x="260" y="112"/>
                        </a:lnTo>
                        <a:lnTo>
                          <a:pt x="258" y="106"/>
                        </a:lnTo>
                        <a:lnTo>
                          <a:pt x="256" y="98"/>
                        </a:lnTo>
                        <a:lnTo>
                          <a:pt x="256" y="9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8" name="Freeform 6116"/>
                  <p:cNvSpPr>
                    <a:spLocks/>
                  </p:cNvSpPr>
                  <p:nvPr/>
                </p:nvSpPr>
                <p:spPr bwMode="auto">
                  <a:xfrm>
                    <a:off x="1750060" y="1098233"/>
                    <a:ext cx="34290" cy="8890"/>
                  </a:xfrm>
                  <a:custGeom>
                    <a:avLst/>
                    <a:gdLst/>
                    <a:ahLst/>
                    <a:cxnLst>
                      <a:cxn ang="0">
                        <a:pos x="2" y="14"/>
                      </a:cxn>
                      <a:cxn ang="0">
                        <a:pos x="2" y="14"/>
                      </a:cxn>
                      <a:cxn ang="0">
                        <a:pos x="8" y="14"/>
                      </a:cxn>
                      <a:cxn ang="0">
                        <a:pos x="16" y="14"/>
                      </a:cxn>
                      <a:cxn ang="0">
                        <a:pos x="36" y="10"/>
                      </a:cxn>
                      <a:cxn ang="0">
                        <a:pos x="50" y="4"/>
                      </a:cxn>
                      <a:cxn ang="0">
                        <a:pos x="54" y="2"/>
                      </a:cxn>
                      <a:cxn ang="0">
                        <a:pos x="54" y="2"/>
                      </a:cxn>
                      <a:cxn ang="0">
                        <a:pos x="54" y="0"/>
                      </a:cxn>
                      <a:cxn ang="0">
                        <a:pos x="54" y="0"/>
                      </a:cxn>
                      <a:cxn ang="0">
                        <a:pos x="48" y="0"/>
                      </a:cxn>
                      <a:cxn ang="0">
                        <a:pos x="38" y="0"/>
                      </a:cxn>
                      <a:cxn ang="0">
                        <a:pos x="18" y="4"/>
                      </a:cxn>
                      <a:cxn ang="0">
                        <a:pos x="2" y="10"/>
                      </a:cxn>
                      <a:cxn ang="0">
                        <a:pos x="0" y="12"/>
                      </a:cxn>
                      <a:cxn ang="0">
                        <a:pos x="2" y="14"/>
                      </a:cxn>
                      <a:cxn ang="0">
                        <a:pos x="2" y="14"/>
                      </a:cxn>
                    </a:cxnLst>
                    <a:rect l="0" t="0" r="r" b="b"/>
                    <a:pathLst>
                      <a:path w="54" h="14">
                        <a:moveTo>
                          <a:pt x="2" y="14"/>
                        </a:moveTo>
                        <a:lnTo>
                          <a:pt x="2" y="14"/>
                        </a:lnTo>
                        <a:lnTo>
                          <a:pt x="8" y="14"/>
                        </a:lnTo>
                        <a:lnTo>
                          <a:pt x="16" y="14"/>
                        </a:lnTo>
                        <a:lnTo>
                          <a:pt x="36" y="10"/>
                        </a:lnTo>
                        <a:lnTo>
                          <a:pt x="50" y="4"/>
                        </a:lnTo>
                        <a:lnTo>
                          <a:pt x="54" y="2"/>
                        </a:lnTo>
                        <a:lnTo>
                          <a:pt x="54" y="2"/>
                        </a:lnTo>
                        <a:lnTo>
                          <a:pt x="54" y="0"/>
                        </a:lnTo>
                        <a:lnTo>
                          <a:pt x="54" y="0"/>
                        </a:lnTo>
                        <a:lnTo>
                          <a:pt x="48" y="0"/>
                        </a:lnTo>
                        <a:lnTo>
                          <a:pt x="38" y="0"/>
                        </a:lnTo>
                        <a:lnTo>
                          <a:pt x="18" y="4"/>
                        </a:lnTo>
                        <a:lnTo>
                          <a:pt x="2" y="10"/>
                        </a:lnTo>
                        <a:lnTo>
                          <a:pt x="0" y="12"/>
                        </a:lnTo>
                        <a:lnTo>
                          <a:pt x="2" y="14"/>
                        </a:lnTo>
                        <a:lnTo>
                          <a:pt x="2" y="1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49" name="Freeform 6117"/>
                  <p:cNvSpPr>
                    <a:spLocks/>
                  </p:cNvSpPr>
                  <p:nvPr/>
                </p:nvSpPr>
                <p:spPr bwMode="auto">
                  <a:xfrm>
                    <a:off x="1854200" y="1394143"/>
                    <a:ext cx="114300" cy="66040"/>
                  </a:xfrm>
                  <a:custGeom>
                    <a:avLst/>
                    <a:gdLst/>
                    <a:ahLst/>
                    <a:cxnLst>
                      <a:cxn ang="0">
                        <a:pos x="42" y="32"/>
                      </a:cxn>
                      <a:cxn ang="0">
                        <a:pos x="42" y="32"/>
                      </a:cxn>
                      <a:cxn ang="0">
                        <a:pos x="32" y="42"/>
                      </a:cxn>
                      <a:cxn ang="0">
                        <a:pos x="24" y="50"/>
                      </a:cxn>
                      <a:cxn ang="0">
                        <a:pos x="14" y="52"/>
                      </a:cxn>
                      <a:cxn ang="0">
                        <a:pos x="8" y="54"/>
                      </a:cxn>
                      <a:cxn ang="0">
                        <a:pos x="2" y="56"/>
                      </a:cxn>
                      <a:cxn ang="0">
                        <a:pos x="0" y="58"/>
                      </a:cxn>
                      <a:cxn ang="0">
                        <a:pos x="2" y="62"/>
                      </a:cxn>
                      <a:cxn ang="0">
                        <a:pos x="10" y="68"/>
                      </a:cxn>
                      <a:cxn ang="0">
                        <a:pos x="10" y="68"/>
                      </a:cxn>
                      <a:cxn ang="0">
                        <a:pos x="20" y="74"/>
                      </a:cxn>
                      <a:cxn ang="0">
                        <a:pos x="34" y="78"/>
                      </a:cxn>
                      <a:cxn ang="0">
                        <a:pos x="72" y="86"/>
                      </a:cxn>
                      <a:cxn ang="0">
                        <a:pos x="72" y="86"/>
                      </a:cxn>
                      <a:cxn ang="0">
                        <a:pos x="84" y="88"/>
                      </a:cxn>
                      <a:cxn ang="0">
                        <a:pos x="94" y="92"/>
                      </a:cxn>
                      <a:cxn ang="0">
                        <a:pos x="112" y="100"/>
                      </a:cxn>
                      <a:cxn ang="0">
                        <a:pos x="120" y="102"/>
                      </a:cxn>
                      <a:cxn ang="0">
                        <a:pos x="128" y="104"/>
                      </a:cxn>
                      <a:cxn ang="0">
                        <a:pos x="136" y="102"/>
                      </a:cxn>
                      <a:cxn ang="0">
                        <a:pos x="142" y="96"/>
                      </a:cxn>
                      <a:cxn ang="0">
                        <a:pos x="142" y="96"/>
                      </a:cxn>
                      <a:cxn ang="0">
                        <a:pos x="150" y="90"/>
                      </a:cxn>
                      <a:cxn ang="0">
                        <a:pos x="156" y="88"/>
                      </a:cxn>
                      <a:cxn ang="0">
                        <a:pos x="164" y="86"/>
                      </a:cxn>
                      <a:cxn ang="0">
                        <a:pos x="170" y="86"/>
                      </a:cxn>
                      <a:cxn ang="0">
                        <a:pos x="174" y="84"/>
                      </a:cxn>
                      <a:cxn ang="0">
                        <a:pos x="178" y="78"/>
                      </a:cxn>
                      <a:cxn ang="0">
                        <a:pos x="178" y="78"/>
                      </a:cxn>
                      <a:cxn ang="0">
                        <a:pos x="180" y="74"/>
                      </a:cxn>
                      <a:cxn ang="0">
                        <a:pos x="180" y="72"/>
                      </a:cxn>
                      <a:cxn ang="0">
                        <a:pos x="174" y="72"/>
                      </a:cxn>
                      <a:cxn ang="0">
                        <a:pos x="170" y="72"/>
                      </a:cxn>
                      <a:cxn ang="0">
                        <a:pos x="164" y="70"/>
                      </a:cxn>
                      <a:cxn ang="0">
                        <a:pos x="158" y="66"/>
                      </a:cxn>
                      <a:cxn ang="0">
                        <a:pos x="152" y="58"/>
                      </a:cxn>
                      <a:cxn ang="0">
                        <a:pos x="152" y="58"/>
                      </a:cxn>
                      <a:cxn ang="0">
                        <a:pos x="148" y="50"/>
                      </a:cxn>
                      <a:cxn ang="0">
                        <a:pos x="144" y="44"/>
                      </a:cxn>
                      <a:cxn ang="0">
                        <a:pos x="140" y="42"/>
                      </a:cxn>
                      <a:cxn ang="0">
                        <a:pos x="136" y="42"/>
                      </a:cxn>
                      <a:cxn ang="0">
                        <a:pos x="124" y="36"/>
                      </a:cxn>
                      <a:cxn ang="0">
                        <a:pos x="116" y="30"/>
                      </a:cxn>
                      <a:cxn ang="0">
                        <a:pos x="106" y="20"/>
                      </a:cxn>
                      <a:cxn ang="0">
                        <a:pos x="106" y="20"/>
                      </a:cxn>
                      <a:cxn ang="0">
                        <a:pos x="94" y="10"/>
                      </a:cxn>
                      <a:cxn ang="0">
                        <a:pos x="86" y="2"/>
                      </a:cxn>
                      <a:cxn ang="0">
                        <a:pos x="78" y="0"/>
                      </a:cxn>
                      <a:cxn ang="0">
                        <a:pos x="70" y="0"/>
                      </a:cxn>
                      <a:cxn ang="0">
                        <a:pos x="64" y="4"/>
                      </a:cxn>
                      <a:cxn ang="0">
                        <a:pos x="56" y="10"/>
                      </a:cxn>
                      <a:cxn ang="0">
                        <a:pos x="42" y="32"/>
                      </a:cxn>
                      <a:cxn ang="0">
                        <a:pos x="42" y="32"/>
                      </a:cxn>
                    </a:cxnLst>
                    <a:rect l="0" t="0" r="r" b="b"/>
                    <a:pathLst>
                      <a:path w="180" h="104">
                        <a:moveTo>
                          <a:pt x="42" y="32"/>
                        </a:moveTo>
                        <a:lnTo>
                          <a:pt x="42" y="32"/>
                        </a:lnTo>
                        <a:lnTo>
                          <a:pt x="32" y="42"/>
                        </a:lnTo>
                        <a:lnTo>
                          <a:pt x="24" y="50"/>
                        </a:lnTo>
                        <a:lnTo>
                          <a:pt x="14" y="52"/>
                        </a:lnTo>
                        <a:lnTo>
                          <a:pt x="8" y="54"/>
                        </a:lnTo>
                        <a:lnTo>
                          <a:pt x="2" y="56"/>
                        </a:lnTo>
                        <a:lnTo>
                          <a:pt x="0" y="58"/>
                        </a:lnTo>
                        <a:lnTo>
                          <a:pt x="2" y="62"/>
                        </a:lnTo>
                        <a:lnTo>
                          <a:pt x="10" y="68"/>
                        </a:lnTo>
                        <a:lnTo>
                          <a:pt x="10" y="68"/>
                        </a:lnTo>
                        <a:lnTo>
                          <a:pt x="20" y="74"/>
                        </a:lnTo>
                        <a:lnTo>
                          <a:pt x="34" y="78"/>
                        </a:lnTo>
                        <a:lnTo>
                          <a:pt x="72" y="86"/>
                        </a:lnTo>
                        <a:lnTo>
                          <a:pt x="72" y="86"/>
                        </a:lnTo>
                        <a:lnTo>
                          <a:pt x="84" y="88"/>
                        </a:lnTo>
                        <a:lnTo>
                          <a:pt x="94" y="92"/>
                        </a:lnTo>
                        <a:lnTo>
                          <a:pt x="112" y="100"/>
                        </a:lnTo>
                        <a:lnTo>
                          <a:pt x="120" y="102"/>
                        </a:lnTo>
                        <a:lnTo>
                          <a:pt x="128" y="104"/>
                        </a:lnTo>
                        <a:lnTo>
                          <a:pt x="136" y="102"/>
                        </a:lnTo>
                        <a:lnTo>
                          <a:pt x="142" y="96"/>
                        </a:lnTo>
                        <a:lnTo>
                          <a:pt x="142" y="96"/>
                        </a:lnTo>
                        <a:lnTo>
                          <a:pt x="150" y="90"/>
                        </a:lnTo>
                        <a:lnTo>
                          <a:pt x="156" y="88"/>
                        </a:lnTo>
                        <a:lnTo>
                          <a:pt x="164" y="86"/>
                        </a:lnTo>
                        <a:lnTo>
                          <a:pt x="170" y="86"/>
                        </a:lnTo>
                        <a:lnTo>
                          <a:pt x="174" y="84"/>
                        </a:lnTo>
                        <a:lnTo>
                          <a:pt x="178" y="78"/>
                        </a:lnTo>
                        <a:lnTo>
                          <a:pt x="178" y="78"/>
                        </a:lnTo>
                        <a:lnTo>
                          <a:pt x="180" y="74"/>
                        </a:lnTo>
                        <a:lnTo>
                          <a:pt x="180" y="72"/>
                        </a:lnTo>
                        <a:lnTo>
                          <a:pt x="174" y="72"/>
                        </a:lnTo>
                        <a:lnTo>
                          <a:pt x="170" y="72"/>
                        </a:lnTo>
                        <a:lnTo>
                          <a:pt x="164" y="70"/>
                        </a:lnTo>
                        <a:lnTo>
                          <a:pt x="158" y="66"/>
                        </a:lnTo>
                        <a:lnTo>
                          <a:pt x="152" y="58"/>
                        </a:lnTo>
                        <a:lnTo>
                          <a:pt x="152" y="58"/>
                        </a:lnTo>
                        <a:lnTo>
                          <a:pt x="148" y="50"/>
                        </a:lnTo>
                        <a:lnTo>
                          <a:pt x="144" y="44"/>
                        </a:lnTo>
                        <a:lnTo>
                          <a:pt x="140" y="42"/>
                        </a:lnTo>
                        <a:lnTo>
                          <a:pt x="136" y="42"/>
                        </a:lnTo>
                        <a:lnTo>
                          <a:pt x="124" y="36"/>
                        </a:lnTo>
                        <a:lnTo>
                          <a:pt x="116" y="30"/>
                        </a:lnTo>
                        <a:lnTo>
                          <a:pt x="106" y="20"/>
                        </a:lnTo>
                        <a:lnTo>
                          <a:pt x="106" y="20"/>
                        </a:lnTo>
                        <a:lnTo>
                          <a:pt x="94" y="10"/>
                        </a:lnTo>
                        <a:lnTo>
                          <a:pt x="86" y="2"/>
                        </a:lnTo>
                        <a:lnTo>
                          <a:pt x="78" y="0"/>
                        </a:lnTo>
                        <a:lnTo>
                          <a:pt x="70" y="0"/>
                        </a:lnTo>
                        <a:lnTo>
                          <a:pt x="64" y="4"/>
                        </a:lnTo>
                        <a:lnTo>
                          <a:pt x="56" y="10"/>
                        </a:lnTo>
                        <a:lnTo>
                          <a:pt x="42" y="32"/>
                        </a:lnTo>
                        <a:lnTo>
                          <a:pt x="42" y="3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50" name="Freeform 6118"/>
                  <p:cNvSpPr>
                    <a:spLocks/>
                  </p:cNvSpPr>
                  <p:nvPr/>
                </p:nvSpPr>
                <p:spPr bwMode="auto">
                  <a:xfrm>
                    <a:off x="2542540" y="699453"/>
                    <a:ext cx="1550670" cy="1127760"/>
                  </a:xfrm>
                  <a:custGeom>
                    <a:avLst/>
                    <a:gdLst/>
                    <a:ahLst/>
                    <a:cxnLst>
                      <a:cxn ang="0">
                        <a:pos x="220" y="296"/>
                      </a:cxn>
                      <a:cxn ang="0">
                        <a:pos x="150" y="400"/>
                      </a:cxn>
                      <a:cxn ang="0">
                        <a:pos x="96" y="502"/>
                      </a:cxn>
                      <a:cxn ang="0">
                        <a:pos x="62" y="558"/>
                      </a:cxn>
                      <a:cxn ang="0">
                        <a:pos x="228" y="618"/>
                      </a:cxn>
                      <a:cxn ang="0">
                        <a:pos x="350" y="620"/>
                      </a:cxn>
                      <a:cxn ang="0">
                        <a:pos x="584" y="666"/>
                      </a:cxn>
                      <a:cxn ang="0">
                        <a:pos x="674" y="786"/>
                      </a:cxn>
                      <a:cxn ang="0">
                        <a:pos x="706" y="902"/>
                      </a:cxn>
                      <a:cxn ang="0">
                        <a:pos x="744" y="990"/>
                      </a:cxn>
                      <a:cxn ang="0">
                        <a:pos x="836" y="1010"/>
                      </a:cxn>
                      <a:cxn ang="0">
                        <a:pos x="750" y="1050"/>
                      </a:cxn>
                      <a:cxn ang="0">
                        <a:pos x="890" y="1110"/>
                      </a:cxn>
                      <a:cxn ang="0">
                        <a:pos x="788" y="1212"/>
                      </a:cxn>
                      <a:cxn ang="0">
                        <a:pos x="782" y="1328"/>
                      </a:cxn>
                      <a:cxn ang="0">
                        <a:pos x="834" y="1452"/>
                      </a:cxn>
                      <a:cxn ang="0">
                        <a:pos x="922" y="1474"/>
                      </a:cxn>
                      <a:cxn ang="0">
                        <a:pos x="860" y="1502"/>
                      </a:cxn>
                      <a:cxn ang="0">
                        <a:pos x="908" y="1598"/>
                      </a:cxn>
                      <a:cxn ang="0">
                        <a:pos x="966" y="1678"/>
                      </a:cxn>
                      <a:cxn ang="0">
                        <a:pos x="1032" y="1712"/>
                      </a:cxn>
                      <a:cxn ang="0">
                        <a:pos x="1090" y="1738"/>
                      </a:cxn>
                      <a:cxn ang="0">
                        <a:pos x="1196" y="1768"/>
                      </a:cxn>
                      <a:cxn ang="0">
                        <a:pos x="1232" y="1622"/>
                      </a:cxn>
                      <a:cxn ang="0">
                        <a:pos x="1262" y="1566"/>
                      </a:cxn>
                      <a:cxn ang="0">
                        <a:pos x="1262" y="1486"/>
                      </a:cxn>
                      <a:cxn ang="0">
                        <a:pos x="1332" y="1420"/>
                      </a:cxn>
                      <a:cxn ang="0">
                        <a:pos x="1402" y="1376"/>
                      </a:cxn>
                      <a:cxn ang="0">
                        <a:pos x="1412" y="1372"/>
                      </a:cxn>
                      <a:cxn ang="0">
                        <a:pos x="1468" y="1372"/>
                      </a:cxn>
                      <a:cxn ang="0">
                        <a:pos x="1628" y="1238"/>
                      </a:cxn>
                      <a:cxn ang="0">
                        <a:pos x="1748" y="1208"/>
                      </a:cxn>
                      <a:cxn ang="0">
                        <a:pos x="2012" y="1102"/>
                      </a:cxn>
                      <a:cxn ang="0">
                        <a:pos x="1846" y="1076"/>
                      </a:cxn>
                      <a:cxn ang="0">
                        <a:pos x="1800" y="1058"/>
                      </a:cxn>
                      <a:cxn ang="0">
                        <a:pos x="1842" y="970"/>
                      </a:cxn>
                      <a:cxn ang="0">
                        <a:pos x="2060" y="1056"/>
                      </a:cxn>
                      <a:cxn ang="0">
                        <a:pos x="2054" y="956"/>
                      </a:cxn>
                      <a:cxn ang="0">
                        <a:pos x="1916" y="858"/>
                      </a:cxn>
                      <a:cxn ang="0">
                        <a:pos x="2100" y="830"/>
                      </a:cxn>
                      <a:cxn ang="0">
                        <a:pos x="2142" y="768"/>
                      </a:cxn>
                      <a:cxn ang="0">
                        <a:pos x="2154" y="698"/>
                      </a:cxn>
                      <a:cxn ang="0">
                        <a:pos x="2066" y="608"/>
                      </a:cxn>
                      <a:cxn ang="0">
                        <a:pos x="2144" y="562"/>
                      </a:cxn>
                      <a:cxn ang="0">
                        <a:pos x="2144" y="504"/>
                      </a:cxn>
                      <a:cxn ang="0">
                        <a:pos x="2096" y="408"/>
                      </a:cxn>
                      <a:cxn ang="0">
                        <a:pos x="2228" y="310"/>
                      </a:cxn>
                      <a:cxn ang="0">
                        <a:pos x="2278" y="276"/>
                      </a:cxn>
                      <a:cxn ang="0">
                        <a:pos x="2298" y="244"/>
                      </a:cxn>
                      <a:cxn ang="0">
                        <a:pos x="2322" y="150"/>
                      </a:cxn>
                      <a:cxn ang="0">
                        <a:pos x="2050" y="210"/>
                      </a:cxn>
                      <a:cxn ang="0">
                        <a:pos x="1962" y="152"/>
                      </a:cxn>
                      <a:cxn ang="0">
                        <a:pos x="1616" y="174"/>
                      </a:cxn>
                      <a:cxn ang="0">
                        <a:pos x="2034" y="78"/>
                      </a:cxn>
                      <a:cxn ang="0">
                        <a:pos x="1724" y="52"/>
                      </a:cxn>
                      <a:cxn ang="0">
                        <a:pos x="1618" y="2"/>
                      </a:cxn>
                      <a:cxn ang="0">
                        <a:pos x="1402" y="44"/>
                      </a:cxn>
                      <a:cxn ang="0">
                        <a:pos x="1048" y="56"/>
                      </a:cxn>
                      <a:cxn ang="0">
                        <a:pos x="1110" y="74"/>
                      </a:cxn>
                      <a:cxn ang="0">
                        <a:pos x="1108" y="158"/>
                      </a:cxn>
                      <a:cxn ang="0">
                        <a:pos x="900" y="148"/>
                      </a:cxn>
                      <a:cxn ang="0">
                        <a:pos x="756" y="114"/>
                      </a:cxn>
                    </a:cxnLst>
                    <a:rect l="0" t="0" r="r" b="b"/>
                    <a:pathLst>
                      <a:path w="2442" h="1776">
                        <a:moveTo>
                          <a:pt x="470" y="176"/>
                        </a:moveTo>
                        <a:lnTo>
                          <a:pt x="470" y="176"/>
                        </a:lnTo>
                        <a:lnTo>
                          <a:pt x="476" y="186"/>
                        </a:lnTo>
                        <a:lnTo>
                          <a:pt x="478" y="194"/>
                        </a:lnTo>
                        <a:lnTo>
                          <a:pt x="480" y="202"/>
                        </a:lnTo>
                        <a:lnTo>
                          <a:pt x="478" y="210"/>
                        </a:lnTo>
                        <a:lnTo>
                          <a:pt x="474" y="216"/>
                        </a:lnTo>
                        <a:lnTo>
                          <a:pt x="466" y="218"/>
                        </a:lnTo>
                        <a:lnTo>
                          <a:pt x="458" y="220"/>
                        </a:lnTo>
                        <a:lnTo>
                          <a:pt x="446" y="218"/>
                        </a:lnTo>
                        <a:lnTo>
                          <a:pt x="446" y="218"/>
                        </a:lnTo>
                        <a:lnTo>
                          <a:pt x="426" y="212"/>
                        </a:lnTo>
                        <a:lnTo>
                          <a:pt x="406" y="210"/>
                        </a:lnTo>
                        <a:lnTo>
                          <a:pt x="386" y="210"/>
                        </a:lnTo>
                        <a:lnTo>
                          <a:pt x="368" y="212"/>
                        </a:lnTo>
                        <a:lnTo>
                          <a:pt x="350" y="216"/>
                        </a:lnTo>
                        <a:lnTo>
                          <a:pt x="334" y="222"/>
                        </a:lnTo>
                        <a:lnTo>
                          <a:pt x="318" y="230"/>
                        </a:lnTo>
                        <a:lnTo>
                          <a:pt x="304" y="238"/>
                        </a:lnTo>
                        <a:lnTo>
                          <a:pt x="304" y="238"/>
                        </a:lnTo>
                        <a:lnTo>
                          <a:pt x="272" y="256"/>
                        </a:lnTo>
                        <a:lnTo>
                          <a:pt x="244" y="270"/>
                        </a:lnTo>
                        <a:lnTo>
                          <a:pt x="232" y="276"/>
                        </a:lnTo>
                        <a:lnTo>
                          <a:pt x="222" y="284"/>
                        </a:lnTo>
                        <a:lnTo>
                          <a:pt x="218" y="290"/>
                        </a:lnTo>
                        <a:lnTo>
                          <a:pt x="218" y="292"/>
                        </a:lnTo>
                        <a:lnTo>
                          <a:pt x="220" y="296"/>
                        </a:lnTo>
                        <a:lnTo>
                          <a:pt x="220" y="296"/>
                        </a:lnTo>
                        <a:lnTo>
                          <a:pt x="226" y="300"/>
                        </a:lnTo>
                        <a:lnTo>
                          <a:pt x="234" y="304"/>
                        </a:lnTo>
                        <a:lnTo>
                          <a:pt x="244" y="308"/>
                        </a:lnTo>
                        <a:lnTo>
                          <a:pt x="256" y="308"/>
                        </a:lnTo>
                        <a:lnTo>
                          <a:pt x="280" y="308"/>
                        </a:lnTo>
                        <a:lnTo>
                          <a:pt x="302" y="306"/>
                        </a:lnTo>
                        <a:lnTo>
                          <a:pt x="302" y="306"/>
                        </a:lnTo>
                        <a:lnTo>
                          <a:pt x="310" y="306"/>
                        </a:lnTo>
                        <a:lnTo>
                          <a:pt x="316" y="310"/>
                        </a:lnTo>
                        <a:lnTo>
                          <a:pt x="318" y="318"/>
                        </a:lnTo>
                        <a:lnTo>
                          <a:pt x="320" y="326"/>
                        </a:lnTo>
                        <a:lnTo>
                          <a:pt x="318" y="338"/>
                        </a:lnTo>
                        <a:lnTo>
                          <a:pt x="314" y="348"/>
                        </a:lnTo>
                        <a:lnTo>
                          <a:pt x="308" y="360"/>
                        </a:lnTo>
                        <a:lnTo>
                          <a:pt x="300" y="370"/>
                        </a:lnTo>
                        <a:lnTo>
                          <a:pt x="300" y="370"/>
                        </a:lnTo>
                        <a:lnTo>
                          <a:pt x="290" y="380"/>
                        </a:lnTo>
                        <a:lnTo>
                          <a:pt x="280" y="384"/>
                        </a:lnTo>
                        <a:lnTo>
                          <a:pt x="268" y="386"/>
                        </a:lnTo>
                        <a:lnTo>
                          <a:pt x="254" y="386"/>
                        </a:lnTo>
                        <a:lnTo>
                          <a:pt x="224" y="382"/>
                        </a:lnTo>
                        <a:lnTo>
                          <a:pt x="206" y="382"/>
                        </a:lnTo>
                        <a:lnTo>
                          <a:pt x="188" y="384"/>
                        </a:lnTo>
                        <a:lnTo>
                          <a:pt x="188" y="384"/>
                        </a:lnTo>
                        <a:lnTo>
                          <a:pt x="172" y="388"/>
                        </a:lnTo>
                        <a:lnTo>
                          <a:pt x="162" y="392"/>
                        </a:lnTo>
                        <a:lnTo>
                          <a:pt x="154" y="396"/>
                        </a:lnTo>
                        <a:lnTo>
                          <a:pt x="150" y="400"/>
                        </a:lnTo>
                        <a:lnTo>
                          <a:pt x="142" y="404"/>
                        </a:lnTo>
                        <a:lnTo>
                          <a:pt x="130" y="408"/>
                        </a:lnTo>
                        <a:lnTo>
                          <a:pt x="112" y="412"/>
                        </a:lnTo>
                        <a:lnTo>
                          <a:pt x="84" y="418"/>
                        </a:lnTo>
                        <a:lnTo>
                          <a:pt x="84" y="418"/>
                        </a:lnTo>
                        <a:lnTo>
                          <a:pt x="54" y="422"/>
                        </a:lnTo>
                        <a:lnTo>
                          <a:pt x="32" y="428"/>
                        </a:lnTo>
                        <a:lnTo>
                          <a:pt x="16" y="434"/>
                        </a:lnTo>
                        <a:lnTo>
                          <a:pt x="4" y="440"/>
                        </a:lnTo>
                        <a:lnTo>
                          <a:pt x="0" y="448"/>
                        </a:lnTo>
                        <a:lnTo>
                          <a:pt x="0" y="456"/>
                        </a:lnTo>
                        <a:lnTo>
                          <a:pt x="4" y="464"/>
                        </a:lnTo>
                        <a:lnTo>
                          <a:pt x="12" y="472"/>
                        </a:lnTo>
                        <a:lnTo>
                          <a:pt x="12" y="472"/>
                        </a:lnTo>
                        <a:lnTo>
                          <a:pt x="20" y="478"/>
                        </a:lnTo>
                        <a:lnTo>
                          <a:pt x="28" y="482"/>
                        </a:lnTo>
                        <a:lnTo>
                          <a:pt x="38" y="484"/>
                        </a:lnTo>
                        <a:lnTo>
                          <a:pt x="48" y="484"/>
                        </a:lnTo>
                        <a:lnTo>
                          <a:pt x="52" y="486"/>
                        </a:lnTo>
                        <a:lnTo>
                          <a:pt x="56" y="490"/>
                        </a:lnTo>
                        <a:lnTo>
                          <a:pt x="56" y="490"/>
                        </a:lnTo>
                        <a:lnTo>
                          <a:pt x="62" y="494"/>
                        </a:lnTo>
                        <a:lnTo>
                          <a:pt x="68" y="496"/>
                        </a:lnTo>
                        <a:lnTo>
                          <a:pt x="78" y="496"/>
                        </a:lnTo>
                        <a:lnTo>
                          <a:pt x="88" y="496"/>
                        </a:lnTo>
                        <a:lnTo>
                          <a:pt x="92" y="498"/>
                        </a:lnTo>
                        <a:lnTo>
                          <a:pt x="96" y="502"/>
                        </a:lnTo>
                        <a:lnTo>
                          <a:pt x="96" y="502"/>
                        </a:lnTo>
                        <a:lnTo>
                          <a:pt x="102" y="506"/>
                        </a:lnTo>
                        <a:lnTo>
                          <a:pt x="108" y="510"/>
                        </a:lnTo>
                        <a:lnTo>
                          <a:pt x="116" y="514"/>
                        </a:lnTo>
                        <a:lnTo>
                          <a:pt x="124" y="514"/>
                        </a:lnTo>
                        <a:lnTo>
                          <a:pt x="144" y="516"/>
                        </a:lnTo>
                        <a:lnTo>
                          <a:pt x="174" y="516"/>
                        </a:lnTo>
                        <a:lnTo>
                          <a:pt x="174" y="516"/>
                        </a:lnTo>
                        <a:lnTo>
                          <a:pt x="192" y="516"/>
                        </a:lnTo>
                        <a:lnTo>
                          <a:pt x="208" y="514"/>
                        </a:lnTo>
                        <a:lnTo>
                          <a:pt x="238" y="508"/>
                        </a:lnTo>
                        <a:lnTo>
                          <a:pt x="250" y="506"/>
                        </a:lnTo>
                        <a:lnTo>
                          <a:pt x="260" y="506"/>
                        </a:lnTo>
                        <a:lnTo>
                          <a:pt x="268" y="506"/>
                        </a:lnTo>
                        <a:lnTo>
                          <a:pt x="272" y="512"/>
                        </a:lnTo>
                        <a:lnTo>
                          <a:pt x="272" y="512"/>
                        </a:lnTo>
                        <a:lnTo>
                          <a:pt x="272" y="516"/>
                        </a:lnTo>
                        <a:lnTo>
                          <a:pt x="268" y="520"/>
                        </a:lnTo>
                        <a:lnTo>
                          <a:pt x="260" y="524"/>
                        </a:lnTo>
                        <a:lnTo>
                          <a:pt x="248" y="524"/>
                        </a:lnTo>
                        <a:lnTo>
                          <a:pt x="174" y="528"/>
                        </a:lnTo>
                        <a:lnTo>
                          <a:pt x="174" y="528"/>
                        </a:lnTo>
                        <a:lnTo>
                          <a:pt x="128" y="534"/>
                        </a:lnTo>
                        <a:lnTo>
                          <a:pt x="106" y="538"/>
                        </a:lnTo>
                        <a:lnTo>
                          <a:pt x="86" y="542"/>
                        </a:lnTo>
                        <a:lnTo>
                          <a:pt x="72" y="546"/>
                        </a:lnTo>
                        <a:lnTo>
                          <a:pt x="62" y="552"/>
                        </a:lnTo>
                        <a:lnTo>
                          <a:pt x="60" y="554"/>
                        </a:lnTo>
                        <a:lnTo>
                          <a:pt x="62" y="558"/>
                        </a:lnTo>
                        <a:lnTo>
                          <a:pt x="64" y="562"/>
                        </a:lnTo>
                        <a:lnTo>
                          <a:pt x="68" y="564"/>
                        </a:lnTo>
                        <a:lnTo>
                          <a:pt x="68" y="564"/>
                        </a:lnTo>
                        <a:lnTo>
                          <a:pt x="84" y="570"/>
                        </a:lnTo>
                        <a:lnTo>
                          <a:pt x="102" y="574"/>
                        </a:lnTo>
                        <a:lnTo>
                          <a:pt x="140" y="580"/>
                        </a:lnTo>
                        <a:lnTo>
                          <a:pt x="154" y="584"/>
                        </a:lnTo>
                        <a:lnTo>
                          <a:pt x="162" y="586"/>
                        </a:lnTo>
                        <a:lnTo>
                          <a:pt x="162" y="588"/>
                        </a:lnTo>
                        <a:lnTo>
                          <a:pt x="160" y="590"/>
                        </a:lnTo>
                        <a:lnTo>
                          <a:pt x="148" y="594"/>
                        </a:lnTo>
                        <a:lnTo>
                          <a:pt x="148" y="594"/>
                        </a:lnTo>
                        <a:lnTo>
                          <a:pt x="136" y="598"/>
                        </a:lnTo>
                        <a:lnTo>
                          <a:pt x="132" y="602"/>
                        </a:lnTo>
                        <a:lnTo>
                          <a:pt x="132" y="604"/>
                        </a:lnTo>
                        <a:lnTo>
                          <a:pt x="132" y="606"/>
                        </a:lnTo>
                        <a:lnTo>
                          <a:pt x="136" y="608"/>
                        </a:lnTo>
                        <a:lnTo>
                          <a:pt x="146" y="614"/>
                        </a:lnTo>
                        <a:lnTo>
                          <a:pt x="182" y="624"/>
                        </a:lnTo>
                        <a:lnTo>
                          <a:pt x="224" y="636"/>
                        </a:lnTo>
                        <a:lnTo>
                          <a:pt x="224" y="636"/>
                        </a:lnTo>
                        <a:lnTo>
                          <a:pt x="242" y="642"/>
                        </a:lnTo>
                        <a:lnTo>
                          <a:pt x="248" y="642"/>
                        </a:lnTo>
                        <a:lnTo>
                          <a:pt x="248" y="642"/>
                        </a:lnTo>
                        <a:lnTo>
                          <a:pt x="248" y="640"/>
                        </a:lnTo>
                        <a:lnTo>
                          <a:pt x="242" y="634"/>
                        </a:lnTo>
                        <a:lnTo>
                          <a:pt x="230" y="622"/>
                        </a:lnTo>
                        <a:lnTo>
                          <a:pt x="228" y="618"/>
                        </a:lnTo>
                        <a:lnTo>
                          <a:pt x="228" y="616"/>
                        </a:lnTo>
                        <a:lnTo>
                          <a:pt x="232" y="614"/>
                        </a:lnTo>
                        <a:lnTo>
                          <a:pt x="232" y="614"/>
                        </a:lnTo>
                        <a:lnTo>
                          <a:pt x="238" y="612"/>
                        </a:lnTo>
                        <a:lnTo>
                          <a:pt x="242" y="614"/>
                        </a:lnTo>
                        <a:lnTo>
                          <a:pt x="246" y="620"/>
                        </a:lnTo>
                        <a:lnTo>
                          <a:pt x="250" y="622"/>
                        </a:lnTo>
                        <a:lnTo>
                          <a:pt x="254" y="622"/>
                        </a:lnTo>
                        <a:lnTo>
                          <a:pt x="262" y="622"/>
                        </a:lnTo>
                        <a:lnTo>
                          <a:pt x="272" y="618"/>
                        </a:lnTo>
                        <a:lnTo>
                          <a:pt x="272" y="618"/>
                        </a:lnTo>
                        <a:lnTo>
                          <a:pt x="282" y="614"/>
                        </a:lnTo>
                        <a:lnTo>
                          <a:pt x="286" y="614"/>
                        </a:lnTo>
                        <a:lnTo>
                          <a:pt x="286" y="616"/>
                        </a:lnTo>
                        <a:lnTo>
                          <a:pt x="286" y="618"/>
                        </a:lnTo>
                        <a:lnTo>
                          <a:pt x="284" y="622"/>
                        </a:lnTo>
                        <a:lnTo>
                          <a:pt x="286" y="626"/>
                        </a:lnTo>
                        <a:lnTo>
                          <a:pt x="290" y="630"/>
                        </a:lnTo>
                        <a:lnTo>
                          <a:pt x="300" y="630"/>
                        </a:lnTo>
                        <a:lnTo>
                          <a:pt x="300" y="630"/>
                        </a:lnTo>
                        <a:lnTo>
                          <a:pt x="312" y="630"/>
                        </a:lnTo>
                        <a:lnTo>
                          <a:pt x="320" y="626"/>
                        </a:lnTo>
                        <a:lnTo>
                          <a:pt x="326" y="622"/>
                        </a:lnTo>
                        <a:lnTo>
                          <a:pt x="330" y="618"/>
                        </a:lnTo>
                        <a:lnTo>
                          <a:pt x="334" y="616"/>
                        </a:lnTo>
                        <a:lnTo>
                          <a:pt x="338" y="614"/>
                        </a:lnTo>
                        <a:lnTo>
                          <a:pt x="344" y="614"/>
                        </a:lnTo>
                        <a:lnTo>
                          <a:pt x="350" y="620"/>
                        </a:lnTo>
                        <a:lnTo>
                          <a:pt x="350" y="620"/>
                        </a:lnTo>
                        <a:lnTo>
                          <a:pt x="358" y="624"/>
                        </a:lnTo>
                        <a:lnTo>
                          <a:pt x="364" y="624"/>
                        </a:lnTo>
                        <a:lnTo>
                          <a:pt x="368" y="622"/>
                        </a:lnTo>
                        <a:lnTo>
                          <a:pt x="370" y="618"/>
                        </a:lnTo>
                        <a:lnTo>
                          <a:pt x="374" y="614"/>
                        </a:lnTo>
                        <a:lnTo>
                          <a:pt x="380" y="610"/>
                        </a:lnTo>
                        <a:lnTo>
                          <a:pt x="386" y="610"/>
                        </a:lnTo>
                        <a:lnTo>
                          <a:pt x="396" y="612"/>
                        </a:lnTo>
                        <a:lnTo>
                          <a:pt x="396" y="612"/>
                        </a:lnTo>
                        <a:lnTo>
                          <a:pt x="408" y="616"/>
                        </a:lnTo>
                        <a:lnTo>
                          <a:pt x="420" y="618"/>
                        </a:lnTo>
                        <a:lnTo>
                          <a:pt x="446" y="618"/>
                        </a:lnTo>
                        <a:lnTo>
                          <a:pt x="468" y="620"/>
                        </a:lnTo>
                        <a:lnTo>
                          <a:pt x="476" y="622"/>
                        </a:lnTo>
                        <a:lnTo>
                          <a:pt x="484" y="628"/>
                        </a:lnTo>
                        <a:lnTo>
                          <a:pt x="484" y="628"/>
                        </a:lnTo>
                        <a:lnTo>
                          <a:pt x="488" y="632"/>
                        </a:lnTo>
                        <a:lnTo>
                          <a:pt x="492" y="634"/>
                        </a:lnTo>
                        <a:lnTo>
                          <a:pt x="500" y="634"/>
                        </a:lnTo>
                        <a:lnTo>
                          <a:pt x="506" y="634"/>
                        </a:lnTo>
                        <a:lnTo>
                          <a:pt x="512" y="634"/>
                        </a:lnTo>
                        <a:lnTo>
                          <a:pt x="522" y="638"/>
                        </a:lnTo>
                        <a:lnTo>
                          <a:pt x="534" y="642"/>
                        </a:lnTo>
                        <a:lnTo>
                          <a:pt x="534" y="642"/>
                        </a:lnTo>
                        <a:lnTo>
                          <a:pt x="560" y="654"/>
                        </a:lnTo>
                        <a:lnTo>
                          <a:pt x="578" y="664"/>
                        </a:lnTo>
                        <a:lnTo>
                          <a:pt x="584" y="666"/>
                        </a:lnTo>
                        <a:lnTo>
                          <a:pt x="584" y="670"/>
                        </a:lnTo>
                        <a:lnTo>
                          <a:pt x="584" y="674"/>
                        </a:lnTo>
                        <a:lnTo>
                          <a:pt x="578" y="680"/>
                        </a:lnTo>
                        <a:lnTo>
                          <a:pt x="578" y="680"/>
                        </a:lnTo>
                        <a:lnTo>
                          <a:pt x="576" y="684"/>
                        </a:lnTo>
                        <a:lnTo>
                          <a:pt x="576" y="688"/>
                        </a:lnTo>
                        <a:lnTo>
                          <a:pt x="578" y="692"/>
                        </a:lnTo>
                        <a:lnTo>
                          <a:pt x="582" y="696"/>
                        </a:lnTo>
                        <a:lnTo>
                          <a:pt x="596" y="704"/>
                        </a:lnTo>
                        <a:lnTo>
                          <a:pt x="612" y="714"/>
                        </a:lnTo>
                        <a:lnTo>
                          <a:pt x="642" y="734"/>
                        </a:lnTo>
                        <a:lnTo>
                          <a:pt x="652" y="742"/>
                        </a:lnTo>
                        <a:lnTo>
                          <a:pt x="654" y="746"/>
                        </a:lnTo>
                        <a:lnTo>
                          <a:pt x="654" y="750"/>
                        </a:lnTo>
                        <a:lnTo>
                          <a:pt x="654" y="750"/>
                        </a:lnTo>
                        <a:lnTo>
                          <a:pt x="650" y="756"/>
                        </a:lnTo>
                        <a:lnTo>
                          <a:pt x="644" y="764"/>
                        </a:lnTo>
                        <a:lnTo>
                          <a:pt x="632" y="776"/>
                        </a:lnTo>
                        <a:lnTo>
                          <a:pt x="628" y="780"/>
                        </a:lnTo>
                        <a:lnTo>
                          <a:pt x="628" y="782"/>
                        </a:lnTo>
                        <a:lnTo>
                          <a:pt x="632" y="784"/>
                        </a:lnTo>
                        <a:lnTo>
                          <a:pt x="642" y="780"/>
                        </a:lnTo>
                        <a:lnTo>
                          <a:pt x="642" y="780"/>
                        </a:lnTo>
                        <a:lnTo>
                          <a:pt x="660" y="776"/>
                        </a:lnTo>
                        <a:lnTo>
                          <a:pt x="666" y="776"/>
                        </a:lnTo>
                        <a:lnTo>
                          <a:pt x="668" y="776"/>
                        </a:lnTo>
                        <a:lnTo>
                          <a:pt x="670" y="782"/>
                        </a:lnTo>
                        <a:lnTo>
                          <a:pt x="674" y="786"/>
                        </a:lnTo>
                        <a:lnTo>
                          <a:pt x="678" y="790"/>
                        </a:lnTo>
                        <a:lnTo>
                          <a:pt x="678" y="790"/>
                        </a:lnTo>
                        <a:lnTo>
                          <a:pt x="684" y="794"/>
                        </a:lnTo>
                        <a:lnTo>
                          <a:pt x="686" y="798"/>
                        </a:lnTo>
                        <a:lnTo>
                          <a:pt x="684" y="802"/>
                        </a:lnTo>
                        <a:lnTo>
                          <a:pt x="682" y="806"/>
                        </a:lnTo>
                        <a:lnTo>
                          <a:pt x="680" y="810"/>
                        </a:lnTo>
                        <a:lnTo>
                          <a:pt x="680" y="814"/>
                        </a:lnTo>
                        <a:lnTo>
                          <a:pt x="686" y="818"/>
                        </a:lnTo>
                        <a:lnTo>
                          <a:pt x="696" y="824"/>
                        </a:lnTo>
                        <a:lnTo>
                          <a:pt x="696" y="824"/>
                        </a:lnTo>
                        <a:lnTo>
                          <a:pt x="704" y="828"/>
                        </a:lnTo>
                        <a:lnTo>
                          <a:pt x="708" y="834"/>
                        </a:lnTo>
                        <a:lnTo>
                          <a:pt x="706" y="838"/>
                        </a:lnTo>
                        <a:lnTo>
                          <a:pt x="702" y="844"/>
                        </a:lnTo>
                        <a:lnTo>
                          <a:pt x="700" y="850"/>
                        </a:lnTo>
                        <a:lnTo>
                          <a:pt x="698" y="854"/>
                        </a:lnTo>
                        <a:lnTo>
                          <a:pt x="702" y="858"/>
                        </a:lnTo>
                        <a:lnTo>
                          <a:pt x="710" y="862"/>
                        </a:lnTo>
                        <a:lnTo>
                          <a:pt x="710" y="862"/>
                        </a:lnTo>
                        <a:lnTo>
                          <a:pt x="720" y="864"/>
                        </a:lnTo>
                        <a:lnTo>
                          <a:pt x="726" y="870"/>
                        </a:lnTo>
                        <a:lnTo>
                          <a:pt x="730" y="876"/>
                        </a:lnTo>
                        <a:lnTo>
                          <a:pt x="730" y="882"/>
                        </a:lnTo>
                        <a:lnTo>
                          <a:pt x="728" y="888"/>
                        </a:lnTo>
                        <a:lnTo>
                          <a:pt x="722" y="894"/>
                        </a:lnTo>
                        <a:lnTo>
                          <a:pt x="716" y="898"/>
                        </a:lnTo>
                        <a:lnTo>
                          <a:pt x="706" y="902"/>
                        </a:lnTo>
                        <a:lnTo>
                          <a:pt x="706" y="902"/>
                        </a:lnTo>
                        <a:lnTo>
                          <a:pt x="698" y="904"/>
                        </a:lnTo>
                        <a:lnTo>
                          <a:pt x="694" y="906"/>
                        </a:lnTo>
                        <a:lnTo>
                          <a:pt x="690" y="910"/>
                        </a:lnTo>
                        <a:lnTo>
                          <a:pt x="690" y="916"/>
                        </a:lnTo>
                        <a:lnTo>
                          <a:pt x="690" y="922"/>
                        </a:lnTo>
                        <a:lnTo>
                          <a:pt x="694" y="928"/>
                        </a:lnTo>
                        <a:lnTo>
                          <a:pt x="704" y="942"/>
                        </a:lnTo>
                        <a:lnTo>
                          <a:pt x="704" y="942"/>
                        </a:lnTo>
                        <a:lnTo>
                          <a:pt x="708" y="948"/>
                        </a:lnTo>
                        <a:lnTo>
                          <a:pt x="708" y="952"/>
                        </a:lnTo>
                        <a:lnTo>
                          <a:pt x="704" y="956"/>
                        </a:lnTo>
                        <a:lnTo>
                          <a:pt x="698" y="956"/>
                        </a:lnTo>
                        <a:lnTo>
                          <a:pt x="686" y="960"/>
                        </a:lnTo>
                        <a:lnTo>
                          <a:pt x="682" y="960"/>
                        </a:lnTo>
                        <a:lnTo>
                          <a:pt x="684" y="964"/>
                        </a:lnTo>
                        <a:lnTo>
                          <a:pt x="684" y="964"/>
                        </a:lnTo>
                        <a:lnTo>
                          <a:pt x="690" y="972"/>
                        </a:lnTo>
                        <a:lnTo>
                          <a:pt x="696" y="980"/>
                        </a:lnTo>
                        <a:lnTo>
                          <a:pt x="698" y="984"/>
                        </a:lnTo>
                        <a:lnTo>
                          <a:pt x="702" y="986"/>
                        </a:lnTo>
                        <a:lnTo>
                          <a:pt x="706" y="986"/>
                        </a:lnTo>
                        <a:lnTo>
                          <a:pt x="710" y="984"/>
                        </a:lnTo>
                        <a:lnTo>
                          <a:pt x="710" y="984"/>
                        </a:lnTo>
                        <a:lnTo>
                          <a:pt x="716" y="984"/>
                        </a:lnTo>
                        <a:lnTo>
                          <a:pt x="722" y="984"/>
                        </a:lnTo>
                        <a:lnTo>
                          <a:pt x="738" y="988"/>
                        </a:lnTo>
                        <a:lnTo>
                          <a:pt x="744" y="990"/>
                        </a:lnTo>
                        <a:lnTo>
                          <a:pt x="752" y="988"/>
                        </a:lnTo>
                        <a:lnTo>
                          <a:pt x="758" y="984"/>
                        </a:lnTo>
                        <a:lnTo>
                          <a:pt x="764" y="974"/>
                        </a:lnTo>
                        <a:lnTo>
                          <a:pt x="764" y="974"/>
                        </a:lnTo>
                        <a:lnTo>
                          <a:pt x="768" y="970"/>
                        </a:lnTo>
                        <a:lnTo>
                          <a:pt x="770" y="966"/>
                        </a:lnTo>
                        <a:lnTo>
                          <a:pt x="780" y="960"/>
                        </a:lnTo>
                        <a:lnTo>
                          <a:pt x="790" y="960"/>
                        </a:lnTo>
                        <a:lnTo>
                          <a:pt x="800" y="960"/>
                        </a:lnTo>
                        <a:lnTo>
                          <a:pt x="808" y="962"/>
                        </a:lnTo>
                        <a:lnTo>
                          <a:pt x="816" y="966"/>
                        </a:lnTo>
                        <a:lnTo>
                          <a:pt x="818" y="970"/>
                        </a:lnTo>
                        <a:lnTo>
                          <a:pt x="818" y="972"/>
                        </a:lnTo>
                        <a:lnTo>
                          <a:pt x="818" y="972"/>
                        </a:lnTo>
                        <a:lnTo>
                          <a:pt x="818" y="972"/>
                        </a:lnTo>
                        <a:lnTo>
                          <a:pt x="812" y="978"/>
                        </a:lnTo>
                        <a:lnTo>
                          <a:pt x="810" y="980"/>
                        </a:lnTo>
                        <a:lnTo>
                          <a:pt x="812" y="982"/>
                        </a:lnTo>
                        <a:lnTo>
                          <a:pt x="818" y="982"/>
                        </a:lnTo>
                        <a:lnTo>
                          <a:pt x="822" y="984"/>
                        </a:lnTo>
                        <a:lnTo>
                          <a:pt x="828" y="986"/>
                        </a:lnTo>
                        <a:lnTo>
                          <a:pt x="828" y="990"/>
                        </a:lnTo>
                        <a:lnTo>
                          <a:pt x="826" y="994"/>
                        </a:lnTo>
                        <a:lnTo>
                          <a:pt x="826" y="994"/>
                        </a:lnTo>
                        <a:lnTo>
                          <a:pt x="824" y="998"/>
                        </a:lnTo>
                        <a:lnTo>
                          <a:pt x="824" y="1000"/>
                        </a:lnTo>
                        <a:lnTo>
                          <a:pt x="828" y="1006"/>
                        </a:lnTo>
                        <a:lnTo>
                          <a:pt x="836" y="1010"/>
                        </a:lnTo>
                        <a:lnTo>
                          <a:pt x="846" y="1014"/>
                        </a:lnTo>
                        <a:lnTo>
                          <a:pt x="866" y="1020"/>
                        </a:lnTo>
                        <a:lnTo>
                          <a:pt x="872" y="1022"/>
                        </a:lnTo>
                        <a:lnTo>
                          <a:pt x="874" y="1024"/>
                        </a:lnTo>
                        <a:lnTo>
                          <a:pt x="874" y="1024"/>
                        </a:lnTo>
                        <a:lnTo>
                          <a:pt x="874" y="1024"/>
                        </a:lnTo>
                        <a:lnTo>
                          <a:pt x="868" y="1034"/>
                        </a:lnTo>
                        <a:lnTo>
                          <a:pt x="866" y="1040"/>
                        </a:lnTo>
                        <a:lnTo>
                          <a:pt x="868" y="1044"/>
                        </a:lnTo>
                        <a:lnTo>
                          <a:pt x="874" y="1050"/>
                        </a:lnTo>
                        <a:lnTo>
                          <a:pt x="874" y="1050"/>
                        </a:lnTo>
                        <a:lnTo>
                          <a:pt x="874" y="1052"/>
                        </a:lnTo>
                        <a:lnTo>
                          <a:pt x="872" y="1054"/>
                        </a:lnTo>
                        <a:lnTo>
                          <a:pt x="862" y="1052"/>
                        </a:lnTo>
                        <a:lnTo>
                          <a:pt x="848" y="1048"/>
                        </a:lnTo>
                        <a:lnTo>
                          <a:pt x="832" y="1040"/>
                        </a:lnTo>
                        <a:lnTo>
                          <a:pt x="832" y="1040"/>
                        </a:lnTo>
                        <a:lnTo>
                          <a:pt x="822" y="1036"/>
                        </a:lnTo>
                        <a:lnTo>
                          <a:pt x="810" y="1032"/>
                        </a:lnTo>
                        <a:lnTo>
                          <a:pt x="784" y="1028"/>
                        </a:lnTo>
                        <a:lnTo>
                          <a:pt x="758" y="1028"/>
                        </a:lnTo>
                        <a:lnTo>
                          <a:pt x="748" y="1030"/>
                        </a:lnTo>
                        <a:lnTo>
                          <a:pt x="742" y="1032"/>
                        </a:lnTo>
                        <a:lnTo>
                          <a:pt x="742" y="1032"/>
                        </a:lnTo>
                        <a:lnTo>
                          <a:pt x="738" y="1036"/>
                        </a:lnTo>
                        <a:lnTo>
                          <a:pt x="740" y="1042"/>
                        </a:lnTo>
                        <a:lnTo>
                          <a:pt x="744" y="1046"/>
                        </a:lnTo>
                        <a:lnTo>
                          <a:pt x="750" y="1050"/>
                        </a:lnTo>
                        <a:lnTo>
                          <a:pt x="764" y="1056"/>
                        </a:lnTo>
                        <a:lnTo>
                          <a:pt x="782" y="1060"/>
                        </a:lnTo>
                        <a:lnTo>
                          <a:pt x="782" y="1060"/>
                        </a:lnTo>
                        <a:lnTo>
                          <a:pt x="796" y="1060"/>
                        </a:lnTo>
                        <a:lnTo>
                          <a:pt x="804" y="1064"/>
                        </a:lnTo>
                        <a:lnTo>
                          <a:pt x="810" y="1068"/>
                        </a:lnTo>
                        <a:lnTo>
                          <a:pt x="816" y="1072"/>
                        </a:lnTo>
                        <a:lnTo>
                          <a:pt x="820" y="1078"/>
                        </a:lnTo>
                        <a:lnTo>
                          <a:pt x="824" y="1082"/>
                        </a:lnTo>
                        <a:lnTo>
                          <a:pt x="832" y="1086"/>
                        </a:lnTo>
                        <a:lnTo>
                          <a:pt x="844" y="1088"/>
                        </a:lnTo>
                        <a:lnTo>
                          <a:pt x="844" y="1088"/>
                        </a:lnTo>
                        <a:lnTo>
                          <a:pt x="856" y="1090"/>
                        </a:lnTo>
                        <a:lnTo>
                          <a:pt x="864" y="1092"/>
                        </a:lnTo>
                        <a:lnTo>
                          <a:pt x="868" y="1096"/>
                        </a:lnTo>
                        <a:lnTo>
                          <a:pt x="870" y="1098"/>
                        </a:lnTo>
                        <a:lnTo>
                          <a:pt x="866" y="1108"/>
                        </a:lnTo>
                        <a:lnTo>
                          <a:pt x="866" y="1112"/>
                        </a:lnTo>
                        <a:lnTo>
                          <a:pt x="868" y="1118"/>
                        </a:lnTo>
                        <a:lnTo>
                          <a:pt x="868" y="1118"/>
                        </a:lnTo>
                        <a:lnTo>
                          <a:pt x="872" y="1122"/>
                        </a:lnTo>
                        <a:lnTo>
                          <a:pt x="876" y="1120"/>
                        </a:lnTo>
                        <a:lnTo>
                          <a:pt x="880" y="1118"/>
                        </a:lnTo>
                        <a:lnTo>
                          <a:pt x="882" y="1114"/>
                        </a:lnTo>
                        <a:lnTo>
                          <a:pt x="888" y="1106"/>
                        </a:lnTo>
                        <a:lnTo>
                          <a:pt x="888" y="1106"/>
                        </a:lnTo>
                        <a:lnTo>
                          <a:pt x="890" y="1110"/>
                        </a:lnTo>
                        <a:lnTo>
                          <a:pt x="890" y="1110"/>
                        </a:lnTo>
                        <a:lnTo>
                          <a:pt x="888" y="1116"/>
                        </a:lnTo>
                        <a:lnTo>
                          <a:pt x="888" y="1122"/>
                        </a:lnTo>
                        <a:lnTo>
                          <a:pt x="882" y="1134"/>
                        </a:lnTo>
                        <a:lnTo>
                          <a:pt x="876" y="1148"/>
                        </a:lnTo>
                        <a:lnTo>
                          <a:pt x="872" y="1164"/>
                        </a:lnTo>
                        <a:lnTo>
                          <a:pt x="872" y="1164"/>
                        </a:lnTo>
                        <a:lnTo>
                          <a:pt x="870" y="1170"/>
                        </a:lnTo>
                        <a:lnTo>
                          <a:pt x="872" y="1176"/>
                        </a:lnTo>
                        <a:lnTo>
                          <a:pt x="876" y="1182"/>
                        </a:lnTo>
                        <a:lnTo>
                          <a:pt x="876" y="1184"/>
                        </a:lnTo>
                        <a:lnTo>
                          <a:pt x="876" y="1186"/>
                        </a:lnTo>
                        <a:lnTo>
                          <a:pt x="866" y="1192"/>
                        </a:lnTo>
                        <a:lnTo>
                          <a:pt x="866" y="1192"/>
                        </a:lnTo>
                        <a:lnTo>
                          <a:pt x="858" y="1194"/>
                        </a:lnTo>
                        <a:lnTo>
                          <a:pt x="850" y="1196"/>
                        </a:lnTo>
                        <a:lnTo>
                          <a:pt x="838" y="1192"/>
                        </a:lnTo>
                        <a:lnTo>
                          <a:pt x="828" y="1190"/>
                        </a:lnTo>
                        <a:lnTo>
                          <a:pt x="822" y="1190"/>
                        </a:lnTo>
                        <a:lnTo>
                          <a:pt x="818" y="1194"/>
                        </a:lnTo>
                        <a:lnTo>
                          <a:pt x="818" y="1194"/>
                        </a:lnTo>
                        <a:lnTo>
                          <a:pt x="812" y="1196"/>
                        </a:lnTo>
                        <a:lnTo>
                          <a:pt x="806" y="1198"/>
                        </a:lnTo>
                        <a:lnTo>
                          <a:pt x="796" y="1202"/>
                        </a:lnTo>
                        <a:lnTo>
                          <a:pt x="788" y="1204"/>
                        </a:lnTo>
                        <a:lnTo>
                          <a:pt x="786" y="1206"/>
                        </a:lnTo>
                        <a:lnTo>
                          <a:pt x="788" y="1210"/>
                        </a:lnTo>
                        <a:lnTo>
                          <a:pt x="788" y="1210"/>
                        </a:lnTo>
                        <a:lnTo>
                          <a:pt x="788" y="1212"/>
                        </a:lnTo>
                        <a:lnTo>
                          <a:pt x="788" y="1214"/>
                        </a:lnTo>
                        <a:lnTo>
                          <a:pt x="784" y="1214"/>
                        </a:lnTo>
                        <a:lnTo>
                          <a:pt x="784" y="1216"/>
                        </a:lnTo>
                        <a:lnTo>
                          <a:pt x="784" y="1216"/>
                        </a:lnTo>
                        <a:lnTo>
                          <a:pt x="790" y="1222"/>
                        </a:lnTo>
                        <a:lnTo>
                          <a:pt x="790" y="1222"/>
                        </a:lnTo>
                        <a:lnTo>
                          <a:pt x="794" y="1226"/>
                        </a:lnTo>
                        <a:lnTo>
                          <a:pt x="794" y="1228"/>
                        </a:lnTo>
                        <a:lnTo>
                          <a:pt x="792" y="1232"/>
                        </a:lnTo>
                        <a:lnTo>
                          <a:pt x="788" y="1234"/>
                        </a:lnTo>
                        <a:lnTo>
                          <a:pt x="778" y="1240"/>
                        </a:lnTo>
                        <a:lnTo>
                          <a:pt x="774" y="1242"/>
                        </a:lnTo>
                        <a:lnTo>
                          <a:pt x="774" y="1246"/>
                        </a:lnTo>
                        <a:lnTo>
                          <a:pt x="774" y="1246"/>
                        </a:lnTo>
                        <a:lnTo>
                          <a:pt x="774" y="1252"/>
                        </a:lnTo>
                        <a:lnTo>
                          <a:pt x="772" y="1260"/>
                        </a:lnTo>
                        <a:lnTo>
                          <a:pt x="762" y="1284"/>
                        </a:lnTo>
                        <a:lnTo>
                          <a:pt x="762" y="1284"/>
                        </a:lnTo>
                        <a:lnTo>
                          <a:pt x="762" y="1292"/>
                        </a:lnTo>
                        <a:lnTo>
                          <a:pt x="762" y="1296"/>
                        </a:lnTo>
                        <a:lnTo>
                          <a:pt x="766" y="1300"/>
                        </a:lnTo>
                        <a:lnTo>
                          <a:pt x="772" y="1302"/>
                        </a:lnTo>
                        <a:lnTo>
                          <a:pt x="788" y="1306"/>
                        </a:lnTo>
                        <a:lnTo>
                          <a:pt x="810" y="1306"/>
                        </a:lnTo>
                        <a:lnTo>
                          <a:pt x="810" y="1306"/>
                        </a:lnTo>
                        <a:lnTo>
                          <a:pt x="800" y="1312"/>
                        </a:lnTo>
                        <a:lnTo>
                          <a:pt x="790" y="1320"/>
                        </a:lnTo>
                        <a:lnTo>
                          <a:pt x="782" y="1328"/>
                        </a:lnTo>
                        <a:lnTo>
                          <a:pt x="776" y="1338"/>
                        </a:lnTo>
                        <a:lnTo>
                          <a:pt x="772" y="1346"/>
                        </a:lnTo>
                        <a:lnTo>
                          <a:pt x="772" y="1354"/>
                        </a:lnTo>
                        <a:lnTo>
                          <a:pt x="774" y="1362"/>
                        </a:lnTo>
                        <a:lnTo>
                          <a:pt x="780" y="1368"/>
                        </a:lnTo>
                        <a:lnTo>
                          <a:pt x="780" y="1368"/>
                        </a:lnTo>
                        <a:lnTo>
                          <a:pt x="786" y="1374"/>
                        </a:lnTo>
                        <a:lnTo>
                          <a:pt x="790" y="1378"/>
                        </a:lnTo>
                        <a:lnTo>
                          <a:pt x="792" y="1384"/>
                        </a:lnTo>
                        <a:lnTo>
                          <a:pt x="792" y="1390"/>
                        </a:lnTo>
                        <a:lnTo>
                          <a:pt x="792" y="1392"/>
                        </a:lnTo>
                        <a:lnTo>
                          <a:pt x="796" y="1392"/>
                        </a:lnTo>
                        <a:lnTo>
                          <a:pt x="796" y="1392"/>
                        </a:lnTo>
                        <a:lnTo>
                          <a:pt x="806" y="1394"/>
                        </a:lnTo>
                        <a:lnTo>
                          <a:pt x="812" y="1400"/>
                        </a:lnTo>
                        <a:lnTo>
                          <a:pt x="818" y="1406"/>
                        </a:lnTo>
                        <a:lnTo>
                          <a:pt x="818" y="1410"/>
                        </a:lnTo>
                        <a:lnTo>
                          <a:pt x="818" y="1414"/>
                        </a:lnTo>
                        <a:lnTo>
                          <a:pt x="818" y="1414"/>
                        </a:lnTo>
                        <a:lnTo>
                          <a:pt x="818" y="1420"/>
                        </a:lnTo>
                        <a:lnTo>
                          <a:pt x="818" y="1422"/>
                        </a:lnTo>
                        <a:lnTo>
                          <a:pt x="824" y="1426"/>
                        </a:lnTo>
                        <a:lnTo>
                          <a:pt x="828" y="1430"/>
                        </a:lnTo>
                        <a:lnTo>
                          <a:pt x="830" y="1434"/>
                        </a:lnTo>
                        <a:lnTo>
                          <a:pt x="830" y="1440"/>
                        </a:lnTo>
                        <a:lnTo>
                          <a:pt x="830" y="1440"/>
                        </a:lnTo>
                        <a:lnTo>
                          <a:pt x="830" y="1450"/>
                        </a:lnTo>
                        <a:lnTo>
                          <a:pt x="834" y="1452"/>
                        </a:lnTo>
                        <a:lnTo>
                          <a:pt x="836" y="1454"/>
                        </a:lnTo>
                        <a:lnTo>
                          <a:pt x="836" y="1462"/>
                        </a:lnTo>
                        <a:lnTo>
                          <a:pt x="836" y="1462"/>
                        </a:lnTo>
                        <a:lnTo>
                          <a:pt x="836" y="1476"/>
                        </a:lnTo>
                        <a:lnTo>
                          <a:pt x="836" y="1482"/>
                        </a:lnTo>
                        <a:lnTo>
                          <a:pt x="840" y="1488"/>
                        </a:lnTo>
                        <a:lnTo>
                          <a:pt x="842" y="1490"/>
                        </a:lnTo>
                        <a:lnTo>
                          <a:pt x="848" y="1488"/>
                        </a:lnTo>
                        <a:lnTo>
                          <a:pt x="852" y="1482"/>
                        </a:lnTo>
                        <a:lnTo>
                          <a:pt x="860" y="1470"/>
                        </a:lnTo>
                        <a:lnTo>
                          <a:pt x="860" y="1470"/>
                        </a:lnTo>
                        <a:lnTo>
                          <a:pt x="870" y="1454"/>
                        </a:lnTo>
                        <a:lnTo>
                          <a:pt x="872" y="1454"/>
                        </a:lnTo>
                        <a:lnTo>
                          <a:pt x="874" y="1456"/>
                        </a:lnTo>
                        <a:lnTo>
                          <a:pt x="876" y="1462"/>
                        </a:lnTo>
                        <a:lnTo>
                          <a:pt x="878" y="1462"/>
                        </a:lnTo>
                        <a:lnTo>
                          <a:pt x="882" y="1460"/>
                        </a:lnTo>
                        <a:lnTo>
                          <a:pt x="882" y="1460"/>
                        </a:lnTo>
                        <a:lnTo>
                          <a:pt x="888" y="1456"/>
                        </a:lnTo>
                        <a:lnTo>
                          <a:pt x="894" y="1454"/>
                        </a:lnTo>
                        <a:lnTo>
                          <a:pt x="900" y="1452"/>
                        </a:lnTo>
                        <a:lnTo>
                          <a:pt x="906" y="1454"/>
                        </a:lnTo>
                        <a:lnTo>
                          <a:pt x="912" y="1456"/>
                        </a:lnTo>
                        <a:lnTo>
                          <a:pt x="916" y="1458"/>
                        </a:lnTo>
                        <a:lnTo>
                          <a:pt x="918" y="1464"/>
                        </a:lnTo>
                        <a:lnTo>
                          <a:pt x="920" y="1470"/>
                        </a:lnTo>
                        <a:lnTo>
                          <a:pt x="920" y="1470"/>
                        </a:lnTo>
                        <a:lnTo>
                          <a:pt x="922" y="1474"/>
                        </a:lnTo>
                        <a:lnTo>
                          <a:pt x="920" y="1474"/>
                        </a:lnTo>
                        <a:lnTo>
                          <a:pt x="912" y="1470"/>
                        </a:lnTo>
                        <a:lnTo>
                          <a:pt x="902" y="1464"/>
                        </a:lnTo>
                        <a:lnTo>
                          <a:pt x="896" y="1462"/>
                        </a:lnTo>
                        <a:lnTo>
                          <a:pt x="890" y="1464"/>
                        </a:lnTo>
                        <a:lnTo>
                          <a:pt x="890" y="1464"/>
                        </a:lnTo>
                        <a:lnTo>
                          <a:pt x="888" y="1466"/>
                        </a:lnTo>
                        <a:lnTo>
                          <a:pt x="888" y="1468"/>
                        </a:lnTo>
                        <a:lnTo>
                          <a:pt x="894" y="1474"/>
                        </a:lnTo>
                        <a:lnTo>
                          <a:pt x="898" y="1474"/>
                        </a:lnTo>
                        <a:lnTo>
                          <a:pt x="898" y="1476"/>
                        </a:lnTo>
                        <a:lnTo>
                          <a:pt x="896" y="1478"/>
                        </a:lnTo>
                        <a:lnTo>
                          <a:pt x="890" y="1478"/>
                        </a:lnTo>
                        <a:lnTo>
                          <a:pt x="890" y="1478"/>
                        </a:lnTo>
                        <a:lnTo>
                          <a:pt x="884" y="1480"/>
                        </a:lnTo>
                        <a:lnTo>
                          <a:pt x="880" y="1480"/>
                        </a:lnTo>
                        <a:lnTo>
                          <a:pt x="880" y="1484"/>
                        </a:lnTo>
                        <a:lnTo>
                          <a:pt x="880" y="1486"/>
                        </a:lnTo>
                        <a:lnTo>
                          <a:pt x="880" y="1488"/>
                        </a:lnTo>
                        <a:lnTo>
                          <a:pt x="880" y="1490"/>
                        </a:lnTo>
                        <a:lnTo>
                          <a:pt x="876" y="1492"/>
                        </a:lnTo>
                        <a:lnTo>
                          <a:pt x="868" y="1492"/>
                        </a:lnTo>
                        <a:lnTo>
                          <a:pt x="868" y="1492"/>
                        </a:lnTo>
                        <a:lnTo>
                          <a:pt x="856" y="1494"/>
                        </a:lnTo>
                        <a:lnTo>
                          <a:pt x="856" y="1496"/>
                        </a:lnTo>
                        <a:lnTo>
                          <a:pt x="856" y="1496"/>
                        </a:lnTo>
                        <a:lnTo>
                          <a:pt x="860" y="1500"/>
                        </a:lnTo>
                        <a:lnTo>
                          <a:pt x="860" y="1502"/>
                        </a:lnTo>
                        <a:lnTo>
                          <a:pt x="858" y="1504"/>
                        </a:lnTo>
                        <a:lnTo>
                          <a:pt x="858" y="1504"/>
                        </a:lnTo>
                        <a:lnTo>
                          <a:pt x="854" y="1506"/>
                        </a:lnTo>
                        <a:lnTo>
                          <a:pt x="854" y="1506"/>
                        </a:lnTo>
                        <a:lnTo>
                          <a:pt x="856" y="1510"/>
                        </a:lnTo>
                        <a:lnTo>
                          <a:pt x="860" y="1514"/>
                        </a:lnTo>
                        <a:lnTo>
                          <a:pt x="862" y="1516"/>
                        </a:lnTo>
                        <a:lnTo>
                          <a:pt x="860" y="1518"/>
                        </a:lnTo>
                        <a:lnTo>
                          <a:pt x="860" y="1518"/>
                        </a:lnTo>
                        <a:lnTo>
                          <a:pt x="860" y="1522"/>
                        </a:lnTo>
                        <a:lnTo>
                          <a:pt x="860" y="1526"/>
                        </a:lnTo>
                        <a:lnTo>
                          <a:pt x="862" y="1534"/>
                        </a:lnTo>
                        <a:lnTo>
                          <a:pt x="874" y="1554"/>
                        </a:lnTo>
                        <a:lnTo>
                          <a:pt x="874" y="1554"/>
                        </a:lnTo>
                        <a:lnTo>
                          <a:pt x="878" y="1558"/>
                        </a:lnTo>
                        <a:lnTo>
                          <a:pt x="882" y="1560"/>
                        </a:lnTo>
                        <a:lnTo>
                          <a:pt x="890" y="1562"/>
                        </a:lnTo>
                        <a:lnTo>
                          <a:pt x="898" y="1562"/>
                        </a:lnTo>
                        <a:lnTo>
                          <a:pt x="898" y="1564"/>
                        </a:lnTo>
                        <a:lnTo>
                          <a:pt x="898" y="1568"/>
                        </a:lnTo>
                        <a:lnTo>
                          <a:pt x="898" y="1568"/>
                        </a:lnTo>
                        <a:lnTo>
                          <a:pt x="896" y="1572"/>
                        </a:lnTo>
                        <a:lnTo>
                          <a:pt x="898" y="1576"/>
                        </a:lnTo>
                        <a:lnTo>
                          <a:pt x="902" y="1582"/>
                        </a:lnTo>
                        <a:lnTo>
                          <a:pt x="906" y="1590"/>
                        </a:lnTo>
                        <a:lnTo>
                          <a:pt x="908" y="1594"/>
                        </a:lnTo>
                        <a:lnTo>
                          <a:pt x="908" y="1598"/>
                        </a:lnTo>
                        <a:lnTo>
                          <a:pt x="908" y="1598"/>
                        </a:lnTo>
                        <a:lnTo>
                          <a:pt x="908" y="1606"/>
                        </a:lnTo>
                        <a:lnTo>
                          <a:pt x="910" y="1610"/>
                        </a:lnTo>
                        <a:lnTo>
                          <a:pt x="914" y="1614"/>
                        </a:lnTo>
                        <a:lnTo>
                          <a:pt x="926" y="1618"/>
                        </a:lnTo>
                        <a:lnTo>
                          <a:pt x="926" y="1618"/>
                        </a:lnTo>
                        <a:lnTo>
                          <a:pt x="932" y="1622"/>
                        </a:lnTo>
                        <a:lnTo>
                          <a:pt x="934" y="1626"/>
                        </a:lnTo>
                        <a:lnTo>
                          <a:pt x="936" y="1630"/>
                        </a:lnTo>
                        <a:lnTo>
                          <a:pt x="934" y="1634"/>
                        </a:lnTo>
                        <a:lnTo>
                          <a:pt x="934" y="1640"/>
                        </a:lnTo>
                        <a:lnTo>
                          <a:pt x="934" y="1640"/>
                        </a:lnTo>
                        <a:lnTo>
                          <a:pt x="938" y="1640"/>
                        </a:lnTo>
                        <a:lnTo>
                          <a:pt x="938" y="1640"/>
                        </a:lnTo>
                        <a:lnTo>
                          <a:pt x="942" y="1640"/>
                        </a:lnTo>
                        <a:lnTo>
                          <a:pt x="944" y="1640"/>
                        </a:lnTo>
                        <a:lnTo>
                          <a:pt x="946" y="1648"/>
                        </a:lnTo>
                        <a:lnTo>
                          <a:pt x="946" y="1654"/>
                        </a:lnTo>
                        <a:lnTo>
                          <a:pt x="948" y="1656"/>
                        </a:lnTo>
                        <a:lnTo>
                          <a:pt x="950" y="1656"/>
                        </a:lnTo>
                        <a:lnTo>
                          <a:pt x="950" y="1656"/>
                        </a:lnTo>
                        <a:lnTo>
                          <a:pt x="956" y="1656"/>
                        </a:lnTo>
                        <a:lnTo>
                          <a:pt x="958" y="1656"/>
                        </a:lnTo>
                        <a:lnTo>
                          <a:pt x="958" y="1662"/>
                        </a:lnTo>
                        <a:lnTo>
                          <a:pt x="954" y="1672"/>
                        </a:lnTo>
                        <a:lnTo>
                          <a:pt x="954" y="1672"/>
                        </a:lnTo>
                        <a:lnTo>
                          <a:pt x="952" y="1676"/>
                        </a:lnTo>
                        <a:lnTo>
                          <a:pt x="956" y="1678"/>
                        </a:lnTo>
                        <a:lnTo>
                          <a:pt x="966" y="1678"/>
                        </a:lnTo>
                        <a:lnTo>
                          <a:pt x="978" y="1678"/>
                        </a:lnTo>
                        <a:lnTo>
                          <a:pt x="980" y="1680"/>
                        </a:lnTo>
                        <a:lnTo>
                          <a:pt x="980" y="1684"/>
                        </a:lnTo>
                        <a:lnTo>
                          <a:pt x="980" y="1684"/>
                        </a:lnTo>
                        <a:lnTo>
                          <a:pt x="978" y="1690"/>
                        </a:lnTo>
                        <a:lnTo>
                          <a:pt x="978" y="1692"/>
                        </a:lnTo>
                        <a:lnTo>
                          <a:pt x="980" y="1694"/>
                        </a:lnTo>
                        <a:lnTo>
                          <a:pt x="982" y="1694"/>
                        </a:lnTo>
                        <a:lnTo>
                          <a:pt x="990" y="1694"/>
                        </a:lnTo>
                        <a:lnTo>
                          <a:pt x="994" y="1696"/>
                        </a:lnTo>
                        <a:lnTo>
                          <a:pt x="996" y="1698"/>
                        </a:lnTo>
                        <a:lnTo>
                          <a:pt x="996" y="1698"/>
                        </a:lnTo>
                        <a:lnTo>
                          <a:pt x="998" y="1700"/>
                        </a:lnTo>
                        <a:lnTo>
                          <a:pt x="996" y="1702"/>
                        </a:lnTo>
                        <a:lnTo>
                          <a:pt x="994" y="1704"/>
                        </a:lnTo>
                        <a:lnTo>
                          <a:pt x="990" y="1706"/>
                        </a:lnTo>
                        <a:lnTo>
                          <a:pt x="990" y="1708"/>
                        </a:lnTo>
                        <a:lnTo>
                          <a:pt x="990" y="1712"/>
                        </a:lnTo>
                        <a:lnTo>
                          <a:pt x="990" y="1712"/>
                        </a:lnTo>
                        <a:lnTo>
                          <a:pt x="992" y="1722"/>
                        </a:lnTo>
                        <a:lnTo>
                          <a:pt x="996" y="1724"/>
                        </a:lnTo>
                        <a:lnTo>
                          <a:pt x="1000" y="1726"/>
                        </a:lnTo>
                        <a:lnTo>
                          <a:pt x="1004" y="1726"/>
                        </a:lnTo>
                        <a:lnTo>
                          <a:pt x="1010" y="1726"/>
                        </a:lnTo>
                        <a:lnTo>
                          <a:pt x="1016" y="1722"/>
                        </a:lnTo>
                        <a:lnTo>
                          <a:pt x="1024" y="1718"/>
                        </a:lnTo>
                        <a:lnTo>
                          <a:pt x="1024" y="1718"/>
                        </a:lnTo>
                        <a:lnTo>
                          <a:pt x="1032" y="1712"/>
                        </a:lnTo>
                        <a:lnTo>
                          <a:pt x="1038" y="1712"/>
                        </a:lnTo>
                        <a:lnTo>
                          <a:pt x="1040" y="1712"/>
                        </a:lnTo>
                        <a:lnTo>
                          <a:pt x="1044" y="1714"/>
                        </a:lnTo>
                        <a:lnTo>
                          <a:pt x="1048" y="1716"/>
                        </a:lnTo>
                        <a:lnTo>
                          <a:pt x="1050" y="1716"/>
                        </a:lnTo>
                        <a:lnTo>
                          <a:pt x="1054" y="1714"/>
                        </a:lnTo>
                        <a:lnTo>
                          <a:pt x="1054" y="1714"/>
                        </a:lnTo>
                        <a:lnTo>
                          <a:pt x="1064" y="1708"/>
                        </a:lnTo>
                        <a:lnTo>
                          <a:pt x="1072" y="1704"/>
                        </a:lnTo>
                        <a:lnTo>
                          <a:pt x="1080" y="1700"/>
                        </a:lnTo>
                        <a:lnTo>
                          <a:pt x="1080" y="1696"/>
                        </a:lnTo>
                        <a:lnTo>
                          <a:pt x="1080" y="1692"/>
                        </a:lnTo>
                        <a:lnTo>
                          <a:pt x="1080" y="1692"/>
                        </a:lnTo>
                        <a:lnTo>
                          <a:pt x="1080" y="1688"/>
                        </a:lnTo>
                        <a:lnTo>
                          <a:pt x="1082" y="1686"/>
                        </a:lnTo>
                        <a:lnTo>
                          <a:pt x="1084" y="1688"/>
                        </a:lnTo>
                        <a:lnTo>
                          <a:pt x="1086" y="1690"/>
                        </a:lnTo>
                        <a:lnTo>
                          <a:pt x="1088" y="1694"/>
                        </a:lnTo>
                        <a:lnTo>
                          <a:pt x="1090" y="1698"/>
                        </a:lnTo>
                        <a:lnTo>
                          <a:pt x="1090" y="1704"/>
                        </a:lnTo>
                        <a:lnTo>
                          <a:pt x="1086" y="1710"/>
                        </a:lnTo>
                        <a:lnTo>
                          <a:pt x="1086" y="1710"/>
                        </a:lnTo>
                        <a:lnTo>
                          <a:pt x="1078" y="1718"/>
                        </a:lnTo>
                        <a:lnTo>
                          <a:pt x="1076" y="1726"/>
                        </a:lnTo>
                        <a:lnTo>
                          <a:pt x="1076" y="1728"/>
                        </a:lnTo>
                        <a:lnTo>
                          <a:pt x="1078" y="1732"/>
                        </a:lnTo>
                        <a:lnTo>
                          <a:pt x="1090" y="1738"/>
                        </a:lnTo>
                        <a:lnTo>
                          <a:pt x="1090" y="1738"/>
                        </a:lnTo>
                        <a:lnTo>
                          <a:pt x="1098" y="1740"/>
                        </a:lnTo>
                        <a:lnTo>
                          <a:pt x="1106" y="1740"/>
                        </a:lnTo>
                        <a:lnTo>
                          <a:pt x="1120" y="1738"/>
                        </a:lnTo>
                        <a:lnTo>
                          <a:pt x="1124" y="1738"/>
                        </a:lnTo>
                        <a:lnTo>
                          <a:pt x="1126" y="1740"/>
                        </a:lnTo>
                        <a:lnTo>
                          <a:pt x="1126" y="1744"/>
                        </a:lnTo>
                        <a:lnTo>
                          <a:pt x="1120" y="1752"/>
                        </a:lnTo>
                        <a:lnTo>
                          <a:pt x="1120" y="1752"/>
                        </a:lnTo>
                        <a:lnTo>
                          <a:pt x="1116" y="1758"/>
                        </a:lnTo>
                        <a:lnTo>
                          <a:pt x="1116" y="1762"/>
                        </a:lnTo>
                        <a:lnTo>
                          <a:pt x="1118" y="1766"/>
                        </a:lnTo>
                        <a:lnTo>
                          <a:pt x="1122" y="1768"/>
                        </a:lnTo>
                        <a:lnTo>
                          <a:pt x="1126" y="1770"/>
                        </a:lnTo>
                        <a:lnTo>
                          <a:pt x="1132" y="1770"/>
                        </a:lnTo>
                        <a:lnTo>
                          <a:pt x="1136" y="1768"/>
                        </a:lnTo>
                        <a:lnTo>
                          <a:pt x="1140" y="1766"/>
                        </a:lnTo>
                        <a:lnTo>
                          <a:pt x="1140" y="1766"/>
                        </a:lnTo>
                        <a:lnTo>
                          <a:pt x="1150" y="1760"/>
                        </a:lnTo>
                        <a:lnTo>
                          <a:pt x="1154" y="1758"/>
                        </a:lnTo>
                        <a:lnTo>
                          <a:pt x="1156" y="1758"/>
                        </a:lnTo>
                        <a:lnTo>
                          <a:pt x="1162" y="1762"/>
                        </a:lnTo>
                        <a:lnTo>
                          <a:pt x="1170" y="1770"/>
                        </a:lnTo>
                        <a:lnTo>
                          <a:pt x="1170" y="1770"/>
                        </a:lnTo>
                        <a:lnTo>
                          <a:pt x="1182" y="1776"/>
                        </a:lnTo>
                        <a:lnTo>
                          <a:pt x="1186" y="1776"/>
                        </a:lnTo>
                        <a:lnTo>
                          <a:pt x="1190" y="1776"/>
                        </a:lnTo>
                        <a:lnTo>
                          <a:pt x="1194" y="1774"/>
                        </a:lnTo>
                        <a:lnTo>
                          <a:pt x="1196" y="1768"/>
                        </a:lnTo>
                        <a:lnTo>
                          <a:pt x="1198" y="1764"/>
                        </a:lnTo>
                        <a:lnTo>
                          <a:pt x="1200" y="1756"/>
                        </a:lnTo>
                        <a:lnTo>
                          <a:pt x="1200" y="1756"/>
                        </a:lnTo>
                        <a:lnTo>
                          <a:pt x="1200" y="1750"/>
                        </a:lnTo>
                        <a:lnTo>
                          <a:pt x="1198" y="1746"/>
                        </a:lnTo>
                        <a:lnTo>
                          <a:pt x="1194" y="1746"/>
                        </a:lnTo>
                        <a:lnTo>
                          <a:pt x="1192" y="1746"/>
                        </a:lnTo>
                        <a:lnTo>
                          <a:pt x="1186" y="1746"/>
                        </a:lnTo>
                        <a:lnTo>
                          <a:pt x="1186" y="1746"/>
                        </a:lnTo>
                        <a:lnTo>
                          <a:pt x="1186" y="1744"/>
                        </a:lnTo>
                        <a:lnTo>
                          <a:pt x="1186" y="1744"/>
                        </a:lnTo>
                        <a:lnTo>
                          <a:pt x="1190" y="1740"/>
                        </a:lnTo>
                        <a:lnTo>
                          <a:pt x="1194" y="1738"/>
                        </a:lnTo>
                        <a:lnTo>
                          <a:pt x="1204" y="1734"/>
                        </a:lnTo>
                        <a:lnTo>
                          <a:pt x="1208" y="1732"/>
                        </a:lnTo>
                        <a:lnTo>
                          <a:pt x="1210" y="1728"/>
                        </a:lnTo>
                        <a:lnTo>
                          <a:pt x="1212" y="1724"/>
                        </a:lnTo>
                        <a:lnTo>
                          <a:pt x="1212" y="1718"/>
                        </a:lnTo>
                        <a:lnTo>
                          <a:pt x="1212" y="1718"/>
                        </a:lnTo>
                        <a:lnTo>
                          <a:pt x="1210" y="1712"/>
                        </a:lnTo>
                        <a:lnTo>
                          <a:pt x="1214" y="1702"/>
                        </a:lnTo>
                        <a:lnTo>
                          <a:pt x="1224" y="1676"/>
                        </a:lnTo>
                        <a:lnTo>
                          <a:pt x="1234" y="1652"/>
                        </a:lnTo>
                        <a:lnTo>
                          <a:pt x="1236" y="1640"/>
                        </a:lnTo>
                        <a:lnTo>
                          <a:pt x="1236" y="1630"/>
                        </a:lnTo>
                        <a:lnTo>
                          <a:pt x="1236" y="1630"/>
                        </a:lnTo>
                        <a:lnTo>
                          <a:pt x="1234" y="1624"/>
                        </a:lnTo>
                        <a:lnTo>
                          <a:pt x="1232" y="1622"/>
                        </a:lnTo>
                        <a:lnTo>
                          <a:pt x="1230" y="1622"/>
                        </a:lnTo>
                        <a:lnTo>
                          <a:pt x="1228" y="1622"/>
                        </a:lnTo>
                        <a:lnTo>
                          <a:pt x="1226" y="1622"/>
                        </a:lnTo>
                        <a:lnTo>
                          <a:pt x="1222" y="1622"/>
                        </a:lnTo>
                        <a:lnTo>
                          <a:pt x="1220" y="1620"/>
                        </a:lnTo>
                        <a:lnTo>
                          <a:pt x="1214" y="1616"/>
                        </a:lnTo>
                        <a:lnTo>
                          <a:pt x="1214" y="1616"/>
                        </a:lnTo>
                        <a:lnTo>
                          <a:pt x="1212" y="1610"/>
                        </a:lnTo>
                        <a:lnTo>
                          <a:pt x="1212" y="1610"/>
                        </a:lnTo>
                        <a:lnTo>
                          <a:pt x="1222" y="1612"/>
                        </a:lnTo>
                        <a:lnTo>
                          <a:pt x="1232" y="1614"/>
                        </a:lnTo>
                        <a:lnTo>
                          <a:pt x="1236" y="1614"/>
                        </a:lnTo>
                        <a:lnTo>
                          <a:pt x="1236" y="1610"/>
                        </a:lnTo>
                        <a:lnTo>
                          <a:pt x="1236" y="1610"/>
                        </a:lnTo>
                        <a:lnTo>
                          <a:pt x="1234" y="1604"/>
                        </a:lnTo>
                        <a:lnTo>
                          <a:pt x="1232" y="1602"/>
                        </a:lnTo>
                        <a:lnTo>
                          <a:pt x="1226" y="1600"/>
                        </a:lnTo>
                        <a:lnTo>
                          <a:pt x="1220" y="1598"/>
                        </a:lnTo>
                        <a:lnTo>
                          <a:pt x="1220" y="1596"/>
                        </a:lnTo>
                        <a:lnTo>
                          <a:pt x="1222" y="1592"/>
                        </a:lnTo>
                        <a:lnTo>
                          <a:pt x="1222" y="1592"/>
                        </a:lnTo>
                        <a:lnTo>
                          <a:pt x="1226" y="1590"/>
                        </a:lnTo>
                        <a:lnTo>
                          <a:pt x="1230" y="1588"/>
                        </a:lnTo>
                        <a:lnTo>
                          <a:pt x="1244" y="1584"/>
                        </a:lnTo>
                        <a:lnTo>
                          <a:pt x="1250" y="1582"/>
                        </a:lnTo>
                        <a:lnTo>
                          <a:pt x="1256" y="1580"/>
                        </a:lnTo>
                        <a:lnTo>
                          <a:pt x="1260" y="1574"/>
                        </a:lnTo>
                        <a:lnTo>
                          <a:pt x="1262" y="1566"/>
                        </a:lnTo>
                        <a:lnTo>
                          <a:pt x="1262" y="1566"/>
                        </a:lnTo>
                        <a:lnTo>
                          <a:pt x="1264" y="1560"/>
                        </a:lnTo>
                        <a:lnTo>
                          <a:pt x="1266" y="1558"/>
                        </a:lnTo>
                        <a:lnTo>
                          <a:pt x="1268" y="1558"/>
                        </a:lnTo>
                        <a:lnTo>
                          <a:pt x="1272" y="1560"/>
                        </a:lnTo>
                        <a:lnTo>
                          <a:pt x="1278" y="1562"/>
                        </a:lnTo>
                        <a:lnTo>
                          <a:pt x="1280" y="1560"/>
                        </a:lnTo>
                        <a:lnTo>
                          <a:pt x="1280" y="1556"/>
                        </a:lnTo>
                        <a:lnTo>
                          <a:pt x="1280" y="1556"/>
                        </a:lnTo>
                        <a:lnTo>
                          <a:pt x="1282" y="1550"/>
                        </a:lnTo>
                        <a:lnTo>
                          <a:pt x="1284" y="1546"/>
                        </a:lnTo>
                        <a:lnTo>
                          <a:pt x="1294" y="1538"/>
                        </a:lnTo>
                        <a:lnTo>
                          <a:pt x="1300" y="1530"/>
                        </a:lnTo>
                        <a:lnTo>
                          <a:pt x="1302" y="1526"/>
                        </a:lnTo>
                        <a:lnTo>
                          <a:pt x="1302" y="1520"/>
                        </a:lnTo>
                        <a:lnTo>
                          <a:pt x="1302" y="1520"/>
                        </a:lnTo>
                        <a:lnTo>
                          <a:pt x="1300" y="1510"/>
                        </a:lnTo>
                        <a:lnTo>
                          <a:pt x="1300" y="1502"/>
                        </a:lnTo>
                        <a:lnTo>
                          <a:pt x="1300" y="1500"/>
                        </a:lnTo>
                        <a:lnTo>
                          <a:pt x="1298" y="1500"/>
                        </a:lnTo>
                        <a:lnTo>
                          <a:pt x="1286" y="1498"/>
                        </a:lnTo>
                        <a:lnTo>
                          <a:pt x="1286" y="1498"/>
                        </a:lnTo>
                        <a:lnTo>
                          <a:pt x="1278" y="1498"/>
                        </a:lnTo>
                        <a:lnTo>
                          <a:pt x="1270" y="1496"/>
                        </a:lnTo>
                        <a:lnTo>
                          <a:pt x="1266" y="1492"/>
                        </a:lnTo>
                        <a:lnTo>
                          <a:pt x="1262" y="1490"/>
                        </a:lnTo>
                        <a:lnTo>
                          <a:pt x="1260" y="1486"/>
                        </a:lnTo>
                        <a:lnTo>
                          <a:pt x="1262" y="1486"/>
                        </a:lnTo>
                        <a:lnTo>
                          <a:pt x="1264" y="1484"/>
                        </a:lnTo>
                        <a:lnTo>
                          <a:pt x="1270" y="1486"/>
                        </a:lnTo>
                        <a:lnTo>
                          <a:pt x="1270" y="1486"/>
                        </a:lnTo>
                        <a:lnTo>
                          <a:pt x="1276" y="1486"/>
                        </a:lnTo>
                        <a:lnTo>
                          <a:pt x="1280" y="1486"/>
                        </a:lnTo>
                        <a:lnTo>
                          <a:pt x="1288" y="1484"/>
                        </a:lnTo>
                        <a:lnTo>
                          <a:pt x="1294" y="1482"/>
                        </a:lnTo>
                        <a:lnTo>
                          <a:pt x="1300" y="1482"/>
                        </a:lnTo>
                        <a:lnTo>
                          <a:pt x="1300" y="1482"/>
                        </a:lnTo>
                        <a:lnTo>
                          <a:pt x="1308" y="1482"/>
                        </a:lnTo>
                        <a:lnTo>
                          <a:pt x="1308" y="1482"/>
                        </a:lnTo>
                        <a:lnTo>
                          <a:pt x="1308" y="1478"/>
                        </a:lnTo>
                        <a:lnTo>
                          <a:pt x="1302" y="1470"/>
                        </a:lnTo>
                        <a:lnTo>
                          <a:pt x="1290" y="1454"/>
                        </a:lnTo>
                        <a:lnTo>
                          <a:pt x="1290" y="1454"/>
                        </a:lnTo>
                        <a:lnTo>
                          <a:pt x="1282" y="1448"/>
                        </a:lnTo>
                        <a:lnTo>
                          <a:pt x="1280" y="1442"/>
                        </a:lnTo>
                        <a:lnTo>
                          <a:pt x="1280" y="1438"/>
                        </a:lnTo>
                        <a:lnTo>
                          <a:pt x="1284" y="1434"/>
                        </a:lnTo>
                        <a:lnTo>
                          <a:pt x="1288" y="1434"/>
                        </a:lnTo>
                        <a:lnTo>
                          <a:pt x="1296" y="1434"/>
                        </a:lnTo>
                        <a:lnTo>
                          <a:pt x="1310" y="1438"/>
                        </a:lnTo>
                        <a:lnTo>
                          <a:pt x="1310" y="1438"/>
                        </a:lnTo>
                        <a:lnTo>
                          <a:pt x="1316" y="1438"/>
                        </a:lnTo>
                        <a:lnTo>
                          <a:pt x="1320" y="1436"/>
                        </a:lnTo>
                        <a:lnTo>
                          <a:pt x="1324" y="1434"/>
                        </a:lnTo>
                        <a:lnTo>
                          <a:pt x="1326" y="1430"/>
                        </a:lnTo>
                        <a:lnTo>
                          <a:pt x="1332" y="1420"/>
                        </a:lnTo>
                        <a:lnTo>
                          <a:pt x="1334" y="1418"/>
                        </a:lnTo>
                        <a:lnTo>
                          <a:pt x="1338" y="1418"/>
                        </a:lnTo>
                        <a:lnTo>
                          <a:pt x="1338" y="1418"/>
                        </a:lnTo>
                        <a:lnTo>
                          <a:pt x="1344" y="1420"/>
                        </a:lnTo>
                        <a:lnTo>
                          <a:pt x="1346" y="1418"/>
                        </a:lnTo>
                        <a:lnTo>
                          <a:pt x="1344" y="1414"/>
                        </a:lnTo>
                        <a:lnTo>
                          <a:pt x="1334" y="1408"/>
                        </a:lnTo>
                        <a:lnTo>
                          <a:pt x="1334" y="1408"/>
                        </a:lnTo>
                        <a:lnTo>
                          <a:pt x="1326" y="1404"/>
                        </a:lnTo>
                        <a:lnTo>
                          <a:pt x="1324" y="1404"/>
                        </a:lnTo>
                        <a:lnTo>
                          <a:pt x="1326" y="1402"/>
                        </a:lnTo>
                        <a:lnTo>
                          <a:pt x="1330" y="1402"/>
                        </a:lnTo>
                        <a:lnTo>
                          <a:pt x="1338" y="1400"/>
                        </a:lnTo>
                        <a:lnTo>
                          <a:pt x="1338" y="1400"/>
                        </a:lnTo>
                        <a:lnTo>
                          <a:pt x="1344" y="1398"/>
                        </a:lnTo>
                        <a:lnTo>
                          <a:pt x="1352" y="1398"/>
                        </a:lnTo>
                        <a:lnTo>
                          <a:pt x="1360" y="1400"/>
                        </a:lnTo>
                        <a:lnTo>
                          <a:pt x="1370" y="1398"/>
                        </a:lnTo>
                        <a:lnTo>
                          <a:pt x="1370" y="1398"/>
                        </a:lnTo>
                        <a:lnTo>
                          <a:pt x="1380" y="1396"/>
                        </a:lnTo>
                        <a:lnTo>
                          <a:pt x="1388" y="1396"/>
                        </a:lnTo>
                        <a:lnTo>
                          <a:pt x="1394" y="1396"/>
                        </a:lnTo>
                        <a:lnTo>
                          <a:pt x="1398" y="1390"/>
                        </a:lnTo>
                        <a:lnTo>
                          <a:pt x="1398" y="1390"/>
                        </a:lnTo>
                        <a:lnTo>
                          <a:pt x="1400" y="1386"/>
                        </a:lnTo>
                        <a:lnTo>
                          <a:pt x="1398" y="1384"/>
                        </a:lnTo>
                        <a:lnTo>
                          <a:pt x="1396" y="1380"/>
                        </a:lnTo>
                        <a:lnTo>
                          <a:pt x="1402" y="1376"/>
                        </a:lnTo>
                        <a:lnTo>
                          <a:pt x="1402" y="1376"/>
                        </a:lnTo>
                        <a:lnTo>
                          <a:pt x="1404" y="1372"/>
                        </a:lnTo>
                        <a:lnTo>
                          <a:pt x="1404" y="1368"/>
                        </a:lnTo>
                        <a:lnTo>
                          <a:pt x="1404" y="1364"/>
                        </a:lnTo>
                        <a:lnTo>
                          <a:pt x="1410" y="1360"/>
                        </a:lnTo>
                        <a:lnTo>
                          <a:pt x="1410" y="1360"/>
                        </a:lnTo>
                        <a:lnTo>
                          <a:pt x="1414" y="1356"/>
                        </a:lnTo>
                        <a:lnTo>
                          <a:pt x="1416" y="1354"/>
                        </a:lnTo>
                        <a:lnTo>
                          <a:pt x="1414" y="1352"/>
                        </a:lnTo>
                        <a:lnTo>
                          <a:pt x="1412" y="1350"/>
                        </a:lnTo>
                        <a:lnTo>
                          <a:pt x="1406" y="1346"/>
                        </a:lnTo>
                        <a:lnTo>
                          <a:pt x="1406" y="1344"/>
                        </a:lnTo>
                        <a:lnTo>
                          <a:pt x="1406" y="1344"/>
                        </a:lnTo>
                        <a:lnTo>
                          <a:pt x="1406" y="1344"/>
                        </a:lnTo>
                        <a:lnTo>
                          <a:pt x="1410" y="1342"/>
                        </a:lnTo>
                        <a:lnTo>
                          <a:pt x="1414" y="1344"/>
                        </a:lnTo>
                        <a:lnTo>
                          <a:pt x="1420" y="1344"/>
                        </a:lnTo>
                        <a:lnTo>
                          <a:pt x="1430" y="1344"/>
                        </a:lnTo>
                        <a:lnTo>
                          <a:pt x="1430" y="1344"/>
                        </a:lnTo>
                        <a:lnTo>
                          <a:pt x="1436" y="1344"/>
                        </a:lnTo>
                        <a:lnTo>
                          <a:pt x="1434" y="1348"/>
                        </a:lnTo>
                        <a:lnTo>
                          <a:pt x="1428" y="1352"/>
                        </a:lnTo>
                        <a:lnTo>
                          <a:pt x="1424" y="1358"/>
                        </a:lnTo>
                        <a:lnTo>
                          <a:pt x="1424" y="1358"/>
                        </a:lnTo>
                        <a:lnTo>
                          <a:pt x="1422" y="1362"/>
                        </a:lnTo>
                        <a:lnTo>
                          <a:pt x="1418" y="1364"/>
                        </a:lnTo>
                        <a:lnTo>
                          <a:pt x="1414" y="1368"/>
                        </a:lnTo>
                        <a:lnTo>
                          <a:pt x="1412" y="1372"/>
                        </a:lnTo>
                        <a:lnTo>
                          <a:pt x="1412" y="1372"/>
                        </a:lnTo>
                        <a:lnTo>
                          <a:pt x="1410" y="1378"/>
                        </a:lnTo>
                        <a:lnTo>
                          <a:pt x="1408" y="1386"/>
                        </a:lnTo>
                        <a:lnTo>
                          <a:pt x="1406" y="1392"/>
                        </a:lnTo>
                        <a:lnTo>
                          <a:pt x="1406" y="1394"/>
                        </a:lnTo>
                        <a:lnTo>
                          <a:pt x="1408" y="1396"/>
                        </a:lnTo>
                        <a:lnTo>
                          <a:pt x="1408" y="1396"/>
                        </a:lnTo>
                        <a:lnTo>
                          <a:pt x="1414" y="1398"/>
                        </a:lnTo>
                        <a:lnTo>
                          <a:pt x="1420" y="1398"/>
                        </a:lnTo>
                        <a:lnTo>
                          <a:pt x="1426" y="1396"/>
                        </a:lnTo>
                        <a:lnTo>
                          <a:pt x="1432" y="1390"/>
                        </a:lnTo>
                        <a:lnTo>
                          <a:pt x="1432" y="1390"/>
                        </a:lnTo>
                        <a:lnTo>
                          <a:pt x="1440" y="1380"/>
                        </a:lnTo>
                        <a:lnTo>
                          <a:pt x="1444" y="1380"/>
                        </a:lnTo>
                        <a:lnTo>
                          <a:pt x="1448" y="1384"/>
                        </a:lnTo>
                        <a:lnTo>
                          <a:pt x="1448" y="1384"/>
                        </a:lnTo>
                        <a:lnTo>
                          <a:pt x="1452" y="1386"/>
                        </a:lnTo>
                        <a:lnTo>
                          <a:pt x="1454" y="1384"/>
                        </a:lnTo>
                        <a:lnTo>
                          <a:pt x="1454" y="1382"/>
                        </a:lnTo>
                        <a:lnTo>
                          <a:pt x="1452" y="1378"/>
                        </a:lnTo>
                        <a:lnTo>
                          <a:pt x="1452" y="1378"/>
                        </a:lnTo>
                        <a:lnTo>
                          <a:pt x="1452" y="1376"/>
                        </a:lnTo>
                        <a:lnTo>
                          <a:pt x="1452" y="1374"/>
                        </a:lnTo>
                        <a:lnTo>
                          <a:pt x="1456" y="1372"/>
                        </a:lnTo>
                        <a:lnTo>
                          <a:pt x="1462" y="1370"/>
                        </a:lnTo>
                        <a:lnTo>
                          <a:pt x="1466" y="1370"/>
                        </a:lnTo>
                        <a:lnTo>
                          <a:pt x="1468" y="1372"/>
                        </a:lnTo>
                        <a:lnTo>
                          <a:pt x="1468" y="1372"/>
                        </a:lnTo>
                        <a:lnTo>
                          <a:pt x="1472" y="1372"/>
                        </a:lnTo>
                        <a:lnTo>
                          <a:pt x="1476" y="1372"/>
                        </a:lnTo>
                        <a:lnTo>
                          <a:pt x="1484" y="1370"/>
                        </a:lnTo>
                        <a:lnTo>
                          <a:pt x="1498" y="1362"/>
                        </a:lnTo>
                        <a:lnTo>
                          <a:pt x="1498" y="1362"/>
                        </a:lnTo>
                        <a:lnTo>
                          <a:pt x="1502" y="1360"/>
                        </a:lnTo>
                        <a:lnTo>
                          <a:pt x="1502" y="1354"/>
                        </a:lnTo>
                        <a:lnTo>
                          <a:pt x="1502" y="1350"/>
                        </a:lnTo>
                        <a:lnTo>
                          <a:pt x="1502" y="1350"/>
                        </a:lnTo>
                        <a:lnTo>
                          <a:pt x="1504" y="1350"/>
                        </a:lnTo>
                        <a:lnTo>
                          <a:pt x="1504" y="1350"/>
                        </a:lnTo>
                        <a:lnTo>
                          <a:pt x="1508" y="1350"/>
                        </a:lnTo>
                        <a:lnTo>
                          <a:pt x="1510" y="1352"/>
                        </a:lnTo>
                        <a:lnTo>
                          <a:pt x="1510" y="1354"/>
                        </a:lnTo>
                        <a:lnTo>
                          <a:pt x="1512" y="1354"/>
                        </a:lnTo>
                        <a:lnTo>
                          <a:pt x="1512" y="1354"/>
                        </a:lnTo>
                        <a:lnTo>
                          <a:pt x="1520" y="1350"/>
                        </a:lnTo>
                        <a:lnTo>
                          <a:pt x="1532" y="1344"/>
                        </a:lnTo>
                        <a:lnTo>
                          <a:pt x="1558" y="1324"/>
                        </a:lnTo>
                        <a:lnTo>
                          <a:pt x="1570" y="1314"/>
                        </a:lnTo>
                        <a:lnTo>
                          <a:pt x="1580" y="1302"/>
                        </a:lnTo>
                        <a:lnTo>
                          <a:pt x="1588" y="1290"/>
                        </a:lnTo>
                        <a:lnTo>
                          <a:pt x="1592" y="1280"/>
                        </a:lnTo>
                        <a:lnTo>
                          <a:pt x="1592" y="1280"/>
                        </a:lnTo>
                        <a:lnTo>
                          <a:pt x="1600" y="1264"/>
                        </a:lnTo>
                        <a:lnTo>
                          <a:pt x="1610" y="1250"/>
                        </a:lnTo>
                        <a:lnTo>
                          <a:pt x="1622" y="1242"/>
                        </a:lnTo>
                        <a:lnTo>
                          <a:pt x="1628" y="1238"/>
                        </a:lnTo>
                        <a:lnTo>
                          <a:pt x="1634" y="1238"/>
                        </a:lnTo>
                        <a:lnTo>
                          <a:pt x="1634" y="1238"/>
                        </a:lnTo>
                        <a:lnTo>
                          <a:pt x="1642" y="1236"/>
                        </a:lnTo>
                        <a:lnTo>
                          <a:pt x="1646" y="1234"/>
                        </a:lnTo>
                        <a:lnTo>
                          <a:pt x="1648" y="1232"/>
                        </a:lnTo>
                        <a:lnTo>
                          <a:pt x="1648" y="1228"/>
                        </a:lnTo>
                        <a:lnTo>
                          <a:pt x="1646" y="1222"/>
                        </a:lnTo>
                        <a:lnTo>
                          <a:pt x="1640" y="1214"/>
                        </a:lnTo>
                        <a:lnTo>
                          <a:pt x="1632" y="1204"/>
                        </a:lnTo>
                        <a:lnTo>
                          <a:pt x="1632" y="1204"/>
                        </a:lnTo>
                        <a:lnTo>
                          <a:pt x="1626" y="1198"/>
                        </a:lnTo>
                        <a:lnTo>
                          <a:pt x="1624" y="1194"/>
                        </a:lnTo>
                        <a:lnTo>
                          <a:pt x="1636" y="1200"/>
                        </a:lnTo>
                        <a:lnTo>
                          <a:pt x="1670" y="1222"/>
                        </a:lnTo>
                        <a:lnTo>
                          <a:pt x="1670" y="1222"/>
                        </a:lnTo>
                        <a:lnTo>
                          <a:pt x="1684" y="1226"/>
                        </a:lnTo>
                        <a:lnTo>
                          <a:pt x="1694" y="1228"/>
                        </a:lnTo>
                        <a:lnTo>
                          <a:pt x="1702" y="1228"/>
                        </a:lnTo>
                        <a:lnTo>
                          <a:pt x="1710" y="1226"/>
                        </a:lnTo>
                        <a:lnTo>
                          <a:pt x="1718" y="1224"/>
                        </a:lnTo>
                        <a:lnTo>
                          <a:pt x="1724" y="1218"/>
                        </a:lnTo>
                        <a:lnTo>
                          <a:pt x="1730" y="1212"/>
                        </a:lnTo>
                        <a:lnTo>
                          <a:pt x="1730" y="1212"/>
                        </a:lnTo>
                        <a:lnTo>
                          <a:pt x="1732" y="1206"/>
                        </a:lnTo>
                        <a:lnTo>
                          <a:pt x="1734" y="1204"/>
                        </a:lnTo>
                        <a:lnTo>
                          <a:pt x="1738" y="1204"/>
                        </a:lnTo>
                        <a:lnTo>
                          <a:pt x="1742" y="1206"/>
                        </a:lnTo>
                        <a:lnTo>
                          <a:pt x="1748" y="1208"/>
                        </a:lnTo>
                        <a:lnTo>
                          <a:pt x="1756" y="1208"/>
                        </a:lnTo>
                        <a:lnTo>
                          <a:pt x="1766" y="1208"/>
                        </a:lnTo>
                        <a:lnTo>
                          <a:pt x="1782" y="1202"/>
                        </a:lnTo>
                        <a:lnTo>
                          <a:pt x="1782" y="1202"/>
                        </a:lnTo>
                        <a:lnTo>
                          <a:pt x="1800" y="1196"/>
                        </a:lnTo>
                        <a:lnTo>
                          <a:pt x="1818" y="1190"/>
                        </a:lnTo>
                        <a:lnTo>
                          <a:pt x="1856" y="1184"/>
                        </a:lnTo>
                        <a:lnTo>
                          <a:pt x="1886" y="1178"/>
                        </a:lnTo>
                        <a:lnTo>
                          <a:pt x="1898" y="1172"/>
                        </a:lnTo>
                        <a:lnTo>
                          <a:pt x="1906" y="1166"/>
                        </a:lnTo>
                        <a:lnTo>
                          <a:pt x="1906" y="1166"/>
                        </a:lnTo>
                        <a:lnTo>
                          <a:pt x="1920" y="1154"/>
                        </a:lnTo>
                        <a:lnTo>
                          <a:pt x="1934" y="1142"/>
                        </a:lnTo>
                        <a:lnTo>
                          <a:pt x="1950" y="1132"/>
                        </a:lnTo>
                        <a:lnTo>
                          <a:pt x="1960" y="1128"/>
                        </a:lnTo>
                        <a:lnTo>
                          <a:pt x="1970" y="1128"/>
                        </a:lnTo>
                        <a:lnTo>
                          <a:pt x="1970" y="1128"/>
                        </a:lnTo>
                        <a:lnTo>
                          <a:pt x="1978" y="1126"/>
                        </a:lnTo>
                        <a:lnTo>
                          <a:pt x="1982" y="1122"/>
                        </a:lnTo>
                        <a:lnTo>
                          <a:pt x="1982" y="1120"/>
                        </a:lnTo>
                        <a:lnTo>
                          <a:pt x="1982" y="1116"/>
                        </a:lnTo>
                        <a:lnTo>
                          <a:pt x="1982" y="1112"/>
                        </a:lnTo>
                        <a:lnTo>
                          <a:pt x="1982" y="1108"/>
                        </a:lnTo>
                        <a:lnTo>
                          <a:pt x="1986" y="1106"/>
                        </a:lnTo>
                        <a:lnTo>
                          <a:pt x="1994" y="1106"/>
                        </a:lnTo>
                        <a:lnTo>
                          <a:pt x="1994" y="1106"/>
                        </a:lnTo>
                        <a:lnTo>
                          <a:pt x="2008" y="1104"/>
                        </a:lnTo>
                        <a:lnTo>
                          <a:pt x="2012" y="1102"/>
                        </a:lnTo>
                        <a:lnTo>
                          <a:pt x="2012" y="1102"/>
                        </a:lnTo>
                        <a:lnTo>
                          <a:pt x="2016" y="1096"/>
                        </a:lnTo>
                        <a:lnTo>
                          <a:pt x="2022" y="1092"/>
                        </a:lnTo>
                        <a:lnTo>
                          <a:pt x="2030" y="1088"/>
                        </a:lnTo>
                        <a:lnTo>
                          <a:pt x="2030" y="1088"/>
                        </a:lnTo>
                        <a:lnTo>
                          <a:pt x="2046" y="1080"/>
                        </a:lnTo>
                        <a:lnTo>
                          <a:pt x="2046" y="1078"/>
                        </a:lnTo>
                        <a:lnTo>
                          <a:pt x="2044" y="1076"/>
                        </a:lnTo>
                        <a:lnTo>
                          <a:pt x="2028" y="1076"/>
                        </a:lnTo>
                        <a:lnTo>
                          <a:pt x="2000" y="1080"/>
                        </a:lnTo>
                        <a:lnTo>
                          <a:pt x="2000" y="1080"/>
                        </a:lnTo>
                        <a:lnTo>
                          <a:pt x="1984" y="1080"/>
                        </a:lnTo>
                        <a:lnTo>
                          <a:pt x="1970" y="1076"/>
                        </a:lnTo>
                        <a:lnTo>
                          <a:pt x="1956" y="1070"/>
                        </a:lnTo>
                        <a:lnTo>
                          <a:pt x="1944" y="1064"/>
                        </a:lnTo>
                        <a:lnTo>
                          <a:pt x="1932" y="1058"/>
                        </a:lnTo>
                        <a:lnTo>
                          <a:pt x="1920" y="1056"/>
                        </a:lnTo>
                        <a:lnTo>
                          <a:pt x="1914" y="1056"/>
                        </a:lnTo>
                        <a:lnTo>
                          <a:pt x="1906" y="1058"/>
                        </a:lnTo>
                        <a:lnTo>
                          <a:pt x="1900" y="1060"/>
                        </a:lnTo>
                        <a:lnTo>
                          <a:pt x="1892" y="1064"/>
                        </a:lnTo>
                        <a:lnTo>
                          <a:pt x="1892" y="1064"/>
                        </a:lnTo>
                        <a:lnTo>
                          <a:pt x="1884" y="1068"/>
                        </a:lnTo>
                        <a:lnTo>
                          <a:pt x="1878" y="1070"/>
                        </a:lnTo>
                        <a:lnTo>
                          <a:pt x="1866" y="1070"/>
                        </a:lnTo>
                        <a:lnTo>
                          <a:pt x="1860" y="1070"/>
                        </a:lnTo>
                        <a:lnTo>
                          <a:pt x="1854" y="1072"/>
                        </a:lnTo>
                        <a:lnTo>
                          <a:pt x="1846" y="1076"/>
                        </a:lnTo>
                        <a:lnTo>
                          <a:pt x="1838" y="1082"/>
                        </a:lnTo>
                        <a:lnTo>
                          <a:pt x="1838" y="1082"/>
                        </a:lnTo>
                        <a:lnTo>
                          <a:pt x="1834" y="1086"/>
                        </a:lnTo>
                        <a:lnTo>
                          <a:pt x="1828" y="1090"/>
                        </a:lnTo>
                        <a:lnTo>
                          <a:pt x="1824" y="1090"/>
                        </a:lnTo>
                        <a:lnTo>
                          <a:pt x="1820" y="1090"/>
                        </a:lnTo>
                        <a:lnTo>
                          <a:pt x="1818" y="1088"/>
                        </a:lnTo>
                        <a:lnTo>
                          <a:pt x="1820" y="1084"/>
                        </a:lnTo>
                        <a:lnTo>
                          <a:pt x="1824" y="1078"/>
                        </a:lnTo>
                        <a:lnTo>
                          <a:pt x="1832" y="1070"/>
                        </a:lnTo>
                        <a:lnTo>
                          <a:pt x="1832" y="1070"/>
                        </a:lnTo>
                        <a:lnTo>
                          <a:pt x="1840" y="1064"/>
                        </a:lnTo>
                        <a:lnTo>
                          <a:pt x="1848" y="1062"/>
                        </a:lnTo>
                        <a:lnTo>
                          <a:pt x="1852" y="1062"/>
                        </a:lnTo>
                        <a:lnTo>
                          <a:pt x="1856" y="1062"/>
                        </a:lnTo>
                        <a:lnTo>
                          <a:pt x="1864" y="1064"/>
                        </a:lnTo>
                        <a:lnTo>
                          <a:pt x="1866" y="1064"/>
                        </a:lnTo>
                        <a:lnTo>
                          <a:pt x="1870" y="1062"/>
                        </a:lnTo>
                        <a:lnTo>
                          <a:pt x="1870" y="1062"/>
                        </a:lnTo>
                        <a:lnTo>
                          <a:pt x="1876" y="1058"/>
                        </a:lnTo>
                        <a:lnTo>
                          <a:pt x="1878" y="1056"/>
                        </a:lnTo>
                        <a:lnTo>
                          <a:pt x="1878" y="1054"/>
                        </a:lnTo>
                        <a:lnTo>
                          <a:pt x="1874" y="1052"/>
                        </a:lnTo>
                        <a:lnTo>
                          <a:pt x="1868" y="1052"/>
                        </a:lnTo>
                        <a:lnTo>
                          <a:pt x="1844" y="1054"/>
                        </a:lnTo>
                        <a:lnTo>
                          <a:pt x="1844" y="1054"/>
                        </a:lnTo>
                        <a:lnTo>
                          <a:pt x="1816" y="1058"/>
                        </a:lnTo>
                        <a:lnTo>
                          <a:pt x="1800" y="1058"/>
                        </a:lnTo>
                        <a:lnTo>
                          <a:pt x="1798" y="1056"/>
                        </a:lnTo>
                        <a:lnTo>
                          <a:pt x="1796" y="1052"/>
                        </a:lnTo>
                        <a:lnTo>
                          <a:pt x="1798" y="1046"/>
                        </a:lnTo>
                        <a:lnTo>
                          <a:pt x="1804" y="1038"/>
                        </a:lnTo>
                        <a:lnTo>
                          <a:pt x="1804" y="1038"/>
                        </a:lnTo>
                        <a:lnTo>
                          <a:pt x="1814" y="1022"/>
                        </a:lnTo>
                        <a:lnTo>
                          <a:pt x="1818" y="1014"/>
                        </a:lnTo>
                        <a:lnTo>
                          <a:pt x="1820" y="1012"/>
                        </a:lnTo>
                        <a:lnTo>
                          <a:pt x="1822" y="1010"/>
                        </a:lnTo>
                        <a:lnTo>
                          <a:pt x="1828" y="1016"/>
                        </a:lnTo>
                        <a:lnTo>
                          <a:pt x="1828" y="1016"/>
                        </a:lnTo>
                        <a:lnTo>
                          <a:pt x="1836" y="1022"/>
                        </a:lnTo>
                        <a:lnTo>
                          <a:pt x="1840" y="1022"/>
                        </a:lnTo>
                        <a:lnTo>
                          <a:pt x="1844" y="1022"/>
                        </a:lnTo>
                        <a:lnTo>
                          <a:pt x="1882" y="1010"/>
                        </a:lnTo>
                        <a:lnTo>
                          <a:pt x="1882" y="1010"/>
                        </a:lnTo>
                        <a:lnTo>
                          <a:pt x="1896" y="1006"/>
                        </a:lnTo>
                        <a:lnTo>
                          <a:pt x="1904" y="1000"/>
                        </a:lnTo>
                        <a:lnTo>
                          <a:pt x="1908" y="996"/>
                        </a:lnTo>
                        <a:lnTo>
                          <a:pt x="1910" y="992"/>
                        </a:lnTo>
                        <a:lnTo>
                          <a:pt x="1906" y="986"/>
                        </a:lnTo>
                        <a:lnTo>
                          <a:pt x="1898" y="984"/>
                        </a:lnTo>
                        <a:lnTo>
                          <a:pt x="1888" y="980"/>
                        </a:lnTo>
                        <a:lnTo>
                          <a:pt x="1874" y="978"/>
                        </a:lnTo>
                        <a:lnTo>
                          <a:pt x="1874" y="978"/>
                        </a:lnTo>
                        <a:lnTo>
                          <a:pt x="1850" y="974"/>
                        </a:lnTo>
                        <a:lnTo>
                          <a:pt x="1844" y="972"/>
                        </a:lnTo>
                        <a:lnTo>
                          <a:pt x="1842" y="970"/>
                        </a:lnTo>
                        <a:lnTo>
                          <a:pt x="1844" y="968"/>
                        </a:lnTo>
                        <a:lnTo>
                          <a:pt x="1850" y="966"/>
                        </a:lnTo>
                        <a:lnTo>
                          <a:pt x="1870" y="966"/>
                        </a:lnTo>
                        <a:lnTo>
                          <a:pt x="1870" y="966"/>
                        </a:lnTo>
                        <a:lnTo>
                          <a:pt x="1892" y="970"/>
                        </a:lnTo>
                        <a:lnTo>
                          <a:pt x="1906" y="976"/>
                        </a:lnTo>
                        <a:lnTo>
                          <a:pt x="1918" y="980"/>
                        </a:lnTo>
                        <a:lnTo>
                          <a:pt x="1932" y="986"/>
                        </a:lnTo>
                        <a:lnTo>
                          <a:pt x="1932" y="986"/>
                        </a:lnTo>
                        <a:lnTo>
                          <a:pt x="1946" y="992"/>
                        </a:lnTo>
                        <a:lnTo>
                          <a:pt x="1954" y="998"/>
                        </a:lnTo>
                        <a:lnTo>
                          <a:pt x="1958" y="1008"/>
                        </a:lnTo>
                        <a:lnTo>
                          <a:pt x="1960" y="1022"/>
                        </a:lnTo>
                        <a:lnTo>
                          <a:pt x="1960" y="1022"/>
                        </a:lnTo>
                        <a:lnTo>
                          <a:pt x="1964" y="1030"/>
                        </a:lnTo>
                        <a:lnTo>
                          <a:pt x="1970" y="1038"/>
                        </a:lnTo>
                        <a:lnTo>
                          <a:pt x="1978" y="1044"/>
                        </a:lnTo>
                        <a:lnTo>
                          <a:pt x="1988" y="1050"/>
                        </a:lnTo>
                        <a:lnTo>
                          <a:pt x="1998" y="1052"/>
                        </a:lnTo>
                        <a:lnTo>
                          <a:pt x="2008" y="1054"/>
                        </a:lnTo>
                        <a:lnTo>
                          <a:pt x="2016" y="1054"/>
                        </a:lnTo>
                        <a:lnTo>
                          <a:pt x="2022" y="1052"/>
                        </a:lnTo>
                        <a:lnTo>
                          <a:pt x="2022" y="1052"/>
                        </a:lnTo>
                        <a:lnTo>
                          <a:pt x="2030" y="1048"/>
                        </a:lnTo>
                        <a:lnTo>
                          <a:pt x="2036" y="1050"/>
                        </a:lnTo>
                        <a:lnTo>
                          <a:pt x="2046" y="1052"/>
                        </a:lnTo>
                        <a:lnTo>
                          <a:pt x="2060" y="1056"/>
                        </a:lnTo>
                        <a:lnTo>
                          <a:pt x="2060" y="1056"/>
                        </a:lnTo>
                        <a:lnTo>
                          <a:pt x="2068" y="1054"/>
                        </a:lnTo>
                        <a:lnTo>
                          <a:pt x="2070" y="1050"/>
                        </a:lnTo>
                        <a:lnTo>
                          <a:pt x="2072" y="1042"/>
                        </a:lnTo>
                        <a:lnTo>
                          <a:pt x="2070" y="1032"/>
                        </a:lnTo>
                        <a:lnTo>
                          <a:pt x="2066" y="1008"/>
                        </a:lnTo>
                        <a:lnTo>
                          <a:pt x="2064" y="996"/>
                        </a:lnTo>
                        <a:lnTo>
                          <a:pt x="2064" y="984"/>
                        </a:lnTo>
                        <a:lnTo>
                          <a:pt x="2064" y="984"/>
                        </a:lnTo>
                        <a:lnTo>
                          <a:pt x="2062" y="976"/>
                        </a:lnTo>
                        <a:lnTo>
                          <a:pt x="2062" y="974"/>
                        </a:lnTo>
                        <a:lnTo>
                          <a:pt x="2060" y="974"/>
                        </a:lnTo>
                        <a:lnTo>
                          <a:pt x="2056" y="976"/>
                        </a:lnTo>
                        <a:lnTo>
                          <a:pt x="2050" y="980"/>
                        </a:lnTo>
                        <a:lnTo>
                          <a:pt x="2044" y="986"/>
                        </a:lnTo>
                        <a:lnTo>
                          <a:pt x="2038" y="990"/>
                        </a:lnTo>
                        <a:lnTo>
                          <a:pt x="2032" y="990"/>
                        </a:lnTo>
                        <a:lnTo>
                          <a:pt x="2030" y="988"/>
                        </a:lnTo>
                        <a:lnTo>
                          <a:pt x="2030" y="986"/>
                        </a:lnTo>
                        <a:lnTo>
                          <a:pt x="2030" y="986"/>
                        </a:lnTo>
                        <a:lnTo>
                          <a:pt x="2028" y="976"/>
                        </a:lnTo>
                        <a:lnTo>
                          <a:pt x="2028" y="974"/>
                        </a:lnTo>
                        <a:lnTo>
                          <a:pt x="2032" y="974"/>
                        </a:lnTo>
                        <a:lnTo>
                          <a:pt x="2038" y="972"/>
                        </a:lnTo>
                        <a:lnTo>
                          <a:pt x="2044" y="968"/>
                        </a:lnTo>
                        <a:lnTo>
                          <a:pt x="2050" y="962"/>
                        </a:lnTo>
                        <a:lnTo>
                          <a:pt x="2050" y="962"/>
                        </a:lnTo>
                        <a:lnTo>
                          <a:pt x="2054" y="956"/>
                        </a:lnTo>
                        <a:lnTo>
                          <a:pt x="2054" y="956"/>
                        </a:lnTo>
                        <a:lnTo>
                          <a:pt x="2054" y="954"/>
                        </a:lnTo>
                        <a:lnTo>
                          <a:pt x="2044" y="958"/>
                        </a:lnTo>
                        <a:lnTo>
                          <a:pt x="2032" y="962"/>
                        </a:lnTo>
                        <a:lnTo>
                          <a:pt x="2030" y="960"/>
                        </a:lnTo>
                        <a:lnTo>
                          <a:pt x="2030" y="956"/>
                        </a:lnTo>
                        <a:lnTo>
                          <a:pt x="2030" y="956"/>
                        </a:lnTo>
                        <a:lnTo>
                          <a:pt x="2032" y="950"/>
                        </a:lnTo>
                        <a:lnTo>
                          <a:pt x="2030" y="944"/>
                        </a:lnTo>
                        <a:lnTo>
                          <a:pt x="2026" y="940"/>
                        </a:lnTo>
                        <a:lnTo>
                          <a:pt x="2020" y="938"/>
                        </a:lnTo>
                        <a:lnTo>
                          <a:pt x="2002" y="932"/>
                        </a:lnTo>
                        <a:lnTo>
                          <a:pt x="1980" y="926"/>
                        </a:lnTo>
                        <a:lnTo>
                          <a:pt x="1980" y="926"/>
                        </a:lnTo>
                        <a:lnTo>
                          <a:pt x="1960" y="918"/>
                        </a:lnTo>
                        <a:lnTo>
                          <a:pt x="1948" y="912"/>
                        </a:lnTo>
                        <a:lnTo>
                          <a:pt x="1944" y="908"/>
                        </a:lnTo>
                        <a:lnTo>
                          <a:pt x="1944" y="904"/>
                        </a:lnTo>
                        <a:lnTo>
                          <a:pt x="1944" y="900"/>
                        </a:lnTo>
                        <a:lnTo>
                          <a:pt x="1944" y="896"/>
                        </a:lnTo>
                        <a:lnTo>
                          <a:pt x="1942" y="892"/>
                        </a:lnTo>
                        <a:lnTo>
                          <a:pt x="1934" y="886"/>
                        </a:lnTo>
                        <a:lnTo>
                          <a:pt x="1934" y="886"/>
                        </a:lnTo>
                        <a:lnTo>
                          <a:pt x="1924" y="880"/>
                        </a:lnTo>
                        <a:lnTo>
                          <a:pt x="1922" y="874"/>
                        </a:lnTo>
                        <a:lnTo>
                          <a:pt x="1922" y="870"/>
                        </a:lnTo>
                        <a:lnTo>
                          <a:pt x="1924" y="866"/>
                        </a:lnTo>
                        <a:lnTo>
                          <a:pt x="1922" y="862"/>
                        </a:lnTo>
                        <a:lnTo>
                          <a:pt x="1916" y="858"/>
                        </a:lnTo>
                        <a:lnTo>
                          <a:pt x="1902" y="852"/>
                        </a:lnTo>
                        <a:lnTo>
                          <a:pt x="1878" y="846"/>
                        </a:lnTo>
                        <a:lnTo>
                          <a:pt x="1878" y="846"/>
                        </a:lnTo>
                        <a:lnTo>
                          <a:pt x="1888" y="846"/>
                        </a:lnTo>
                        <a:lnTo>
                          <a:pt x="1896" y="844"/>
                        </a:lnTo>
                        <a:lnTo>
                          <a:pt x="1904" y="842"/>
                        </a:lnTo>
                        <a:lnTo>
                          <a:pt x="1910" y="838"/>
                        </a:lnTo>
                        <a:lnTo>
                          <a:pt x="1926" y="828"/>
                        </a:lnTo>
                        <a:lnTo>
                          <a:pt x="1948" y="818"/>
                        </a:lnTo>
                        <a:lnTo>
                          <a:pt x="1948" y="818"/>
                        </a:lnTo>
                        <a:lnTo>
                          <a:pt x="1954" y="816"/>
                        </a:lnTo>
                        <a:lnTo>
                          <a:pt x="1960" y="816"/>
                        </a:lnTo>
                        <a:lnTo>
                          <a:pt x="1974" y="818"/>
                        </a:lnTo>
                        <a:lnTo>
                          <a:pt x="1988" y="824"/>
                        </a:lnTo>
                        <a:lnTo>
                          <a:pt x="2002" y="832"/>
                        </a:lnTo>
                        <a:lnTo>
                          <a:pt x="2016" y="838"/>
                        </a:lnTo>
                        <a:lnTo>
                          <a:pt x="2030" y="842"/>
                        </a:lnTo>
                        <a:lnTo>
                          <a:pt x="2038" y="844"/>
                        </a:lnTo>
                        <a:lnTo>
                          <a:pt x="2044" y="842"/>
                        </a:lnTo>
                        <a:lnTo>
                          <a:pt x="2052" y="840"/>
                        </a:lnTo>
                        <a:lnTo>
                          <a:pt x="2058" y="836"/>
                        </a:lnTo>
                        <a:lnTo>
                          <a:pt x="2058" y="836"/>
                        </a:lnTo>
                        <a:lnTo>
                          <a:pt x="2070" y="830"/>
                        </a:lnTo>
                        <a:lnTo>
                          <a:pt x="2078" y="826"/>
                        </a:lnTo>
                        <a:lnTo>
                          <a:pt x="2086" y="826"/>
                        </a:lnTo>
                        <a:lnTo>
                          <a:pt x="2092" y="828"/>
                        </a:lnTo>
                        <a:lnTo>
                          <a:pt x="2096" y="830"/>
                        </a:lnTo>
                        <a:lnTo>
                          <a:pt x="2100" y="830"/>
                        </a:lnTo>
                        <a:lnTo>
                          <a:pt x="2106" y="826"/>
                        </a:lnTo>
                        <a:lnTo>
                          <a:pt x="2112" y="818"/>
                        </a:lnTo>
                        <a:lnTo>
                          <a:pt x="2112" y="818"/>
                        </a:lnTo>
                        <a:lnTo>
                          <a:pt x="2118" y="810"/>
                        </a:lnTo>
                        <a:lnTo>
                          <a:pt x="2118" y="806"/>
                        </a:lnTo>
                        <a:lnTo>
                          <a:pt x="2116" y="802"/>
                        </a:lnTo>
                        <a:lnTo>
                          <a:pt x="2112" y="796"/>
                        </a:lnTo>
                        <a:lnTo>
                          <a:pt x="2104" y="792"/>
                        </a:lnTo>
                        <a:lnTo>
                          <a:pt x="2092" y="790"/>
                        </a:lnTo>
                        <a:lnTo>
                          <a:pt x="2080" y="788"/>
                        </a:lnTo>
                        <a:lnTo>
                          <a:pt x="2054" y="786"/>
                        </a:lnTo>
                        <a:lnTo>
                          <a:pt x="2054" y="786"/>
                        </a:lnTo>
                        <a:lnTo>
                          <a:pt x="2044" y="786"/>
                        </a:lnTo>
                        <a:lnTo>
                          <a:pt x="2040" y="784"/>
                        </a:lnTo>
                        <a:lnTo>
                          <a:pt x="2040" y="780"/>
                        </a:lnTo>
                        <a:lnTo>
                          <a:pt x="2040" y="776"/>
                        </a:lnTo>
                        <a:lnTo>
                          <a:pt x="2046" y="768"/>
                        </a:lnTo>
                        <a:lnTo>
                          <a:pt x="2054" y="762"/>
                        </a:lnTo>
                        <a:lnTo>
                          <a:pt x="2066" y="758"/>
                        </a:lnTo>
                        <a:lnTo>
                          <a:pt x="2078" y="754"/>
                        </a:lnTo>
                        <a:lnTo>
                          <a:pt x="2092" y="752"/>
                        </a:lnTo>
                        <a:lnTo>
                          <a:pt x="2092" y="752"/>
                        </a:lnTo>
                        <a:lnTo>
                          <a:pt x="2104" y="754"/>
                        </a:lnTo>
                        <a:lnTo>
                          <a:pt x="2112" y="758"/>
                        </a:lnTo>
                        <a:lnTo>
                          <a:pt x="2122" y="766"/>
                        </a:lnTo>
                        <a:lnTo>
                          <a:pt x="2128" y="768"/>
                        </a:lnTo>
                        <a:lnTo>
                          <a:pt x="2132" y="770"/>
                        </a:lnTo>
                        <a:lnTo>
                          <a:pt x="2142" y="768"/>
                        </a:lnTo>
                        <a:lnTo>
                          <a:pt x="2152" y="766"/>
                        </a:lnTo>
                        <a:lnTo>
                          <a:pt x="2152" y="766"/>
                        </a:lnTo>
                        <a:lnTo>
                          <a:pt x="2162" y="762"/>
                        </a:lnTo>
                        <a:lnTo>
                          <a:pt x="2164" y="758"/>
                        </a:lnTo>
                        <a:lnTo>
                          <a:pt x="2166" y="754"/>
                        </a:lnTo>
                        <a:lnTo>
                          <a:pt x="2162" y="750"/>
                        </a:lnTo>
                        <a:lnTo>
                          <a:pt x="2154" y="746"/>
                        </a:lnTo>
                        <a:lnTo>
                          <a:pt x="2146" y="742"/>
                        </a:lnTo>
                        <a:lnTo>
                          <a:pt x="2134" y="740"/>
                        </a:lnTo>
                        <a:lnTo>
                          <a:pt x="2120" y="738"/>
                        </a:lnTo>
                        <a:lnTo>
                          <a:pt x="2120" y="738"/>
                        </a:lnTo>
                        <a:lnTo>
                          <a:pt x="2112" y="738"/>
                        </a:lnTo>
                        <a:lnTo>
                          <a:pt x="2108" y="736"/>
                        </a:lnTo>
                        <a:lnTo>
                          <a:pt x="2104" y="732"/>
                        </a:lnTo>
                        <a:lnTo>
                          <a:pt x="2102" y="728"/>
                        </a:lnTo>
                        <a:lnTo>
                          <a:pt x="2100" y="718"/>
                        </a:lnTo>
                        <a:lnTo>
                          <a:pt x="2102" y="708"/>
                        </a:lnTo>
                        <a:lnTo>
                          <a:pt x="2108" y="700"/>
                        </a:lnTo>
                        <a:lnTo>
                          <a:pt x="2114" y="694"/>
                        </a:lnTo>
                        <a:lnTo>
                          <a:pt x="2118" y="692"/>
                        </a:lnTo>
                        <a:lnTo>
                          <a:pt x="2122" y="692"/>
                        </a:lnTo>
                        <a:lnTo>
                          <a:pt x="2124" y="692"/>
                        </a:lnTo>
                        <a:lnTo>
                          <a:pt x="2126" y="696"/>
                        </a:lnTo>
                        <a:lnTo>
                          <a:pt x="2126" y="696"/>
                        </a:lnTo>
                        <a:lnTo>
                          <a:pt x="2132" y="700"/>
                        </a:lnTo>
                        <a:lnTo>
                          <a:pt x="2140" y="702"/>
                        </a:lnTo>
                        <a:lnTo>
                          <a:pt x="2148" y="702"/>
                        </a:lnTo>
                        <a:lnTo>
                          <a:pt x="2154" y="698"/>
                        </a:lnTo>
                        <a:lnTo>
                          <a:pt x="2158" y="692"/>
                        </a:lnTo>
                        <a:lnTo>
                          <a:pt x="2162" y="686"/>
                        </a:lnTo>
                        <a:lnTo>
                          <a:pt x="2160" y="678"/>
                        </a:lnTo>
                        <a:lnTo>
                          <a:pt x="2156" y="670"/>
                        </a:lnTo>
                        <a:lnTo>
                          <a:pt x="2156" y="670"/>
                        </a:lnTo>
                        <a:lnTo>
                          <a:pt x="2150" y="662"/>
                        </a:lnTo>
                        <a:lnTo>
                          <a:pt x="2150" y="658"/>
                        </a:lnTo>
                        <a:lnTo>
                          <a:pt x="2154" y="656"/>
                        </a:lnTo>
                        <a:lnTo>
                          <a:pt x="2156" y="656"/>
                        </a:lnTo>
                        <a:lnTo>
                          <a:pt x="2160" y="656"/>
                        </a:lnTo>
                        <a:lnTo>
                          <a:pt x="2160" y="654"/>
                        </a:lnTo>
                        <a:lnTo>
                          <a:pt x="2144" y="646"/>
                        </a:lnTo>
                        <a:lnTo>
                          <a:pt x="2144" y="646"/>
                        </a:lnTo>
                        <a:lnTo>
                          <a:pt x="2132" y="640"/>
                        </a:lnTo>
                        <a:lnTo>
                          <a:pt x="2128" y="636"/>
                        </a:lnTo>
                        <a:lnTo>
                          <a:pt x="2128" y="634"/>
                        </a:lnTo>
                        <a:lnTo>
                          <a:pt x="2130" y="632"/>
                        </a:lnTo>
                        <a:lnTo>
                          <a:pt x="2140" y="628"/>
                        </a:lnTo>
                        <a:lnTo>
                          <a:pt x="2142" y="624"/>
                        </a:lnTo>
                        <a:lnTo>
                          <a:pt x="2142" y="620"/>
                        </a:lnTo>
                        <a:lnTo>
                          <a:pt x="2142" y="620"/>
                        </a:lnTo>
                        <a:lnTo>
                          <a:pt x="2140" y="616"/>
                        </a:lnTo>
                        <a:lnTo>
                          <a:pt x="2136" y="614"/>
                        </a:lnTo>
                        <a:lnTo>
                          <a:pt x="2126" y="612"/>
                        </a:lnTo>
                        <a:lnTo>
                          <a:pt x="2098" y="612"/>
                        </a:lnTo>
                        <a:lnTo>
                          <a:pt x="2084" y="612"/>
                        </a:lnTo>
                        <a:lnTo>
                          <a:pt x="2074" y="612"/>
                        </a:lnTo>
                        <a:lnTo>
                          <a:pt x="2066" y="608"/>
                        </a:lnTo>
                        <a:lnTo>
                          <a:pt x="2064" y="606"/>
                        </a:lnTo>
                        <a:lnTo>
                          <a:pt x="2062" y="602"/>
                        </a:lnTo>
                        <a:lnTo>
                          <a:pt x="2062" y="602"/>
                        </a:lnTo>
                        <a:lnTo>
                          <a:pt x="2062" y="598"/>
                        </a:lnTo>
                        <a:lnTo>
                          <a:pt x="2060" y="594"/>
                        </a:lnTo>
                        <a:lnTo>
                          <a:pt x="2056" y="590"/>
                        </a:lnTo>
                        <a:lnTo>
                          <a:pt x="2048" y="586"/>
                        </a:lnTo>
                        <a:lnTo>
                          <a:pt x="2040" y="582"/>
                        </a:lnTo>
                        <a:lnTo>
                          <a:pt x="2032" y="580"/>
                        </a:lnTo>
                        <a:lnTo>
                          <a:pt x="2028" y="578"/>
                        </a:lnTo>
                        <a:lnTo>
                          <a:pt x="2026" y="576"/>
                        </a:lnTo>
                        <a:lnTo>
                          <a:pt x="2028" y="574"/>
                        </a:lnTo>
                        <a:lnTo>
                          <a:pt x="2032" y="568"/>
                        </a:lnTo>
                        <a:lnTo>
                          <a:pt x="2032" y="568"/>
                        </a:lnTo>
                        <a:lnTo>
                          <a:pt x="2040" y="566"/>
                        </a:lnTo>
                        <a:lnTo>
                          <a:pt x="2046" y="566"/>
                        </a:lnTo>
                        <a:lnTo>
                          <a:pt x="2050" y="570"/>
                        </a:lnTo>
                        <a:lnTo>
                          <a:pt x="2054" y="574"/>
                        </a:lnTo>
                        <a:lnTo>
                          <a:pt x="2058" y="578"/>
                        </a:lnTo>
                        <a:lnTo>
                          <a:pt x="2064" y="580"/>
                        </a:lnTo>
                        <a:lnTo>
                          <a:pt x="2072" y="580"/>
                        </a:lnTo>
                        <a:lnTo>
                          <a:pt x="2082" y="574"/>
                        </a:lnTo>
                        <a:lnTo>
                          <a:pt x="2082" y="574"/>
                        </a:lnTo>
                        <a:lnTo>
                          <a:pt x="2094" y="566"/>
                        </a:lnTo>
                        <a:lnTo>
                          <a:pt x="2106" y="562"/>
                        </a:lnTo>
                        <a:lnTo>
                          <a:pt x="2120" y="560"/>
                        </a:lnTo>
                        <a:lnTo>
                          <a:pt x="2132" y="560"/>
                        </a:lnTo>
                        <a:lnTo>
                          <a:pt x="2144" y="562"/>
                        </a:lnTo>
                        <a:lnTo>
                          <a:pt x="2156" y="564"/>
                        </a:lnTo>
                        <a:lnTo>
                          <a:pt x="2178" y="574"/>
                        </a:lnTo>
                        <a:lnTo>
                          <a:pt x="2178" y="574"/>
                        </a:lnTo>
                        <a:lnTo>
                          <a:pt x="2188" y="576"/>
                        </a:lnTo>
                        <a:lnTo>
                          <a:pt x="2196" y="574"/>
                        </a:lnTo>
                        <a:lnTo>
                          <a:pt x="2202" y="570"/>
                        </a:lnTo>
                        <a:lnTo>
                          <a:pt x="2206" y="564"/>
                        </a:lnTo>
                        <a:lnTo>
                          <a:pt x="2208" y="556"/>
                        </a:lnTo>
                        <a:lnTo>
                          <a:pt x="2206" y="546"/>
                        </a:lnTo>
                        <a:lnTo>
                          <a:pt x="2202" y="536"/>
                        </a:lnTo>
                        <a:lnTo>
                          <a:pt x="2194" y="528"/>
                        </a:lnTo>
                        <a:lnTo>
                          <a:pt x="2194" y="528"/>
                        </a:lnTo>
                        <a:lnTo>
                          <a:pt x="2186" y="522"/>
                        </a:lnTo>
                        <a:lnTo>
                          <a:pt x="2180" y="522"/>
                        </a:lnTo>
                        <a:lnTo>
                          <a:pt x="2176" y="524"/>
                        </a:lnTo>
                        <a:lnTo>
                          <a:pt x="2172" y="528"/>
                        </a:lnTo>
                        <a:lnTo>
                          <a:pt x="2166" y="532"/>
                        </a:lnTo>
                        <a:lnTo>
                          <a:pt x="2158" y="534"/>
                        </a:lnTo>
                        <a:lnTo>
                          <a:pt x="2148" y="532"/>
                        </a:lnTo>
                        <a:lnTo>
                          <a:pt x="2132" y="524"/>
                        </a:lnTo>
                        <a:lnTo>
                          <a:pt x="2132" y="524"/>
                        </a:lnTo>
                        <a:lnTo>
                          <a:pt x="2106" y="506"/>
                        </a:lnTo>
                        <a:lnTo>
                          <a:pt x="2102" y="502"/>
                        </a:lnTo>
                        <a:lnTo>
                          <a:pt x="2102" y="500"/>
                        </a:lnTo>
                        <a:lnTo>
                          <a:pt x="2102" y="498"/>
                        </a:lnTo>
                        <a:lnTo>
                          <a:pt x="2106" y="498"/>
                        </a:lnTo>
                        <a:lnTo>
                          <a:pt x="2116" y="498"/>
                        </a:lnTo>
                        <a:lnTo>
                          <a:pt x="2144" y="504"/>
                        </a:lnTo>
                        <a:lnTo>
                          <a:pt x="2144" y="504"/>
                        </a:lnTo>
                        <a:lnTo>
                          <a:pt x="2170" y="508"/>
                        </a:lnTo>
                        <a:lnTo>
                          <a:pt x="2174" y="508"/>
                        </a:lnTo>
                        <a:lnTo>
                          <a:pt x="2174" y="506"/>
                        </a:lnTo>
                        <a:lnTo>
                          <a:pt x="2168" y="502"/>
                        </a:lnTo>
                        <a:lnTo>
                          <a:pt x="2156" y="496"/>
                        </a:lnTo>
                        <a:lnTo>
                          <a:pt x="2120" y="480"/>
                        </a:lnTo>
                        <a:lnTo>
                          <a:pt x="2120" y="480"/>
                        </a:lnTo>
                        <a:lnTo>
                          <a:pt x="2100" y="474"/>
                        </a:lnTo>
                        <a:lnTo>
                          <a:pt x="2086" y="474"/>
                        </a:lnTo>
                        <a:lnTo>
                          <a:pt x="2078" y="476"/>
                        </a:lnTo>
                        <a:lnTo>
                          <a:pt x="2074" y="482"/>
                        </a:lnTo>
                        <a:lnTo>
                          <a:pt x="2070" y="494"/>
                        </a:lnTo>
                        <a:lnTo>
                          <a:pt x="2066" y="500"/>
                        </a:lnTo>
                        <a:lnTo>
                          <a:pt x="2060" y="504"/>
                        </a:lnTo>
                        <a:lnTo>
                          <a:pt x="2060" y="504"/>
                        </a:lnTo>
                        <a:lnTo>
                          <a:pt x="2056" y="504"/>
                        </a:lnTo>
                        <a:lnTo>
                          <a:pt x="2054" y="502"/>
                        </a:lnTo>
                        <a:lnTo>
                          <a:pt x="2052" y="500"/>
                        </a:lnTo>
                        <a:lnTo>
                          <a:pt x="2052" y="498"/>
                        </a:lnTo>
                        <a:lnTo>
                          <a:pt x="2054" y="490"/>
                        </a:lnTo>
                        <a:lnTo>
                          <a:pt x="2060" y="478"/>
                        </a:lnTo>
                        <a:lnTo>
                          <a:pt x="2072" y="454"/>
                        </a:lnTo>
                        <a:lnTo>
                          <a:pt x="2080" y="440"/>
                        </a:lnTo>
                        <a:lnTo>
                          <a:pt x="2086" y="426"/>
                        </a:lnTo>
                        <a:lnTo>
                          <a:pt x="2086" y="426"/>
                        </a:lnTo>
                        <a:lnTo>
                          <a:pt x="2090" y="414"/>
                        </a:lnTo>
                        <a:lnTo>
                          <a:pt x="2096" y="408"/>
                        </a:lnTo>
                        <a:lnTo>
                          <a:pt x="2104" y="404"/>
                        </a:lnTo>
                        <a:lnTo>
                          <a:pt x="2110" y="404"/>
                        </a:lnTo>
                        <a:lnTo>
                          <a:pt x="2124" y="404"/>
                        </a:lnTo>
                        <a:lnTo>
                          <a:pt x="2130" y="404"/>
                        </a:lnTo>
                        <a:lnTo>
                          <a:pt x="2134" y="402"/>
                        </a:lnTo>
                        <a:lnTo>
                          <a:pt x="2134" y="402"/>
                        </a:lnTo>
                        <a:lnTo>
                          <a:pt x="2146" y="392"/>
                        </a:lnTo>
                        <a:lnTo>
                          <a:pt x="2160" y="382"/>
                        </a:lnTo>
                        <a:lnTo>
                          <a:pt x="2166" y="376"/>
                        </a:lnTo>
                        <a:lnTo>
                          <a:pt x="2168" y="372"/>
                        </a:lnTo>
                        <a:lnTo>
                          <a:pt x="2168" y="370"/>
                        </a:lnTo>
                        <a:lnTo>
                          <a:pt x="2166" y="368"/>
                        </a:lnTo>
                        <a:lnTo>
                          <a:pt x="2160" y="366"/>
                        </a:lnTo>
                        <a:lnTo>
                          <a:pt x="2160" y="366"/>
                        </a:lnTo>
                        <a:lnTo>
                          <a:pt x="2152" y="362"/>
                        </a:lnTo>
                        <a:lnTo>
                          <a:pt x="2146" y="358"/>
                        </a:lnTo>
                        <a:lnTo>
                          <a:pt x="2144" y="354"/>
                        </a:lnTo>
                        <a:lnTo>
                          <a:pt x="2144" y="348"/>
                        </a:lnTo>
                        <a:lnTo>
                          <a:pt x="2146" y="344"/>
                        </a:lnTo>
                        <a:lnTo>
                          <a:pt x="2150" y="338"/>
                        </a:lnTo>
                        <a:lnTo>
                          <a:pt x="2158" y="336"/>
                        </a:lnTo>
                        <a:lnTo>
                          <a:pt x="2168" y="334"/>
                        </a:lnTo>
                        <a:lnTo>
                          <a:pt x="2168" y="334"/>
                        </a:lnTo>
                        <a:lnTo>
                          <a:pt x="2190" y="334"/>
                        </a:lnTo>
                        <a:lnTo>
                          <a:pt x="2204" y="330"/>
                        </a:lnTo>
                        <a:lnTo>
                          <a:pt x="2216" y="322"/>
                        </a:lnTo>
                        <a:lnTo>
                          <a:pt x="2228" y="310"/>
                        </a:lnTo>
                        <a:lnTo>
                          <a:pt x="2228" y="310"/>
                        </a:lnTo>
                        <a:lnTo>
                          <a:pt x="2230" y="306"/>
                        </a:lnTo>
                        <a:lnTo>
                          <a:pt x="2230" y="304"/>
                        </a:lnTo>
                        <a:lnTo>
                          <a:pt x="2228" y="302"/>
                        </a:lnTo>
                        <a:lnTo>
                          <a:pt x="2226" y="300"/>
                        </a:lnTo>
                        <a:lnTo>
                          <a:pt x="2214" y="300"/>
                        </a:lnTo>
                        <a:lnTo>
                          <a:pt x="2200" y="300"/>
                        </a:lnTo>
                        <a:lnTo>
                          <a:pt x="2162" y="308"/>
                        </a:lnTo>
                        <a:lnTo>
                          <a:pt x="2142" y="312"/>
                        </a:lnTo>
                        <a:lnTo>
                          <a:pt x="2124" y="318"/>
                        </a:lnTo>
                        <a:lnTo>
                          <a:pt x="2124" y="318"/>
                        </a:lnTo>
                        <a:lnTo>
                          <a:pt x="2112" y="322"/>
                        </a:lnTo>
                        <a:lnTo>
                          <a:pt x="2108" y="320"/>
                        </a:lnTo>
                        <a:lnTo>
                          <a:pt x="2106" y="320"/>
                        </a:lnTo>
                        <a:lnTo>
                          <a:pt x="2106" y="316"/>
                        </a:lnTo>
                        <a:lnTo>
                          <a:pt x="2108" y="314"/>
                        </a:lnTo>
                        <a:lnTo>
                          <a:pt x="2114" y="306"/>
                        </a:lnTo>
                        <a:lnTo>
                          <a:pt x="2124" y="298"/>
                        </a:lnTo>
                        <a:lnTo>
                          <a:pt x="2138" y="292"/>
                        </a:lnTo>
                        <a:lnTo>
                          <a:pt x="2152" y="288"/>
                        </a:lnTo>
                        <a:lnTo>
                          <a:pt x="2160" y="288"/>
                        </a:lnTo>
                        <a:lnTo>
                          <a:pt x="2168" y="288"/>
                        </a:lnTo>
                        <a:lnTo>
                          <a:pt x="2168" y="288"/>
                        </a:lnTo>
                        <a:lnTo>
                          <a:pt x="2182" y="292"/>
                        </a:lnTo>
                        <a:lnTo>
                          <a:pt x="2198" y="292"/>
                        </a:lnTo>
                        <a:lnTo>
                          <a:pt x="2214" y="292"/>
                        </a:lnTo>
                        <a:lnTo>
                          <a:pt x="2228" y="290"/>
                        </a:lnTo>
                        <a:lnTo>
                          <a:pt x="2256" y="284"/>
                        </a:lnTo>
                        <a:lnTo>
                          <a:pt x="2278" y="276"/>
                        </a:lnTo>
                        <a:lnTo>
                          <a:pt x="2278" y="276"/>
                        </a:lnTo>
                        <a:lnTo>
                          <a:pt x="2284" y="270"/>
                        </a:lnTo>
                        <a:lnTo>
                          <a:pt x="2286" y="268"/>
                        </a:lnTo>
                        <a:lnTo>
                          <a:pt x="2284" y="268"/>
                        </a:lnTo>
                        <a:lnTo>
                          <a:pt x="2280" y="264"/>
                        </a:lnTo>
                        <a:lnTo>
                          <a:pt x="2270" y="262"/>
                        </a:lnTo>
                        <a:lnTo>
                          <a:pt x="2244" y="260"/>
                        </a:lnTo>
                        <a:lnTo>
                          <a:pt x="2232" y="260"/>
                        </a:lnTo>
                        <a:lnTo>
                          <a:pt x="2220" y="262"/>
                        </a:lnTo>
                        <a:lnTo>
                          <a:pt x="2220" y="262"/>
                        </a:lnTo>
                        <a:lnTo>
                          <a:pt x="2206" y="264"/>
                        </a:lnTo>
                        <a:lnTo>
                          <a:pt x="2188" y="264"/>
                        </a:lnTo>
                        <a:lnTo>
                          <a:pt x="2154" y="262"/>
                        </a:lnTo>
                        <a:lnTo>
                          <a:pt x="2134" y="258"/>
                        </a:lnTo>
                        <a:lnTo>
                          <a:pt x="2150" y="258"/>
                        </a:lnTo>
                        <a:lnTo>
                          <a:pt x="2150" y="258"/>
                        </a:lnTo>
                        <a:lnTo>
                          <a:pt x="2168" y="260"/>
                        </a:lnTo>
                        <a:lnTo>
                          <a:pt x="2182" y="258"/>
                        </a:lnTo>
                        <a:lnTo>
                          <a:pt x="2192" y="256"/>
                        </a:lnTo>
                        <a:lnTo>
                          <a:pt x="2200" y="252"/>
                        </a:lnTo>
                        <a:lnTo>
                          <a:pt x="2214" y="248"/>
                        </a:lnTo>
                        <a:lnTo>
                          <a:pt x="2222" y="246"/>
                        </a:lnTo>
                        <a:lnTo>
                          <a:pt x="2232" y="248"/>
                        </a:lnTo>
                        <a:lnTo>
                          <a:pt x="2232" y="248"/>
                        </a:lnTo>
                        <a:lnTo>
                          <a:pt x="2244" y="250"/>
                        </a:lnTo>
                        <a:lnTo>
                          <a:pt x="2254" y="250"/>
                        </a:lnTo>
                        <a:lnTo>
                          <a:pt x="2274" y="248"/>
                        </a:lnTo>
                        <a:lnTo>
                          <a:pt x="2298" y="244"/>
                        </a:lnTo>
                        <a:lnTo>
                          <a:pt x="2330" y="242"/>
                        </a:lnTo>
                        <a:lnTo>
                          <a:pt x="2330" y="242"/>
                        </a:lnTo>
                        <a:lnTo>
                          <a:pt x="2342" y="240"/>
                        </a:lnTo>
                        <a:lnTo>
                          <a:pt x="2344" y="238"/>
                        </a:lnTo>
                        <a:lnTo>
                          <a:pt x="2344" y="238"/>
                        </a:lnTo>
                        <a:lnTo>
                          <a:pt x="2342" y="232"/>
                        </a:lnTo>
                        <a:lnTo>
                          <a:pt x="2336" y="228"/>
                        </a:lnTo>
                        <a:lnTo>
                          <a:pt x="2330" y="224"/>
                        </a:lnTo>
                        <a:lnTo>
                          <a:pt x="2328" y="220"/>
                        </a:lnTo>
                        <a:lnTo>
                          <a:pt x="2330" y="220"/>
                        </a:lnTo>
                        <a:lnTo>
                          <a:pt x="2334" y="218"/>
                        </a:lnTo>
                        <a:lnTo>
                          <a:pt x="2348" y="218"/>
                        </a:lnTo>
                        <a:lnTo>
                          <a:pt x="2348" y="218"/>
                        </a:lnTo>
                        <a:lnTo>
                          <a:pt x="2360" y="216"/>
                        </a:lnTo>
                        <a:lnTo>
                          <a:pt x="2372" y="214"/>
                        </a:lnTo>
                        <a:lnTo>
                          <a:pt x="2382" y="212"/>
                        </a:lnTo>
                        <a:lnTo>
                          <a:pt x="2392" y="206"/>
                        </a:lnTo>
                        <a:lnTo>
                          <a:pt x="2412" y="196"/>
                        </a:lnTo>
                        <a:lnTo>
                          <a:pt x="2436" y="182"/>
                        </a:lnTo>
                        <a:lnTo>
                          <a:pt x="2436" y="182"/>
                        </a:lnTo>
                        <a:lnTo>
                          <a:pt x="2440" y="180"/>
                        </a:lnTo>
                        <a:lnTo>
                          <a:pt x="2442" y="176"/>
                        </a:lnTo>
                        <a:lnTo>
                          <a:pt x="2438" y="174"/>
                        </a:lnTo>
                        <a:lnTo>
                          <a:pt x="2434" y="170"/>
                        </a:lnTo>
                        <a:lnTo>
                          <a:pt x="2414" y="164"/>
                        </a:lnTo>
                        <a:lnTo>
                          <a:pt x="2388" y="158"/>
                        </a:lnTo>
                        <a:lnTo>
                          <a:pt x="2356" y="154"/>
                        </a:lnTo>
                        <a:lnTo>
                          <a:pt x="2322" y="150"/>
                        </a:lnTo>
                        <a:lnTo>
                          <a:pt x="2292" y="148"/>
                        </a:lnTo>
                        <a:lnTo>
                          <a:pt x="2264" y="150"/>
                        </a:lnTo>
                        <a:lnTo>
                          <a:pt x="2264" y="150"/>
                        </a:lnTo>
                        <a:lnTo>
                          <a:pt x="2244" y="152"/>
                        </a:lnTo>
                        <a:lnTo>
                          <a:pt x="2230" y="158"/>
                        </a:lnTo>
                        <a:lnTo>
                          <a:pt x="2220" y="164"/>
                        </a:lnTo>
                        <a:lnTo>
                          <a:pt x="2214" y="172"/>
                        </a:lnTo>
                        <a:lnTo>
                          <a:pt x="2210" y="180"/>
                        </a:lnTo>
                        <a:lnTo>
                          <a:pt x="2204" y="184"/>
                        </a:lnTo>
                        <a:lnTo>
                          <a:pt x="2198" y="186"/>
                        </a:lnTo>
                        <a:lnTo>
                          <a:pt x="2188" y="186"/>
                        </a:lnTo>
                        <a:lnTo>
                          <a:pt x="2188" y="186"/>
                        </a:lnTo>
                        <a:lnTo>
                          <a:pt x="2176" y="184"/>
                        </a:lnTo>
                        <a:lnTo>
                          <a:pt x="2162" y="182"/>
                        </a:lnTo>
                        <a:lnTo>
                          <a:pt x="2140" y="184"/>
                        </a:lnTo>
                        <a:lnTo>
                          <a:pt x="2126" y="184"/>
                        </a:lnTo>
                        <a:lnTo>
                          <a:pt x="2126" y="182"/>
                        </a:lnTo>
                        <a:lnTo>
                          <a:pt x="2126" y="182"/>
                        </a:lnTo>
                        <a:lnTo>
                          <a:pt x="2130" y="178"/>
                        </a:lnTo>
                        <a:lnTo>
                          <a:pt x="2130" y="178"/>
                        </a:lnTo>
                        <a:lnTo>
                          <a:pt x="2134" y="172"/>
                        </a:lnTo>
                        <a:lnTo>
                          <a:pt x="2134" y="170"/>
                        </a:lnTo>
                        <a:lnTo>
                          <a:pt x="2128" y="170"/>
                        </a:lnTo>
                        <a:lnTo>
                          <a:pt x="2120" y="172"/>
                        </a:lnTo>
                        <a:lnTo>
                          <a:pt x="2108" y="176"/>
                        </a:lnTo>
                        <a:lnTo>
                          <a:pt x="2092" y="184"/>
                        </a:lnTo>
                        <a:lnTo>
                          <a:pt x="2074" y="196"/>
                        </a:lnTo>
                        <a:lnTo>
                          <a:pt x="2050" y="210"/>
                        </a:lnTo>
                        <a:lnTo>
                          <a:pt x="2050" y="210"/>
                        </a:lnTo>
                        <a:lnTo>
                          <a:pt x="2028" y="224"/>
                        </a:lnTo>
                        <a:lnTo>
                          <a:pt x="2010" y="234"/>
                        </a:lnTo>
                        <a:lnTo>
                          <a:pt x="1996" y="242"/>
                        </a:lnTo>
                        <a:lnTo>
                          <a:pt x="1986" y="244"/>
                        </a:lnTo>
                        <a:lnTo>
                          <a:pt x="1984" y="244"/>
                        </a:lnTo>
                        <a:lnTo>
                          <a:pt x="1982" y="244"/>
                        </a:lnTo>
                        <a:lnTo>
                          <a:pt x="1984" y="238"/>
                        </a:lnTo>
                        <a:lnTo>
                          <a:pt x="1992" y="228"/>
                        </a:lnTo>
                        <a:lnTo>
                          <a:pt x="2008" y="216"/>
                        </a:lnTo>
                        <a:lnTo>
                          <a:pt x="2008" y="216"/>
                        </a:lnTo>
                        <a:lnTo>
                          <a:pt x="2026" y="200"/>
                        </a:lnTo>
                        <a:lnTo>
                          <a:pt x="2040" y="186"/>
                        </a:lnTo>
                        <a:lnTo>
                          <a:pt x="2050" y="172"/>
                        </a:lnTo>
                        <a:lnTo>
                          <a:pt x="2052" y="166"/>
                        </a:lnTo>
                        <a:lnTo>
                          <a:pt x="2052" y="160"/>
                        </a:lnTo>
                        <a:lnTo>
                          <a:pt x="2052" y="156"/>
                        </a:lnTo>
                        <a:lnTo>
                          <a:pt x="2050" y="150"/>
                        </a:lnTo>
                        <a:lnTo>
                          <a:pt x="2048" y="146"/>
                        </a:lnTo>
                        <a:lnTo>
                          <a:pt x="2042" y="144"/>
                        </a:lnTo>
                        <a:lnTo>
                          <a:pt x="2036" y="140"/>
                        </a:lnTo>
                        <a:lnTo>
                          <a:pt x="2028" y="138"/>
                        </a:lnTo>
                        <a:lnTo>
                          <a:pt x="2004" y="138"/>
                        </a:lnTo>
                        <a:lnTo>
                          <a:pt x="2004" y="138"/>
                        </a:lnTo>
                        <a:lnTo>
                          <a:pt x="1984" y="138"/>
                        </a:lnTo>
                        <a:lnTo>
                          <a:pt x="1972" y="142"/>
                        </a:lnTo>
                        <a:lnTo>
                          <a:pt x="1964" y="146"/>
                        </a:lnTo>
                        <a:lnTo>
                          <a:pt x="1962" y="152"/>
                        </a:lnTo>
                        <a:lnTo>
                          <a:pt x="1960" y="156"/>
                        </a:lnTo>
                        <a:lnTo>
                          <a:pt x="1958" y="162"/>
                        </a:lnTo>
                        <a:lnTo>
                          <a:pt x="1952" y="168"/>
                        </a:lnTo>
                        <a:lnTo>
                          <a:pt x="1940" y="172"/>
                        </a:lnTo>
                        <a:lnTo>
                          <a:pt x="1940" y="172"/>
                        </a:lnTo>
                        <a:lnTo>
                          <a:pt x="1910" y="178"/>
                        </a:lnTo>
                        <a:lnTo>
                          <a:pt x="1886" y="182"/>
                        </a:lnTo>
                        <a:lnTo>
                          <a:pt x="1878" y="182"/>
                        </a:lnTo>
                        <a:lnTo>
                          <a:pt x="1876" y="180"/>
                        </a:lnTo>
                        <a:lnTo>
                          <a:pt x="1880" y="176"/>
                        </a:lnTo>
                        <a:lnTo>
                          <a:pt x="1890" y="172"/>
                        </a:lnTo>
                        <a:lnTo>
                          <a:pt x="1890" y="172"/>
                        </a:lnTo>
                        <a:lnTo>
                          <a:pt x="1916" y="160"/>
                        </a:lnTo>
                        <a:lnTo>
                          <a:pt x="1922" y="154"/>
                        </a:lnTo>
                        <a:lnTo>
                          <a:pt x="1924" y="152"/>
                        </a:lnTo>
                        <a:lnTo>
                          <a:pt x="1924" y="150"/>
                        </a:lnTo>
                        <a:lnTo>
                          <a:pt x="1924" y="148"/>
                        </a:lnTo>
                        <a:lnTo>
                          <a:pt x="1920" y="148"/>
                        </a:lnTo>
                        <a:lnTo>
                          <a:pt x="1906" y="144"/>
                        </a:lnTo>
                        <a:lnTo>
                          <a:pt x="1884" y="142"/>
                        </a:lnTo>
                        <a:lnTo>
                          <a:pt x="1852" y="140"/>
                        </a:lnTo>
                        <a:lnTo>
                          <a:pt x="1852" y="140"/>
                        </a:lnTo>
                        <a:lnTo>
                          <a:pt x="1812" y="142"/>
                        </a:lnTo>
                        <a:lnTo>
                          <a:pt x="1770" y="146"/>
                        </a:lnTo>
                        <a:lnTo>
                          <a:pt x="1730" y="152"/>
                        </a:lnTo>
                        <a:lnTo>
                          <a:pt x="1694" y="160"/>
                        </a:lnTo>
                        <a:lnTo>
                          <a:pt x="1636" y="172"/>
                        </a:lnTo>
                        <a:lnTo>
                          <a:pt x="1616" y="174"/>
                        </a:lnTo>
                        <a:lnTo>
                          <a:pt x="1610" y="174"/>
                        </a:lnTo>
                        <a:lnTo>
                          <a:pt x="1608" y="174"/>
                        </a:lnTo>
                        <a:lnTo>
                          <a:pt x="1608" y="174"/>
                        </a:lnTo>
                        <a:lnTo>
                          <a:pt x="1604" y="170"/>
                        </a:lnTo>
                        <a:lnTo>
                          <a:pt x="1602" y="168"/>
                        </a:lnTo>
                        <a:lnTo>
                          <a:pt x="1604" y="164"/>
                        </a:lnTo>
                        <a:lnTo>
                          <a:pt x="1606" y="162"/>
                        </a:lnTo>
                        <a:lnTo>
                          <a:pt x="1618" y="156"/>
                        </a:lnTo>
                        <a:lnTo>
                          <a:pt x="1636" y="152"/>
                        </a:lnTo>
                        <a:lnTo>
                          <a:pt x="1686" y="142"/>
                        </a:lnTo>
                        <a:lnTo>
                          <a:pt x="1744" y="134"/>
                        </a:lnTo>
                        <a:lnTo>
                          <a:pt x="1744" y="134"/>
                        </a:lnTo>
                        <a:lnTo>
                          <a:pt x="1772" y="130"/>
                        </a:lnTo>
                        <a:lnTo>
                          <a:pt x="1802" y="130"/>
                        </a:lnTo>
                        <a:lnTo>
                          <a:pt x="1864" y="130"/>
                        </a:lnTo>
                        <a:lnTo>
                          <a:pt x="1926" y="130"/>
                        </a:lnTo>
                        <a:lnTo>
                          <a:pt x="1956" y="128"/>
                        </a:lnTo>
                        <a:lnTo>
                          <a:pt x="1984" y="124"/>
                        </a:lnTo>
                        <a:lnTo>
                          <a:pt x="1984" y="124"/>
                        </a:lnTo>
                        <a:lnTo>
                          <a:pt x="2020" y="114"/>
                        </a:lnTo>
                        <a:lnTo>
                          <a:pt x="2054" y="104"/>
                        </a:lnTo>
                        <a:lnTo>
                          <a:pt x="2066" y="98"/>
                        </a:lnTo>
                        <a:lnTo>
                          <a:pt x="2072" y="92"/>
                        </a:lnTo>
                        <a:lnTo>
                          <a:pt x="2072" y="90"/>
                        </a:lnTo>
                        <a:lnTo>
                          <a:pt x="2070" y="88"/>
                        </a:lnTo>
                        <a:lnTo>
                          <a:pt x="2062" y="84"/>
                        </a:lnTo>
                        <a:lnTo>
                          <a:pt x="2062" y="84"/>
                        </a:lnTo>
                        <a:lnTo>
                          <a:pt x="2034" y="78"/>
                        </a:lnTo>
                        <a:lnTo>
                          <a:pt x="2004" y="72"/>
                        </a:lnTo>
                        <a:lnTo>
                          <a:pt x="1988" y="70"/>
                        </a:lnTo>
                        <a:lnTo>
                          <a:pt x="1970" y="68"/>
                        </a:lnTo>
                        <a:lnTo>
                          <a:pt x="1952" y="70"/>
                        </a:lnTo>
                        <a:lnTo>
                          <a:pt x="1932" y="72"/>
                        </a:lnTo>
                        <a:lnTo>
                          <a:pt x="1932" y="72"/>
                        </a:lnTo>
                        <a:lnTo>
                          <a:pt x="1914" y="76"/>
                        </a:lnTo>
                        <a:lnTo>
                          <a:pt x="1916" y="74"/>
                        </a:lnTo>
                        <a:lnTo>
                          <a:pt x="1922" y="70"/>
                        </a:lnTo>
                        <a:lnTo>
                          <a:pt x="1930" y="64"/>
                        </a:lnTo>
                        <a:lnTo>
                          <a:pt x="1936" y="58"/>
                        </a:lnTo>
                        <a:lnTo>
                          <a:pt x="1938" y="56"/>
                        </a:lnTo>
                        <a:lnTo>
                          <a:pt x="1938" y="52"/>
                        </a:lnTo>
                        <a:lnTo>
                          <a:pt x="1936" y="50"/>
                        </a:lnTo>
                        <a:lnTo>
                          <a:pt x="1932" y="46"/>
                        </a:lnTo>
                        <a:lnTo>
                          <a:pt x="1932" y="46"/>
                        </a:lnTo>
                        <a:lnTo>
                          <a:pt x="1922" y="42"/>
                        </a:lnTo>
                        <a:lnTo>
                          <a:pt x="1912" y="42"/>
                        </a:lnTo>
                        <a:lnTo>
                          <a:pt x="1898" y="42"/>
                        </a:lnTo>
                        <a:lnTo>
                          <a:pt x="1884" y="46"/>
                        </a:lnTo>
                        <a:lnTo>
                          <a:pt x="1866" y="48"/>
                        </a:lnTo>
                        <a:lnTo>
                          <a:pt x="1846" y="50"/>
                        </a:lnTo>
                        <a:lnTo>
                          <a:pt x="1822" y="52"/>
                        </a:lnTo>
                        <a:lnTo>
                          <a:pt x="1794" y="50"/>
                        </a:lnTo>
                        <a:lnTo>
                          <a:pt x="1794" y="50"/>
                        </a:lnTo>
                        <a:lnTo>
                          <a:pt x="1766" y="48"/>
                        </a:lnTo>
                        <a:lnTo>
                          <a:pt x="1744" y="48"/>
                        </a:lnTo>
                        <a:lnTo>
                          <a:pt x="1724" y="52"/>
                        </a:lnTo>
                        <a:lnTo>
                          <a:pt x="1708" y="54"/>
                        </a:lnTo>
                        <a:lnTo>
                          <a:pt x="1678" y="60"/>
                        </a:lnTo>
                        <a:lnTo>
                          <a:pt x="1660" y="60"/>
                        </a:lnTo>
                        <a:lnTo>
                          <a:pt x="1638" y="60"/>
                        </a:lnTo>
                        <a:lnTo>
                          <a:pt x="1638" y="60"/>
                        </a:lnTo>
                        <a:lnTo>
                          <a:pt x="1622" y="58"/>
                        </a:lnTo>
                        <a:lnTo>
                          <a:pt x="1616" y="56"/>
                        </a:lnTo>
                        <a:lnTo>
                          <a:pt x="1618" y="54"/>
                        </a:lnTo>
                        <a:lnTo>
                          <a:pt x="1628" y="52"/>
                        </a:lnTo>
                        <a:lnTo>
                          <a:pt x="1692" y="46"/>
                        </a:lnTo>
                        <a:lnTo>
                          <a:pt x="1692" y="46"/>
                        </a:lnTo>
                        <a:lnTo>
                          <a:pt x="1734" y="44"/>
                        </a:lnTo>
                        <a:lnTo>
                          <a:pt x="1794" y="42"/>
                        </a:lnTo>
                        <a:lnTo>
                          <a:pt x="1852" y="38"/>
                        </a:lnTo>
                        <a:lnTo>
                          <a:pt x="1894" y="34"/>
                        </a:lnTo>
                        <a:lnTo>
                          <a:pt x="1894" y="34"/>
                        </a:lnTo>
                        <a:lnTo>
                          <a:pt x="1900" y="32"/>
                        </a:lnTo>
                        <a:lnTo>
                          <a:pt x="1902" y="32"/>
                        </a:lnTo>
                        <a:lnTo>
                          <a:pt x="1902" y="30"/>
                        </a:lnTo>
                        <a:lnTo>
                          <a:pt x="1898" y="28"/>
                        </a:lnTo>
                        <a:lnTo>
                          <a:pt x="1882" y="24"/>
                        </a:lnTo>
                        <a:lnTo>
                          <a:pt x="1858" y="20"/>
                        </a:lnTo>
                        <a:lnTo>
                          <a:pt x="1798" y="12"/>
                        </a:lnTo>
                        <a:lnTo>
                          <a:pt x="1732" y="6"/>
                        </a:lnTo>
                        <a:lnTo>
                          <a:pt x="1732" y="6"/>
                        </a:lnTo>
                        <a:lnTo>
                          <a:pt x="1686" y="2"/>
                        </a:lnTo>
                        <a:lnTo>
                          <a:pt x="1648" y="0"/>
                        </a:lnTo>
                        <a:lnTo>
                          <a:pt x="1618" y="2"/>
                        </a:lnTo>
                        <a:lnTo>
                          <a:pt x="1594" y="2"/>
                        </a:lnTo>
                        <a:lnTo>
                          <a:pt x="1552" y="6"/>
                        </a:lnTo>
                        <a:lnTo>
                          <a:pt x="1528" y="8"/>
                        </a:lnTo>
                        <a:lnTo>
                          <a:pt x="1504" y="6"/>
                        </a:lnTo>
                        <a:lnTo>
                          <a:pt x="1504" y="6"/>
                        </a:lnTo>
                        <a:lnTo>
                          <a:pt x="1480" y="6"/>
                        </a:lnTo>
                        <a:lnTo>
                          <a:pt x="1466" y="8"/>
                        </a:lnTo>
                        <a:lnTo>
                          <a:pt x="1460" y="10"/>
                        </a:lnTo>
                        <a:lnTo>
                          <a:pt x="1458" y="14"/>
                        </a:lnTo>
                        <a:lnTo>
                          <a:pt x="1458" y="16"/>
                        </a:lnTo>
                        <a:lnTo>
                          <a:pt x="1458" y="18"/>
                        </a:lnTo>
                        <a:lnTo>
                          <a:pt x="1452" y="18"/>
                        </a:lnTo>
                        <a:lnTo>
                          <a:pt x="1442" y="16"/>
                        </a:lnTo>
                        <a:lnTo>
                          <a:pt x="1442" y="16"/>
                        </a:lnTo>
                        <a:lnTo>
                          <a:pt x="1420" y="12"/>
                        </a:lnTo>
                        <a:lnTo>
                          <a:pt x="1410" y="14"/>
                        </a:lnTo>
                        <a:lnTo>
                          <a:pt x="1400" y="16"/>
                        </a:lnTo>
                        <a:lnTo>
                          <a:pt x="1384" y="18"/>
                        </a:lnTo>
                        <a:lnTo>
                          <a:pt x="1384" y="18"/>
                        </a:lnTo>
                        <a:lnTo>
                          <a:pt x="1374" y="18"/>
                        </a:lnTo>
                        <a:lnTo>
                          <a:pt x="1368" y="20"/>
                        </a:lnTo>
                        <a:lnTo>
                          <a:pt x="1366" y="24"/>
                        </a:lnTo>
                        <a:lnTo>
                          <a:pt x="1366" y="28"/>
                        </a:lnTo>
                        <a:lnTo>
                          <a:pt x="1370" y="32"/>
                        </a:lnTo>
                        <a:lnTo>
                          <a:pt x="1378" y="36"/>
                        </a:lnTo>
                        <a:lnTo>
                          <a:pt x="1388" y="40"/>
                        </a:lnTo>
                        <a:lnTo>
                          <a:pt x="1402" y="44"/>
                        </a:lnTo>
                        <a:lnTo>
                          <a:pt x="1402" y="44"/>
                        </a:lnTo>
                        <a:lnTo>
                          <a:pt x="1412" y="46"/>
                        </a:lnTo>
                        <a:lnTo>
                          <a:pt x="1416" y="46"/>
                        </a:lnTo>
                        <a:lnTo>
                          <a:pt x="1412" y="48"/>
                        </a:lnTo>
                        <a:lnTo>
                          <a:pt x="1406" y="50"/>
                        </a:lnTo>
                        <a:lnTo>
                          <a:pt x="1386" y="52"/>
                        </a:lnTo>
                        <a:lnTo>
                          <a:pt x="1378" y="54"/>
                        </a:lnTo>
                        <a:lnTo>
                          <a:pt x="1372" y="56"/>
                        </a:lnTo>
                        <a:lnTo>
                          <a:pt x="1372" y="56"/>
                        </a:lnTo>
                        <a:lnTo>
                          <a:pt x="1356" y="62"/>
                        </a:lnTo>
                        <a:lnTo>
                          <a:pt x="1332" y="64"/>
                        </a:lnTo>
                        <a:lnTo>
                          <a:pt x="1318" y="66"/>
                        </a:lnTo>
                        <a:lnTo>
                          <a:pt x="1304" y="64"/>
                        </a:lnTo>
                        <a:lnTo>
                          <a:pt x="1290" y="62"/>
                        </a:lnTo>
                        <a:lnTo>
                          <a:pt x="1278" y="56"/>
                        </a:lnTo>
                        <a:lnTo>
                          <a:pt x="1278" y="56"/>
                        </a:lnTo>
                        <a:lnTo>
                          <a:pt x="1254" y="46"/>
                        </a:lnTo>
                        <a:lnTo>
                          <a:pt x="1242" y="42"/>
                        </a:lnTo>
                        <a:lnTo>
                          <a:pt x="1228" y="38"/>
                        </a:lnTo>
                        <a:lnTo>
                          <a:pt x="1212" y="36"/>
                        </a:lnTo>
                        <a:lnTo>
                          <a:pt x="1194" y="34"/>
                        </a:lnTo>
                        <a:lnTo>
                          <a:pt x="1176" y="36"/>
                        </a:lnTo>
                        <a:lnTo>
                          <a:pt x="1154" y="38"/>
                        </a:lnTo>
                        <a:lnTo>
                          <a:pt x="1154" y="38"/>
                        </a:lnTo>
                        <a:lnTo>
                          <a:pt x="1114" y="44"/>
                        </a:lnTo>
                        <a:lnTo>
                          <a:pt x="1078" y="48"/>
                        </a:lnTo>
                        <a:lnTo>
                          <a:pt x="1064" y="50"/>
                        </a:lnTo>
                        <a:lnTo>
                          <a:pt x="1054" y="54"/>
                        </a:lnTo>
                        <a:lnTo>
                          <a:pt x="1048" y="56"/>
                        </a:lnTo>
                        <a:lnTo>
                          <a:pt x="1048" y="58"/>
                        </a:lnTo>
                        <a:lnTo>
                          <a:pt x="1048" y="60"/>
                        </a:lnTo>
                        <a:lnTo>
                          <a:pt x="1048" y="60"/>
                        </a:lnTo>
                        <a:lnTo>
                          <a:pt x="1054" y="64"/>
                        </a:lnTo>
                        <a:lnTo>
                          <a:pt x="1062" y="66"/>
                        </a:lnTo>
                        <a:lnTo>
                          <a:pt x="1092" y="68"/>
                        </a:lnTo>
                        <a:lnTo>
                          <a:pt x="1128" y="66"/>
                        </a:lnTo>
                        <a:lnTo>
                          <a:pt x="1170" y="66"/>
                        </a:lnTo>
                        <a:lnTo>
                          <a:pt x="1170" y="66"/>
                        </a:lnTo>
                        <a:lnTo>
                          <a:pt x="1208" y="68"/>
                        </a:lnTo>
                        <a:lnTo>
                          <a:pt x="1246" y="72"/>
                        </a:lnTo>
                        <a:lnTo>
                          <a:pt x="1280" y="76"/>
                        </a:lnTo>
                        <a:lnTo>
                          <a:pt x="1314" y="82"/>
                        </a:lnTo>
                        <a:lnTo>
                          <a:pt x="1314" y="82"/>
                        </a:lnTo>
                        <a:lnTo>
                          <a:pt x="1326" y="86"/>
                        </a:lnTo>
                        <a:lnTo>
                          <a:pt x="1332" y="88"/>
                        </a:lnTo>
                        <a:lnTo>
                          <a:pt x="1332" y="90"/>
                        </a:lnTo>
                        <a:lnTo>
                          <a:pt x="1332" y="90"/>
                        </a:lnTo>
                        <a:lnTo>
                          <a:pt x="1326" y="92"/>
                        </a:lnTo>
                        <a:lnTo>
                          <a:pt x="1308" y="92"/>
                        </a:lnTo>
                        <a:lnTo>
                          <a:pt x="1294" y="90"/>
                        </a:lnTo>
                        <a:lnTo>
                          <a:pt x="1282" y="88"/>
                        </a:lnTo>
                        <a:lnTo>
                          <a:pt x="1282" y="88"/>
                        </a:lnTo>
                        <a:lnTo>
                          <a:pt x="1268" y="84"/>
                        </a:lnTo>
                        <a:lnTo>
                          <a:pt x="1252" y="82"/>
                        </a:lnTo>
                        <a:lnTo>
                          <a:pt x="1214" y="78"/>
                        </a:lnTo>
                        <a:lnTo>
                          <a:pt x="1110" y="74"/>
                        </a:lnTo>
                        <a:lnTo>
                          <a:pt x="1110" y="74"/>
                        </a:lnTo>
                        <a:lnTo>
                          <a:pt x="1092" y="76"/>
                        </a:lnTo>
                        <a:lnTo>
                          <a:pt x="1090" y="76"/>
                        </a:lnTo>
                        <a:lnTo>
                          <a:pt x="1092" y="78"/>
                        </a:lnTo>
                        <a:lnTo>
                          <a:pt x="1106" y="84"/>
                        </a:lnTo>
                        <a:lnTo>
                          <a:pt x="1126" y="92"/>
                        </a:lnTo>
                        <a:lnTo>
                          <a:pt x="1148" y="100"/>
                        </a:lnTo>
                        <a:lnTo>
                          <a:pt x="1164" y="108"/>
                        </a:lnTo>
                        <a:lnTo>
                          <a:pt x="1168" y="110"/>
                        </a:lnTo>
                        <a:lnTo>
                          <a:pt x="1168" y="114"/>
                        </a:lnTo>
                        <a:lnTo>
                          <a:pt x="1164" y="116"/>
                        </a:lnTo>
                        <a:lnTo>
                          <a:pt x="1154" y="116"/>
                        </a:lnTo>
                        <a:lnTo>
                          <a:pt x="1154" y="116"/>
                        </a:lnTo>
                        <a:lnTo>
                          <a:pt x="1146" y="118"/>
                        </a:lnTo>
                        <a:lnTo>
                          <a:pt x="1142" y="120"/>
                        </a:lnTo>
                        <a:lnTo>
                          <a:pt x="1138" y="122"/>
                        </a:lnTo>
                        <a:lnTo>
                          <a:pt x="1138" y="126"/>
                        </a:lnTo>
                        <a:lnTo>
                          <a:pt x="1136" y="132"/>
                        </a:lnTo>
                        <a:lnTo>
                          <a:pt x="1138" y="140"/>
                        </a:lnTo>
                        <a:lnTo>
                          <a:pt x="1142" y="148"/>
                        </a:lnTo>
                        <a:lnTo>
                          <a:pt x="1142" y="156"/>
                        </a:lnTo>
                        <a:lnTo>
                          <a:pt x="1142" y="158"/>
                        </a:lnTo>
                        <a:lnTo>
                          <a:pt x="1140" y="160"/>
                        </a:lnTo>
                        <a:lnTo>
                          <a:pt x="1136" y="162"/>
                        </a:lnTo>
                        <a:lnTo>
                          <a:pt x="1132" y="164"/>
                        </a:lnTo>
                        <a:lnTo>
                          <a:pt x="1132" y="164"/>
                        </a:lnTo>
                        <a:lnTo>
                          <a:pt x="1122" y="164"/>
                        </a:lnTo>
                        <a:lnTo>
                          <a:pt x="1114" y="162"/>
                        </a:lnTo>
                        <a:lnTo>
                          <a:pt x="1108" y="158"/>
                        </a:lnTo>
                        <a:lnTo>
                          <a:pt x="1102" y="152"/>
                        </a:lnTo>
                        <a:lnTo>
                          <a:pt x="1094" y="146"/>
                        </a:lnTo>
                        <a:lnTo>
                          <a:pt x="1084" y="142"/>
                        </a:lnTo>
                        <a:lnTo>
                          <a:pt x="1070" y="136"/>
                        </a:lnTo>
                        <a:lnTo>
                          <a:pt x="1052" y="132"/>
                        </a:lnTo>
                        <a:lnTo>
                          <a:pt x="1052" y="132"/>
                        </a:lnTo>
                        <a:lnTo>
                          <a:pt x="1034" y="128"/>
                        </a:lnTo>
                        <a:lnTo>
                          <a:pt x="1016" y="124"/>
                        </a:lnTo>
                        <a:lnTo>
                          <a:pt x="986" y="114"/>
                        </a:lnTo>
                        <a:lnTo>
                          <a:pt x="954" y="104"/>
                        </a:lnTo>
                        <a:lnTo>
                          <a:pt x="936" y="100"/>
                        </a:lnTo>
                        <a:lnTo>
                          <a:pt x="916" y="98"/>
                        </a:lnTo>
                        <a:lnTo>
                          <a:pt x="916" y="98"/>
                        </a:lnTo>
                        <a:lnTo>
                          <a:pt x="896" y="98"/>
                        </a:lnTo>
                        <a:lnTo>
                          <a:pt x="884" y="100"/>
                        </a:lnTo>
                        <a:lnTo>
                          <a:pt x="876" y="102"/>
                        </a:lnTo>
                        <a:lnTo>
                          <a:pt x="874" y="104"/>
                        </a:lnTo>
                        <a:lnTo>
                          <a:pt x="874" y="106"/>
                        </a:lnTo>
                        <a:lnTo>
                          <a:pt x="876" y="112"/>
                        </a:lnTo>
                        <a:lnTo>
                          <a:pt x="884" y="118"/>
                        </a:lnTo>
                        <a:lnTo>
                          <a:pt x="914" y="138"/>
                        </a:lnTo>
                        <a:lnTo>
                          <a:pt x="914" y="138"/>
                        </a:lnTo>
                        <a:lnTo>
                          <a:pt x="926" y="146"/>
                        </a:lnTo>
                        <a:lnTo>
                          <a:pt x="928" y="148"/>
                        </a:lnTo>
                        <a:lnTo>
                          <a:pt x="928" y="150"/>
                        </a:lnTo>
                        <a:lnTo>
                          <a:pt x="922" y="150"/>
                        </a:lnTo>
                        <a:lnTo>
                          <a:pt x="912" y="148"/>
                        </a:lnTo>
                        <a:lnTo>
                          <a:pt x="900" y="148"/>
                        </a:lnTo>
                        <a:lnTo>
                          <a:pt x="888" y="148"/>
                        </a:lnTo>
                        <a:lnTo>
                          <a:pt x="884" y="148"/>
                        </a:lnTo>
                        <a:lnTo>
                          <a:pt x="882" y="150"/>
                        </a:lnTo>
                        <a:lnTo>
                          <a:pt x="882" y="154"/>
                        </a:lnTo>
                        <a:lnTo>
                          <a:pt x="884" y="158"/>
                        </a:lnTo>
                        <a:lnTo>
                          <a:pt x="884" y="158"/>
                        </a:lnTo>
                        <a:lnTo>
                          <a:pt x="886" y="160"/>
                        </a:lnTo>
                        <a:lnTo>
                          <a:pt x="886" y="162"/>
                        </a:lnTo>
                        <a:lnTo>
                          <a:pt x="878" y="160"/>
                        </a:lnTo>
                        <a:lnTo>
                          <a:pt x="866" y="156"/>
                        </a:lnTo>
                        <a:lnTo>
                          <a:pt x="850" y="150"/>
                        </a:lnTo>
                        <a:lnTo>
                          <a:pt x="834" y="148"/>
                        </a:lnTo>
                        <a:lnTo>
                          <a:pt x="824" y="148"/>
                        </a:lnTo>
                        <a:lnTo>
                          <a:pt x="814" y="148"/>
                        </a:lnTo>
                        <a:lnTo>
                          <a:pt x="806" y="152"/>
                        </a:lnTo>
                        <a:lnTo>
                          <a:pt x="796" y="156"/>
                        </a:lnTo>
                        <a:lnTo>
                          <a:pt x="788" y="164"/>
                        </a:lnTo>
                        <a:lnTo>
                          <a:pt x="782" y="172"/>
                        </a:lnTo>
                        <a:lnTo>
                          <a:pt x="782" y="172"/>
                        </a:lnTo>
                        <a:lnTo>
                          <a:pt x="770" y="190"/>
                        </a:lnTo>
                        <a:lnTo>
                          <a:pt x="772" y="180"/>
                        </a:lnTo>
                        <a:lnTo>
                          <a:pt x="776" y="168"/>
                        </a:lnTo>
                        <a:lnTo>
                          <a:pt x="776" y="154"/>
                        </a:lnTo>
                        <a:lnTo>
                          <a:pt x="774" y="138"/>
                        </a:lnTo>
                        <a:lnTo>
                          <a:pt x="772" y="132"/>
                        </a:lnTo>
                        <a:lnTo>
                          <a:pt x="766" y="124"/>
                        </a:lnTo>
                        <a:lnTo>
                          <a:pt x="766" y="124"/>
                        </a:lnTo>
                        <a:lnTo>
                          <a:pt x="756" y="114"/>
                        </a:lnTo>
                        <a:lnTo>
                          <a:pt x="746" y="108"/>
                        </a:lnTo>
                        <a:lnTo>
                          <a:pt x="732" y="108"/>
                        </a:lnTo>
                        <a:lnTo>
                          <a:pt x="716" y="110"/>
                        </a:lnTo>
                        <a:lnTo>
                          <a:pt x="672" y="120"/>
                        </a:lnTo>
                        <a:lnTo>
                          <a:pt x="640" y="126"/>
                        </a:lnTo>
                        <a:lnTo>
                          <a:pt x="598" y="130"/>
                        </a:lnTo>
                        <a:lnTo>
                          <a:pt x="598" y="130"/>
                        </a:lnTo>
                        <a:lnTo>
                          <a:pt x="558" y="136"/>
                        </a:lnTo>
                        <a:lnTo>
                          <a:pt x="526" y="140"/>
                        </a:lnTo>
                        <a:lnTo>
                          <a:pt x="502" y="146"/>
                        </a:lnTo>
                        <a:lnTo>
                          <a:pt x="484" y="152"/>
                        </a:lnTo>
                        <a:lnTo>
                          <a:pt x="472" y="156"/>
                        </a:lnTo>
                        <a:lnTo>
                          <a:pt x="466" y="164"/>
                        </a:lnTo>
                        <a:lnTo>
                          <a:pt x="466" y="166"/>
                        </a:lnTo>
                        <a:lnTo>
                          <a:pt x="466" y="170"/>
                        </a:lnTo>
                        <a:lnTo>
                          <a:pt x="470" y="176"/>
                        </a:lnTo>
                        <a:lnTo>
                          <a:pt x="470" y="17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grpSp>
            <p:sp>
              <p:nvSpPr>
                <p:cNvPr id="185" name="Freeform 6119"/>
                <p:cNvSpPr>
                  <a:spLocks/>
                </p:cNvSpPr>
                <p:nvPr/>
              </p:nvSpPr>
              <p:spPr bwMode="auto">
                <a:xfrm>
                  <a:off x="2402840" y="3076893"/>
                  <a:ext cx="17780" cy="27940"/>
                </a:xfrm>
                <a:custGeom>
                  <a:avLst/>
                  <a:gdLst/>
                  <a:ahLst/>
                  <a:cxnLst>
                    <a:cxn ang="0">
                      <a:pos x="22" y="36"/>
                    </a:cxn>
                    <a:cxn ang="0">
                      <a:pos x="22" y="36"/>
                    </a:cxn>
                    <a:cxn ang="0">
                      <a:pos x="26" y="32"/>
                    </a:cxn>
                    <a:cxn ang="0">
                      <a:pos x="28" y="28"/>
                    </a:cxn>
                    <a:cxn ang="0">
                      <a:pos x="26" y="22"/>
                    </a:cxn>
                    <a:cxn ang="0">
                      <a:pos x="20" y="16"/>
                    </a:cxn>
                    <a:cxn ang="0">
                      <a:pos x="20" y="16"/>
                    </a:cxn>
                    <a:cxn ang="0">
                      <a:pos x="16" y="10"/>
                    </a:cxn>
                    <a:cxn ang="0">
                      <a:pos x="14" y="4"/>
                    </a:cxn>
                    <a:cxn ang="0">
                      <a:pos x="14" y="0"/>
                    </a:cxn>
                    <a:cxn ang="0">
                      <a:pos x="10" y="0"/>
                    </a:cxn>
                    <a:cxn ang="0">
                      <a:pos x="10" y="0"/>
                    </a:cxn>
                    <a:cxn ang="0">
                      <a:pos x="6" y="0"/>
                    </a:cxn>
                    <a:cxn ang="0">
                      <a:pos x="6" y="4"/>
                    </a:cxn>
                    <a:cxn ang="0">
                      <a:pos x="6" y="12"/>
                    </a:cxn>
                    <a:cxn ang="0">
                      <a:pos x="2" y="20"/>
                    </a:cxn>
                    <a:cxn ang="0">
                      <a:pos x="2" y="20"/>
                    </a:cxn>
                    <a:cxn ang="0">
                      <a:pos x="0" y="28"/>
                    </a:cxn>
                    <a:cxn ang="0">
                      <a:pos x="2" y="32"/>
                    </a:cxn>
                    <a:cxn ang="0">
                      <a:pos x="6" y="36"/>
                    </a:cxn>
                    <a:cxn ang="0">
                      <a:pos x="12" y="42"/>
                    </a:cxn>
                    <a:cxn ang="0">
                      <a:pos x="12" y="42"/>
                    </a:cxn>
                    <a:cxn ang="0">
                      <a:pos x="16" y="44"/>
                    </a:cxn>
                    <a:cxn ang="0">
                      <a:pos x="18" y="42"/>
                    </a:cxn>
                    <a:cxn ang="0">
                      <a:pos x="22" y="36"/>
                    </a:cxn>
                    <a:cxn ang="0">
                      <a:pos x="22" y="36"/>
                    </a:cxn>
                  </a:cxnLst>
                  <a:rect l="0" t="0" r="r" b="b"/>
                  <a:pathLst>
                    <a:path w="28" h="44">
                      <a:moveTo>
                        <a:pt x="22" y="36"/>
                      </a:moveTo>
                      <a:lnTo>
                        <a:pt x="22" y="36"/>
                      </a:lnTo>
                      <a:lnTo>
                        <a:pt x="26" y="32"/>
                      </a:lnTo>
                      <a:lnTo>
                        <a:pt x="28" y="28"/>
                      </a:lnTo>
                      <a:lnTo>
                        <a:pt x="26" y="22"/>
                      </a:lnTo>
                      <a:lnTo>
                        <a:pt x="20" y="16"/>
                      </a:lnTo>
                      <a:lnTo>
                        <a:pt x="20" y="16"/>
                      </a:lnTo>
                      <a:lnTo>
                        <a:pt x="16" y="10"/>
                      </a:lnTo>
                      <a:lnTo>
                        <a:pt x="14" y="4"/>
                      </a:lnTo>
                      <a:lnTo>
                        <a:pt x="14" y="0"/>
                      </a:lnTo>
                      <a:lnTo>
                        <a:pt x="10" y="0"/>
                      </a:lnTo>
                      <a:lnTo>
                        <a:pt x="10" y="0"/>
                      </a:lnTo>
                      <a:lnTo>
                        <a:pt x="6" y="0"/>
                      </a:lnTo>
                      <a:lnTo>
                        <a:pt x="6" y="4"/>
                      </a:lnTo>
                      <a:lnTo>
                        <a:pt x="6" y="12"/>
                      </a:lnTo>
                      <a:lnTo>
                        <a:pt x="2" y="20"/>
                      </a:lnTo>
                      <a:lnTo>
                        <a:pt x="2" y="20"/>
                      </a:lnTo>
                      <a:lnTo>
                        <a:pt x="0" y="28"/>
                      </a:lnTo>
                      <a:lnTo>
                        <a:pt x="2" y="32"/>
                      </a:lnTo>
                      <a:lnTo>
                        <a:pt x="6" y="36"/>
                      </a:lnTo>
                      <a:lnTo>
                        <a:pt x="12" y="42"/>
                      </a:lnTo>
                      <a:lnTo>
                        <a:pt x="12" y="42"/>
                      </a:lnTo>
                      <a:lnTo>
                        <a:pt x="16" y="44"/>
                      </a:lnTo>
                      <a:lnTo>
                        <a:pt x="18" y="42"/>
                      </a:lnTo>
                      <a:lnTo>
                        <a:pt x="22" y="36"/>
                      </a:lnTo>
                      <a:lnTo>
                        <a:pt x="22" y="3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6" name="Freeform 6120"/>
                <p:cNvSpPr>
                  <a:spLocks/>
                </p:cNvSpPr>
                <p:nvPr/>
              </p:nvSpPr>
              <p:spPr bwMode="auto">
                <a:xfrm>
                  <a:off x="2655570" y="3485833"/>
                  <a:ext cx="5080" cy="10160"/>
                </a:xfrm>
                <a:custGeom>
                  <a:avLst/>
                  <a:gdLst/>
                  <a:ahLst/>
                  <a:cxnLst>
                    <a:cxn ang="0">
                      <a:pos x="2" y="6"/>
                    </a:cxn>
                    <a:cxn ang="0">
                      <a:pos x="2" y="6"/>
                    </a:cxn>
                    <a:cxn ang="0">
                      <a:pos x="4" y="10"/>
                    </a:cxn>
                    <a:cxn ang="0">
                      <a:pos x="6" y="16"/>
                    </a:cxn>
                    <a:cxn ang="0">
                      <a:pos x="6" y="16"/>
                    </a:cxn>
                    <a:cxn ang="0">
                      <a:pos x="6" y="16"/>
                    </a:cxn>
                    <a:cxn ang="0">
                      <a:pos x="8" y="16"/>
                    </a:cxn>
                    <a:cxn ang="0">
                      <a:pos x="8" y="12"/>
                    </a:cxn>
                    <a:cxn ang="0">
                      <a:pos x="8" y="6"/>
                    </a:cxn>
                    <a:cxn ang="0">
                      <a:pos x="8" y="4"/>
                    </a:cxn>
                    <a:cxn ang="0">
                      <a:pos x="6" y="2"/>
                    </a:cxn>
                    <a:cxn ang="0">
                      <a:pos x="6" y="2"/>
                    </a:cxn>
                    <a:cxn ang="0">
                      <a:pos x="2" y="0"/>
                    </a:cxn>
                    <a:cxn ang="0">
                      <a:pos x="0" y="2"/>
                    </a:cxn>
                    <a:cxn ang="0">
                      <a:pos x="0" y="4"/>
                    </a:cxn>
                    <a:cxn ang="0">
                      <a:pos x="2" y="6"/>
                    </a:cxn>
                    <a:cxn ang="0">
                      <a:pos x="2" y="6"/>
                    </a:cxn>
                  </a:cxnLst>
                  <a:rect l="0" t="0" r="r" b="b"/>
                  <a:pathLst>
                    <a:path w="8" h="16">
                      <a:moveTo>
                        <a:pt x="2" y="6"/>
                      </a:moveTo>
                      <a:lnTo>
                        <a:pt x="2" y="6"/>
                      </a:lnTo>
                      <a:lnTo>
                        <a:pt x="4" y="10"/>
                      </a:lnTo>
                      <a:lnTo>
                        <a:pt x="6" y="16"/>
                      </a:lnTo>
                      <a:lnTo>
                        <a:pt x="6" y="16"/>
                      </a:lnTo>
                      <a:lnTo>
                        <a:pt x="6" y="16"/>
                      </a:lnTo>
                      <a:lnTo>
                        <a:pt x="8" y="16"/>
                      </a:lnTo>
                      <a:lnTo>
                        <a:pt x="8" y="12"/>
                      </a:lnTo>
                      <a:lnTo>
                        <a:pt x="8" y="6"/>
                      </a:lnTo>
                      <a:lnTo>
                        <a:pt x="8" y="4"/>
                      </a:lnTo>
                      <a:lnTo>
                        <a:pt x="6" y="2"/>
                      </a:lnTo>
                      <a:lnTo>
                        <a:pt x="6" y="2"/>
                      </a:lnTo>
                      <a:lnTo>
                        <a:pt x="2" y="0"/>
                      </a:lnTo>
                      <a:lnTo>
                        <a:pt x="0" y="2"/>
                      </a:lnTo>
                      <a:lnTo>
                        <a:pt x="0" y="4"/>
                      </a:lnTo>
                      <a:lnTo>
                        <a:pt x="2" y="6"/>
                      </a:lnTo>
                      <a:lnTo>
                        <a:pt x="2"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7" name="Freeform 6121"/>
                <p:cNvSpPr>
                  <a:spLocks/>
                </p:cNvSpPr>
                <p:nvPr/>
              </p:nvSpPr>
              <p:spPr bwMode="auto">
                <a:xfrm>
                  <a:off x="2503170" y="3153093"/>
                  <a:ext cx="13970" cy="20320"/>
                </a:xfrm>
                <a:custGeom>
                  <a:avLst/>
                  <a:gdLst/>
                  <a:ahLst/>
                  <a:cxnLst>
                    <a:cxn ang="0">
                      <a:pos x="6" y="0"/>
                    </a:cxn>
                    <a:cxn ang="0">
                      <a:pos x="6" y="0"/>
                    </a:cxn>
                    <a:cxn ang="0">
                      <a:pos x="2" y="0"/>
                    </a:cxn>
                    <a:cxn ang="0">
                      <a:pos x="0" y="0"/>
                    </a:cxn>
                    <a:cxn ang="0">
                      <a:pos x="2" y="4"/>
                    </a:cxn>
                    <a:cxn ang="0">
                      <a:pos x="6" y="8"/>
                    </a:cxn>
                    <a:cxn ang="0">
                      <a:pos x="8" y="10"/>
                    </a:cxn>
                    <a:cxn ang="0">
                      <a:pos x="10" y="10"/>
                    </a:cxn>
                    <a:cxn ang="0">
                      <a:pos x="10" y="10"/>
                    </a:cxn>
                    <a:cxn ang="0">
                      <a:pos x="14" y="10"/>
                    </a:cxn>
                    <a:cxn ang="0">
                      <a:pos x="16" y="12"/>
                    </a:cxn>
                    <a:cxn ang="0">
                      <a:pos x="16" y="16"/>
                    </a:cxn>
                    <a:cxn ang="0">
                      <a:pos x="12" y="22"/>
                    </a:cxn>
                    <a:cxn ang="0">
                      <a:pos x="12" y="22"/>
                    </a:cxn>
                    <a:cxn ang="0">
                      <a:pos x="8" y="28"/>
                    </a:cxn>
                    <a:cxn ang="0">
                      <a:pos x="6" y="32"/>
                    </a:cxn>
                    <a:cxn ang="0">
                      <a:pos x="6" y="32"/>
                    </a:cxn>
                    <a:cxn ang="0">
                      <a:pos x="6" y="32"/>
                    </a:cxn>
                    <a:cxn ang="0">
                      <a:pos x="12" y="28"/>
                    </a:cxn>
                    <a:cxn ang="0">
                      <a:pos x="12" y="28"/>
                    </a:cxn>
                    <a:cxn ang="0">
                      <a:pos x="18" y="22"/>
                    </a:cxn>
                    <a:cxn ang="0">
                      <a:pos x="20" y="18"/>
                    </a:cxn>
                    <a:cxn ang="0">
                      <a:pos x="22" y="12"/>
                    </a:cxn>
                    <a:cxn ang="0">
                      <a:pos x="20" y="6"/>
                    </a:cxn>
                    <a:cxn ang="0">
                      <a:pos x="20" y="6"/>
                    </a:cxn>
                    <a:cxn ang="0">
                      <a:pos x="20" y="2"/>
                    </a:cxn>
                    <a:cxn ang="0">
                      <a:pos x="18" y="2"/>
                    </a:cxn>
                    <a:cxn ang="0">
                      <a:pos x="12" y="2"/>
                    </a:cxn>
                    <a:cxn ang="0">
                      <a:pos x="6" y="0"/>
                    </a:cxn>
                    <a:cxn ang="0">
                      <a:pos x="6" y="0"/>
                    </a:cxn>
                  </a:cxnLst>
                  <a:rect l="0" t="0" r="r" b="b"/>
                  <a:pathLst>
                    <a:path w="22" h="32">
                      <a:moveTo>
                        <a:pt x="6" y="0"/>
                      </a:moveTo>
                      <a:lnTo>
                        <a:pt x="6" y="0"/>
                      </a:lnTo>
                      <a:lnTo>
                        <a:pt x="2" y="0"/>
                      </a:lnTo>
                      <a:lnTo>
                        <a:pt x="0" y="0"/>
                      </a:lnTo>
                      <a:lnTo>
                        <a:pt x="2" y="4"/>
                      </a:lnTo>
                      <a:lnTo>
                        <a:pt x="6" y="8"/>
                      </a:lnTo>
                      <a:lnTo>
                        <a:pt x="8" y="10"/>
                      </a:lnTo>
                      <a:lnTo>
                        <a:pt x="10" y="10"/>
                      </a:lnTo>
                      <a:lnTo>
                        <a:pt x="10" y="10"/>
                      </a:lnTo>
                      <a:lnTo>
                        <a:pt x="14" y="10"/>
                      </a:lnTo>
                      <a:lnTo>
                        <a:pt x="16" y="12"/>
                      </a:lnTo>
                      <a:lnTo>
                        <a:pt x="16" y="16"/>
                      </a:lnTo>
                      <a:lnTo>
                        <a:pt x="12" y="22"/>
                      </a:lnTo>
                      <a:lnTo>
                        <a:pt x="12" y="22"/>
                      </a:lnTo>
                      <a:lnTo>
                        <a:pt x="8" y="28"/>
                      </a:lnTo>
                      <a:lnTo>
                        <a:pt x="6" y="32"/>
                      </a:lnTo>
                      <a:lnTo>
                        <a:pt x="6" y="32"/>
                      </a:lnTo>
                      <a:lnTo>
                        <a:pt x="6" y="32"/>
                      </a:lnTo>
                      <a:lnTo>
                        <a:pt x="12" y="28"/>
                      </a:lnTo>
                      <a:lnTo>
                        <a:pt x="12" y="28"/>
                      </a:lnTo>
                      <a:lnTo>
                        <a:pt x="18" y="22"/>
                      </a:lnTo>
                      <a:lnTo>
                        <a:pt x="20" y="18"/>
                      </a:lnTo>
                      <a:lnTo>
                        <a:pt x="22" y="12"/>
                      </a:lnTo>
                      <a:lnTo>
                        <a:pt x="20" y="6"/>
                      </a:lnTo>
                      <a:lnTo>
                        <a:pt x="20" y="6"/>
                      </a:lnTo>
                      <a:lnTo>
                        <a:pt x="20" y="2"/>
                      </a:lnTo>
                      <a:lnTo>
                        <a:pt x="18" y="2"/>
                      </a:lnTo>
                      <a:lnTo>
                        <a:pt x="12" y="2"/>
                      </a:lnTo>
                      <a:lnTo>
                        <a:pt x="6" y="0"/>
                      </a:lnTo>
                      <a:lnTo>
                        <a:pt x="6"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8" name="Freeform 6122"/>
                <p:cNvSpPr>
                  <a:spLocks/>
                </p:cNvSpPr>
                <p:nvPr/>
              </p:nvSpPr>
              <p:spPr bwMode="auto">
                <a:xfrm>
                  <a:off x="2520950" y="3201353"/>
                  <a:ext cx="17780" cy="12700"/>
                </a:xfrm>
                <a:custGeom>
                  <a:avLst/>
                  <a:gdLst/>
                  <a:ahLst/>
                  <a:cxnLst>
                    <a:cxn ang="0">
                      <a:pos x="24" y="4"/>
                    </a:cxn>
                    <a:cxn ang="0">
                      <a:pos x="24" y="4"/>
                    </a:cxn>
                    <a:cxn ang="0">
                      <a:pos x="22" y="6"/>
                    </a:cxn>
                    <a:cxn ang="0">
                      <a:pos x="20" y="8"/>
                    </a:cxn>
                    <a:cxn ang="0">
                      <a:pos x="16" y="6"/>
                    </a:cxn>
                    <a:cxn ang="0">
                      <a:pos x="10" y="6"/>
                    </a:cxn>
                    <a:cxn ang="0">
                      <a:pos x="6" y="8"/>
                    </a:cxn>
                    <a:cxn ang="0">
                      <a:pos x="2" y="14"/>
                    </a:cxn>
                    <a:cxn ang="0">
                      <a:pos x="2" y="14"/>
                    </a:cxn>
                    <a:cxn ang="0">
                      <a:pos x="0" y="16"/>
                    </a:cxn>
                    <a:cxn ang="0">
                      <a:pos x="0" y="20"/>
                    </a:cxn>
                    <a:cxn ang="0">
                      <a:pos x="4" y="20"/>
                    </a:cxn>
                    <a:cxn ang="0">
                      <a:pos x="14" y="20"/>
                    </a:cxn>
                    <a:cxn ang="0">
                      <a:pos x="14" y="20"/>
                    </a:cxn>
                    <a:cxn ang="0">
                      <a:pos x="20" y="16"/>
                    </a:cxn>
                    <a:cxn ang="0">
                      <a:pos x="24" y="14"/>
                    </a:cxn>
                    <a:cxn ang="0">
                      <a:pos x="26" y="10"/>
                    </a:cxn>
                    <a:cxn ang="0">
                      <a:pos x="28" y="6"/>
                    </a:cxn>
                    <a:cxn ang="0">
                      <a:pos x="26" y="0"/>
                    </a:cxn>
                    <a:cxn ang="0">
                      <a:pos x="26" y="0"/>
                    </a:cxn>
                    <a:cxn ang="0">
                      <a:pos x="24" y="4"/>
                    </a:cxn>
                    <a:cxn ang="0">
                      <a:pos x="24" y="4"/>
                    </a:cxn>
                  </a:cxnLst>
                  <a:rect l="0" t="0" r="r" b="b"/>
                  <a:pathLst>
                    <a:path w="28" h="20">
                      <a:moveTo>
                        <a:pt x="24" y="4"/>
                      </a:moveTo>
                      <a:lnTo>
                        <a:pt x="24" y="4"/>
                      </a:lnTo>
                      <a:lnTo>
                        <a:pt x="22" y="6"/>
                      </a:lnTo>
                      <a:lnTo>
                        <a:pt x="20" y="8"/>
                      </a:lnTo>
                      <a:lnTo>
                        <a:pt x="16" y="6"/>
                      </a:lnTo>
                      <a:lnTo>
                        <a:pt x="10" y="6"/>
                      </a:lnTo>
                      <a:lnTo>
                        <a:pt x="6" y="8"/>
                      </a:lnTo>
                      <a:lnTo>
                        <a:pt x="2" y="14"/>
                      </a:lnTo>
                      <a:lnTo>
                        <a:pt x="2" y="14"/>
                      </a:lnTo>
                      <a:lnTo>
                        <a:pt x="0" y="16"/>
                      </a:lnTo>
                      <a:lnTo>
                        <a:pt x="0" y="20"/>
                      </a:lnTo>
                      <a:lnTo>
                        <a:pt x="4" y="20"/>
                      </a:lnTo>
                      <a:lnTo>
                        <a:pt x="14" y="20"/>
                      </a:lnTo>
                      <a:lnTo>
                        <a:pt x="14" y="20"/>
                      </a:lnTo>
                      <a:lnTo>
                        <a:pt x="20" y="16"/>
                      </a:lnTo>
                      <a:lnTo>
                        <a:pt x="24" y="14"/>
                      </a:lnTo>
                      <a:lnTo>
                        <a:pt x="26" y="10"/>
                      </a:lnTo>
                      <a:lnTo>
                        <a:pt x="28" y="6"/>
                      </a:lnTo>
                      <a:lnTo>
                        <a:pt x="26" y="0"/>
                      </a:lnTo>
                      <a:lnTo>
                        <a:pt x="26" y="0"/>
                      </a:lnTo>
                      <a:lnTo>
                        <a:pt x="24" y="4"/>
                      </a:lnTo>
                      <a:lnTo>
                        <a:pt x="24"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89" name="Freeform 6123"/>
                <p:cNvSpPr>
                  <a:spLocks/>
                </p:cNvSpPr>
                <p:nvPr/>
              </p:nvSpPr>
              <p:spPr bwMode="auto">
                <a:xfrm>
                  <a:off x="2531110" y="3276283"/>
                  <a:ext cx="12700" cy="7620"/>
                </a:xfrm>
                <a:custGeom>
                  <a:avLst/>
                  <a:gdLst/>
                  <a:ahLst/>
                  <a:cxnLst>
                    <a:cxn ang="0">
                      <a:pos x="20" y="10"/>
                    </a:cxn>
                    <a:cxn ang="0">
                      <a:pos x="20" y="10"/>
                    </a:cxn>
                    <a:cxn ang="0">
                      <a:pos x="18" y="8"/>
                    </a:cxn>
                    <a:cxn ang="0">
                      <a:pos x="16" y="4"/>
                    </a:cxn>
                    <a:cxn ang="0">
                      <a:pos x="10" y="0"/>
                    </a:cxn>
                    <a:cxn ang="0">
                      <a:pos x="2" y="0"/>
                    </a:cxn>
                    <a:cxn ang="0">
                      <a:pos x="0" y="0"/>
                    </a:cxn>
                    <a:cxn ang="0">
                      <a:pos x="0" y="2"/>
                    </a:cxn>
                    <a:cxn ang="0">
                      <a:pos x="0" y="2"/>
                    </a:cxn>
                    <a:cxn ang="0">
                      <a:pos x="2" y="6"/>
                    </a:cxn>
                    <a:cxn ang="0">
                      <a:pos x="8" y="10"/>
                    </a:cxn>
                    <a:cxn ang="0">
                      <a:pos x="16" y="12"/>
                    </a:cxn>
                    <a:cxn ang="0">
                      <a:pos x="18" y="12"/>
                    </a:cxn>
                    <a:cxn ang="0">
                      <a:pos x="20" y="10"/>
                    </a:cxn>
                    <a:cxn ang="0">
                      <a:pos x="20" y="10"/>
                    </a:cxn>
                  </a:cxnLst>
                  <a:rect l="0" t="0" r="r" b="b"/>
                  <a:pathLst>
                    <a:path w="20" h="12">
                      <a:moveTo>
                        <a:pt x="20" y="10"/>
                      </a:moveTo>
                      <a:lnTo>
                        <a:pt x="20" y="10"/>
                      </a:lnTo>
                      <a:lnTo>
                        <a:pt x="18" y="8"/>
                      </a:lnTo>
                      <a:lnTo>
                        <a:pt x="16" y="4"/>
                      </a:lnTo>
                      <a:lnTo>
                        <a:pt x="10" y="0"/>
                      </a:lnTo>
                      <a:lnTo>
                        <a:pt x="2" y="0"/>
                      </a:lnTo>
                      <a:lnTo>
                        <a:pt x="0" y="0"/>
                      </a:lnTo>
                      <a:lnTo>
                        <a:pt x="0" y="2"/>
                      </a:lnTo>
                      <a:lnTo>
                        <a:pt x="0" y="2"/>
                      </a:lnTo>
                      <a:lnTo>
                        <a:pt x="2" y="6"/>
                      </a:lnTo>
                      <a:lnTo>
                        <a:pt x="8" y="10"/>
                      </a:lnTo>
                      <a:lnTo>
                        <a:pt x="16" y="12"/>
                      </a:lnTo>
                      <a:lnTo>
                        <a:pt x="18" y="12"/>
                      </a:lnTo>
                      <a:lnTo>
                        <a:pt x="20" y="10"/>
                      </a:lnTo>
                      <a:lnTo>
                        <a:pt x="20" y="1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0" name="Freeform 6124"/>
                <p:cNvSpPr>
                  <a:spLocks/>
                </p:cNvSpPr>
                <p:nvPr/>
              </p:nvSpPr>
              <p:spPr bwMode="auto">
                <a:xfrm>
                  <a:off x="2413000" y="3019743"/>
                  <a:ext cx="22860" cy="34290"/>
                </a:xfrm>
                <a:custGeom>
                  <a:avLst/>
                  <a:gdLst/>
                  <a:ahLst/>
                  <a:cxnLst>
                    <a:cxn ang="0">
                      <a:pos x="34" y="36"/>
                    </a:cxn>
                    <a:cxn ang="0">
                      <a:pos x="34" y="36"/>
                    </a:cxn>
                    <a:cxn ang="0">
                      <a:pos x="36" y="32"/>
                    </a:cxn>
                    <a:cxn ang="0">
                      <a:pos x="36" y="26"/>
                    </a:cxn>
                    <a:cxn ang="0">
                      <a:pos x="34" y="22"/>
                    </a:cxn>
                    <a:cxn ang="0">
                      <a:pos x="30" y="18"/>
                    </a:cxn>
                    <a:cxn ang="0">
                      <a:pos x="30" y="18"/>
                    </a:cxn>
                    <a:cxn ang="0">
                      <a:pos x="26" y="14"/>
                    </a:cxn>
                    <a:cxn ang="0">
                      <a:pos x="22" y="8"/>
                    </a:cxn>
                    <a:cxn ang="0">
                      <a:pos x="16" y="2"/>
                    </a:cxn>
                    <a:cxn ang="0">
                      <a:pos x="8" y="0"/>
                    </a:cxn>
                    <a:cxn ang="0">
                      <a:pos x="8" y="0"/>
                    </a:cxn>
                    <a:cxn ang="0">
                      <a:pos x="2" y="0"/>
                    </a:cxn>
                    <a:cxn ang="0">
                      <a:pos x="0" y="0"/>
                    </a:cxn>
                    <a:cxn ang="0">
                      <a:pos x="2" y="2"/>
                    </a:cxn>
                    <a:cxn ang="0">
                      <a:pos x="12" y="4"/>
                    </a:cxn>
                    <a:cxn ang="0">
                      <a:pos x="12" y="4"/>
                    </a:cxn>
                    <a:cxn ang="0">
                      <a:pos x="16" y="6"/>
                    </a:cxn>
                    <a:cxn ang="0">
                      <a:pos x="18" y="10"/>
                    </a:cxn>
                    <a:cxn ang="0">
                      <a:pos x="20" y="14"/>
                    </a:cxn>
                    <a:cxn ang="0">
                      <a:pos x="26" y="18"/>
                    </a:cxn>
                    <a:cxn ang="0">
                      <a:pos x="26" y="18"/>
                    </a:cxn>
                    <a:cxn ang="0">
                      <a:pos x="30" y="22"/>
                    </a:cxn>
                    <a:cxn ang="0">
                      <a:pos x="30" y="24"/>
                    </a:cxn>
                    <a:cxn ang="0">
                      <a:pos x="28" y="30"/>
                    </a:cxn>
                    <a:cxn ang="0">
                      <a:pos x="26" y="36"/>
                    </a:cxn>
                    <a:cxn ang="0">
                      <a:pos x="26" y="36"/>
                    </a:cxn>
                    <a:cxn ang="0">
                      <a:pos x="26" y="40"/>
                    </a:cxn>
                    <a:cxn ang="0">
                      <a:pos x="24" y="44"/>
                    </a:cxn>
                    <a:cxn ang="0">
                      <a:pos x="20" y="46"/>
                    </a:cxn>
                    <a:cxn ang="0">
                      <a:pos x="20" y="46"/>
                    </a:cxn>
                    <a:cxn ang="0">
                      <a:pos x="20" y="48"/>
                    </a:cxn>
                    <a:cxn ang="0">
                      <a:pos x="26" y="54"/>
                    </a:cxn>
                    <a:cxn ang="0">
                      <a:pos x="26" y="54"/>
                    </a:cxn>
                    <a:cxn ang="0">
                      <a:pos x="28" y="54"/>
                    </a:cxn>
                    <a:cxn ang="0">
                      <a:pos x="28" y="54"/>
                    </a:cxn>
                    <a:cxn ang="0">
                      <a:pos x="30" y="48"/>
                    </a:cxn>
                    <a:cxn ang="0">
                      <a:pos x="30" y="40"/>
                    </a:cxn>
                    <a:cxn ang="0">
                      <a:pos x="34" y="36"/>
                    </a:cxn>
                    <a:cxn ang="0">
                      <a:pos x="34" y="36"/>
                    </a:cxn>
                  </a:cxnLst>
                  <a:rect l="0" t="0" r="r" b="b"/>
                  <a:pathLst>
                    <a:path w="36" h="54">
                      <a:moveTo>
                        <a:pt x="34" y="36"/>
                      </a:moveTo>
                      <a:lnTo>
                        <a:pt x="34" y="36"/>
                      </a:lnTo>
                      <a:lnTo>
                        <a:pt x="36" y="32"/>
                      </a:lnTo>
                      <a:lnTo>
                        <a:pt x="36" y="26"/>
                      </a:lnTo>
                      <a:lnTo>
                        <a:pt x="34" y="22"/>
                      </a:lnTo>
                      <a:lnTo>
                        <a:pt x="30" y="18"/>
                      </a:lnTo>
                      <a:lnTo>
                        <a:pt x="30" y="18"/>
                      </a:lnTo>
                      <a:lnTo>
                        <a:pt x="26" y="14"/>
                      </a:lnTo>
                      <a:lnTo>
                        <a:pt x="22" y="8"/>
                      </a:lnTo>
                      <a:lnTo>
                        <a:pt x="16" y="2"/>
                      </a:lnTo>
                      <a:lnTo>
                        <a:pt x="8" y="0"/>
                      </a:lnTo>
                      <a:lnTo>
                        <a:pt x="8" y="0"/>
                      </a:lnTo>
                      <a:lnTo>
                        <a:pt x="2" y="0"/>
                      </a:lnTo>
                      <a:lnTo>
                        <a:pt x="0" y="0"/>
                      </a:lnTo>
                      <a:lnTo>
                        <a:pt x="2" y="2"/>
                      </a:lnTo>
                      <a:lnTo>
                        <a:pt x="12" y="4"/>
                      </a:lnTo>
                      <a:lnTo>
                        <a:pt x="12" y="4"/>
                      </a:lnTo>
                      <a:lnTo>
                        <a:pt x="16" y="6"/>
                      </a:lnTo>
                      <a:lnTo>
                        <a:pt x="18" y="10"/>
                      </a:lnTo>
                      <a:lnTo>
                        <a:pt x="20" y="14"/>
                      </a:lnTo>
                      <a:lnTo>
                        <a:pt x="26" y="18"/>
                      </a:lnTo>
                      <a:lnTo>
                        <a:pt x="26" y="18"/>
                      </a:lnTo>
                      <a:lnTo>
                        <a:pt x="30" y="22"/>
                      </a:lnTo>
                      <a:lnTo>
                        <a:pt x="30" y="24"/>
                      </a:lnTo>
                      <a:lnTo>
                        <a:pt x="28" y="30"/>
                      </a:lnTo>
                      <a:lnTo>
                        <a:pt x="26" y="36"/>
                      </a:lnTo>
                      <a:lnTo>
                        <a:pt x="26" y="36"/>
                      </a:lnTo>
                      <a:lnTo>
                        <a:pt x="26" y="40"/>
                      </a:lnTo>
                      <a:lnTo>
                        <a:pt x="24" y="44"/>
                      </a:lnTo>
                      <a:lnTo>
                        <a:pt x="20" y="46"/>
                      </a:lnTo>
                      <a:lnTo>
                        <a:pt x="20" y="46"/>
                      </a:lnTo>
                      <a:lnTo>
                        <a:pt x="20" y="48"/>
                      </a:lnTo>
                      <a:lnTo>
                        <a:pt x="26" y="54"/>
                      </a:lnTo>
                      <a:lnTo>
                        <a:pt x="26" y="54"/>
                      </a:lnTo>
                      <a:lnTo>
                        <a:pt x="28" y="54"/>
                      </a:lnTo>
                      <a:lnTo>
                        <a:pt x="28" y="54"/>
                      </a:lnTo>
                      <a:lnTo>
                        <a:pt x="30" y="48"/>
                      </a:lnTo>
                      <a:lnTo>
                        <a:pt x="30" y="40"/>
                      </a:lnTo>
                      <a:lnTo>
                        <a:pt x="34" y="36"/>
                      </a:lnTo>
                      <a:lnTo>
                        <a:pt x="34" y="3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1" name="Freeform 6125"/>
                <p:cNvSpPr>
                  <a:spLocks/>
                </p:cNvSpPr>
                <p:nvPr/>
              </p:nvSpPr>
              <p:spPr bwMode="auto">
                <a:xfrm>
                  <a:off x="2393950" y="3161983"/>
                  <a:ext cx="7620" cy="2540"/>
                </a:xfrm>
                <a:custGeom>
                  <a:avLst/>
                  <a:gdLst/>
                  <a:ahLst/>
                  <a:cxnLst>
                    <a:cxn ang="0">
                      <a:pos x="4" y="4"/>
                    </a:cxn>
                    <a:cxn ang="0">
                      <a:pos x="4" y="4"/>
                    </a:cxn>
                    <a:cxn ang="0">
                      <a:pos x="8" y="4"/>
                    </a:cxn>
                    <a:cxn ang="0">
                      <a:pos x="12" y="4"/>
                    </a:cxn>
                    <a:cxn ang="0">
                      <a:pos x="12" y="2"/>
                    </a:cxn>
                    <a:cxn ang="0">
                      <a:pos x="12" y="0"/>
                    </a:cxn>
                    <a:cxn ang="0">
                      <a:pos x="12" y="0"/>
                    </a:cxn>
                    <a:cxn ang="0">
                      <a:pos x="2" y="0"/>
                    </a:cxn>
                    <a:cxn ang="0">
                      <a:pos x="0" y="0"/>
                    </a:cxn>
                    <a:cxn ang="0">
                      <a:pos x="4" y="4"/>
                    </a:cxn>
                    <a:cxn ang="0">
                      <a:pos x="4" y="4"/>
                    </a:cxn>
                  </a:cxnLst>
                  <a:rect l="0" t="0" r="r" b="b"/>
                  <a:pathLst>
                    <a:path w="12" h="4">
                      <a:moveTo>
                        <a:pt x="4" y="4"/>
                      </a:moveTo>
                      <a:lnTo>
                        <a:pt x="4" y="4"/>
                      </a:lnTo>
                      <a:lnTo>
                        <a:pt x="8" y="4"/>
                      </a:lnTo>
                      <a:lnTo>
                        <a:pt x="12" y="4"/>
                      </a:lnTo>
                      <a:lnTo>
                        <a:pt x="12" y="2"/>
                      </a:lnTo>
                      <a:lnTo>
                        <a:pt x="12" y="0"/>
                      </a:lnTo>
                      <a:lnTo>
                        <a:pt x="12" y="0"/>
                      </a:lnTo>
                      <a:lnTo>
                        <a:pt x="2" y="0"/>
                      </a:lnTo>
                      <a:lnTo>
                        <a:pt x="0" y="0"/>
                      </a:lnTo>
                      <a:lnTo>
                        <a:pt x="4" y="4"/>
                      </a:lnTo>
                      <a:lnTo>
                        <a:pt x="4"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2" name="Freeform 6126"/>
                <p:cNvSpPr>
                  <a:spLocks/>
                </p:cNvSpPr>
                <p:nvPr/>
              </p:nvSpPr>
              <p:spPr bwMode="auto">
                <a:xfrm>
                  <a:off x="2414270" y="3106103"/>
                  <a:ext cx="11430" cy="16510"/>
                </a:xfrm>
                <a:custGeom>
                  <a:avLst/>
                  <a:gdLst/>
                  <a:ahLst/>
                  <a:cxnLst>
                    <a:cxn ang="0">
                      <a:pos x="12" y="26"/>
                    </a:cxn>
                    <a:cxn ang="0">
                      <a:pos x="12" y="26"/>
                    </a:cxn>
                    <a:cxn ang="0">
                      <a:pos x="16" y="24"/>
                    </a:cxn>
                    <a:cxn ang="0">
                      <a:pos x="18" y="22"/>
                    </a:cxn>
                    <a:cxn ang="0">
                      <a:pos x="18" y="16"/>
                    </a:cxn>
                    <a:cxn ang="0">
                      <a:pos x="14" y="6"/>
                    </a:cxn>
                    <a:cxn ang="0">
                      <a:pos x="14" y="6"/>
                    </a:cxn>
                    <a:cxn ang="0">
                      <a:pos x="12" y="0"/>
                    </a:cxn>
                    <a:cxn ang="0">
                      <a:pos x="12" y="0"/>
                    </a:cxn>
                    <a:cxn ang="0">
                      <a:pos x="12" y="0"/>
                    </a:cxn>
                    <a:cxn ang="0">
                      <a:pos x="10" y="4"/>
                    </a:cxn>
                    <a:cxn ang="0">
                      <a:pos x="8" y="4"/>
                    </a:cxn>
                    <a:cxn ang="0">
                      <a:pos x="6" y="2"/>
                    </a:cxn>
                    <a:cxn ang="0">
                      <a:pos x="6" y="2"/>
                    </a:cxn>
                    <a:cxn ang="0">
                      <a:pos x="4" y="0"/>
                    </a:cxn>
                    <a:cxn ang="0">
                      <a:pos x="2" y="0"/>
                    </a:cxn>
                    <a:cxn ang="0">
                      <a:pos x="0" y="6"/>
                    </a:cxn>
                    <a:cxn ang="0">
                      <a:pos x="0" y="12"/>
                    </a:cxn>
                    <a:cxn ang="0">
                      <a:pos x="4" y="20"/>
                    </a:cxn>
                    <a:cxn ang="0">
                      <a:pos x="4" y="20"/>
                    </a:cxn>
                    <a:cxn ang="0">
                      <a:pos x="8" y="24"/>
                    </a:cxn>
                    <a:cxn ang="0">
                      <a:pos x="8" y="26"/>
                    </a:cxn>
                    <a:cxn ang="0">
                      <a:pos x="12" y="26"/>
                    </a:cxn>
                    <a:cxn ang="0">
                      <a:pos x="12" y="26"/>
                    </a:cxn>
                  </a:cxnLst>
                  <a:rect l="0" t="0" r="r" b="b"/>
                  <a:pathLst>
                    <a:path w="18" h="26">
                      <a:moveTo>
                        <a:pt x="12" y="26"/>
                      </a:moveTo>
                      <a:lnTo>
                        <a:pt x="12" y="26"/>
                      </a:lnTo>
                      <a:lnTo>
                        <a:pt x="16" y="24"/>
                      </a:lnTo>
                      <a:lnTo>
                        <a:pt x="18" y="22"/>
                      </a:lnTo>
                      <a:lnTo>
                        <a:pt x="18" y="16"/>
                      </a:lnTo>
                      <a:lnTo>
                        <a:pt x="14" y="6"/>
                      </a:lnTo>
                      <a:lnTo>
                        <a:pt x="14" y="6"/>
                      </a:lnTo>
                      <a:lnTo>
                        <a:pt x="12" y="0"/>
                      </a:lnTo>
                      <a:lnTo>
                        <a:pt x="12" y="0"/>
                      </a:lnTo>
                      <a:lnTo>
                        <a:pt x="12" y="0"/>
                      </a:lnTo>
                      <a:lnTo>
                        <a:pt x="10" y="4"/>
                      </a:lnTo>
                      <a:lnTo>
                        <a:pt x="8" y="4"/>
                      </a:lnTo>
                      <a:lnTo>
                        <a:pt x="6" y="2"/>
                      </a:lnTo>
                      <a:lnTo>
                        <a:pt x="6" y="2"/>
                      </a:lnTo>
                      <a:lnTo>
                        <a:pt x="4" y="0"/>
                      </a:lnTo>
                      <a:lnTo>
                        <a:pt x="2" y="0"/>
                      </a:lnTo>
                      <a:lnTo>
                        <a:pt x="0" y="6"/>
                      </a:lnTo>
                      <a:lnTo>
                        <a:pt x="0" y="12"/>
                      </a:lnTo>
                      <a:lnTo>
                        <a:pt x="4" y="20"/>
                      </a:lnTo>
                      <a:lnTo>
                        <a:pt x="4" y="20"/>
                      </a:lnTo>
                      <a:lnTo>
                        <a:pt x="8" y="24"/>
                      </a:lnTo>
                      <a:lnTo>
                        <a:pt x="8" y="26"/>
                      </a:lnTo>
                      <a:lnTo>
                        <a:pt x="12" y="26"/>
                      </a:lnTo>
                      <a:lnTo>
                        <a:pt x="12" y="2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3" name="Freeform 6127"/>
                <p:cNvSpPr>
                  <a:spLocks/>
                </p:cNvSpPr>
                <p:nvPr/>
              </p:nvSpPr>
              <p:spPr bwMode="auto">
                <a:xfrm>
                  <a:off x="2404110" y="3165793"/>
                  <a:ext cx="8890" cy="6350"/>
                </a:xfrm>
                <a:custGeom>
                  <a:avLst/>
                  <a:gdLst/>
                  <a:ahLst/>
                  <a:cxnLst>
                    <a:cxn ang="0">
                      <a:pos x="0" y="0"/>
                    </a:cxn>
                    <a:cxn ang="0">
                      <a:pos x="0" y="0"/>
                    </a:cxn>
                    <a:cxn ang="0">
                      <a:pos x="0" y="4"/>
                    </a:cxn>
                    <a:cxn ang="0">
                      <a:pos x="0" y="6"/>
                    </a:cxn>
                    <a:cxn ang="0">
                      <a:pos x="10" y="8"/>
                    </a:cxn>
                    <a:cxn ang="0">
                      <a:pos x="10" y="8"/>
                    </a:cxn>
                    <a:cxn ang="0">
                      <a:pos x="14" y="10"/>
                    </a:cxn>
                    <a:cxn ang="0">
                      <a:pos x="14" y="8"/>
                    </a:cxn>
                    <a:cxn ang="0">
                      <a:pos x="10" y="4"/>
                    </a:cxn>
                    <a:cxn ang="0">
                      <a:pos x="6" y="0"/>
                    </a:cxn>
                    <a:cxn ang="0">
                      <a:pos x="2" y="0"/>
                    </a:cxn>
                    <a:cxn ang="0">
                      <a:pos x="0" y="0"/>
                    </a:cxn>
                    <a:cxn ang="0">
                      <a:pos x="0" y="0"/>
                    </a:cxn>
                  </a:cxnLst>
                  <a:rect l="0" t="0" r="r" b="b"/>
                  <a:pathLst>
                    <a:path w="14" h="10">
                      <a:moveTo>
                        <a:pt x="0" y="0"/>
                      </a:moveTo>
                      <a:lnTo>
                        <a:pt x="0" y="0"/>
                      </a:lnTo>
                      <a:lnTo>
                        <a:pt x="0" y="4"/>
                      </a:lnTo>
                      <a:lnTo>
                        <a:pt x="0" y="6"/>
                      </a:lnTo>
                      <a:lnTo>
                        <a:pt x="10" y="8"/>
                      </a:lnTo>
                      <a:lnTo>
                        <a:pt x="10" y="8"/>
                      </a:lnTo>
                      <a:lnTo>
                        <a:pt x="14" y="10"/>
                      </a:lnTo>
                      <a:lnTo>
                        <a:pt x="14" y="8"/>
                      </a:lnTo>
                      <a:lnTo>
                        <a:pt x="10" y="4"/>
                      </a:lnTo>
                      <a:lnTo>
                        <a:pt x="6" y="0"/>
                      </a:lnTo>
                      <a:lnTo>
                        <a:pt x="2" y="0"/>
                      </a:lnTo>
                      <a:lnTo>
                        <a:pt x="0" y="0"/>
                      </a:lnTo>
                      <a:lnTo>
                        <a:pt x="0"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4" name="Freeform 6128"/>
                <p:cNvSpPr>
                  <a:spLocks/>
                </p:cNvSpPr>
                <p:nvPr/>
              </p:nvSpPr>
              <p:spPr bwMode="auto">
                <a:xfrm>
                  <a:off x="2461260" y="3125153"/>
                  <a:ext cx="7620" cy="7620"/>
                </a:xfrm>
                <a:custGeom>
                  <a:avLst/>
                  <a:gdLst/>
                  <a:ahLst/>
                  <a:cxnLst>
                    <a:cxn ang="0">
                      <a:pos x="0" y="2"/>
                    </a:cxn>
                    <a:cxn ang="0">
                      <a:pos x="0" y="2"/>
                    </a:cxn>
                    <a:cxn ang="0">
                      <a:pos x="0" y="4"/>
                    </a:cxn>
                    <a:cxn ang="0">
                      <a:pos x="0" y="6"/>
                    </a:cxn>
                    <a:cxn ang="0">
                      <a:pos x="6" y="10"/>
                    </a:cxn>
                    <a:cxn ang="0">
                      <a:pos x="6" y="10"/>
                    </a:cxn>
                    <a:cxn ang="0">
                      <a:pos x="10" y="12"/>
                    </a:cxn>
                    <a:cxn ang="0">
                      <a:pos x="12" y="12"/>
                    </a:cxn>
                    <a:cxn ang="0">
                      <a:pos x="12" y="12"/>
                    </a:cxn>
                    <a:cxn ang="0">
                      <a:pos x="10" y="8"/>
                    </a:cxn>
                    <a:cxn ang="0">
                      <a:pos x="10" y="8"/>
                    </a:cxn>
                    <a:cxn ang="0">
                      <a:pos x="4" y="0"/>
                    </a:cxn>
                    <a:cxn ang="0">
                      <a:pos x="0" y="0"/>
                    </a:cxn>
                    <a:cxn ang="0">
                      <a:pos x="0" y="2"/>
                    </a:cxn>
                    <a:cxn ang="0">
                      <a:pos x="0" y="2"/>
                    </a:cxn>
                  </a:cxnLst>
                  <a:rect l="0" t="0" r="r" b="b"/>
                  <a:pathLst>
                    <a:path w="12" h="12">
                      <a:moveTo>
                        <a:pt x="0" y="2"/>
                      </a:moveTo>
                      <a:lnTo>
                        <a:pt x="0" y="2"/>
                      </a:lnTo>
                      <a:lnTo>
                        <a:pt x="0" y="4"/>
                      </a:lnTo>
                      <a:lnTo>
                        <a:pt x="0" y="6"/>
                      </a:lnTo>
                      <a:lnTo>
                        <a:pt x="6" y="10"/>
                      </a:lnTo>
                      <a:lnTo>
                        <a:pt x="6" y="10"/>
                      </a:lnTo>
                      <a:lnTo>
                        <a:pt x="10" y="12"/>
                      </a:lnTo>
                      <a:lnTo>
                        <a:pt x="12" y="12"/>
                      </a:lnTo>
                      <a:lnTo>
                        <a:pt x="12" y="12"/>
                      </a:lnTo>
                      <a:lnTo>
                        <a:pt x="10" y="8"/>
                      </a:lnTo>
                      <a:lnTo>
                        <a:pt x="10" y="8"/>
                      </a:lnTo>
                      <a:lnTo>
                        <a:pt x="4" y="0"/>
                      </a:lnTo>
                      <a:lnTo>
                        <a:pt x="0" y="0"/>
                      </a:lnTo>
                      <a:lnTo>
                        <a:pt x="0" y="2"/>
                      </a:lnTo>
                      <a:lnTo>
                        <a:pt x="0"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5" name="Freeform 6129"/>
                <p:cNvSpPr>
                  <a:spLocks/>
                </p:cNvSpPr>
                <p:nvPr/>
              </p:nvSpPr>
              <p:spPr bwMode="auto">
                <a:xfrm>
                  <a:off x="2512060" y="2538413"/>
                  <a:ext cx="54610" cy="21590"/>
                </a:xfrm>
                <a:custGeom>
                  <a:avLst/>
                  <a:gdLst/>
                  <a:ahLst/>
                  <a:cxnLst>
                    <a:cxn ang="0">
                      <a:pos x="70" y="4"/>
                    </a:cxn>
                    <a:cxn ang="0">
                      <a:pos x="70" y="4"/>
                    </a:cxn>
                    <a:cxn ang="0">
                      <a:pos x="74" y="0"/>
                    </a:cxn>
                    <a:cxn ang="0">
                      <a:pos x="74" y="0"/>
                    </a:cxn>
                    <a:cxn ang="0">
                      <a:pos x="72" y="0"/>
                    </a:cxn>
                    <a:cxn ang="0">
                      <a:pos x="68" y="0"/>
                    </a:cxn>
                    <a:cxn ang="0">
                      <a:pos x="62" y="6"/>
                    </a:cxn>
                    <a:cxn ang="0">
                      <a:pos x="62" y="6"/>
                    </a:cxn>
                    <a:cxn ang="0">
                      <a:pos x="54" y="10"/>
                    </a:cxn>
                    <a:cxn ang="0">
                      <a:pos x="46" y="10"/>
                    </a:cxn>
                    <a:cxn ang="0">
                      <a:pos x="40" y="10"/>
                    </a:cxn>
                    <a:cxn ang="0">
                      <a:pos x="34" y="12"/>
                    </a:cxn>
                    <a:cxn ang="0">
                      <a:pos x="34" y="12"/>
                    </a:cxn>
                    <a:cxn ang="0">
                      <a:pos x="32" y="14"/>
                    </a:cxn>
                    <a:cxn ang="0">
                      <a:pos x="30" y="12"/>
                    </a:cxn>
                    <a:cxn ang="0">
                      <a:pos x="26" y="12"/>
                    </a:cxn>
                    <a:cxn ang="0">
                      <a:pos x="20" y="14"/>
                    </a:cxn>
                    <a:cxn ang="0">
                      <a:pos x="20" y="14"/>
                    </a:cxn>
                    <a:cxn ang="0">
                      <a:pos x="16" y="14"/>
                    </a:cxn>
                    <a:cxn ang="0">
                      <a:pos x="14" y="16"/>
                    </a:cxn>
                    <a:cxn ang="0">
                      <a:pos x="12" y="18"/>
                    </a:cxn>
                    <a:cxn ang="0">
                      <a:pos x="8" y="20"/>
                    </a:cxn>
                    <a:cxn ang="0">
                      <a:pos x="8" y="20"/>
                    </a:cxn>
                    <a:cxn ang="0">
                      <a:pos x="2" y="26"/>
                    </a:cxn>
                    <a:cxn ang="0">
                      <a:pos x="0" y="28"/>
                    </a:cxn>
                    <a:cxn ang="0">
                      <a:pos x="2" y="30"/>
                    </a:cxn>
                    <a:cxn ang="0">
                      <a:pos x="6" y="30"/>
                    </a:cxn>
                    <a:cxn ang="0">
                      <a:pos x="6" y="30"/>
                    </a:cxn>
                    <a:cxn ang="0">
                      <a:pos x="8" y="30"/>
                    </a:cxn>
                    <a:cxn ang="0">
                      <a:pos x="6" y="34"/>
                    </a:cxn>
                    <a:cxn ang="0">
                      <a:pos x="6" y="34"/>
                    </a:cxn>
                    <a:cxn ang="0">
                      <a:pos x="6" y="34"/>
                    </a:cxn>
                    <a:cxn ang="0">
                      <a:pos x="6" y="34"/>
                    </a:cxn>
                    <a:cxn ang="0">
                      <a:pos x="12" y="34"/>
                    </a:cxn>
                    <a:cxn ang="0">
                      <a:pos x="16" y="32"/>
                    </a:cxn>
                    <a:cxn ang="0">
                      <a:pos x="18" y="32"/>
                    </a:cxn>
                    <a:cxn ang="0">
                      <a:pos x="18" y="32"/>
                    </a:cxn>
                    <a:cxn ang="0">
                      <a:pos x="18" y="30"/>
                    </a:cxn>
                    <a:cxn ang="0">
                      <a:pos x="22" y="28"/>
                    </a:cxn>
                    <a:cxn ang="0">
                      <a:pos x="28" y="26"/>
                    </a:cxn>
                    <a:cxn ang="0">
                      <a:pos x="34" y="26"/>
                    </a:cxn>
                    <a:cxn ang="0">
                      <a:pos x="34" y="26"/>
                    </a:cxn>
                    <a:cxn ang="0">
                      <a:pos x="42" y="24"/>
                    </a:cxn>
                    <a:cxn ang="0">
                      <a:pos x="52" y="22"/>
                    </a:cxn>
                    <a:cxn ang="0">
                      <a:pos x="52" y="22"/>
                    </a:cxn>
                    <a:cxn ang="0">
                      <a:pos x="68" y="16"/>
                    </a:cxn>
                    <a:cxn ang="0">
                      <a:pos x="82" y="10"/>
                    </a:cxn>
                    <a:cxn ang="0">
                      <a:pos x="82" y="10"/>
                    </a:cxn>
                    <a:cxn ang="0">
                      <a:pos x="86" y="6"/>
                    </a:cxn>
                    <a:cxn ang="0">
                      <a:pos x="86" y="6"/>
                    </a:cxn>
                    <a:cxn ang="0">
                      <a:pos x="84" y="4"/>
                    </a:cxn>
                    <a:cxn ang="0">
                      <a:pos x="82" y="6"/>
                    </a:cxn>
                    <a:cxn ang="0">
                      <a:pos x="82" y="6"/>
                    </a:cxn>
                    <a:cxn ang="0">
                      <a:pos x="78" y="8"/>
                    </a:cxn>
                    <a:cxn ang="0">
                      <a:pos x="74" y="8"/>
                    </a:cxn>
                    <a:cxn ang="0">
                      <a:pos x="70" y="8"/>
                    </a:cxn>
                    <a:cxn ang="0">
                      <a:pos x="66" y="10"/>
                    </a:cxn>
                    <a:cxn ang="0">
                      <a:pos x="66" y="10"/>
                    </a:cxn>
                    <a:cxn ang="0">
                      <a:pos x="62" y="14"/>
                    </a:cxn>
                    <a:cxn ang="0">
                      <a:pos x="60" y="12"/>
                    </a:cxn>
                    <a:cxn ang="0">
                      <a:pos x="64" y="10"/>
                    </a:cxn>
                    <a:cxn ang="0">
                      <a:pos x="70" y="4"/>
                    </a:cxn>
                    <a:cxn ang="0">
                      <a:pos x="70" y="4"/>
                    </a:cxn>
                  </a:cxnLst>
                  <a:rect l="0" t="0" r="r" b="b"/>
                  <a:pathLst>
                    <a:path w="86" h="34">
                      <a:moveTo>
                        <a:pt x="70" y="4"/>
                      </a:moveTo>
                      <a:lnTo>
                        <a:pt x="70" y="4"/>
                      </a:lnTo>
                      <a:lnTo>
                        <a:pt x="74" y="0"/>
                      </a:lnTo>
                      <a:lnTo>
                        <a:pt x="74" y="0"/>
                      </a:lnTo>
                      <a:lnTo>
                        <a:pt x="72" y="0"/>
                      </a:lnTo>
                      <a:lnTo>
                        <a:pt x="68" y="0"/>
                      </a:lnTo>
                      <a:lnTo>
                        <a:pt x="62" y="6"/>
                      </a:lnTo>
                      <a:lnTo>
                        <a:pt x="62" y="6"/>
                      </a:lnTo>
                      <a:lnTo>
                        <a:pt x="54" y="10"/>
                      </a:lnTo>
                      <a:lnTo>
                        <a:pt x="46" y="10"/>
                      </a:lnTo>
                      <a:lnTo>
                        <a:pt x="40" y="10"/>
                      </a:lnTo>
                      <a:lnTo>
                        <a:pt x="34" y="12"/>
                      </a:lnTo>
                      <a:lnTo>
                        <a:pt x="34" y="12"/>
                      </a:lnTo>
                      <a:lnTo>
                        <a:pt x="32" y="14"/>
                      </a:lnTo>
                      <a:lnTo>
                        <a:pt x="30" y="12"/>
                      </a:lnTo>
                      <a:lnTo>
                        <a:pt x="26" y="12"/>
                      </a:lnTo>
                      <a:lnTo>
                        <a:pt x="20" y="14"/>
                      </a:lnTo>
                      <a:lnTo>
                        <a:pt x="20" y="14"/>
                      </a:lnTo>
                      <a:lnTo>
                        <a:pt x="16" y="14"/>
                      </a:lnTo>
                      <a:lnTo>
                        <a:pt x="14" y="16"/>
                      </a:lnTo>
                      <a:lnTo>
                        <a:pt x="12" y="18"/>
                      </a:lnTo>
                      <a:lnTo>
                        <a:pt x="8" y="20"/>
                      </a:lnTo>
                      <a:lnTo>
                        <a:pt x="8" y="20"/>
                      </a:lnTo>
                      <a:lnTo>
                        <a:pt x="2" y="26"/>
                      </a:lnTo>
                      <a:lnTo>
                        <a:pt x="0" y="28"/>
                      </a:lnTo>
                      <a:lnTo>
                        <a:pt x="2" y="30"/>
                      </a:lnTo>
                      <a:lnTo>
                        <a:pt x="6" y="30"/>
                      </a:lnTo>
                      <a:lnTo>
                        <a:pt x="6" y="30"/>
                      </a:lnTo>
                      <a:lnTo>
                        <a:pt x="8" y="30"/>
                      </a:lnTo>
                      <a:lnTo>
                        <a:pt x="6" y="34"/>
                      </a:lnTo>
                      <a:lnTo>
                        <a:pt x="6" y="34"/>
                      </a:lnTo>
                      <a:lnTo>
                        <a:pt x="6" y="34"/>
                      </a:lnTo>
                      <a:lnTo>
                        <a:pt x="6" y="34"/>
                      </a:lnTo>
                      <a:lnTo>
                        <a:pt x="12" y="34"/>
                      </a:lnTo>
                      <a:lnTo>
                        <a:pt x="16" y="32"/>
                      </a:lnTo>
                      <a:lnTo>
                        <a:pt x="18" y="32"/>
                      </a:lnTo>
                      <a:lnTo>
                        <a:pt x="18" y="32"/>
                      </a:lnTo>
                      <a:lnTo>
                        <a:pt x="18" y="30"/>
                      </a:lnTo>
                      <a:lnTo>
                        <a:pt x="22" y="28"/>
                      </a:lnTo>
                      <a:lnTo>
                        <a:pt x="28" y="26"/>
                      </a:lnTo>
                      <a:lnTo>
                        <a:pt x="34" y="26"/>
                      </a:lnTo>
                      <a:lnTo>
                        <a:pt x="34" y="26"/>
                      </a:lnTo>
                      <a:lnTo>
                        <a:pt x="42" y="24"/>
                      </a:lnTo>
                      <a:lnTo>
                        <a:pt x="52" y="22"/>
                      </a:lnTo>
                      <a:lnTo>
                        <a:pt x="52" y="22"/>
                      </a:lnTo>
                      <a:lnTo>
                        <a:pt x="68" y="16"/>
                      </a:lnTo>
                      <a:lnTo>
                        <a:pt x="82" y="10"/>
                      </a:lnTo>
                      <a:lnTo>
                        <a:pt x="82" y="10"/>
                      </a:lnTo>
                      <a:lnTo>
                        <a:pt x="86" y="6"/>
                      </a:lnTo>
                      <a:lnTo>
                        <a:pt x="86" y="6"/>
                      </a:lnTo>
                      <a:lnTo>
                        <a:pt x="84" y="4"/>
                      </a:lnTo>
                      <a:lnTo>
                        <a:pt x="82" y="6"/>
                      </a:lnTo>
                      <a:lnTo>
                        <a:pt x="82" y="6"/>
                      </a:lnTo>
                      <a:lnTo>
                        <a:pt x="78" y="8"/>
                      </a:lnTo>
                      <a:lnTo>
                        <a:pt x="74" y="8"/>
                      </a:lnTo>
                      <a:lnTo>
                        <a:pt x="70" y="8"/>
                      </a:lnTo>
                      <a:lnTo>
                        <a:pt x="66" y="10"/>
                      </a:lnTo>
                      <a:lnTo>
                        <a:pt x="66" y="10"/>
                      </a:lnTo>
                      <a:lnTo>
                        <a:pt x="62" y="14"/>
                      </a:lnTo>
                      <a:lnTo>
                        <a:pt x="60" y="12"/>
                      </a:lnTo>
                      <a:lnTo>
                        <a:pt x="64" y="10"/>
                      </a:lnTo>
                      <a:lnTo>
                        <a:pt x="70" y="4"/>
                      </a:lnTo>
                      <a:lnTo>
                        <a:pt x="7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6" name="Freeform 6130"/>
                <p:cNvSpPr>
                  <a:spLocks/>
                </p:cNvSpPr>
                <p:nvPr/>
              </p:nvSpPr>
              <p:spPr bwMode="auto">
                <a:xfrm>
                  <a:off x="2477770" y="3126423"/>
                  <a:ext cx="13970" cy="25400"/>
                </a:xfrm>
                <a:custGeom>
                  <a:avLst/>
                  <a:gdLst/>
                  <a:ahLst/>
                  <a:cxnLst>
                    <a:cxn ang="0">
                      <a:pos x="14" y="30"/>
                    </a:cxn>
                    <a:cxn ang="0">
                      <a:pos x="14" y="30"/>
                    </a:cxn>
                    <a:cxn ang="0">
                      <a:pos x="20" y="38"/>
                    </a:cxn>
                    <a:cxn ang="0">
                      <a:pos x="20" y="38"/>
                    </a:cxn>
                    <a:cxn ang="0">
                      <a:pos x="22" y="40"/>
                    </a:cxn>
                    <a:cxn ang="0">
                      <a:pos x="20" y="34"/>
                    </a:cxn>
                    <a:cxn ang="0">
                      <a:pos x="20" y="34"/>
                    </a:cxn>
                    <a:cxn ang="0">
                      <a:pos x="16" y="26"/>
                    </a:cxn>
                    <a:cxn ang="0">
                      <a:pos x="14" y="24"/>
                    </a:cxn>
                    <a:cxn ang="0">
                      <a:pos x="14" y="20"/>
                    </a:cxn>
                    <a:cxn ang="0">
                      <a:pos x="14" y="20"/>
                    </a:cxn>
                    <a:cxn ang="0">
                      <a:pos x="10" y="10"/>
                    </a:cxn>
                    <a:cxn ang="0">
                      <a:pos x="6" y="4"/>
                    </a:cxn>
                    <a:cxn ang="0">
                      <a:pos x="2" y="0"/>
                    </a:cxn>
                    <a:cxn ang="0">
                      <a:pos x="2" y="0"/>
                    </a:cxn>
                    <a:cxn ang="0">
                      <a:pos x="0" y="0"/>
                    </a:cxn>
                    <a:cxn ang="0">
                      <a:pos x="2" y="4"/>
                    </a:cxn>
                    <a:cxn ang="0">
                      <a:pos x="8" y="18"/>
                    </a:cxn>
                    <a:cxn ang="0">
                      <a:pos x="8" y="18"/>
                    </a:cxn>
                    <a:cxn ang="0">
                      <a:pos x="10" y="22"/>
                    </a:cxn>
                    <a:cxn ang="0">
                      <a:pos x="8" y="24"/>
                    </a:cxn>
                    <a:cxn ang="0">
                      <a:pos x="8" y="24"/>
                    </a:cxn>
                    <a:cxn ang="0">
                      <a:pos x="14" y="30"/>
                    </a:cxn>
                    <a:cxn ang="0">
                      <a:pos x="14" y="30"/>
                    </a:cxn>
                  </a:cxnLst>
                  <a:rect l="0" t="0" r="r" b="b"/>
                  <a:pathLst>
                    <a:path w="22" h="40">
                      <a:moveTo>
                        <a:pt x="14" y="30"/>
                      </a:moveTo>
                      <a:lnTo>
                        <a:pt x="14" y="30"/>
                      </a:lnTo>
                      <a:lnTo>
                        <a:pt x="20" y="38"/>
                      </a:lnTo>
                      <a:lnTo>
                        <a:pt x="20" y="38"/>
                      </a:lnTo>
                      <a:lnTo>
                        <a:pt x="22" y="40"/>
                      </a:lnTo>
                      <a:lnTo>
                        <a:pt x="20" y="34"/>
                      </a:lnTo>
                      <a:lnTo>
                        <a:pt x="20" y="34"/>
                      </a:lnTo>
                      <a:lnTo>
                        <a:pt x="16" y="26"/>
                      </a:lnTo>
                      <a:lnTo>
                        <a:pt x="14" y="24"/>
                      </a:lnTo>
                      <a:lnTo>
                        <a:pt x="14" y="20"/>
                      </a:lnTo>
                      <a:lnTo>
                        <a:pt x="14" y="20"/>
                      </a:lnTo>
                      <a:lnTo>
                        <a:pt x="10" y="10"/>
                      </a:lnTo>
                      <a:lnTo>
                        <a:pt x="6" y="4"/>
                      </a:lnTo>
                      <a:lnTo>
                        <a:pt x="2" y="0"/>
                      </a:lnTo>
                      <a:lnTo>
                        <a:pt x="2" y="0"/>
                      </a:lnTo>
                      <a:lnTo>
                        <a:pt x="0" y="0"/>
                      </a:lnTo>
                      <a:lnTo>
                        <a:pt x="2" y="4"/>
                      </a:lnTo>
                      <a:lnTo>
                        <a:pt x="8" y="18"/>
                      </a:lnTo>
                      <a:lnTo>
                        <a:pt x="8" y="18"/>
                      </a:lnTo>
                      <a:lnTo>
                        <a:pt x="10" y="22"/>
                      </a:lnTo>
                      <a:lnTo>
                        <a:pt x="8" y="24"/>
                      </a:lnTo>
                      <a:lnTo>
                        <a:pt x="8" y="24"/>
                      </a:lnTo>
                      <a:lnTo>
                        <a:pt x="14" y="30"/>
                      </a:lnTo>
                      <a:lnTo>
                        <a:pt x="14" y="3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7" name="Freeform 6131"/>
                <p:cNvSpPr>
                  <a:spLocks/>
                </p:cNvSpPr>
                <p:nvPr/>
              </p:nvSpPr>
              <p:spPr bwMode="auto">
                <a:xfrm>
                  <a:off x="2534920" y="3165793"/>
                  <a:ext cx="10160" cy="5080"/>
                </a:xfrm>
                <a:custGeom>
                  <a:avLst/>
                  <a:gdLst/>
                  <a:ahLst/>
                  <a:cxnLst>
                    <a:cxn ang="0">
                      <a:pos x="16" y="6"/>
                    </a:cxn>
                    <a:cxn ang="0">
                      <a:pos x="16" y="6"/>
                    </a:cxn>
                    <a:cxn ang="0">
                      <a:pos x="14" y="2"/>
                    </a:cxn>
                    <a:cxn ang="0">
                      <a:pos x="8" y="0"/>
                    </a:cxn>
                    <a:cxn ang="0">
                      <a:pos x="4" y="0"/>
                    </a:cxn>
                    <a:cxn ang="0">
                      <a:pos x="0" y="0"/>
                    </a:cxn>
                    <a:cxn ang="0">
                      <a:pos x="0" y="0"/>
                    </a:cxn>
                    <a:cxn ang="0">
                      <a:pos x="0" y="4"/>
                    </a:cxn>
                    <a:cxn ang="0">
                      <a:pos x="2" y="4"/>
                    </a:cxn>
                    <a:cxn ang="0">
                      <a:pos x="4" y="6"/>
                    </a:cxn>
                    <a:cxn ang="0">
                      <a:pos x="4" y="6"/>
                    </a:cxn>
                    <a:cxn ang="0">
                      <a:pos x="10" y="6"/>
                    </a:cxn>
                    <a:cxn ang="0">
                      <a:pos x="14" y="8"/>
                    </a:cxn>
                    <a:cxn ang="0">
                      <a:pos x="14" y="8"/>
                    </a:cxn>
                    <a:cxn ang="0">
                      <a:pos x="16" y="6"/>
                    </a:cxn>
                    <a:cxn ang="0">
                      <a:pos x="16" y="6"/>
                    </a:cxn>
                  </a:cxnLst>
                  <a:rect l="0" t="0" r="r" b="b"/>
                  <a:pathLst>
                    <a:path w="16" h="8">
                      <a:moveTo>
                        <a:pt x="16" y="6"/>
                      </a:moveTo>
                      <a:lnTo>
                        <a:pt x="16" y="6"/>
                      </a:lnTo>
                      <a:lnTo>
                        <a:pt x="14" y="2"/>
                      </a:lnTo>
                      <a:lnTo>
                        <a:pt x="8" y="0"/>
                      </a:lnTo>
                      <a:lnTo>
                        <a:pt x="4" y="0"/>
                      </a:lnTo>
                      <a:lnTo>
                        <a:pt x="0" y="0"/>
                      </a:lnTo>
                      <a:lnTo>
                        <a:pt x="0" y="0"/>
                      </a:lnTo>
                      <a:lnTo>
                        <a:pt x="0" y="4"/>
                      </a:lnTo>
                      <a:lnTo>
                        <a:pt x="2" y="4"/>
                      </a:lnTo>
                      <a:lnTo>
                        <a:pt x="4" y="6"/>
                      </a:lnTo>
                      <a:lnTo>
                        <a:pt x="4" y="6"/>
                      </a:lnTo>
                      <a:lnTo>
                        <a:pt x="10" y="6"/>
                      </a:lnTo>
                      <a:lnTo>
                        <a:pt x="14" y="8"/>
                      </a:lnTo>
                      <a:lnTo>
                        <a:pt x="14" y="8"/>
                      </a:lnTo>
                      <a:lnTo>
                        <a:pt x="16" y="6"/>
                      </a:lnTo>
                      <a:lnTo>
                        <a:pt x="16" y="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8" name="Freeform 6132"/>
                <p:cNvSpPr>
                  <a:spLocks/>
                </p:cNvSpPr>
                <p:nvPr/>
              </p:nvSpPr>
              <p:spPr bwMode="auto">
                <a:xfrm>
                  <a:off x="2468880" y="3092133"/>
                  <a:ext cx="10160" cy="20320"/>
                </a:xfrm>
                <a:custGeom>
                  <a:avLst/>
                  <a:gdLst/>
                  <a:ahLst/>
                  <a:cxnLst>
                    <a:cxn ang="0">
                      <a:pos x="4" y="4"/>
                    </a:cxn>
                    <a:cxn ang="0">
                      <a:pos x="4" y="4"/>
                    </a:cxn>
                    <a:cxn ang="0">
                      <a:pos x="0" y="0"/>
                    </a:cxn>
                    <a:cxn ang="0">
                      <a:pos x="0" y="0"/>
                    </a:cxn>
                    <a:cxn ang="0">
                      <a:pos x="0" y="2"/>
                    </a:cxn>
                    <a:cxn ang="0">
                      <a:pos x="0" y="6"/>
                    </a:cxn>
                    <a:cxn ang="0">
                      <a:pos x="0" y="6"/>
                    </a:cxn>
                    <a:cxn ang="0">
                      <a:pos x="4" y="12"/>
                    </a:cxn>
                    <a:cxn ang="0">
                      <a:pos x="10" y="20"/>
                    </a:cxn>
                    <a:cxn ang="0">
                      <a:pos x="10" y="20"/>
                    </a:cxn>
                    <a:cxn ang="0">
                      <a:pos x="10" y="26"/>
                    </a:cxn>
                    <a:cxn ang="0">
                      <a:pos x="10" y="30"/>
                    </a:cxn>
                    <a:cxn ang="0">
                      <a:pos x="10" y="32"/>
                    </a:cxn>
                    <a:cxn ang="0">
                      <a:pos x="14" y="30"/>
                    </a:cxn>
                    <a:cxn ang="0">
                      <a:pos x="14" y="30"/>
                    </a:cxn>
                    <a:cxn ang="0">
                      <a:pos x="16" y="28"/>
                    </a:cxn>
                    <a:cxn ang="0">
                      <a:pos x="16" y="26"/>
                    </a:cxn>
                    <a:cxn ang="0">
                      <a:pos x="12" y="20"/>
                    </a:cxn>
                    <a:cxn ang="0">
                      <a:pos x="12" y="20"/>
                    </a:cxn>
                    <a:cxn ang="0">
                      <a:pos x="8" y="12"/>
                    </a:cxn>
                    <a:cxn ang="0">
                      <a:pos x="4" y="4"/>
                    </a:cxn>
                    <a:cxn ang="0">
                      <a:pos x="4" y="4"/>
                    </a:cxn>
                  </a:cxnLst>
                  <a:rect l="0" t="0" r="r" b="b"/>
                  <a:pathLst>
                    <a:path w="16" h="32">
                      <a:moveTo>
                        <a:pt x="4" y="4"/>
                      </a:moveTo>
                      <a:lnTo>
                        <a:pt x="4" y="4"/>
                      </a:lnTo>
                      <a:lnTo>
                        <a:pt x="0" y="0"/>
                      </a:lnTo>
                      <a:lnTo>
                        <a:pt x="0" y="0"/>
                      </a:lnTo>
                      <a:lnTo>
                        <a:pt x="0" y="2"/>
                      </a:lnTo>
                      <a:lnTo>
                        <a:pt x="0" y="6"/>
                      </a:lnTo>
                      <a:lnTo>
                        <a:pt x="0" y="6"/>
                      </a:lnTo>
                      <a:lnTo>
                        <a:pt x="4" y="12"/>
                      </a:lnTo>
                      <a:lnTo>
                        <a:pt x="10" y="20"/>
                      </a:lnTo>
                      <a:lnTo>
                        <a:pt x="10" y="20"/>
                      </a:lnTo>
                      <a:lnTo>
                        <a:pt x="10" y="26"/>
                      </a:lnTo>
                      <a:lnTo>
                        <a:pt x="10" y="30"/>
                      </a:lnTo>
                      <a:lnTo>
                        <a:pt x="10" y="32"/>
                      </a:lnTo>
                      <a:lnTo>
                        <a:pt x="14" y="30"/>
                      </a:lnTo>
                      <a:lnTo>
                        <a:pt x="14" y="30"/>
                      </a:lnTo>
                      <a:lnTo>
                        <a:pt x="16" y="28"/>
                      </a:lnTo>
                      <a:lnTo>
                        <a:pt x="16" y="26"/>
                      </a:lnTo>
                      <a:lnTo>
                        <a:pt x="12" y="20"/>
                      </a:lnTo>
                      <a:lnTo>
                        <a:pt x="12" y="20"/>
                      </a:lnTo>
                      <a:lnTo>
                        <a:pt x="8" y="12"/>
                      </a:lnTo>
                      <a:lnTo>
                        <a:pt x="4" y="4"/>
                      </a:lnTo>
                      <a:lnTo>
                        <a:pt x="4"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199" name="Freeform 6133"/>
                <p:cNvSpPr>
                  <a:spLocks/>
                </p:cNvSpPr>
                <p:nvPr/>
              </p:nvSpPr>
              <p:spPr bwMode="auto">
                <a:xfrm>
                  <a:off x="2442210" y="3064193"/>
                  <a:ext cx="16510" cy="34290"/>
                </a:xfrm>
                <a:custGeom>
                  <a:avLst/>
                  <a:gdLst/>
                  <a:ahLst/>
                  <a:cxnLst>
                    <a:cxn ang="0">
                      <a:pos x="22" y="16"/>
                    </a:cxn>
                    <a:cxn ang="0">
                      <a:pos x="22" y="16"/>
                    </a:cxn>
                    <a:cxn ang="0">
                      <a:pos x="8" y="4"/>
                    </a:cxn>
                    <a:cxn ang="0">
                      <a:pos x="2" y="0"/>
                    </a:cxn>
                    <a:cxn ang="0">
                      <a:pos x="0" y="0"/>
                    </a:cxn>
                    <a:cxn ang="0">
                      <a:pos x="0" y="2"/>
                    </a:cxn>
                    <a:cxn ang="0">
                      <a:pos x="0" y="2"/>
                    </a:cxn>
                    <a:cxn ang="0">
                      <a:pos x="2" y="6"/>
                    </a:cxn>
                    <a:cxn ang="0">
                      <a:pos x="8" y="10"/>
                    </a:cxn>
                    <a:cxn ang="0">
                      <a:pos x="14" y="16"/>
                    </a:cxn>
                    <a:cxn ang="0">
                      <a:pos x="22" y="22"/>
                    </a:cxn>
                    <a:cxn ang="0">
                      <a:pos x="22" y="22"/>
                    </a:cxn>
                    <a:cxn ang="0">
                      <a:pos x="22" y="26"/>
                    </a:cxn>
                    <a:cxn ang="0">
                      <a:pos x="22" y="28"/>
                    </a:cxn>
                    <a:cxn ang="0">
                      <a:pos x="20" y="34"/>
                    </a:cxn>
                    <a:cxn ang="0">
                      <a:pos x="16" y="38"/>
                    </a:cxn>
                    <a:cxn ang="0">
                      <a:pos x="16" y="40"/>
                    </a:cxn>
                    <a:cxn ang="0">
                      <a:pos x="18" y="42"/>
                    </a:cxn>
                    <a:cxn ang="0">
                      <a:pos x="18" y="42"/>
                    </a:cxn>
                    <a:cxn ang="0">
                      <a:pos x="22" y="50"/>
                    </a:cxn>
                    <a:cxn ang="0">
                      <a:pos x="24" y="54"/>
                    </a:cxn>
                    <a:cxn ang="0">
                      <a:pos x="24" y="52"/>
                    </a:cxn>
                    <a:cxn ang="0">
                      <a:pos x="24" y="52"/>
                    </a:cxn>
                    <a:cxn ang="0">
                      <a:pos x="24" y="42"/>
                    </a:cxn>
                    <a:cxn ang="0">
                      <a:pos x="24" y="42"/>
                    </a:cxn>
                    <a:cxn ang="0">
                      <a:pos x="26" y="34"/>
                    </a:cxn>
                    <a:cxn ang="0">
                      <a:pos x="26" y="28"/>
                    </a:cxn>
                    <a:cxn ang="0">
                      <a:pos x="26" y="22"/>
                    </a:cxn>
                    <a:cxn ang="0">
                      <a:pos x="22" y="16"/>
                    </a:cxn>
                    <a:cxn ang="0">
                      <a:pos x="22" y="16"/>
                    </a:cxn>
                  </a:cxnLst>
                  <a:rect l="0" t="0" r="r" b="b"/>
                  <a:pathLst>
                    <a:path w="26" h="54">
                      <a:moveTo>
                        <a:pt x="22" y="16"/>
                      </a:moveTo>
                      <a:lnTo>
                        <a:pt x="22" y="16"/>
                      </a:lnTo>
                      <a:lnTo>
                        <a:pt x="8" y="4"/>
                      </a:lnTo>
                      <a:lnTo>
                        <a:pt x="2" y="0"/>
                      </a:lnTo>
                      <a:lnTo>
                        <a:pt x="0" y="0"/>
                      </a:lnTo>
                      <a:lnTo>
                        <a:pt x="0" y="2"/>
                      </a:lnTo>
                      <a:lnTo>
                        <a:pt x="0" y="2"/>
                      </a:lnTo>
                      <a:lnTo>
                        <a:pt x="2" y="6"/>
                      </a:lnTo>
                      <a:lnTo>
                        <a:pt x="8" y="10"/>
                      </a:lnTo>
                      <a:lnTo>
                        <a:pt x="14" y="16"/>
                      </a:lnTo>
                      <a:lnTo>
                        <a:pt x="22" y="22"/>
                      </a:lnTo>
                      <a:lnTo>
                        <a:pt x="22" y="22"/>
                      </a:lnTo>
                      <a:lnTo>
                        <a:pt x="22" y="26"/>
                      </a:lnTo>
                      <a:lnTo>
                        <a:pt x="22" y="28"/>
                      </a:lnTo>
                      <a:lnTo>
                        <a:pt x="20" y="34"/>
                      </a:lnTo>
                      <a:lnTo>
                        <a:pt x="16" y="38"/>
                      </a:lnTo>
                      <a:lnTo>
                        <a:pt x="16" y="40"/>
                      </a:lnTo>
                      <a:lnTo>
                        <a:pt x="18" y="42"/>
                      </a:lnTo>
                      <a:lnTo>
                        <a:pt x="18" y="42"/>
                      </a:lnTo>
                      <a:lnTo>
                        <a:pt x="22" y="50"/>
                      </a:lnTo>
                      <a:lnTo>
                        <a:pt x="24" y="54"/>
                      </a:lnTo>
                      <a:lnTo>
                        <a:pt x="24" y="52"/>
                      </a:lnTo>
                      <a:lnTo>
                        <a:pt x="24" y="52"/>
                      </a:lnTo>
                      <a:lnTo>
                        <a:pt x="24" y="42"/>
                      </a:lnTo>
                      <a:lnTo>
                        <a:pt x="24" y="42"/>
                      </a:lnTo>
                      <a:lnTo>
                        <a:pt x="26" y="34"/>
                      </a:lnTo>
                      <a:lnTo>
                        <a:pt x="26" y="28"/>
                      </a:lnTo>
                      <a:lnTo>
                        <a:pt x="26" y="22"/>
                      </a:lnTo>
                      <a:lnTo>
                        <a:pt x="22" y="16"/>
                      </a:lnTo>
                      <a:lnTo>
                        <a:pt x="22" y="16"/>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0" name="Freeform 6134"/>
                <p:cNvSpPr>
                  <a:spLocks/>
                </p:cNvSpPr>
                <p:nvPr/>
              </p:nvSpPr>
              <p:spPr bwMode="auto">
                <a:xfrm>
                  <a:off x="3581400" y="3548063"/>
                  <a:ext cx="3810" cy="5080"/>
                </a:xfrm>
                <a:custGeom>
                  <a:avLst/>
                  <a:gdLst/>
                  <a:ahLst/>
                  <a:cxnLst>
                    <a:cxn ang="0">
                      <a:pos x="2" y="8"/>
                    </a:cxn>
                    <a:cxn ang="0">
                      <a:pos x="2" y="8"/>
                    </a:cxn>
                    <a:cxn ang="0">
                      <a:pos x="4" y="8"/>
                    </a:cxn>
                    <a:cxn ang="0">
                      <a:pos x="6" y="4"/>
                    </a:cxn>
                    <a:cxn ang="0">
                      <a:pos x="6" y="2"/>
                    </a:cxn>
                    <a:cxn ang="0">
                      <a:pos x="6" y="0"/>
                    </a:cxn>
                    <a:cxn ang="0">
                      <a:pos x="6" y="0"/>
                    </a:cxn>
                    <a:cxn ang="0">
                      <a:pos x="4" y="2"/>
                    </a:cxn>
                    <a:cxn ang="0">
                      <a:pos x="2" y="4"/>
                    </a:cxn>
                    <a:cxn ang="0">
                      <a:pos x="0" y="6"/>
                    </a:cxn>
                    <a:cxn ang="0">
                      <a:pos x="2" y="8"/>
                    </a:cxn>
                    <a:cxn ang="0">
                      <a:pos x="2" y="8"/>
                    </a:cxn>
                  </a:cxnLst>
                  <a:rect l="0" t="0" r="r" b="b"/>
                  <a:pathLst>
                    <a:path w="6" h="8">
                      <a:moveTo>
                        <a:pt x="2" y="8"/>
                      </a:moveTo>
                      <a:lnTo>
                        <a:pt x="2" y="8"/>
                      </a:lnTo>
                      <a:lnTo>
                        <a:pt x="4" y="8"/>
                      </a:lnTo>
                      <a:lnTo>
                        <a:pt x="6" y="4"/>
                      </a:lnTo>
                      <a:lnTo>
                        <a:pt x="6" y="2"/>
                      </a:lnTo>
                      <a:lnTo>
                        <a:pt x="6" y="0"/>
                      </a:lnTo>
                      <a:lnTo>
                        <a:pt x="6" y="0"/>
                      </a:lnTo>
                      <a:lnTo>
                        <a:pt x="4" y="2"/>
                      </a:lnTo>
                      <a:lnTo>
                        <a:pt x="2" y="4"/>
                      </a:lnTo>
                      <a:lnTo>
                        <a:pt x="0" y="6"/>
                      </a:lnTo>
                      <a:lnTo>
                        <a:pt x="2" y="8"/>
                      </a:lnTo>
                      <a:lnTo>
                        <a:pt x="2" y="8"/>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1" name="Freeform 6135"/>
                <p:cNvSpPr>
                  <a:spLocks/>
                </p:cNvSpPr>
                <p:nvPr/>
              </p:nvSpPr>
              <p:spPr bwMode="auto">
                <a:xfrm>
                  <a:off x="3586480" y="3539173"/>
                  <a:ext cx="2540" cy="2540"/>
                </a:xfrm>
                <a:custGeom>
                  <a:avLst/>
                  <a:gdLst/>
                  <a:ahLst/>
                  <a:cxnLst>
                    <a:cxn ang="0">
                      <a:pos x="0" y="4"/>
                    </a:cxn>
                    <a:cxn ang="0">
                      <a:pos x="0" y="4"/>
                    </a:cxn>
                    <a:cxn ang="0">
                      <a:pos x="2" y="4"/>
                    </a:cxn>
                    <a:cxn ang="0">
                      <a:pos x="4" y="2"/>
                    </a:cxn>
                    <a:cxn ang="0">
                      <a:pos x="4" y="0"/>
                    </a:cxn>
                    <a:cxn ang="0">
                      <a:pos x="4" y="0"/>
                    </a:cxn>
                    <a:cxn ang="0">
                      <a:pos x="2" y="0"/>
                    </a:cxn>
                    <a:cxn ang="0">
                      <a:pos x="0" y="0"/>
                    </a:cxn>
                    <a:cxn ang="0">
                      <a:pos x="0" y="2"/>
                    </a:cxn>
                    <a:cxn ang="0">
                      <a:pos x="0" y="4"/>
                    </a:cxn>
                    <a:cxn ang="0">
                      <a:pos x="0" y="4"/>
                    </a:cxn>
                  </a:cxnLst>
                  <a:rect l="0" t="0" r="r" b="b"/>
                  <a:pathLst>
                    <a:path w="4" h="4">
                      <a:moveTo>
                        <a:pt x="0" y="4"/>
                      </a:moveTo>
                      <a:lnTo>
                        <a:pt x="0" y="4"/>
                      </a:lnTo>
                      <a:lnTo>
                        <a:pt x="2" y="4"/>
                      </a:lnTo>
                      <a:lnTo>
                        <a:pt x="4" y="2"/>
                      </a:lnTo>
                      <a:lnTo>
                        <a:pt x="4" y="0"/>
                      </a:lnTo>
                      <a:lnTo>
                        <a:pt x="4" y="0"/>
                      </a:lnTo>
                      <a:lnTo>
                        <a:pt x="2" y="0"/>
                      </a:lnTo>
                      <a:lnTo>
                        <a:pt x="0" y="0"/>
                      </a:lnTo>
                      <a:lnTo>
                        <a:pt x="0" y="2"/>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2" name="Freeform 6136"/>
                <p:cNvSpPr>
                  <a:spLocks/>
                </p:cNvSpPr>
                <p:nvPr/>
              </p:nvSpPr>
              <p:spPr bwMode="auto">
                <a:xfrm>
                  <a:off x="3575050" y="3539173"/>
                  <a:ext cx="3810" cy="5080"/>
                </a:xfrm>
                <a:custGeom>
                  <a:avLst/>
                  <a:gdLst/>
                  <a:ahLst/>
                  <a:cxnLst>
                    <a:cxn ang="0">
                      <a:pos x="6" y="2"/>
                    </a:cxn>
                    <a:cxn ang="0">
                      <a:pos x="6" y="2"/>
                    </a:cxn>
                    <a:cxn ang="0">
                      <a:pos x="4" y="0"/>
                    </a:cxn>
                    <a:cxn ang="0">
                      <a:pos x="0" y="2"/>
                    </a:cxn>
                    <a:cxn ang="0">
                      <a:pos x="0" y="6"/>
                    </a:cxn>
                    <a:cxn ang="0">
                      <a:pos x="0" y="8"/>
                    </a:cxn>
                    <a:cxn ang="0">
                      <a:pos x="0" y="8"/>
                    </a:cxn>
                    <a:cxn ang="0">
                      <a:pos x="4" y="6"/>
                    </a:cxn>
                    <a:cxn ang="0">
                      <a:pos x="6" y="4"/>
                    </a:cxn>
                    <a:cxn ang="0">
                      <a:pos x="6" y="2"/>
                    </a:cxn>
                    <a:cxn ang="0">
                      <a:pos x="6" y="2"/>
                    </a:cxn>
                  </a:cxnLst>
                  <a:rect l="0" t="0" r="r" b="b"/>
                  <a:pathLst>
                    <a:path w="6" h="8">
                      <a:moveTo>
                        <a:pt x="6" y="2"/>
                      </a:moveTo>
                      <a:lnTo>
                        <a:pt x="6" y="2"/>
                      </a:lnTo>
                      <a:lnTo>
                        <a:pt x="4" y="0"/>
                      </a:lnTo>
                      <a:lnTo>
                        <a:pt x="0" y="2"/>
                      </a:lnTo>
                      <a:lnTo>
                        <a:pt x="0" y="6"/>
                      </a:lnTo>
                      <a:lnTo>
                        <a:pt x="0" y="8"/>
                      </a:lnTo>
                      <a:lnTo>
                        <a:pt x="0" y="8"/>
                      </a:lnTo>
                      <a:lnTo>
                        <a:pt x="4" y="6"/>
                      </a:lnTo>
                      <a:lnTo>
                        <a:pt x="6" y="4"/>
                      </a:lnTo>
                      <a:lnTo>
                        <a:pt x="6" y="2"/>
                      </a:lnTo>
                      <a:lnTo>
                        <a:pt x="6"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3" name="Freeform 6138"/>
                <p:cNvSpPr>
                  <a:spLocks/>
                </p:cNvSpPr>
                <p:nvPr/>
              </p:nvSpPr>
              <p:spPr bwMode="auto">
                <a:xfrm>
                  <a:off x="3576320" y="3551873"/>
                  <a:ext cx="2540" cy="3810"/>
                </a:xfrm>
                <a:custGeom>
                  <a:avLst/>
                  <a:gdLst/>
                  <a:ahLst/>
                  <a:cxnLst>
                    <a:cxn ang="0">
                      <a:pos x="2" y="0"/>
                    </a:cxn>
                    <a:cxn ang="0">
                      <a:pos x="2" y="0"/>
                    </a:cxn>
                    <a:cxn ang="0">
                      <a:pos x="0" y="0"/>
                    </a:cxn>
                    <a:cxn ang="0">
                      <a:pos x="0" y="2"/>
                    </a:cxn>
                    <a:cxn ang="0">
                      <a:pos x="0" y="4"/>
                    </a:cxn>
                    <a:cxn ang="0">
                      <a:pos x="2" y="6"/>
                    </a:cxn>
                    <a:cxn ang="0">
                      <a:pos x="2" y="6"/>
                    </a:cxn>
                    <a:cxn ang="0">
                      <a:pos x="4" y="6"/>
                    </a:cxn>
                    <a:cxn ang="0">
                      <a:pos x="4" y="4"/>
                    </a:cxn>
                    <a:cxn ang="0">
                      <a:pos x="4" y="2"/>
                    </a:cxn>
                    <a:cxn ang="0">
                      <a:pos x="2" y="0"/>
                    </a:cxn>
                    <a:cxn ang="0">
                      <a:pos x="2" y="0"/>
                    </a:cxn>
                  </a:cxnLst>
                  <a:rect l="0" t="0" r="r" b="b"/>
                  <a:pathLst>
                    <a:path w="4" h="6">
                      <a:moveTo>
                        <a:pt x="2" y="0"/>
                      </a:moveTo>
                      <a:lnTo>
                        <a:pt x="2" y="0"/>
                      </a:lnTo>
                      <a:lnTo>
                        <a:pt x="0" y="0"/>
                      </a:lnTo>
                      <a:lnTo>
                        <a:pt x="0" y="2"/>
                      </a:lnTo>
                      <a:lnTo>
                        <a:pt x="0" y="4"/>
                      </a:lnTo>
                      <a:lnTo>
                        <a:pt x="2" y="6"/>
                      </a:lnTo>
                      <a:lnTo>
                        <a:pt x="2" y="6"/>
                      </a:lnTo>
                      <a:lnTo>
                        <a:pt x="4" y="6"/>
                      </a:lnTo>
                      <a:lnTo>
                        <a:pt x="4" y="4"/>
                      </a:lnTo>
                      <a:lnTo>
                        <a:pt x="4" y="2"/>
                      </a:lnTo>
                      <a:lnTo>
                        <a:pt x="2" y="0"/>
                      </a:lnTo>
                      <a:lnTo>
                        <a:pt x="2"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4" name="Freeform 6144"/>
                <p:cNvSpPr>
                  <a:spLocks/>
                </p:cNvSpPr>
                <p:nvPr/>
              </p:nvSpPr>
              <p:spPr bwMode="auto">
                <a:xfrm>
                  <a:off x="3572510" y="3530283"/>
                  <a:ext cx="5080" cy="3810"/>
                </a:xfrm>
                <a:custGeom>
                  <a:avLst/>
                  <a:gdLst/>
                  <a:ahLst/>
                  <a:cxnLst>
                    <a:cxn ang="0">
                      <a:pos x="8" y="2"/>
                    </a:cxn>
                    <a:cxn ang="0">
                      <a:pos x="8" y="2"/>
                    </a:cxn>
                    <a:cxn ang="0">
                      <a:pos x="8" y="0"/>
                    </a:cxn>
                    <a:cxn ang="0">
                      <a:pos x="6" y="0"/>
                    </a:cxn>
                    <a:cxn ang="0">
                      <a:pos x="4" y="0"/>
                    </a:cxn>
                    <a:cxn ang="0">
                      <a:pos x="0" y="2"/>
                    </a:cxn>
                    <a:cxn ang="0">
                      <a:pos x="0" y="4"/>
                    </a:cxn>
                    <a:cxn ang="0">
                      <a:pos x="0" y="6"/>
                    </a:cxn>
                    <a:cxn ang="0">
                      <a:pos x="0" y="6"/>
                    </a:cxn>
                    <a:cxn ang="0">
                      <a:pos x="4" y="6"/>
                    </a:cxn>
                    <a:cxn ang="0">
                      <a:pos x="8" y="2"/>
                    </a:cxn>
                    <a:cxn ang="0">
                      <a:pos x="8" y="2"/>
                    </a:cxn>
                  </a:cxnLst>
                  <a:rect l="0" t="0" r="r" b="b"/>
                  <a:pathLst>
                    <a:path w="8" h="6">
                      <a:moveTo>
                        <a:pt x="8" y="2"/>
                      </a:moveTo>
                      <a:lnTo>
                        <a:pt x="8" y="2"/>
                      </a:lnTo>
                      <a:lnTo>
                        <a:pt x="8" y="0"/>
                      </a:lnTo>
                      <a:lnTo>
                        <a:pt x="6" y="0"/>
                      </a:lnTo>
                      <a:lnTo>
                        <a:pt x="4" y="0"/>
                      </a:lnTo>
                      <a:lnTo>
                        <a:pt x="0" y="2"/>
                      </a:lnTo>
                      <a:lnTo>
                        <a:pt x="0" y="4"/>
                      </a:lnTo>
                      <a:lnTo>
                        <a:pt x="0" y="6"/>
                      </a:lnTo>
                      <a:lnTo>
                        <a:pt x="0" y="6"/>
                      </a:lnTo>
                      <a:lnTo>
                        <a:pt x="4" y="6"/>
                      </a:lnTo>
                      <a:lnTo>
                        <a:pt x="8" y="2"/>
                      </a:lnTo>
                      <a:lnTo>
                        <a:pt x="8" y="2"/>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5" name="Freeform 6149"/>
                <p:cNvSpPr>
                  <a:spLocks/>
                </p:cNvSpPr>
                <p:nvPr/>
              </p:nvSpPr>
              <p:spPr bwMode="auto">
                <a:xfrm>
                  <a:off x="3566160" y="3539173"/>
                  <a:ext cx="3810" cy="2540"/>
                </a:xfrm>
                <a:custGeom>
                  <a:avLst/>
                  <a:gdLst/>
                  <a:ahLst/>
                  <a:cxnLst>
                    <a:cxn ang="0">
                      <a:pos x="0" y="4"/>
                    </a:cxn>
                    <a:cxn ang="0">
                      <a:pos x="0" y="4"/>
                    </a:cxn>
                    <a:cxn ang="0">
                      <a:pos x="2" y="4"/>
                    </a:cxn>
                    <a:cxn ang="0">
                      <a:pos x="6" y="2"/>
                    </a:cxn>
                    <a:cxn ang="0">
                      <a:pos x="6" y="2"/>
                    </a:cxn>
                    <a:cxn ang="0">
                      <a:pos x="6" y="0"/>
                    </a:cxn>
                    <a:cxn ang="0">
                      <a:pos x="2" y="2"/>
                    </a:cxn>
                    <a:cxn ang="0">
                      <a:pos x="0" y="2"/>
                    </a:cxn>
                    <a:cxn ang="0">
                      <a:pos x="0" y="4"/>
                    </a:cxn>
                    <a:cxn ang="0">
                      <a:pos x="0" y="4"/>
                    </a:cxn>
                  </a:cxnLst>
                  <a:rect l="0" t="0" r="r" b="b"/>
                  <a:pathLst>
                    <a:path w="6" h="4">
                      <a:moveTo>
                        <a:pt x="0" y="4"/>
                      </a:moveTo>
                      <a:lnTo>
                        <a:pt x="0" y="4"/>
                      </a:lnTo>
                      <a:lnTo>
                        <a:pt x="2" y="4"/>
                      </a:lnTo>
                      <a:lnTo>
                        <a:pt x="6" y="2"/>
                      </a:lnTo>
                      <a:lnTo>
                        <a:pt x="6" y="2"/>
                      </a:lnTo>
                      <a:lnTo>
                        <a:pt x="6" y="0"/>
                      </a:lnTo>
                      <a:lnTo>
                        <a:pt x="2" y="2"/>
                      </a:lnTo>
                      <a:lnTo>
                        <a:pt x="0" y="2"/>
                      </a:lnTo>
                      <a:lnTo>
                        <a:pt x="0" y="4"/>
                      </a:lnTo>
                      <a:lnTo>
                        <a:pt x="0" y="4"/>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sp>
              <p:nvSpPr>
                <p:cNvPr id="206" name="Freeform 6150"/>
                <p:cNvSpPr>
                  <a:spLocks/>
                </p:cNvSpPr>
                <p:nvPr/>
              </p:nvSpPr>
              <p:spPr bwMode="auto">
                <a:xfrm>
                  <a:off x="3568700" y="3548063"/>
                  <a:ext cx="3810" cy="2540"/>
                </a:xfrm>
                <a:custGeom>
                  <a:avLst/>
                  <a:gdLst/>
                  <a:ahLst/>
                  <a:cxnLst>
                    <a:cxn ang="0">
                      <a:pos x="4" y="0"/>
                    </a:cxn>
                    <a:cxn ang="0">
                      <a:pos x="4" y="0"/>
                    </a:cxn>
                    <a:cxn ang="0">
                      <a:pos x="2" y="2"/>
                    </a:cxn>
                    <a:cxn ang="0">
                      <a:pos x="0" y="2"/>
                    </a:cxn>
                    <a:cxn ang="0">
                      <a:pos x="2" y="4"/>
                    </a:cxn>
                    <a:cxn ang="0">
                      <a:pos x="4" y="4"/>
                    </a:cxn>
                    <a:cxn ang="0">
                      <a:pos x="4" y="4"/>
                    </a:cxn>
                    <a:cxn ang="0">
                      <a:pos x="6" y="2"/>
                    </a:cxn>
                    <a:cxn ang="0">
                      <a:pos x="6" y="2"/>
                    </a:cxn>
                    <a:cxn ang="0">
                      <a:pos x="4" y="0"/>
                    </a:cxn>
                    <a:cxn ang="0">
                      <a:pos x="4" y="0"/>
                    </a:cxn>
                  </a:cxnLst>
                  <a:rect l="0" t="0" r="r" b="b"/>
                  <a:pathLst>
                    <a:path w="6" h="4">
                      <a:moveTo>
                        <a:pt x="4" y="0"/>
                      </a:moveTo>
                      <a:lnTo>
                        <a:pt x="4" y="0"/>
                      </a:lnTo>
                      <a:lnTo>
                        <a:pt x="2" y="2"/>
                      </a:lnTo>
                      <a:lnTo>
                        <a:pt x="0" y="2"/>
                      </a:lnTo>
                      <a:lnTo>
                        <a:pt x="2" y="4"/>
                      </a:lnTo>
                      <a:lnTo>
                        <a:pt x="4" y="4"/>
                      </a:lnTo>
                      <a:lnTo>
                        <a:pt x="4" y="4"/>
                      </a:lnTo>
                      <a:lnTo>
                        <a:pt x="6" y="2"/>
                      </a:lnTo>
                      <a:lnTo>
                        <a:pt x="6" y="2"/>
                      </a:lnTo>
                      <a:lnTo>
                        <a:pt x="4" y="0"/>
                      </a:lnTo>
                      <a:lnTo>
                        <a:pt x="4" y="0"/>
                      </a:lnTo>
                      <a:close/>
                    </a:path>
                  </a:pathLst>
                </a:custGeom>
                <a:grpFill/>
                <a:ln w="9525">
                  <a:noFill/>
                  <a:round/>
                  <a:headEnd/>
                  <a:tailEnd/>
                </a:ln>
              </p:spPr>
              <p:txBody>
                <a:bodyPr/>
                <a:lstStyle/>
                <a:p>
                  <a:pPr fontAlgn="auto">
                    <a:spcBef>
                      <a:spcPts val="0"/>
                    </a:spcBef>
                    <a:spcAft>
                      <a:spcPts val="0"/>
                    </a:spcAft>
                    <a:defRPr/>
                  </a:pPr>
                  <a:endParaRPr lang="da-DK" kern="0">
                    <a:solidFill>
                      <a:sysClr val="windowText" lastClr="000000"/>
                    </a:solidFill>
                    <a:latin typeface="+mn-lt"/>
                    <a:ea typeface="ＭＳ Ｐゴシック" pitchFamily="-97" charset="-128"/>
                    <a:cs typeface="+mn-cs"/>
                  </a:endParaRPr>
                </a:p>
              </p:txBody>
            </p:sp>
          </p:grpSp>
          <p:sp>
            <p:nvSpPr>
              <p:cNvPr id="56" name="Freeform 5962"/>
              <p:cNvSpPr>
                <a:spLocks noEditPoints="1"/>
              </p:cNvSpPr>
              <p:nvPr/>
            </p:nvSpPr>
            <p:spPr bwMode="auto">
              <a:xfrm>
                <a:off x="2518104" y="3674489"/>
                <a:ext cx="1071895" cy="2040511"/>
              </a:xfrm>
              <a:custGeom>
                <a:avLst/>
                <a:gdLst/>
                <a:ahLst/>
                <a:cxnLst>
                  <a:cxn ang="0">
                    <a:pos x="266" y="3286"/>
                  </a:cxn>
                  <a:cxn ang="0">
                    <a:pos x="232" y="3100"/>
                  </a:cxn>
                  <a:cxn ang="0">
                    <a:pos x="290" y="3112"/>
                  </a:cxn>
                  <a:cxn ang="0">
                    <a:pos x="254" y="3122"/>
                  </a:cxn>
                  <a:cxn ang="0">
                    <a:pos x="244" y="3216"/>
                  </a:cxn>
                  <a:cxn ang="0">
                    <a:pos x="246" y="3146"/>
                  </a:cxn>
                  <a:cxn ang="0">
                    <a:pos x="232" y="3160"/>
                  </a:cxn>
                  <a:cxn ang="0">
                    <a:pos x="290" y="3286"/>
                  </a:cxn>
                  <a:cxn ang="0">
                    <a:pos x="242" y="3148"/>
                  </a:cxn>
                  <a:cxn ang="0">
                    <a:pos x="292" y="2914"/>
                  </a:cxn>
                  <a:cxn ang="0">
                    <a:pos x="304" y="2900"/>
                  </a:cxn>
                  <a:cxn ang="0">
                    <a:pos x="262" y="2968"/>
                  </a:cxn>
                  <a:cxn ang="0">
                    <a:pos x="550" y="3520"/>
                  </a:cxn>
                  <a:cxn ang="0">
                    <a:pos x="480" y="3536"/>
                  </a:cxn>
                  <a:cxn ang="0">
                    <a:pos x="448" y="3508"/>
                  </a:cxn>
                  <a:cxn ang="0">
                    <a:pos x="510" y="3502"/>
                  </a:cxn>
                  <a:cxn ang="0">
                    <a:pos x="438" y="3512"/>
                  </a:cxn>
                  <a:cxn ang="0">
                    <a:pos x="268" y="3370"/>
                  </a:cxn>
                  <a:cxn ang="0">
                    <a:pos x="284" y="3406"/>
                  </a:cxn>
                  <a:cxn ang="0">
                    <a:pos x="248" y="3292"/>
                  </a:cxn>
                  <a:cxn ang="0">
                    <a:pos x="390" y="3462"/>
                  </a:cxn>
                  <a:cxn ang="0">
                    <a:pos x="338" y="3418"/>
                  </a:cxn>
                  <a:cxn ang="0">
                    <a:pos x="354" y="3448"/>
                  </a:cxn>
                  <a:cxn ang="0">
                    <a:pos x="474" y="3462"/>
                  </a:cxn>
                  <a:cxn ang="0">
                    <a:pos x="374" y="3476"/>
                  </a:cxn>
                  <a:cxn ang="0">
                    <a:pos x="504" y="3502"/>
                  </a:cxn>
                  <a:cxn ang="0">
                    <a:pos x="290" y="2738"/>
                  </a:cxn>
                  <a:cxn ang="0">
                    <a:pos x="262" y="2838"/>
                  </a:cxn>
                  <a:cxn ang="0">
                    <a:pos x="296" y="2846"/>
                  </a:cxn>
                  <a:cxn ang="0">
                    <a:pos x="278" y="2958"/>
                  </a:cxn>
                  <a:cxn ang="0">
                    <a:pos x="1480" y="698"/>
                  </a:cxn>
                  <a:cxn ang="0">
                    <a:pos x="1210" y="636"/>
                  </a:cxn>
                  <a:cxn ang="0">
                    <a:pos x="1200" y="392"/>
                  </a:cxn>
                  <a:cxn ang="0">
                    <a:pos x="964" y="300"/>
                  </a:cxn>
                  <a:cxn ang="0">
                    <a:pos x="748" y="94"/>
                  </a:cxn>
                  <a:cxn ang="0">
                    <a:pos x="444" y="34"/>
                  </a:cxn>
                  <a:cxn ang="0">
                    <a:pos x="248" y="72"/>
                  </a:cxn>
                  <a:cxn ang="0">
                    <a:pos x="144" y="472"/>
                  </a:cxn>
                  <a:cxn ang="0">
                    <a:pos x="56" y="726"/>
                  </a:cxn>
                  <a:cxn ang="0">
                    <a:pos x="172" y="1210"/>
                  </a:cxn>
                  <a:cxn ang="0">
                    <a:pos x="434" y="1746"/>
                  </a:cxn>
                  <a:cxn ang="0">
                    <a:pos x="398" y="2236"/>
                  </a:cxn>
                  <a:cxn ang="0">
                    <a:pos x="310" y="2626"/>
                  </a:cxn>
                  <a:cxn ang="0">
                    <a:pos x="330" y="2830"/>
                  </a:cxn>
                  <a:cxn ang="0">
                    <a:pos x="270" y="2964"/>
                  </a:cxn>
                  <a:cxn ang="0">
                    <a:pos x="268" y="3066"/>
                  </a:cxn>
                  <a:cxn ang="0">
                    <a:pos x="278" y="3168"/>
                  </a:cxn>
                  <a:cxn ang="0">
                    <a:pos x="292" y="3234"/>
                  </a:cxn>
                  <a:cxn ang="0">
                    <a:pos x="310" y="3308"/>
                  </a:cxn>
                  <a:cxn ang="0">
                    <a:pos x="306" y="3328"/>
                  </a:cxn>
                  <a:cxn ang="0">
                    <a:pos x="368" y="3356"/>
                  </a:cxn>
                  <a:cxn ang="0">
                    <a:pos x="402" y="3372"/>
                  </a:cxn>
                  <a:cxn ang="0">
                    <a:pos x="496" y="3342"/>
                  </a:cxn>
                  <a:cxn ang="0">
                    <a:pos x="550" y="2976"/>
                  </a:cxn>
                  <a:cxn ang="0">
                    <a:pos x="714" y="2778"/>
                  </a:cxn>
                  <a:cxn ang="0">
                    <a:pos x="774" y="2576"/>
                  </a:cxn>
                  <a:cxn ang="0">
                    <a:pos x="992" y="2348"/>
                  </a:cxn>
                  <a:cxn ang="0">
                    <a:pos x="1364" y="1824"/>
                  </a:cxn>
                  <a:cxn ang="0">
                    <a:pos x="1702" y="1418"/>
                  </a:cxn>
                  <a:cxn ang="0">
                    <a:pos x="672" y="3500"/>
                  </a:cxn>
                  <a:cxn ang="0">
                    <a:pos x="290" y="3036"/>
                  </a:cxn>
                  <a:cxn ang="0">
                    <a:pos x="252" y="3140"/>
                  </a:cxn>
                  <a:cxn ang="0">
                    <a:pos x="276" y="3192"/>
                  </a:cxn>
                </a:cxnLst>
                <a:rect l="0" t="0" r="r" b="b"/>
                <a:pathLst>
                  <a:path w="1874" h="3562">
                    <a:moveTo>
                      <a:pt x="282" y="3320"/>
                    </a:moveTo>
                    <a:lnTo>
                      <a:pt x="282" y="3320"/>
                    </a:lnTo>
                    <a:lnTo>
                      <a:pt x="286" y="3322"/>
                    </a:lnTo>
                    <a:lnTo>
                      <a:pt x="286" y="3320"/>
                    </a:lnTo>
                    <a:lnTo>
                      <a:pt x="284" y="3316"/>
                    </a:lnTo>
                    <a:lnTo>
                      <a:pt x="282" y="3312"/>
                    </a:lnTo>
                    <a:lnTo>
                      <a:pt x="282" y="3312"/>
                    </a:lnTo>
                    <a:lnTo>
                      <a:pt x="278" y="3308"/>
                    </a:lnTo>
                    <a:lnTo>
                      <a:pt x="274" y="3308"/>
                    </a:lnTo>
                    <a:lnTo>
                      <a:pt x="274" y="3308"/>
                    </a:lnTo>
                    <a:lnTo>
                      <a:pt x="274" y="3310"/>
                    </a:lnTo>
                    <a:lnTo>
                      <a:pt x="274" y="3310"/>
                    </a:lnTo>
                    <a:lnTo>
                      <a:pt x="276" y="3314"/>
                    </a:lnTo>
                    <a:lnTo>
                      <a:pt x="276" y="3316"/>
                    </a:lnTo>
                    <a:lnTo>
                      <a:pt x="276" y="3316"/>
                    </a:lnTo>
                    <a:lnTo>
                      <a:pt x="282" y="3320"/>
                    </a:lnTo>
                    <a:lnTo>
                      <a:pt x="282" y="3320"/>
                    </a:lnTo>
                    <a:close/>
                    <a:moveTo>
                      <a:pt x="286" y="3348"/>
                    </a:moveTo>
                    <a:lnTo>
                      <a:pt x="286" y="3348"/>
                    </a:lnTo>
                    <a:lnTo>
                      <a:pt x="288" y="3348"/>
                    </a:lnTo>
                    <a:lnTo>
                      <a:pt x="290" y="3348"/>
                    </a:lnTo>
                    <a:lnTo>
                      <a:pt x="296" y="3344"/>
                    </a:lnTo>
                    <a:lnTo>
                      <a:pt x="296" y="3344"/>
                    </a:lnTo>
                    <a:lnTo>
                      <a:pt x="296" y="3344"/>
                    </a:lnTo>
                    <a:lnTo>
                      <a:pt x="294" y="3340"/>
                    </a:lnTo>
                    <a:lnTo>
                      <a:pt x="286" y="3334"/>
                    </a:lnTo>
                    <a:lnTo>
                      <a:pt x="286" y="3334"/>
                    </a:lnTo>
                    <a:lnTo>
                      <a:pt x="282" y="3330"/>
                    </a:lnTo>
                    <a:lnTo>
                      <a:pt x="278" y="3330"/>
                    </a:lnTo>
                    <a:lnTo>
                      <a:pt x="276" y="3332"/>
                    </a:lnTo>
                    <a:lnTo>
                      <a:pt x="278" y="3334"/>
                    </a:lnTo>
                    <a:lnTo>
                      <a:pt x="278" y="3334"/>
                    </a:lnTo>
                    <a:lnTo>
                      <a:pt x="278" y="3336"/>
                    </a:lnTo>
                    <a:lnTo>
                      <a:pt x="280" y="3336"/>
                    </a:lnTo>
                    <a:lnTo>
                      <a:pt x="282" y="3336"/>
                    </a:lnTo>
                    <a:lnTo>
                      <a:pt x="284" y="3336"/>
                    </a:lnTo>
                    <a:lnTo>
                      <a:pt x="284" y="3336"/>
                    </a:lnTo>
                    <a:lnTo>
                      <a:pt x="284" y="3338"/>
                    </a:lnTo>
                    <a:lnTo>
                      <a:pt x="284" y="3340"/>
                    </a:lnTo>
                    <a:lnTo>
                      <a:pt x="284" y="3342"/>
                    </a:lnTo>
                    <a:lnTo>
                      <a:pt x="286" y="3348"/>
                    </a:lnTo>
                    <a:lnTo>
                      <a:pt x="286" y="3348"/>
                    </a:lnTo>
                    <a:close/>
                    <a:moveTo>
                      <a:pt x="270" y="3286"/>
                    </a:moveTo>
                    <a:lnTo>
                      <a:pt x="270" y="3286"/>
                    </a:lnTo>
                    <a:lnTo>
                      <a:pt x="270" y="3280"/>
                    </a:lnTo>
                    <a:lnTo>
                      <a:pt x="268" y="3278"/>
                    </a:lnTo>
                    <a:lnTo>
                      <a:pt x="266" y="3278"/>
                    </a:lnTo>
                    <a:lnTo>
                      <a:pt x="266" y="3278"/>
                    </a:lnTo>
                    <a:lnTo>
                      <a:pt x="262" y="3278"/>
                    </a:lnTo>
                    <a:lnTo>
                      <a:pt x="260" y="3280"/>
                    </a:lnTo>
                    <a:lnTo>
                      <a:pt x="256" y="3286"/>
                    </a:lnTo>
                    <a:lnTo>
                      <a:pt x="256" y="3286"/>
                    </a:lnTo>
                    <a:lnTo>
                      <a:pt x="252" y="3292"/>
                    </a:lnTo>
                    <a:lnTo>
                      <a:pt x="254" y="3292"/>
                    </a:lnTo>
                    <a:lnTo>
                      <a:pt x="258" y="3292"/>
                    </a:lnTo>
                    <a:lnTo>
                      <a:pt x="258" y="3292"/>
                    </a:lnTo>
                    <a:lnTo>
                      <a:pt x="262" y="3290"/>
                    </a:lnTo>
                    <a:lnTo>
                      <a:pt x="262" y="3288"/>
                    </a:lnTo>
                    <a:lnTo>
                      <a:pt x="264" y="3286"/>
                    </a:lnTo>
                    <a:lnTo>
                      <a:pt x="266" y="3286"/>
                    </a:lnTo>
                    <a:lnTo>
                      <a:pt x="266" y="3286"/>
                    </a:lnTo>
                    <a:lnTo>
                      <a:pt x="266" y="3288"/>
                    </a:lnTo>
                    <a:lnTo>
                      <a:pt x="268" y="3290"/>
                    </a:lnTo>
                    <a:lnTo>
                      <a:pt x="270" y="3288"/>
                    </a:lnTo>
                    <a:lnTo>
                      <a:pt x="270" y="3286"/>
                    </a:lnTo>
                    <a:lnTo>
                      <a:pt x="270" y="3286"/>
                    </a:lnTo>
                    <a:close/>
                    <a:moveTo>
                      <a:pt x="262" y="3260"/>
                    </a:moveTo>
                    <a:lnTo>
                      <a:pt x="262" y="3260"/>
                    </a:lnTo>
                    <a:lnTo>
                      <a:pt x="256" y="3260"/>
                    </a:lnTo>
                    <a:lnTo>
                      <a:pt x="254" y="3260"/>
                    </a:lnTo>
                    <a:lnTo>
                      <a:pt x="254" y="3262"/>
                    </a:lnTo>
                    <a:lnTo>
                      <a:pt x="256" y="3264"/>
                    </a:lnTo>
                    <a:lnTo>
                      <a:pt x="256" y="3264"/>
                    </a:lnTo>
                    <a:lnTo>
                      <a:pt x="258" y="3266"/>
                    </a:lnTo>
                    <a:lnTo>
                      <a:pt x="258" y="3266"/>
                    </a:lnTo>
                    <a:lnTo>
                      <a:pt x="260" y="3270"/>
                    </a:lnTo>
                    <a:lnTo>
                      <a:pt x="264" y="3272"/>
                    </a:lnTo>
                    <a:lnTo>
                      <a:pt x="264" y="3272"/>
                    </a:lnTo>
                    <a:lnTo>
                      <a:pt x="266" y="3270"/>
                    </a:lnTo>
                    <a:lnTo>
                      <a:pt x="268" y="3268"/>
                    </a:lnTo>
                    <a:lnTo>
                      <a:pt x="270" y="3266"/>
                    </a:lnTo>
                    <a:lnTo>
                      <a:pt x="274" y="3266"/>
                    </a:lnTo>
                    <a:lnTo>
                      <a:pt x="274" y="3266"/>
                    </a:lnTo>
                    <a:lnTo>
                      <a:pt x="276" y="3266"/>
                    </a:lnTo>
                    <a:lnTo>
                      <a:pt x="276" y="3266"/>
                    </a:lnTo>
                    <a:lnTo>
                      <a:pt x="276" y="3258"/>
                    </a:lnTo>
                    <a:lnTo>
                      <a:pt x="276" y="3258"/>
                    </a:lnTo>
                    <a:lnTo>
                      <a:pt x="274" y="3254"/>
                    </a:lnTo>
                    <a:lnTo>
                      <a:pt x="270" y="3250"/>
                    </a:lnTo>
                    <a:lnTo>
                      <a:pt x="268" y="3250"/>
                    </a:lnTo>
                    <a:lnTo>
                      <a:pt x="266" y="3252"/>
                    </a:lnTo>
                    <a:lnTo>
                      <a:pt x="266" y="3252"/>
                    </a:lnTo>
                    <a:lnTo>
                      <a:pt x="268" y="3258"/>
                    </a:lnTo>
                    <a:lnTo>
                      <a:pt x="266" y="3260"/>
                    </a:lnTo>
                    <a:lnTo>
                      <a:pt x="262" y="3260"/>
                    </a:lnTo>
                    <a:lnTo>
                      <a:pt x="262" y="3260"/>
                    </a:lnTo>
                    <a:close/>
                    <a:moveTo>
                      <a:pt x="236" y="3110"/>
                    </a:moveTo>
                    <a:lnTo>
                      <a:pt x="236" y="3110"/>
                    </a:lnTo>
                    <a:lnTo>
                      <a:pt x="238" y="3110"/>
                    </a:lnTo>
                    <a:lnTo>
                      <a:pt x="240" y="3112"/>
                    </a:lnTo>
                    <a:lnTo>
                      <a:pt x="240" y="3118"/>
                    </a:lnTo>
                    <a:lnTo>
                      <a:pt x="240" y="3118"/>
                    </a:lnTo>
                    <a:lnTo>
                      <a:pt x="240" y="3126"/>
                    </a:lnTo>
                    <a:lnTo>
                      <a:pt x="242" y="3128"/>
                    </a:lnTo>
                    <a:lnTo>
                      <a:pt x="244" y="3128"/>
                    </a:lnTo>
                    <a:lnTo>
                      <a:pt x="244" y="3128"/>
                    </a:lnTo>
                    <a:lnTo>
                      <a:pt x="248" y="3124"/>
                    </a:lnTo>
                    <a:lnTo>
                      <a:pt x="250" y="3120"/>
                    </a:lnTo>
                    <a:lnTo>
                      <a:pt x="250" y="3120"/>
                    </a:lnTo>
                    <a:lnTo>
                      <a:pt x="244" y="3108"/>
                    </a:lnTo>
                    <a:lnTo>
                      <a:pt x="240" y="3102"/>
                    </a:lnTo>
                    <a:lnTo>
                      <a:pt x="240" y="3096"/>
                    </a:lnTo>
                    <a:lnTo>
                      <a:pt x="240" y="3096"/>
                    </a:lnTo>
                    <a:lnTo>
                      <a:pt x="238" y="3090"/>
                    </a:lnTo>
                    <a:lnTo>
                      <a:pt x="236" y="3088"/>
                    </a:lnTo>
                    <a:lnTo>
                      <a:pt x="232" y="3090"/>
                    </a:lnTo>
                    <a:lnTo>
                      <a:pt x="232" y="3090"/>
                    </a:lnTo>
                    <a:lnTo>
                      <a:pt x="230" y="3094"/>
                    </a:lnTo>
                    <a:lnTo>
                      <a:pt x="230" y="3098"/>
                    </a:lnTo>
                    <a:lnTo>
                      <a:pt x="232" y="3100"/>
                    </a:lnTo>
                    <a:lnTo>
                      <a:pt x="232" y="3104"/>
                    </a:lnTo>
                    <a:lnTo>
                      <a:pt x="232" y="3104"/>
                    </a:lnTo>
                    <a:lnTo>
                      <a:pt x="230" y="3108"/>
                    </a:lnTo>
                    <a:lnTo>
                      <a:pt x="230" y="3110"/>
                    </a:lnTo>
                    <a:lnTo>
                      <a:pt x="232" y="3110"/>
                    </a:lnTo>
                    <a:lnTo>
                      <a:pt x="236" y="3110"/>
                    </a:lnTo>
                    <a:lnTo>
                      <a:pt x="236" y="3110"/>
                    </a:lnTo>
                    <a:close/>
                    <a:moveTo>
                      <a:pt x="284" y="3278"/>
                    </a:moveTo>
                    <a:lnTo>
                      <a:pt x="284" y="3278"/>
                    </a:lnTo>
                    <a:lnTo>
                      <a:pt x="284" y="3276"/>
                    </a:lnTo>
                    <a:lnTo>
                      <a:pt x="284" y="3270"/>
                    </a:lnTo>
                    <a:lnTo>
                      <a:pt x="282" y="3264"/>
                    </a:lnTo>
                    <a:lnTo>
                      <a:pt x="280" y="3260"/>
                    </a:lnTo>
                    <a:lnTo>
                      <a:pt x="280" y="3260"/>
                    </a:lnTo>
                    <a:lnTo>
                      <a:pt x="278" y="3264"/>
                    </a:lnTo>
                    <a:lnTo>
                      <a:pt x="278" y="3270"/>
                    </a:lnTo>
                    <a:lnTo>
                      <a:pt x="280" y="3276"/>
                    </a:lnTo>
                    <a:lnTo>
                      <a:pt x="282" y="3278"/>
                    </a:lnTo>
                    <a:lnTo>
                      <a:pt x="284" y="3278"/>
                    </a:lnTo>
                    <a:lnTo>
                      <a:pt x="284" y="3278"/>
                    </a:lnTo>
                    <a:close/>
                    <a:moveTo>
                      <a:pt x="304" y="3362"/>
                    </a:moveTo>
                    <a:lnTo>
                      <a:pt x="304" y="3362"/>
                    </a:lnTo>
                    <a:lnTo>
                      <a:pt x="304" y="3358"/>
                    </a:lnTo>
                    <a:lnTo>
                      <a:pt x="304" y="3356"/>
                    </a:lnTo>
                    <a:lnTo>
                      <a:pt x="306" y="3354"/>
                    </a:lnTo>
                    <a:lnTo>
                      <a:pt x="304" y="3352"/>
                    </a:lnTo>
                    <a:lnTo>
                      <a:pt x="304" y="3352"/>
                    </a:lnTo>
                    <a:lnTo>
                      <a:pt x="302" y="3350"/>
                    </a:lnTo>
                    <a:lnTo>
                      <a:pt x="300" y="3350"/>
                    </a:lnTo>
                    <a:lnTo>
                      <a:pt x="294" y="3356"/>
                    </a:lnTo>
                    <a:lnTo>
                      <a:pt x="294" y="3356"/>
                    </a:lnTo>
                    <a:lnTo>
                      <a:pt x="292" y="3360"/>
                    </a:lnTo>
                    <a:lnTo>
                      <a:pt x="292" y="3362"/>
                    </a:lnTo>
                    <a:lnTo>
                      <a:pt x="296" y="3368"/>
                    </a:lnTo>
                    <a:lnTo>
                      <a:pt x="296" y="3368"/>
                    </a:lnTo>
                    <a:lnTo>
                      <a:pt x="298" y="3368"/>
                    </a:lnTo>
                    <a:lnTo>
                      <a:pt x="300" y="3368"/>
                    </a:lnTo>
                    <a:lnTo>
                      <a:pt x="302" y="3366"/>
                    </a:lnTo>
                    <a:lnTo>
                      <a:pt x="304" y="3362"/>
                    </a:lnTo>
                    <a:lnTo>
                      <a:pt x="304" y="3362"/>
                    </a:lnTo>
                    <a:close/>
                    <a:moveTo>
                      <a:pt x="262" y="3320"/>
                    </a:moveTo>
                    <a:lnTo>
                      <a:pt x="262" y="3320"/>
                    </a:lnTo>
                    <a:lnTo>
                      <a:pt x="260" y="3330"/>
                    </a:lnTo>
                    <a:lnTo>
                      <a:pt x="258" y="3332"/>
                    </a:lnTo>
                    <a:lnTo>
                      <a:pt x="260" y="3330"/>
                    </a:lnTo>
                    <a:lnTo>
                      <a:pt x="260" y="3330"/>
                    </a:lnTo>
                    <a:lnTo>
                      <a:pt x="264" y="3328"/>
                    </a:lnTo>
                    <a:lnTo>
                      <a:pt x="268" y="3320"/>
                    </a:lnTo>
                    <a:lnTo>
                      <a:pt x="268" y="3320"/>
                    </a:lnTo>
                    <a:lnTo>
                      <a:pt x="268" y="3316"/>
                    </a:lnTo>
                    <a:lnTo>
                      <a:pt x="266" y="3314"/>
                    </a:lnTo>
                    <a:lnTo>
                      <a:pt x="264" y="3314"/>
                    </a:lnTo>
                    <a:lnTo>
                      <a:pt x="262" y="3320"/>
                    </a:lnTo>
                    <a:lnTo>
                      <a:pt x="262" y="3320"/>
                    </a:lnTo>
                    <a:close/>
                    <a:moveTo>
                      <a:pt x="276" y="3112"/>
                    </a:moveTo>
                    <a:lnTo>
                      <a:pt x="276" y="3112"/>
                    </a:lnTo>
                    <a:lnTo>
                      <a:pt x="286" y="3114"/>
                    </a:lnTo>
                    <a:lnTo>
                      <a:pt x="288" y="3114"/>
                    </a:lnTo>
                    <a:lnTo>
                      <a:pt x="290" y="3112"/>
                    </a:lnTo>
                    <a:lnTo>
                      <a:pt x="290" y="3112"/>
                    </a:lnTo>
                    <a:lnTo>
                      <a:pt x="284" y="3110"/>
                    </a:lnTo>
                    <a:lnTo>
                      <a:pt x="276" y="3102"/>
                    </a:lnTo>
                    <a:lnTo>
                      <a:pt x="276" y="3102"/>
                    </a:lnTo>
                    <a:lnTo>
                      <a:pt x="270" y="3096"/>
                    </a:lnTo>
                    <a:lnTo>
                      <a:pt x="270" y="3098"/>
                    </a:lnTo>
                    <a:lnTo>
                      <a:pt x="270" y="3102"/>
                    </a:lnTo>
                    <a:lnTo>
                      <a:pt x="270" y="3102"/>
                    </a:lnTo>
                    <a:lnTo>
                      <a:pt x="272" y="3108"/>
                    </a:lnTo>
                    <a:lnTo>
                      <a:pt x="276" y="3112"/>
                    </a:lnTo>
                    <a:lnTo>
                      <a:pt x="276" y="3112"/>
                    </a:lnTo>
                    <a:close/>
                    <a:moveTo>
                      <a:pt x="274" y="3270"/>
                    </a:moveTo>
                    <a:lnTo>
                      <a:pt x="274" y="3270"/>
                    </a:lnTo>
                    <a:lnTo>
                      <a:pt x="272" y="3270"/>
                    </a:lnTo>
                    <a:lnTo>
                      <a:pt x="270" y="3272"/>
                    </a:lnTo>
                    <a:lnTo>
                      <a:pt x="270" y="3274"/>
                    </a:lnTo>
                    <a:lnTo>
                      <a:pt x="272" y="3276"/>
                    </a:lnTo>
                    <a:lnTo>
                      <a:pt x="272" y="3276"/>
                    </a:lnTo>
                    <a:lnTo>
                      <a:pt x="274" y="3278"/>
                    </a:lnTo>
                    <a:lnTo>
                      <a:pt x="276" y="3276"/>
                    </a:lnTo>
                    <a:lnTo>
                      <a:pt x="276" y="3272"/>
                    </a:lnTo>
                    <a:lnTo>
                      <a:pt x="274" y="3270"/>
                    </a:lnTo>
                    <a:lnTo>
                      <a:pt x="274" y="3270"/>
                    </a:lnTo>
                    <a:close/>
                    <a:moveTo>
                      <a:pt x="246" y="3090"/>
                    </a:moveTo>
                    <a:lnTo>
                      <a:pt x="246" y="3090"/>
                    </a:lnTo>
                    <a:lnTo>
                      <a:pt x="250" y="3090"/>
                    </a:lnTo>
                    <a:lnTo>
                      <a:pt x="252" y="3090"/>
                    </a:lnTo>
                    <a:lnTo>
                      <a:pt x="254" y="3092"/>
                    </a:lnTo>
                    <a:lnTo>
                      <a:pt x="258" y="3092"/>
                    </a:lnTo>
                    <a:lnTo>
                      <a:pt x="258" y="3092"/>
                    </a:lnTo>
                    <a:lnTo>
                      <a:pt x="260" y="3090"/>
                    </a:lnTo>
                    <a:lnTo>
                      <a:pt x="260" y="3084"/>
                    </a:lnTo>
                    <a:lnTo>
                      <a:pt x="260" y="3080"/>
                    </a:lnTo>
                    <a:lnTo>
                      <a:pt x="260" y="3076"/>
                    </a:lnTo>
                    <a:lnTo>
                      <a:pt x="260" y="3076"/>
                    </a:lnTo>
                    <a:lnTo>
                      <a:pt x="258" y="3078"/>
                    </a:lnTo>
                    <a:lnTo>
                      <a:pt x="256" y="3080"/>
                    </a:lnTo>
                    <a:lnTo>
                      <a:pt x="252" y="3084"/>
                    </a:lnTo>
                    <a:lnTo>
                      <a:pt x="248" y="3086"/>
                    </a:lnTo>
                    <a:lnTo>
                      <a:pt x="248" y="3086"/>
                    </a:lnTo>
                    <a:lnTo>
                      <a:pt x="244" y="3086"/>
                    </a:lnTo>
                    <a:lnTo>
                      <a:pt x="242" y="3088"/>
                    </a:lnTo>
                    <a:lnTo>
                      <a:pt x="242" y="3090"/>
                    </a:lnTo>
                    <a:lnTo>
                      <a:pt x="246" y="3090"/>
                    </a:lnTo>
                    <a:lnTo>
                      <a:pt x="246" y="3090"/>
                    </a:lnTo>
                    <a:close/>
                    <a:moveTo>
                      <a:pt x="248" y="3074"/>
                    </a:moveTo>
                    <a:lnTo>
                      <a:pt x="248" y="3074"/>
                    </a:lnTo>
                    <a:lnTo>
                      <a:pt x="246" y="3072"/>
                    </a:lnTo>
                    <a:lnTo>
                      <a:pt x="244" y="3072"/>
                    </a:lnTo>
                    <a:lnTo>
                      <a:pt x="242" y="3074"/>
                    </a:lnTo>
                    <a:lnTo>
                      <a:pt x="244" y="3078"/>
                    </a:lnTo>
                    <a:lnTo>
                      <a:pt x="244" y="3078"/>
                    </a:lnTo>
                    <a:lnTo>
                      <a:pt x="246" y="3080"/>
                    </a:lnTo>
                    <a:lnTo>
                      <a:pt x="248" y="3078"/>
                    </a:lnTo>
                    <a:lnTo>
                      <a:pt x="250" y="3076"/>
                    </a:lnTo>
                    <a:lnTo>
                      <a:pt x="248" y="3074"/>
                    </a:lnTo>
                    <a:lnTo>
                      <a:pt x="248" y="3074"/>
                    </a:lnTo>
                    <a:close/>
                    <a:moveTo>
                      <a:pt x="252" y="3118"/>
                    </a:moveTo>
                    <a:lnTo>
                      <a:pt x="252" y="3118"/>
                    </a:lnTo>
                    <a:lnTo>
                      <a:pt x="252" y="3120"/>
                    </a:lnTo>
                    <a:lnTo>
                      <a:pt x="254" y="3122"/>
                    </a:lnTo>
                    <a:lnTo>
                      <a:pt x="266" y="3128"/>
                    </a:lnTo>
                    <a:lnTo>
                      <a:pt x="266" y="3128"/>
                    </a:lnTo>
                    <a:lnTo>
                      <a:pt x="272" y="3128"/>
                    </a:lnTo>
                    <a:lnTo>
                      <a:pt x="274" y="3124"/>
                    </a:lnTo>
                    <a:lnTo>
                      <a:pt x="274" y="3124"/>
                    </a:lnTo>
                    <a:lnTo>
                      <a:pt x="274" y="3124"/>
                    </a:lnTo>
                    <a:lnTo>
                      <a:pt x="274" y="3124"/>
                    </a:lnTo>
                    <a:lnTo>
                      <a:pt x="272" y="3124"/>
                    </a:lnTo>
                    <a:lnTo>
                      <a:pt x="270" y="3122"/>
                    </a:lnTo>
                    <a:lnTo>
                      <a:pt x="270" y="3122"/>
                    </a:lnTo>
                    <a:lnTo>
                      <a:pt x="268" y="3118"/>
                    </a:lnTo>
                    <a:lnTo>
                      <a:pt x="270" y="3116"/>
                    </a:lnTo>
                    <a:lnTo>
                      <a:pt x="270" y="3114"/>
                    </a:lnTo>
                    <a:lnTo>
                      <a:pt x="270" y="3108"/>
                    </a:lnTo>
                    <a:lnTo>
                      <a:pt x="270" y="3108"/>
                    </a:lnTo>
                    <a:lnTo>
                      <a:pt x="266" y="3100"/>
                    </a:lnTo>
                    <a:lnTo>
                      <a:pt x="264" y="3098"/>
                    </a:lnTo>
                    <a:lnTo>
                      <a:pt x="262" y="3102"/>
                    </a:lnTo>
                    <a:lnTo>
                      <a:pt x="262" y="3102"/>
                    </a:lnTo>
                    <a:lnTo>
                      <a:pt x="262" y="3106"/>
                    </a:lnTo>
                    <a:lnTo>
                      <a:pt x="262" y="3108"/>
                    </a:lnTo>
                    <a:lnTo>
                      <a:pt x="262" y="3114"/>
                    </a:lnTo>
                    <a:lnTo>
                      <a:pt x="262" y="3114"/>
                    </a:lnTo>
                    <a:lnTo>
                      <a:pt x="262" y="3116"/>
                    </a:lnTo>
                    <a:lnTo>
                      <a:pt x="260" y="3114"/>
                    </a:lnTo>
                    <a:lnTo>
                      <a:pt x="258" y="3114"/>
                    </a:lnTo>
                    <a:lnTo>
                      <a:pt x="252" y="3118"/>
                    </a:lnTo>
                    <a:lnTo>
                      <a:pt x="252" y="3118"/>
                    </a:lnTo>
                    <a:close/>
                    <a:moveTo>
                      <a:pt x="246" y="3228"/>
                    </a:moveTo>
                    <a:lnTo>
                      <a:pt x="246" y="3228"/>
                    </a:lnTo>
                    <a:lnTo>
                      <a:pt x="248" y="3228"/>
                    </a:lnTo>
                    <a:lnTo>
                      <a:pt x="250" y="3228"/>
                    </a:lnTo>
                    <a:lnTo>
                      <a:pt x="252" y="3228"/>
                    </a:lnTo>
                    <a:lnTo>
                      <a:pt x="254" y="3228"/>
                    </a:lnTo>
                    <a:lnTo>
                      <a:pt x="254" y="3228"/>
                    </a:lnTo>
                    <a:lnTo>
                      <a:pt x="256" y="3224"/>
                    </a:lnTo>
                    <a:lnTo>
                      <a:pt x="256" y="3222"/>
                    </a:lnTo>
                    <a:lnTo>
                      <a:pt x="256" y="3222"/>
                    </a:lnTo>
                    <a:lnTo>
                      <a:pt x="258" y="3218"/>
                    </a:lnTo>
                    <a:lnTo>
                      <a:pt x="258" y="3218"/>
                    </a:lnTo>
                    <a:lnTo>
                      <a:pt x="262" y="3216"/>
                    </a:lnTo>
                    <a:lnTo>
                      <a:pt x="262" y="3214"/>
                    </a:lnTo>
                    <a:lnTo>
                      <a:pt x="260" y="3214"/>
                    </a:lnTo>
                    <a:lnTo>
                      <a:pt x="256" y="3216"/>
                    </a:lnTo>
                    <a:lnTo>
                      <a:pt x="256" y="3216"/>
                    </a:lnTo>
                    <a:lnTo>
                      <a:pt x="254" y="3216"/>
                    </a:lnTo>
                    <a:lnTo>
                      <a:pt x="254" y="3214"/>
                    </a:lnTo>
                    <a:lnTo>
                      <a:pt x="254" y="3212"/>
                    </a:lnTo>
                    <a:lnTo>
                      <a:pt x="252" y="3212"/>
                    </a:lnTo>
                    <a:lnTo>
                      <a:pt x="252" y="3212"/>
                    </a:lnTo>
                    <a:lnTo>
                      <a:pt x="248" y="3210"/>
                    </a:lnTo>
                    <a:lnTo>
                      <a:pt x="246" y="3210"/>
                    </a:lnTo>
                    <a:lnTo>
                      <a:pt x="242" y="3208"/>
                    </a:lnTo>
                    <a:lnTo>
                      <a:pt x="238" y="3208"/>
                    </a:lnTo>
                    <a:lnTo>
                      <a:pt x="238" y="3208"/>
                    </a:lnTo>
                    <a:lnTo>
                      <a:pt x="236" y="3208"/>
                    </a:lnTo>
                    <a:lnTo>
                      <a:pt x="236" y="3210"/>
                    </a:lnTo>
                    <a:lnTo>
                      <a:pt x="240" y="3212"/>
                    </a:lnTo>
                    <a:lnTo>
                      <a:pt x="244" y="3216"/>
                    </a:lnTo>
                    <a:lnTo>
                      <a:pt x="244" y="3216"/>
                    </a:lnTo>
                    <a:lnTo>
                      <a:pt x="244" y="3218"/>
                    </a:lnTo>
                    <a:lnTo>
                      <a:pt x="244" y="3218"/>
                    </a:lnTo>
                    <a:lnTo>
                      <a:pt x="242" y="3218"/>
                    </a:lnTo>
                    <a:lnTo>
                      <a:pt x="240" y="3218"/>
                    </a:lnTo>
                    <a:lnTo>
                      <a:pt x="236" y="3218"/>
                    </a:lnTo>
                    <a:lnTo>
                      <a:pt x="232" y="3222"/>
                    </a:lnTo>
                    <a:lnTo>
                      <a:pt x="232" y="3222"/>
                    </a:lnTo>
                    <a:lnTo>
                      <a:pt x="232" y="3224"/>
                    </a:lnTo>
                    <a:lnTo>
                      <a:pt x="234" y="3226"/>
                    </a:lnTo>
                    <a:lnTo>
                      <a:pt x="238" y="3226"/>
                    </a:lnTo>
                    <a:lnTo>
                      <a:pt x="242" y="3226"/>
                    </a:lnTo>
                    <a:lnTo>
                      <a:pt x="242" y="3226"/>
                    </a:lnTo>
                    <a:lnTo>
                      <a:pt x="242" y="3226"/>
                    </a:lnTo>
                    <a:lnTo>
                      <a:pt x="242" y="3226"/>
                    </a:lnTo>
                    <a:lnTo>
                      <a:pt x="240" y="3230"/>
                    </a:lnTo>
                    <a:lnTo>
                      <a:pt x="240" y="3232"/>
                    </a:lnTo>
                    <a:lnTo>
                      <a:pt x="242" y="3232"/>
                    </a:lnTo>
                    <a:lnTo>
                      <a:pt x="246" y="3228"/>
                    </a:lnTo>
                    <a:lnTo>
                      <a:pt x="246" y="3228"/>
                    </a:lnTo>
                    <a:close/>
                    <a:moveTo>
                      <a:pt x="256" y="3248"/>
                    </a:moveTo>
                    <a:lnTo>
                      <a:pt x="256" y="3248"/>
                    </a:lnTo>
                    <a:lnTo>
                      <a:pt x="254" y="3250"/>
                    </a:lnTo>
                    <a:lnTo>
                      <a:pt x="254" y="3252"/>
                    </a:lnTo>
                    <a:lnTo>
                      <a:pt x="258" y="3256"/>
                    </a:lnTo>
                    <a:lnTo>
                      <a:pt x="262" y="3258"/>
                    </a:lnTo>
                    <a:lnTo>
                      <a:pt x="262" y="3258"/>
                    </a:lnTo>
                    <a:lnTo>
                      <a:pt x="264" y="3258"/>
                    </a:lnTo>
                    <a:lnTo>
                      <a:pt x="264" y="3256"/>
                    </a:lnTo>
                    <a:lnTo>
                      <a:pt x="262" y="3252"/>
                    </a:lnTo>
                    <a:lnTo>
                      <a:pt x="260" y="3248"/>
                    </a:lnTo>
                    <a:lnTo>
                      <a:pt x="258" y="3248"/>
                    </a:lnTo>
                    <a:lnTo>
                      <a:pt x="256" y="3248"/>
                    </a:lnTo>
                    <a:lnTo>
                      <a:pt x="256" y="3248"/>
                    </a:lnTo>
                    <a:close/>
                    <a:moveTo>
                      <a:pt x="254" y="3160"/>
                    </a:moveTo>
                    <a:lnTo>
                      <a:pt x="254" y="3160"/>
                    </a:lnTo>
                    <a:lnTo>
                      <a:pt x="254" y="3160"/>
                    </a:lnTo>
                    <a:lnTo>
                      <a:pt x="256" y="3160"/>
                    </a:lnTo>
                    <a:lnTo>
                      <a:pt x="256" y="3154"/>
                    </a:lnTo>
                    <a:lnTo>
                      <a:pt x="256" y="3154"/>
                    </a:lnTo>
                    <a:lnTo>
                      <a:pt x="254" y="3150"/>
                    </a:lnTo>
                    <a:lnTo>
                      <a:pt x="250" y="3150"/>
                    </a:lnTo>
                    <a:lnTo>
                      <a:pt x="246" y="3152"/>
                    </a:lnTo>
                    <a:lnTo>
                      <a:pt x="242" y="3154"/>
                    </a:lnTo>
                    <a:lnTo>
                      <a:pt x="242" y="3154"/>
                    </a:lnTo>
                    <a:lnTo>
                      <a:pt x="242" y="3156"/>
                    </a:lnTo>
                    <a:lnTo>
                      <a:pt x="246" y="3156"/>
                    </a:lnTo>
                    <a:lnTo>
                      <a:pt x="248" y="3158"/>
                    </a:lnTo>
                    <a:lnTo>
                      <a:pt x="254" y="3160"/>
                    </a:lnTo>
                    <a:lnTo>
                      <a:pt x="254" y="3160"/>
                    </a:lnTo>
                    <a:close/>
                    <a:moveTo>
                      <a:pt x="248" y="3146"/>
                    </a:moveTo>
                    <a:lnTo>
                      <a:pt x="248" y="3146"/>
                    </a:lnTo>
                    <a:lnTo>
                      <a:pt x="250" y="3144"/>
                    </a:lnTo>
                    <a:lnTo>
                      <a:pt x="250" y="3142"/>
                    </a:lnTo>
                    <a:lnTo>
                      <a:pt x="244" y="3136"/>
                    </a:lnTo>
                    <a:lnTo>
                      <a:pt x="244" y="3136"/>
                    </a:lnTo>
                    <a:lnTo>
                      <a:pt x="242" y="3136"/>
                    </a:lnTo>
                    <a:lnTo>
                      <a:pt x="242" y="3136"/>
                    </a:lnTo>
                    <a:lnTo>
                      <a:pt x="244" y="3142"/>
                    </a:lnTo>
                    <a:lnTo>
                      <a:pt x="244" y="3142"/>
                    </a:lnTo>
                    <a:lnTo>
                      <a:pt x="246" y="3146"/>
                    </a:lnTo>
                    <a:lnTo>
                      <a:pt x="246" y="3146"/>
                    </a:lnTo>
                    <a:lnTo>
                      <a:pt x="248" y="3146"/>
                    </a:lnTo>
                    <a:lnTo>
                      <a:pt x="248" y="3146"/>
                    </a:lnTo>
                    <a:close/>
                    <a:moveTo>
                      <a:pt x="282" y="3246"/>
                    </a:moveTo>
                    <a:lnTo>
                      <a:pt x="282" y="3246"/>
                    </a:lnTo>
                    <a:lnTo>
                      <a:pt x="280" y="3242"/>
                    </a:lnTo>
                    <a:lnTo>
                      <a:pt x="278" y="3238"/>
                    </a:lnTo>
                    <a:lnTo>
                      <a:pt x="278" y="3236"/>
                    </a:lnTo>
                    <a:lnTo>
                      <a:pt x="276" y="3234"/>
                    </a:lnTo>
                    <a:lnTo>
                      <a:pt x="276" y="3234"/>
                    </a:lnTo>
                    <a:lnTo>
                      <a:pt x="272" y="3232"/>
                    </a:lnTo>
                    <a:lnTo>
                      <a:pt x="270" y="3232"/>
                    </a:lnTo>
                    <a:lnTo>
                      <a:pt x="270" y="3234"/>
                    </a:lnTo>
                    <a:lnTo>
                      <a:pt x="272" y="3238"/>
                    </a:lnTo>
                    <a:lnTo>
                      <a:pt x="272" y="3238"/>
                    </a:lnTo>
                    <a:lnTo>
                      <a:pt x="274" y="3240"/>
                    </a:lnTo>
                    <a:lnTo>
                      <a:pt x="272" y="3242"/>
                    </a:lnTo>
                    <a:lnTo>
                      <a:pt x="272" y="3244"/>
                    </a:lnTo>
                    <a:lnTo>
                      <a:pt x="276" y="3252"/>
                    </a:lnTo>
                    <a:lnTo>
                      <a:pt x="276" y="3252"/>
                    </a:lnTo>
                    <a:lnTo>
                      <a:pt x="280" y="3256"/>
                    </a:lnTo>
                    <a:lnTo>
                      <a:pt x="284" y="3256"/>
                    </a:lnTo>
                    <a:lnTo>
                      <a:pt x="284" y="3256"/>
                    </a:lnTo>
                    <a:lnTo>
                      <a:pt x="286" y="3254"/>
                    </a:lnTo>
                    <a:lnTo>
                      <a:pt x="286" y="3252"/>
                    </a:lnTo>
                    <a:lnTo>
                      <a:pt x="282" y="3246"/>
                    </a:lnTo>
                    <a:lnTo>
                      <a:pt x="282" y="3246"/>
                    </a:lnTo>
                    <a:close/>
                    <a:moveTo>
                      <a:pt x="234" y="3130"/>
                    </a:moveTo>
                    <a:lnTo>
                      <a:pt x="234" y="3130"/>
                    </a:lnTo>
                    <a:lnTo>
                      <a:pt x="228" y="3130"/>
                    </a:lnTo>
                    <a:lnTo>
                      <a:pt x="226" y="3132"/>
                    </a:lnTo>
                    <a:lnTo>
                      <a:pt x="226" y="3134"/>
                    </a:lnTo>
                    <a:lnTo>
                      <a:pt x="226" y="3134"/>
                    </a:lnTo>
                    <a:lnTo>
                      <a:pt x="228" y="3134"/>
                    </a:lnTo>
                    <a:lnTo>
                      <a:pt x="236" y="3132"/>
                    </a:lnTo>
                    <a:lnTo>
                      <a:pt x="236" y="3132"/>
                    </a:lnTo>
                    <a:lnTo>
                      <a:pt x="240" y="3132"/>
                    </a:lnTo>
                    <a:lnTo>
                      <a:pt x="240" y="3130"/>
                    </a:lnTo>
                    <a:lnTo>
                      <a:pt x="238" y="3128"/>
                    </a:lnTo>
                    <a:lnTo>
                      <a:pt x="234" y="3130"/>
                    </a:lnTo>
                    <a:lnTo>
                      <a:pt x="234" y="3130"/>
                    </a:lnTo>
                    <a:close/>
                    <a:moveTo>
                      <a:pt x="224" y="3120"/>
                    </a:moveTo>
                    <a:lnTo>
                      <a:pt x="224" y="3120"/>
                    </a:lnTo>
                    <a:lnTo>
                      <a:pt x="226" y="3124"/>
                    </a:lnTo>
                    <a:lnTo>
                      <a:pt x="228" y="3126"/>
                    </a:lnTo>
                    <a:lnTo>
                      <a:pt x="230" y="3128"/>
                    </a:lnTo>
                    <a:lnTo>
                      <a:pt x="236" y="3126"/>
                    </a:lnTo>
                    <a:lnTo>
                      <a:pt x="236" y="3126"/>
                    </a:lnTo>
                    <a:lnTo>
                      <a:pt x="238" y="3124"/>
                    </a:lnTo>
                    <a:lnTo>
                      <a:pt x="236" y="3120"/>
                    </a:lnTo>
                    <a:lnTo>
                      <a:pt x="236" y="3116"/>
                    </a:lnTo>
                    <a:lnTo>
                      <a:pt x="234" y="3114"/>
                    </a:lnTo>
                    <a:lnTo>
                      <a:pt x="234" y="3114"/>
                    </a:lnTo>
                    <a:lnTo>
                      <a:pt x="230" y="3116"/>
                    </a:lnTo>
                    <a:lnTo>
                      <a:pt x="228" y="3116"/>
                    </a:lnTo>
                    <a:lnTo>
                      <a:pt x="226" y="3116"/>
                    </a:lnTo>
                    <a:lnTo>
                      <a:pt x="224" y="3120"/>
                    </a:lnTo>
                    <a:lnTo>
                      <a:pt x="224" y="3120"/>
                    </a:lnTo>
                    <a:close/>
                    <a:moveTo>
                      <a:pt x="232" y="3160"/>
                    </a:moveTo>
                    <a:lnTo>
                      <a:pt x="232" y="3160"/>
                    </a:lnTo>
                    <a:lnTo>
                      <a:pt x="234" y="3158"/>
                    </a:lnTo>
                    <a:lnTo>
                      <a:pt x="236" y="3156"/>
                    </a:lnTo>
                    <a:lnTo>
                      <a:pt x="238" y="3154"/>
                    </a:lnTo>
                    <a:lnTo>
                      <a:pt x="238" y="3152"/>
                    </a:lnTo>
                    <a:lnTo>
                      <a:pt x="238" y="3152"/>
                    </a:lnTo>
                    <a:lnTo>
                      <a:pt x="236" y="3148"/>
                    </a:lnTo>
                    <a:lnTo>
                      <a:pt x="236" y="3150"/>
                    </a:lnTo>
                    <a:lnTo>
                      <a:pt x="234" y="3152"/>
                    </a:lnTo>
                    <a:lnTo>
                      <a:pt x="230" y="3154"/>
                    </a:lnTo>
                    <a:lnTo>
                      <a:pt x="230" y="3154"/>
                    </a:lnTo>
                    <a:lnTo>
                      <a:pt x="228" y="3156"/>
                    </a:lnTo>
                    <a:lnTo>
                      <a:pt x="226" y="3158"/>
                    </a:lnTo>
                    <a:lnTo>
                      <a:pt x="226" y="3160"/>
                    </a:lnTo>
                    <a:lnTo>
                      <a:pt x="228" y="3162"/>
                    </a:lnTo>
                    <a:lnTo>
                      <a:pt x="228" y="3162"/>
                    </a:lnTo>
                    <a:lnTo>
                      <a:pt x="232" y="3164"/>
                    </a:lnTo>
                    <a:lnTo>
                      <a:pt x="232" y="3160"/>
                    </a:lnTo>
                    <a:lnTo>
                      <a:pt x="232" y="3160"/>
                    </a:lnTo>
                    <a:close/>
                    <a:moveTo>
                      <a:pt x="290" y="3322"/>
                    </a:moveTo>
                    <a:lnTo>
                      <a:pt x="290" y="3322"/>
                    </a:lnTo>
                    <a:lnTo>
                      <a:pt x="290" y="3324"/>
                    </a:lnTo>
                    <a:lnTo>
                      <a:pt x="292" y="3326"/>
                    </a:lnTo>
                    <a:lnTo>
                      <a:pt x="300" y="3334"/>
                    </a:lnTo>
                    <a:lnTo>
                      <a:pt x="300" y="3334"/>
                    </a:lnTo>
                    <a:lnTo>
                      <a:pt x="304" y="3338"/>
                    </a:lnTo>
                    <a:lnTo>
                      <a:pt x="304" y="3338"/>
                    </a:lnTo>
                    <a:lnTo>
                      <a:pt x="302" y="3332"/>
                    </a:lnTo>
                    <a:lnTo>
                      <a:pt x="302" y="3332"/>
                    </a:lnTo>
                    <a:lnTo>
                      <a:pt x="296" y="3324"/>
                    </a:lnTo>
                    <a:lnTo>
                      <a:pt x="292" y="3322"/>
                    </a:lnTo>
                    <a:lnTo>
                      <a:pt x="292" y="3322"/>
                    </a:lnTo>
                    <a:lnTo>
                      <a:pt x="290" y="3322"/>
                    </a:lnTo>
                    <a:lnTo>
                      <a:pt x="290" y="3322"/>
                    </a:lnTo>
                    <a:close/>
                    <a:moveTo>
                      <a:pt x="246" y="3094"/>
                    </a:moveTo>
                    <a:lnTo>
                      <a:pt x="246" y="3094"/>
                    </a:lnTo>
                    <a:lnTo>
                      <a:pt x="244" y="3094"/>
                    </a:lnTo>
                    <a:lnTo>
                      <a:pt x="242" y="3094"/>
                    </a:lnTo>
                    <a:lnTo>
                      <a:pt x="242" y="3098"/>
                    </a:lnTo>
                    <a:lnTo>
                      <a:pt x="250" y="3112"/>
                    </a:lnTo>
                    <a:lnTo>
                      <a:pt x="250" y="3112"/>
                    </a:lnTo>
                    <a:lnTo>
                      <a:pt x="252" y="3114"/>
                    </a:lnTo>
                    <a:lnTo>
                      <a:pt x="254" y="3112"/>
                    </a:lnTo>
                    <a:lnTo>
                      <a:pt x="256" y="3110"/>
                    </a:lnTo>
                    <a:lnTo>
                      <a:pt x="256" y="3110"/>
                    </a:lnTo>
                    <a:lnTo>
                      <a:pt x="258" y="3110"/>
                    </a:lnTo>
                    <a:lnTo>
                      <a:pt x="258" y="3108"/>
                    </a:lnTo>
                    <a:lnTo>
                      <a:pt x="258" y="3102"/>
                    </a:lnTo>
                    <a:lnTo>
                      <a:pt x="258" y="3102"/>
                    </a:lnTo>
                    <a:lnTo>
                      <a:pt x="258" y="3098"/>
                    </a:lnTo>
                    <a:lnTo>
                      <a:pt x="256" y="3096"/>
                    </a:lnTo>
                    <a:lnTo>
                      <a:pt x="246" y="3094"/>
                    </a:lnTo>
                    <a:lnTo>
                      <a:pt x="246" y="3094"/>
                    </a:lnTo>
                    <a:close/>
                    <a:moveTo>
                      <a:pt x="294" y="3282"/>
                    </a:moveTo>
                    <a:lnTo>
                      <a:pt x="294" y="3282"/>
                    </a:lnTo>
                    <a:lnTo>
                      <a:pt x="294" y="3280"/>
                    </a:lnTo>
                    <a:lnTo>
                      <a:pt x="290" y="3278"/>
                    </a:lnTo>
                    <a:lnTo>
                      <a:pt x="288" y="3280"/>
                    </a:lnTo>
                    <a:lnTo>
                      <a:pt x="288" y="3284"/>
                    </a:lnTo>
                    <a:lnTo>
                      <a:pt x="288" y="3284"/>
                    </a:lnTo>
                    <a:lnTo>
                      <a:pt x="290" y="3286"/>
                    </a:lnTo>
                    <a:lnTo>
                      <a:pt x="292" y="3286"/>
                    </a:lnTo>
                    <a:lnTo>
                      <a:pt x="294" y="3284"/>
                    </a:lnTo>
                    <a:lnTo>
                      <a:pt x="294" y="3282"/>
                    </a:lnTo>
                    <a:lnTo>
                      <a:pt x="294" y="3282"/>
                    </a:lnTo>
                    <a:close/>
                    <a:moveTo>
                      <a:pt x="284" y="3284"/>
                    </a:moveTo>
                    <a:lnTo>
                      <a:pt x="284" y="3284"/>
                    </a:lnTo>
                    <a:lnTo>
                      <a:pt x="282" y="3284"/>
                    </a:lnTo>
                    <a:lnTo>
                      <a:pt x="282" y="3286"/>
                    </a:lnTo>
                    <a:lnTo>
                      <a:pt x="282" y="3288"/>
                    </a:lnTo>
                    <a:lnTo>
                      <a:pt x="286" y="3292"/>
                    </a:lnTo>
                    <a:lnTo>
                      <a:pt x="286" y="3292"/>
                    </a:lnTo>
                    <a:lnTo>
                      <a:pt x="286" y="3292"/>
                    </a:lnTo>
                    <a:lnTo>
                      <a:pt x="286" y="3288"/>
                    </a:lnTo>
                    <a:lnTo>
                      <a:pt x="286" y="3286"/>
                    </a:lnTo>
                    <a:lnTo>
                      <a:pt x="284" y="3284"/>
                    </a:lnTo>
                    <a:lnTo>
                      <a:pt x="284" y="3284"/>
                    </a:lnTo>
                    <a:close/>
                    <a:moveTo>
                      <a:pt x="294" y="3312"/>
                    </a:moveTo>
                    <a:lnTo>
                      <a:pt x="294" y="3312"/>
                    </a:lnTo>
                    <a:lnTo>
                      <a:pt x="294" y="3310"/>
                    </a:lnTo>
                    <a:lnTo>
                      <a:pt x="294" y="3306"/>
                    </a:lnTo>
                    <a:lnTo>
                      <a:pt x="290" y="3298"/>
                    </a:lnTo>
                    <a:lnTo>
                      <a:pt x="290" y="3298"/>
                    </a:lnTo>
                    <a:lnTo>
                      <a:pt x="288" y="3296"/>
                    </a:lnTo>
                    <a:lnTo>
                      <a:pt x="288" y="3298"/>
                    </a:lnTo>
                    <a:lnTo>
                      <a:pt x="288" y="3302"/>
                    </a:lnTo>
                    <a:lnTo>
                      <a:pt x="286" y="3306"/>
                    </a:lnTo>
                    <a:lnTo>
                      <a:pt x="286" y="3306"/>
                    </a:lnTo>
                    <a:lnTo>
                      <a:pt x="284" y="3308"/>
                    </a:lnTo>
                    <a:lnTo>
                      <a:pt x="286" y="3312"/>
                    </a:lnTo>
                    <a:lnTo>
                      <a:pt x="290" y="3314"/>
                    </a:lnTo>
                    <a:lnTo>
                      <a:pt x="294" y="3312"/>
                    </a:lnTo>
                    <a:lnTo>
                      <a:pt x="294" y="3312"/>
                    </a:lnTo>
                    <a:close/>
                    <a:moveTo>
                      <a:pt x="240" y="3200"/>
                    </a:moveTo>
                    <a:lnTo>
                      <a:pt x="240" y="3200"/>
                    </a:lnTo>
                    <a:lnTo>
                      <a:pt x="242" y="3200"/>
                    </a:lnTo>
                    <a:lnTo>
                      <a:pt x="242" y="3200"/>
                    </a:lnTo>
                    <a:lnTo>
                      <a:pt x="242" y="3192"/>
                    </a:lnTo>
                    <a:lnTo>
                      <a:pt x="242" y="3192"/>
                    </a:lnTo>
                    <a:lnTo>
                      <a:pt x="238" y="3184"/>
                    </a:lnTo>
                    <a:lnTo>
                      <a:pt x="236" y="3184"/>
                    </a:lnTo>
                    <a:lnTo>
                      <a:pt x="234" y="3184"/>
                    </a:lnTo>
                    <a:lnTo>
                      <a:pt x="234" y="3184"/>
                    </a:lnTo>
                    <a:lnTo>
                      <a:pt x="230" y="3184"/>
                    </a:lnTo>
                    <a:lnTo>
                      <a:pt x="230" y="3186"/>
                    </a:lnTo>
                    <a:lnTo>
                      <a:pt x="230" y="3196"/>
                    </a:lnTo>
                    <a:lnTo>
                      <a:pt x="230" y="3196"/>
                    </a:lnTo>
                    <a:lnTo>
                      <a:pt x="230" y="3196"/>
                    </a:lnTo>
                    <a:lnTo>
                      <a:pt x="230" y="3196"/>
                    </a:lnTo>
                    <a:lnTo>
                      <a:pt x="236" y="3194"/>
                    </a:lnTo>
                    <a:lnTo>
                      <a:pt x="236" y="3194"/>
                    </a:lnTo>
                    <a:lnTo>
                      <a:pt x="238" y="3192"/>
                    </a:lnTo>
                    <a:lnTo>
                      <a:pt x="238" y="3194"/>
                    </a:lnTo>
                    <a:lnTo>
                      <a:pt x="238" y="3198"/>
                    </a:lnTo>
                    <a:lnTo>
                      <a:pt x="240" y="3200"/>
                    </a:lnTo>
                    <a:lnTo>
                      <a:pt x="240" y="3200"/>
                    </a:lnTo>
                    <a:close/>
                    <a:moveTo>
                      <a:pt x="236" y="3146"/>
                    </a:moveTo>
                    <a:lnTo>
                      <a:pt x="236" y="3146"/>
                    </a:lnTo>
                    <a:lnTo>
                      <a:pt x="238" y="3146"/>
                    </a:lnTo>
                    <a:lnTo>
                      <a:pt x="240" y="3148"/>
                    </a:lnTo>
                    <a:lnTo>
                      <a:pt x="242" y="3148"/>
                    </a:lnTo>
                    <a:lnTo>
                      <a:pt x="242" y="3146"/>
                    </a:lnTo>
                    <a:lnTo>
                      <a:pt x="242" y="3146"/>
                    </a:lnTo>
                    <a:lnTo>
                      <a:pt x="240" y="3142"/>
                    </a:lnTo>
                    <a:lnTo>
                      <a:pt x="236" y="3138"/>
                    </a:lnTo>
                    <a:lnTo>
                      <a:pt x="236" y="3138"/>
                    </a:lnTo>
                    <a:lnTo>
                      <a:pt x="232" y="3138"/>
                    </a:lnTo>
                    <a:lnTo>
                      <a:pt x="228" y="3138"/>
                    </a:lnTo>
                    <a:lnTo>
                      <a:pt x="224" y="3140"/>
                    </a:lnTo>
                    <a:lnTo>
                      <a:pt x="224" y="3144"/>
                    </a:lnTo>
                    <a:lnTo>
                      <a:pt x="224" y="3144"/>
                    </a:lnTo>
                    <a:lnTo>
                      <a:pt x="226" y="3146"/>
                    </a:lnTo>
                    <a:lnTo>
                      <a:pt x="230" y="3146"/>
                    </a:lnTo>
                    <a:lnTo>
                      <a:pt x="236" y="3146"/>
                    </a:lnTo>
                    <a:lnTo>
                      <a:pt x="236" y="3146"/>
                    </a:lnTo>
                    <a:close/>
                    <a:moveTo>
                      <a:pt x="292" y="2928"/>
                    </a:moveTo>
                    <a:lnTo>
                      <a:pt x="292" y="2928"/>
                    </a:lnTo>
                    <a:lnTo>
                      <a:pt x="294" y="2930"/>
                    </a:lnTo>
                    <a:lnTo>
                      <a:pt x="296" y="2930"/>
                    </a:lnTo>
                    <a:lnTo>
                      <a:pt x="298" y="2930"/>
                    </a:lnTo>
                    <a:lnTo>
                      <a:pt x="302" y="2930"/>
                    </a:lnTo>
                    <a:lnTo>
                      <a:pt x="302" y="2930"/>
                    </a:lnTo>
                    <a:lnTo>
                      <a:pt x="304" y="2930"/>
                    </a:lnTo>
                    <a:lnTo>
                      <a:pt x="306" y="2928"/>
                    </a:lnTo>
                    <a:lnTo>
                      <a:pt x="302" y="2918"/>
                    </a:lnTo>
                    <a:lnTo>
                      <a:pt x="302" y="2918"/>
                    </a:lnTo>
                    <a:lnTo>
                      <a:pt x="300" y="2916"/>
                    </a:lnTo>
                    <a:lnTo>
                      <a:pt x="298" y="2916"/>
                    </a:lnTo>
                    <a:lnTo>
                      <a:pt x="294" y="2918"/>
                    </a:lnTo>
                    <a:lnTo>
                      <a:pt x="290" y="2918"/>
                    </a:lnTo>
                    <a:lnTo>
                      <a:pt x="290" y="2918"/>
                    </a:lnTo>
                    <a:lnTo>
                      <a:pt x="286" y="2918"/>
                    </a:lnTo>
                    <a:lnTo>
                      <a:pt x="284" y="2920"/>
                    </a:lnTo>
                    <a:lnTo>
                      <a:pt x="284" y="2922"/>
                    </a:lnTo>
                    <a:lnTo>
                      <a:pt x="288" y="2924"/>
                    </a:lnTo>
                    <a:lnTo>
                      <a:pt x="288" y="2924"/>
                    </a:lnTo>
                    <a:lnTo>
                      <a:pt x="290" y="2924"/>
                    </a:lnTo>
                    <a:lnTo>
                      <a:pt x="292" y="2928"/>
                    </a:lnTo>
                    <a:lnTo>
                      <a:pt x="292" y="2928"/>
                    </a:lnTo>
                    <a:close/>
                    <a:moveTo>
                      <a:pt x="294" y="2944"/>
                    </a:moveTo>
                    <a:lnTo>
                      <a:pt x="294" y="2944"/>
                    </a:lnTo>
                    <a:lnTo>
                      <a:pt x="296" y="2944"/>
                    </a:lnTo>
                    <a:lnTo>
                      <a:pt x="298" y="2942"/>
                    </a:lnTo>
                    <a:lnTo>
                      <a:pt x="300" y="2940"/>
                    </a:lnTo>
                    <a:lnTo>
                      <a:pt x="298" y="2940"/>
                    </a:lnTo>
                    <a:lnTo>
                      <a:pt x="298" y="2940"/>
                    </a:lnTo>
                    <a:lnTo>
                      <a:pt x="292" y="2940"/>
                    </a:lnTo>
                    <a:lnTo>
                      <a:pt x="290" y="2940"/>
                    </a:lnTo>
                    <a:lnTo>
                      <a:pt x="290" y="2942"/>
                    </a:lnTo>
                    <a:lnTo>
                      <a:pt x="290" y="2942"/>
                    </a:lnTo>
                    <a:lnTo>
                      <a:pt x="288" y="2944"/>
                    </a:lnTo>
                    <a:lnTo>
                      <a:pt x="290" y="2944"/>
                    </a:lnTo>
                    <a:lnTo>
                      <a:pt x="294" y="2944"/>
                    </a:lnTo>
                    <a:lnTo>
                      <a:pt x="294" y="2944"/>
                    </a:lnTo>
                    <a:close/>
                    <a:moveTo>
                      <a:pt x="278" y="2914"/>
                    </a:moveTo>
                    <a:lnTo>
                      <a:pt x="278" y="2914"/>
                    </a:lnTo>
                    <a:lnTo>
                      <a:pt x="278" y="2916"/>
                    </a:lnTo>
                    <a:lnTo>
                      <a:pt x="282" y="2916"/>
                    </a:lnTo>
                    <a:lnTo>
                      <a:pt x="286" y="2914"/>
                    </a:lnTo>
                    <a:lnTo>
                      <a:pt x="292" y="2914"/>
                    </a:lnTo>
                    <a:lnTo>
                      <a:pt x="292" y="2914"/>
                    </a:lnTo>
                    <a:lnTo>
                      <a:pt x="294" y="2914"/>
                    </a:lnTo>
                    <a:lnTo>
                      <a:pt x="294" y="2912"/>
                    </a:lnTo>
                    <a:lnTo>
                      <a:pt x="288" y="2908"/>
                    </a:lnTo>
                    <a:lnTo>
                      <a:pt x="288" y="2908"/>
                    </a:lnTo>
                    <a:lnTo>
                      <a:pt x="286" y="2908"/>
                    </a:lnTo>
                    <a:lnTo>
                      <a:pt x="282" y="2908"/>
                    </a:lnTo>
                    <a:lnTo>
                      <a:pt x="278" y="2914"/>
                    </a:lnTo>
                    <a:lnTo>
                      <a:pt x="278" y="2914"/>
                    </a:lnTo>
                    <a:close/>
                    <a:moveTo>
                      <a:pt x="276" y="2888"/>
                    </a:moveTo>
                    <a:lnTo>
                      <a:pt x="276" y="2888"/>
                    </a:lnTo>
                    <a:lnTo>
                      <a:pt x="280" y="2886"/>
                    </a:lnTo>
                    <a:lnTo>
                      <a:pt x="282" y="2884"/>
                    </a:lnTo>
                    <a:lnTo>
                      <a:pt x="282" y="2882"/>
                    </a:lnTo>
                    <a:lnTo>
                      <a:pt x="282" y="2882"/>
                    </a:lnTo>
                    <a:lnTo>
                      <a:pt x="282" y="2880"/>
                    </a:lnTo>
                    <a:lnTo>
                      <a:pt x="278" y="2880"/>
                    </a:lnTo>
                    <a:lnTo>
                      <a:pt x="272" y="2884"/>
                    </a:lnTo>
                    <a:lnTo>
                      <a:pt x="272" y="2884"/>
                    </a:lnTo>
                    <a:lnTo>
                      <a:pt x="270" y="2884"/>
                    </a:lnTo>
                    <a:lnTo>
                      <a:pt x="270" y="2886"/>
                    </a:lnTo>
                    <a:lnTo>
                      <a:pt x="272" y="2888"/>
                    </a:lnTo>
                    <a:lnTo>
                      <a:pt x="276" y="2888"/>
                    </a:lnTo>
                    <a:lnTo>
                      <a:pt x="276" y="2888"/>
                    </a:lnTo>
                    <a:close/>
                    <a:moveTo>
                      <a:pt x="282" y="2902"/>
                    </a:moveTo>
                    <a:lnTo>
                      <a:pt x="282" y="2902"/>
                    </a:lnTo>
                    <a:lnTo>
                      <a:pt x="284" y="2902"/>
                    </a:lnTo>
                    <a:lnTo>
                      <a:pt x="290" y="2900"/>
                    </a:lnTo>
                    <a:lnTo>
                      <a:pt x="290" y="2900"/>
                    </a:lnTo>
                    <a:lnTo>
                      <a:pt x="296" y="2898"/>
                    </a:lnTo>
                    <a:lnTo>
                      <a:pt x="296" y="2898"/>
                    </a:lnTo>
                    <a:lnTo>
                      <a:pt x="296" y="2896"/>
                    </a:lnTo>
                    <a:lnTo>
                      <a:pt x="296" y="2896"/>
                    </a:lnTo>
                    <a:lnTo>
                      <a:pt x="294" y="2894"/>
                    </a:lnTo>
                    <a:lnTo>
                      <a:pt x="292" y="2894"/>
                    </a:lnTo>
                    <a:lnTo>
                      <a:pt x="282" y="2894"/>
                    </a:lnTo>
                    <a:lnTo>
                      <a:pt x="282" y="2894"/>
                    </a:lnTo>
                    <a:lnTo>
                      <a:pt x="276" y="2894"/>
                    </a:lnTo>
                    <a:lnTo>
                      <a:pt x="276" y="2896"/>
                    </a:lnTo>
                    <a:lnTo>
                      <a:pt x="278" y="2900"/>
                    </a:lnTo>
                    <a:lnTo>
                      <a:pt x="282" y="2902"/>
                    </a:lnTo>
                    <a:lnTo>
                      <a:pt x="282" y="2902"/>
                    </a:lnTo>
                    <a:close/>
                    <a:moveTo>
                      <a:pt x="296" y="2950"/>
                    </a:moveTo>
                    <a:lnTo>
                      <a:pt x="296" y="2950"/>
                    </a:lnTo>
                    <a:lnTo>
                      <a:pt x="294" y="2948"/>
                    </a:lnTo>
                    <a:lnTo>
                      <a:pt x="290" y="2950"/>
                    </a:lnTo>
                    <a:lnTo>
                      <a:pt x="290" y="2952"/>
                    </a:lnTo>
                    <a:lnTo>
                      <a:pt x="290" y="2954"/>
                    </a:lnTo>
                    <a:lnTo>
                      <a:pt x="290" y="2954"/>
                    </a:lnTo>
                    <a:lnTo>
                      <a:pt x="292" y="2956"/>
                    </a:lnTo>
                    <a:lnTo>
                      <a:pt x="294" y="2954"/>
                    </a:lnTo>
                    <a:lnTo>
                      <a:pt x="296" y="2952"/>
                    </a:lnTo>
                    <a:lnTo>
                      <a:pt x="296" y="2950"/>
                    </a:lnTo>
                    <a:lnTo>
                      <a:pt x="296" y="2950"/>
                    </a:lnTo>
                    <a:close/>
                    <a:moveTo>
                      <a:pt x="302" y="2888"/>
                    </a:moveTo>
                    <a:lnTo>
                      <a:pt x="302" y="2888"/>
                    </a:lnTo>
                    <a:lnTo>
                      <a:pt x="300" y="2890"/>
                    </a:lnTo>
                    <a:lnTo>
                      <a:pt x="300" y="2892"/>
                    </a:lnTo>
                    <a:lnTo>
                      <a:pt x="302" y="2898"/>
                    </a:lnTo>
                    <a:lnTo>
                      <a:pt x="302" y="2898"/>
                    </a:lnTo>
                    <a:lnTo>
                      <a:pt x="304" y="2900"/>
                    </a:lnTo>
                    <a:lnTo>
                      <a:pt x="308" y="2898"/>
                    </a:lnTo>
                    <a:lnTo>
                      <a:pt x="308" y="2898"/>
                    </a:lnTo>
                    <a:lnTo>
                      <a:pt x="310" y="2896"/>
                    </a:lnTo>
                    <a:lnTo>
                      <a:pt x="308" y="2894"/>
                    </a:lnTo>
                    <a:lnTo>
                      <a:pt x="306" y="2890"/>
                    </a:lnTo>
                    <a:lnTo>
                      <a:pt x="302" y="2888"/>
                    </a:lnTo>
                    <a:lnTo>
                      <a:pt x="302" y="2888"/>
                    </a:lnTo>
                    <a:close/>
                    <a:moveTo>
                      <a:pt x="304" y="2856"/>
                    </a:moveTo>
                    <a:lnTo>
                      <a:pt x="304" y="2856"/>
                    </a:lnTo>
                    <a:lnTo>
                      <a:pt x="304" y="2858"/>
                    </a:lnTo>
                    <a:lnTo>
                      <a:pt x="304" y="2862"/>
                    </a:lnTo>
                    <a:lnTo>
                      <a:pt x="306" y="2864"/>
                    </a:lnTo>
                    <a:lnTo>
                      <a:pt x="308" y="2864"/>
                    </a:lnTo>
                    <a:lnTo>
                      <a:pt x="308" y="2864"/>
                    </a:lnTo>
                    <a:lnTo>
                      <a:pt x="310" y="2862"/>
                    </a:lnTo>
                    <a:lnTo>
                      <a:pt x="308" y="2860"/>
                    </a:lnTo>
                    <a:lnTo>
                      <a:pt x="306" y="2856"/>
                    </a:lnTo>
                    <a:lnTo>
                      <a:pt x="304" y="2856"/>
                    </a:lnTo>
                    <a:lnTo>
                      <a:pt x="304" y="2856"/>
                    </a:lnTo>
                    <a:close/>
                    <a:moveTo>
                      <a:pt x="300" y="2968"/>
                    </a:moveTo>
                    <a:lnTo>
                      <a:pt x="300" y="2968"/>
                    </a:lnTo>
                    <a:lnTo>
                      <a:pt x="304" y="2964"/>
                    </a:lnTo>
                    <a:lnTo>
                      <a:pt x="304" y="2964"/>
                    </a:lnTo>
                    <a:lnTo>
                      <a:pt x="304" y="2962"/>
                    </a:lnTo>
                    <a:lnTo>
                      <a:pt x="304" y="2962"/>
                    </a:lnTo>
                    <a:lnTo>
                      <a:pt x="304" y="2960"/>
                    </a:lnTo>
                    <a:lnTo>
                      <a:pt x="300" y="2962"/>
                    </a:lnTo>
                    <a:lnTo>
                      <a:pt x="298" y="2964"/>
                    </a:lnTo>
                    <a:lnTo>
                      <a:pt x="296" y="2968"/>
                    </a:lnTo>
                    <a:lnTo>
                      <a:pt x="296" y="2968"/>
                    </a:lnTo>
                    <a:lnTo>
                      <a:pt x="296" y="2970"/>
                    </a:lnTo>
                    <a:lnTo>
                      <a:pt x="296" y="2970"/>
                    </a:lnTo>
                    <a:lnTo>
                      <a:pt x="300" y="2968"/>
                    </a:lnTo>
                    <a:lnTo>
                      <a:pt x="300" y="2968"/>
                    </a:lnTo>
                    <a:close/>
                    <a:moveTo>
                      <a:pt x="290" y="2888"/>
                    </a:moveTo>
                    <a:lnTo>
                      <a:pt x="290" y="2888"/>
                    </a:lnTo>
                    <a:lnTo>
                      <a:pt x="294" y="2888"/>
                    </a:lnTo>
                    <a:lnTo>
                      <a:pt x="294" y="2886"/>
                    </a:lnTo>
                    <a:lnTo>
                      <a:pt x="294" y="2886"/>
                    </a:lnTo>
                    <a:lnTo>
                      <a:pt x="292" y="2884"/>
                    </a:lnTo>
                    <a:lnTo>
                      <a:pt x="290" y="2884"/>
                    </a:lnTo>
                    <a:lnTo>
                      <a:pt x="282" y="2888"/>
                    </a:lnTo>
                    <a:lnTo>
                      <a:pt x="282" y="2888"/>
                    </a:lnTo>
                    <a:lnTo>
                      <a:pt x="280" y="2888"/>
                    </a:lnTo>
                    <a:lnTo>
                      <a:pt x="282" y="2890"/>
                    </a:lnTo>
                    <a:lnTo>
                      <a:pt x="290" y="2888"/>
                    </a:lnTo>
                    <a:lnTo>
                      <a:pt x="290" y="2888"/>
                    </a:lnTo>
                    <a:close/>
                    <a:moveTo>
                      <a:pt x="250" y="2970"/>
                    </a:moveTo>
                    <a:lnTo>
                      <a:pt x="250" y="2970"/>
                    </a:lnTo>
                    <a:lnTo>
                      <a:pt x="250" y="2972"/>
                    </a:lnTo>
                    <a:lnTo>
                      <a:pt x="248" y="2974"/>
                    </a:lnTo>
                    <a:lnTo>
                      <a:pt x="248" y="2974"/>
                    </a:lnTo>
                    <a:lnTo>
                      <a:pt x="248" y="2978"/>
                    </a:lnTo>
                    <a:lnTo>
                      <a:pt x="248" y="2978"/>
                    </a:lnTo>
                    <a:lnTo>
                      <a:pt x="252" y="2980"/>
                    </a:lnTo>
                    <a:lnTo>
                      <a:pt x="254" y="2980"/>
                    </a:lnTo>
                    <a:lnTo>
                      <a:pt x="260" y="2974"/>
                    </a:lnTo>
                    <a:lnTo>
                      <a:pt x="260" y="2974"/>
                    </a:lnTo>
                    <a:lnTo>
                      <a:pt x="262" y="2972"/>
                    </a:lnTo>
                    <a:lnTo>
                      <a:pt x="262" y="2968"/>
                    </a:lnTo>
                    <a:lnTo>
                      <a:pt x="262" y="2964"/>
                    </a:lnTo>
                    <a:lnTo>
                      <a:pt x="260" y="2962"/>
                    </a:lnTo>
                    <a:lnTo>
                      <a:pt x="260" y="2962"/>
                    </a:lnTo>
                    <a:lnTo>
                      <a:pt x="256" y="2962"/>
                    </a:lnTo>
                    <a:lnTo>
                      <a:pt x="250" y="2966"/>
                    </a:lnTo>
                    <a:lnTo>
                      <a:pt x="250" y="2966"/>
                    </a:lnTo>
                    <a:lnTo>
                      <a:pt x="248" y="2966"/>
                    </a:lnTo>
                    <a:lnTo>
                      <a:pt x="250" y="2970"/>
                    </a:lnTo>
                    <a:lnTo>
                      <a:pt x="250" y="2970"/>
                    </a:lnTo>
                    <a:close/>
                    <a:moveTo>
                      <a:pt x="540" y="3562"/>
                    </a:moveTo>
                    <a:lnTo>
                      <a:pt x="540" y="3562"/>
                    </a:lnTo>
                    <a:lnTo>
                      <a:pt x="544" y="3562"/>
                    </a:lnTo>
                    <a:lnTo>
                      <a:pt x="548" y="3562"/>
                    </a:lnTo>
                    <a:lnTo>
                      <a:pt x="554" y="3560"/>
                    </a:lnTo>
                    <a:lnTo>
                      <a:pt x="554" y="3558"/>
                    </a:lnTo>
                    <a:lnTo>
                      <a:pt x="554" y="3558"/>
                    </a:lnTo>
                    <a:lnTo>
                      <a:pt x="552" y="3558"/>
                    </a:lnTo>
                    <a:lnTo>
                      <a:pt x="546" y="3558"/>
                    </a:lnTo>
                    <a:lnTo>
                      <a:pt x="542" y="3560"/>
                    </a:lnTo>
                    <a:lnTo>
                      <a:pt x="540" y="3562"/>
                    </a:lnTo>
                    <a:lnTo>
                      <a:pt x="540" y="3562"/>
                    </a:lnTo>
                    <a:close/>
                    <a:moveTo>
                      <a:pt x="560" y="3548"/>
                    </a:moveTo>
                    <a:lnTo>
                      <a:pt x="560" y="3548"/>
                    </a:lnTo>
                    <a:lnTo>
                      <a:pt x="558" y="3550"/>
                    </a:lnTo>
                    <a:lnTo>
                      <a:pt x="556" y="3548"/>
                    </a:lnTo>
                    <a:lnTo>
                      <a:pt x="556" y="3548"/>
                    </a:lnTo>
                    <a:lnTo>
                      <a:pt x="554" y="3550"/>
                    </a:lnTo>
                    <a:lnTo>
                      <a:pt x="554" y="3550"/>
                    </a:lnTo>
                    <a:lnTo>
                      <a:pt x="552" y="3552"/>
                    </a:lnTo>
                    <a:lnTo>
                      <a:pt x="554" y="3554"/>
                    </a:lnTo>
                    <a:lnTo>
                      <a:pt x="560" y="3556"/>
                    </a:lnTo>
                    <a:lnTo>
                      <a:pt x="560" y="3556"/>
                    </a:lnTo>
                    <a:lnTo>
                      <a:pt x="562" y="3556"/>
                    </a:lnTo>
                    <a:lnTo>
                      <a:pt x="564" y="3556"/>
                    </a:lnTo>
                    <a:lnTo>
                      <a:pt x="562" y="3548"/>
                    </a:lnTo>
                    <a:lnTo>
                      <a:pt x="562" y="3548"/>
                    </a:lnTo>
                    <a:lnTo>
                      <a:pt x="560" y="3544"/>
                    </a:lnTo>
                    <a:lnTo>
                      <a:pt x="560" y="3546"/>
                    </a:lnTo>
                    <a:lnTo>
                      <a:pt x="560" y="3548"/>
                    </a:lnTo>
                    <a:lnTo>
                      <a:pt x="560" y="3548"/>
                    </a:lnTo>
                    <a:close/>
                    <a:moveTo>
                      <a:pt x="556" y="3506"/>
                    </a:moveTo>
                    <a:lnTo>
                      <a:pt x="556" y="3506"/>
                    </a:lnTo>
                    <a:lnTo>
                      <a:pt x="530" y="3504"/>
                    </a:lnTo>
                    <a:lnTo>
                      <a:pt x="530" y="3504"/>
                    </a:lnTo>
                    <a:lnTo>
                      <a:pt x="522" y="3504"/>
                    </a:lnTo>
                    <a:lnTo>
                      <a:pt x="522" y="3506"/>
                    </a:lnTo>
                    <a:lnTo>
                      <a:pt x="526" y="3508"/>
                    </a:lnTo>
                    <a:lnTo>
                      <a:pt x="526" y="3508"/>
                    </a:lnTo>
                    <a:lnTo>
                      <a:pt x="528" y="3510"/>
                    </a:lnTo>
                    <a:lnTo>
                      <a:pt x="528" y="3512"/>
                    </a:lnTo>
                    <a:lnTo>
                      <a:pt x="528" y="3516"/>
                    </a:lnTo>
                    <a:lnTo>
                      <a:pt x="530" y="3522"/>
                    </a:lnTo>
                    <a:lnTo>
                      <a:pt x="530" y="3522"/>
                    </a:lnTo>
                    <a:lnTo>
                      <a:pt x="532" y="3524"/>
                    </a:lnTo>
                    <a:lnTo>
                      <a:pt x="536" y="3524"/>
                    </a:lnTo>
                    <a:lnTo>
                      <a:pt x="546" y="3524"/>
                    </a:lnTo>
                    <a:lnTo>
                      <a:pt x="546" y="3524"/>
                    </a:lnTo>
                    <a:lnTo>
                      <a:pt x="550" y="3524"/>
                    </a:lnTo>
                    <a:lnTo>
                      <a:pt x="550" y="3522"/>
                    </a:lnTo>
                    <a:lnTo>
                      <a:pt x="550" y="3520"/>
                    </a:lnTo>
                    <a:lnTo>
                      <a:pt x="554" y="3518"/>
                    </a:lnTo>
                    <a:lnTo>
                      <a:pt x="554" y="3518"/>
                    </a:lnTo>
                    <a:lnTo>
                      <a:pt x="556" y="3520"/>
                    </a:lnTo>
                    <a:lnTo>
                      <a:pt x="558" y="3524"/>
                    </a:lnTo>
                    <a:lnTo>
                      <a:pt x="558" y="3526"/>
                    </a:lnTo>
                    <a:lnTo>
                      <a:pt x="562" y="3528"/>
                    </a:lnTo>
                    <a:lnTo>
                      <a:pt x="562" y="3528"/>
                    </a:lnTo>
                    <a:lnTo>
                      <a:pt x="566" y="3526"/>
                    </a:lnTo>
                    <a:lnTo>
                      <a:pt x="568" y="3524"/>
                    </a:lnTo>
                    <a:lnTo>
                      <a:pt x="572" y="3514"/>
                    </a:lnTo>
                    <a:lnTo>
                      <a:pt x="572" y="3514"/>
                    </a:lnTo>
                    <a:lnTo>
                      <a:pt x="572" y="3512"/>
                    </a:lnTo>
                    <a:lnTo>
                      <a:pt x="572" y="3508"/>
                    </a:lnTo>
                    <a:lnTo>
                      <a:pt x="568" y="3506"/>
                    </a:lnTo>
                    <a:lnTo>
                      <a:pt x="562" y="3506"/>
                    </a:lnTo>
                    <a:lnTo>
                      <a:pt x="556" y="3506"/>
                    </a:lnTo>
                    <a:lnTo>
                      <a:pt x="556" y="3506"/>
                    </a:lnTo>
                    <a:close/>
                    <a:moveTo>
                      <a:pt x="522" y="3532"/>
                    </a:moveTo>
                    <a:lnTo>
                      <a:pt x="522" y="3532"/>
                    </a:lnTo>
                    <a:lnTo>
                      <a:pt x="516" y="3528"/>
                    </a:lnTo>
                    <a:lnTo>
                      <a:pt x="520" y="3528"/>
                    </a:lnTo>
                    <a:lnTo>
                      <a:pt x="524" y="3526"/>
                    </a:lnTo>
                    <a:lnTo>
                      <a:pt x="524" y="3526"/>
                    </a:lnTo>
                    <a:lnTo>
                      <a:pt x="524" y="3524"/>
                    </a:lnTo>
                    <a:lnTo>
                      <a:pt x="524" y="3524"/>
                    </a:lnTo>
                    <a:lnTo>
                      <a:pt x="518" y="3520"/>
                    </a:lnTo>
                    <a:lnTo>
                      <a:pt x="510" y="3520"/>
                    </a:lnTo>
                    <a:lnTo>
                      <a:pt x="510" y="3520"/>
                    </a:lnTo>
                    <a:lnTo>
                      <a:pt x="506" y="3520"/>
                    </a:lnTo>
                    <a:lnTo>
                      <a:pt x="506" y="3518"/>
                    </a:lnTo>
                    <a:lnTo>
                      <a:pt x="514" y="3516"/>
                    </a:lnTo>
                    <a:lnTo>
                      <a:pt x="514" y="3516"/>
                    </a:lnTo>
                    <a:lnTo>
                      <a:pt x="520" y="3514"/>
                    </a:lnTo>
                    <a:lnTo>
                      <a:pt x="520" y="3512"/>
                    </a:lnTo>
                    <a:lnTo>
                      <a:pt x="520" y="3510"/>
                    </a:lnTo>
                    <a:lnTo>
                      <a:pt x="518" y="3508"/>
                    </a:lnTo>
                    <a:lnTo>
                      <a:pt x="518" y="3508"/>
                    </a:lnTo>
                    <a:lnTo>
                      <a:pt x="512" y="3506"/>
                    </a:lnTo>
                    <a:lnTo>
                      <a:pt x="504" y="3506"/>
                    </a:lnTo>
                    <a:lnTo>
                      <a:pt x="498" y="3508"/>
                    </a:lnTo>
                    <a:lnTo>
                      <a:pt x="490" y="3508"/>
                    </a:lnTo>
                    <a:lnTo>
                      <a:pt x="490" y="3508"/>
                    </a:lnTo>
                    <a:lnTo>
                      <a:pt x="486" y="3508"/>
                    </a:lnTo>
                    <a:lnTo>
                      <a:pt x="478" y="3510"/>
                    </a:lnTo>
                    <a:lnTo>
                      <a:pt x="462" y="3514"/>
                    </a:lnTo>
                    <a:lnTo>
                      <a:pt x="462" y="3514"/>
                    </a:lnTo>
                    <a:lnTo>
                      <a:pt x="454" y="3516"/>
                    </a:lnTo>
                    <a:lnTo>
                      <a:pt x="454" y="3516"/>
                    </a:lnTo>
                    <a:lnTo>
                      <a:pt x="454" y="3518"/>
                    </a:lnTo>
                    <a:lnTo>
                      <a:pt x="464" y="3524"/>
                    </a:lnTo>
                    <a:lnTo>
                      <a:pt x="464" y="3524"/>
                    </a:lnTo>
                    <a:lnTo>
                      <a:pt x="466" y="3526"/>
                    </a:lnTo>
                    <a:lnTo>
                      <a:pt x="466" y="3526"/>
                    </a:lnTo>
                    <a:lnTo>
                      <a:pt x="462" y="3528"/>
                    </a:lnTo>
                    <a:lnTo>
                      <a:pt x="462" y="3528"/>
                    </a:lnTo>
                    <a:lnTo>
                      <a:pt x="462" y="3528"/>
                    </a:lnTo>
                    <a:lnTo>
                      <a:pt x="470" y="3532"/>
                    </a:lnTo>
                    <a:lnTo>
                      <a:pt x="470" y="3532"/>
                    </a:lnTo>
                    <a:lnTo>
                      <a:pt x="476" y="3534"/>
                    </a:lnTo>
                    <a:lnTo>
                      <a:pt x="480" y="3536"/>
                    </a:lnTo>
                    <a:lnTo>
                      <a:pt x="486" y="3540"/>
                    </a:lnTo>
                    <a:lnTo>
                      <a:pt x="486" y="3540"/>
                    </a:lnTo>
                    <a:lnTo>
                      <a:pt x="490" y="3540"/>
                    </a:lnTo>
                    <a:lnTo>
                      <a:pt x="490" y="3538"/>
                    </a:lnTo>
                    <a:lnTo>
                      <a:pt x="482" y="3530"/>
                    </a:lnTo>
                    <a:lnTo>
                      <a:pt x="482" y="3530"/>
                    </a:lnTo>
                    <a:lnTo>
                      <a:pt x="480" y="3526"/>
                    </a:lnTo>
                    <a:lnTo>
                      <a:pt x="482" y="3524"/>
                    </a:lnTo>
                    <a:lnTo>
                      <a:pt x="486" y="3524"/>
                    </a:lnTo>
                    <a:lnTo>
                      <a:pt x="490" y="3524"/>
                    </a:lnTo>
                    <a:lnTo>
                      <a:pt x="490" y="3524"/>
                    </a:lnTo>
                    <a:lnTo>
                      <a:pt x="494" y="3524"/>
                    </a:lnTo>
                    <a:lnTo>
                      <a:pt x="498" y="3524"/>
                    </a:lnTo>
                    <a:lnTo>
                      <a:pt x="500" y="3524"/>
                    </a:lnTo>
                    <a:lnTo>
                      <a:pt x="500" y="3524"/>
                    </a:lnTo>
                    <a:lnTo>
                      <a:pt x="500" y="3524"/>
                    </a:lnTo>
                    <a:lnTo>
                      <a:pt x="496" y="3532"/>
                    </a:lnTo>
                    <a:lnTo>
                      <a:pt x="496" y="3536"/>
                    </a:lnTo>
                    <a:lnTo>
                      <a:pt x="500" y="3540"/>
                    </a:lnTo>
                    <a:lnTo>
                      <a:pt x="500" y="3540"/>
                    </a:lnTo>
                    <a:lnTo>
                      <a:pt x="500" y="3540"/>
                    </a:lnTo>
                    <a:lnTo>
                      <a:pt x="502" y="3540"/>
                    </a:lnTo>
                    <a:lnTo>
                      <a:pt x="506" y="3538"/>
                    </a:lnTo>
                    <a:lnTo>
                      <a:pt x="510" y="3536"/>
                    </a:lnTo>
                    <a:lnTo>
                      <a:pt x="510" y="3536"/>
                    </a:lnTo>
                    <a:lnTo>
                      <a:pt x="512" y="3538"/>
                    </a:lnTo>
                    <a:lnTo>
                      <a:pt x="512" y="3538"/>
                    </a:lnTo>
                    <a:lnTo>
                      <a:pt x="514" y="3540"/>
                    </a:lnTo>
                    <a:lnTo>
                      <a:pt x="518" y="3540"/>
                    </a:lnTo>
                    <a:lnTo>
                      <a:pt x="522" y="3542"/>
                    </a:lnTo>
                    <a:lnTo>
                      <a:pt x="522" y="3544"/>
                    </a:lnTo>
                    <a:lnTo>
                      <a:pt x="522" y="3544"/>
                    </a:lnTo>
                    <a:lnTo>
                      <a:pt x="524" y="3548"/>
                    </a:lnTo>
                    <a:lnTo>
                      <a:pt x="524" y="3548"/>
                    </a:lnTo>
                    <a:lnTo>
                      <a:pt x="526" y="3548"/>
                    </a:lnTo>
                    <a:lnTo>
                      <a:pt x="528" y="3550"/>
                    </a:lnTo>
                    <a:lnTo>
                      <a:pt x="528" y="3550"/>
                    </a:lnTo>
                    <a:lnTo>
                      <a:pt x="532" y="3554"/>
                    </a:lnTo>
                    <a:lnTo>
                      <a:pt x="534" y="3552"/>
                    </a:lnTo>
                    <a:lnTo>
                      <a:pt x="534" y="3548"/>
                    </a:lnTo>
                    <a:lnTo>
                      <a:pt x="534" y="3544"/>
                    </a:lnTo>
                    <a:lnTo>
                      <a:pt x="534" y="3544"/>
                    </a:lnTo>
                    <a:lnTo>
                      <a:pt x="532" y="3542"/>
                    </a:lnTo>
                    <a:lnTo>
                      <a:pt x="532" y="3538"/>
                    </a:lnTo>
                    <a:lnTo>
                      <a:pt x="530" y="3536"/>
                    </a:lnTo>
                    <a:lnTo>
                      <a:pt x="522" y="3532"/>
                    </a:lnTo>
                    <a:lnTo>
                      <a:pt x="522" y="3532"/>
                    </a:lnTo>
                    <a:close/>
                    <a:moveTo>
                      <a:pt x="476" y="3508"/>
                    </a:moveTo>
                    <a:lnTo>
                      <a:pt x="476" y="3508"/>
                    </a:lnTo>
                    <a:lnTo>
                      <a:pt x="484" y="3506"/>
                    </a:lnTo>
                    <a:lnTo>
                      <a:pt x="484" y="3504"/>
                    </a:lnTo>
                    <a:lnTo>
                      <a:pt x="484" y="3504"/>
                    </a:lnTo>
                    <a:lnTo>
                      <a:pt x="472" y="3502"/>
                    </a:lnTo>
                    <a:lnTo>
                      <a:pt x="472" y="3502"/>
                    </a:lnTo>
                    <a:lnTo>
                      <a:pt x="464" y="3502"/>
                    </a:lnTo>
                    <a:lnTo>
                      <a:pt x="458" y="3502"/>
                    </a:lnTo>
                    <a:lnTo>
                      <a:pt x="450" y="3506"/>
                    </a:lnTo>
                    <a:lnTo>
                      <a:pt x="450" y="3506"/>
                    </a:lnTo>
                    <a:lnTo>
                      <a:pt x="448" y="3508"/>
                    </a:lnTo>
                    <a:lnTo>
                      <a:pt x="448" y="3508"/>
                    </a:lnTo>
                    <a:lnTo>
                      <a:pt x="456" y="3510"/>
                    </a:lnTo>
                    <a:lnTo>
                      <a:pt x="456" y="3510"/>
                    </a:lnTo>
                    <a:lnTo>
                      <a:pt x="462" y="3510"/>
                    </a:lnTo>
                    <a:lnTo>
                      <a:pt x="476" y="3508"/>
                    </a:lnTo>
                    <a:lnTo>
                      <a:pt x="476" y="3508"/>
                    </a:lnTo>
                    <a:close/>
                    <a:moveTo>
                      <a:pt x="572" y="3528"/>
                    </a:moveTo>
                    <a:lnTo>
                      <a:pt x="572" y="3528"/>
                    </a:lnTo>
                    <a:lnTo>
                      <a:pt x="574" y="3530"/>
                    </a:lnTo>
                    <a:lnTo>
                      <a:pt x="578" y="3530"/>
                    </a:lnTo>
                    <a:lnTo>
                      <a:pt x="580" y="3528"/>
                    </a:lnTo>
                    <a:lnTo>
                      <a:pt x="582" y="3524"/>
                    </a:lnTo>
                    <a:lnTo>
                      <a:pt x="582" y="3524"/>
                    </a:lnTo>
                    <a:lnTo>
                      <a:pt x="580" y="3522"/>
                    </a:lnTo>
                    <a:lnTo>
                      <a:pt x="578" y="3522"/>
                    </a:lnTo>
                    <a:lnTo>
                      <a:pt x="574" y="3524"/>
                    </a:lnTo>
                    <a:lnTo>
                      <a:pt x="572" y="3528"/>
                    </a:lnTo>
                    <a:lnTo>
                      <a:pt x="572" y="3528"/>
                    </a:lnTo>
                    <a:close/>
                    <a:moveTo>
                      <a:pt x="636" y="3486"/>
                    </a:moveTo>
                    <a:lnTo>
                      <a:pt x="636" y="3486"/>
                    </a:lnTo>
                    <a:lnTo>
                      <a:pt x="628" y="3488"/>
                    </a:lnTo>
                    <a:lnTo>
                      <a:pt x="622" y="3486"/>
                    </a:lnTo>
                    <a:lnTo>
                      <a:pt x="616" y="3484"/>
                    </a:lnTo>
                    <a:lnTo>
                      <a:pt x="610" y="3482"/>
                    </a:lnTo>
                    <a:lnTo>
                      <a:pt x="610" y="3482"/>
                    </a:lnTo>
                    <a:lnTo>
                      <a:pt x="602" y="3478"/>
                    </a:lnTo>
                    <a:lnTo>
                      <a:pt x="594" y="3470"/>
                    </a:lnTo>
                    <a:lnTo>
                      <a:pt x="584" y="3462"/>
                    </a:lnTo>
                    <a:lnTo>
                      <a:pt x="574" y="3456"/>
                    </a:lnTo>
                    <a:lnTo>
                      <a:pt x="574" y="3456"/>
                    </a:lnTo>
                    <a:lnTo>
                      <a:pt x="562" y="3448"/>
                    </a:lnTo>
                    <a:lnTo>
                      <a:pt x="548" y="3436"/>
                    </a:lnTo>
                    <a:lnTo>
                      <a:pt x="538" y="3424"/>
                    </a:lnTo>
                    <a:lnTo>
                      <a:pt x="532" y="3414"/>
                    </a:lnTo>
                    <a:lnTo>
                      <a:pt x="532" y="3414"/>
                    </a:lnTo>
                    <a:lnTo>
                      <a:pt x="530" y="3404"/>
                    </a:lnTo>
                    <a:lnTo>
                      <a:pt x="528" y="3404"/>
                    </a:lnTo>
                    <a:lnTo>
                      <a:pt x="522" y="3402"/>
                    </a:lnTo>
                    <a:lnTo>
                      <a:pt x="522" y="3402"/>
                    </a:lnTo>
                    <a:lnTo>
                      <a:pt x="516" y="3402"/>
                    </a:lnTo>
                    <a:lnTo>
                      <a:pt x="514" y="3400"/>
                    </a:lnTo>
                    <a:lnTo>
                      <a:pt x="512" y="3396"/>
                    </a:lnTo>
                    <a:lnTo>
                      <a:pt x="516" y="3390"/>
                    </a:lnTo>
                    <a:lnTo>
                      <a:pt x="516" y="3390"/>
                    </a:lnTo>
                    <a:lnTo>
                      <a:pt x="520" y="3386"/>
                    </a:lnTo>
                    <a:lnTo>
                      <a:pt x="522" y="3386"/>
                    </a:lnTo>
                    <a:lnTo>
                      <a:pt x="524" y="3390"/>
                    </a:lnTo>
                    <a:lnTo>
                      <a:pt x="524" y="3390"/>
                    </a:lnTo>
                    <a:lnTo>
                      <a:pt x="524" y="3392"/>
                    </a:lnTo>
                    <a:lnTo>
                      <a:pt x="526" y="3394"/>
                    </a:lnTo>
                    <a:lnTo>
                      <a:pt x="528" y="3392"/>
                    </a:lnTo>
                    <a:lnTo>
                      <a:pt x="528" y="3388"/>
                    </a:lnTo>
                    <a:lnTo>
                      <a:pt x="528" y="3388"/>
                    </a:lnTo>
                    <a:lnTo>
                      <a:pt x="524" y="3380"/>
                    </a:lnTo>
                    <a:lnTo>
                      <a:pt x="510" y="3364"/>
                    </a:lnTo>
                    <a:lnTo>
                      <a:pt x="510" y="3502"/>
                    </a:lnTo>
                    <a:lnTo>
                      <a:pt x="510" y="3502"/>
                    </a:lnTo>
                    <a:lnTo>
                      <a:pt x="510" y="3502"/>
                    </a:lnTo>
                    <a:lnTo>
                      <a:pt x="510" y="3502"/>
                    </a:lnTo>
                    <a:lnTo>
                      <a:pt x="510" y="3502"/>
                    </a:lnTo>
                    <a:lnTo>
                      <a:pt x="510" y="3502"/>
                    </a:lnTo>
                    <a:lnTo>
                      <a:pt x="518" y="3498"/>
                    </a:lnTo>
                    <a:lnTo>
                      <a:pt x="520" y="3496"/>
                    </a:lnTo>
                    <a:lnTo>
                      <a:pt x="522" y="3496"/>
                    </a:lnTo>
                    <a:lnTo>
                      <a:pt x="530" y="3498"/>
                    </a:lnTo>
                    <a:lnTo>
                      <a:pt x="530" y="3498"/>
                    </a:lnTo>
                    <a:lnTo>
                      <a:pt x="544" y="3500"/>
                    </a:lnTo>
                    <a:lnTo>
                      <a:pt x="560" y="3502"/>
                    </a:lnTo>
                    <a:lnTo>
                      <a:pt x="576" y="3504"/>
                    </a:lnTo>
                    <a:lnTo>
                      <a:pt x="584" y="3506"/>
                    </a:lnTo>
                    <a:lnTo>
                      <a:pt x="588" y="3508"/>
                    </a:lnTo>
                    <a:lnTo>
                      <a:pt x="588" y="3508"/>
                    </a:lnTo>
                    <a:lnTo>
                      <a:pt x="596" y="3512"/>
                    </a:lnTo>
                    <a:lnTo>
                      <a:pt x="598" y="3510"/>
                    </a:lnTo>
                    <a:lnTo>
                      <a:pt x="602" y="3508"/>
                    </a:lnTo>
                    <a:lnTo>
                      <a:pt x="606" y="3506"/>
                    </a:lnTo>
                    <a:lnTo>
                      <a:pt x="606" y="3506"/>
                    </a:lnTo>
                    <a:lnTo>
                      <a:pt x="614" y="3506"/>
                    </a:lnTo>
                    <a:lnTo>
                      <a:pt x="620" y="3502"/>
                    </a:lnTo>
                    <a:lnTo>
                      <a:pt x="624" y="3500"/>
                    </a:lnTo>
                    <a:lnTo>
                      <a:pt x="626" y="3502"/>
                    </a:lnTo>
                    <a:lnTo>
                      <a:pt x="626" y="3502"/>
                    </a:lnTo>
                    <a:lnTo>
                      <a:pt x="630" y="3506"/>
                    </a:lnTo>
                    <a:lnTo>
                      <a:pt x="632" y="3504"/>
                    </a:lnTo>
                    <a:lnTo>
                      <a:pt x="634" y="3502"/>
                    </a:lnTo>
                    <a:lnTo>
                      <a:pt x="638" y="3502"/>
                    </a:lnTo>
                    <a:lnTo>
                      <a:pt x="638" y="3502"/>
                    </a:lnTo>
                    <a:lnTo>
                      <a:pt x="640" y="3502"/>
                    </a:lnTo>
                    <a:lnTo>
                      <a:pt x="642" y="3502"/>
                    </a:lnTo>
                    <a:lnTo>
                      <a:pt x="646" y="3494"/>
                    </a:lnTo>
                    <a:lnTo>
                      <a:pt x="646" y="3494"/>
                    </a:lnTo>
                    <a:lnTo>
                      <a:pt x="648" y="3488"/>
                    </a:lnTo>
                    <a:lnTo>
                      <a:pt x="648" y="3486"/>
                    </a:lnTo>
                    <a:lnTo>
                      <a:pt x="642" y="3486"/>
                    </a:lnTo>
                    <a:lnTo>
                      <a:pt x="636" y="3486"/>
                    </a:lnTo>
                    <a:lnTo>
                      <a:pt x="636" y="3486"/>
                    </a:lnTo>
                    <a:close/>
                    <a:moveTo>
                      <a:pt x="436" y="3502"/>
                    </a:moveTo>
                    <a:lnTo>
                      <a:pt x="436" y="3502"/>
                    </a:lnTo>
                    <a:lnTo>
                      <a:pt x="428" y="3504"/>
                    </a:lnTo>
                    <a:lnTo>
                      <a:pt x="426" y="3506"/>
                    </a:lnTo>
                    <a:lnTo>
                      <a:pt x="420" y="3506"/>
                    </a:lnTo>
                    <a:lnTo>
                      <a:pt x="420" y="3506"/>
                    </a:lnTo>
                    <a:lnTo>
                      <a:pt x="414" y="3506"/>
                    </a:lnTo>
                    <a:lnTo>
                      <a:pt x="414" y="3508"/>
                    </a:lnTo>
                    <a:lnTo>
                      <a:pt x="414" y="3510"/>
                    </a:lnTo>
                    <a:lnTo>
                      <a:pt x="414" y="3510"/>
                    </a:lnTo>
                    <a:lnTo>
                      <a:pt x="416" y="3514"/>
                    </a:lnTo>
                    <a:lnTo>
                      <a:pt x="418" y="3514"/>
                    </a:lnTo>
                    <a:lnTo>
                      <a:pt x="428" y="3516"/>
                    </a:lnTo>
                    <a:lnTo>
                      <a:pt x="428" y="3516"/>
                    </a:lnTo>
                    <a:lnTo>
                      <a:pt x="430" y="3516"/>
                    </a:lnTo>
                    <a:lnTo>
                      <a:pt x="432" y="3518"/>
                    </a:lnTo>
                    <a:lnTo>
                      <a:pt x="432" y="3520"/>
                    </a:lnTo>
                    <a:lnTo>
                      <a:pt x="432" y="3522"/>
                    </a:lnTo>
                    <a:lnTo>
                      <a:pt x="436" y="3522"/>
                    </a:lnTo>
                    <a:lnTo>
                      <a:pt x="436" y="3522"/>
                    </a:lnTo>
                    <a:lnTo>
                      <a:pt x="442" y="3518"/>
                    </a:lnTo>
                    <a:lnTo>
                      <a:pt x="442" y="3516"/>
                    </a:lnTo>
                    <a:lnTo>
                      <a:pt x="442" y="3512"/>
                    </a:lnTo>
                    <a:lnTo>
                      <a:pt x="438" y="3512"/>
                    </a:lnTo>
                    <a:lnTo>
                      <a:pt x="438" y="3512"/>
                    </a:lnTo>
                    <a:lnTo>
                      <a:pt x="432" y="3510"/>
                    </a:lnTo>
                    <a:lnTo>
                      <a:pt x="434" y="3508"/>
                    </a:lnTo>
                    <a:lnTo>
                      <a:pt x="438" y="3508"/>
                    </a:lnTo>
                    <a:lnTo>
                      <a:pt x="438" y="3508"/>
                    </a:lnTo>
                    <a:lnTo>
                      <a:pt x="442" y="3506"/>
                    </a:lnTo>
                    <a:lnTo>
                      <a:pt x="444" y="3504"/>
                    </a:lnTo>
                    <a:lnTo>
                      <a:pt x="440" y="3504"/>
                    </a:lnTo>
                    <a:lnTo>
                      <a:pt x="436" y="3502"/>
                    </a:lnTo>
                    <a:lnTo>
                      <a:pt x="436" y="3502"/>
                    </a:lnTo>
                    <a:close/>
                    <a:moveTo>
                      <a:pt x="290" y="2874"/>
                    </a:moveTo>
                    <a:lnTo>
                      <a:pt x="290" y="2874"/>
                    </a:lnTo>
                    <a:lnTo>
                      <a:pt x="292" y="2876"/>
                    </a:lnTo>
                    <a:lnTo>
                      <a:pt x="294" y="2874"/>
                    </a:lnTo>
                    <a:lnTo>
                      <a:pt x="294" y="2872"/>
                    </a:lnTo>
                    <a:lnTo>
                      <a:pt x="294" y="2870"/>
                    </a:lnTo>
                    <a:lnTo>
                      <a:pt x="294" y="2870"/>
                    </a:lnTo>
                    <a:lnTo>
                      <a:pt x="290" y="2868"/>
                    </a:lnTo>
                    <a:lnTo>
                      <a:pt x="290" y="2874"/>
                    </a:lnTo>
                    <a:lnTo>
                      <a:pt x="290" y="2874"/>
                    </a:lnTo>
                    <a:close/>
                    <a:moveTo>
                      <a:pt x="592" y="3524"/>
                    </a:moveTo>
                    <a:lnTo>
                      <a:pt x="592" y="3524"/>
                    </a:lnTo>
                    <a:lnTo>
                      <a:pt x="596" y="3524"/>
                    </a:lnTo>
                    <a:lnTo>
                      <a:pt x="598" y="3524"/>
                    </a:lnTo>
                    <a:lnTo>
                      <a:pt x="598" y="3522"/>
                    </a:lnTo>
                    <a:lnTo>
                      <a:pt x="596" y="3518"/>
                    </a:lnTo>
                    <a:lnTo>
                      <a:pt x="596" y="3518"/>
                    </a:lnTo>
                    <a:lnTo>
                      <a:pt x="594" y="3518"/>
                    </a:lnTo>
                    <a:lnTo>
                      <a:pt x="590" y="3520"/>
                    </a:lnTo>
                    <a:lnTo>
                      <a:pt x="590" y="3522"/>
                    </a:lnTo>
                    <a:lnTo>
                      <a:pt x="592" y="3524"/>
                    </a:lnTo>
                    <a:lnTo>
                      <a:pt x="592" y="3524"/>
                    </a:lnTo>
                    <a:close/>
                    <a:moveTo>
                      <a:pt x="310" y="3406"/>
                    </a:moveTo>
                    <a:lnTo>
                      <a:pt x="310" y="3406"/>
                    </a:lnTo>
                    <a:lnTo>
                      <a:pt x="314" y="3406"/>
                    </a:lnTo>
                    <a:lnTo>
                      <a:pt x="314" y="3406"/>
                    </a:lnTo>
                    <a:lnTo>
                      <a:pt x="318" y="3406"/>
                    </a:lnTo>
                    <a:lnTo>
                      <a:pt x="322" y="3406"/>
                    </a:lnTo>
                    <a:lnTo>
                      <a:pt x="322" y="3406"/>
                    </a:lnTo>
                    <a:lnTo>
                      <a:pt x="326" y="3408"/>
                    </a:lnTo>
                    <a:lnTo>
                      <a:pt x="328" y="3408"/>
                    </a:lnTo>
                    <a:lnTo>
                      <a:pt x="324" y="3402"/>
                    </a:lnTo>
                    <a:lnTo>
                      <a:pt x="324" y="3402"/>
                    </a:lnTo>
                    <a:lnTo>
                      <a:pt x="318" y="3396"/>
                    </a:lnTo>
                    <a:lnTo>
                      <a:pt x="316" y="3394"/>
                    </a:lnTo>
                    <a:lnTo>
                      <a:pt x="314" y="3394"/>
                    </a:lnTo>
                    <a:lnTo>
                      <a:pt x="314" y="3394"/>
                    </a:lnTo>
                    <a:lnTo>
                      <a:pt x="312" y="3394"/>
                    </a:lnTo>
                    <a:lnTo>
                      <a:pt x="310" y="3392"/>
                    </a:lnTo>
                    <a:lnTo>
                      <a:pt x="308" y="3390"/>
                    </a:lnTo>
                    <a:lnTo>
                      <a:pt x="308" y="3390"/>
                    </a:lnTo>
                    <a:lnTo>
                      <a:pt x="308" y="3390"/>
                    </a:lnTo>
                    <a:lnTo>
                      <a:pt x="306" y="3392"/>
                    </a:lnTo>
                    <a:lnTo>
                      <a:pt x="304" y="3390"/>
                    </a:lnTo>
                    <a:lnTo>
                      <a:pt x="294" y="3384"/>
                    </a:lnTo>
                    <a:lnTo>
                      <a:pt x="294" y="3384"/>
                    </a:lnTo>
                    <a:lnTo>
                      <a:pt x="284" y="3382"/>
                    </a:lnTo>
                    <a:lnTo>
                      <a:pt x="280" y="3378"/>
                    </a:lnTo>
                    <a:lnTo>
                      <a:pt x="274" y="3374"/>
                    </a:lnTo>
                    <a:lnTo>
                      <a:pt x="274" y="3374"/>
                    </a:lnTo>
                    <a:lnTo>
                      <a:pt x="268" y="3370"/>
                    </a:lnTo>
                    <a:lnTo>
                      <a:pt x="264" y="3368"/>
                    </a:lnTo>
                    <a:lnTo>
                      <a:pt x="262" y="3370"/>
                    </a:lnTo>
                    <a:lnTo>
                      <a:pt x="266" y="3374"/>
                    </a:lnTo>
                    <a:lnTo>
                      <a:pt x="266" y="3374"/>
                    </a:lnTo>
                    <a:lnTo>
                      <a:pt x="270" y="3376"/>
                    </a:lnTo>
                    <a:lnTo>
                      <a:pt x="270" y="3380"/>
                    </a:lnTo>
                    <a:lnTo>
                      <a:pt x="268" y="3380"/>
                    </a:lnTo>
                    <a:lnTo>
                      <a:pt x="272" y="3382"/>
                    </a:lnTo>
                    <a:lnTo>
                      <a:pt x="272" y="3382"/>
                    </a:lnTo>
                    <a:lnTo>
                      <a:pt x="276" y="3384"/>
                    </a:lnTo>
                    <a:lnTo>
                      <a:pt x="278" y="3388"/>
                    </a:lnTo>
                    <a:lnTo>
                      <a:pt x="282" y="3390"/>
                    </a:lnTo>
                    <a:lnTo>
                      <a:pt x="288" y="3392"/>
                    </a:lnTo>
                    <a:lnTo>
                      <a:pt x="288" y="3392"/>
                    </a:lnTo>
                    <a:lnTo>
                      <a:pt x="294" y="3392"/>
                    </a:lnTo>
                    <a:lnTo>
                      <a:pt x="296" y="3394"/>
                    </a:lnTo>
                    <a:lnTo>
                      <a:pt x="300" y="3396"/>
                    </a:lnTo>
                    <a:lnTo>
                      <a:pt x="300" y="3396"/>
                    </a:lnTo>
                    <a:lnTo>
                      <a:pt x="302" y="3398"/>
                    </a:lnTo>
                    <a:lnTo>
                      <a:pt x="302" y="3398"/>
                    </a:lnTo>
                    <a:lnTo>
                      <a:pt x="304" y="3398"/>
                    </a:lnTo>
                    <a:lnTo>
                      <a:pt x="308" y="3398"/>
                    </a:lnTo>
                    <a:lnTo>
                      <a:pt x="308" y="3398"/>
                    </a:lnTo>
                    <a:lnTo>
                      <a:pt x="310" y="3400"/>
                    </a:lnTo>
                    <a:lnTo>
                      <a:pt x="310" y="3402"/>
                    </a:lnTo>
                    <a:lnTo>
                      <a:pt x="310" y="3404"/>
                    </a:lnTo>
                    <a:lnTo>
                      <a:pt x="310" y="3406"/>
                    </a:lnTo>
                    <a:lnTo>
                      <a:pt x="310" y="3406"/>
                    </a:lnTo>
                    <a:close/>
                    <a:moveTo>
                      <a:pt x="262" y="3306"/>
                    </a:moveTo>
                    <a:lnTo>
                      <a:pt x="262" y="3306"/>
                    </a:lnTo>
                    <a:lnTo>
                      <a:pt x="260" y="3302"/>
                    </a:lnTo>
                    <a:lnTo>
                      <a:pt x="258" y="3302"/>
                    </a:lnTo>
                    <a:lnTo>
                      <a:pt x="258" y="3304"/>
                    </a:lnTo>
                    <a:lnTo>
                      <a:pt x="258" y="3310"/>
                    </a:lnTo>
                    <a:lnTo>
                      <a:pt x="258" y="3310"/>
                    </a:lnTo>
                    <a:lnTo>
                      <a:pt x="258" y="3314"/>
                    </a:lnTo>
                    <a:lnTo>
                      <a:pt x="258" y="3314"/>
                    </a:lnTo>
                    <a:lnTo>
                      <a:pt x="254" y="3308"/>
                    </a:lnTo>
                    <a:lnTo>
                      <a:pt x="254" y="3308"/>
                    </a:lnTo>
                    <a:lnTo>
                      <a:pt x="254" y="3308"/>
                    </a:lnTo>
                    <a:lnTo>
                      <a:pt x="252" y="3308"/>
                    </a:lnTo>
                    <a:lnTo>
                      <a:pt x="250" y="3310"/>
                    </a:lnTo>
                    <a:lnTo>
                      <a:pt x="248" y="3314"/>
                    </a:lnTo>
                    <a:lnTo>
                      <a:pt x="250" y="3318"/>
                    </a:lnTo>
                    <a:lnTo>
                      <a:pt x="250" y="3318"/>
                    </a:lnTo>
                    <a:lnTo>
                      <a:pt x="252" y="3320"/>
                    </a:lnTo>
                    <a:lnTo>
                      <a:pt x="252" y="3322"/>
                    </a:lnTo>
                    <a:lnTo>
                      <a:pt x="250" y="3324"/>
                    </a:lnTo>
                    <a:lnTo>
                      <a:pt x="252" y="3328"/>
                    </a:lnTo>
                    <a:lnTo>
                      <a:pt x="252" y="3328"/>
                    </a:lnTo>
                    <a:lnTo>
                      <a:pt x="252" y="3332"/>
                    </a:lnTo>
                    <a:lnTo>
                      <a:pt x="254" y="3332"/>
                    </a:lnTo>
                    <a:lnTo>
                      <a:pt x="258" y="3324"/>
                    </a:lnTo>
                    <a:lnTo>
                      <a:pt x="258" y="3324"/>
                    </a:lnTo>
                    <a:lnTo>
                      <a:pt x="260" y="3314"/>
                    </a:lnTo>
                    <a:lnTo>
                      <a:pt x="262" y="3310"/>
                    </a:lnTo>
                    <a:lnTo>
                      <a:pt x="262" y="3306"/>
                    </a:lnTo>
                    <a:lnTo>
                      <a:pt x="262" y="3306"/>
                    </a:lnTo>
                    <a:close/>
                    <a:moveTo>
                      <a:pt x="284" y="3406"/>
                    </a:moveTo>
                    <a:lnTo>
                      <a:pt x="284" y="3406"/>
                    </a:lnTo>
                    <a:lnTo>
                      <a:pt x="286" y="3406"/>
                    </a:lnTo>
                    <a:lnTo>
                      <a:pt x="288" y="3404"/>
                    </a:lnTo>
                    <a:lnTo>
                      <a:pt x="290" y="3402"/>
                    </a:lnTo>
                    <a:lnTo>
                      <a:pt x="290" y="3400"/>
                    </a:lnTo>
                    <a:lnTo>
                      <a:pt x="290" y="3400"/>
                    </a:lnTo>
                    <a:lnTo>
                      <a:pt x="286" y="3398"/>
                    </a:lnTo>
                    <a:lnTo>
                      <a:pt x="284" y="3400"/>
                    </a:lnTo>
                    <a:lnTo>
                      <a:pt x="284" y="3404"/>
                    </a:lnTo>
                    <a:lnTo>
                      <a:pt x="284" y="3406"/>
                    </a:lnTo>
                    <a:lnTo>
                      <a:pt x="284" y="3406"/>
                    </a:lnTo>
                    <a:close/>
                    <a:moveTo>
                      <a:pt x="268" y="3336"/>
                    </a:moveTo>
                    <a:lnTo>
                      <a:pt x="268" y="3336"/>
                    </a:lnTo>
                    <a:lnTo>
                      <a:pt x="260" y="3336"/>
                    </a:lnTo>
                    <a:lnTo>
                      <a:pt x="258" y="3336"/>
                    </a:lnTo>
                    <a:lnTo>
                      <a:pt x="256" y="3338"/>
                    </a:lnTo>
                    <a:lnTo>
                      <a:pt x="256" y="3338"/>
                    </a:lnTo>
                    <a:lnTo>
                      <a:pt x="258" y="3340"/>
                    </a:lnTo>
                    <a:lnTo>
                      <a:pt x="262" y="3342"/>
                    </a:lnTo>
                    <a:lnTo>
                      <a:pt x="262" y="3342"/>
                    </a:lnTo>
                    <a:lnTo>
                      <a:pt x="264" y="3342"/>
                    </a:lnTo>
                    <a:lnTo>
                      <a:pt x="268" y="3340"/>
                    </a:lnTo>
                    <a:lnTo>
                      <a:pt x="268" y="3338"/>
                    </a:lnTo>
                    <a:lnTo>
                      <a:pt x="268" y="3336"/>
                    </a:lnTo>
                    <a:lnTo>
                      <a:pt x="268" y="3336"/>
                    </a:lnTo>
                    <a:close/>
                    <a:moveTo>
                      <a:pt x="412" y="3500"/>
                    </a:moveTo>
                    <a:lnTo>
                      <a:pt x="412" y="3500"/>
                    </a:lnTo>
                    <a:lnTo>
                      <a:pt x="406" y="3498"/>
                    </a:lnTo>
                    <a:lnTo>
                      <a:pt x="402" y="3496"/>
                    </a:lnTo>
                    <a:lnTo>
                      <a:pt x="398" y="3498"/>
                    </a:lnTo>
                    <a:lnTo>
                      <a:pt x="398" y="3498"/>
                    </a:lnTo>
                    <a:lnTo>
                      <a:pt x="396" y="3500"/>
                    </a:lnTo>
                    <a:lnTo>
                      <a:pt x="396" y="3502"/>
                    </a:lnTo>
                    <a:lnTo>
                      <a:pt x="398" y="3504"/>
                    </a:lnTo>
                    <a:lnTo>
                      <a:pt x="402" y="3502"/>
                    </a:lnTo>
                    <a:lnTo>
                      <a:pt x="402" y="3502"/>
                    </a:lnTo>
                    <a:lnTo>
                      <a:pt x="406" y="3500"/>
                    </a:lnTo>
                    <a:lnTo>
                      <a:pt x="408" y="3502"/>
                    </a:lnTo>
                    <a:lnTo>
                      <a:pt x="410" y="3502"/>
                    </a:lnTo>
                    <a:lnTo>
                      <a:pt x="414" y="3504"/>
                    </a:lnTo>
                    <a:lnTo>
                      <a:pt x="414" y="3504"/>
                    </a:lnTo>
                    <a:lnTo>
                      <a:pt x="414" y="3502"/>
                    </a:lnTo>
                    <a:lnTo>
                      <a:pt x="416" y="3500"/>
                    </a:lnTo>
                    <a:lnTo>
                      <a:pt x="414" y="3500"/>
                    </a:lnTo>
                    <a:lnTo>
                      <a:pt x="412" y="3500"/>
                    </a:lnTo>
                    <a:lnTo>
                      <a:pt x="412" y="3500"/>
                    </a:lnTo>
                    <a:close/>
                    <a:moveTo>
                      <a:pt x="248" y="3284"/>
                    </a:moveTo>
                    <a:lnTo>
                      <a:pt x="248" y="3284"/>
                    </a:lnTo>
                    <a:lnTo>
                      <a:pt x="244" y="3282"/>
                    </a:lnTo>
                    <a:lnTo>
                      <a:pt x="244" y="3284"/>
                    </a:lnTo>
                    <a:lnTo>
                      <a:pt x="244" y="3292"/>
                    </a:lnTo>
                    <a:lnTo>
                      <a:pt x="244" y="3292"/>
                    </a:lnTo>
                    <a:lnTo>
                      <a:pt x="240" y="3300"/>
                    </a:lnTo>
                    <a:lnTo>
                      <a:pt x="240" y="3302"/>
                    </a:lnTo>
                    <a:lnTo>
                      <a:pt x="244" y="3302"/>
                    </a:lnTo>
                    <a:lnTo>
                      <a:pt x="244" y="3302"/>
                    </a:lnTo>
                    <a:lnTo>
                      <a:pt x="246" y="3300"/>
                    </a:lnTo>
                    <a:lnTo>
                      <a:pt x="246" y="3298"/>
                    </a:lnTo>
                    <a:lnTo>
                      <a:pt x="248" y="3294"/>
                    </a:lnTo>
                    <a:lnTo>
                      <a:pt x="248" y="3292"/>
                    </a:lnTo>
                    <a:lnTo>
                      <a:pt x="248" y="3292"/>
                    </a:lnTo>
                    <a:lnTo>
                      <a:pt x="252" y="3288"/>
                    </a:lnTo>
                    <a:lnTo>
                      <a:pt x="248" y="3284"/>
                    </a:lnTo>
                    <a:lnTo>
                      <a:pt x="248" y="3284"/>
                    </a:lnTo>
                    <a:close/>
                    <a:moveTo>
                      <a:pt x="376" y="3462"/>
                    </a:moveTo>
                    <a:lnTo>
                      <a:pt x="376" y="3462"/>
                    </a:lnTo>
                    <a:lnTo>
                      <a:pt x="376" y="3466"/>
                    </a:lnTo>
                    <a:lnTo>
                      <a:pt x="378" y="3468"/>
                    </a:lnTo>
                    <a:lnTo>
                      <a:pt x="380" y="3468"/>
                    </a:lnTo>
                    <a:lnTo>
                      <a:pt x="380" y="3464"/>
                    </a:lnTo>
                    <a:lnTo>
                      <a:pt x="380" y="3464"/>
                    </a:lnTo>
                    <a:lnTo>
                      <a:pt x="380" y="3462"/>
                    </a:lnTo>
                    <a:lnTo>
                      <a:pt x="382" y="3462"/>
                    </a:lnTo>
                    <a:lnTo>
                      <a:pt x="382" y="3462"/>
                    </a:lnTo>
                    <a:lnTo>
                      <a:pt x="384" y="3460"/>
                    </a:lnTo>
                    <a:lnTo>
                      <a:pt x="384" y="3460"/>
                    </a:lnTo>
                    <a:lnTo>
                      <a:pt x="384" y="3456"/>
                    </a:lnTo>
                    <a:lnTo>
                      <a:pt x="386" y="3454"/>
                    </a:lnTo>
                    <a:lnTo>
                      <a:pt x="386" y="3454"/>
                    </a:lnTo>
                    <a:lnTo>
                      <a:pt x="386" y="3452"/>
                    </a:lnTo>
                    <a:lnTo>
                      <a:pt x="386" y="3452"/>
                    </a:lnTo>
                    <a:lnTo>
                      <a:pt x="386" y="3448"/>
                    </a:lnTo>
                    <a:lnTo>
                      <a:pt x="386" y="3444"/>
                    </a:lnTo>
                    <a:lnTo>
                      <a:pt x="386" y="3442"/>
                    </a:lnTo>
                    <a:lnTo>
                      <a:pt x="384" y="3440"/>
                    </a:lnTo>
                    <a:lnTo>
                      <a:pt x="384" y="3440"/>
                    </a:lnTo>
                    <a:lnTo>
                      <a:pt x="378" y="3438"/>
                    </a:lnTo>
                    <a:lnTo>
                      <a:pt x="376" y="3438"/>
                    </a:lnTo>
                    <a:lnTo>
                      <a:pt x="374" y="3442"/>
                    </a:lnTo>
                    <a:lnTo>
                      <a:pt x="374" y="3442"/>
                    </a:lnTo>
                    <a:lnTo>
                      <a:pt x="372" y="3444"/>
                    </a:lnTo>
                    <a:lnTo>
                      <a:pt x="370" y="3442"/>
                    </a:lnTo>
                    <a:lnTo>
                      <a:pt x="368" y="3442"/>
                    </a:lnTo>
                    <a:lnTo>
                      <a:pt x="364" y="3442"/>
                    </a:lnTo>
                    <a:lnTo>
                      <a:pt x="364" y="3442"/>
                    </a:lnTo>
                    <a:lnTo>
                      <a:pt x="362" y="3444"/>
                    </a:lnTo>
                    <a:lnTo>
                      <a:pt x="362" y="3446"/>
                    </a:lnTo>
                    <a:lnTo>
                      <a:pt x="368" y="3452"/>
                    </a:lnTo>
                    <a:lnTo>
                      <a:pt x="368" y="3452"/>
                    </a:lnTo>
                    <a:lnTo>
                      <a:pt x="374" y="3458"/>
                    </a:lnTo>
                    <a:lnTo>
                      <a:pt x="376" y="3460"/>
                    </a:lnTo>
                    <a:lnTo>
                      <a:pt x="376" y="3462"/>
                    </a:lnTo>
                    <a:lnTo>
                      <a:pt x="376" y="3462"/>
                    </a:lnTo>
                    <a:close/>
                    <a:moveTo>
                      <a:pt x="360" y="3454"/>
                    </a:moveTo>
                    <a:lnTo>
                      <a:pt x="360" y="3454"/>
                    </a:lnTo>
                    <a:lnTo>
                      <a:pt x="358" y="3458"/>
                    </a:lnTo>
                    <a:lnTo>
                      <a:pt x="354" y="3458"/>
                    </a:lnTo>
                    <a:lnTo>
                      <a:pt x="352" y="3460"/>
                    </a:lnTo>
                    <a:lnTo>
                      <a:pt x="354" y="3462"/>
                    </a:lnTo>
                    <a:lnTo>
                      <a:pt x="354" y="3462"/>
                    </a:lnTo>
                    <a:lnTo>
                      <a:pt x="356" y="3464"/>
                    </a:lnTo>
                    <a:lnTo>
                      <a:pt x="358" y="3464"/>
                    </a:lnTo>
                    <a:lnTo>
                      <a:pt x="364" y="3458"/>
                    </a:lnTo>
                    <a:lnTo>
                      <a:pt x="364" y="3458"/>
                    </a:lnTo>
                    <a:lnTo>
                      <a:pt x="364" y="3456"/>
                    </a:lnTo>
                    <a:lnTo>
                      <a:pt x="364" y="3454"/>
                    </a:lnTo>
                    <a:lnTo>
                      <a:pt x="362" y="3452"/>
                    </a:lnTo>
                    <a:lnTo>
                      <a:pt x="360" y="3454"/>
                    </a:lnTo>
                    <a:lnTo>
                      <a:pt x="360" y="3454"/>
                    </a:lnTo>
                    <a:close/>
                    <a:moveTo>
                      <a:pt x="390" y="3462"/>
                    </a:moveTo>
                    <a:lnTo>
                      <a:pt x="390" y="3462"/>
                    </a:lnTo>
                    <a:lnTo>
                      <a:pt x="394" y="3462"/>
                    </a:lnTo>
                    <a:lnTo>
                      <a:pt x="394" y="3460"/>
                    </a:lnTo>
                    <a:lnTo>
                      <a:pt x="396" y="3458"/>
                    </a:lnTo>
                    <a:lnTo>
                      <a:pt x="398" y="3460"/>
                    </a:lnTo>
                    <a:lnTo>
                      <a:pt x="398" y="3460"/>
                    </a:lnTo>
                    <a:lnTo>
                      <a:pt x="402" y="3462"/>
                    </a:lnTo>
                    <a:lnTo>
                      <a:pt x="402" y="3464"/>
                    </a:lnTo>
                    <a:lnTo>
                      <a:pt x="402" y="3466"/>
                    </a:lnTo>
                    <a:lnTo>
                      <a:pt x="406" y="3468"/>
                    </a:lnTo>
                    <a:lnTo>
                      <a:pt x="406" y="3468"/>
                    </a:lnTo>
                    <a:lnTo>
                      <a:pt x="410" y="3468"/>
                    </a:lnTo>
                    <a:lnTo>
                      <a:pt x="412" y="3466"/>
                    </a:lnTo>
                    <a:lnTo>
                      <a:pt x="412" y="3454"/>
                    </a:lnTo>
                    <a:lnTo>
                      <a:pt x="412" y="3454"/>
                    </a:lnTo>
                    <a:lnTo>
                      <a:pt x="410" y="3450"/>
                    </a:lnTo>
                    <a:lnTo>
                      <a:pt x="408" y="3450"/>
                    </a:lnTo>
                    <a:lnTo>
                      <a:pt x="406" y="3450"/>
                    </a:lnTo>
                    <a:lnTo>
                      <a:pt x="402" y="3448"/>
                    </a:lnTo>
                    <a:lnTo>
                      <a:pt x="402" y="3448"/>
                    </a:lnTo>
                    <a:lnTo>
                      <a:pt x="400" y="3444"/>
                    </a:lnTo>
                    <a:lnTo>
                      <a:pt x="394" y="3442"/>
                    </a:lnTo>
                    <a:lnTo>
                      <a:pt x="390" y="3444"/>
                    </a:lnTo>
                    <a:lnTo>
                      <a:pt x="388" y="3446"/>
                    </a:lnTo>
                    <a:lnTo>
                      <a:pt x="388" y="3448"/>
                    </a:lnTo>
                    <a:lnTo>
                      <a:pt x="388" y="3448"/>
                    </a:lnTo>
                    <a:lnTo>
                      <a:pt x="390" y="3454"/>
                    </a:lnTo>
                    <a:lnTo>
                      <a:pt x="388" y="3456"/>
                    </a:lnTo>
                    <a:lnTo>
                      <a:pt x="388" y="3460"/>
                    </a:lnTo>
                    <a:lnTo>
                      <a:pt x="390" y="3462"/>
                    </a:lnTo>
                    <a:lnTo>
                      <a:pt x="390" y="3462"/>
                    </a:lnTo>
                    <a:close/>
                    <a:moveTo>
                      <a:pt x="356" y="3450"/>
                    </a:moveTo>
                    <a:lnTo>
                      <a:pt x="356" y="3450"/>
                    </a:lnTo>
                    <a:lnTo>
                      <a:pt x="358" y="3450"/>
                    </a:lnTo>
                    <a:lnTo>
                      <a:pt x="360" y="3450"/>
                    </a:lnTo>
                    <a:lnTo>
                      <a:pt x="358" y="3444"/>
                    </a:lnTo>
                    <a:lnTo>
                      <a:pt x="358" y="3444"/>
                    </a:lnTo>
                    <a:lnTo>
                      <a:pt x="358" y="3442"/>
                    </a:lnTo>
                    <a:lnTo>
                      <a:pt x="358" y="3440"/>
                    </a:lnTo>
                    <a:lnTo>
                      <a:pt x="362" y="3438"/>
                    </a:lnTo>
                    <a:lnTo>
                      <a:pt x="366" y="3436"/>
                    </a:lnTo>
                    <a:lnTo>
                      <a:pt x="366" y="3434"/>
                    </a:lnTo>
                    <a:lnTo>
                      <a:pt x="366" y="3432"/>
                    </a:lnTo>
                    <a:lnTo>
                      <a:pt x="366" y="3432"/>
                    </a:lnTo>
                    <a:lnTo>
                      <a:pt x="362" y="3430"/>
                    </a:lnTo>
                    <a:lnTo>
                      <a:pt x="360" y="3430"/>
                    </a:lnTo>
                    <a:lnTo>
                      <a:pt x="358" y="3428"/>
                    </a:lnTo>
                    <a:lnTo>
                      <a:pt x="356" y="3426"/>
                    </a:lnTo>
                    <a:lnTo>
                      <a:pt x="356" y="3426"/>
                    </a:lnTo>
                    <a:lnTo>
                      <a:pt x="354" y="3422"/>
                    </a:lnTo>
                    <a:lnTo>
                      <a:pt x="352" y="3420"/>
                    </a:lnTo>
                    <a:lnTo>
                      <a:pt x="348" y="3418"/>
                    </a:lnTo>
                    <a:lnTo>
                      <a:pt x="346" y="3420"/>
                    </a:lnTo>
                    <a:lnTo>
                      <a:pt x="346" y="3420"/>
                    </a:lnTo>
                    <a:lnTo>
                      <a:pt x="344" y="3420"/>
                    </a:lnTo>
                    <a:lnTo>
                      <a:pt x="344" y="3418"/>
                    </a:lnTo>
                    <a:lnTo>
                      <a:pt x="342" y="3418"/>
                    </a:lnTo>
                    <a:lnTo>
                      <a:pt x="340" y="3420"/>
                    </a:lnTo>
                    <a:lnTo>
                      <a:pt x="340" y="3420"/>
                    </a:lnTo>
                    <a:lnTo>
                      <a:pt x="338" y="3422"/>
                    </a:lnTo>
                    <a:lnTo>
                      <a:pt x="338" y="3418"/>
                    </a:lnTo>
                    <a:lnTo>
                      <a:pt x="336" y="3414"/>
                    </a:lnTo>
                    <a:lnTo>
                      <a:pt x="332" y="3410"/>
                    </a:lnTo>
                    <a:lnTo>
                      <a:pt x="332" y="3410"/>
                    </a:lnTo>
                    <a:lnTo>
                      <a:pt x="328" y="3410"/>
                    </a:lnTo>
                    <a:lnTo>
                      <a:pt x="328" y="3412"/>
                    </a:lnTo>
                    <a:lnTo>
                      <a:pt x="328" y="3414"/>
                    </a:lnTo>
                    <a:lnTo>
                      <a:pt x="322" y="3414"/>
                    </a:lnTo>
                    <a:lnTo>
                      <a:pt x="322" y="3414"/>
                    </a:lnTo>
                    <a:lnTo>
                      <a:pt x="320" y="3414"/>
                    </a:lnTo>
                    <a:lnTo>
                      <a:pt x="318" y="3414"/>
                    </a:lnTo>
                    <a:lnTo>
                      <a:pt x="320" y="3418"/>
                    </a:lnTo>
                    <a:lnTo>
                      <a:pt x="322" y="3422"/>
                    </a:lnTo>
                    <a:lnTo>
                      <a:pt x="322" y="3422"/>
                    </a:lnTo>
                    <a:lnTo>
                      <a:pt x="320" y="3422"/>
                    </a:lnTo>
                    <a:lnTo>
                      <a:pt x="320" y="3422"/>
                    </a:lnTo>
                    <a:lnTo>
                      <a:pt x="314" y="3420"/>
                    </a:lnTo>
                    <a:lnTo>
                      <a:pt x="310" y="3422"/>
                    </a:lnTo>
                    <a:lnTo>
                      <a:pt x="308" y="3424"/>
                    </a:lnTo>
                    <a:lnTo>
                      <a:pt x="308" y="3424"/>
                    </a:lnTo>
                    <a:lnTo>
                      <a:pt x="308" y="3426"/>
                    </a:lnTo>
                    <a:lnTo>
                      <a:pt x="310" y="3428"/>
                    </a:lnTo>
                    <a:lnTo>
                      <a:pt x="310" y="3428"/>
                    </a:lnTo>
                    <a:lnTo>
                      <a:pt x="312" y="3430"/>
                    </a:lnTo>
                    <a:lnTo>
                      <a:pt x="312" y="3430"/>
                    </a:lnTo>
                    <a:lnTo>
                      <a:pt x="312" y="3432"/>
                    </a:lnTo>
                    <a:lnTo>
                      <a:pt x="312" y="3432"/>
                    </a:lnTo>
                    <a:lnTo>
                      <a:pt x="316" y="3432"/>
                    </a:lnTo>
                    <a:lnTo>
                      <a:pt x="320" y="3430"/>
                    </a:lnTo>
                    <a:lnTo>
                      <a:pt x="322" y="3432"/>
                    </a:lnTo>
                    <a:lnTo>
                      <a:pt x="322" y="3434"/>
                    </a:lnTo>
                    <a:lnTo>
                      <a:pt x="322" y="3434"/>
                    </a:lnTo>
                    <a:lnTo>
                      <a:pt x="322" y="3442"/>
                    </a:lnTo>
                    <a:lnTo>
                      <a:pt x="324" y="3444"/>
                    </a:lnTo>
                    <a:lnTo>
                      <a:pt x="328" y="3448"/>
                    </a:lnTo>
                    <a:lnTo>
                      <a:pt x="328" y="3448"/>
                    </a:lnTo>
                    <a:lnTo>
                      <a:pt x="330" y="3448"/>
                    </a:lnTo>
                    <a:lnTo>
                      <a:pt x="332" y="3448"/>
                    </a:lnTo>
                    <a:lnTo>
                      <a:pt x="332" y="3442"/>
                    </a:lnTo>
                    <a:lnTo>
                      <a:pt x="332" y="3438"/>
                    </a:lnTo>
                    <a:lnTo>
                      <a:pt x="332" y="3438"/>
                    </a:lnTo>
                    <a:lnTo>
                      <a:pt x="334" y="3438"/>
                    </a:lnTo>
                    <a:lnTo>
                      <a:pt x="334" y="3438"/>
                    </a:lnTo>
                    <a:lnTo>
                      <a:pt x="336" y="3440"/>
                    </a:lnTo>
                    <a:lnTo>
                      <a:pt x="340" y="3438"/>
                    </a:lnTo>
                    <a:lnTo>
                      <a:pt x="342" y="3438"/>
                    </a:lnTo>
                    <a:lnTo>
                      <a:pt x="342" y="3442"/>
                    </a:lnTo>
                    <a:lnTo>
                      <a:pt x="342" y="3442"/>
                    </a:lnTo>
                    <a:lnTo>
                      <a:pt x="340" y="3448"/>
                    </a:lnTo>
                    <a:lnTo>
                      <a:pt x="336" y="3450"/>
                    </a:lnTo>
                    <a:lnTo>
                      <a:pt x="334" y="3452"/>
                    </a:lnTo>
                    <a:lnTo>
                      <a:pt x="338" y="3454"/>
                    </a:lnTo>
                    <a:lnTo>
                      <a:pt x="338" y="3454"/>
                    </a:lnTo>
                    <a:lnTo>
                      <a:pt x="342" y="3454"/>
                    </a:lnTo>
                    <a:lnTo>
                      <a:pt x="346" y="3454"/>
                    </a:lnTo>
                    <a:lnTo>
                      <a:pt x="348" y="3452"/>
                    </a:lnTo>
                    <a:lnTo>
                      <a:pt x="350" y="3452"/>
                    </a:lnTo>
                    <a:lnTo>
                      <a:pt x="350" y="3452"/>
                    </a:lnTo>
                    <a:lnTo>
                      <a:pt x="352" y="3452"/>
                    </a:lnTo>
                    <a:lnTo>
                      <a:pt x="352" y="3450"/>
                    </a:lnTo>
                    <a:lnTo>
                      <a:pt x="354" y="3448"/>
                    </a:lnTo>
                    <a:lnTo>
                      <a:pt x="356" y="3450"/>
                    </a:lnTo>
                    <a:lnTo>
                      <a:pt x="356" y="3450"/>
                    </a:lnTo>
                    <a:close/>
                    <a:moveTo>
                      <a:pt x="490" y="3366"/>
                    </a:moveTo>
                    <a:lnTo>
                      <a:pt x="490" y="3366"/>
                    </a:lnTo>
                    <a:lnTo>
                      <a:pt x="488" y="3366"/>
                    </a:lnTo>
                    <a:lnTo>
                      <a:pt x="486" y="3364"/>
                    </a:lnTo>
                    <a:lnTo>
                      <a:pt x="482" y="3360"/>
                    </a:lnTo>
                    <a:lnTo>
                      <a:pt x="480" y="3354"/>
                    </a:lnTo>
                    <a:lnTo>
                      <a:pt x="478" y="3352"/>
                    </a:lnTo>
                    <a:lnTo>
                      <a:pt x="476" y="3352"/>
                    </a:lnTo>
                    <a:lnTo>
                      <a:pt x="476" y="3352"/>
                    </a:lnTo>
                    <a:lnTo>
                      <a:pt x="472" y="3356"/>
                    </a:lnTo>
                    <a:lnTo>
                      <a:pt x="468" y="3364"/>
                    </a:lnTo>
                    <a:lnTo>
                      <a:pt x="464" y="3370"/>
                    </a:lnTo>
                    <a:lnTo>
                      <a:pt x="460" y="3374"/>
                    </a:lnTo>
                    <a:lnTo>
                      <a:pt x="460" y="3374"/>
                    </a:lnTo>
                    <a:lnTo>
                      <a:pt x="454" y="3374"/>
                    </a:lnTo>
                    <a:lnTo>
                      <a:pt x="450" y="3372"/>
                    </a:lnTo>
                    <a:lnTo>
                      <a:pt x="446" y="3368"/>
                    </a:lnTo>
                    <a:lnTo>
                      <a:pt x="440" y="3370"/>
                    </a:lnTo>
                    <a:lnTo>
                      <a:pt x="440" y="3370"/>
                    </a:lnTo>
                    <a:lnTo>
                      <a:pt x="438" y="3370"/>
                    </a:lnTo>
                    <a:lnTo>
                      <a:pt x="440" y="3372"/>
                    </a:lnTo>
                    <a:lnTo>
                      <a:pt x="442" y="3374"/>
                    </a:lnTo>
                    <a:lnTo>
                      <a:pt x="444" y="3376"/>
                    </a:lnTo>
                    <a:lnTo>
                      <a:pt x="444" y="3376"/>
                    </a:lnTo>
                    <a:lnTo>
                      <a:pt x="444" y="3378"/>
                    </a:lnTo>
                    <a:lnTo>
                      <a:pt x="448" y="3380"/>
                    </a:lnTo>
                    <a:lnTo>
                      <a:pt x="450" y="3382"/>
                    </a:lnTo>
                    <a:lnTo>
                      <a:pt x="448" y="3384"/>
                    </a:lnTo>
                    <a:lnTo>
                      <a:pt x="448" y="3384"/>
                    </a:lnTo>
                    <a:lnTo>
                      <a:pt x="446" y="3388"/>
                    </a:lnTo>
                    <a:lnTo>
                      <a:pt x="444" y="3388"/>
                    </a:lnTo>
                    <a:lnTo>
                      <a:pt x="440" y="3384"/>
                    </a:lnTo>
                    <a:lnTo>
                      <a:pt x="440" y="3384"/>
                    </a:lnTo>
                    <a:lnTo>
                      <a:pt x="438" y="3382"/>
                    </a:lnTo>
                    <a:lnTo>
                      <a:pt x="438" y="3384"/>
                    </a:lnTo>
                    <a:lnTo>
                      <a:pt x="436" y="3388"/>
                    </a:lnTo>
                    <a:lnTo>
                      <a:pt x="436" y="3398"/>
                    </a:lnTo>
                    <a:lnTo>
                      <a:pt x="440" y="3410"/>
                    </a:lnTo>
                    <a:lnTo>
                      <a:pt x="440" y="3410"/>
                    </a:lnTo>
                    <a:lnTo>
                      <a:pt x="442" y="3412"/>
                    </a:lnTo>
                    <a:lnTo>
                      <a:pt x="448" y="3414"/>
                    </a:lnTo>
                    <a:lnTo>
                      <a:pt x="460" y="3410"/>
                    </a:lnTo>
                    <a:lnTo>
                      <a:pt x="474" y="3406"/>
                    </a:lnTo>
                    <a:lnTo>
                      <a:pt x="478" y="3406"/>
                    </a:lnTo>
                    <a:lnTo>
                      <a:pt x="480" y="3408"/>
                    </a:lnTo>
                    <a:lnTo>
                      <a:pt x="480" y="3408"/>
                    </a:lnTo>
                    <a:lnTo>
                      <a:pt x="482" y="3414"/>
                    </a:lnTo>
                    <a:lnTo>
                      <a:pt x="478" y="3418"/>
                    </a:lnTo>
                    <a:lnTo>
                      <a:pt x="472" y="3422"/>
                    </a:lnTo>
                    <a:lnTo>
                      <a:pt x="466" y="3424"/>
                    </a:lnTo>
                    <a:lnTo>
                      <a:pt x="452" y="3430"/>
                    </a:lnTo>
                    <a:lnTo>
                      <a:pt x="448" y="3434"/>
                    </a:lnTo>
                    <a:lnTo>
                      <a:pt x="448" y="3438"/>
                    </a:lnTo>
                    <a:lnTo>
                      <a:pt x="448" y="3438"/>
                    </a:lnTo>
                    <a:lnTo>
                      <a:pt x="452" y="3446"/>
                    </a:lnTo>
                    <a:lnTo>
                      <a:pt x="458" y="3452"/>
                    </a:lnTo>
                    <a:lnTo>
                      <a:pt x="464" y="3458"/>
                    </a:lnTo>
                    <a:lnTo>
                      <a:pt x="474" y="3462"/>
                    </a:lnTo>
                    <a:lnTo>
                      <a:pt x="488" y="3470"/>
                    </a:lnTo>
                    <a:lnTo>
                      <a:pt x="494" y="3472"/>
                    </a:lnTo>
                    <a:lnTo>
                      <a:pt x="496" y="3474"/>
                    </a:lnTo>
                    <a:lnTo>
                      <a:pt x="496" y="3474"/>
                    </a:lnTo>
                    <a:lnTo>
                      <a:pt x="482" y="3472"/>
                    </a:lnTo>
                    <a:lnTo>
                      <a:pt x="476" y="3468"/>
                    </a:lnTo>
                    <a:lnTo>
                      <a:pt x="474" y="3468"/>
                    </a:lnTo>
                    <a:lnTo>
                      <a:pt x="472" y="3468"/>
                    </a:lnTo>
                    <a:lnTo>
                      <a:pt x="472" y="3468"/>
                    </a:lnTo>
                    <a:lnTo>
                      <a:pt x="470" y="3470"/>
                    </a:lnTo>
                    <a:lnTo>
                      <a:pt x="468" y="3470"/>
                    </a:lnTo>
                    <a:lnTo>
                      <a:pt x="462" y="3466"/>
                    </a:lnTo>
                    <a:lnTo>
                      <a:pt x="456" y="3464"/>
                    </a:lnTo>
                    <a:lnTo>
                      <a:pt x="452" y="3464"/>
                    </a:lnTo>
                    <a:lnTo>
                      <a:pt x="450" y="3464"/>
                    </a:lnTo>
                    <a:lnTo>
                      <a:pt x="450" y="3464"/>
                    </a:lnTo>
                    <a:lnTo>
                      <a:pt x="448" y="3466"/>
                    </a:lnTo>
                    <a:lnTo>
                      <a:pt x="448" y="3468"/>
                    </a:lnTo>
                    <a:lnTo>
                      <a:pt x="448" y="3472"/>
                    </a:lnTo>
                    <a:lnTo>
                      <a:pt x="450" y="3472"/>
                    </a:lnTo>
                    <a:lnTo>
                      <a:pt x="448" y="3472"/>
                    </a:lnTo>
                    <a:lnTo>
                      <a:pt x="442" y="3468"/>
                    </a:lnTo>
                    <a:lnTo>
                      <a:pt x="442" y="3468"/>
                    </a:lnTo>
                    <a:lnTo>
                      <a:pt x="422" y="3454"/>
                    </a:lnTo>
                    <a:lnTo>
                      <a:pt x="416" y="3452"/>
                    </a:lnTo>
                    <a:lnTo>
                      <a:pt x="416" y="3454"/>
                    </a:lnTo>
                    <a:lnTo>
                      <a:pt x="418" y="3456"/>
                    </a:lnTo>
                    <a:lnTo>
                      <a:pt x="418" y="3456"/>
                    </a:lnTo>
                    <a:lnTo>
                      <a:pt x="422" y="3462"/>
                    </a:lnTo>
                    <a:lnTo>
                      <a:pt x="428" y="3464"/>
                    </a:lnTo>
                    <a:lnTo>
                      <a:pt x="430" y="3466"/>
                    </a:lnTo>
                    <a:lnTo>
                      <a:pt x="426" y="3466"/>
                    </a:lnTo>
                    <a:lnTo>
                      <a:pt x="426" y="3466"/>
                    </a:lnTo>
                    <a:lnTo>
                      <a:pt x="420" y="3466"/>
                    </a:lnTo>
                    <a:lnTo>
                      <a:pt x="418" y="3468"/>
                    </a:lnTo>
                    <a:lnTo>
                      <a:pt x="416" y="3472"/>
                    </a:lnTo>
                    <a:lnTo>
                      <a:pt x="414" y="3476"/>
                    </a:lnTo>
                    <a:lnTo>
                      <a:pt x="408" y="3474"/>
                    </a:lnTo>
                    <a:lnTo>
                      <a:pt x="408" y="3474"/>
                    </a:lnTo>
                    <a:lnTo>
                      <a:pt x="398" y="3470"/>
                    </a:lnTo>
                    <a:lnTo>
                      <a:pt x="398" y="3470"/>
                    </a:lnTo>
                    <a:lnTo>
                      <a:pt x="398" y="3472"/>
                    </a:lnTo>
                    <a:lnTo>
                      <a:pt x="398" y="3472"/>
                    </a:lnTo>
                    <a:lnTo>
                      <a:pt x="398" y="3472"/>
                    </a:lnTo>
                    <a:lnTo>
                      <a:pt x="396" y="3474"/>
                    </a:lnTo>
                    <a:lnTo>
                      <a:pt x="392" y="3472"/>
                    </a:lnTo>
                    <a:lnTo>
                      <a:pt x="380" y="3470"/>
                    </a:lnTo>
                    <a:lnTo>
                      <a:pt x="380" y="3470"/>
                    </a:lnTo>
                    <a:lnTo>
                      <a:pt x="380" y="3472"/>
                    </a:lnTo>
                    <a:lnTo>
                      <a:pt x="380" y="3472"/>
                    </a:lnTo>
                    <a:lnTo>
                      <a:pt x="382" y="3476"/>
                    </a:lnTo>
                    <a:lnTo>
                      <a:pt x="386" y="3478"/>
                    </a:lnTo>
                    <a:lnTo>
                      <a:pt x="386" y="3480"/>
                    </a:lnTo>
                    <a:lnTo>
                      <a:pt x="386" y="3480"/>
                    </a:lnTo>
                    <a:lnTo>
                      <a:pt x="386" y="3480"/>
                    </a:lnTo>
                    <a:lnTo>
                      <a:pt x="382" y="3480"/>
                    </a:lnTo>
                    <a:lnTo>
                      <a:pt x="376" y="3476"/>
                    </a:lnTo>
                    <a:lnTo>
                      <a:pt x="374" y="3474"/>
                    </a:lnTo>
                    <a:lnTo>
                      <a:pt x="372" y="3474"/>
                    </a:lnTo>
                    <a:lnTo>
                      <a:pt x="374" y="3476"/>
                    </a:lnTo>
                    <a:lnTo>
                      <a:pt x="374" y="3476"/>
                    </a:lnTo>
                    <a:lnTo>
                      <a:pt x="374" y="3482"/>
                    </a:lnTo>
                    <a:lnTo>
                      <a:pt x="374" y="3484"/>
                    </a:lnTo>
                    <a:lnTo>
                      <a:pt x="374" y="3486"/>
                    </a:lnTo>
                    <a:lnTo>
                      <a:pt x="376" y="3486"/>
                    </a:lnTo>
                    <a:lnTo>
                      <a:pt x="376" y="3486"/>
                    </a:lnTo>
                    <a:lnTo>
                      <a:pt x="380" y="3488"/>
                    </a:lnTo>
                    <a:lnTo>
                      <a:pt x="384" y="3486"/>
                    </a:lnTo>
                    <a:lnTo>
                      <a:pt x="390" y="3486"/>
                    </a:lnTo>
                    <a:lnTo>
                      <a:pt x="394" y="3488"/>
                    </a:lnTo>
                    <a:lnTo>
                      <a:pt x="394" y="3488"/>
                    </a:lnTo>
                    <a:lnTo>
                      <a:pt x="394" y="3488"/>
                    </a:lnTo>
                    <a:lnTo>
                      <a:pt x="396" y="3488"/>
                    </a:lnTo>
                    <a:lnTo>
                      <a:pt x="398" y="3484"/>
                    </a:lnTo>
                    <a:lnTo>
                      <a:pt x="400" y="3480"/>
                    </a:lnTo>
                    <a:lnTo>
                      <a:pt x="402" y="3480"/>
                    </a:lnTo>
                    <a:lnTo>
                      <a:pt x="402" y="3480"/>
                    </a:lnTo>
                    <a:lnTo>
                      <a:pt x="404" y="3480"/>
                    </a:lnTo>
                    <a:lnTo>
                      <a:pt x="402" y="3484"/>
                    </a:lnTo>
                    <a:lnTo>
                      <a:pt x="402" y="3486"/>
                    </a:lnTo>
                    <a:lnTo>
                      <a:pt x="404" y="3488"/>
                    </a:lnTo>
                    <a:lnTo>
                      <a:pt x="404" y="3488"/>
                    </a:lnTo>
                    <a:lnTo>
                      <a:pt x="408" y="3488"/>
                    </a:lnTo>
                    <a:lnTo>
                      <a:pt x="412" y="3486"/>
                    </a:lnTo>
                    <a:lnTo>
                      <a:pt x="416" y="3486"/>
                    </a:lnTo>
                    <a:lnTo>
                      <a:pt x="414" y="3488"/>
                    </a:lnTo>
                    <a:lnTo>
                      <a:pt x="414" y="3488"/>
                    </a:lnTo>
                    <a:lnTo>
                      <a:pt x="412" y="3492"/>
                    </a:lnTo>
                    <a:lnTo>
                      <a:pt x="414" y="3494"/>
                    </a:lnTo>
                    <a:lnTo>
                      <a:pt x="416" y="3492"/>
                    </a:lnTo>
                    <a:lnTo>
                      <a:pt x="418" y="3494"/>
                    </a:lnTo>
                    <a:lnTo>
                      <a:pt x="418" y="3494"/>
                    </a:lnTo>
                    <a:lnTo>
                      <a:pt x="422" y="3498"/>
                    </a:lnTo>
                    <a:lnTo>
                      <a:pt x="424" y="3498"/>
                    </a:lnTo>
                    <a:lnTo>
                      <a:pt x="428" y="3496"/>
                    </a:lnTo>
                    <a:lnTo>
                      <a:pt x="428" y="3496"/>
                    </a:lnTo>
                    <a:lnTo>
                      <a:pt x="432" y="3496"/>
                    </a:lnTo>
                    <a:lnTo>
                      <a:pt x="438" y="3498"/>
                    </a:lnTo>
                    <a:lnTo>
                      <a:pt x="442" y="3498"/>
                    </a:lnTo>
                    <a:lnTo>
                      <a:pt x="446" y="3496"/>
                    </a:lnTo>
                    <a:lnTo>
                      <a:pt x="446" y="3496"/>
                    </a:lnTo>
                    <a:lnTo>
                      <a:pt x="450" y="3496"/>
                    </a:lnTo>
                    <a:lnTo>
                      <a:pt x="452" y="3498"/>
                    </a:lnTo>
                    <a:lnTo>
                      <a:pt x="452" y="3500"/>
                    </a:lnTo>
                    <a:lnTo>
                      <a:pt x="456" y="3498"/>
                    </a:lnTo>
                    <a:lnTo>
                      <a:pt x="456" y="3498"/>
                    </a:lnTo>
                    <a:lnTo>
                      <a:pt x="458" y="3496"/>
                    </a:lnTo>
                    <a:lnTo>
                      <a:pt x="462" y="3496"/>
                    </a:lnTo>
                    <a:lnTo>
                      <a:pt x="464" y="3496"/>
                    </a:lnTo>
                    <a:lnTo>
                      <a:pt x="466" y="3492"/>
                    </a:lnTo>
                    <a:lnTo>
                      <a:pt x="466" y="3492"/>
                    </a:lnTo>
                    <a:lnTo>
                      <a:pt x="466" y="3492"/>
                    </a:lnTo>
                    <a:lnTo>
                      <a:pt x="468" y="3494"/>
                    </a:lnTo>
                    <a:lnTo>
                      <a:pt x="470" y="3498"/>
                    </a:lnTo>
                    <a:lnTo>
                      <a:pt x="478" y="3500"/>
                    </a:lnTo>
                    <a:lnTo>
                      <a:pt x="478" y="3500"/>
                    </a:lnTo>
                    <a:lnTo>
                      <a:pt x="496" y="3504"/>
                    </a:lnTo>
                    <a:lnTo>
                      <a:pt x="502" y="3504"/>
                    </a:lnTo>
                    <a:lnTo>
                      <a:pt x="504" y="3504"/>
                    </a:lnTo>
                    <a:lnTo>
                      <a:pt x="504" y="3502"/>
                    </a:lnTo>
                    <a:lnTo>
                      <a:pt x="504" y="3502"/>
                    </a:lnTo>
                    <a:lnTo>
                      <a:pt x="504" y="3500"/>
                    </a:lnTo>
                    <a:lnTo>
                      <a:pt x="506" y="3500"/>
                    </a:lnTo>
                    <a:lnTo>
                      <a:pt x="510" y="3502"/>
                    </a:lnTo>
                    <a:lnTo>
                      <a:pt x="510" y="3364"/>
                    </a:lnTo>
                    <a:lnTo>
                      <a:pt x="510" y="3364"/>
                    </a:lnTo>
                    <a:lnTo>
                      <a:pt x="508" y="3362"/>
                    </a:lnTo>
                    <a:lnTo>
                      <a:pt x="504" y="3360"/>
                    </a:lnTo>
                    <a:lnTo>
                      <a:pt x="500" y="3360"/>
                    </a:lnTo>
                    <a:lnTo>
                      <a:pt x="496" y="3364"/>
                    </a:lnTo>
                    <a:lnTo>
                      <a:pt x="490" y="3366"/>
                    </a:lnTo>
                    <a:lnTo>
                      <a:pt x="490" y="3366"/>
                    </a:lnTo>
                    <a:close/>
                    <a:moveTo>
                      <a:pt x="298" y="2826"/>
                    </a:moveTo>
                    <a:lnTo>
                      <a:pt x="298" y="2826"/>
                    </a:lnTo>
                    <a:lnTo>
                      <a:pt x="304" y="2826"/>
                    </a:lnTo>
                    <a:lnTo>
                      <a:pt x="306" y="2824"/>
                    </a:lnTo>
                    <a:lnTo>
                      <a:pt x="306" y="2822"/>
                    </a:lnTo>
                    <a:lnTo>
                      <a:pt x="304" y="2820"/>
                    </a:lnTo>
                    <a:lnTo>
                      <a:pt x="302" y="2814"/>
                    </a:lnTo>
                    <a:lnTo>
                      <a:pt x="304" y="2812"/>
                    </a:lnTo>
                    <a:lnTo>
                      <a:pt x="308" y="2812"/>
                    </a:lnTo>
                    <a:lnTo>
                      <a:pt x="308" y="2812"/>
                    </a:lnTo>
                    <a:lnTo>
                      <a:pt x="310" y="2812"/>
                    </a:lnTo>
                    <a:lnTo>
                      <a:pt x="312" y="2810"/>
                    </a:lnTo>
                    <a:lnTo>
                      <a:pt x="310" y="2806"/>
                    </a:lnTo>
                    <a:lnTo>
                      <a:pt x="308" y="2800"/>
                    </a:lnTo>
                    <a:lnTo>
                      <a:pt x="308" y="2798"/>
                    </a:lnTo>
                    <a:lnTo>
                      <a:pt x="310" y="2798"/>
                    </a:lnTo>
                    <a:lnTo>
                      <a:pt x="310" y="2798"/>
                    </a:lnTo>
                    <a:lnTo>
                      <a:pt x="314" y="2798"/>
                    </a:lnTo>
                    <a:lnTo>
                      <a:pt x="314" y="2794"/>
                    </a:lnTo>
                    <a:lnTo>
                      <a:pt x="304" y="2784"/>
                    </a:lnTo>
                    <a:lnTo>
                      <a:pt x="304" y="2784"/>
                    </a:lnTo>
                    <a:lnTo>
                      <a:pt x="302" y="2780"/>
                    </a:lnTo>
                    <a:lnTo>
                      <a:pt x="302" y="2778"/>
                    </a:lnTo>
                    <a:lnTo>
                      <a:pt x="306" y="2776"/>
                    </a:lnTo>
                    <a:lnTo>
                      <a:pt x="306" y="2774"/>
                    </a:lnTo>
                    <a:lnTo>
                      <a:pt x="306" y="2774"/>
                    </a:lnTo>
                    <a:lnTo>
                      <a:pt x="306" y="2774"/>
                    </a:lnTo>
                    <a:lnTo>
                      <a:pt x="306" y="2770"/>
                    </a:lnTo>
                    <a:lnTo>
                      <a:pt x="306" y="2768"/>
                    </a:lnTo>
                    <a:lnTo>
                      <a:pt x="316" y="2764"/>
                    </a:lnTo>
                    <a:lnTo>
                      <a:pt x="316" y="2764"/>
                    </a:lnTo>
                    <a:lnTo>
                      <a:pt x="318" y="2764"/>
                    </a:lnTo>
                    <a:lnTo>
                      <a:pt x="320" y="2762"/>
                    </a:lnTo>
                    <a:lnTo>
                      <a:pt x="318" y="2758"/>
                    </a:lnTo>
                    <a:lnTo>
                      <a:pt x="312" y="2748"/>
                    </a:lnTo>
                    <a:lnTo>
                      <a:pt x="312" y="2748"/>
                    </a:lnTo>
                    <a:lnTo>
                      <a:pt x="310" y="2740"/>
                    </a:lnTo>
                    <a:lnTo>
                      <a:pt x="308" y="2738"/>
                    </a:lnTo>
                    <a:lnTo>
                      <a:pt x="302" y="2738"/>
                    </a:lnTo>
                    <a:lnTo>
                      <a:pt x="302" y="2738"/>
                    </a:lnTo>
                    <a:lnTo>
                      <a:pt x="298" y="2740"/>
                    </a:lnTo>
                    <a:lnTo>
                      <a:pt x="298" y="2738"/>
                    </a:lnTo>
                    <a:lnTo>
                      <a:pt x="298" y="2736"/>
                    </a:lnTo>
                    <a:lnTo>
                      <a:pt x="296" y="2736"/>
                    </a:lnTo>
                    <a:lnTo>
                      <a:pt x="296" y="2736"/>
                    </a:lnTo>
                    <a:lnTo>
                      <a:pt x="292" y="2736"/>
                    </a:lnTo>
                    <a:lnTo>
                      <a:pt x="290" y="2736"/>
                    </a:lnTo>
                    <a:lnTo>
                      <a:pt x="290" y="2738"/>
                    </a:lnTo>
                    <a:lnTo>
                      <a:pt x="290" y="2744"/>
                    </a:lnTo>
                    <a:lnTo>
                      <a:pt x="290" y="2744"/>
                    </a:lnTo>
                    <a:lnTo>
                      <a:pt x="290" y="2752"/>
                    </a:lnTo>
                    <a:lnTo>
                      <a:pt x="288" y="2756"/>
                    </a:lnTo>
                    <a:lnTo>
                      <a:pt x="286" y="2762"/>
                    </a:lnTo>
                    <a:lnTo>
                      <a:pt x="284" y="2770"/>
                    </a:lnTo>
                    <a:lnTo>
                      <a:pt x="284" y="2770"/>
                    </a:lnTo>
                    <a:lnTo>
                      <a:pt x="284" y="2778"/>
                    </a:lnTo>
                    <a:lnTo>
                      <a:pt x="286" y="2782"/>
                    </a:lnTo>
                    <a:lnTo>
                      <a:pt x="286" y="2790"/>
                    </a:lnTo>
                    <a:lnTo>
                      <a:pt x="282" y="2802"/>
                    </a:lnTo>
                    <a:lnTo>
                      <a:pt x="282" y="2802"/>
                    </a:lnTo>
                    <a:lnTo>
                      <a:pt x="278" y="2814"/>
                    </a:lnTo>
                    <a:lnTo>
                      <a:pt x="278" y="2818"/>
                    </a:lnTo>
                    <a:lnTo>
                      <a:pt x="280" y="2822"/>
                    </a:lnTo>
                    <a:lnTo>
                      <a:pt x="286" y="2824"/>
                    </a:lnTo>
                    <a:lnTo>
                      <a:pt x="298" y="2826"/>
                    </a:lnTo>
                    <a:lnTo>
                      <a:pt x="298" y="2826"/>
                    </a:lnTo>
                    <a:close/>
                    <a:moveTo>
                      <a:pt x="316" y="2894"/>
                    </a:moveTo>
                    <a:lnTo>
                      <a:pt x="316" y="2894"/>
                    </a:lnTo>
                    <a:lnTo>
                      <a:pt x="316" y="2898"/>
                    </a:lnTo>
                    <a:lnTo>
                      <a:pt x="318" y="2902"/>
                    </a:lnTo>
                    <a:lnTo>
                      <a:pt x="318" y="2902"/>
                    </a:lnTo>
                    <a:lnTo>
                      <a:pt x="318" y="2904"/>
                    </a:lnTo>
                    <a:lnTo>
                      <a:pt x="318" y="2906"/>
                    </a:lnTo>
                    <a:lnTo>
                      <a:pt x="318" y="2906"/>
                    </a:lnTo>
                    <a:lnTo>
                      <a:pt x="320" y="2908"/>
                    </a:lnTo>
                    <a:lnTo>
                      <a:pt x="320" y="2908"/>
                    </a:lnTo>
                    <a:lnTo>
                      <a:pt x="324" y="2910"/>
                    </a:lnTo>
                    <a:lnTo>
                      <a:pt x="330" y="2910"/>
                    </a:lnTo>
                    <a:lnTo>
                      <a:pt x="336" y="2902"/>
                    </a:lnTo>
                    <a:lnTo>
                      <a:pt x="336" y="2902"/>
                    </a:lnTo>
                    <a:lnTo>
                      <a:pt x="338" y="2900"/>
                    </a:lnTo>
                    <a:lnTo>
                      <a:pt x="338" y="2898"/>
                    </a:lnTo>
                    <a:lnTo>
                      <a:pt x="338" y="2896"/>
                    </a:lnTo>
                    <a:lnTo>
                      <a:pt x="338" y="2896"/>
                    </a:lnTo>
                    <a:lnTo>
                      <a:pt x="338" y="2896"/>
                    </a:lnTo>
                    <a:lnTo>
                      <a:pt x="342" y="2894"/>
                    </a:lnTo>
                    <a:lnTo>
                      <a:pt x="344" y="2890"/>
                    </a:lnTo>
                    <a:lnTo>
                      <a:pt x="342" y="2886"/>
                    </a:lnTo>
                    <a:lnTo>
                      <a:pt x="338" y="2882"/>
                    </a:lnTo>
                    <a:lnTo>
                      <a:pt x="338" y="2882"/>
                    </a:lnTo>
                    <a:lnTo>
                      <a:pt x="332" y="2880"/>
                    </a:lnTo>
                    <a:lnTo>
                      <a:pt x="330" y="2880"/>
                    </a:lnTo>
                    <a:lnTo>
                      <a:pt x="330" y="2882"/>
                    </a:lnTo>
                    <a:lnTo>
                      <a:pt x="328" y="2882"/>
                    </a:lnTo>
                    <a:lnTo>
                      <a:pt x="328" y="2882"/>
                    </a:lnTo>
                    <a:lnTo>
                      <a:pt x="326" y="2882"/>
                    </a:lnTo>
                    <a:lnTo>
                      <a:pt x="324" y="2882"/>
                    </a:lnTo>
                    <a:lnTo>
                      <a:pt x="324" y="2884"/>
                    </a:lnTo>
                    <a:lnTo>
                      <a:pt x="322" y="2888"/>
                    </a:lnTo>
                    <a:lnTo>
                      <a:pt x="322" y="2888"/>
                    </a:lnTo>
                    <a:lnTo>
                      <a:pt x="322" y="2892"/>
                    </a:lnTo>
                    <a:lnTo>
                      <a:pt x="320" y="2894"/>
                    </a:lnTo>
                    <a:lnTo>
                      <a:pt x="318" y="2894"/>
                    </a:lnTo>
                    <a:lnTo>
                      <a:pt x="316" y="2894"/>
                    </a:lnTo>
                    <a:lnTo>
                      <a:pt x="316" y="2894"/>
                    </a:lnTo>
                    <a:close/>
                    <a:moveTo>
                      <a:pt x="258" y="2836"/>
                    </a:moveTo>
                    <a:lnTo>
                      <a:pt x="258" y="2836"/>
                    </a:lnTo>
                    <a:lnTo>
                      <a:pt x="262" y="2838"/>
                    </a:lnTo>
                    <a:lnTo>
                      <a:pt x="264" y="2838"/>
                    </a:lnTo>
                    <a:lnTo>
                      <a:pt x="266" y="2836"/>
                    </a:lnTo>
                    <a:lnTo>
                      <a:pt x="266" y="2834"/>
                    </a:lnTo>
                    <a:lnTo>
                      <a:pt x="266" y="2834"/>
                    </a:lnTo>
                    <a:lnTo>
                      <a:pt x="262" y="2832"/>
                    </a:lnTo>
                    <a:lnTo>
                      <a:pt x="260" y="2832"/>
                    </a:lnTo>
                    <a:lnTo>
                      <a:pt x="258" y="2834"/>
                    </a:lnTo>
                    <a:lnTo>
                      <a:pt x="258" y="2836"/>
                    </a:lnTo>
                    <a:lnTo>
                      <a:pt x="258" y="2836"/>
                    </a:lnTo>
                    <a:close/>
                    <a:moveTo>
                      <a:pt x="324" y="2852"/>
                    </a:moveTo>
                    <a:lnTo>
                      <a:pt x="324" y="2852"/>
                    </a:lnTo>
                    <a:lnTo>
                      <a:pt x="320" y="2856"/>
                    </a:lnTo>
                    <a:lnTo>
                      <a:pt x="322" y="2858"/>
                    </a:lnTo>
                    <a:lnTo>
                      <a:pt x="324" y="2860"/>
                    </a:lnTo>
                    <a:lnTo>
                      <a:pt x="324" y="2860"/>
                    </a:lnTo>
                    <a:lnTo>
                      <a:pt x="324" y="2860"/>
                    </a:lnTo>
                    <a:lnTo>
                      <a:pt x="326" y="2858"/>
                    </a:lnTo>
                    <a:lnTo>
                      <a:pt x="326" y="2854"/>
                    </a:lnTo>
                    <a:lnTo>
                      <a:pt x="326" y="2852"/>
                    </a:lnTo>
                    <a:lnTo>
                      <a:pt x="324" y="2850"/>
                    </a:lnTo>
                    <a:lnTo>
                      <a:pt x="324" y="2852"/>
                    </a:lnTo>
                    <a:lnTo>
                      <a:pt x="324" y="2852"/>
                    </a:lnTo>
                    <a:close/>
                    <a:moveTo>
                      <a:pt x="266" y="2958"/>
                    </a:moveTo>
                    <a:lnTo>
                      <a:pt x="266" y="2958"/>
                    </a:lnTo>
                    <a:lnTo>
                      <a:pt x="270" y="2958"/>
                    </a:lnTo>
                    <a:lnTo>
                      <a:pt x="270" y="2954"/>
                    </a:lnTo>
                    <a:lnTo>
                      <a:pt x="270" y="2950"/>
                    </a:lnTo>
                    <a:lnTo>
                      <a:pt x="268" y="2950"/>
                    </a:lnTo>
                    <a:lnTo>
                      <a:pt x="268" y="2950"/>
                    </a:lnTo>
                    <a:lnTo>
                      <a:pt x="266" y="2952"/>
                    </a:lnTo>
                    <a:lnTo>
                      <a:pt x="264" y="2954"/>
                    </a:lnTo>
                    <a:lnTo>
                      <a:pt x="264" y="2956"/>
                    </a:lnTo>
                    <a:lnTo>
                      <a:pt x="266" y="2958"/>
                    </a:lnTo>
                    <a:lnTo>
                      <a:pt x="266" y="2958"/>
                    </a:lnTo>
                    <a:close/>
                    <a:moveTo>
                      <a:pt x="244" y="3242"/>
                    </a:moveTo>
                    <a:lnTo>
                      <a:pt x="244" y="3242"/>
                    </a:lnTo>
                    <a:lnTo>
                      <a:pt x="248" y="3238"/>
                    </a:lnTo>
                    <a:lnTo>
                      <a:pt x="248" y="3236"/>
                    </a:lnTo>
                    <a:lnTo>
                      <a:pt x="246" y="3236"/>
                    </a:lnTo>
                    <a:lnTo>
                      <a:pt x="240" y="3234"/>
                    </a:lnTo>
                    <a:lnTo>
                      <a:pt x="240" y="3234"/>
                    </a:lnTo>
                    <a:lnTo>
                      <a:pt x="234" y="3234"/>
                    </a:lnTo>
                    <a:lnTo>
                      <a:pt x="234" y="3236"/>
                    </a:lnTo>
                    <a:lnTo>
                      <a:pt x="236" y="3240"/>
                    </a:lnTo>
                    <a:lnTo>
                      <a:pt x="236" y="3242"/>
                    </a:lnTo>
                    <a:lnTo>
                      <a:pt x="236" y="3242"/>
                    </a:lnTo>
                    <a:lnTo>
                      <a:pt x="232" y="3248"/>
                    </a:lnTo>
                    <a:lnTo>
                      <a:pt x="234" y="3250"/>
                    </a:lnTo>
                    <a:lnTo>
                      <a:pt x="238" y="3252"/>
                    </a:lnTo>
                    <a:lnTo>
                      <a:pt x="238" y="3252"/>
                    </a:lnTo>
                    <a:lnTo>
                      <a:pt x="242" y="3254"/>
                    </a:lnTo>
                    <a:lnTo>
                      <a:pt x="242" y="3250"/>
                    </a:lnTo>
                    <a:lnTo>
                      <a:pt x="242" y="3246"/>
                    </a:lnTo>
                    <a:lnTo>
                      <a:pt x="244" y="3242"/>
                    </a:lnTo>
                    <a:lnTo>
                      <a:pt x="244" y="3242"/>
                    </a:lnTo>
                    <a:close/>
                    <a:moveTo>
                      <a:pt x="302" y="2848"/>
                    </a:moveTo>
                    <a:lnTo>
                      <a:pt x="302" y="2848"/>
                    </a:lnTo>
                    <a:lnTo>
                      <a:pt x="300" y="2846"/>
                    </a:lnTo>
                    <a:lnTo>
                      <a:pt x="298" y="2846"/>
                    </a:lnTo>
                    <a:lnTo>
                      <a:pt x="296" y="2846"/>
                    </a:lnTo>
                    <a:lnTo>
                      <a:pt x="292" y="2846"/>
                    </a:lnTo>
                    <a:lnTo>
                      <a:pt x="292" y="2846"/>
                    </a:lnTo>
                    <a:lnTo>
                      <a:pt x="288" y="2846"/>
                    </a:lnTo>
                    <a:lnTo>
                      <a:pt x="286" y="2848"/>
                    </a:lnTo>
                    <a:lnTo>
                      <a:pt x="288" y="2850"/>
                    </a:lnTo>
                    <a:lnTo>
                      <a:pt x="292" y="2854"/>
                    </a:lnTo>
                    <a:lnTo>
                      <a:pt x="292" y="2854"/>
                    </a:lnTo>
                    <a:lnTo>
                      <a:pt x="294" y="2854"/>
                    </a:lnTo>
                    <a:lnTo>
                      <a:pt x="296" y="2854"/>
                    </a:lnTo>
                    <a:lnTo>
                      <a:pt x="296" y="2854"/>
                    </a:lnTo>
                    <a:lnTo>
                      <a:pt x="300" y="2852"/>
                    </a:lnTo>
                    <a:lnTo>
                      <a:pt x="302" y="2850"/>
                    </a:lnTo>
                    <a:lnTo>
                      <a:pt x="302" y="2848"/>
                    </a:lnTo>
                    <a:lnTo>
                      <a:pt x="302" y="2848"/>
                    </a:lnTo>
                    <a:close/>
                    <a:moveTo>
                      <a:pt x="302" y="2912"/>
                    </a:moveTo>
                    <a:lnTo>
                      <a:pt x="302" y="2912"/>
                    </a:lnTo>
                    <a:lnTo>
                      <a:pt x="304" y="2910"/>
                    </a:lnTo>
                    <a:lnTo>
                      <a:pt x="302" y="2906"/>
                    </a:lnTo>
                    <a:lnTo>
                      <a:pt x="300" y="2904"/>
                    </a:lnTo>
                    <a:lnTo>
                      <a:pt x="298" y="2904"/>
                    </a:lnTo>
                    <a:lnTo>
                      <a:pt x="298" y="2904"/>
                    </a:lnTo>
                    <a:lnTo>
                      <a:pt x="296" y="2906"/>
                    </a:lnTo>
                    <a:lnTo>
                      <a:pt x="298" y="2910"/>
                    </a:lnTo>
                    <a:lnTo>
                      <a:pt x="300" y="2912"/>
                    </a:lnTo>
                    <a:lnTo>
                      <a:pt x="302" y="2912"/>
                    </a:lnTo>
                    <a:lnTo>
                      <a:pt x="302" y="2912"/>
                    </a:lnTo>
                    <a:close/>
                    <a:moveTo>
                      <a:pt x="306" y="2942"/>
                    </a:moveTo>
                    <a:lnTo>
                      <a:pt x="306" y="2942"/>
                    </a:lnTo>
                    <a:lnTo>
                      <a:pt x="304" y="2942"/>
                    </a:lnTo>
                    <a:lnTo>
                      <a:pt x="302" y="2948"/>
                    </a:lnTo>
                    <a:lnTo>
                      <a:pt x="302" y="2952"/>
                    </a:lnTo>
                    <a:lnTo>
                      <a:pt x="304" y="2958"/>
                    </a:lnTo>
                    <a:lnTo>
                      <a:pt x="304" y="2958"/>
                    </a:lnTo>
                    <a:lnTo>
                      <a:pt x="306" y="2958"/>
                    </a:lnTo>
                    <a:lnTo>
                      <a:pt x="308" y="2958"/>
                    </a:lnTo>
                    <a:lnTo>
                      <a:pt x="308" y="2952"/>
                    </a:lnTo>
                    <a:lnTo>
                      <a:pt x="308" y="2952"/>
                    </a:lnTo>
                    <a:lnTo>
                      <a:pt x="310" y="2944"/>
                    </a:lnTo>
                    <a:lnTo>
                      <a:pt x="308" y="2942"/>
                    </a:lnTo>
                    <a:lnTo>
                      <a:pt x="306" y="2942"/>
                    </a:lnTo>
                    <a:lnTo>
                      <a:pt x="306" y="2942"/>
                    </a:lnTo>
                    <a:close/>
                    <a:moveTo>
                      <a:pt x="278" y="2958"/>
                    </a:moveTo>
                    <a:lnTo>
                      <a:pt x="278" y="2958"/>
                    </a:lnTo>
                    <a:lnTo>
                      <a:pt x="280" y="2956"/>
                    </a:lnTo>
                    <a:lnTo>
                      <a:pt x="284" y="2952"/>
                    </a:lnTo>
                    <a:lnTo>
                      <a:pt x="284" y="2952"/>
                    </a:lnTo>
                    <a:lnTo>
                      <a:pt x="286" y="2950"/>
                    </a:lnTo>
                    <a:lnTo>
                      <a:pt x="284" y="2946"/>
                    </a:lnTo>
                    <a:lnTo>
                      <a:pt x="280" y="2942"/>
                    </a:lnTo>
                    <a:lnTo>
                      <a:pt x="280" y="2942"/>
                    </a:lnTo>
                    <a:lnTo>
                      <a:pt x="276" y="2942"/>
                    </a:lnTo>
                    <a:lnTo>
                      <a:pt x="274" y="2944"/>
                    </a:lnTo>
                    <a:lnTo>
                      <a:pt x="272" y="2946"/>
                    </a:lnTo>
                    <a:lnTo>
                      <a:pt x="274" y="2950"/>
                    </a:lnTo>
                    <a:lnTo>
                      <a:pt x="274" y="2950"/>
                    </a:lnTo>
                    <a:lnTo>
                      <a:pt x="274" y="2952"/>
                    </a:lnTo>
                    <a:lnTo>
                      <a:pt x="274" y="2956"/>
                    </a:lnTo>
                    <a:lnTo>
                      <a:pt x="274" y="2958"/>
                    </a:lnTo>
                    <a:lnTo>
                      <a:pt x="278" y="2958"/>
                    </a:lnTo>
                    <a:lnTo>
                      <a:pt x="278" y="2958"/>
                    </a:lnTo>
                    <a:close/>
                    <a:moveTo>
                      <a:pt x="1872" y="956"/>
                    </a:moveTo>
                    <a:lnTo>
                      <a:pt x="1872" y="956"/>
                    </a:lnTo>
                    <a:lnTo>
                      <a:pt x="1868" y="926"/>
                    </a:lnTo>
                    <a:lnTo>
                      <a:pt x="1864" y="900"/>
                    </a:lnTo>
                    <a:lnTo>
                      <a:pt x="1862" y="888"/>
                    </a:lnTo>
                    <a:lnTo>
                      <a:pt x="1858" y="876"/>
                    </a:lnTo>
                    <a:lnTo>
                      <a:pt x="1852" y="868"/>
                    </a:lnTo>
                    <a:lnTo>
                      <a:pt x="1844" y="858"/>
                    </a:lnTo>
                    <a:lnTo>
                      <a:pt x="1844" y="858"/>
                    </a:lnTo>
                    <a:lnTo>
                      <a:pt x="1836" y="852"/>
                    </a:lnTo>
                    <a:lnTo>
                      <a:pt x="1830" y="850"/>
                    </a:lnTo>
                    <a:lnTo>
                      <a:pt x="1824" y="850"/>
                    </a:lnTo>
                    <a:lnTo>
                      <a:pt x="1816" y="850"/>
                    </a:lnTo>
                    <a:lnTo>
                      <a:pt x="1810" y="852"/>
                    </a:lnTo>
                    <a:lnTo>
                      <a:pt x="1800" y="850"/>
                    </a:lnTo>
                    <a:lnTo>
                      <a:pt x="1788" y="846"/>
                    </a:lnTo>
                    <a:lnTo>
                      <a:pt x="1774" y="838"/>
                    </a:lnTo>
                    <a:lnTo>
                      <a:pt x="1774" y="838"/>
                    </a:lnTo>
                    <a:lnTo>
                      <a:pt x="1760" y="828"/>
                    </a:lnTo>
                    <a:lnTo>
                      <a:pt x="1750" y="820"/>
                    </a:lnTo>
                    <a:lnTo>
                      <a:pt x="1744" y="814"/>
                    </a:lnTo>
                    <a:lnTo>
                      <a:pt x="1740" y="808"/>
                    </a:lnTo>
                    <a:lnTo>
                      <a:pt x="1734" y="796"/>
                    </a:lnTo>
                    <a:lnTo>
                      <a:pt x="1728" y="788"/>
                    </a:lnTo>
                    <a:lnTo>
                      <a:pt x="1718" y="780"/>
                    </a:lnTo>
                    <a:lnTo>
                      <a:pt x="1718" y="780"/>
                    </a:lnTo>
                    <a:lnTo>
                      <a:pt x="1698" y="762"/>
                    </a:lnTo>
                    <a:lnTo>
                      <a:pt x="1688" y="754"/>
                    </a:lnTo>
                    <a:lnTo>
                      <a:pt x="1680" y="748"/>
                    </a:lnTo>
                    <a:lnTo>
                      <a:pt x="1670" y="742"/>
                    </a:lnTo>
                    <a:lnTo>
                      <a:pt x="1660" y="740"/>
                    </a:lnTo>
                    <a:lnTo>
                      <a:pt x="1646" y="740"/>
                    </a:lnTo>
                    <a:lnTo>
                      <a:pt x="1632" y="740"/>
                    </a:lnTo>
                    <a:lnTo>
                      <a:pt x="1632" y="740"/>
                    </a:lnTo>
                    <a:lnTo>
                      <a:pt x="1618" y="742"/>
                    </a:lnTo>
                    <a:lnTo>
                      <a:pt x="1602" y="742"/>
                    </a:lnTo>
                    <a:lnTo>
                      <a:pt x="1590" y="742"/>
                    </a:lnTo>
                    <a:lnTo>
                      <a:pt x="1578" y="738"/>
                    </a:lnTo>
                    <a:lnTo>
                      <a:pt x="1556" y="732"/>
                    </a:lnTo>
                    <a:lnTo>
                      <a:pt x="1536" y="722"/>
                    </a:lnTo>
                    <a:lnTo>
                      <a:pt x="1536" y="722"/>
                    </a:lnTo>
                    <a:lnTo>
                      <a:pt x="1530" y="722"/>
                    </a:lnTo>
                    <a:lnTo>
                      <a:pt x="1526" y="722"/>
                    </a:lnTo>
                    <a:lnTo>
                      <a:pt x="1516" y="724"/>
                    </a:lnTo>
                    <a:lnTo>
                      <a:pt x="1508" y="730"/>
                    </a:lnTo>
                    <a:lnTo>
                      <a:pt x="1500" y="738"/>
                    </a:lnTo>
                    <a:lnTo>
                      <a:pt x="1488" y="750"/>
                    </a:lnTo>
                    <a:lnTo>
                      <a:pt x="1482" y="754"/>
                    </a:lnTo>
                    <a:lnTo>
                      <a:pt x="1482" y="754"/>
                    </a:lnTo>
                    <a:lnTo>
                      <a:pt x="1480" y="752"/>
                    </a:lnTo>
                    <a:lnTo>
                      <a:pt x="1480" y="752"/>
                    </a:lnTo>
                    <a:lnTo>
                      <a:pt x="1478" y="748"/>
                    </a:lnTo>
                    <a:lnTo>
                      <a:pt x="1478" y="742"/>
                    </a:lnTo>
                    <a:lnTo>
                      <a:pt x="1482" y="728"/>
                    </a:lnTo>
                    <a:lnTo>
                      <a:pt x="1486" y="716"/>
                    </a:lnTo>
                    <a:lnTo>
                      <a:pt x="1488" y="712"/>
                    </a:lnTo>
                    <a:lnTo>
                      <a:pt x="1486" y="708"/>
                    </a:lnTo>
                    <a:lnTo>
                      <a:pt x="1486" y="708"/>
                    </a:lnTo>
                    <a:lnTo>
                      <a:pt x="1482" y="702"/>
                    </a:lnTo>
                    <a:lnTo>
                      <a:pt x="1480" y="698"/>
                    </a:lnTo>
                    <a:lnTo>
                      <a:pt x="1478" y="688"/>
                    </a:lnTo>
                    <a:lnTo>
                      <a:pt x="1476" y="684"/>
                    </a:lnTo>
                    <a:lnTo>
                      <a:pt x="1470" y="680"/>
                    </a:lnTo>
                    <a:lnTo>
                      <a:pt x="1464" y="678"/>
                    </a:lnTo>
                    <a:lnTo>
                      <a:pt x="1454" y="674"/>
                    </a:lnTo>
                    <a:lnTo>
                      <a:pt x="1454" y="674"/>
                    </a:lnTo>
                    <a:lnTo>
                      <a:pt x="1444" y="670"/>
                    </a:lnTo>
                    <a:lnTo>
                      <a:pt x="1438" y="668"/>
                    </a:lnTo>
                    <a:lnTo>
                      <a:pt x="1428" y="658"/>
                    </a:lnTo>
                    <a:lnTo>
                      <a:pt x="1420" y="652"/>
                    </a:lnTo>
                    <a:lnTo>
                      <a:pt x="1416" y="650"/>
                    </a:lnTo>
                    <a:lnTo>
                      <a:pt x="1410" y="650"/>
                    </a:lnTo>
                    <a:lnTo>
                      <a:pt x="1410" y="650"/>
                    </a:lnTo>
                    <a:lnTo>
                      <a:pt x="1400" y="648"/>
                    </a:lnTo>
                    <a:lnTo>
                      <a:pt x="1392" y="644"/>
                    </a:lnTo>
                    <a:lnTo>
                      <a:pt x="1382" y="640"/>
                    </a:lnTo>
                    <a:lnTo>
                      <a:pt x="1362" y="638"/>
                    </a:lnTo>
                    <a:lnTo>
                      <a:pt x="1362" y="638"/>
                    </a:lnTo>
                    <a:lnTo>
                      <a:pt x="1354" y="638"/>
                    </a:lnTo>
                    <a:lnTo>
                      <a:pt x="1348" y="640"/>
                    </a:lnTo>
                    <a:lnTo>
                      <a:pt x="1340" y="644"/>
                    </a:lnTo>
                    <a:lnTo>
                      <a:pt x="1332" y="654"/>
                    </a:lnTo>
                    <a:lnTo>
                      <a:pt x="1326" y="662"/>
                    </a:lnTo>
                    <a:lnTo>
                      <a:pt x="1318" y="676"/>
                    </a:lnTo>
                    <a:lnTo>
                      <a:pt x="1314" y="678"/>
                    </a:lnTo>
                    <a:lnTo>
                      <a:pt x="1312" y="674"/>
                    </a:lnTo>
                    <a:lnTo>
                      <a:pt x="1312" y="674"/>
                    </a:lnTo>
                    <a:lnTo>
                      <a:pt x="1310" y="666"/>
                    </a:lnTo>
                    <a:lnTo>
                      <a:pt x="1314" y="658"/>
                    </a:lnTo>
                    <a:lnTo>
                      <a:pt x="1322" y="642"/>
                    </a:lnTo>
                    <a:lnTo>
                      <a:pt x="1326" y="634"/>
                    </a:lnTo>
                    <a:lnTo>
                      <a:pt x="1326" y="628"/>
                    </a:lnTo>
                    <a:lnTo>
                      <a:pt x="1326" y="626"/>
                    </a:lnTo>
                    <a:lnTo>
                      <a:pt x="1322" y="622"/>
                    </a:lnTo>
                    <a:lnTo>
                      <a:pt x="1314" y="618"/>
                    </a:lnTo>
                    <a:lnTo>
                      <a:pt x="1314" y="618"/>
                    </a:lnTo>
                    <a:lnTo>
                      <a:pt x="1296" y="614"/>
                    </a:lnTo>
                    <a:lnTo>
                      <a:pt x="1288" y="614"/>
                    </a:lnTo>
                    <a:lnTo>
                      <a:pt x="1278" y="616"/>
                    </a:lnTo>
                    <a:lnTo>
                      <a:pt x="1256" y="612"/>
                    </a:lnTo>
                    <a:lnTo>
                      <a:pt x="1256" y="612"/>
                    </a:lnTo>
                    <a:lnTo>
                      <a:pt x="1246" y="612"/>
                    </a:lnTo>
                    <a:lnTo>
                      <a:pt x="1240" y="614"/>
                    </a:lnTo>
                    <a:lnTo>
                      <a:pt x="1234" y="620"/>
                    </a:lnTo>
                    <a:lnTo>
                      <a:pt x="1230" y="626"/>
                    </a:lnTo>
                    <a:lnTo>
                      <a:pt x="1230" y="634"/>
                    </a:lnTo>
                    <a:lnTo>
                      <a:pt x="1228" y="642"/>
                    </a:lnTo>
                    <a:lnTo>
                      <a:pt x="1228" y="656"/>
                    </a:lnTo>
                    <a:lnTo>
                      <a:pt x="1228" y="656"/>
                    </a:lnTo>
                    <a:lnTo>
                      <a:pt x="1226" y="652"/>
                    </a:lnTo>
                    <a:lnTo>
                      <a:pt x="1222" y="652"/>
                    </a:lnTo>
                    <a:lnTo>
                      <a:pt x="1216" y="658"/>
                    </a:lnTo>
                    <a:lnTo>
                      <a:pt x="1214" y="660"/>
                    </a:lnTo>
                    <a:lnTo>
                      <a:pt x="1212" y="660"/>
                    </a:lnTo>
                    <a:lnTo>
                      <a:pt x="1212" y="658"/>
                    </a:lnTo>
                    <a:lnTo>
                      <a:pt x="1214" y="650"/>
                    </a:lnTo>
                    <a:lnTo>
                      <a:pt x="1214" y="650"/>
                    </a:lnTo>
                    <a:lnTo>
                      <a:pt x="1216" y="642"/>
                    </a:lnTo>
                    <a:lnTo>
                      <a:pt x="1214" y="638"/>
                    </a:lnTo>
                    <a:lnTo>
                      <a:pt x="1210" y="636"/>
                    </a:lnTo>
                    <a:lnTo>
                      <a:pt x="1206" y="638"/>
                    </a:lnTo>
                    <a:lnTo>
                      <a:pt x="1198" y="640"/>
                    </a:lnTo>
                    <a:lnTo>
                      <a:pt x="1198" y="640"/>
                    </a:lnTo>
                    <a:lnTo>
                      <a:pt x="1198" y="636"/>
                    </a:lnTo>
                    <a:lnTo>
                      <a:pt x="1198" y="636"/>
                    </a:lnTo>
                    <a:lnTo>
                      <a:pt x="1202" y="632"/>
                    </a:lnTo>
                    <a:lnTo>
                      <a:pt x="1202" y="628"/>
                    </a:lnTo>
                    <a:lnTo>
                      <a:pt x="1204" y="620"/>
                    </a:lnTo>
                    <a:lnTo>
                      <a:pt x="1204" y="616"/>
                    </a:lnTo>
                    <a:lnTo>
                      <a:pt x="1206" y="614"/>
                    </a:lnTo>
                    <a:lnTo>
                      <a:pt x="1210" y="610"/>
                    </a:lnTo>
                    <a:lnTo>
                      <a:pt x="1216" y="608"/>
                    </a:lnTo>
                    <a:lnTo>
                      <a:pt x="1216" y="608"/>
                    </a:lnTo>
                    <a:lnTo>
                      <a:pt x="1224" y="604"/>
                    </a:lnTo>
                    <a:lnTo>
                      <a:pt x="1230" y="596"/>
                    </a:lnTo>
                    <a:lnTo>
                      <a:pt x="1240" y="582"/>
                    </a:lnTo>
                    <a:lnTo>
                      <a:pt x="1248" y="566"/>
                    </a:lnTo>
                    <a:lnTo>
                      <a:pt x="1254" y="560"/>
                    </a:lnTo>
                    <a:lnTo>
                      <a:pt x="1260" y="556"/>
                    </a:lnTo>
                    <a:lnTo>
                      <a:pt x="1260" y="556"/>
                    </a:lnTo>
                    <a:lnTo>
                      <a:pt x="1264" y="554"/>
                    </a:lnTo>
                    <a:lnTo>
                      <a:pt x="1266" y="548"/>
                    </a:lnTo>
                    <a:lnTo>
                      <a:pt x="1266" y="542"/>
                    </a:lnTo>
                    <a:lnTo>
                      <a:pt x="1266" y="536"/>
                    </a:lnTo>
                    <a:lnTo>
                      <a:pt x="1264" y="528"/>
                    </a:lnTo>
                    <a:lnTo>
                      <a:pt x="1260" y="524"/>
                    </a:lnTo>
                    <a:lnTo>
                      <a:pt x="1256" y="520"/>
                    </a:lnTo>
                    <a:lnTo>
                      <a:pt x="1252" y="518"/>
                    </a:lnTo>
                    <a:lnTo>
                      <a:pt x="1252" y="518"/>
                    </a:lnTo>
                    <a:lnTo>
                      <a:pt x="1244" y="518"/>
                    </a:lnTo>
                    <a:lnTo>
                      <a:pt x="1240" y="516"/>
                    </a:lnTo>
                    <a:lnTo>
                      <a:pt x="1238" y="514"/>
                    </a:lnTo>
                    <a:lnTo>
                      <a:pt x="1238" y="508"/>
                    </a:lnTo>
                    <a:lnTo>
                      <a:pt x="1238" y="508"/>
                    </a:lnTo>
                    <a:lnTo>
                      <a:pt x="1236" y="504"/>
                    </a:lnTo>
                    <a:lnTo>
                      <a:pt x="1234" y="502"/>
                    </a:lnTo>
                    <a:lnTo>
                      <a:pt x="1234" y="500"/>
                    </a:lnTo>
                    <a:lnTo>
                      <a:pt x="1232" y="494"/>
                    </a:lnTo>
                    <a:lnTo>
                      <a:pt x="1232" y="494"/>
                    </a:lnTo>
                    <a:lnTo>
                      <a:pt x="1232" y="490"/>
                    </a:lnTo>
                    <a:lnTo>
                      <a:pt x="1230" y="488"/>
                    </a:lnTo>
                    <a:lnTo>
                      <a:pt x="1228" y="484"/>
                    </a:lnTo>
                    <a:lnTo>
                      <a:pt x="1226" y="480"/>
                    </a:lnTo>
                    <a:lnTo>
                      <a:pt x="1226" y="480"/>
                    </a:lnTo>
                    <a:lnTo>
                      <a:pt x="1226" y="476"/>
                    </a:lnTo>
                    <a:lnTo>
                      <a:pt x="1226" y="472"/>
                    </a:lnTo>
                    <a:lnTo>
                      <a:pt x="1222" y="466"/>
                    </a:lnTo>
                    <a:lnTo>
                      <a:pt x="1222" y="466"/>
                    </a:lnTo>
                    <a:lnTo>
                      <a:pt x="1220" y="444"/>
                    </a:lnTo>
                    <a:lnTo>
                      <a:pt x="1218" y="422"/>
                    </a:lnTo>
                    <a:lnTo>
                      <a:pt x="1218" y="422"/>
                    </a:lnTo>
                    <a:lnTo>
                      <a:pt x="1218" y="418"/>
                    </a:lnTo>
                    <a:lnTo>
                      <a:pt x="1216" y="416"/>
                    </a:lnTo>
                    <a:lnTo>
                      <a:pt x="1214" y="414"/>
                    </a:lnTo>
                    <a:lnTo>
                      <a:pt x="1212" y="410"/>
                    </a:lnTo>
                    <a:lnTo>
                      <a:pt x="1212" y="410"/>
                    </a:lnTo>
                    <a:lnTo>
                      <a:pt x="1206" y="398"/>
                    </a:lnTo>
                    <a:lnTo>
                      <a:pt x="1202" y="392"/>
                    </a:lnTo>
                    <a:lnTo>
                      <a:pt x="1200" y="392"/>
                    </a:lnTo>
                    <a:lnTo>
                      <a:pt x="1200" y="392"/>
                    </a:lnTo>
                    <a:lnTo>
                      <a:pt x="1198" y="394"/>
                    </a:lnTo>
                    <a:lnTo>
                      <a:pt x="1198" y="396"/>
                    </a:lnTo>
                    <a:lnTo>
                      <a:pt x="1196" y="402"/>
                    </a:lnTo>
                    <a:lnTo>
                      <a:pt x="1192" y="410"/>
                    </a:lnTo>
                    <a:lnTo>
                      <a:pt x="1192" y="410"/>
                    </a:lnTo>
                    <a:lnTo>
                      <a:pt x="1192" y="406"/>
                    </a:lnTo>
                    <a:lnTo>
                      <a:pt x="1192" y="404"/>
                    </a:lnTo>
                    <a:lnTo>
                      <a:pt x="1192" y="400"/>
                    </a:lnTo>
                    <a:lnTo>
                      <a:pt x="1192" y="394"/>
                    </a:lnTo>
                    <a:lnTo>
                      <a:pt x="1192" y="394"/>
                    </a:lnTo>
                    <a:lnTo>
                      <a:pt x="1188" y="380"/>
                    </a:lnTo>
                    <a:lnTo>
                      <a:pt x="1188" y="380"/>
                    </a:lnTo>
                    <a:lnTo>
                      <a:pt x="1186" y="380"/>
                    </a:lnTo>
                    <a:lnTo>
                      <a:pt x="1184" y="382"/>
                    </a:lnTo>
                    <a:lnTo>
                      <a:pt x="1182" y="382"/>
                    </a:lnTo>
                    <a:lnTo>
                      <a:pt x="1180" y="380"/>
                    </a:lnTo>
                    <a:lnTo>
                      <a:pt x="1178" y="374"/>
                    </a:lnTo>
                    <a:lnTo>
                      <a:pt x="1178" y="374"/>
                    </a:lnTo>
                    <a:lnTo>
                      <a:pt x="1174" y="372"/>
                    </a:lnTo>
                    <a:lnTo>
                      <a:pt x="1172" y="368"/>
                    </a:lnTo>
                    <a:lnTo>
                      <a:pt x="1166" y="364"/>
                    </a:lnTo>
                    <a:lnTo>
                      <a:pt x="1158" y="360"/>
                    </a:lnTo>
                    <a:lnTo>
                      <a:pt x="1154" y="356"/>
                    </a:lnTo>
                    <a:lnTo>
                      <a:pt x="1150" y="350"/>
                    </a:lnTo>
                    <a:lnTo>
                      <a:pt x="1150" y="350"/>
                    </a:lnTo>
                    <a:lnTo>
                      <a:pt x="1148" y="346"/>
                    </a:lnTo>
                    <a:lnTo>
                      <a:pt x="1144" y="342"/>
                    </a:lnTo>
                    <a:lnTo>
                      <a:pt x="1136" y="338"/>
                    </a:lnTo>
                    <a:lnTo>
                      <a:pt x="1126" y="334"/>
                    </a:lnTo>
                    <a:lnTo>
                      <a:pt x="1114" y="330"/>
                    </a:lnTo>
                    <a:lnTo>
                      <a:pt x="1114" y="330"/>
                    </a:lnTo>
                    <a:lnTo>
                      <a:pt x="1102" y="324"/>
                    </a:lnTo>
                    <a:lnTo>
                      <a:pt x="1102" y="324"/>
                    </a:lnTo>
                    <a:lnTo>
                      <a:pt x="1102" y="324"/>
                    </a:lnTo>
                    <a:lnTo>
                      <a:pt x="1102" y="324"/>
                    </a:lnTo>
                    <a:lnTo>
                      <a:pt x="1072" y="316"/>
                    </a:lnTo>
                    <a:lnTo>
                      <a:pt x="1060" y="314"/>
                    </a:lnTo>
                    <a:lnTo>
                      <a:pt x="1056" y="314"/>
                    </a:lnTo>
                    <a:lnTo>
                      <a:pt x="1056" y="314"/>
                    </a:lnTo>
                    <a:lnTo>
                      <a:pt x="1054" y="316"/>
                    </a:lnTo>
                    <a:lnTo>
                      <a:pt x="1048" y="316"/>
                    </a:lnTo>
                    <a:lnTo>
                      <a:pt x="1038" y="314"/>
                    </a:lnTo>
                    <a:lnTo>
                      <a:pt x="1038" y="314"/>
                    </a:lnTo>
                    <a:lnTo>
                      <a:pt x="1026" y="314"/>
                    </a:lnTo>
                    <a:lnTo>
                      <a:pt x="1024" y="316"/>
                    </a:lnTo>
                    <a:lnTo>
                      <a:pt x="1022" y="318"/>
                    </a:lnTo>
                    <a:lnTo>
                      <a:pt x="1022" y="318"/>
                    </a:lnTo>
                    <a:lnTo>
                      <a:pt x="1022" y="322"/>
                    </a:lnTo>
                    <a:lnTo>
                      <a:pt x="1018" y="322"/>
                    </a:lnTo>
                    <a:lnTo>
                      <a:pt x="1006" y="318"/>
                    </a:lnTo>
                    <a:lnTo>
                      <a:pt x="998" y="316"/>
                    </a:lnTo>
                    <a:lnTo>
                      <a:pt x="990" y="314"/>
                    </a:lnTo>
                    <a:lnTo>
                      <a:pt x="982" y="316"/>
                    </a:lnTo>
                    <a:lnTo>
                      <a:pt x="974" y="318"/>
                    </a:lnTo>
                    <a:lnTo>
                      <a:pt x="974" y="318"/>
                    </a:lnTo>
                    <a:lnTo>
                      <a:pt x="972" y="316"/>
                    </a:lnTo>
                    <a:lnTo>
                      <a:pt x="972" y="314"/>
                    </a:lnTo>
                    <a:lnTo>
                      <a:pt x="968" y="308"/>
                    </a:lnTo>
                    <a:lnTo>
                      <a:pt x="966" y="302"/>
                    </a:lnTo>
                    <a:lnTo>
                      <a:pt x="964" y="300"/>
                    </a:lnTo>
                    <a:lnTo>
                      <a:pt x="962" y="298"/>
                    </a:lnTo>
                    <a:lnTo>
                      <a:pt x="962" y="298"/>
                    </a:lnTo>
                    <a:lnTo>
                      <a:pt x="958" y="296"/>
                    </a:lnTo>
                    <a:lnTo>
                      <a:pt x="956" y="294"/>
                    </a:lnTo>
                    <a:lnTo>
                      <a:pt x="954" y="288"/>
                    </a:lnTo>
                    <a:lnTo>
                      <a:pt x="952" y="284"/>
                    </a:lnTo>
                    <a:lnTo>
                      <a:pt x="948" y="280"/>
                    </a:lnTo>
                    <a:lnTo>
                      <a:pt x="942" y="276"/>
                    </a:lnTo>
                    <a:lnTo>
                      <a:pt x="934" y="274"/>
                    </a:lnTo>
                    <a:lnTo>
                      <a:pt x="934" y="274"/>
                    </a:lnTo>
                    <a:lnTo>
                      <a:pt x="920" y="270"/>
                    </a:lnTo>
                    <a:lnTo>
                      <a:pt x="916" y="268"/>
                    </a:lnTo>
                    <a:lnTo>
                      <a:pt x="916" y="264"/>
                    </a:lnTo>
                    <a:lnTo>
                      <a:pt x="918" y="254"/>
                    </a:lnTo>
                    <a:lnTo>
                      <a:pt x="918" y="254"/>
                    </a:lnTo>
                    <a:lnTo>
                      <a:pt x="918" y="248"/>
                    </a:lnTo>
                    <a:lnTo>
                      <a:pt x="918" y="242"/>
                    </a:lnTo>
                    <a:lnTo>
                      <a:pt x="914" y="234"/>
                    </a:lnTo>
                    <a:lnTo>
                      <a:pt x="908" y="228"/>
                    </a:lnTo>
                    <a:lnTo>
                      <a:pt x="892" y="214"/>
                    </a:lnTo>
                    <a:lnTo>
                      <a:pt x="868" y="198"/>
                    </a:lnTo>
                    <a:lnTo>
                      <a:pt x="868" y="198"/>
                    </a:lnTo>
                    <a:lnTo>
                      <a:pt x="862" y="192"/>
                    </a:lnTo>
                    <a:lnTo>
                      <a:pt x="862" y="192"/>
                    </a:lnTo>
                    <a:lnTo>
                      <a:pt x="852" y="188"/>
                    </a:lnTo>
                    <a:lnTo>
                      <a:pt x="840" y="188"/>
                    </a:lnTo>
                    <a:lnTo>
                      <a:pt x="830" y="188"/>
                    </a:lnTo>
                    <a:lnTo>
                      <a:pt x="818" y="190"/>
                    </a:lnTo>
                    <a:lnTo>
                      <a:pt x="804" y="194"/>
                    </a:lnTo>
                    <a:lnTo>
                      <a:pt x="802" y="192"/>
                    </a:lnTo>
                    <a:lnTo>
                      <a:pt x="804" y="190"/>
                    </a:lnTo>
                    <a:lnTo>
                      <a:pt x="804" y="190"/>
                    </a:lnTo>
                    <a:lnTo>
                      <a:pt x="808" y="184"/>
                    </a:lnTo>
                    <a:lnTo>
                      <a:pt x="810" y="180"/>
                    </a:lnTo>
                    <a:lnTo>
                      <a:pt x="812" y="172"/>
                    </a:lnTo>
                    <a:lnTo>
                      <a:pt x="814" y="164"/>
                    </a:lnTo>
                    <a:lnTo>
                      <a:pt x="816" y="160"/>
                    </a:lnTo>
                    <a:lnTo>
                      <a:pt x="822" y="156"/>
                    </a:lnTo>
                    <a:lnTo>
                      <a:pt x="822" y="156"/>
                    </a:lnTo>
                    <a:lnTo>
                      <a:pt x="826" y="152"/>
                    </a:lnTo>
                    <a:lnTo>
                      <a:pt x="826" y="150"/>
                    </a:lnTo>
                    <a:lnTo>
                      <a:pt x="826" y="148"/>
                    </a:lnTo>
                    <a:lnTo>
                      <a:pt x="822" y="146"/>
                    </a:lnTo>
                    <a:lnTo>
                      <a:pt x="814" y="142"/>
                    </a:lnTo>
                    <a:lnTo>
                      <a:pt x="810" y="138"/>
                    </a:lnTo>
                    <a:lnTo>
                      <a:pt x="808" y="134"/>
                    </a:lnTo>
                    <a:lnTo>
                      <a:pt x="808" y="134"/>
                    </a:lnTo>
                    <a:lnTo>
                      <a:pt x="804" y="130"/>
                    </a:lnTo>
                    <a:lnTo>
                      <a:pt x="800" y="128"/>
                    </a:lnTo>
                    <a:lnTo>
                      <a:pt x="792" y="128"/>
                    </a:lnTo>
                    <a:lnTo>
                      <a:pt x="784" y="126"/>
                    </a:lnTo>
                    <a:lnTo>
                      <a:pt x="780" y="124"/>
                    </a:lnTo>
                    <a:lnTo>
                      <a:pt x="778" y="122"/>
                    </a:lnTo>
                    <a:lnTo>
                      <a:pt x="778" y="122"/>
                    </a:lnTo>
                    <a:lnTo>
                      <a:pt x="772" y="116"/>
                    </a:lnTo>
                    <a:lnTo>
                      <a:pt x="766" y="112"/>
                    </a:lnTo>
                    <a:lnTo>
                      <a:pt x="752" y="104"/>
                    </a:lnTo>
                    <a:lnTo>
                      <a:pt x="746" y="100"/>
                    </a:lnTo>
                    <a:lnTo>
                      <a:pt x="744" y="98"/>
                    </a:lnTo>
                    <a:lnTo>
                      <a:pt x="748" y="94"/>
                    </a:lnTo>
                    <a:lnTo>
                      <a:pt x="756" y="92"/>
                    </a:lnTo>
                    <a:lnTo>
                      <a:pt x="756" y="92"/>
                    </a:lnTo>
                    <a:lnTo>
                      <a:pt x="772" y="88"/>
                    </a:lnTo>
                    <a:lnTo>
                      <a:pt x="782" y="84"/>
                    </a:lnTo>
                    <a:lnTo>
                      <a:pt x="782" y="82"/>
                    </a:lnTo>
                    <a:lnTo>
                      <a:pt x="778" y="80"/>
                    </a:lnTo>
                    <a:lnTo>
                      <a:pt x="762" y="78"/>
                    </a:lnTo>
                    <a:lnTo>
                      <a:pt x="762" y="78"/>
                    </a:lnTo>
                    <a:lnTo>
                      <a:pt x="744" y="78"/>
                    </a:lnTo>
                    <a:lnTo>
                      <a:pt x="736" y="80"/>
                    </a:lnTo>
                    <a:lnTo>
                      <a:pt x="726" y="82"/>
                    </a:lnTo>
                    <a:lnTo>
                      <a:pt x="706" y="84"/>
                    </a:lnTo>
                    <a:lnTo>
                      <a:pt x="706" y="84"/>
                    </a:lnTo>
                    <a:lnTo>
                      <a:pt x="696" y="84"/>
                    </a:lnTo>
                    <a:lnTo>
                      <a:pt x="688" y="86"/>
                    </a:lnTo>
                    <a:lnTo>
                      <a:pt x="684" y="88"/>
                    </a:lnTo>
                    <a:lnTo>
                      <a:pt x="682" y="92"/>
                    </a:lnTo>
                    <a:lnTo>
                      <a:pt x="680" y="98"/>
                    </a:lnTo>
                    <a:lnTo>
                      <a:pt x="678" y="100"/>
                    </a:lnTo>
                    <a:lnTo>
                      <a:pt x="674" y="104"/>
                    </a:lnTo>
                    <a:lnTo>
                      <a:pt x="674" y="104"/>
                    </a:lnTo>
                    <a:lnTo>
                      <a:pt x="662" y="110"/>
                    </a:lnTo>
                    <a:lnTo>
                      <a:pt x="654" y="112"/>
                    </a:lnTo>
                    <a:lnTo>
                      <a:pt x="646" y="112"/>
                    </a:lnTo>
                    <a:lnTo>
                      <a:pt x="638" y="112"/>
                    </a:lnTo>
                    <a:lnTo>
                      <a:pt x="630" y="108"/>
                    </a:lnTo>
                    <a:lnTo>
                      <a:pt x="622" y="102"/>
                    </a:lnTo>
                    <a:lnTo>
                      <a:pt x="616" y="94"/>
                    </a:lnTo>
                    <a:lnTo>
                      <a:pt x="616" y="94"/>
                    </a:lnTo>
                    <a:lnTo>
                      <a:pt x="612" y="88"/>
                    </a:lnTo>
                    <a:lnTo>
                      <a:pt x="608" y="86"/>
                    </a:lnTo>
                    <a:lnTo>
                      <a:pt x="602" y="84"/>
                    </a:lnTo>
                    <a:lnTo>
                      <a:pt x="594" y="84"/>
                    </a:lnTo>
                    <a:lnTo>
                      <a:pt x="580" y="86"/>
                    </a:lnTo>
                    <a:lnTo>
                      <a:pt x="564" y="90"/>
                    </a:lnTo>
                    <a:lnTo>
                      <a:pt x="548" y="94"/>
                    </a:lnTo>
                    <a:lnTo>
                      <a:pt x="536" y="94"/>
                    </a:lnTo>
                    <a:lnTo>
                      <a:pt x="530" y="92"/>
                    </a:lnTo>
                    <a:lnTo>
                      <a:pt x="526" y="90"/>
                    </a:lnTo>
                    <a:lnTo>
                      <a:pt x="524" y="84"/>
                    </a:lnTo>
                    <a:lnTo>
                      <a:pt x="522" y="78"/>
                    </a:lnTo>
                    <a:lnTo>
                      <a:pt x="522" y="78"/>
                    </a:lnTo>
                    <a:lnTo>
                      <a:pt x="520" y="64"/>
                    </a:lnTo>
                    <a:lnTo>
                      <a:pt x="516" y="56"/>
                    </a:lnTo>
                    <a:lnTo>
                      <a:pt x="508" y="50"/>
                    </a:lnTo>
                    <a:lnTo>
                      <a:pt x="500" y="46"/>
                    </a:lnTo>
                    <a:lnTo>
                      <a:pt x="490" y="44"/>
                    </a:lnTo>
                    <a:lnTo>
                      <a:pt x="482" y="40"/>
                    </a:lnTo>
                    <a:lnTo>
                      <a:pt x="474" y="32"/>
                    </a:lnTo>
                    <a:lnTo>
                      <a:pt x="468" y="22"/>
                    </a:lnTo>
                    <a:lnTo>
                      <a:pt x="468" y="22"/>
                    </a:lnTo>
                    <a:lnTo>
                      <a:pt x="464" y="12"/>
                    </a:lnTo>
                    <a:lnTo>
                      <a:pt x="458" y="8"/>
                    </a:lnTo>
                    <a:lnTo>
                      <a:pt x="454" y="8"/>
                    </a:lnTo>
                    <a:lnTo>
                      <a:pt x="450" y="10"/>
                    </a:lnTo>
                    <a:lnTo>
                      <a:pt x="446" y="16"/>
                    </a:lnTo>
                    <a:lnTo>
                      <a:pt x="444" y="22"/>
                    </a:lnTo>
                    <a:lnTo>
                      <a:pt x="444" y="28"/>
                    </a:lnTo>
                    <a:lnTo>
                      <a:pt x="444" y="34"/>
                    </a:lnTo>
                    <a:lnTo>
                      <a:pt x="444" y="34"/>
                    </a:lnTo>
                    <a:lnTo>
                      <a:pt x="448" y="40"/>
                    </a:lnTo>
                    <a:lnTo>
                      <a:pt x="452" y="48"/>
                    </a:lnTo>
                    <a:lnTo>
                      <a:pt x="452" y="50"/>
                    </a:lnTo>
                    <a:lnTo>
                      <a:pt x="448" y="52"/>
                    </a:lnTo>
                    <a:lnTo>
                      <a:pt x="430" y="56"/>
                    </a:lnTo>
                    <a:lnTo>
                      <a:pt x="430" y="56"/>
                    </a:lnTo>
                    <a:lnTo>
                      <a:pt x="420" y="60"/>
                    </a:lnTo>
                    <a:lnTo>
                      <a:pt x="410" y="64"/>
                    </a:lnTo>
                    <a:lnTo>
                      <a:pt x="402" y="70"/>
                    </a:lnTo>
                    <a:lnTo>
                      <a:pt x="398" y="74"/>
                    </a:lnTo>
                    <a:lnTo>
                      <a:pt x="392" y="80"/>
                    </a:lnTo>
                    <a:lnTo>
                      <a:pt x="390" y="78"/>
                    </a:lnTo>
                    <a:lnTo>
                      <a:pt x="388" y="72"/>
                    </a:lnTo>
                    <a:lnTo>
                      <a:pt x="388" y="72"/>
                    </a:lnTo>
                    <a:lnTo>
                      <a:pt x="386" y="64"/>
                    </a:lnTo>
                    <a:lnTo>
                      <a:pt x="380" y="56"/>
                    </a:lnTo>
                    <a:lnTo>
                      <a:pt x="380" y="56"/>
                    </a:lnTo>
                    <a:lnTo>
                      <a:pt x="376" y="52"/>
                    </a:lnTo>
                    <a:lnTo>
                      <a:pt x="376" y="48"/>
                    </a:lnTo>
                    <a:lnTo>
                      <a:pt x="378" y="44"/>
                    </a:lnTo>
                    <a:lnTo>
                      <a:pt x="382" y="40"/>
                    </a:lnTo>
                    <a:lnTo>
                      <a:pt x="392" y="32"/>
                    </a:lnTo>
                    <a:lnTo>
                      <a:pt x="402" y="26"/>
                    </a:lnTo>
                    <a:lnTo>
                      <a:pt x="402" y="26"/>
                    </a:lnTo>
                    <a:lnTo>
                      <a:pt x="402" y="26"/>
                    </a:lnTo>
                    <a:lnTo>
                      <a:pt x="402" y="26"/>
                    </a:lnTo>
                    <a:lnTo>
                      <a:pt x="406" y="24"/>
                    </a:lnTo>
                    <a:lnTo>
                      <a:pt x="410" y="20"/>
                    </a:lnTo>
                    <a:lnTo>
                      <a:pt x="410" y="14"/>
                    </a:lnTo>
                    <a:lnTo>
                      <a:pt x="410" y="10"/>
                    </a:lnTo>
                    <a:lnTo>
                      <a:pt x="408" y="6"/>
                    </a:lnTo>
                    <a:lnTo>
                      <a:pt x="404" y="2"/>
                    </a:lnTo>
                    <a:lnTo>
                      <a:pt x="398" y="0"/>
                    </a:lnTo>
                    <a:lnTo>
                      <a:pt x="390" y="0"/>
                    </a:lnTo>
                    <a:lnTo>
                      <a:pt x="390" y="0"/>
                    </a:lnTo>
                    <a:lnTo>
                      <a:pt x="378" y="4"/>
                    </a:lnTo>
                    <a:lnTo>
                      <a:pt x="374" y="6"/>
                    </a:lnTo>
                    <a:lnTo>
                      <a:pt x="370" y="10"/>
                    </a:lnTo>
                    <a:lnTo>
                      <a:pt x="362" y="20"/>
                    </a:lnTo>
                    <a:lnTo>
                      <a:pt x="354" y="26"/>
                    </a:lnTo>
                    <a:lnTo>
                      <a:pt x="344" y="36"/>
                    </a:lnTo>
                    <a:lnTo>
                      <a:pt x="344" y="36"/>
                    </a:lnTo>
                    <a:lnTo>
                      <a:pt x="328" y="46"/>
                    </a:lnTo>
                    <a:lnTo>
                      <a:pt x="316" y="50"/>
                    </a:lnTo>
                    <a:lnTo>
                      <a:pt x="306" y="52"/>
                    </a:lnTo>
                    <a:lnTo>
                      <a:pt x="298" y="52"/>
                    </a:lnTo>
                    <a:lnTo>
                      <a:pt x="294" y="50"/>
                    </a:lnTo>
                    <a:lnTo>
                      <a:pt x="290" y="50"/>
                    </a:lnTo>
                    <a:lnTo>
                      <a:pt x="286" y="52"/>
                    </a:lnTo>
                    <a:lnTo>
                      <a:pt x="284" y="58"/>
                    </a:lnTo>
                    <a:lnTo>
                      <a:pt x="284" y="58"/>
                    </a:lnTo>
                    <a:lnTo>
                      <a:pt x="280" y="66"/>
                    </a:lnTo>
                    <a:lnTo>
                      <a:pt x="276" y="68"/>
                    </a:lnTo>
                    <a:lnTo>
                      <a:pt x="270" y="68"/>
                    </a:lnTo>
                    <a:lnTo>
                      <a:pt x="266" y="66"/>
                    </a:lnTo>
                    <a:lnTo>
                      <a:pt x="256" y="62"/>
                    </a:lnTo>
                    <a:lnTo>
                      <a:pt x="252" y="64"/>
                    </a:lnTo>
                    <a:lnTo>
                      <a:pt x="250" y="68"/>
                    </a:lnTo>
                    <a:lnTo>
                      <a:pt x="250" y="68"/>
                    </a:lnTo>
                    <a:lnTo>
                      <a:pt x="248" y="72"/>
                    </a:lnTo>
                    <a:lnTo>
                      <a:pt x="244" y="78"/>
                    </a:lnTo>
                    <a:lnTo>
                      <a:pt x="238" y="86"/>
                    </a:lnTo>
                    <a:lnTo>
                      <a:pt x="234" y="92"/>
                    </a:lnTo>
                    <a:lnTo>
                      <a:pt x="232" y="100"/>
                    </a:lnTo>
                    <a:lnTo>
                      <a:pt x="230" y="110"/>
                    </a:lnTo>
                    <a:lnTo>
                      <a:pt x="230" y="122"/>
                    </a:lnTo>
                    <a:lnTo>
                      <a:pt x="230" y="122"/>
                    </a:lnTo>
                    <a:lnTo>
                      <a:pt x="230" y="134"/>
                    </a:lnTo>
                    <a:lnTo>
                      <a:pt x="226" y="142"/>
                    </a:lnTo>
                    <a:lnTo>
                      <a:pt x="224" y="144"/>
                    </a:lnTo>
                    <a:lnTo>
                      <a:pt x="220" y="146"/>
                    </a:lnTo>
                    <a:lnTo>
                      <a:pt x="214" y="146"/>
                    </a:lnTo>
                    <a:lnTo>
                      <a:pt x="210" y="148"/>
                    </a:lnTo>
                    <a:lnTo>
                      <a:pt x="208" y="150"/>
                    </a:lnTo>
                    <a:lnTo>
                      <a:pt x="206" y="158"/>
                    </a:lnTo>
                    <a:lnTo>
                      <a:pt x="206" y="158"/>
                    </a:lnTo>
                    <a:lnTo>
                      <a:pt x="202" y="166"/>
                    </a:lnTo>
                    <a:lnTo>
                      <a:pt x="198" y="170"/>
                    </a:lnTo>
                    <a:lnTo>
                      <a:pt x="180" y="202"/>
                    </a:lnTo>
                    <a:lnTo>
                      <a:pt x="180" y="202"/>
                    </a:lnTo>
                    <a:lnTo>
                      <a:pt x="182" y="212"/>
                    </a:lnTo>
                    <a:lnTo>
                      <a:pt x="182" y="214"/>
                    </a:lnTo>
                    <a:lnTo>
                      <a:pt x="180" y="214"/>
                    </a:lnTo>
                    <a:lnTo>
                      <a:pt x="176" y="210"/>
                    </a:lnTo>
                    <a:lnTo>
                      <a:pt x="144" y="264"/>
                    </a:lnTo>
                    <a:lnTo>
                      <a:pt x="144" y="264"/>
                    </a:lnTo>
                    <a:lnTo>
                      <a:pt x="146" y="274"/>
                    </a:lnTo>
                    <a:lnTo>
                      <a:pt x="148" y="278"/>
                    </a:lnTo>
                    <a:lnTo>
                      <a:pt x="152" y="280"/>
                    </a:lnTo>
                    <a:lnTo>
                      <a:pt x="152" y="280"/>
                    </a:lnTo>
                    <a:lnTo>
                      <a:pt x="156" y="284"/>
                    </a:lnTo>
                    <a:lnTo>
                      <a:pt x="158" y="286"/>
                    </a:lnTo>
                    <a:lnTo>
                      <a:pt x="158" y="290"/>
                    </a:lnTo>
                    <a:lnTo>
                      <a:pt x="156" y="296"/>
                    </a:lnTo>
                    <a:lnTo>
                      <a:pt x="154" y="304"/>
                    </a:lnTo>
                    <a:lnTo>
                      <a:pt x="154" y="310"/>
                    </a:lnTo>
                    <a:lnTo>
                      <a:pt x="156" y="314"/>
                    </a:lnTo>
                    <a:lnTo>
                      <a:pt x="156" y="314"/>
                    </a:lnTo>
                    <a:lnTo>
                      <a:pt x="162" y="320"/>
                    </a:lnTo>
                    <a:lnTo>
                      <a:pt x="162" y="324"/>
                    </a:lnTo>
                    <a:lnTo>
                      <a:pt x="160" y="328"/>
                    </a:lnTo>
                    <a:lnTo>
                      <a:pt x="158" y="330"/>
                    </a:lnTo>
                    <a:lnTo>
                      <a:pt x="154" y="334"/>
                    </a:lnTo>
                    <a:lnTo>
                      <a:pt x="152" y="338"/>
                    </a:lnTo>
                    <a:lnTo>
                      <a:pt x="150" y="348"/>
                    </a:lnTo>
                    <a:lnTo>
                      <a:pt x="152" y="360"/>
                    </a:lnTo>
                    <a:lnTo>
                      <a:pt x="152" y="360"/>
                    </a:lnTo>
                    <a:lnTo>
                      <a:pt x="154" y="374"/>
                    </a:lnTo>
                    <a:lnTo>
                      <a:pt x="154" y="386"/>
                    </a:lnTo>
                    <a:lnTo>
                      <a:pt x="152" y="406"/>
                    </a:lnTo>
                    <a:lnTo>
                      <a:pt x="152" y="418"/>
                    </a:lnTo>
                    <a:lnTo>
                      <a:pt x="152" y="422"/>
                    </a:lnTo>
                    <a:lnTo>
                      <a:pt x="156" y="424"/>
                    </a:lnTo>
                    <a:lnTo>
                      <a:pt x="156" y="424"/>
                    </a:lnTo>
                    <a:lnTo>
                      <a:pt x="158" y="428"/>
                    </a:lnTo>
                    <a:lnTo>
                      <a:pt x="158" y="434"/>
                    </a:lnTo>
                    <a:lnTo>
                      <a:pt x="158" y="444"/>
                    </a:lnTo>
                    <a:lnTo>
                      <a:pt x="154" y="454"/>
                    </a:lnTo>
                    <a:lnTo>
                      <a:pt x="150" y="464"/>
                    </a:lnTo>
                    <a:lnTo>
                      <a:pt x="144" y="472"/>
                    </a:lnTo>
                    <a:lnTo>
                      <a:pt x="138" y="478"/>
                    </a:lnTo>
                    <a:lnTo>
                      <a:pt x="132" y="480"/>
                    </a:lnTo>
                    <a:lnTo>
                      <a:pt x="132" y="480"/>
                    </a:lnTo>
                    <a:lnTo>
                      <a:pt x="118" y="482"/>
                    </a:lnTo>
                    <a:lnTo>
                      <a:pt x="110" y="486"/>
                    </a:lnTo>
                    <a:lnTo>
                      <a:pt x="106" y="490"/>
                    </a:lnTo>
                    <a:lnTo>
                      <a:pt x="104" y="494"/>
                    </a:lnTo>
                    <a:lnTo>
                      <a:pt x="104" y="498"/>
                    </a:lnTo>
                    <a:lnTo>
                      <a:pt x="104" y="504"/>
                    </a:lnTo>
                    <a:lnTo>
                      <a:pt x="104" y="504"/>
                    </a:lnTo>
                    <a:lnTo>
                      <a:pt x="104" y="510"/>
                    </a:lnTo>
                    <a:lnTo>
                      <a:pt x="102" y="512"/>
                    </a:lnTo>
                    <a:lnTo>
                      <a:pt x="96" y="516"/>
                    </a:lnTo>
                    <a:lnTo>
                      <a:pt x="92" y="518"/>
                    </a:lnTo>
                    <a:lnTo>
                      <a:pt x="92" y="520"/>
                    </a:lnTo>
                    <a:lnTo>
                      <a:pt x="94" y="526"/>
                    </a:lnTo>
                    <a:lnTo>
                      <a:pt x="98" y="536"/>
                    </a:lnTo>
                    <a:lnTo>
                      <a:pt x="98" y="536"/>
                    </a:lnTo>
                    <a:lnTo>
                      <a:pt x="98" y="540"/>
                    </a:lnTo>
                    <a:lnTo>
                      <a:pt x="98" y="542"/>
                    </a:lnTo>
                    <a:lnTo>
                      <a:pt x="92" y="548"/>
                    </a:lnTo>
                    <a:lnTo>
                      <a:pt x="84" y="552"/>
                    </a:lnTo>
                    <a:lnTo>
                      <a:pt x="74" y="554"/>
                    </a:lnTo>
                    <a:lnTo>
                      <a:pt x="64" y="558"/>
                    </a:lnTo>
                    <a:lnTo>
                      <a:pt x="56" y="562"/>
                    </a:lnTo>
                    <a:lnTo>
                      <a:pt x="50" y="570"/>
                    </a:lnTo>
                    <a:lnTo>
                      <a:pt x="50" y="574"/>
                    </a:lnTo>
                    <a:lnTo>
                      <a:pt x="50" y="578"/>
                    </a:lnTo>
                    <a:lnTo>
                      <a:pt x="50" y="578"/>
                    </a:lnTo>
                    <a:lnTo>
                      <a:pt x="50" y="592"/>
                    </a:lnTo>
                    <a:lnTo>
                      <a:pt x="48" y="600"/>
                    </a:lnTo>
                    <a:lnTo>
                      <a:pt x="46" y="606"/>
                    </a:lnTo>
                    <a:lnTo>
                      <a:pt x="42" y="610"/>
                    </a:lnTo>
                    <a:lnTo>
                      <a:pt x="36" y="618"/>
                    </a:lnTo>
                    <a:lnTo>
                      <a:pt x="34" y="624"/>
                    </a:lnTo>
                    <a:lnTo>
                      <a:pt x="34" y="632"/>
                    </a:lnTo>
                    <a:lnTo>
                      <a:pt x="34" y="632"/>
                    </a:lnTo>
                    <a:lnTo>
                      <a:pt x="34" y="642"/>
                    </a:lnTo>
                    <a:lnTo>
                      <a:pt x="30" y="646"/>
                    </a:lnTo>
                    <a:lnTo>
                      <a:pt x="28" y="648"/>
                    </a:lnTo>
                    <a:lnTo>
                      <a:pt x="22" y="650"/>
                    </a:lnTo>
                    <a:lnTo>
                      <a:pt x="18" y="652"/>
                    </a:lnTo>
                    <a:lnTo>
                      <a:pt x="16" y="654"/>
                    </a:lnTo>
                    <a:lnTo>
                      <a:pt x="14" y="660"/>
                    </a:lnTo>
                    <a:lnTo>
                      <a:pt x="16" y="670"/>
                    </a:lnTo>
                    <a:lnTo>
                      <a:pt x="16" y="670"/>
                    </a:lnTo>
                    <a:lnTo>
                      <a:pt x="18" y="688"/>
                    </a:lnTo>
                    <a:lnTo>
                      <a:pt x="20" y="698"/>
                    </a:lnTo>
                    <a:lnTo>
                      <a:pt x="18" y="706"/>
                    </a:lnTo>
                    <a:lnTo>
                      <a:pt x="18" y="710"/>
                    </a:lnTo>
                    <a:lnTo>
                      <a:pt x="16" y="714"/>
                    </a:lnTo>
                    <a:lnTo>
                      <a:pt x="18" y="716"/>
                    </a:lnTo>
                    <a:lnTo>
                      <a:pt x="28" y="728"/>
                    </a:lnTo>
                    <a:lnTo>
                      <a:pt x="28" y="728"/>
                    </a:lnTo>
                    <a:lnTo>
                      <a:pt x="34" y="734"/>
                    </a:lnTo>
                    <a:lnTo>
                      <a:pt x="42" y="736"/>
                    </a:lnTo>
                    <a:lnTo>
                      <a:pt x="46" y="736"/>
                    </a:lnTo>
                    <a:lnTo>
                      <a:pt x="50" y="732"/>
                    </a:lnTo>
                    <a:lnTo>
                      <a:pt x="54" y="726"/>
                    </a:lnTo>
                    <a:lnTo>
                      <a:pt x="56" y="726"/>
                    </a:lnTo>
                    <a:lnTo>
                      <a:pt x="56" y="730"/>
                    </a:lnTo>
                    <a:lnTo>
                      <a:pt x="56" y="730"/>
                    </a:lnTo>
                    <a:lnTo>
                      <a:pt x="56" y="744"/>
                    </a:lnTo>
                    <a:lnTo>
                      <a:pt x="54" y="756"/>
                    </a:lnTo>
                    <a:lnTo>
                      <a:pt x="52" y="760"/>
                    </a:lnTo>
                    <a:lnTo>
                      <a:pt x="48" y="766"/>
                    </a:lnTo>
                    <a:lnTo>
                      <a:pt x="44" y="768"/>
                    </a:lnTo>
                    <a:lnTo>
                      <a:pt x="38" y="770"/>
                    </a:lnTo>
                    <a:lnTo>
                      <a:pt x="38" y="770"/>
                    </a:lnTo>
                    <a:lnTo>
                      <a:pt x="22" y="786"/>
                    </a:lnTo>
                    <a:lnTo>
                      <a:pt x="12" y="800"/>
                    </a:lnTo>
                    <a:lnTo>
                      <a:pt x="6" y="812"/>
                    </a:lnTo>
                    <a:lnTo>
                      <a:pt x="2" y="824"/>
                    </a:lnTo>
                    <a:lnTo>
                      <a:pt x="0" y="836"/>
                    </a:lnTo>
                    <a:lnTo>
                      <a:pt x="0" y="844"/>
                    </a:lnTo>
                    <a:lnTo>
                      <a:pt x="2" y="860"/>
                    </a:lnTo>
                    <a:lnTo>
                      <a:pt x="2" y="860"/>
                    </a:lnTo>
                    <a:lnTo>
                      <a:pt x="4" y="866"/>
                    </a:lnTo>
                    <a:lnTo>
                      <a:pt x="8" y="870"/>
                    </a:lnTo>
                    <a:lnTo>
                      <a:pt x="16" y="876"/>
                    </a:lnTo>
                    <a:lnTo>
                      <a:pt x="18" y="878"/>
                    </a:lnTo>
                    <a:lnTo>
                      <a:pt x="18" y="882"/>
                    </a:lnTo>
                    <a:lnTo>
                      <a:pt x="18" y="884"/>
                    </a:lnTo>
                    <a:lnTo>
                      <a:pt x="12" y="888"/>
                    </a:lnTo>
                    <a:lnTo>
                      <a:pt x="12" y="888"/>
                    </a:lnTo>
                    <a:lnTo>
                      <a:pt x="8" y="892"/>
                    </a:lnTo>
                    <a:lnTo>
                      <a:pt x="6" y="896"/>
                    </a:lnTo>
                    <a:lnTo>
                      <a:pt x="6" y="900"/>
                    </a:lnTo>
                    <a:lnTo>
                      <a:pt x="6" y="902"/>
                    </a:lnTo>
                    <a:lnTo>
                      <a:pt x="12" y="908"/>
                    </a:lnTo>
                    <a:lnTo>
                      <a:pt x="22" y="914"/>
                    </a:lnTo>
                    <a:lnTo>
                      <a:pt x="44" y="926"/>
                    </a:lnTo>
                    <a:lnTo>
                      <a:pt x="54" y="934"/>
                    </a:lnTo>
                    <a:lnTo>
                      <a:pt x="56" y="938"/>
                    </a:lnTo>
                    <a:lnTo>
                      <a:pt x="58" y="944"/>
                    </a:lnTo>
                    <a:lnTo>
                      <a:pt x="58" y="944"/>
                    </a:lnTo>
                    <a:lnTo>
                      <a:pt x="62" y="960"/>
                    </a:lnTo>
                    <a:lnTo>
                      <a:pt x="68" y="972"/>
                    </a:lnTo>
                    <a:lnTo>
                      <a:pt x="74" y="980"/>
                    </a:lnTo>
                    <a:lnTo>
                      <a:pt x="80" y="988"/>
                    </a:lnTo>
                    <a:lnTo>
                      <a:pt x="92" y="1004"/>
                    </a:lnTo>
                    <a:lnTo>
                      <a:pt x="96" y="1014"/>
                    </a:lnTo>
                    <a:lnTo>
                      <a:pt x="100" y="1026"/>
                    </a:lnTo>
                    <a:lnTo>
                      <a:pt x="100" y="1026"/>
                    </a:lnTo>
                    <a:lnTo>
                      <a:pt x="104" y="1040"/>
                    </a:lnTo>
                    <a:lnTo>
                      <a:pt x="108" y="1056"/>
                    </a:lnTo>
                    <a:lnTo>
                      <a:pt x="122" y="1086"/>
                    </a:lnTo>
                    <a:lnTo>
                      <a:pt x="136" y="1114"/>
                    </a:lnTo>
                    <a:lnTo>
                      <a:pt x="142" y="1128"/>
                    </a:lnTo>
                    <a:lnTo>
                      <a:pt x="146" y="1142"/>
                    </a:lnTo>
                    <a:lnTo>
                      <a:pt x="146" y="1142"/>
                    </a:lnTo>
                    <a:lnTo>
                      <a:pt x="148" y="1152"/>
                    </a:lnTo>
                    <a:lnTo>
                      <a:pt x="152" y="1160"/>
                    </a:lnTo>
                    <a:lnTo>
                      <a:pt x="158" y="1172"/>
                    </a:lnTo>
                    <a:lnTo>
                      <a:pt x="162" y="1180"/>
                    </a:lnTo>
                    <a:lnTo>
                      <a:pt x="164" y="1186"/>
                    </a:lnTo>
                    <a:lnTo>
                      <a:pt x="164" y="1194"/>
                    </a:lnTo>
                    <a:lnTo>
                      <a:pt x="164" y="1194"/>
                    </a:lnTo>
                    <a:lnTo>
                      <a:pt x="166" y="1202"/>
                    </a:lnTo>
                    <a:lnTo>
                      <a:pt x="172" y="1210"/>
                    </a:lnTo>
                    <a:lnTo>
                      <a:pt x="184" y="1228"/>
                    </a:lnTo>
                    <a:lnTo>
                      <a:pt x="192" y="1238"/>
                    </a:lnTo>
                    <a:lnTo>
                      <a:pt x="198" y="1248"/>
                    </a:lnTo>
                    <a:lnTo>
                      <a:pt x="200" y="1260"/>
                    </a:lnTo>
                    <a:lnTo>
                      <a:pt x="200" y="1274"/>
                    </a:lnTo>
                    <a:lnTo>
                      <a:pt x="200" y="1274"/>
                    </a:lnTo>
                    <a:lnTo>
                      <a:pt x="200" y="1286"/>
                    </a:lnTo>
                    <a:lnTo>
                      <a:pt x="204" y="1298"/>
                    </a:lnTo>
                    <a:lnTo>
                      <a:pt x="208" y="1308"/>
                    </a:lnTo>
                    <a:lnTo>
                      <a:pt x="214" y="1316"/>
                    </a:lnTo>
                    <a:lnTo>
                      <a:pt x="228" y="1330"/>
                    </a:lnTo>
                    <a:lnTo>
                      <a:pt x="234" y="1338"/>
                    </a:lnTo>
                    <a:lnTo>
                      <a:pt x="238" y="1344"/>
                    </a:lnTo>
                    <a:lnTo>
                      <a:pt x="238" y="1344"/>
                    </a:lnTo>
                    <a:lnTo>
                      <a:pt x="246" y="1356"/>
                    </a:lnTo>
                    <a:lnTo>
                      <a:pt x="256" y="1368"/>
                    </a:lnTo>
                    <a:lnTo>
                      <a:pt x="278" y="1384"/>
                    </a:lnTo>
                    <a:lnTo>
                      <a:pt x="318" y="1406"/>
                    </a:lnTo>
                    <a:lnTo>
                      <a:pt x="318" y="1406"/>
                    </a:lnTo>
                    <a:lnTo>
                      <a:pt x="358" y="1428"/>
                    </a:lnTo>
                    <a:lnTo>
                      <a:pt x="380" y="1442"/>
                    </a:lnTo>
                    <a:lnTo>
                      <a:pt x="388" y="1448"/>
                    </a:lnTo>
                    <a:lnTo>
                      <a:pt x="392" y="1454"/>
                    </a:lnTo>
                    <a:lnTo>
                      <a:pt x="396" y="1460"/>
                    </a:lnTo>
                    <a:lnTo>
                      <a:pt x="398" y="1468"/>
                    </a:lnTo>
                    <a:lnTo>
                      <a:pt x="398" y="1468"/>
                    </a:lnTo>
                    <a:lnTo>
                      <a:pt x="400" y="1474"/>
                    </a:lnTo>
                    <a:lnTo>
                      <a:pt x="404" y="1480"/>
                    </a:lnTo>
                    <a:lnTo>
                      <a:pt x="408" y="1486"/>
                    </a:lnTo>
                    <a:lnTo>
                      <a:pt x="414" y="1490"/>
                    </a:lnTo>
                    <a:lnTo>
                      <a:pt x="426" y="1496"/>
                    </a:lnTo>
                    <a:lnTo>
                      <a:pt x="434" y="1500"/>
                    </a:lnTo>
                    <a:lnTo>
                      <a:pt x="440" y="1506"/>
                    </a:lnTo>
                    <a:lnTo>
                      <a:pt x="440" y="1506"/>
                    </a:lnTo>
                    <a:lnTo>
                      <a:pt x="438" y="1532"/>
                    </a:lnTo>
                    <a:lnTo>
                      <a:pt x="440" y="1542"/>
                    </a:lnTo>
                    <a:lnTo>
                      <a:pt x="442" y="1546"/>
                    </a:lnTo>
                    <a:lnTo>
                      <a:pt x="442" y="1552"/>
                    </a:lnTo>
                    <a:lnTo>
                      <a:pt x="442" y="1552"/>
                    </a:lnTo>
                    <a:lnTo>
                      <a:pt x="444" y="1564"/>
                    </a:lnTo>
                    <a:lnTo>
                      <a:pt x="446" y="1574"/>
                    </a:lnTo>
                    <a:lnTo>
                      <a:pt x="448" y="1586"/>
                    </a:lnTo>
                    <a:lnTo>
                      <a:pt x="448" y="1594"/>
                    </a:lnTo>
                    <a:lnTo>
                      <a:pt x="448" y="1604"/>
                    </a:lnTo>
                    <a:lnTo>
                      <a:pt x="448" y="1604"/>
                    </a:lnTo>
                    <a:lnTo>
                      <a:pt x="446" y="1614"/>
                    </a:lnTo>
                    <a:lnTo>
                      <a:pt x="446" y="1624"/>
                    </a:lnTo>
                    <a:lnTo>
                      <a:pt x="450" y="1640"/>
                    </a:lnTo>
                    <a:lnTo>
                      <a:pt x="452" y="1658"/>
                    </a:lnTo>
                    <a:lnTo>
                      <a:pt x="452" y="1670"/>
                    </a:lnTo>
                    <a:lnTo>
                      <a:pt x="448" y="1686"/>
                    </a:lnTo>
                    <a:lnTo>
                      <a:pt x="448" y="1686"/>
                    </a:lnTo>
                    <a:lnTo>
                      <a:pt x="444" y="1716"/>
                    </a:lnTo>
                    <a:lnTo>
                      <a:pt x="442" y="1732"/>
                    </a:lnTo>
                    <a:lnTo>
                      <a:pt x="440" y="1742"/>
                    </a:lnTo>
                    <a:lnTo>
                      <a:pt x="440" y="1744"/>
                    </a:lnTo>
                    <a:lnTo>
                      <a:pt x="438" y="1744"/>
                    </a:lnTo>
                    <a:lnTo>
                      <a:pt x="438" y="1744"/>
                    </a:lnTo>
                    <a:lnTo>
                      <a:pt x="436" y="1744"/>
                    </a:lnTo>
                    <a:lnTo>
                      <a:pt x="434" y="1746"/>
                    </a:lnTo>
                    <a:lnTo>
                      <a:pt x="430" y="1752"/>
                    </a:lnTo>
                    <a:lnTo>
                      <a:pt x="430" y="1760"/>
                    </a:lnTo>
                    <a:lnTo>
                      <a:pt x="430" y="1762"/>
                    </a:lnTo>
                    <a:lnTo>
                      <a:pt x="434" y="1764"/>
                    </a:lnTo>
                    <a:lnTo>
                      <a:pt x="434" y="1764"/>
                    </a:lnTo>
                    <a:lnTo>
                      <a:pt x="436" y="1768"/>
                    </a:lnTo>
                    <a:lnTo>
                      <a:pt x="436" y="1772"/>
                    </a:lnTo>
                    <a:lnTo>
                      <a:pt x="434" y="1788"/>
                    </a:lnTo>
                    <a:lnTo>
                      <a:pt x="430" y="1808"/>
                    </a:lnTo>
                    <a:lnTo>
                      <a:pt x="432" y="1820"/>
                    </a:lnTo>
                    <a:lnTo>
                      <a:pt x="434" y="1834"/>
                    </a:lnTo>
                    <a:lnTo>
                      <a:pt x="434" y="1834"/>
                    </a:lnTo>
                    <a:lnTo>
                      <a:pt x="436" y="1846"/>
                    </a:lnTo>
                    <a:lnTo>
                      <a:pt x="436" y="1856"/>
                    </a:lnTo>
                    <a:lnTo>
                      <a:pt x="434" y="1864"/>
                    </a:lnTo>
                    <a:lnTo>
                      <a:pt x="432" y="1870"/>
                    </a:lnTo>
                    <a:lnTo>
                      <a:pt x="428" y="1882"/>
                    </a:lnTo>
                    <a:lnTo>
                      <a:pt x="428" y="1888"/>
                    </a:lnTo>
                    <a:lnTo>
                      <a:pt x="430" y="1894"/>
                    </a:lnTo>
                    <a:lnTo>
                      <a:pt x="430" y="1894"/>
                    </a:lnTo>
                    <a:lnTo>
                      <a:pt x="432" y="1900"/>
                    </a:lnTo>
                    <a:lnTo>
                      <a:pt x="430" y="1908"/>
                    </a:lnTo>
                    <a:lnTo>
                      <a:pt x="424" y="1928"/>
                    </a:lnTo>
                    <a:lnTo>
                      <a:pt x="418" y="1946"/>
                    </a:lnTo>
                    <a:lnTo>
                      <a:pt x="416" y="1956"/>
                    </a:lnTo>
                    <a:lnTo>
                      <a:pt x="416" y="1964"/>
                    </a:lnTo>
                    <a:lnTo>
                      <a:pt x="416" y="1964"/>
                    </a:lnTo>
                    <a:lnTo>
                      <a:pt x="416" y="1974"/>
                    </a:lnTo>
                    <a:lnTo>
                      <a:pt x="414" y="1978"/>
                    </a:lnTo>
                    <a:lnTo>
                      <a:pt x="410" y="1986"/>
                    </a:lnTo>
                    <a:lnTo>
                      <a:pt x="408" y="2004"/>
                    </a:lnTo>
                    <a:lnTo>
                      <a:pt x="408" y="2004"/>
                    </a:lnTo>
                    <a:lnTo>
                      <a:pt x="408" y="2016"/>
                    </a:lnTo>
                    <a:lnTo>
                      <a:pt x="404" y="2024"/>
                    </a:lnTo>
                    <a:lnTo>
                      <a:pt x="400" y="2030"/>
                    </a:lnTo>
                    <a:lnTo>
                      <a:pt x="398" y="2036"/>
                    </a:lnTo>
                    <a:lnTo>
                      <a:pt x="394" y="2040"/>
                    </a:lnTo>
                    <a:lnTo>
                      <a:pt x="392" y="2044"/>
                    </a:lnTo>
                    <a:lnTo>
                      <a:pt x="392" y="2048"/>
                    </a:lnTo>
                    <a:lnTo>
                      <a:pt x="394" y="2056"/>
                    </a:lnTo>
                    <a:lnTo>
                      <a:pt x="394" y="2056"/>
                    </a:lnTo>
                    <a:lnTo>
                      <a:pt x="400" y="2072"/>
                    </a:lnTo>
                    <a:lnTo>
                      <a:pt x="402" y="2086"/>
                    </a:lnTo>
                    <a:lnTo>
                      <a:pt x="402" y="2098"/>
                    </a:lnTo>
                    <a:lnTo>
                      <a:pt x="400" y="2104"/>
                    </a:lnTo>
                    <a:lnTo>
                      <a:pt x="398" y="2108"/>
                    </a:lnTo>
                    <a:lnTo>
                      <a:pt x="398" y="2108"/>
                    </a:lnTo>
                    <a:lnTo>
                      <a:pt x="390" y="2116"/>
                    </a:lnTo>
                    <a:lnTo>
                      <a:pt x="386" y="2124"/>
                    </a:lnTo>
                    <a:lnTo>
                      <a:pt x="384" y="2130"/>
                    </a:lnTo>
                    <a:lnTo>
                      <a:pt x="384" y="2138"/>
                    </a:lnTo>
                    <a:lnTo>
                      <a:pt x="388" y="2162"/>
                    </a:lnTo>
                    <a:lnTo>
                      <a:pt x="388" y="2162"/>
                    </a:lnTo>
                    <a:lnTo>
                      <a:pt x="392" y="2186"/>
                    </a:lnTo>
                    <a:lnTo>
                      <a:pt x="392" y="2200"/>
                    </a:lnTo>
                    <a:lnTo>
                      <a:pt x="392" y="2212"/>
                    </a:lnTo>
                    <a:lnTo>
                      <a:pt x="396" y="2224"/>
                    </a:lnTo>
                    <a:lnTo>
                      <a:pt x="396" y="2224"/>
                    </a:lnTo>
                    <a:lnTo>
                      <a:pt x="398" y="2230"/>
                    </a:lnTo>
                    <a:lnTo>
                      <a:pt x="398" y="2236"/>
                    </a:lnTo>
                    <a:lnTo>
                      <a:pt x="392" y="2248"/>
                    </a:lnTo>
                    <a:lnTo>
                      <a:pt x="386" y="2262"/>
                    </a:lnTo>
                    <a:lnTo>
                      <a:pt x="386" y="2270"/>
                    </a:lnTo>
                    <a:lnTo>
                      <a:pt x="386" y="2280"/>
                    </a:lnTo>
                    <a:lnTo>
                      <a:pt x="386" y="2280"/>
                    </a:lnTo>
                    <a:lnTo>
                      <a:pt x="388" y="2288"/>
                    </a:lnTo>
                    <a:lnTo>
                      <a:pt x="388" y="2292"/>
                    </a:lnTo>
                    <a:lnTo>
                      <a:pt x="386" y="2294"/>
                    </a:lnTo>
                    <a:lnTo>
                      <a:pt x="384" y="2298"/>
                    </a:lnTo>
                    <a:lnTo>
                      <a:pt x="380" y="2300"/>
                    </a:lnTo>
                    <a:lnTo>
                      <a:pt x="378" y="2306"/>
                    </a:lnTo>
                    <a:lnTo>
                      <a:pt x="376" y="2314"/>
                    </a:lnTo>
                    <a:lnTo>
                      <a:pt x="374" y="2328"/>
                    </a:lnTo>
                    <a:lnTo>
                      <a:pt x="374" y="2328"/>
                    </a:lnTo>
                    <a:lnTo>
                      <a:pt x="372" y="2342"/>
                    </a:lnTo>
                    <a:lnTo>
                      <a:pt x="370" y="2354"/>
                    </a:lnTo>
                    <a:lnTo>
                      <a:pt x="362" y="2376"/>
                    </a:lnTo>
                    <a:lnTo>
                      <a:pt x="354" y="2390"/>
                    </a:lnTo>
                    <a:lnTo>
                      <a:pt x="350" y="2402"/>
                    </a:lnTo>
                    <a:lnTo>
                      <a:pt x="350" y="2402"/>
                    </a:lnTo>
                    <a:lnTo>
                      <a:pt x="348" y="2412"/>
                    </a:lnTo>
                    <a:lnTo>
                      <a:pt x="344" y="2414"/>
                    </a:lnTo>
                    <a:lnTo>
                      <a:pt x="342" y="2420"/>
                    </a:lnTo>
                    <a:lnTo>
                      <a:pt x="338" y="2434"/>
                    </a:lnTo>
                    <a:lnTo>
                      <a:pt x="338" y="2434"/>
                    </a:lnTo>
                    <a:lnTo>
                      <a:pt x="336" y="2446"/>
                    </a:lnTo>
                    <a:lnTo>
                      <a:pt x="334" y="2452"/>
                    </a:lnTo>
                    <a:lnTo>
                      <a:pt x="334" y="2454"/>
                    </a:lnTo>
                    <a:lnTo>
                      <a:pt x="332" y="2454"/>
                    </a:lnTo>
                    <a:lnTo>
                      <a:pt x="330" y="2452"/>
                    </a:lnTo>
                    <a:lnTo>
                      <a:pt x="330" y="2452"/>
                    </a:lnTo>
                    <a:lnTo>
                      <a:pt x="328" y="2462"/>
                    </a:lnTo>
                    <a:lnTo>
                      <a:pt x="328" y="2462"/>
                    </a:lnTo>
                    <a:lnTo>
                      <a:pt x="326" y="2474"/>
                    </a:lnTo>
                    <a:lnTo>
                      <a:pt x="324" y="2480"/>
                    </a:lnTo>
                    <a:lnTo>
                      <a:pt x="320" y="2482"/>
                    </a:lnTo>
                    <a:lnTo>
                      <a:pt x="318" y="2482"/>
                    </a:lnTo>
                    <a:lnTo>
                      <a:pt x="310" y="2480"/>
                    </a:lnTo>
                    <a:lnTo>
                      <a:pt x="308" y="2482"/>
                    </a:lnTo>
                    <a:lnTo>
                      <a:pt x="306" y="2486"/>
                    </a:lnTo>
                    <a:lnTo>
                      <a:pt x="306" y="2486"/>
                    </a:lnTo>
                    <a:lnTo>
                      <a:pt x="306" y="2498"/>
                    </a:lnTo>
                    <a:lnTo>
                      <a:pt x="306" y="2506"/>
                    </a:lnTo>
                    <a:lnTo>
                      <a:pt x="310" y="2514"/>
                    </a:lnTo>
                    <a:lnTo>
                      <a:pt x="314" y="2522"/>
                    </a:lnTo>
                    <a:lnTo>
                      <a:pt x="314" y="2530"/>
                    </a:lnTo>
                    <a:lnTo>
                      <a:pt x="314" y="2540"/>
                    </a:lnTo>
                    <a:lnTo>
                      <a:pt x="314" y="2540"/>
                    </a:lnTo>
                    <a:lnTo>
                      <a:pt x="312" y="2552"/>
                    </a:lnTo>
                    <a:lnTo>
                      <a:pt x="314" y="2560"/>
                    </a:lnTo>
                    <a:lnTo>
                      <a:pt x="318" y="2572"/>
                    </a:lnTo>
                    <a:lnTo>
                      <a:pt x="320" y="2576"/>
                    </a:lnTo>
                    <a:lnTo>
                      <a:pt x="322" y="2584"/>
                    </a:lnTo>
                    <a:lnTo>
                      <a:pt x="324" y="2594"/>
                    </a:lnTo>
                    <a:lnTo>
                      <a:pt x="322" y="2606"/>
                    </a:lnTo>
                    <a:lnTo>
                      <a:pt x="322" y="2606"/>
                    </a:lnTo>
                    <a:lnTo>
                      <a:pt x="320" y="2618"/>
                    </a:lnTo>
                    <a:lnTo>
                      <a:pt x="316" y="2624"/>
                    </a:lnTo>
                    <a:lnTo>
                      <a:pt x="314" y="2626"/>
                    </a:lnTo>
                    <a:lnTo>
                      <a:pt x="310" y="2626"/>
                    </a:lnTo>
                    <a:lnTo>
                      <a:pt x="308" y="2626"/>
                    </a:lnTo>
                    <a:lnTo>
                      <a:pt x="306" y="2628"/>
                    </a:lnTo>
                    <a:lnTo>
                      <a:pt x="304" y="2632"/>
                    </a:lnTo>
                    <a:lnTo>
                      <a:pt x="304" y="2642"/>
                    </a:lnTo>
                    <a:lnTo>
                      <a:pt x="304" y="2642"/>
                    </a:lnTo>
                    <a:lnTo>
                      <a:pt x="302" y="2658"/>
                    </a:lnTo>
                    <a:lnTo>
                      <a:pt x="298" y="2670"/>
                    </a:lnTo>
                    <a:lnTo>
                      <a:pt x="294" y="2686"/>
                    </a:lnTo>
                    <a:lnTo>
                      <a:pt x="292" y="2692"/>
                    </a:lnTo>
                    <a:lnTo>
                      <a:pt x="292" y="2696"/>
                    </a:lnTo>
                    <a:lnTo>
                      <a:pt x="294" y="2704"/>
                    </a:lnTo>
                    <a:lnTo>
                      <a:pt x="298" y="2712"/>
                    </a:lnTo>
                    <a:lnTo>
                      <a:pt x="298" y="2712"/>
                    </a:lnTo>
                    <a:lnTo>
                      <a:pt x="302" y="2722"/>
                    </a:lnTo>
                    <a:lnTo>
                      <a:pt x="308" y="2728"/>
                    </a:lnTo>
                    <a:lnTo>
                      <a:pt x="312" y="2732"/>
                    </a:lnTo>
                    <a:lnTo>
                      <a:pt x="316" y="2734"/>
                    </a:lnTo>
                    <a:lnTo>
                      <a:pt x="320" y="2734"/>
                    </a:lnTo>
                    <a:lnTo>
                      <a:pt x="324" y="2732"/>
                    </a:lnTo>
                    <a:lnTo>
                      <a:pt x="328" y="2728"/>
                    </a:lnTo>
                    <a:lnTo>
                      <a:pt x="330" y="2724"/>
                    </a:lnTo>
                    <a:lnTo>
                      <a:pt x="330" y="2724"/>
                    </a:lnTo>
                    <a:lnTo>
                      <a:pt x="334" y="2716"/>
                    </a:lnTo>
                    <a:lnTo>
                      <a:pt x="336" y="2716"/>
                    </a:lnTo>
                    <a:lnTo>
                      <a:pt x="338" y="2718"/>
                    </a:lnTo>
                    <a:lnTo>
                      <a:pt x="342" y="2722"/>
                    </a:lnTo>
                    <a:lnTo>
                      <a:pt x="346" y="2726"/>
                    </a:lnTo>
                    <a:lnTo>
                      <a:pt x="348" y="2728"/>
                    </a:lnTo>
                    <a:lnTo>
                      <a:pt x="348" y="2728"/>
                    </a:lnTo>
                    <a:lnTo>
                      <a:pt x="350" y="2730"/>
                    </a:lnTo>
                    <a:lnTo>
                      <a:pt x="350" y="2732"/>
                    </a:lnTo>
                    <a:lnTo>
                      <a:pt x="344" y="2738"/>
                    </a:lnTo>
                    <a:lnTo>
                      <a:pt x="340" y="2744"/>
                    </a:lnTo>
                    <a:lnTo>
                      <a:pt x="340" y="2746"/>
                    </a:lnTo>
                    <a:lnTo>
                      <a:pt x="344" y="2746"/>
                    </a:lnTo>
                    <a:lnTo>
                      <a:pt x="344" y="2746"/>
                    </a:lnTo>
                    <a:lnTo>
                      <a:pt x="350" y="2748"/>
                    </a:lnTo>
                    <a:lnTo>
                      <a:pt x="354" y="2752"/>
                    </a:lnTo>
                    <a:lnTo>
                      <a:pt x="356" y="2754"/>
                    </a:lnTo>
                    <a:lnTo>
                      <a:pt x="356" y="2760"/>
                    </a:lnTo>
                    <a:lnTo>
                      <a:pt x="356" y="2766"/>
                    </a:lnTo>
                    <a:lnTo>
                      <a:pt x="354" y="2766"/>
                    </a:lnTo>
                    <a:lnTo>
                      <a:pt x="352" y="2764"/>
                    </a:lnTo>
                    <a:lnTo>
                      <a:pt x="352" y="2764"/>
                    </a:lnTo>
                    <a:lnTo>
                      <a:pt x="348" y="2758"/>
                    </a:lnTo>
                    <a:lnTo>
                      <a:pt x="344" y="2758"/>
                    </a:lnTo>
                    <a:lnTo>
                      <a:pt x="342" y="2760"/>
                    </a:lnTo>
                    <a:lnTo>
                      <a:pt x="342" y="2766"/>
                    </a:lnTo>
                    <a:lnTo>
                      <a:pt x="342" y="2766"/>
                    </a:lnTo>
                    <a:lnTo>
                      <a:pt x="342" y="2774"/>
                    </a:lnTo>
                    <a:lnTo>
                      <a:pt x="342" y="2778"/>
                    </a:lnTo>
                    <a:lnTo>
                      <a:pt x="340" y="2782"/>
                    </a:lnTo>
                    <a:lnTo>
                      <a:pt x="342" y="2792"/>
                    </a:lnTo>
                    <a:lnTo>
                      <a:pt x="342" y="2792"/>
                    </a:lnTo>
                    <a:lnTo>
                      <a:pt x="342" y="2798"/>
                    </a:lnTo>
                    <a:lnTo>
                      <a:pt x="342" y="2804"/>
                    </a:lnTo>
                    <a:lnTo>
                      <a:pt x="336" y="2812"/>
                    </a:lnTo>
                    <a:lnTo>
                      <a:pt x="330" y="2820"/>
                    </a:lnTo>
                    <a:lnTo>
                      <a:pt x="330" y="2824"/>
                    </a:lnTo>
                    <a:lnTo>
                      <a:pt x="330" y="2830"/>
                    </a:lnTo>
                    <a:lnTo>
                      <a:pt x="330" y="2830"/>
                    </a:lnTo>
                    <a:lnTo>
                      <a:pt x="334" y="2840"/>
                    </a:lnTo>
                    <a:lnTo>
                      <a:pt x="332" y="2852"/>
                    </a:lnTo>
                    <a:lnTo>
                      <a:pt x="330" y="2860"/>
                    </a:lnTo>
                    <a:lnTo>
                      <a:pt x="326" y="2864"/>
                    </a:lnTo>
                    <a:lnTo>
                      <a:pt x="326" y="2864"/>
                    </a:lnTo>
                    <a:lnTo>
                      <a:pt x="324" y="2866"/>
                    </a:lnTo>
                    <a:lnTo>
                      <a:pt x="324" y="2870"/>
                    </a:lnTo>
                    <a:lnTo>
                      <a:pt x="330" y="2872"/>
                    </a:lnTo>
                    <a:lnTo>
                      <a:pt x="336" y="2874"/>
                    </a:lnTo>
                    <a:lnTo>
                      <a:pt x="336" y="2874"/>
                    </a:lnTo>
                    <a:lnTo>
                      <a:pt x="344" y="2878"/>
                    </a:lnTo>
                    <a:lnTo>
                      <a:pt x="346" y="2882"/>
                    </a:lnTo>
                    <a:lnTo>
                      <a:pt x="348" y="2890"/>
                    </a:lnTo>
                    <a:lnTo>
                      <a:pt x="346" y="2896"/>
                    </a:lnTo>
                    <a:lnTo>
                      <a:pt x="346" y="2896"/>
                    </a:lnTo>
                    <a:lnTo>
                      <a:pt x="342" y="2904"/>
                    </a:lnTo>
                    <a:lnTo>
                      <a:pt x="338" y="2908"/>
                    </a:lnTo>
                    <a:lnTo>
                      <a:pt x="332" y="2912"/>
                    </a:lnTo>
                    <a:lnTo>
                      <a:pt x="326" y="2916"/>
                    </a:lnTo>
                    <a:lnTo>
                      <a:pt x="326" y="2916"/>
                    </a:lnTo>
                    <a:lnTo>
                      <a:pt x="320" y="2918"/>
                    </a:lnTo>
                    <a:lnTo>
                      <a:pt x="318" y="2922"/>
                    </a:lnTo>
                    <a:lnTo>
                      <a:pt x="320" y="2926"/>
                    </a:lnTo>
                    <a:lnTo>
                      <a:pt x="322" y="2930"/>
                    </a:lnTo>
                    <a:lnTo>
                      <a:pt x="322" y="2930"/>
                    </a:lnTo>
                    <a:lnTo>
                      <a:pt x="322" y="2932"/>
                    </a:lnTo>
                    <a:lnTo>
                      <a:pt x="322" y="2932"/>
                    </a:lnTo>
                    <a:lnTo>
                      <a:pt x="320" y="2936"/>
                    </a:lnTo>
                    <a:lnTo>
                      <a:pt x="316" y="2940"/>
                    </a:lnTo>
                    <a:lnTo>
                      <a:pt x="312" y="2946"/>
                    </a:lnTo>
                    <a:lnTo>
                      <a:pt x="312" y="2946"/>
                    </a:lnTo>
                    <a:lnTo>
                      <a:pt x="312" y="2954"/>
                    </a:lnTo>
                    <a:lnTo>
                      <a:pt x="312" y="2956"/>
                    </a:lnTo>
                    <a:lnTo>
                      <a:pt x="312" y="2962"/>
                    </a:lnTo>
                    <a:lnTo>
                      <a:pt x="310" y="2974"/>
                    </a:lnTo>
                    <a:lnTo>
                      <a:pt x="310" y="2974"/>
                    </a:lnTo>
                    <a:lnTo>
                      <a:pt x="308" y="2986"/>
                    </a:lnTo>
                    <a:lnTo>
                      <a:pt x="308" y="2994"/>
                    </a:lnTo>
                    <a:lnTo>
                      <a:pt x="306" y="3000"/>
                    </a:lnTo>
                    <a:lnTo>
                      <a:pt x="300" y="3006"/>
                    </a:lnTo>
                    <a:lnTo>
                      <a:pt x="300" y="3006"/>
                    </a:lnTo>
                    <a:lnTo>
                      <a:pt x="298" y="3006"/>
                    </a:lnTo>
                    <a:lnTo>
                      <a:pt x="296" y="3006"/>
                    </a:lnTo>
                    <a:lnTo>
                      <a:pt x="298" y="2998"/>
                    </a:lnTo>
                    <a:lnTo>
                      <a:pt x="300" y="2988"/>
                    </a:lnTo>
                    <a:lnTo>
                      <a:pt x="300" y="2984"/>
                    </a:lnTo>
                    <a:lnTo>
                      <a:pt x="296" y="2980"/>
                    </a:lnTo>
                    <a:lnTo>
                      <a:pt x="296" y="2980"/>
                    </a:lnTo>
                    <a:lnTo>
                      <a:pt x="292" y="2978"/>
                    </a:lnTo>
                    <a:lnTo>
                      <a:pt x="290" y="2974"/>
                    </a:lnTo>
                    <a:lnTo>
                      <a:pt x="290" y="2968"/>
                    </a:lnTo>
                    <a:lnTo>
                      <a:pt x="290" y="2964"/>
                    </a:lnTo>
                    <a:lnTo>
                      <a:pt x="288" y="2962"/>
                    </a:lnTo>
                    <a:lnTo>
                      <a:pt x="282" y="2962"/>
                    </a:lnTo>
                    <a:lnTo>
                      <a:pt x="282" y="2962"/>
                    </a:lnTo>
                    <a:lnTo>
                      <a:pt x="276" y="2962"/>
                    </a:lnTo>
                    <a:lnTo>
                      <a:pt x="274" y="2964"/>
                    </a:lnTo>
                    <a:lnTo>
                      <a:pt x="274" y="2966"/>
                    </a:lnTo>
                    <a:lnTo>
                      <a:pt x="270" y="2964"/>
                    </a:lnTo>
                    <a:lnTo>
                      <a:pt x="270" y="2964"/>
                    </a:lnTo>
                    <a:lnTo>
                      <a:pt x="268" y="2964"/>
                    </a:lnTo>
                    <a:lnTo>
                      <a:pt x="266" y="2964"/>
                    </a:lnTo>
                    <a:lnTo>
                      <a:pt x="266" y="2968"/>
                    </a:lnTo>
                    <a:lnTo>
                      <a:pt x="266" y="2972"/>
                    </a:lnTo>
                    <a:lnTo>
                      <a:pt x="264" y="2976"/>
                    </a:lnTo>
                    <a:lnTo>
                      <a:pt x="260" y="2980"/>
                    </a:lnTo>
                    <a:lnTo>
                      <a:pt x="254" y="2986"/>
                    </a:lnTo>
                    <a:lnTo>
                      <a:pt x="254" y="2986"/>
                    </a:lnTo>
                    <a:lnTo>
                      <a:pt x="238" y="2994"/>
                    </a:lnTo>
                    <a:lnTo>
                      <a:pt x="228" y="3004"/>
                    </a:lnTo>
                    <a:lnTo>
                      <a:pt x="226" y="3008"/>
                    </a:lnTo>
                    <a:lnTo>
                      <a:pt x="224" y="3012"/>
                    </a:lnTo>
                    <a:lnTo>
                      <a:pt x="224" y="3016"/>
                    </a:lnTo>
                    <a:lnTo>
                      <a:pt x="226" y="3020"/>
                    </a:lnTo>
                    <a:lnTo>
                      <a:pt x="226" y="3020"/>
                    </a:lnTo>
                    <a:lnTo>
                      <a:pt x="232" y="3026"/>
                    </a:lnTo>
                    <a:lnTo>
                      <a:pt x="236" y="3026"/>
                    </a:lnTo>
                    <a:lnTo>
                      <a:pt x="236" y="3024"/>
                    </a:lnTo>
                    <a:lnTo>
                      <a:pt x="238" y="3016"/>
                    </a:lnTo>
                    <a:lnTo>
                      <a:pt x="238" y="3016"/>
                    </a:lnTo>
                    <a:lnTo>
                      <a:pt x="238" y="3010"/>
                    </a:lnTo>
                    <a:lnTo>
                      <a:pt x="242" y="3006"/>
                    </a:lnTo>
                    <a:lnTo>
                      <a:pt x="244" y="3006"/>
                    </a:lnTo>
                    <a:lnTo>
                      <a:pt x="248" y="3006"/>
                    </a:lnTo>
                    <a:lnTo>
                      <a:pt x="252" y="3012"/>
                    </a:lnTo>
                    <a:lnTo>
                      <a:pt x="252" y="3012"/>
                    </a:lnTo>
                    <a:lnTo>
                      <a:pt x="256" y="3018"/>
                    </a:lnTo>
                    <a:lnTo>
                      <a:pt x="264" y="3022"/>
                    </a:lnTo>
                    <a:lnTo>
                      <a:pt x="272" y="3024"/>
                    </a:lnTo>
                    <a:lnTo>
                      <a:pt x="274" y="3022"/>
                    </a:lnTo>
                    <a:lnTo>
                      <a:pt x="274" y="3020"/>
                    </a:lnTo>
                    <a:lnTo>
                      <a:pt x="274" y="3020"/>
                    </a:lnTo>
                    <a:lnTo>
                      <a:pt x="276" y="3016"/>
                    </a:lnTo>
                    <a:lnTo>
                      <a:pt x="278" y="3016"/>
                    </a:lnTo>
                    <a:lnTo>
                      <a:pt x="282" y="3018"/>
                    </a:lnTo>
                    <a:lnTo>
                      <a:pt x="286" y="3024"/>
                    </a:lnTo>
                    <a:lnTo>
                      <a:pt x="286" y="3024"/>
                    </a:lnTo>
                    <a:lnTo>
                      <a:pt x="290" y="3026"/>
                    </a:lnTo>
                    <a:lnTo>
                      <a:pt x="292" y="3028"/>
                    </a:lnTo>
                    <a:lnTo>
                      <a:pt x="296" y="3030"/>
                    </a:lnTo>
                    <a:lnTo>
                      <a:pt x="296" y="3036"/>
                    </a:lnTo>
                    <a:lnTo>
                      <a:pt x="296" y="3036"/>
                    </a:lnTo>
                    <a:lnTo>
                      <a:pt x="294" y="3040"/>
                    </a:lnTo>
                    <a:lnTo>
                      <a:pt x="292" y="3040"/>
                    </a:lnTo>
                    <a:lnTo>
                      <a:pt x="286" y="3042"/>
                    </a:lnTo>
                    <a:lnTo>
                      <a:pt x="280" y="3042"/>
                    </a:lnTo>
                    <a:lnTo>
                      <a:pt x="278" y="3044"/>
                    </a:lnTo>
                    <a:lnTo>
                      <a:pt x="276" y="3048"/>
                    </a:lnTo>
                    <a:lnTo>
                      <a:pt x="276" y="3048"/>
                    </a:lnTo>
                    <a:lnTo>
                      <a:pt x="274" y="3054"/>
                    </a:lnTo>
                    <a:lnTo>
                      <a:pt x="274" y="3056"/>
                    </a:lnTo>
                    <a:lnTo>
                      <a:pt x="280" y="3062"/>
                    </a:lnTo>
                    <a:lnTo>
                      <a:pt x="284" y="3064"/>
                    </a:lnTo>
                    <a:lnTo>
                      <a:pt x="282" y="3064"/>
                    </a:lnTo>
                    <a:lnTo>
                      <a:pt x="282" y="3064"/>
                    </a:lnTo>
                    <a:lnTo>
                      <a:pt x="272" y="3062"/>
                    </a:lnTo>
                    <a:lnTo>
                      <a:pt x="270" y="3062"/>
                    </a:lnTo>
                    <a:lnTo>
                      <a:pt x="268" y="3066"/>
                    </a:lnTo>
                    <a:lnTo>
                      <a:pt x="268" y="3066"/>
                    </a:lnTo>
                    <a:lnTo>
                      <a:pt x="266" y="3072"/>
                    </a:lnTo>
                    <a:lnTo>
                      <a:pt x="268" y="3074"/>
                    </a:lnTo>
                    <a:lnTo>
                      <a:pt x="272" y="3074"/>
                    </a:lnTo>
                    <a:lnTo>
                      <a:pt x="282" y="3074"/>
                    </a:lnTo>
                    <a:lnTo>
                      <a:pt x="282" y="3074"/>
                    </a:lnTo>
                    <a:lnTo>
                      <a:pt x="290" y="3074"/>
                    </a:lnTo>
                    <a:lnTo>
                      <a:pt x="296" y="3076"/>
                    </a:lnTo>
                    <a:lnTo>
                      <a:pt x="300" y="3078"/>
                    </a:lnTo>
                    <a:lnTo>
                      <a:pt x="302" y="3078"/>
                    </a:lnTo>
                    <a:lnTo>
                      <a:pt x="302" y="3074"/>
                    </a:lnTo>
                    <a:lnTo>
                      <a:pt x="302" y="3074"/>
                    </a:lnTo>
                    <a:lnTo>
                      <a:pt x="304" y="3072"/>
                    </a:lnTo>
                    <a:lnTo>
                      <a:pt x="306" y="3072"/>
                    </a:lnTo>
                    <a:lnTo>
                      <a:pt x="310" y="3076"/>
                    </a:lnTo>
                    <a:lnTo>
                      <a:pt x="312" y="3080"/>
                    </a:lnTo>
                    <a:lnTo>
                      <a:pt x="312" y="3082"/>
                    </a:lnTo>
                    <a:lnTo>
                      <a:pt x="310" y="3084"/>
                    </a:lnTo>
                    <a:lnTo>
                      <a:pt x="310" y="3084"/>
                    </a:lnTo>
                    <a:lnTo>
                      <a:pt x="308" y="3086"/>
                    </a:lnTo>
                    <a:lnTo>
                      <a:pt x="310" y="3088"/>
                    </a:lnTo>
                    <a:lnTo>
                      <a:pt x="314" y="3096"/>
                    </a:lnTo>
                    <a:lnTo>
                      <a:pt x="318" y="3100"/>
                    </a:lnTo>
                    <a:lnTo>
                      <a:pt x="318" y="3102"/>
                    </a:lnTo>
                    <a:lnTo>
                      <a:pt x="314" y="3100"/>
                    </a:lnTo>
                    <a:lnTo>
                      <a:pt x="314" y="3100"/>
                    </a:lnTo>
                    <a:lnTo>
                      <a:pt x="300" y="3090"/>
                    </a:lnTo>
                    <a:lnTo>
                      <a:pt x="294" y="3088"/>
                    </a:lnTo>
                    <a:lnTo>
                      <a:pt x="286" y="3088"/>
                    </a:lnTo>
                    <a:lnTo>
                      <a:pt x="286" y="3088"/>
                    </a:lnTo>
                    <a:lnTo>
                      <a:pt x="272" y="3086"/>
                    </a:lnTo>
                    <a:lnTo>
                      <a:pt x="268" y="3088"/>
                    </a:lnTo>
                    <a:lnTo>
                      <a:pt x="266" y="3088"/>
                    </a:lnTo>
                    <a:lnTo>
                      <a:pt x="268" y="3090"/>
                    </a:lnTo>
                    <a:lnTo>
                      <a:pt x="268" y="3090"/>
                    </a:lnTo>
                    <a:lnTo>
                      <a:pt x="270" y="3092"/>
                    </a:lnTo>
                    <a:lnTo>
                      <a:pt x="272" y="3092"/>
                    </a:lnTo>
                    <a:lnTo>
                      <a:pt x="274" y="3092"/>
                    </a:lnTo>
                    <a:lnTo>
                      <a:pt x="276" y="3096"/>
                    </a:lnTo>
                    <a:lnTo>
                      <a:pt x="276" y="3096"/>
                    </a:lnTo>
                    <a:lnTo>
                      <a:pt x="278" y="3100"/>
                    </a:lnTo>
                    <a:lnTo>
                      <a:pt x="282" y="3104"/>
                    </a:lnTo>
                    <a:lnTo>
                      <a:pt x="292" y="3110"/>
                    </a:lnTo>
                    <a:lnTo>
                      <a:pt x="292" y="3110"/>
                    </a:lnTo>
                    <a:lnTo>
                      <a:pt x="294" y="3112"/>
                    </a:lnTo>
                    <a:lnTo>
                      <a:pt x="294" y="3114"/>
                    </a:lnTo>
                    <a:lnTo>
                      <a:pt x="294" y="3116"/>
                    </a:lnTo>
                    <a:lnTo>
                      <a:pt x="294" y="3120"/>
                    </a:lnTo>
                    <a:lnTo>
                      <a:pt x="294" y="3120"/>
                    </a:lnTo>
                    <a:lnTo>
                      <a:pt x="294" y="3120"/>
                    </a:lnTo>
                    <a:lnTo>
                      <a:pt x="292" y="3120"/>
                    </a:lnTo>
                    <a:lnTo>
                      <a:pt x="288" y="3118"/>
                    </a:lnTo>
                    <a:lnTo>
                      <a:pt x="284" y="3116"/>
                    </a:lnTo>
                    <a:lnTo>
                      <a:pt x="280" y="3116"/>
                    </a:lnTo>
                    <a:lnTo>
                      <a:pt x="280" y="3120"/>
                    </a:lnTo>
                    <a:lnTo>
                      <a:pt x="280" y="3120"/>
                    </a:lnTo>
                    <a:lnTo>
                      <a:pt x="276" y="3132"/>
                    </a:lnTo>
                    <a:lnTo>
                      <a:pt x="276" y="3138"/>
                    </a:lnTo>
                    <a:lnTo>
                      <a:pt x="276" y="3148"/>
                    </a:lnTo>
                    <a:lnTo>
                      <a:pt x="276" y="3148"/>
                    </a:lnTo>
                    <a:lnTo>
                      <a:pt x="278" y="3168"/>
                    </a:lnTo>
                    <a:lnTo>
                      <a:pt x="280" y="3174"/>
                    </a:lnTo>
                    <a:lnTo>
                      <a:pt x="282" y="3178"/>
                    </a:lnTo>
                    <a:lnTo>
                      <a:pt x="282" y="3178"/>
                    </a:lnTo>
                    <a:lnTo>
                      <a:pt x="284" y="3178"/>
                    </a:lnTo>
                    <a:lnTo>
                      <a:pt x="284" y="3176"/>
                    </a:lnTo>
                    <a:lnTo>
                      <a:pt x="286" y="3168"/>
                    </a:lnTo>
                    <a:lnTo>
                      <a:pt x="288" y="3160"/>
                    </a:lnTo>
                    <a:lnTo>
                      <a:pt x="290" y="3156"/>
                    </a:lnTo>
                    <a:lnTo>
                      <a:pt x="290" y="3156"/>
                    </a:lnTo>
                    <a:lnTo>
                      <a:pt x="292" y="3154"/>
                    </a:lnTo>
                    <a:lnTo>
                      <a:pt x="292" y="3158"/>
                    </a:lnTo>
                    <a:lnTo>
                      <a:pt x="292" y="3164"/>
                    </a:lnTo>
                    <a:lnTo>
                      <a:pt x="292" y="3170"/>
                    </a:lnTo>
                    <a:lnTo>
                      <a:pt x="292" y="3170"/>
                    </a:lnTo>
                    <a:lnTo>
                      <a:pt x="294" y="3176"/>
                    </a:lnTo>
                    <a:lnTo>
                      <a:pt x="298" y="3182"/>
                    </a:lnTo>
                    <a:lnTo>
                      <a:pt x="300" y="3184"/>
                    </a:lnTo>
                    <a:lnTo>
                      <a:pt x="296" y="3182"/>
                    </a:lnTo>
                    <a:lnTo>
                      <a:pt x="296" y="3182"/>
                    </a:lnTo>
                    <a:lnTo>
                      <a:pt x="290" y="3180"/>
                    </a:lnTo>
                    <a:lnTo>
                      <a:pt x="284" y="3182"/>
                    </a:lnTo>
                    <a:lnTo>
                      <a:pt x="280" y="3184"/>
                    </a:lnTo>
                    <a:lnTo>
                      <a:pt x="280" y="3186"/>
                    </a:lnTo>
                    <a:lnTo>
                      <a:pt x="282" y="3188"/>
                    </a:lnTo>
                    <a:lnTo>
                      <a:pt x="282" y="3188"/>
                    </a:lnTo>
                    <a:lnTo>
                      <a:pt x="282" y="3190"/>
                    </a:lnTo>
                    <a:lnTo>
                      <a:pt x="280" y="3192"/>
                    </a:lnTo>
                    <a:lnTo>
                      <a:pt x="280" y="3194"/>
                    </a:lnTo>
                    <a:lnTo>
                      <a:pt x="284" y="3198"/>
                    </a:lnTo>
                    <a:lnTo>
                      <a:pt x="284" y="3198"/>
                    </a:lnTo>
                    <a:lnTo>
                      <a:pt x="296" y="3206"/>
                    </a:lnTo>
                    <a:lnTo>
                      <a:pt x="296" y="3206"/>
                    </a:lnTo>
                    <a:lnTo>
                      <a:pt x="294" y="3206"/>
                    </a:lnTo>
                    <a:lnTo>
                      <a:pt x="288" y="3206"/>
                    </a:lnTo>
                    <a:lnTo>
                      <a:pt x="288" y="3206"/>
                    </a:lnTo>
                    <a:lnTo>
                      <a:pt x="280" y="3204"/>
                    </a:lnTo>
                    <a:lnTo>
                      <a:pt x="278" y="3204"/>
                    </a:lnTo>
                    <a:lnTo>
                      <a:pt x="280" y="3206"/>
                    </a:lnTo>
                    <a:lnTo>
                      <a:pt x="288" y="3216"/>
                    </a:lnTo>
                    <a:lnTo>
                      <a:pt x="288" y="3216"/>
                    </a:lnTo>
                    <a:lnTo>
                      <a:pt x="290" y="3220"/>
                    </a:lnTo>
                    <a:lnTo>
                      <a:pt x="290" y="3220"/>
                    </a:lnTo>
                    <a:lnTo>
                      <a:pt x="280" y="3214"/>
                    </a:lnTo>
                    <a:lnTo>
                      <a:pt x="280" y="3214"/>
                    </a:lnTo>
                    <a:lnTo>
                      <a:pt x="274" y="3212"/>
                    </a:lnTo>
                    <a:lnTo>
                      <a:pt x="268" y="3212"/>
                    </a:lnTo>
                    <a:lnTo>
                      <a:pt x="264" y="3214"/>
                    </a:lnTo>
                    <a:lnTo>
                      <a:pt x="264" y="3216"/>
                    </a:lnTo>
                    <a:lnTo>
                      <a:pt x="268" y="3218"/>
                    </a:lnTo>
                    <a:lnTo>
                      <a:pt x="268" y="3218"/>
                    </a:lnTo>
                    <a:lnTo>
                      <a:pt x="272" y="3220"/>
                    </a:lnTo>
                    <a:lnTo>
                      <a:pt x="274" y="3224"/>
                    </a:lnTo>
                    <a:lnTo>
                      <a:pt x="274" y="3226"/>
                    </a:lnTo>
                    <a:lnTo>
                      <a:pt x="278" y="3228"/>
                    </a:lnTo>
                    <a:lnTo>
                      <a:pt x="278" y="3228"/>
                    </a:lnTo>
                    <a:lnTo>
                      <a:pt x="282" y="3230"/>
                    </a:lnTo>
                    <a:lnTo>
                      <a:pt x="284" y="3230"/>
                    </a:lnTo>
                    <a:lnTo>
                      <a:pt x="288" y="3230"/>
                    </a:lnTo>
                    <a:lnTo>
                      <a:pt x="292" y="3234"/>
                    </a:lnTo>
                    <a:lnTo>
                      <a:pt x="292" y="3234"/>
                    </a:lnTo>
                    <a:lnTo>
                      <a:pt x="296" y="3236"/>
                    </a:lnTo>
                    <a:lnTo>
                      <a:pt x="296" y="3238"/>
                    </a:lnTo>
                    <a:lnTo>
                      <a:pt x="288" y="3236"/>
                    </a:lnTo>
                    <a:lnTo>
                      <a:pt x="288" y="3236"/>
                    </a:lnTo>
                    <a:lnTo>
                      <a:pt x="284" y="3236"/>
                    </a:lnTo>
                    <a:lnTo>
                      <a:pt x="284" y="3238"/>
                    </a:lnTo>
                    <a:lnTo>
                      <a:pt x="288" y="3248"/>
                    </a:lnTo>
                    <a:lnTo>
                      <a:pt x="288" y="3248"/>
                    </a:lnTo>
                    <a:lnTo>
                      <a:pt x="290" y="3252"/>
                    </a:lnTo>
                    <a:lnTo>
                      <a:pt x="294" y="3252"/>
                    </a:lnTo>
                    <a:lnTo>
                      <a:pt x="298" y="3250"/>
                    </a:lnTo>
                    <a:lnTo>
                      <a:pt x="302" y="3240"/>
                    </a:lnTo>
                    <a:lnTo>
                      <a:pt x="302" y="3240"/>
                    </a:lnTo>
                    <a:lnTo>
                      <a:pt x="306" y="3234"/>
                    </a:lnTo>
                    <a:lnTo>
                      <a:pt x="308" y="3232"/>
                    </a:lnTo>
                    <a:lnTo>
                      <a:pt x="308" y="3234"/>
                    </a:lnTo>
                    <a:lnTo>
                      <a:pt x="306" y="3242"/>
                    </a:lnTo>
                    <a:lnTo>
                      <a:pt x="306" y="3242"/>
                    </a:lnTo>
                    <a:lnTo>
                      <a:pt x="300" y="3256"/>
                    </a:lnTo>
                    <a:lnTo>
                      <a:pt x="296" y="3258"/>
                    </a:lnTo>
                    <a:lnTo>
                      <a:pt x="292" y="3258"/>
                    </a:lnTo>
                    <a:lnTo>
                      <a:pt x="292" y="3258"/>
                    </a:lnTo>
                    <a:lnTo>
                      <a:pt x="288" y="3258"/>
                    </a:lnTo>
                    <a:lnTo>
                      <a:pt x="286" y="3258"/>
                    </a:lnTo>
                    <a:lnTo>
                      <a:pt x="284" y="3260"/>
                    </a:lnTo>
                    <a:lnTo>
                      <a:pt x="284" y="3264"/>
                    </a:lnTo>
                    <a:lnTo>
                      <a:pt x="284" y="3264"/>
                    </a:lnTo>
                    <a:lnTo>
                      <a:pt x="286" y="3266"/>
                    </a:lnTo>
                    <a:lnTo>
                      <a:pt x="286" y="3266"/>
                    </a:lnTo>
                    <a:lnTo>
                      <a:pt x="288" y="3268"/>
                    </a:lnTo>
                    <a:lnTo>
                      <a:pt x="288" y="3272"/>
                    </a:lnTo>
                    <a:lnTo>
                      <a:pt x="288" y="3272"/>
                    </a:lnTo>
                    <a:lnTo>
                      <a:pt x="288" y="3276"/>
                    </a:lnTo>
                    <a:lnTo>
                      <a:pt x="290" y="3276"/>
                    </a:lnTo>
                    <a:lnTo>
                      <a:pt x="292" y="3276"/>
                    </a:lnTo>
                    <a:lnTo>
                      <a:pt x="296" y="3276"/>
                    </a:lnTo>
                    <a:lnTo>
                      <a:pt x="296" y="3276"/>
                    </a:lnTo>
                    <a:lnTo>
                      <a:pt x="302" y="3278"/>
                    </a:lnTo>
                    <a:lnTo>
                      <a:pt x="306" y="3286"/>
                    </a:lnTo>
                    <a:lnTo>
                      <a:pt x="306" y="3286"/>
                    </a:lnTo>
                    <a:lnTo>
                      <a:pt x="308" y="3294"/>
                    </a:lnTo>
                    <a:lnTo>
                      <a:pt x="308" y="3298"/>
                    </a:lnTo>
                    <a:lnTo>
                      <a:pt x="306" y="3298"/>
                    </a:lnTo>
                    <a:lnTo>
                      <a:pt x="302" y="3294"/>
                    </a:lnTo>
                    <a:lnTo>
                      <a:pt x="302" y="3294"/>
                    </a:lnTo>
                    <a:lnTo>
                      <a:pt x="298" y="3288"/>
                    </a:lnTo>
                    <a:lnTo>
                      <a:pt x="296" y="3288"/>
                    </a:lnTo>
                    <a:lnTo>
                      <a:pt x="296" y="3290"/>
                    </a:lnTo>
                    <a:lnTo>
                      <a:pt x="296" y="3294"/>
                    </a:lnTo>
                    <a:lnTo>
                      <a:pt x="296" y="3294"/>
                    </a:lnTo>
                    <a:lnTo>
                      <a:pt x="298" y="3298"/>
                    </a:lnTo>
                    <a:lnTo>
                      <a:pt x="298" y="3302"/>
                    </a:lnTo>
                    <a:lnTo>
                      <a:pt x="298" y="3304"/>
                    </a:lnTo>
                    <a:lnTo>
                      <a:pt x="300" y="3308"/>
                    </a:lnTo>
                    <a:lnTo>
                      <a:pt x="300" y="3308"/>
                    </a:lnTo>
                    <a:lnTo>
                      <a:pt x="302" y="3310"/>
                    </a:lnTo>
                    <a:lnTo>
                      <a:pt x="302" y="3310"/>
                    </a:lnTo>
                    <a:lnTo>
                      <a:pt x="306" y="3308"/>
                    </a:lnTo>
                    <a:lnTo>
                      <a:pt x="308" y="3306"/>
                    </a:lnTo>
                    <a:lnTo>
                      <a:pt x="310" y="3308"/>
                    </a:lnTo>
                    <a:lnTo>
                      <a:pt x="312" y="3310"/>
                    </a:lnTo>
                    <a:lnTo>
                      <a:pt x="312" y="3310"/>
                    </a:lnTo>
                    <a:lnTo>
                      <a:pt x="314" y="3318"/>
                    </a:lnTo>
                    <a:lnTo>
                      <a:pt x="310" y="3316"/>
                    </a:lnTo>
                    <a:lnTo>
                      <a:pt x="310" y="3316"/>
                    </a:lnTo>
                    <a:lnTo>
                      <a:pt x="308" y="3316"/>
                    </a:lnTo>
                    <a:lnTo>
                      <a:pt x="308" y="3318"/>
                    </a:lnTo>
                    <a:lnTo>
                      <a:pt x="312" y="3326"/>
                    </a:lnTo>
                    <a:lnTo>
                      <a:pt x="318" y="3332"/>
                    </a:lnTo>
                    <a:lnTo>
                      <a:pt x="322" y="3332"/>
                    </a:lnTo>
                    <a:lnTo>
                      <a:pt x="324" y="3332"/>
                    </a:lnTo>
                    <a:lnTo>
                      <a:pt x="324" y="3332"/>
                    </a:lnTo>
                    <a:lnTo>
                      <a:pt x="326" y="3322"/>
                    </a:lnTo>
                    <a:lnTo>
                      <a:pt x="330" y="3318"/>
                    </a:lnTo>
                    <a:lnTo>
                      <a:pt x="332" y="3316"/>
                    </a:lnTo>
                    <a:lnTo>
                      <a:pt x="332" y="3316"/>
                    </a:lnTo>
                    <a:lnTo>
                      <a:pt x="334" y="3314"/>
                    </a:lnTo>
                    <a:lnTo>
                      <a:pt x="334" y="3312"/>
                    </a:lnTo>
                    <a:lnTo>
                      <a:pt x="334" y="3310"/>
                    </a:lnTo>
                    <a:lnTo>
                      <a:pt x="342" y="3312"/>
                    </a:lnTo>
                    <a:lnTo>
                      <a:pt x="342" y="3312"/>
                    </a:lnTo>
                    <a:lnTo>
                      <a:pt x="348" y="3312"/>
                    </a:lnTo>
                    <a:lnTo>
                      <a:pt x="350" y="3312"/>
                    </a:lnTo>
                    <a:lnTo>
                      <a:pt x="350" y="3310"/>
                    </a:lnTo>
                    <a:lnTo>
                      <a:pt x="344" y="3304"/>
                    </a:lnTo>
                    <a:lnTo>
                      <a:pt x="334" y="3300"/>
                    </a:lnTo>
                    <a:lnTo>
                      <a:pt x="334" y="3300"/>
                    </a:lnTo>
                    <a:lnTo>
                      <a:pt x="326" y="3294"/>
                    </a:lnTo>
                    <a:lnTo>
                      <a:pt x="324" y="3292"/>
                    </a:lnTo>
                    <a:lnTo>
                      <a:pt x="328" y="3290"/>
                    </a:lnTo>
                    <a:lnTo>
                      <a:pt x="336" y="3294"/>
                    </a:lnTo>
                    <a:lnTo>
                      <a:pt x="336" y="3294"/>
                    </a:lnTo>
                    <a:lnTo>
                      <a:pt x="350" y="3302"/>
                    </a:lnTo>
                    <a:lnTo>
                      <a:pt x="354" y="3308"/>
                    </a:lnTo>
                    <a:lnTo>
                      <a:pt x="354" y="3314"/>
                    </a:lnTo>
                    <a:lnTo>
                      <a:pt x="354" y="3314"/>
                    </a:lnTo>
                    <a:lnTo>
                      <a:pt x="352" y="3320"/>
                    </a:lnTo>
                    <a:lnTo>
                      <a:pt x="350" y="3322"/>
                    </a:lnTo>
                    <a:lnTo>
                      <a:pt x="348" y="3324"/>
                    </a:lnTo>
                    <a:lnTo>
                      <a:pt x="350" y="3330"/>
                    </a:lnTo>
                    <a:lnTo>
                      <a:pt x="350" y="3330"/>
                    </a:lnTo>
                    <a:lnTo>
                      <a:pt x="352" y="3332"/>
                    </a:lnTo>
                    <a:lnTo>
                      <a:pt x="348" y="3328"/>
                    </a:lnTo>
                    <a:lnTo>
                      <a:pt x="342" y="3322"/>
                    </a:lnTo>
                    <a:lnTo>
                      <a:pt x="340" y="3322"/>
                    </a:lnTo>
                    <a:lnTo>
                      <a:pt x="338" y="3326"/>
                    </a:lnTo>
                    <a:lnTo>
                      <a:pt x="338" y="3326"/>
                    </a:lnTo>
                    <a:lnTo>
                      <a:pt x="334" y="3336"/>
                    </a:lnTo>
                    <a:lnTo>
                      <a:pt x="334" y="3336"/>
                    </a:lnTo>
                    <a:lnTo>
                      <a:pt x="332" y="3334"/>
                    </a:lnTo>
                    <a:lnTo>
                      <a:pt x="332" y="3334"/>
                    </a:lnTo>
                    <a:lnTo>
                      <a:pt x="332" y="3330"/>
                    </a:lnTo>
                    <a:lnTo>
                      <a:pt x="330" y="3332"/>
                    </a:lnTo>
                    <a:lnTo>
                      <a:pt x="324" y="3338"/>
                    </a:lnTo>
                    <a:lnTo>
                      <a:pt x="324" y="3338"/>
                    </a:lnTo>
                    <a:lnTo>
                      <a:pt x="322" y="3340"/>
                    </a:lnTo>
                    <a:lnTo>
                      <a:pt x="320" y="3340"/>
                    </a:lnTo>
                    <a:lnTo>
                      <a:pt x="316" y="3336"/>
                    </a:lnTo>
                    <a:lnTo>
                      <a:pt x="310" y="3330"/>
                    </a:lnTo>
                    <a:lnTo>
                      <a:pt x="306" y="3328"/>
                    </a:lnTo>
                    <a:lnTo>
                      <a:pt x="306" y="3328"/>
                    </a:lnTo>
                    <a:lnTo>
                      <a:pt x="304" y="3328"/>
                    </a:lnTo>
                    <a:lnTo>
                      <a:pt x="304" y="3328"/>
                    </a:lnTo>
                    <a:lnTo>
                      <a:pt x="306" y="3332"/>
                    </a:lnTo>
                    <a:lnTo>
                      <a:pt x="310" y="3336"/>
                    </a:lnTo>
                    <a:lnTo>
                      <a:pt x="310" y="3340"/>
                    </a:lnTo>
                    <a:lnTo>
                      <a:pt x="308" y="3344"/>
                    </a:lnTo>
                    <a:lnTo>
                      <a:pt x="308" y="3344"/>
                    </a:lnTo>
                    <a:lnTo>
                      <a:pt x="306" y="3350"/>
                    </a:lnTo>
                    <a:lnTo>
                      <a:pt x="308" y="3350"/>
                    </a:lnTo>
                    <a:lnTo>
                      <a:pt x="312" y="3352"/>
                    </a:lnTo>
                    <a:lnTo>
                      <a:pt x="310" y="3356"/>
                    </a:lnTo>
                    <a:lnTo>
                      <a:pt x="310" y="3356"/>
                    </a:lnTo>
                    <a:lnTo>
                      <a:pt x="306" y="3364"/>
                    </a:lnTo>
                    <a:lnTo>
                      <a:pt x="306" y="3368"/>
                    </a:lnTo>
                    <a:lnTo>
                      <a:pt x="306" y="3370"/>
                    </a:lnTo>
                    <a:lnTo>
                      <a:pt x="308" y="3370"/>
                    </a:lnTo>
                    <a:lnTo>
                      <a:pt x="314" y="3366"/>
                    </a:lnTo>
                    <a:lnTo>
                      <a:pt x="314" y="3366"/>
                    </a:lnTo>
                    <a:lnTo>
                      <a:pt x="316" y="3364"/>
                    </a:lnTo>
                    <a:lnTo>
                      <a:pt x="320" y="3364"/>
                    </a:lnTo>
                    <a:lnTo>
                      <a:pt x="322" y="3366"/>
                    </a:lnTo>
                    <a:lnTo>
                      <a:pt x="324" y="3372"/>
                    </a:lnTo>
                    <a:lnTo>
                      <a:pt x="322" y="3374"/>
                    </a:lnTo>
                    <a:lnTo>
                      <a:pt x="320" y="3374"/>
                    </a:lnTo>
                    <a:lnTo>
                      <a:pt x="320" y="3374"/>
                    </a:lnTo>
                    <a:lnTo>
                      <a:pt x="316" y="3374"/>
                    </a:lnTo>
                    <a:lnTo>
                      <a:pt x="316" y="3374"/>
                    </a:lnTo>
                    <a:lnTo>
                      <a:pt x="322" y="3380"/>
                    </a:lnTo>
                    <a:lnTo>
                      <a:pt x="322" y="3380"/>
                    </a:lnTo>
                    <a:lnTo>
                      <a:pt x="322" y="3380"/>
                    </a:lnTo>
                    <a:lnTo>
                      <a:pt x="322" y="3382"/>
                    </a:lnTo>
                    <a:lnTo>
                      <a:pt x="318" y="3384"/>
                    </a:lnTo>
                    <a:lnTo>
                      <a:pt x="316" y="3386"/>
                    </a:lnTo>
                    <a:lnTo>
                      <a:pt x="320" y="3388"/>
                    </a:lnTo>
                    <a:lnTo>
                      <a:pt x="320" y="3388"/>
                    </a:lnTo>
                    <a:lnTo>
                      <a:pt x="328" y="3390"/>
                    </a:lnTo>
                    <a:lnTo>
                      <a:pt x="332" y="3388"/>
                    </a:lnTo>
                    <a:lnTo>
                      <a:pt x="334" y="3384"/>
                    </a:lnTo>
                    <a:lnTo>
                      <a:pt x="334" y="3378"/>
                    </a:lnTo>
                    <a:lnTo>
                      <a:pt x="334" y="3378"/>
                    </a:lnTo>
                    <a:lnTo>
                      <a:pt x="334" y="3376"/>
                    </a:lnTo>
                    <a:lnTo>
                      <a:pt x="336" y="3374"/>
                    </a:lnTo>
                    <a:lnTo>
                      <a:pt x="340" y="3370"/>
                    </a:lnTo>
                    <a:lnTo>
                      <a:pt x="344" y="3368"/>
                    </a:lnTo>
                    <a:lnTo>
                      <a:pt x="346" y="3366"/>
                    </a:lnTo>
                    <a:lnTo>
                      <a:pt x="346" y="3364"/>
                    </a:lnTo>
                    <a:lnTo>
                      <a:pt x="346" y="3364"/>
                    </a:lnTo>
                    <a:lnTo>
                      <a:pt x="344" y="3362"/>
                    </a:lnTo>
                    <a:lnTo>
                      <a:pt x="340" y="3360"/>
                    </a:lnTo>
                    <a:lnTo>
                      <a:pt x="340" y="3358"/>
                    </a:lnTo>
                    <a:lnTo>
                      <a:pt x="344" y="3358"/>
                    </a:lnTo>
                    <a:lnTo>
                      <a:pt x="344" y="3358"/>
                    </a:lnTo>
                    <a:lnTo>
                      <a:pt x="352" y="3358"/>
                    </a:lnTo>
                    <a:lnTo>
                      <a:pt x="354" y="3362"/>
                    </a:lnTo>
                    <a:lnTo>
                      <a:pt x="356" y="3362"/>
                    </a:lnTo>
                    <a:lnTo>
                      <a:pt x="360" y="3360"/>
                    </a:lnTo>
                    <a:lnTo>
                      <a:pt x="360" y="3360"/>
                    </a:lnTo>
                    <a:lnTo>
                      <a:pt x="364" y="3358"/>
                    </a:lnTo>
                    <a:lnTo>
                      <a:pt x="368" y="3356"/>
                    </a:lnTo>
                    <a:lnTo>
                      <a:pt x="382" y="3356"/>
                    </a:lnTo>
                    <a:lnTo>
                      <a:pt x="392" y="3358"/>
                    </a:lnTo>
                    <a:lnTo>
                      <a:pt x="394" y="3360"/>
                    </a:lnTo>
                    <a:lnTo>
                      <a:pt x="396" y="3362"/>
                    </a:lnTo>
                    <a:lnTo>
                      <a:pt x="396" y="3362"/>
                    </a:lnTo>
                    <a:lnTo>
                      <a:pt x="392" y="3366"/>
                    </a:lnTo>
                    <a:lnTo>
                      <a:pt x="386" y="3368"/>
                    </a:lnTo>
                    <a:lnTo>
                      <a:pt x="380" y="3366"/>
                    </a:lnTo>
                    <a:lnTo>
                      <a:pt x="372" y="3364"/>
                    </a:lnTo>
                    <a:lnTo>
                      <a:pt x="372" y="3364"/>
                    </a:lnTo>
                    <a:lnTo>
                      <a:pt x="368" y="3364"/>
                    </a:lnTo>
                    <a:lnTo>
                      <a:pt x="366" y="3366"/>
                    </a:lnTo>
                    <a:lnTo>
                      <a:pt x="362" y="3370"/>
                    </a:lnTo>
                    <a:lnTo>
                      <a:pt x="358" y="3376"/>
                    </a:lnTo>
                    <a:lnTo>
                      <a:pt x="356" y="3376"/>
                    </a:lnTo>
                    <a:lnTo>
                      <a:pt x="354" y="3376"/>
                    </a:lnTo>
                    <a:lnTo>
                      <a:pt x="354" y="3376"/>
                    </a:lnTo>
                    <a:lnTo>
                      <a:pt x="348" y="3372"/>
                    </a:lnTo>
                    <a:lnTo>
                      <a:pt x="342" y="3374"/>
                    </a:lnTo>
                    <a:lnTo>
                      <a:pt x="338" y="3378"/>
                    </a:lnTo>
                    <a:lnTo>
                      <a:pt x="338" y="3384"/>
                    </a:lnTo>
                    <a:lnTo>
                      <a:pt x="338" y="3384"/>
                    </a:lnTo>
                    <a:lnTo>
                      <a:pt x="340" y="3388"/>
                    </a:lnTo>
                    <a:lnTo>
                      <a:pt x="338" y="3390"/>
                    </a:lnTo>
                    <a:lnTo>
                      <a:pt x="338" y="3392"/>
                    </a:lnTo>
                    <a:lnTo>
                      <a:pt x="340" y="3396"/>
                    </a:lnTo>
                    <a:lnTo>
                      <a:pt x="340" y="3396"/>
                    </a:lnTo>
                    <a:lnTo>
                      <a:pt x="342" y="3398"/>
                    </a:lnTo>
                    <a:lnTo>
                      <a:pt x="340" y="3398"/>
                    </a:lnTo>
                    <a:lnTo>
                      <a:pt x="334" y="3396"/>
                    </a:lnTo>
                    <a:lnTo>
                      <a:pt x="326" y="3396"/>
                    </a:lnTo>
                    <a:lnTo>
                      <a:pt x="326" y="3396"/>
                    </a:lnTo>
                    <a:lnTo>
                      <a:pt x="324" y="3396"/>
                    </a:lnTo>
                    <a:lnTo>
                      <a:pt x="324" y="3398"/>
                    </a:lnTo>
                    <a:lnTo>
                      <a:pt x="326" y="3402"/>
                    </a:lnTo>
                    <a:lnTo>
                      <a:pt x="342" y="3412"/>
                    </a:lnTo>
                    <a:lnTo>
                      <a:pt x="342" y="3412"/>
                    </a:lnTo>
                    <a:lnTo>
                      <a:pt x="354" y="3418"/>
                    </a:lnTo>
                    <a:lnTo>
                      <a:pt x="356" y="3418"/>
                    </a:lnTo>
                    <a:lnTo>
                      <a:pt x="354" y="3412"/>
                    </a:lnTo>
                    <a:lnTo>
                      <a:pt x="354" y="3412"/>
                    </a:lnTo>
                    <a:lnTo>
                      <a:pt x="352" y="3406"/>
                    </a:lnTo>
                    <a:lnTo>
                      <a:pt x="352" y="3402"/>
                    </a:lnTo>
                    <a:lnTo>
                      <a:pt x="358" y="3400"/>
                    </a:lnTo>
                    <a:lnTo>
                      <a:pt x="362" y="3398"/>
                    </a:lnTo>
                    <a:lnTo>
                      <a:pt x="362" y="3398"/>
                    </a:lnTo>
                    <a:lnTo>
                      <a:pt x="364" y="3396"/>
                    </a:lnTo>
                    <a:lnTo>
                      <a:pt x="364" y="3394"/>
                    </a:lnTo>
                    <a:lnTo>
                      <a:pt x="360" y="3390"/>
                    </a:lnTo>
                    <a:lnTo>
                      <a:pt x="356" y="3388"/>
                    </a:lnTo>
                    <a:lnTo>
                      <a:pt x="362" y="3390"/>
                    </a:lnTo>
                    <a:lnTo>
                      <a:pt x="362" y="3390"/>
                    </a:lnTo>
                    <a:lnTo>
                      <a:pt x="370" y="3392"/>
                    </a:lnTo>
                    <a:lnTo>
                      <a:pt x="374" y="3390"/>
                    </a:lnTo>
                    <a:lnTo>
                      <a:pt x="378" y="3386"/>
                    </a:lnTo>
                    <a:lnTo>
                      <a:pt x="384" y="3382"/>
                    </a:lnTo>
                    <a:lnTo>
                      <a:pt x="384" y="3382"/>
                    </a:lnTo>
                    <a:lnTo>
                      <a:pt x="392" y="3378"/>
                    </a:lnTo>
                    <a:lnTo>
                      <a:pt x="396" y="3374"/>
                    </a:lnTo>
                    <a:lnTo>
                      <a:pt x="402" y="3372"/>
                    </a:lnTo>
                    <a:lnTo>
                      <a:pt x="406" y="3374"/>
                    </a:lnTo>
                    <a:lnTo>
                      <a:pt x="406" y="3374"/>
                    </a:lnTo>
                    <a:lnTo>
                      <a:pt x="408" y="3376"/>
                    </a:lnTo>
                    <a:lnTo>
                      <a:pt x="408" y="3378"/>
                    </a:lnTo>
                    <a:lnTo>
                      <a:pt x="406" y="3384"/>
                    </a:lnTo>
                    <a:lnTo>
                      <a:pt x="398" y="3392"/>
                    </a:lnTo>
                    <a:lnTo>
                      <a:pt x="390" y="3396"/>
                    </a:lnTo>
                    <a:lnTo>
                      <a:pt x="390" y="3396"/>
                    </a:lnTo>
                    <a:lnTo>
                      <a:pt x="384" y="3400"/>
                    </a:lnTo>
                    <a:lnTo>
                      <a:pt x="384" y="3402"/>
                    </a:lnTo>
                    <a:lnTo>
                      <a:pt x="382" y="3404"/>
                    </a:lnTo>
                    <a:lnTo>
                      <a:pt x="380" y="3402"/>
                    </a:lnTo>
                    <a:lnTo>
                      <a:pt x="380" y="3402"/>
                    </a:lnTo>
                    <a:lnTo>
                      <a:pt x="376" y="3400"/>
                    </a:lnTo>
                    <a:lnTo>
                      <a:pt x="374" y="3402"/>
                    </a:lnTo>
                    <a:lnTo>
                      <a:pt x="374" y="3404"/>
                    </a:lnTo>
                    <a:lnTo>
                      <a:pt x="370" y="3402"/>
                    </a:lnTo>
                    <a:lnTo>
                      <a:pt x="370" y="3402"/>
                    </a:lnTo>
                    <a:lnTo>
                      <a:pt x="362" y="3404"/>
                    </a:lnTo>
                    <a:lnTo>
                      <a:pt x="358" y="3406"/>
                    </a:lnTo>
                    <a:lnTo>
                      <a:pt x="356" y="3408"/>
                    </a:lnTo>
                    <a:lnTo>
                      <a:pt x="356" y="3408"/>
                    </a:lnTo>
                    <a:lnTo>
                      <a:pt x="360" y="3414"/>
                    </a:lnTo>
                    <a:lnTo>
                      <a:pt x="366" y="3420"/>
                    </a:lnTo>
                    <a:lnTo>
                      <a:pt x="372" y="3426"/>
                    </a:lnTo>
                    <a:lnTo>
                      <a:pt x="378" y="3430"/>
                    </a:lnTo>
                    <a:lnTo>
                      <a:pt x="378" y="3430"/>
                    </a:lnTo>
                    <a:lnTo>
                      <a:pt x="382" y="3432"/>
                    </a:lnTo>
                    <a:lnTo>
                      <a:pt x="386" y="3434"/>
                    </a:lnTo>
                    <a:lnTo>
                      <a:pt x="392" y="3438"/>
                    </a:lnTo>
                    <a:lnTo>
                      <a:pt x="402" y="3438"/>
                    </a:lnTo>
                    <a:lnTo>
                      <a:pt x="402" y="3438"/>
                    </a:lnTo>
                    <a:lnTo>
                      <a:pt x="410" y="3436"/>
                    </a:lnTo>
                    <a:lnTo>
                      <a:pt x="414" y="3434"/>
                    </a:lnTo>
                    <a:lnTo>
                      <a:pt x="416" y="3426"/>
                    </a:lnTo>
                    <a:lnTo>
                      <a:pt x="416" y="3412"/>
                    </a:lnTo>
                    <a:lnTo>
                      <a:pt x="416" y="3412"/>
                    </a:lnTo>
                    <a:lnTo>
                      <a:pt x="418" y="3400"/>
                    </a:lnTo>
                    <a:lnTo>
                      <a:pt x="420" y="3394"/>
                    </a:lnTo>
                    <a:lnTo>
                      <a:pt x="422" y="3388"/>
                    </a:lnTo>
                    <a:lnTo>
                      <a:pt x="424" y="3378"/>
                    </a:lnTo>
                    <a:lnTo>
                      <a:pt x="424" y="3378"/>
                    </a:lnTo>
                    <a:lnTo>
                      <a:pt x="424" y="3372"/>
                    </a:lnTo>
                    <a:lnTo>
                      <a:pt x="426" y="3368"/>
                    </a:lnTo>
                    <a:lnTo>
                      <a:pt x="428" y="3366"/>
                    </a:lnTo>
                    <a:lnTo>
                      <a:pt x="432" y="3366"/>
                    </a:lnTo>
                    <a:lnTo>
                      <a:pt x="440" y="3364"/>
                    </a:lnTo>
                    <a:lnTo>
                      <a:pt x="444" y="3362"/>
                    </a:lnTo>
                    <a:lnTo>
                      <a:pt x="450" y="3358"/>
                    </a:lnTo>
                    <a:lnTo>
                      <a:pt x="450" y="3358"/>
                    </a:lnTo>
                    <a:lnTo>
                      <a:pt x="454" y="3354"/>
                    </a:lnTo>
                    <a:lnTo>
                      <a:pt x="458" y="3354"/>
                    </a:lnTo>
                    <a:lnTo>
                      <a:pt x="462" y="3354"/>
                    </a:lnTo>
                    <a:lnTo>
                      <a:pt x="466" y="3356"/>
                    </a:lnTo>
                    <a:lnTo>
                      <a:pt x="470" y="3350"/>
                    </a:lnTo>
                    <a:lnTo>
                      <a:pt x="470" y="3350"/>
                    </a:lnTo>
                    <a:lnTo>
                      <a:pt x="476" y="3342"/>
                    </a:lnTo>
                    <a:lnTo>
                      <a:pt x="480" y="3340"/>
                    </a:lnTo>
                    <a:lnTo>
                      <a:pt x="486" y="3340"/>
                    </a:lnTo>
                    <a:lnTo>
                      <a:pt x="496" y="3342"/>
                    </a:lnTo>
                    <a:lnTo>
                      <a:pt x="496" y="3342"/>
                    </a:lnTo>
                    <a:lnTo>
                      <a:pt x="510" y="3344"/>
                    </a:lnTo>
                    <a:lnTo>
                      <a:pt x="518" y="3348"/>
                    </a:lnTo>
                    <a:lnTo>
                      <a:pt x="518" y="3348"/>
                    </a:lnTo>
                    <a:lnTo>
                      <a:pt x="520" y="3346"/>
                    </a:lnTo>
                    <a:lnTo>
                      <a:pt x="518" y="3342"/>
                    </a:lnTo>
                    <a:lnTo>
                      <a:pt x="510" y="3328"/>
                    </a:lnTo>
                    <a:lnTo>
                      <a:pt x="500" y="3308"/>
                    </a:lnTo>
                    <a:lnTo>
                      <a:pt x="496" y="3296"/>
                    </a:lnTo>
                    <a:lnTo>
                      <a:pt x="492" y="3282"/>
                    </a:lnTo>
                    <a:lnTo>
                      <a:pt x="492" y="3282"/>
                    </a:lnTo>
                    <a:lnTo>
                      <a:pt x="490" y="3266"/>
                    </a:lnTo>
                    <a:lnTo>
                      <a:pt x="490" y="3256"/>
                    </a:lnTo>
                    <a:lnTo>
                      <a:pt x="490" y="3246"/>
                    </a:lnTo>
                    <a:lnTo>
                      <a:pt x="494" y="3238"/>
                    </a:lnTo>
                    <a:lnTo>
                      <a:pt x="498" y="3228"/>
                    </a:lnTo>
                    <a:lnTo>
                      <a:pt x="506" y="3222"/>
                    </a:lnTo>
                    <a:lnTo>
                      <a:pt x="518" y="3216"/>
                    </a:lnTo>
                    <a:lnTo>
                      <a:pt x="518" y="3216"/>
                    </a:lnTo>
                    <a:lnTo>
                      <a:pt x="528" y="3212"/>
                    </a:lnTo>
                    <a:lnTo>
                      <a:pt x="536" y="3208"/>
                    </a:lnTo>
                    <a:lnTo>
                      <a:pt x="542" y="3202"/>
                    </a:lnTo>
                    <a:lnTo>
                      <a:pt x="546" y="3196"/>
                    </a:lnTo>
                    <a:lnTo>
                      <a:pt x="550" y="3180"/>
                    </a:lnTo>
                    <a:lnTo>
                      <a:pt x="552" y="3156"/>
                    </a:lnTo>
                    <a:lnTo>
                      <a:pt x="552" y="3156"/>
                    </a:lnTo>
                    <a:lnTo>
                      <a:pt x="556" y="3144"/>
                    </a:lnTo>
                    <a:lnTo>
                      <a:pt x="564" y="3134"/>
                    </a:lnTo>
                    <a:lnTo>
                      <a:pt x="572" y="3126"/>
                    </a:lnTo>
                    <a:lnTo>
                      <a:pt x="580" y="3122"/>
                    </a:lnTo>
                    <a:lnTo>
                      <a:pt x="596" y="3112"/>
                    </a:lnTo>
                    <a:lnTo>
                      <a:pt x="602" y="3108"/>
                    </a:lnTo>
                    <a:lnTo>
                      <a:pt x="604" y="3104"/>
                    </a:lnTo>
                    <a:lnTo>
                      <a:pt x="604" y="3104"/>
                    </a:lnTo>
                    <a:lnTo>
                      <a:pt x="606" y="3100"/>
                    </a:lnTo>
                    <a:lnTo>
                      <a:pt x="610" y="3096"/>
                    </a:lnTo>
                    <a:lnTo>
                      <a:pt x="616" y="3092"/>
                    </a:lnTo>
                    <a:lnTo>
                      <a:pt x="622" y="3086"/>
                    </a:lnTo>
                    <a:lnTo>
                      <a:pt x="624" y="3082"/>
                    </a:lnTo>
                    <a:lnTo>
                      <a:pt x="622" y="3078"/>
                    </a:lnTo>
                    <a:lnTo>
                      <a:pt x="622" y="3078"/>
                    </a:lnTo>
                    <a:lnTo>
                      <a:pt x="620" y="3074"/>
                    </a:lnTo>
                    <a:lnTo>
                      <a:pt x="620" y="3072"/>
                    </a:lnTo>
                    <a:lnTo>
                      <a:pt x="624" y="3066"/>
                    </a:lnTo>
                    <a:lnTo>
                      <a:pt x="626" y="3060"/>
                    </a:lnTo>
                    <a:lnTo>
                      <a:pt x="626" y="3054"/>
                    </a:lnTo>
                    <a:lnTo>
                      <a:pt x="626" y="3044"/>
                    </a:lnTo>
                    <a:lnTo>
                      <a:pt x="626" y="3044"/>
                    </a:lnTo>
                    <a:lnTo>
                      <a:pt x="624" y="3038"/>
                    </a:lnTo>
                    <a:lnTo>
                      <a:pt x="620" y="3036"/>
                    </a:lnTo>
                    <a:lnTo>
                      <a:pt x="608" y="3036"/>
                    </a:lnTo>
                    <a:lnTo>
                      <a:pt x="600" y="3034"/>
                    </a:lnTo>
                    <a:lnTo>
                      <a:pt x="590" y="3032"/>
                    </a:lnTo>
                    <a:lnTo>
                      <a:pt x="580" y="3026"/>
                    </a:lnTo>
                    <a:lnTo>
                      <a:pt x="570" y="3016"/>
                    </a:lnTo>
                    <a:lnTo>
                      <a:pt x="570" y="3016"/>
                    </a:lnTo>
                    <a:lnTo>
                      <a:pt x="554" y="2996"/>
                    </a:lnTo>
                    <a:lnTo>
                      <a:pt x="550" y="2988"/>
                    </a:lnTo>
                    <a:lnTo>
                      <a:pt x="550" y="2982"/>
                    </a:lnTo>
                    <a:lnTo>
                      <a:pt x="550" y="2976"/>
                    </a:lnTo>
                    <a:lnTo>
                      <a:pt x="554" y="2968"/>
                    </a:lnTo>
                    <a:lnTo>
                      <a:pt x="564" y="2948"/>
                    </a:lnTo>
                    <a:lnTo>
                      <a:pt x="564" y="2948"/>
                    </a:lnTo>
                    <a:lnTo>
                      <a:pt x="570" y="2938"/>
                    </a:lnTo>
                    <a:lnTo>
                      <a:pt x="576" y="2930"/>
                    </a:lnTo>
                    <a:lnTo>
                      <a:pt x="580" y="2928"/>
                    </a:lnTo>
                    <a:lnTo>
                      <a:pt x="584" y="2926"/>
                    </a:lnTo>
                    <a:lnTo>
                      <a:pt x="592" y="2926"/>
                    </a:lnTo>
                    <a:lnTo>
                      <a:pt x="594" y="2924"/>
                    </a:lnTo>
                    <a:lnTo>
                      <a:pt x="598" y="2922"/>
                    </a:lnTo>
                    <a:lnTo>
                      <a:pt x="598" y="2922"/>
                    </a:lnTo>
                    <a:lnTo>
                      <a:pt x="602" y="2918"/>
                    </a:lnTo>
                    <a:lnTo>
                      <a:pt x="608" y="2916"/>
                    </a:lnTo>
                    <a:lnTo>
                      <a:pt x="622" y="2916"/>
                    </a:lnTo>
                    <a:lnTo>
                      <a:pt x="628" y="2916"/>
                    </a:lnTo>
                    <a:lnTo>
                      <a:pt x="632" y="2914"/>
                    </a:lnTo>
                    <a:lnTo>
                      <a:pt x="634" y="2912"/>
                    </a:lnTo>
                    <a:lnTo>
                      <a:pt x="630" y="2908"/>
                    </a:lnTo>
                    <a:lnTo>
                      <a:pt x="630" y="2908"/>
                    </a:lnTo>
                    <a:lnTo>
                      <a:pt x="628" y="2902"/>
                    </a:lnTo>
                    <a:lnTo>
                      <a:pt x="630" y="2898"/>
                    </a:lnTo>
                    <a:lnTo>
                      <a:pt x="638" y="2890"/>
                    </a:lnTo>
                    <a:lnTo>
                      <a:pt x="642" y="2886"/>
                    </a:lnTo>
                    <a:lnTo>
                      <a:pt x="646" y="2878"/>
                    </a:lnTo>
                    <a:lnTo>
                      <a:pt x="648" y="2868"/>
                    </a:lnTo>
                    <a:lnTo>
                      <a:pt x="644" y="2856"/>
                    </a:lnTo>
                    <a:lnTo>
                      <a:pt x="644" y="2856"/>
                    </a:lnTo>
                    <a:lnTo>
                      <a:pt x="644" y="2850"/>
                    </a:lnTo>
                    <a:lnTo>
                      <a:pt x="644" y="2844"/>
                    </a:lnTo>
                    <a:lnTo>
                      <a:pt x="646" y="2836"/>
                    </a:lnTo>
                    <a:lnTo>
                      <a:pt x="648" y="2830"/>
                    </a:lnTo>
                    <a:lnTo>
                      <a:pt x="652" y="2822"/>
                    </a:lnTo>
                    <a:lnTo>
                      <a:pt x="660" y="2816"/>
                    </a:lnTo>
                    <a:lnTo>
                      <a:pt x="668" y="2810"/>
                    </a:lnTo>
                    <a:lnTo>
                      <a:pt x="678" y="2806"/>
                    </a:lnTo>
                    <a:lnTo>
                      <a:pt x="678" y="2806"/>
                    </a:lnTo>
                    <a:lnTo>
                      <a:pt x="684" y="2802"/>
                    </a:lnTo>
                    <a:lnTo>
                      <a:pt x="684" y="2802"/>
                    </a:lnTo>
                    <a:lnTo>
                      <a:pt x="682" y="2800"/>
                    </a:lnTo>
                    <a:lnTo>
                      <a:pt x="674" y="2798"/>
                    </a:lnTo>
                    <a:lnTo>
                      <a:pt x="662" y="2794"/>
                    </a:lnTo>
                    <a:lnTo>
                      <a:pt x="662" y="2794"/>
                    </a:lnTo>
                    <a:lnTo>
                      <a:pt x="658" y="2790"/>
                    </a:lnTo>
                    <a:lnTo>
                      <a:pt x="658" y="2786"/>
                    </a:lnTo>
                    <a:lnTo>
                      <a:pt x="660" y="2782"/>
                    </a:lnTo>
                    <a:lnTo>
                      <a:pt x="664" y="2780"/>
                    </a:lnTo>
                    <a:lnTo>
                      <a:pt x="670" y="2780"/>
                    </a:lnTo>
                    <a:lnTo>
                      <a:pt x="676" y="2780"/>
                    </a:lnTo>
                    <a:lnTo>
                      <a:pt x="682" y="2782"/>
                    </a:lnTo>
                    <a:lnTo>
                      <a:pt x="686" y="2788"/>
                    </a:lnTo>
                    <a:lnTo>
                      <a:pt x="686" y="2788"/>
                    </a:lnTo>
                    <a:lnTo>
                      <a:pt x="690" y="2792"/>
                    </a:lnTo>
                    <a:lnTo>
                      <a:pt x="692" y="2796"/>
                    </a:lnTo>
                    <a:lnTo>
                      <a:pt x="696" y="2798"/>
                    </a:lnTo>
                    <a:lnTo>
                      <a:pt x="700" y="2798"/>
                    </a:lnTo>
                    <a:lnTo>
                      <a:pt x="704" y="2796"/>
                    </a:lnTo>
                    <a:lnTo>
                      <a:pt x="708" y="2792"/>
                    </a:lnTo>
                    <a:lnTo>
                      <a:pt x="712" y="2786"/>
                    </a:lnTo>
                    <a:lnTo>
                      <a:pt x="714" y="2778"/>
                    </a:lnTo>
                    <a:lnTo>
                      <a:pt x="714" y="2778"/>
                    </a:lnTo>
                    <a:lnTo>
                      <a:pt x="716" y="2770"/>
                    </a:lnTo>
                    <a:lnTo>
                      <a:pt x="714" y="2762"/>
                    </a:lnTo>
                    <a:lnTo>
                      <a:pt x="708" y="2754"/>
                    </a:lnTo>
                    <a:lnTo>
                      <a:pt x="706" y="2752"/>
                    </a:lnTo>
                    <a:lnTo>
                      <a:pt x="702" y="2752"/>
                    </a:lnTo>
                    <a:lnTo>
                      <a:pt x="702" y="2752"/>
                    </a:lnTo>
                    <a:lnTo>
                      <a:pt x="678" y="2758"/>
                    </a:lnTo>
                    <a:lnTo>
                      <a:pt x="670" y="2760"/>
                    </a:lnTo>
                    <a:lnTo>
                      <a:pt x="662" y="2758"/>
                    </a:lnTo>
                    <a:lnTo>
                      <a:pt x="658" y="2756"/>
                    </a:lnTo>
                    <a:lnTo>
                      <a:pt x="656" y="2750"/>
                    </a:lnTo>
                    <a:lnTo>
                      <a:pt x="654" y="2744"/>
                    </a:lnTo>
                    <a:lnTo>
                      <a:pt x="656" y="2734"/>
                    </a:lnTo>
                    <a:lnTo>
                      <a:pt x="656" y="2734"/>
                    </a:lnTo>
                    <a:lnTo>
                      <a:pt x="656" y="2726"/>
                    </a:lnTo>
                    <a:lnTo>
                      <a:pt x="654" y="2716"/>
                    </a:lnTo>
                    <a:lnTo>
                      <a:pt x="650" y="2700"/>
                    </a:lnTo>
                    <a:lnTo>
                      <a:pt x="648" y="2694"/>
                    </a:lnTo>
                    <a:lnTo>
                      <a:pt x="646" y="2690"/>
                    </a:lnTo>
                    <a:lnTo>
                      <a:pt x="648" y="2684"/>
                    </a:lnTo>
                    <a:lnTo>
                      <a:pt x="654" y="2682"/>
                    </a:lnTo>
                    <a:lnTo>
                      <a:pt x="654" y="2682"/>
                    </a:lnTo>
                    <a:lnTo>
                      <a:pt x="662" y="2680"/>
                    </a:lnTo>
                    <a:lnTo>
                      <a:pt x="668" y="2682"/>
                    </a:lnTo>
                    <a:lnTo>
                      <a:pt x="684" y="2688"/>
                    </a:lnTo>
                    <a:lnTo>
                      <a:pt x="700" y="2696"/>
                    </a:lnTo>
                    <a:lnTo>
                      <a:pt x="708" y="2698"/>
                    </a:lnTo>
                    <a:lnTo>
                      <a:pt x="714" y="2700"/>
                    </a:lnTo>
                    <a:lnTo>
                      <a:pt x="714" y="2700"/>
                    </a:lnTo>
                    <a:lnTo>
                      <a:pt x="724" y="2700"/>
                    </a:lnTo>
                    <a:lnTo>
                      <a:pt x="728" y="2700"/>
                    </a:lnTo>
                    <a:lnTo>
                      <a:pt x="734" y="2700"/>
                    </a:lnTo>
                    <a:lnTo>
                      <a:pt x="748" y="2694"/>
                    </a:lnTo>
                    <a:lnTo>
                      <a:pt x="748" y="2694"/>
                    </a:lnTo>
                    <a:lnTo>
                      <a:pt x="762" y="2684"/>
                    </a:lnTo>
                    <a:lnTo>
                      <a:pt x="768" y="2680"/>
                    </a:lnTo>
                    <a:lnTo>
                      <a:pt x="770" y="2676"/>
                    </a:lnTo>
                    <a:lnTo>
                      <a:pt x="770" y="2672"/>
                    </a:lnTo>
                    <a:lnTo>
                      <a:pt x="770" y="2670"/>
                    </a:lnTo>
                    <a:lnTo>
                      <a:pt x="764" y="2664"/>
                    </a:lnTo>
                    <a:lnTo>
                      <a:pt x="764" y="2664"/>
                    </a:lnTo>
                    <a:lnTo>
                      <a:pt x="762" y="2660"/>
                    </a:lnTo>
                    <a:lnTo>
                      <a:pt x="760" y="2658"/>
                    </a:lnTo>
                    <a:lnTo>
                      <a:pt x="758" y="2650"/>
                    </a:lnTo>
                    <a:lnTo>
                      <a:pt x="762" y="2642"/>
                    </a:lnTo>
                    <a:lnTo>
                      <a:pt x="770" y="2632"/>
                    </a:lnTo>
                    <a:lnTo>
                      <a:pt x="770" y="2632"/>
                    </a:lnTo>
                    <a:lnTo>
                      <a:pt x="776" y="2622"/>
                    </a:lnTo>
                    <a:lnTo>
                      <a:pt x="778" y="2612"/>
                    </a:lnTo>
                    <a:lnTo>
                      <a:pt x="776" y="2602"/>
                    </a:lnTo>
                    <a:lnTo>
                      <a:pt x="772" y="2598"/>
                    </a:lnTo>
                    <a:lnTo>
                      <a:pt x="770" y="2596"/>
                    </a:lnTo>
                    <a:lnTo>
                      <a:pt x="770" y="2596"/>
                    </a:lnTo>
                    <a:lnTo>
                      <a:pt x="766" y="2592"/>
                    </a:lnTo>
                    <a:lnTo>
                      <a:pt x="762" y="2588"/>
                    </a:lnTo>
                    <a:lnTo>
                      <a:pt x="760" y="2578"/>
                    </a:lnTo>
                    <a:lnTo>
                      <a:pt x="760" y="2574"/>
                    </a:lnTo>
                    <a:lnTo>
                      <a:pt x="762" y="2572"/>
                    </a:lnTo>
                    <a:lnTo>
                      <a:pt x="768" y="2572"/>
                    </a:lnTo>
                    <a:lnTo>
                      <a:pt x="774" y="2576"/>
                    </a:lnTo>
                    <a:lnTo>
                      <a:pt x="774" y="2576"/>
                    </a:lnTo>
                    <a:lnTo>
                      <a:pt x="784" y="2582"/>
                    </a:lnTo>
                    <a:lnTo>
                      <a:pt x="792" y="2582"/>
                    </a:lnTo>
                    <a:lnTo>
                      <a:pt x="824" y="2578"/>
                    </a:lnTo>
                    <a:lnTo>
                      <a:pt x="824" y="2578"/>
                    </a:lnTo>
                    <a:lnTo>
                      <a:pt x="856" y="2574"/>
                    </a:lnTo>
                    <a:lnTo>
                      <a:pt x="890" y="2566"/>
                    </a:lnTo>
                    <a:lnTo>
                      <a:pt x="920" y="2556"/>
                    </a:lnTo>
                    <a:lnTo>
                      <a:pt x="934" y="2550"/>
                    </a:lnTo>
                    <a:lnTo>
                      <a:pt x="944" y="2544"/>
                    </a:lnTo>
                    <a:lnTo>
                      <a:pt x="944" y="2544"/>
                    </a:lnTo>
                    <a:lnTo>
                      <a:pt x="952" y="2538"/>
                    </a:lnTo>
                    <a:lnTo>
                      <a:pt x="956" y="2534"/>
                    </a:lnTo>
                    <a:lnTo>
                      <a:pt x="958" y="2528"/>
                    </a:lnTo>
                    <a:lnTo>
                      <a:pt x="960" y="2524"/>
                    </a:lnTo>
                    <a:lnTo>
                      <a:pt x="962" y="2516"/>
                    </a:lnTo>
                    <a:lnTo>
                      <a:pt x="966" y="2510"/>
                    </a:lnTo>
                    <a:lnTo>
                      <a:pt x="970" y="2504"/>
                    </a:lnTo>
                    <a:lnTo>
                      <a:pt x="970" y="2504"/>
                    </a:lnTo>
                    <a:lnTo>
                      <a:pt x="980" y="2492"/>
                    </a:lnTo>
                    <a:lnTo>
                      <a:pt x="986" y="2478"/>
                    </a:lnTo>
                    <a:lnTo>
                      <a:pt x="990" y="2464"/>
                    </a:lnTo>
                    <a:lnTo>
                      <a:pt x="990" y="2444"/>
                    </a:lnTo>
                    <a:lnTo>
                      <a:pt x="990" y="2444"/>
                    </a:lnTo>
                    <a:lnTo>
                      <a:pt x="990" y="2436"/>
                    </a:lnTo>
                    <a:lnTo>
                      <a:pt x="990" y="2432"/>
                    </a:lnTo>
                    <a:lnTo>
                      <a:pt x="986" y="2432"/>
                    </a:lnTo>
                    <a:lnTo>
                      <a:pt x="984" y="2432"/>
                    </a:lnTo>
                    <a:lnTo>
                      <a:pt x="980" y="2432"/>
                    </a:lnTo>
                    <a:lnTo>
                      <a:pt x="976" y="2432"/>
                    </a:lnTo>
                    <a:lnTo>
                      <a:pt x="970" y="2428"/>
                    </a:lnTo>
                    <a:lnTo>
                      <a:pt x="964" y="2420"/>
                    </a:lnTo>
                    <a:lnTo>
                      <a:pt x="964" y="2420"/>
                    </a:lnTo>
                    <a:lnTo>
                      <a:pt x="962" y="2410"/>
                    </a:lnTo>
                    <a:lnTo>
                      <a:pt x="962" y="2404"/>
                    </a:lnTo>
                    <a:lnTo>
                      <a:pt x="964" y="2400"/>
                    </a:lnTo>
                    <a:lnTo>
                      <a:pt x="968" y="2396"/>
                    </a:lnTo>
                    <a:lnTo>
                      <a:pt x="970" y="2392"/>
                    </a:lnTo>
                    <a:lnTo>
                      <a:pt x="970" y="2388"/>
                    </a:lnTo>
                    <a:lnTo>
                      <a:pt x="968" y="2380"/>
                    </a:lnTo>
                    <a:lnTo>
                      <a:pt x="962" y="2368"/>
                    </a:lnTo>
                    <a:lnTo>
                      <a:pt x="962" y="2368"/>
                    </a:lnTo>
                    <a:lnTo>
                      <a:pt x="954" y="2360"/>
                    </a:lnTo>
                    <a:lnTo>
                      <a:pt x="946" y="2354"/>
                    </a:lnTo>
                    <a:lnTo>
                      <a:pt x="928" y="2344"/>
                    </a:lnTo>
                    <a:lnTo>
                      <a:pt x="922" y="2338"/>
                    </a:lnTo>
                    <a:lnTo>
                      <a:pt x="918" y="2332"/>
                    </a:lnTo>
                    <a:lnTo>
                      <a:pt x="918" y="2330"/>
                    </a:lnTo>
                    <a:lnTo>
                      <a:pt x="920" y="2326"/>
                    </a:lnTo>
                    <a:lnTo>
                      <a:pt x="926" y="2316"/>
                    </a:lnTo>
                    <a:lnTo>
                      <a:pt x="926" y="2316"/>
                    </a:lnTo>
                    <a:lnTo>
                      <a:pt x="928" y="2320"/>
                    </a:lnTo>
                    <a:lnTo>
                      <a:pt x="934" y="2326"/>
                    </a:lnTo>
                    <a:lnTo>
                      <a:pt x="946" y="2332"/>
                    </a:lnTo>
                    <a:lnTo>
                      <a:pt x="952" y="2334"/>
                    </a:lnTo>
                    <a:lnTo>
                      <a:pt x="958" y="2334"/>
                    </a:lnTo>
                    <a:lnTo>
                      <a:pt x="958" y="2334"/>
                    </a:lnTo>
                    <a:lnTo>
                      <a:pt x="966" y="2336"/>
                    </a:lnTo>
                    <a:lnTo>
                      <a:pt x="976" y="2338"/>
                    </a:lnTo>
                    <a:lnTo>
                      <a:pt x="992" y="2348"/>
                    </a:lnTo>
                    <a:lnTo>
                      <a:pt x="1002" y="2352"/>
                    </a:lnTo>
                    <a:lnTo>
                      <a:pt x="1010" y="2356"/>
                    </a:lnTo>
                    <a:lnTo>
                      <a:pt x="1018" y="2358"/>
                    </a:lnTo>
                    <a:lnTo>
                      <a:pt x="1026" y="2356"/>
                    </a:lnTo>
                    <a:lnTo>
                      <a:pt x="1026" y="2356"/>
                    </a:lnTo>
                    <a:lnTo>
                      <a:pt x="1032" y="2354"/>
                    </a:lnTo>
                    <a:lnTo>
                      <a:pt x="1038" y="2352"/>
                    </a:lnTo>
                    <a:lnTo>
                      <a:pt x="1050" y="2356"/>
                    </a:lnTo>
                    <a:lnTo>
                      <a:pt x="1056" y="2358"/>
                    </a:lnTo>
                    <a:lnTo>
                      <a:pt x="1062" y="2358"/>
                    </a:lnTo>
                    <a:lnTo>
                      <a:pt x="1068" y="2358"/>
                    </a:lnTo>
                    <a:lnTo>
                      <a:pt x="1076" y="2354"/>
                    </a:lnTo>
                    <a:lnTo>
                      <a:pt x="1076" y="2354"/>
                    </a:lnTo>
                    <a:lnTo>
                      <a:pt x="1090" y="2344"/>
                    </a:lnTo>
                    <a:lnTo>
                      <a:pt x="1100" y="2334"/>
                    </a:lnTo>
                    <a:lnTo>
                      <a:pt x="1110" y="2320"/>
                    </a:lnTo>
                    <a:lnTo>
                      <a:pt x="1122" y="2300"/>
                    </a:lnTo>
                    <a:lnTo>
                      <a:pt x="1122" y="2300"/>
                    </a:lnTo>
                    <a:lnTo>
                      <a:pt x="1120" y="2294"/>
                    </a:lnTo>
                    <a:lnTo>
                      <a:pt x="1120" y="2294"/>
                    </a:lnTo>
                    <a:lnTo>
                      <a:pt x="1124" y="2288"/>
                    </a:lnTo>
                    <a:lnTo>
                      <a:pt x="1130" y="2282"/>
                    </a:lnTo>
                    <a:lnTo>
                      <a:pt x="1140" y="2276"/>
                    </a:lnTo>
                    <a:lnTo>
                      <a:pt x="1150" y="2270"/>
                    </a:lnTo>
                    <a:lnTo>
                      <a:pt x="1154" y="2264"/>
                    </a:lnTo>
                    <a:lnTo>
                      <a:pt x="1158" y="2256"/>
                    </a:lnTo>
                    <a:lnTo>
                      <a:pt x="1158" y="2256"/>
                    </a:lnTo>
                    <a:lnTo>
                      <a:pt x="1166" y="2232"/>
                    </a:lnTo>
                    <a:lnTo>
                      <a:pt x="1170" y="2224"/>
                    </a:lnTo>
                    <a:lnTo>
                      <a:pt x="1174" y="2218"/>
                    </a:lnTo>
                    <a:lnTo>
                      <a:pt x="1188" y="2204"/>
                    </a:lnTo>
                    <a:lnTo>
                      <a:pt x="1210" y="2184"/>
                    </a:lnTo>
                    <a:lnTo>
                      <a:pt x="1210" y="2184"/>
                    </a:lnTo>
                    <a:lnTo>
                      <a:pt x="1220" y="2174"/>
                    </a:lnTo>
                    <a:lnTo>
                      <a:pt x="1228" y="2164"/>
                    </a:lnTo>
                    <a:lnTo>
                      <a:pt x="1240" y="2140"/>
                    </a:lnTo>
                    <a:lnTo>
                      <a:pt x="1254" y="2110"/>
                    </a:lnTo>
                    <a:lnTo>
                      <a:pt x="1270" y="2074"/>
                    </a:lnTo>
                    <a:lnTo>
                      <a:pt x="1270" y="2074"/>
                    </a:lnTo>
                    <a:lnTo>
                      <a:pt x="1278" y="2058"/>
                    </a:lnTo>
                    <a:lnTo>
                      <a:pt x="1284" y="2048"/>
                    </a:lnTo>
                    <a:lnTo>
                      <a:pt x="1290" y="2042"/>
                    </a:lnTo>
                    <a:lnTo>
                      <a:pt x="1294" y="2038"/>
                    </a:lnTo>
                    <a:lnTo>
                      <a:pt x="1304" y="2030"/>
                    </a:lnTo>
                    <a:lnTo>
                      <a:pt x="1308" y="2022"/>
                    </a:lnTo>
                    <a:lnTo>
                      <a:pt x="1314" y="2012"/>
                    </a:lnTo>
                    <a:lnTo>
                      <a:pt x="1314" y="2012"/>
                    </a:lnTo>
                    <a:lnTo>
                      <a:pt x="1320" y="1998"/>
                    </a:lnTo>
                    <a:lnTo>
                      <a:pt x="1322" y="1984"/>
                    </a:lnTo>
                    <a:lnTo>
                      <a:pt x="1322" y="1970"/>
                    </a:lnTo>
                    <a:lnTo>
                      <a:pt x="1322" y="1956"/>
                    </a:lnTo>
                    <a:lnTo>
                      <a:pt x="1322" y="1926"/>
                    </a:lnTo>
                    <a:lnTo>
                      <a:pt x="1320" y="1910"/>
                    </a:lnTo>
                    <a:lnTo>
                      <a:pt x="1322" y="1894"/>
                    </a:lnTo>
                    <a:lnTo>
                      <a:pt x="1322" y="1894"/>
                    </a:lnTo>
                    <a:lnTo>
                      <a:pt x="1324" y="1878"/>
                    </a:lnTo>
                    <a:lnTo>
                      <a:pt x="1332" y="1862"/>
                    </a:lnTo>
                    <a:lnTo>
                      <a:pt x="1340" y="1848"/>
                    </a:lnTo>
                    <a:lnTo>
                      <a:pt x="1352" y="1836"/>
                    </a:lnTo>
                    <a:lnTo>
                      <a:pt x="1364" y="1824"/>
                    </a:lnTo>
                    <a:lnTo>
                      <a:pt x="1376" y="1816"/>
                    </a:lnTo>
                    <a:lnTo>
                      <a:pt x="1388" y="1808"/>
                    </a:lnTo>
                    <a:lnTo>
                      <a:pt x="1398" y="1802"/>
                    </a:lnTo>
                    <a:lnTo>
                      <a:pt x="1398" y="1802"/>
                    </a:lnTo>
                    <a:lnTo>
                      <a:pt x="1422" y="1792"/>
                    </a:lnTo>
                    <a:lnTo>
                      <a:pt x="1438" y="1782"/>
                    </a:lnTo>
                    <a:lnTo>
                      <a:pt x="1452" y="1772"/>
                    </a:lnTo>
                    <a:lnTo>
                      <a:pt x="1462" y="1764"/>
                    </a:lnTo>
                    <a:lnTo>
                      <a:pt x="1476" y="1750"/>
                    </a:lnTo>
                    <a:lnTo>
                      <a:pt x="1482" y="1744"/>
                    </a:lnTo>
                    <a:lnTo>
                      <a:pt x="1490" y="1740"/>
                    </a:lnTo>
                    <a:lnTo>
                      <a:pt x="1490" y="1740"/>
                    </a:lnTo>
                    <a:lnTo>
                      <a:pt x="1498" y="1738"/>
                    </a:lnTo>
                    <a:lnTo>
                      <a:pt x="1502" y="1738"/>
                    </a:lnTo>
                    <a:lnTo>
                      <a:pt x="1506" y="1740"/>
                    </a:lnTo>
                    <a:lnTo>
                      <a:pt x="1508" y="1742"/>
                    </a:lnTo>
                    <a:lnTo>
                      <a:pt x="1514" y="1742"/>
                    </a:lnTo>
                    <a:lnTo>
                      <a:pt x="1520" y="1742"/>
                    </a:lnTo>
                    <a:lnTo>
                      <a:pt x="1530" y="1740"/>
                    </a:lnTo>
                    <a:lnTo>
                      <a:pt x="1530" y="1740"/>
                    </a:lnTo>
                    <a:lnTo>
                      <a:pt x="1544" y="1738"/>
                    </a:lnTo>
                    <a:lnTo>
                      <a:pt x="1556" y="1738"/>
                    </a:lnTo>
                    <a:lnTo>
                      <a:pt x="1576" y="1738"/>
                    </a:lnTo>
                    <a:lnTo>
                      <a:pt x="1584" y="1738"/>
                    </a:lnTo>
                    <a:lnTo>
                      <a:pt x="1588" y="1736"/>
                    </a:lnTo>
                    <a:lnTo>
                      <a:pt x="1592" y="1734"/>
                    </a:lnTo>
                    <a:lnTo>
                      <a:pt x="1590" y="1728"/>
                    </a:lnTo>
                    <a:lnTo>
                      <a:pt x="1590" y="1728"/>
                    </a:lnTo>
                    <a:lnTo>
                      <a:pt x="1590" y="1724"/>
                    </a:lnTo>
                    <a:lnTo>
                      <a:pt x="1590" y="1722"/>
                    </a:lnTo>
                    <a:lnTo>
                      <a:pt x="1594" y="1716"/>
                    </a:lnTo>
                    <a:lnTo>
                      <a:pt x="1608" y="1702"/>
                    </a:lnTo>
                    <a:lnTo>
                      <a:pt x="1616" y="1696"/>
                    </a:lnTo>
                    <a:lnTo>
                      <a:pt x="1622" y="1690"/>
                    </a:lnTo>
                    <a:lnTo>
                      <a:pt x="1626" y="1682"/>
                    </a:lnTo>
                    <a:lnTo>
                      <a:pt x="1626" y="1676"/>
                    </a:lnTo>
                    <a:lnTo>
                      <a:pt x="1624" y="1672"/>
                    </a:lnTo>
                    <a:lnTo>
                      <a:pt x="1624" y="1672"/>
                    </a:lnTo>
                    <a:lnTo>
                      <a:pt x="1622" y="1662"/>
                    </a:lnTo>
                    <a:lnTo>
                      <a:pt x="1624" y="1654"/>
                    </a:lnTo>
                    <a:lnTo>
                      <a:pt x="1628" y="1644"/>
                    </a:lnTo>
                    <a:lnTo>
                      <a:pt x="1634" y="1634"/>
                    </a:lnTo>
                    <a:lnTo>
                      <a:pt x="1650" y="1610"/>
                    </a:lnTo>
                    <a:lnTo>
                      <a:pt x="1668" y="1580"/>
                    </a:lnTo>
                    <a:lnTo>
                      <a:pt x="1668" y="1580"/>
                    </a:lnTo>
                    <a:lnTo>
                      <a:pt x="1674" y="1564"/>
                    </a:lnTo>
                    <a:lnTo>
                      <a:pt x="1678" y="1550"/>
                    </a:lnTo>
                    <a:lnTo>
                      <a:pt x="1678" y="1536"/>
                    </a:lnTo>
                    <a:lnTo>
                      <a:pt x="1678" y="1524"/>
                    </a:lnTo>
                    <a:lnTo>
                      <a:pt x="1678" y="1514"/>
                    </a:lnTo>
                    <a:lnTo>
                      <a:pt x="1680" y="1506"/>
                    </a:lnTo>
                    <a:lnTo>
                      <a:pt x="1682" y="1498"/>
                    </a:lnTo>
                    <a:lnTo>
                      <a:pt x="1688" y="1494"/>
                    </a:lnTo>
                    <a:lnTo>
                      <a:pt x="1688" y="1494"/>
                    </a:lnTo>
                    <a:lnTo>
                      <a:pt x="1694" y="1488"/>
                    </a:lnTo>
                    <a:lnTo>
                      <a:pt x="1698" y="1480"/>
                    </a:lnTo>
                    <a:lnTo>
                      <a:pt x="1698" y="1470"/>
                    </a:lnTo>
                    <a:lnTo>
                      <a:pt x="1700" y="1460"/>
                    </a:lnTo>
                    <a:lnTo>
                      <a:pt x="1700" y="1434"/>
                    </a:lnTo>
                    <a:lnTo>
                      <a:pt x="1702" y="1418"/>
                    </a:lnTo>
                    <a:lnTo>
                      <a:pt x="1704" y="1404"/>
                    </a:lnTo>
                    <a:lnTo>
                      <a:pt x="1704" y="1404"/>
                    </a:lnTo>
                    <a:lnTo>
                      <a:pt x="1708" y="1390"/>
                    </a:lnTo>
                    <a:lnTo>
                      <a:pt x="1708" y="1378"/>
                    </a:lnTo>
                    <a:lnTo>
                      <a:pt x="1708" y="1368"/>
                    </a:lnTo>
                    <a:lnTo>
                      <a:pt x="1706" y="1360"/>
                    </a:lnTo>
                    <a:lnTo>
                      <a:pt x="1702" y="1342"/>
                    </a:lnTo>
                    <a:lnTo>
                      <a:pt x="1702" y="1334"/>
                    </a:lnTo>
                    <a:lnTo>
                      <a:pt x="1702" y="1324"/>
                    </a:lnTo>
                    <a:lnTo>
                      <a:pt x="1702" y="1324"/>
                    </a:lnTo>
                    <a:lnTo>
                      <a:pt x="1706" y="1252"/>
                    </a:lnTo>
                    <a:lnTo>
                      <a:pt x="1708" y="1234"/>
                    </a:lnTo>
                    <a:lnTo>
                      <a:pt x="1710" y="1224"/>
                    </a:lnTo>
                    <a:lnTo>
                      <a:pt x="1712" y="1220"/>
                    </a:lnTo>
                    <a:lnTo>
                      <a:pt x="1714" y="1220"/>
                    </a:lnTo>
                    <a:lnTo>
                      <a:pt x="1718" y="1222"/>
                    </a:lnTo>
                    <a:lnTo>
                      <a:pt x="1720" y="1226"/>
                    </a:lnTo>
                    <a:lnTo>
                      <a:pt x="1720" y="1226"/>
                    </a:lnTo>
                    <a:lnTo>
                      <a:pt x="1726" y="1234"/>
                    </a:lnTo>
                    <a:lnTo>
                      <a:pt x="1730" y="1238"/>
                    </a:lnTo>
                    <a:lnTo>
                      <a:pt x="1736" y="1238"/>
                    </a:lnTo>
                    <a:lnTo>
                      <a:pt x="1740" y="1234"/>
                    </a:lnTo>
                    <a:lnTo>
                      <a:pt x="1746" y="1224"/>
                    </a:lnTo>
                    <a:lnTo>
                      <a:pt x="1752" y="1212"/>
                    </a:lnTo>
                    <a:lnTo>
                      <a:pt x="1766" y="1176"/>
                    </a:lnTo>
                    <a:lnTo>
                      <a:pt x="1766" y="1176"/>
                    </a:lnTo>
                    <a:lnTo>
                      <a:pt x="1774" y="1158"/>
                    </a:lnTo>
                    <a:lnTo>
                      <a:pt x="1780" y="1146"/>
                    </a:lnTo>
                    <a:lnTo>
                      <a:pt x="1788" y="1136"/>
                    </a:lnTo>
                    <a:lnTo>
                      <a:pt x="1794" y="1128"/>
                    </a:lnTo>
                    <a:lnTo>
                      <a:pt x="1810" y="1112"/>
                    </a:lnTo>
                    <a:lnTo>
                      <a:pt x="1820" y="1100"/>
                    </a:lnTo>
                    <a:lnTo>
                      <a:pt x="1830" y="1082"/>
                    </a:lnTo>
                    <a:lnTo>
                      <a:pt x="1830" y="1082"/>
                    </a:lnTo>
                    <a:lnTo>
                      <a:pt x="1852" y="1044"/>
                    </a:lnTo>
                    <a:lnTo>
                      <a:pt x="1860" y="1030"/>
                    </a:lnTo>
                    <a:lnTo>
                      <a:pt x="1866" y="1016"/>
                    </a:lnTo>
                    <a:lnTo>
                      <a:pt x="1872" y="1002"/>
                    </a:lnTo>
                    <a:lnTo>
                      <a:pt x="1874" y="988"/>
                    </a:lnTo>
                    <a:lnTo>
                      <a:pt x="1874" y="972"/>
                    </a:lnTo>
                    <a:lnTo>
                      <a:pt x="1872" y="956"/>
                    </a:lnTo>
                    <a:lnTo>
                      <a:pt x="1872" y="956"/>
                    </a:lnTo>
                    <a:close/>
                    <a:moveTo>
                      <a:pt x="1128" y="2234"/>
                    </a:moveTo>
                    <a:lnTo>
                      <a:pt x="1128" y="2234"/>
                    </a:lnTo>
                    <a:lnTo>
                      <a:pt x="1132" y="2242"/>
                    </a:lnTo>
                    <a:lnTo>
                      <a:pt x="1132" y="2242"/>
                    </a:lnTo>
                    <a:lnTo>
                      <a:pt x="1128" y="2234"/>
                    </a:lnTo>
                    <a:lnTo>
                      <a:pt x="1128" y="2234"/>
                    </a:lnTo>
                    <a:close/>
                    <a:moveTo>
                      <a:pt x="698" y="3490"/>
                    </a:moveTo>
                    <a:lnTo>
                      <a:pt x="698" y="3490"/>
                    </a:lnTo>
                    <a:lnTo>
                      <a:pt x="692" y="3492"/>
                    </a:lnTo>
                    <a:lnTo>
                      <a:pt x="688" y="3490"/>
                    </a:lnTo>
                    <a:lnTo>
                      <a:pt x="684" y="3490"/>
                    </a:lnTo>
                    <a:lnTo>
                      <a:pt x="678" y="3492"/>
                    </a:lnTo>
                    <a:lnTo>
                      <a:pt x="678" y="3492"/>
                    </a:lnTo>
                    <a:lnTo>
                      <a:pt x="670" y="3496"/>
                    </a:lnTo>
                    <a:lnTo>
                      <a:pt x="666" y="3498"/>
                    </a:lnTo>
                    <a:lnTo>
                      <a:pt x="670" y="3500"/>
                    </a:lnTo>
                    <a:lnTo>
                      <a:pt x="670" y="3500"/>
                    </a:lnTo>
                    <a:lnTo>
                      <a:pt x="672" y="3500"/>
                    </a:lnTo>
                    <a:lnTo>
                      <a:pt x="678" y="3498"/>
                    </a:lnTo>
                    <a:lnTo>
                      <a:pt x="678" y="3498"/>
                    </a:lnTo>
                    <a:lnTo>
                      <a:pt x="682" y="3494"/>
                    </a:lnTo>
                    <a:lnTo>
                      <a:pt x="684" y="3496"/>
                    </a:lnTo>
                    <a:lnTo>
                      <a:pt x="686" y="3498"/>
                    </a:lnTo>
                    <a:lnTo>
                      <a:pt x="690" y="3496"/>
                    </a:lnTo>
                    <a:lnTo>
                      <a:pt x="690" y="3496"/>
                    </a:lnTo>
                    <a:lnTo>
                      <a:pt x="694" y="3496"/>
                    </a:lnTo>
                    <a:lnTo>
                      <a:pt x="696" y="3496"/>
                    </a:lnTo>
                    <a:lnTo>
                      <a:pt x="696" y="3496"/>
                    </a:lnTo>
                    <a:lnTo>
                      <a:pt x="700" y="3496"/>
                    </a:lnTo>
                    <a:lnTo>
                      <a:pt x="700" y="3496"/>
                    </a:lnTo>
                    <a:lnTo>
                      <a:pt x="702" y="3494"/>
                    </a:lnTo>
                    <a:lnTo>
                      <a:pt x="704" y="3492"/>
                    </a:lnTo>
                    <a:lnTo>
                      <a:pt x="702" y="3490"/>
                    </a:lnTo>
                    <a:lnTo>
                      <a:pt x="698" y="3490"/>
                    </a:lnTo>
                    <a:lnTo>
                      <a:pt x="698" y="3490"/>
                    </a:lnTo>
                    <a:close/>
                    <a:moveTo>
                      <a:pt x="294" y="3084"/>
                    </a:moveTo>
                    <a:lnTo>
                      <a:pt x="294" y="3084"/>
                    </a:lnTo>
                    <a:lnTo>
                      <a:pt x="298" y="3086"/>
                    </a:lnTo>
                    <a:lnTo>
                      <a:pt x="300" y="3084"/>
                    </a:lnTo>
                    <a:lnTo>
                      <a:pt x="300" y="3084"/>
                    </a:lnTo>
                    <a:lnTo>
                      <a:pt x="300" y="3082"/>
                    </a:lnTo>
                    <a:lnTo>
                      <a:pt x="298" y="3080"/>
                    </a:lnTo>
                    <a:lnTo>
                      <a:pt x="292" y="3078"/>
                    </a:lnTo>
                    <a:lnTo>
                      <a:pt x="292" y="3078"/>
                    </a:lnTo>
                    <a:lnTo>
                      <a:pt x="286" y="3078"/>
                    </a:lnTo>
                    <a:lnTo>
                      <a:pt x="282" y="3078"/>
                    </a:lnTo>
                    <a:lnTo>
                      <a:pt x="276" y="3080"/>
                    </a:lnTo>
                    <a:lnTo>
                      <a:pt x="274" y="3082"/>
                    </a:lnTo>
                    <a:lnTo>
                      <a:pt x="274" y="3082"/>
                    </a:lnTo>
                    <a:lnTo>
                      <a:pt x="274" y="3084"/>
                    </a:lnTo>
                    <a:lnTo>
                      <a:pt x="274" y="3084"/>
                    </a:lnTo>
                    <a:lnTo>
                      <a:pt x="280" y="3084"/>
                    </a:lnTo>
                    <a:lnTo>
                      <a:pt x="288" y="3084"/>
                    </a:lnTo>
                    <a:lnTo>
                      <a:pt x="294" y="3084"/>
                    </a:lnTo>
                    <a:lnTo>
                      <a:pt x="294" y="3084"/>
                    </a:lnTo>
                    <a:close/>
                    <a:moveTo>
                      <a:pt x="338" y="3318"/>
                    </a:moveTo>
                    <a:lnTo>
                      <a:pt x="338" y="3318"/>
                    </a:lnTo>
                    <a:lnTo>
                      <a:pt x="330" y="3322"/>
                    </a:lnTo>
                    <a:lnTo>
                      <a:pt x="328" y="3324"/>
                    </a:lnTo>
                    <a:lnTo>
                      <a:pt x="330" y="3326"/>
                    </a:lnTo>
                    <a:lnTo>
                      <a:pt x="330" y="3326"/>
                    </a:lnTo>
                    <a:lnTo>
                      <a:pt x="330" y="3326"/>
                    </a:lnTo>
                    <a:lnTo>
                      <a:pt x="334" y="3326"/>
                    </a:lnTo>
                    <a:lnTo>
                      <a:pt x="338" y="3322"/>
                    </a:lnTo>
                    <a:lnTo>
                      <a:pt x="338" y="3318"/>
                    </a:lnTo>
                    <a:lnTo>
                      <a:pt x="338" y="3318"/>
                    </a:lnTo>
                    <a:lnTo>
                      <a:pt x="338" y="3318"/>
                    </a:lnTo>
                    <a:lnTo>
                      <a:pt x="338" y="3318"/>
                    </a:lnTo>
                    <a:close/>
                    <a:moveTo>
                      <a:pt x="292" y="3034"/>
                    </a:moveTo>
                    <a:lnTo>
                      <a:pt x="292" y="3034"/>
                    </a:lnTo>
                    <a:lnTo>
                      <a:pt x="290" y="3032"/>
                    </a:lnTo>
                    <a:lnTo>
                      <a:pt x="288" y="3030"/>
                    </a:lnTo>
                    <a:lnTo>
                      <a:pt x="284" y="3030"/>
                    </a:lnTo>
                    <a:lnTo>
                      <a:pt x="282" y="3034"/>
                    </a:lnTo>
                    <a:lnTo>
                      <a:pt x="282" y="3034"/>
                    </a:lnTo>
                    <a:lnTo>
                      <a:pt x="284" y="3036"/>
                    </a:lnTo>
                    <a:lnTo>
                      <a:pt x="286" y="3038"/>
                    </a:lnTo>
                    <a:lnTo>
                      <a:pt x="290" y="3036"/>
                    </a:lnTo>
                    <a:lnTo>
                      <a:pt x="292" y="3034"/>
                    </a:lnTo>
                    <a:lnTo>
                      <a:pt x="292" y="3034"/>
                    </a:lnTo>
                    <a:close/>
                    <a:moveTo>
                      <a:pt x="420" y="3442"/>
                    </a:moveTo>
                    <a:lnTo>
                      <a:pt x="420" y="3442"/>
                    </a:lnTo>
                    <a:lnTo>
                      <a:pt x="420" y="3446"/>
                    </a:lnTo>
                    <a:lnTo>
                      <a:pt x="424" y="3452"/>
                    </a:lnTo>
                    <a:lnTo>
                      <a:pt x="440" y="3462"/>
                    </a:lnTo>
                    <a:lnTo>
                      <a:pt x="440" y="3462"/>
                    </a:lnTo>
                    <a:lnTo>
                      <a:pt x="444" y="3464"/>
                    </a:lnTo>
                    <a:lnTo>
                      <a:pt x="444" y="3462"/>
                    </a:lnTo>
                    <a:lnTo>
                      <a:pt x="442" y="3458"/>
                    </a:lnTo>
                    <a:lnTo>
                      <a:pt x="438" y="3454"/>
                    </a:lnTo>
                    <a:lnTo>
                      <a:pt x="438" y="3454"/>
                    </a:lnTo>
                    <a:lnTo>
                      <a:pt x="430" y="3446"/>
                    </a:lnTo>
                    <a:lnTo>
                      <a:pt x="430" y="3446"/>
                    </a:lnTo>
                    <a:lnTo>
                      <a:pt x="434" y="3448"/>
                    </a:lnTo>
                    <a:lnTo>
                      <a:pt x="434" y="3448"/>
                    </a:lnTo>
                    <a:lnTo>
                      <a:pt x="438" y="3450"/>
                    </a:lnTo>
                    <a:lnTo>
                      <a:pt x="442" y="3450"/>
                    </a:lnTo>
                    <a:lnTo>
                      <a:pt x="442" y="3448"/>
                    </a:lnTo>
                    <a:lnTo>
                      <a:pt x="440" y="3444"/>
                    </a:lnTo>
                    <a:lnTo>
                      <a:pt x="440" y="3444"/>
                    </a:lnTo>
                    <a:lnTo>
                      <a:pt x="436" y="3438"/>
                    </a:lnTo>
                    <a:lnTo>
                      <a:pt x="434" y="3432"/>
                    </a:lnTo>
                    <a:lnTo>
                      <a:pt x="434" y="3420"/>
                    </a:lnTo>
                    <a:lnTo>
                      <a:pt x="434" y="3420"/>
                    </a:lnTo>
                    <a:lnTo>
                      <a:pt x="434" y="3418"/>
                    </a:lnTo>
                    <a:lnTo>
                      <a:pt x="434" y="3420"/>
                    </a:lnTo>
                    <a:lnTo>
                      <a:pt x="430" y="3422"/>
                    </a:lnTo>
                    <a:lnTo>
                      <a:pt x="426" y="3428"/>
                    </a:lnTo>
                    <a:lnTo>
                      <a:pt x="426" y="3432"/>
                    </a:lnTo>
                    <a:lnTo>
                      <a:pt x="426" y="3432"/>
                    </a:lnTo>
                    <a:lnTo>
                      <a:pt x="426" y="3436"/>
                    </a:lnTo>
                    <a:lnTo>
                      <a:pt x="424" y="3436"/>
                    </a:lnTo>
                    <a:lnTo>
                      <a:pt x="422" y="3436"/>
                    </a:lnTo>
                    <a:lnTo>
                      <a:pt x="420" y="3442"/>
                    </a:lnTo>
                    <a:lnTo>
                      <a:pt x="420" y="3442"/>
                    </a:lnTo>
                    <a:close/>
                    <a:moveTo>
                      <a:pt x="272" y="3186"/>
                    </a:moveTo>
                    <a:lnTo>
                      <a:pt x="272" y="3186"/>
                    </a:lnTo>
                    <a:lnTo>
                      <a:pt x="270" y="3186"/>
                    </a:lnTo>
                    <a:lnTo>
                      <a:pt x="270" y="3186"/>
                    </a:lnTo>
                    <a:lnTo>
                      <a:pt x="272" y="3180"/>
                    </a:lnTo>
                    <a:lnTo>
                      <a:pt x="272" y="3180"/>
                    </a:lnTo>
                    <a:lnTo>
                      <a:pt x="274" y="3174"/>
                    </a:lnTo>
                    <a:lnTo>
                      <a:pt x="274" y="3168"/>
                    </a:lnTo>
                    <a:lnTo>
                      <a:pt x="274" y="3150"/>
                    </a:lnTo>
                    <a:lnTo>
                      <a:pt x="274" y="3150"/>
                    </a:lnTo>
                    <a:lnTo>
                      <a:pt x="272" y="3136"/>
                    </a:lnTo>
                    <a:lnTo>
                      <a:pt x="272" y="3132"/>
                    </a:lnTo>
                    <a:lnTo>
                      <a:pt x="270" y="3132"/>
                    </a:lnTo>
                    <a:lnTo>
                      <a:pt x="270" y="3132"/>
                    </a:lnTo>
                    <a:lnTo>
                      <a:pt x="266" y="3132"/>
                    </a:lnTo>
                    <a:lnTo>
                      <a:pt x="264" y="3130"/>
                    </a:lnTo>
                    <a:lnTo>
                      <a:pt x="262" y="3130"/>
                    </a:lnTo>
                    <a:lnTo>
                      <a:pt x="258" y="3132"/>
                    </a:lnTo>
                    <a:lnTo>
                      <a:pt x="258" y="3132"/>
                    </a:lnTo>
                    <a:lnTo>
                      <a:pt x="252" y="3136"/>
                    </a:lnTo>
                    <a:lnTo>
                      <a:pt x="250" y="3138"/>
                    </a:lnTo>
                    <a:lnTo>
                      <a:pt x="252" y="3140"/>
                    </a:lnTo>
                    <a:lnTo>
                      <a:pt x="252" y="3140"/>
                    </a:lnTo>
                    <a:lnTo>
                      <a:pt x="254" y="3142"/>
                    </a:lnTo>
                    <a:lnTo>
                      <a:pt x="254" y="3144"/>
                    </a:lnTo>
                    <a:lnTo>
                      <a:pt x="254" y="3146"/>
                    </a:lnTo>
                    <a:lnTo>
                      <a:pt x="256" y="3148"/>
                    </a:lnTo>
                    <a:lnTo>
                      <a:pt x="256" y="3148"/>
                    </a:lnTo>
                    <a:lnTo>
                      <a:pt x="258" y="3150"/>
                    </a:lnTo>
                    <a:lnTo>
                      <a:pt x="260" y="3154"/>
                    </a:lnTo>
                    <a:lnTo>
                      <a:pt x="258" y="3164"/>
                    </a:lnTo>
                    <a:lnTo>
                      <a:pt x="258" y="3164"/>
                    </a:lnTo>
                    <a:lnTo>
                      <a:pt x="256" y="3166"/>
                    </a:lnTo>
                    <a:lnTo>
                      <a:pt x="252" y="3164"/>
                    </a:lnTo>
                    <a:lnTo>
                      <a:pt x="250" y="3162"/>
                    </a:lnTo>
                    <a:lnTo>
                      <a:pt x="246" y="3162"/>
                    </a:lnTo>
                    <a:lnTo>
                      <a:pt x="246" y="3162"/>
                    </a:lnTo>
                    <a:lnTo>
                      <a:pt x="244" y="3164"/>
                    </a:lnTo>
                    <a:lnTo>
                      <a:pt x="242" y="3162"/>
                    </a:lnTo>
                    <a:lnTo>
                      <a:pt x="242" y="3162"/>
                    </a:lnTo>
                    <a:lnTo>
                      <a:pt x="238" y="3162"/>
                    </a:lnTo>
                    <a:lnTo>
                      <a:pt x="238" y="3162"/>
                    </a:lnTo>
                    <a:lnTo>
                      <a:pt x="236" y="3164"/>
                    </a:lnTo>
                    <a:lnTo>
                      <a:pt x="234" y="3168"/>
                    </a:lnTo>
                    <a:lnTo>
                      <a:pt x="236" y="3172"/>
                    </a:lnTo>
                    <a:lnTo>
                      <a:pt x="238" y="3178"/>
                    </a:lnTo>
                    <a:lnTo>
                      <a:pt x="238" y="3178"/>
                    </a:lnTo>
                    <a:lnTo>
                      <a:pt x="242" y="3184"/>
                    </a:lnTo>
                    <a:lnTo>
                      <a:pt x="244" y="3190"/>
                    </a:lnTo>
                    <a:lnTo>
                      <a:pt x="246" y="3194"/>
                    </a:lnTo>
                    <a:lnTo>
                      <a:pt x="248" y="3200"/>
                    </a:lnTo>
                    <a:lnTo>
                      <a:pt x="248" y="3200"/>
                    </a:lnTo>
                    <a:lnTo>
                      <a:pt x="250" y="3200"/>
                    </a:lnTo>
                    <a:lnTo>
                      <a:pt x="252" y="3200"/>
                    </a:lnTo>
                    <a:lnTo>
                      <a:pt x="254" y="3196"/>
                    </a:lnTo>
                    <a:lnTo>
                      <a:pt x="254" y="3190"/>
                    </a:lnTo>
                    <a:lnTo>
                      <a:pt x="252" y="3184"/>
                    </a:lnTo>
                    <a:lnTo>
                      <a:pt x="252" y="3184"/>
                    </a:lnTo>
                    <a:lnTo>
                      <a:pt x="250" y="3180"/>
                    </a:lnTo>
                    <a:lnTo>
                      <a:pt x="252" y="3178"/>
                    </a:lnTo>
                    <a:lnTo>
                      <a:pt x="254" y="3178"/>
                    </a:lnTo>
                    <a:lnTo>
                      <a:pt x="258" y="3182"/>
                    </a:lnTo>
                    <a:lnTo>
                      <a:pt x="258" y="3182"/>
                    </a:lnTo>
                    <a:lnTo>
                      <a:pt x="262" y="3184"/>
                    </a:lnTo>
                    <a:lnTo>
                      <a:pt x="262" y="3186"/>
                    </a:lnTo>
                    <a:lnTo>
                      <a:pt x="260" y="3186"/>
                    </a:lnTo>
                    <a:lnTo>
                      <a:pt x="258" y="3190"/>
                    </a:lnTo>
                    <a:lnTo>
                      <a:pt x="258" y="3190"/>
                    </a:lnTo>
                    <a:lnTo>
                      <a:pt x="258" y="3192"/>
                    </a:lnTo>
                    <a:lnTo>
                      <a:pt x="258" y="3194"/>
                    </a:lnTo>
                    <a:lnTo>
                      <a:pt x="258" y="3194"/>
                    </a:lnTo>
                    <a:lnTo>
                      <a:pt x="258" y="3198"/>
                    </a:lnTo>
                    <a:lnTo>
                      <a:pt x="258" y="3198"/>
                    </a:lnTo>
                    <a:lnTo>
                      <a:pt x="258" y="3202"/>
                    </a:lnTo>
                    <a:lnTo>
                      <a:pt x="258" y="3206"/>
                    </a:lnTo>
                    <a:lnTo>
                      <a:pt x="260" y="3208"/>
                    </a:lnTo>
                    <a:lnTo>
                      <a:pt x="266" y="3208"/>
                    </a:lnTo>
                    <a:lnTo>
                      <a:pt x="266" y="3208"/>
                    </a:lnTo>
                    <a:lnTo>
                      <a:pt x="270" y="3208"/>
                    </a:lnTo>
                    <a:lnTo>
                      <a:pt x="272" y="3206"/>
                    </a:lnTo>
                    <a:lnTo>
                      <a:pt x="274" y="3200"/>
                    </a:lnTo>
                    <a:lnTo>
                      <a:pt x="274" y="3194"/>
                    </a:lnTo>
                    <a:lnTo>
                      <a:pt x="276" y="3192"/>
                    </a:lnTo>
                    <a:lnTo>
                      <a:pt x="276" y="3192"/>
                    </a:lnTo>
                    <a:lnTo>
                      <a:pt x="276" y="3190"/>
                    </a:lnTo>
                    <a:lnTo>
                      <a:pt x="276" y="3188"/>
                    </a:lnTo>
                    <a:lnTo>
                      <a:pt x="276" y="3186"/>
                    </a:lnTo>
                    <a:lnTo>
                      <a:pt x="272" y="3186"/>
                    </a:lnTo>
                    <a:lnTo>
                      <a:pt x="272" y="318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sp>
            <p:nvSpPr>
              <p:cNvPr id="57" name="Freeform 5963"/>
              <p:cNvSpPr>
                <a:spLocks/>
              </p:cNvSpPr>
              <p:nvPr/>
            </p:nvSpPr>
            <p:spPr bwMode="auto">
              <a:xfrm>
                <a:off x="4301831" y="1967427"/>
                <a:ext cx="6637" cy="3318"/>
              </a:xfrm>
              <a:custGeom>
                <a:avLst/>
                <a:gdLst>
                  <a:gd name="T0" fmla="*/ 2147483647 w 8"/>
                  <a:gd name="T1" fmla="*/ 2147483647 h 6"/>
                  <a:gd name="T2" fmla="*/ 2147483647 w 8"/>
                  <a:gd name="T3" fmla="*/ 2147483647 h 6"/>
                  <a:gd name="T4" fmla="*/ 2147483647 w 8"/>
                  <a:gd name="T5" fmla="*/ 2147483647 h 6"/>
                  <a:gd name="T6" fmla="*/ 2147483647 w 8"/>
                  <a:gd name="T7" fmla="*/ 2147483647 h 6"/>
                  <a:gd name="T8" fmla="*/ 2147483647 w 8"/>
                  <a:gd name="T9" fmla="*/ 2147483647 h 6"/>
                  <a:gd name="T10" fmla="*/ 2147483647 w 8"/>
                  <a:gd name="T11" fmla="*/ 0 h 6"/>
                  <a:gd name="T12" fmla="*/ 2147483647 w 8"/>
                  <a:gd name="T13" fmla="*/ 0 h 6"/>
                  <a:gd name="T14" fmla="*/ 2147483647 w 8"/>
                  <a:gd name="T15" fmla="*/ 0 h 6"/>
                  <a:gd name="T16" fmla="*/ 2147483647 w 8"/>
                  <a:gd name="T17" fmla="*/ 2147483647 h 6"/>
                  <a:gd name="T18" fmla="*/ 0 w 8"/>
                  <a:gd name="T19" fmla="*/ 2147483647 h 6"/>
                  <a:gd name="T20" fmla="*/ 2147483647 w 8"/>
                  <a:gd name="T21" fmla="*/ 2147483647 h 6"/>
                  <a:gd name="T22" fmla="*/ 2147483647 w 8"/>
                  <a:gd name="T23" fmla="*/ 2147483647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6"/>
                  <a:gd name="T38" fmla="*/ 8 w 8"/>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6">
                    <a:moveTo>
                      <a:pt x="2" y="6"/>
                    </a:moveTo>
                    <a:lnTo>
                      <a:pt x="2" y="6"/>
                    </a:lnTo>
                    <a:lnTo>
                      <a:pt x="4" y="6"/>
                    </a:lnTo>
                    <a:lnTo>
                      <a:pt x="6" y="4"/>
                    </a:lnTo>
                    <a:lnTo>
                      <a:pt x="8" y="2"/>
                    </a:lnTo>
                    <a:lnTo>
                      <a:pt x="8" y="0"/>
                    </a:lnTo>
                    <a:lnTo>
                      <a:pt x="4" y="0"/>
                    </a:lnTo>
                    <a:lnTo>
                      <a:pt x="2" y="2"/>
                    </a:lnTo>
                    <a:lnTo>
                      <a:pt x="0" y="4"/>
                    </a:lnTo>
                    <a:lnTo>
                      <a:pt x="2"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58" name="Freeform 5964"/>
              <p:cNvSpPr>
                <a:spLocks/>
              </p:cNvSpPr>
              <p:nvPr/>
            </p:nvSpPr>
            <p:spPr bwMode="auto">
              <a:xfrm>
                <a:off x="4281919" y="1990652"/>
                <a:ext cx="6637" cy="3318"/>
              </a:xfrm>
              <a:custGeom>
                <a:avLst/>
                <a:gdLst>
                  <a:gd name="T0" fmla="*/ 2147483647 w 10"/>
                  <a:gd name="T1" fmla="*/ 2147483647 h 8"/>
                  <a:gd name="T2" fmla="*/ 2147483647 w 10"/>
                  <a:gd name="T3" fmla="*/ 2147483647 h 8"/>
                  <a:gd name="T4" fmla="*/ 2147483647 w 10"/>
                  <a:gd name="T5" fmla="*/ 0 h 8"/>
                  <a:gd name="T6" fmla="*/ 2147483647 w 10"/>
                  <a:gd name="T7" fmla="*/ 0 h 8"/>
                  <a:gd name="T8" fmla="*/ 0 w 10"/>
                  <a:gd name="T9" fmla="*/ 2147483647 h 8"/>
                  <a:gd name="T10" fmla="*/ 0 w 10"/>
                  <a:gd name="T11" fmla="*/ 2147483647 h 8"/>
                  <a:gd name="T12" fmla="*/ 0 w 10"/>
                  <a:gd name="T13" fmla="*/ 2147483647 h 8"/>
                  <a:gd name="T14" fmla="*/ 2147483647 w 10"/>
                  <a:gd name="T15" fmla="*/ 2147483647 h 8"/>
                  <a:gd name="T16" fmla="*/ 2147483647 w 10"/>
                  <a:gd name="T17" fmla="*/ 2147483647 h 8"/>
                  <a:gd name="T18" fmla="*/ 2147483647 w 10"/>
                  <a:gd name="T19" fmla="*/ 2147483647 h 8"/>
                  <a:gd name="T20" fmla="*/ 2147483647 w 10"/>
                  <a:gd name="T21" fmla="*/ 2147483647 h 8"/>
                  <a:gd name="T22" fmla="*/ 2147483647 w 10"/>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8"/>
                  <a:gd name="T38" fmla="*/ 10 w 10"/>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8">
                    <a:moveTo>
                      <a:pt x="10" y="2"/>
                    </a:moveTo>
                    <a:lnTo>
                      <a:pt x="10" y="2"/>
                    </a:lnTo>
                    <a:lnTo>
                      <a:pt x="8" y="0"/>
                    </a:lnTo>
                    <a:lnTo>
                      <a:pt x="4" y="0"/>
                    </a:lnTo>
                    <a:lnTo>
                      <a:pt x="0" y="4"/>
                    </a:lnTo>
                    <a:lnTo>
                      <a:pt x="0" y="6"/>
                    </a:lnTo>
                    <a:lnTo>
                      <a:pt x="2" y="8"/>
                    </a:lnTo>
                    <a:lnTo>
                      <a:pt x="6" y="6"/>
                    </a:lnTo>
                    <a:lnTo>
                      <a:pt x="10" y="4"/>
                    </a:lnTo>
                    <a:lnTo>
                      <a:pt x="1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59" name="Freeform 5965"/>
              <p:cNvSpPr>
                <a:spLocks/>
              </p:cNvSpPr>
              <p:nvPr/>
            </p:nvSpPr>
            <p:spPr bwMode="auto">
              <a:xfrm>
                <a:off x="4296852" y="1977380"/>
                <a:ext cx="8297" cy="4977"/>
              </a:xfrm>
              <a:custGeom>
                <a:avLst/>
                <a:gdLst>
                  <a:gd name="T0" fmla="*/ 0 w 14"/>
                  <a:gd name="T1" fmla="*/ 2147483647 h 8"/>
                  <a:gd name="T2" fmla="*/ 0 w 14"/>
                  <a:gd name="T3" fmla="*/ 2147483647 h 8"/>
                  <a:gd name="T4" fmla="*/ 0 w 14"/>
                  <a:gd name="T5" fmla="*/ 2147483647 h 8"/>
                  <a:gd name="T6" fmla="*/ 0 w 14"/>
                  <a:gd name="T7" fmla="*/ 2147483647 h 8"/>
                  <a:gd name="T8" fmla="*/ 2147483647 w 14"/>
                  <a:gd name="T9" fmla="*/ 2147483647 h 8"/>
                  <a:gd name="T10" fmla="*/ 2147483647 w 14"/>
                  <a:gd name="T11" fmla="*/ 2147483647 h 8"/>
                  <a:gd name="T12" fmla="*/ 2147483647 w 14"/>
                  <a:gd name="T13" fmla="*/ 2147483647 h 8"/>
                  <a:gd name="T14" fmla="*/ 2147483647 w 14"/>
                  <a:gd name="T15" fmla="*/ 0 h 8"/>
                  <a:gd name="T16" fmla="*/ 2147483647 w 14"/>
                  <a:gd name="T17" fmla="*/ 0 h 8"/>
                  <a:gd name="T18" fmla="*/ 2147483647 w 14"/>
                  <a:gd name="T19" fmla="*/ 0 h 8"/>
                  <a:gd name="T20" fmla="*/ 2147483647 w 14"/>
                  <a:gd name="T21" fmla="*/ 2147483647 h 8"/>
                  <a:gd name="T22" fmla="*/ 0 w 14"/>
                  <a:gd name="T23" fmla="*/ 2147483647 h 8"/>
                  <a:gd name="T24" fmla="*/ 0 w 14"/>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8"/>
                  <a:gd name="T41" fmla="*/ 14 w 1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8">
                    <a:moveTo>
                      <a:pt x="0" y="6"/>
                    </a:moveTo>
                    <a:lnTo>
                      <a:pt x="0" y="6"/>
                    </a:lnTo>
                    <a:lnTo>
                      <a:pt x="0" y="8"/>
                    </a:lnTo>
                    <a:lnTo>
                      <a:pt x="8" y="6"/>
                    </a:lnTo>
                    <a:lnTo>
                      <a:pt x="14" y="2"/>
                    </a:lnTo>
                    <a:lnTo>
                      <a:pt x="12" y="0"/>
                    </a:lnTo>
                    <a:lnTo>
                      <a:pt x="4" y="0"/>
                    </a:lnTo>
                    <a:lnTo>
                      <a:pt x="2" y="2"/>
                    </a:lnTo>
                    <a:lnTo>
                      <a:pt x="0"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0" name="Freeform 5966"/>
              <p:cNvSpPr>
                <a:spLocks/>
              </p:cNvSpPr>
              <p:nvPr/>
            </p:nvSpPr>
            <p:spPr bwMode="auto">
              <a:xfrm>
                <a:off x="4286897" y="2010559"/>
                <a:ext cx="6637" cy="3318"/>
              </a:xfrm>
              <a:custGeom>
                <a:avLst/>
                <a:gdLst>
                  <a:gd name="T0" fmla="*/ 2147483647 w 14"/>
                  <a:gd name="T1" fmla="*/ 2147483647 h 8"/>
                  <a:gd name="T2" fmla="*/ 2147483647 w 14"/>
                  <a:gd name="T3" fmla="*/ 2147483647 h 8"/>
                  <a:gd name="T4" fmla="*/ 2147483647 w 14"/>
                  <a:gd name="T5" fmla="*/ 2147483647 h 8"/>
                  <a:gd name="T6" fmla="*/ 2147483647 w 14"/>
                  <a:gd name="T7" fmla="*/ 2147483647 h 8"/>
                  <a:gd name="T8" fmla="*/ 2147483647 w 14"/>
                  <a:gd name="T9" fmla="*/ 0 h 8"/>
                  <a:gd name="T10" fmla="*/ 2147483647 w 14"/>
                  <a:gd name="T11" fmla="*/ 2147483647 h 8"/>
                  <a:gd name="T12" fmla="*/ 2147483647 w 14"/>
                  <a:gd name="T13" fmla="*/ 2147483647 h 8"/>
                  <a:gd name="T14" fmla="*/ 2147483647 w 14"/>
                  <a:gd name="T15" fmla="*/ 2147483647 h 8"/>
                  <a:gd name="T16" fmla="*/ 2147483647 w 14"/>
                  <a:gd name="T17" fmla="*/ 2147483647 h 8"/>
                  <a:gd name="T18" fmla="*/ 2147483647 w 14"/>
                  <a:gd name="T19" fmla="*/ 2147483647 h 8"/>
                  <a:gd name="T20" fmla="*/ 0 w 14"/>
                  <a:gd name="T21" fmla="*/ 2147483647 h 8"/>
                  <a:gd name="T22" fmla="*/ 2147483647 w 14"/>
                  <a:gd name="T23" fmla="*/ 2147483647 h 8"/>
                  <a:gd name="T24" fmla="*/ 2147483647 w 14"/>
                  <a:gd name="T25" fmla="*/ 2147483647 h 8"/>
                  <a:gd name="T26" fmla="*/ 2147483647 w 14"/>
                  <a:gd name="T27" fmla="*/ 2147483647 h 8"/>
                  <a:gd name="T28" fmla="*/ 2147483647 w 14"/>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8"/>
                  <a:gd name="T47" fmla="*/ 14 w 14"/>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8">
                    <a:moveTo>
                      <a:pt x="12" y="6"/>
                    </a:moveTo>
                    <a:lnTo>
                      <a:pt x="12" y="6"/>
                    </a:lnTo>
                    <a:lnTo>
                      <a:pt x="14" y="4"/>
                    </a:lnTo>
                    <a:lnTo>
                      <a:pt x="14" y="2"/>
                    </a:lnTo>
                    <a:lnTo>
                      <a:pt x="10" y="0"/>
                    </a:lnTo>
                    <a:lnTo>
                      <a:pt x="6" y="2"/>
                    </a:lnTo>
                    <a:lnTo>
                      <a:pt x="6" y="4"/>
                    </a:lnTo>
                    <a:lnTo>
                      <a:pt x="2" y="6"/>
                    </a:lnTo>
                    <a:lnTo>
                      <a:pt x="0" y="8"/>
                    </a:lnTo>
                    <a:lnTo>
                      <a:pt x="4" y="8"/>
                    </a:lnTo>
                    <a:lnTo>
                      <a:pt x="8" y="8"/>
                    </a:lnTo>
                    <a:lnTo>
                      <a:pt x="12"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1" name="Freeform 5967"/>
              <p:cNvSpPr>
                <a:spLocks/>
              </p:cNvSpPr>
              <p:nvPr/>
            </p:nvSpPr>
            <p:spPr bwMode="auto">
              <a:xfrm>
                <a:off x="4288557" y="1997288"/>
                <a:ext cx="8296" cy="11613"/>
              </a:xfrm>
              <a:custGeom>
                <a:avLst/>
                <a:gdLst>
                  <a:gd name="T0" fmla="*/ 2147483647 w 16"/>
                  <a:gd name="T1" fmla="*/ 2147483647 h 22"/>
                  <a:gd name="T2" fmla="*/ 2147483647 w 16"/>
                  <a:gd name="T3" fmla="*/ 2147483647 h 22"/>
                  <a:gd name="T4" fmla="*/ 2147483647 w 16"/>
                  <a:gd name="T5" fmla="*/ 0 h 22"/>
                  <a:gd name="T6" fmla="*/ 2147483647 w 16"/>
                  <a:gd name="T7" fmla="*/ 0 h 22"/>
                  <a:gd name="T8" fmla="*/ 2147483647 w 16"/>
                  <a:gd name="T9" fmla="*/ 2147483647 h 22"/>
                  <a:gd name="T10" fmla="*/ 2147483647 w 16"/>
                  <a:gd name="T11" fmla="*/ 2147483647 h 22"/>
                  <a:gd name="T12" fmla="*/ 2147483647 w 16"/>
                  <a:gd name="T13" fmla="*/ 2147483647 h 22"/>
                  <a:gd name="T14" fmla="*/ 2147483647 w 16"/>
                  <a:gd name="T15" fmla="*/ 2147483647 h 22"/>
                  <a:gd name="T16" fmla="*/ 2147483647 w 16"/>
                  <a:gd name="T17" fmla="*/ 2147483647 h 22"/>
                  <a:gd name="T18" fmla="*/ 2147483647 w 16"/>
                  <a:gd name="T19" fmla="*/ 2147483647 h 22"/>
                  <a:gd name="T20" fmla="*/ 2147483647 w 16"/>
                  <a:gd name="T21" fmla="*/ 2147483647 h 22"/>
                  <a:gd name="T22" fmla="*/ 2147483647 w 16"/>
                  <a:gd name="T23" fmla="*/ 2147483647 h 22"/>
                  <a:gd name="T24" fmla="*/ 0 w 16"/>
                  <a:gd name="T25" fmla="*/ 2147483647 h 22"/>
                  <a:gd name="T26" fmla="*/ 0 w 16"/>
                  <a:gd name="T27" fmla="*/ 2147483647 h 22"/>
                  <a:gd name="T28" fmla="*/ 2147483647 w 16"/>
                  <a:gd name="T29" fmla="*/ 2147483647 h 22"/>
                  <a:gd name="T30" fmla="*/ 2147483647 w 16"/>
                  <a:gd name="T31" fmla="*/ 2147483647 h 22"/>
                  <a:gd name="T32" fmla="*/ 2147483647 w 16"/>
                  <a:gd name="T33" fmla="*/ 2147483647 h 22"/>
                  <a:gd name="T34" fmla="*/ 2147483647 w 16"/>
                  <a:gd name="T35" fmla="*/ 2147483647 h 22"/>
                  <a:gd name="T36" fmla="*/ 2147483647 w 16"/>
                  <a:gd name="T37" fmla="*/ 2147483647 h 22"/>
                  <a:gd name="T38" fmla="*/ 2147483647 w 16"/>
                  <a:gd name="T39" fmla="*/ 2147483647 h 22"/>
                  <a:gd name="T40" fmla="*/ 2147483647 w 16"/>
                  <a:gd name="T41" fmla="*/ 2147483647 h 22"/>
                  <a:gd name="T42" fmla="*/ 2147483647 w 16"/>
                  <a:gd name="T43" fmla="*/ 2147483647 h 22"/>
                  <a:gd name="T44" fmla="*/ 2147483647 w 16"/>
                  <a:gd name="T45" fmla="*/ 2147483647 h 22"/>
                  <a:gd name="T46" fmla="*/ 2147483647 w 16"/>
                  <a:gd name="T47" fmla="*/ 2147483647 h 22"/>
                  <a:gd name="T48" fmla="*/ 2147483647 w 16"/>
                  <a:gd name="T49" fmla="*/ 2147483647 h 2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
                  <a:gd name="T76" fmla="*/ 0 h 22"/>
                  <a:gd name="T77" fmla="*/ 16 w 16"/>
                  <a:gd name="T78" fmla="*/ 22 h 2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 h="22">
                    <a:moveTo>
                      <a:pt x="14" y="6"/>
                    </a:moveTo>
                    <a:lnTo>
                      <a:pt x="14" y="6"/>
                    </a:lnTo>
                    <a:lnTo>
                      <a:pt x="10" y="0"/>
                    </a:lnTo>
                    <a:lnTo>
                      <a:pt x="8" y="0"/>
                    </a:lnTo>
                    <a:lnTo>
                      <a:pt x="8" y="4"/>
                    </a:lnTo>
                    <a:lnTo>
                      <a:pt x="6" y="8"/>
                    </a:lnTo>
                    <a:lnTo>
                      <a:pt x="4" y="10"/>
                    </a:lnTo>
                    <a:lnTo>
                      <a:pt x="2" y="14"/>
                    </a:lnTo>
                    <a:lnTo>
                      <a:pt x="2" y="18"/>
                    </a:lnTo>
                    <a:lnTo>
                      <a:pt x="0" y="20"/>
                    </a:lnTo>
                    <a:lnTo>
                      <a:pt x="0" y="22"/>
                    </a:lnTo>
                    <a:lnTo>
                      <a:pt x="2" y="22"/>
                    </a:lnTo>
                    <a:lnTo>
                      <a:pt x="6" y="22"/>
                    </a:lnTo>
                    <a:lnTo>
                      <a:pt x="6" y="18"/>
                    </a:lnTo>
                    <a:lnTo>
                      <a:pt x="8" y="16"/>
                    </a:lnTo>
                    <a:lnTo>
                      <a:pt x="10" y="14"/>
                    </a:lnTo>
                    <a:lnTo>
                      <a:pt x="14" y="12"/>
                    </a:lnTo>
                    <a:lnTo>
                      <a:pt x="16" y="10"/>
                    </a:lnTo>
                    <a:lnTo>
                      <a:pt x="14"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2" name="Freeform 5968"/>
              <p:cNvSpPr>
                <a:spLocks/>
              </p:cNvSpPr>
              <p:nvPr/>
            </p:nvSpPr>
            <p:spPr bwMode="auto">
              <a:xfrm>
                <a:off x="4276941" y="2012219"/>
                <a:ext cx="8297" cy="3318"/>
              </a:xfrm>
              <a:custGeom>
                <a:avLst/>
                <a:gdLst>
                  <a:gd name="T0" fmla="*/ 0 w 12"/>
                  <a:gd name="T1" fmla="*/ 2147483647 h 6"/>
                  <a:gd name="T2" fmla="*/ 0 w 12"/>
                  <a:gd name="T3" fmla="*/ 2147483647 h 6"/>
                  <a:gd name="T4" fmla="*/ 0 w 12"/>
                  <a:gd name="T5" fmla="*/ 2147483647 h 6"/>
                  <a:gd name="T6" fmla="*/ 2147483647 w 12"/>
                  <a:gd name="T7" fmla="*/ 2147483647 h 6"/>
                  <a:gd name="T8" fmla="*/ 2147483647 w 12"/>
                  <a:gd name="T9" fmla="*/ 2147483647 h 6"/>
                  <a:gd name="T10" fmla="*/ 2147483647 w 12"/>
                  <a:gd name="T11" fmla="*/ 2147483647 h 6"/>
                  <a:gd name="T12" fmla="*/ 2147483647 w 12"/>
                  <a:gd name="T13" fmla="*/ 2147483647 h 6"/>
                  <a:gd name="T14" fmla="*/ 2147483647 w 12"/>
                  <a:gd name="T15" fmla="*/ 0 h 6"/>
                  <a:gd name="T16" fmla="*/ 2147483647 w 12"/>
                  <a:gd name="T17" fmla="*/ 2147483647 h 6"/>
                  <a:gd name="T18" fmla="*/ 0 w 12"/>
                  <a:gd name="T19" fmla="*/ 2147483647 h 6"/>
                  <a:gd name="T20" fmla="*/ 0 w 12"/>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6"/>
                  <a:gd name="T35" fmla="*/ 12 w 12"/>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6">
                    <a:moveTo>
                      <a:pt x="0" y="4"/>
                    </a:moveTo>
                    <a:lnTo>
                      <a:pt x="0" y="4"/>
                    </a:lnTo>
                    <a:lnTo>
                      <a:pt x="0" y="6"/>
                    </a:lnTo>
                    <a:lnTo>
                      <a:pt x="2" y="6"/>
                    </a:lnTo>
                    <a:lnTo>
                      <a:pt x="10" y="4"/>
                    </a:lnTo>
                    <a:lnTo>
                      <a:pt x="12" y="2"/>
                    </a:lnTo>
                    <a:lnTo>
                      <a:pt x="8" y="0"/>
                    </a:lnTo>
                    <a:lnTo>
                      <a:pt x="4" y="2"/>
                    </a:lnTo>
                    <a:lnTo>
                      <a:pt x="0"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3" name="Freeform 5969"/>
              <p:cNvSpPr>
                <a:spLocks/>
              </p:cNvSpPr>
              <p:nvPr/>
            </p:nvSpPr>
            <p:spPr bwMode="auto">
              <a:xfrm>
                <a:off x="4295194" y="1970745"/>
                <a:ext cx="6637" cy="6636"/>
              </a:xfrm>
              <a:custGeom>
                <a:avLst/>
                <a:gdLst>
                  <a:gd name="T0" fmla="*/ 2147483647 w 12"/>
                  <a:gd name="T1" fmla="*/ 2147483647 h 12"/>
                  <a:gd name="T2" fmla="*/ 2147483647 w 12"/>
                  <a:gd name="T3" fmla="*/ 2147483647 h 12"/>
                  <a:gd name="T4" fmla="*/ 2147483647 w 12"/>
                  <a:gd name="T5" fmla="*/ 2147483647 h 12"/>
                  <a:gd name="T6" fmla="*/ 2147483647 w 12"/>
                  <a:gd name="T7" fmla="*/ 2147483647 h 12"/>
                  <a:gd name="T8" fmla="*/ 0 w 12"/>
                  <a:gd name="T9" fmla="*/ 2147483647 h 12"/>
                  <a:gd name="T10" fmla="*/ 2147483647 w 12"/>
                  <a:gd name="T11" fmla="*/ 2147483647 h 12"/>
                  <a:gd name="T12" fmla="*/ 2147483647 w 12"/>
                  <a:gd name="T13" fmla="*/ 2147483647 h 12"/>
                  <a:gd name="T14" fmla="*/ 2147483647 w 12"/>
                  <a:gd name="T15" fmla="*/ 2147483647 h 12"/>
                  <a:gd name="T16" fmla="*/ 2147483647 w 12"/>
                  <a:gd name="T17" fmla="*/ 2147483647 h 12"/>
                  <a:gd name="T18" fmla="*/ 2147483647 w 12"/>
                  <a:gd name="T19" fmla="*/ 2147483647 h 12"/>
                  <a:gd name="T20" fmla="*/ 2147483647 w 12"/>
                  <a:gd name="T21" fmla="*/ 2147483647 h 12"/>
                  <a:gd name="T22" fmla="*/ 2147483647 w 12"/>
                  <a:gd name="T23" fmla="*/ 2147483647 h 12"/>
                  <a:gd name="T24" fmla="*/ 2147483647 w 12"/>
                  <a:gd name="T25" fmla="*/ 0 h 12"/>
                  <a:gd name="T26" fmla="*/ 2147483647 w 12"/>
                  <a:gd name="T27" fmla="*/ 2147483647 h 12"/>
                  <a:gd name="T28" fmla="*/ 2147483647 w 12"/>
                  <a:gd name="T29" fmla="*/ 2147483647 h 12"/>
                  <a:gd name="T30" fmla="*/ 2147483647 w 12"/>
                  <a:gd name="T31" fmla="*/ 2147483647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12"/>
                  <a:gd name="T50" fmla="*/ 12 w 12"/>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12">
                    <a:moveTo>
                      <a:pt x="4" y="2"/>
                    </a:moveTo>
                    <a:lnTo>
                      <a:pt x="4" y="2"/>
                    </a:lnTo>
                    <a:lnTo>
                      <a:pt x="4" y="6"/>
                    </a:lnTo>
                    <a:lnTo>
                      <a:pt x="2" y="10"/>
                    </a:lnTo>
                    <a:lnTo>
                      <a:pt x="0" y="12"/>
                    </a:lnTo>
                    <a:lnTo>
                      <a:pt x="2" y="12"/>
                    </a:lnTo>
                    <a:lnTo>
                      <a:pt x="8" y="10"/>
                    </a:lnTo>
                    <a:lnTo>
                      <a:pt x="10" y="8"/>
                    </a:lnTo>
                    <a:lnTo>
                      <a:pt x="12" y="4"/>
                    </a:lnTo>
                    <a:lnTo>
                      <a:pt x="12" y="2"/>
                    </a:lnTo>
                    <a:lnTo>
                      <a:pt x="8" y="0"/>
                    </a:lnTo>
                    <a:lnTo>
                      <a:pt x="6" y="2"/>
                    </a:lnTo>
                    <a:lnTo>
                      <a:pt x="4"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4" name="Freeform 5970"/>
              <p:cNvSpPr>
                <a:spLocks/>
              </p:cNvSpPr>
              <p:nvPr/>
            </p:nvSpPr>
            <p:spPr bwMode="auto">
              <a:xfrm>
                <a:off x="3226617" y="3963147"/>
                <a:ext cx="4977" cy="6636"/>
              </a:xfrm>
              <a:custGeom>
                <a:avLst/>
                <a:gdLst>
                  <a:gd name="T0" fmla="*/ 2147483647 w 10"/>
                  <a:gd name="T1" fmla="*/ 2147483647 h 14"/>
                  <a:gd name="T2" fmla="*/ 2147483647 w 10"/>
                  <a:gd name="T3" fmla="*/ 2147483647 h 14"/>
                  <a:gd name="T4" fmla="*/ 0 w 10"/>
                  <a:gd name="T5" fmla="*/ 2147483647 h 14"/>
                  <a:gd name="T6" fmla="*/ 2147483647 w 10"/>
                  <a:gd name="T7" fmla="*/ 2147483647 h 14"/>
                  <a:gd name="T8" fmla="*/ 2147483647 w 10"/>
                  <a:gd name="T9" fmla="*/ 2147483647 h 14"/>
                  <a:gd name="T10" fmla="*/ 2147483647 w 10"/>
                  <a:gd name="T11" fmla="*/ 2147483647 h 14"/>
                  <a:gd name="T12" fmla="*/ 2147483647 w 10"/>
                  <a:gd name="T13" fmla="*/ 2147483647 h 14"/>
                  <a:gd name="T14" fmla="*/ 2147483647 w 10"/>
                  <a:gd name="T15" fmla="*/ 2147483647 h 14"/>
                  <a:gd name="T16" fmla="*/ 2147483647 w 10"/>
                  <a:gd name="T17" fmla="*/ 2147483647 h 14"/>
                  <a:gd name="T18" fmla="*/ 2147483647 w 10"/>
                  <a:gd name="T19" fmla="*/ 2147483647 h 14"/>
                  <a:gd name="T20" fmla="*/ 2147483647 w 10"/>
                  <a:gd name="T21" fmla="*/ 2147483647 h 14"/>
                  <a:gd name="T22" fmla="*/ 2147483647 w 10"/>
                  <a:gd name="T23" fmla="*/ 0 h 14"/>
                  <a:gd name="T24" fmla="*/ 2147483647 w 10"/>
                  <a:gd name="T25" fmla="*/ 2147483647 h 14"/>
                  <a:gd name="T26" fmla="*/ 2147483647 w 10"/>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4"/>
                  <a:gd name="T44" fmla="*/ 10 w 1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4">
                    <a:moveTo>
                      <a:pt x="2" y="2"/>
                    </a:moveTo>
                    <a:lnTo>
                      <a:pt x="2" y="2"/>
                    </a:lnTo>
                    <a:lnTo>
                      <a:pt x="0" y="4"/>
                    </a:lnTo>
                    <a:lnTo>
                      <a:pt x="2" y="8"/>
                    </a:lnTo>
                    <a:lnTo>
                      <a:pt x="6" y="12"/>
                    </a:lnTo>
                    <a:lnTo>
                      <a:pt x="8" y="14"/>
                    </a:lnTo>
                    <a:lnTo>
                      <a:pt x="10" y="12"/>
                    </a:lnTo>
                    <a:lnTo>
                      <a:pt x="10" y="10"/>
                    </a:lnTo>
                    <a:lnTo>
                      <a:pt x="8" y="6"/>
                    </a:lnTo>
                    <a:lnTo>
                      <a:pt x="6" y="2"/>
                    </a:lnTo>
                    <a:lnTo>
                      <a:pt x="4" y="0"/>
                    </a:lnTo>
                    <a:lnTo>
                      <a:pt x="2"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5" name="Freeform 5971"/>
              <p:cNvSpPr>
                <a:spLocks/>
              </p:cNvSpPr>
              <p:nvPr/>
            </p:nvSpPr>
            <p:spPr bwMode="auto">
              <a:xfrm>
                <a:off x="4339994" y="2723909"/>
                <a:ext cx="4978" cy="18249"/>
              </a:xfrm>
              <a:custGeom>
                <a:avLst/>
                <a:gdLst>
                  <a:gd name="T0" fmla="*/ 0 w 10"/>
                  <a:gd name="T1" fmla="*/ 2147483647 h 32"/>
                  <a:gd name="T2" fmla="*/ 0 w 10"/>
                  <a:gd name="T3" fmla="*/ 2147483647 h 32"/>
                  <a:gd name="T4" fmla="*/ 0 w 10"/>
                  <a:gd name="T5" fmla="*/ 2147483647 h 32"/>
                  <a:gd name="T6" fmla="*/ 2147483647 w 10"/>
                  <a:gd name="T7" fmla="*/ 2147483647 h 32"/>
                  <a:gd name="T8" fmla="*/ 2147483647 w 10"/>
                  <a:gd name="T9" fmla="*/ 2147483647 h 32"/>
                  <a:gd name="T10" fmla="*/ 2147483647 w 10"/>
                  <a:gd name="T11" fmla="*/ 2147483647 h 32"/>
                  <a:gd name="T12" fmla="*/ 2147483647 w 10"/>
                  <a:gd name="T13" fmla="*/ 2147483647 h 32"/>
                  <a:gd name="T14" fmla="*/ 2147483647 w 10"/>
                  <a:gd name="T15" fmla="*/ 2147483647 h 32"/>
                  <a:gd name="T16" fmla="*/ 2147483647 w 10"/>
                  <a:gd name="T17" fmla="*/ 2147483647 h 32"/>
                  <a:gd name="T18" fmla="*/ 2147483647 w 10"/>
                  <a:gd name="T19" fmla="*/ 2147483647 h 32"/>
                  <a:gd name="T20" fmla="*/ 2147483647 w 10"/>
                  <a:gd name="T21" fmla="*/ 2147483647 h 32"/>
                  <a:gd name="T22" fmla="*/ 2147483647 w 10"/>
                  <a:gd name="T23" fmla="*/ 0 h 32"/>
                  <a:gd name="T24" fmla="*/ 0 w 10"/>
                  <a:gd name="T25" fmla="*/ 0 h 32"/>
                  <a:gd name="T26" fmla="*/ 0 w 10"/>
                  <a:gd name="T27" fmla="*/ 2147483647 h 32"/>
                  <a:gd name="T28" fmla="*/ 2147483647 w 10"/>
                  <a:gd name="T29" fmla="*/ 2147483647 h 32"/>
                  <a:gd name="T30" fmla="*/ 2147483647 w 10"/>
                  <a:gd name="T31" fmla="*/ 2147483647 h 32"/>
                  <a:gd name="T32" fmla="*/ 2147483647 w 10"/>
                  <a:gd name="T33" fmla="*/ 2147483647 h 32"/>
                  <a:gd name="T34" fmla="*/ 2147483647 w 10"/>
                  <a:gd name="T35" fmla="*/ 2147483647 h 32"/>
                  <a:gd name="T36" fmla="*/ 0 w 10"/>
                  <a:gd name="T37" fmla="*/ 2147483647 h 32"/>
                  <a:gd name="T38" fmla="*/ 0 w 10"/>
                  <a:gd name="T39" fmla="*/ 2147483647 h 3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
                  <a:gd name="T61" fmla="*/ 0 h 32"/>
                  <a:gd name="T62" fmla="*/ 10 w 10"/>
                  <a:gd name="T63" fmla="*/ 32 h 3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 h="32">
                    <a:moveTo>
                      <a:pt x="0" y="14"/>
                    </a:moveTo>
                    <a:lnTo>
                      <a:pt x="0" y="14"/>
                    </a:lnTo>
                    <a:lnTo>
                      <a:pt x="0" y="18"/>
                    </a:lnTo>
                    <a:lnTo>
                      <a:pt x="2" y="22"/>
                    </a:lnTo>
                    <a:lnTo>
                      <a:pt x="8" y="32"/>
                    </a:lnTo>
                    <a:lnTo>
                      <a:pt x="10" y="30"/>
                    </a:lnTo>
                    <a:lnTo>
                      <a:pt x="10" y="28"/>
                    </a:lnTo>
                    <a:lnTo>
                      <a:pt x="8" y="20"/>
                    </a:lnTo>
                    <a:lnTo>
                      <a:pt x="4" y="2"/>
                    </a:lnTo>
                    <a:lnTo>
                      <a:pt x="2" y="0"/>
                    </a:lnTo>
                    <a:lnTo>
                      <a:pt x="0" y="0"/>
                    </a:lnTo>
                    <a:lnTo>
                      <a:pt x="0" y="4"/>
                    </a:lnTo>
                    <a:lnTo>
                      <a:pt x="2" y="10"/>
                    </a:lnTo>
                    <a:lnTo>
                      <a:pt x="2" y="14"/>
                    </a:lnTo>
                    <a:lnTo>
                      <a:pt x="0" y="1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6" name="Freeform 5972"/>
              <p:cNvSpPr>
                <a:spLocks/>
              </p:cNvSpPr>
              <p:nvPr/>
            </p:nvSpPr>
            <p:spPr bwMode="auto">
              <a:xfrm>
                <a:off x="4344972" y="2722250"/>
                <a:ext cx="6637" cy="8294"/>
              </a:xfrm>
              <a:custGeom>
                <a:avLst/>
                <a:gdLst>
                  <a:gd name="T0" fmla="*/ 2147483647 w 12"/>
                  <a:gd name="T1" fmla="*/ 2147483647 h 14"/>
                  <a:gd name="T2" fmla="*/ 2147483647 w 12"/>
                  <a:gd name="T3" fmla="*/ 2147483647 h 14"/>
                  <a:gd name="T4" fmla="*/ 2147483647 w 12"/>
                  <a:gd name="T5" fmla="*/ 2147483647 h 14"/>
                  <a:gd name="T6" fmla="*/ 2147483647 w 12"/>
                  <a:gd name="T7" fmla="*/ 2147483647 h 14"/>
                  <a:gd name="T8" fmla="*/ 2147483647 w 12"/>
                  <a:gd name="T9" fmla="*/ 0 h 14"/>
                  <a:gd name="T10" fmla="*/ 2147483647 w 12"/>
                  <a:gd name="T11" fmla="*/ 0 h 14"/>
                  <a:gd name="T12" fmla="*/ 0 w 12"/>
                  <a:gd name="T13" fmla="*/ 0 h 14"/>
                  <a:gd name="T14" fmla="*/ 0 w 12"/>
                  <a:gd name="T15" fmla="*/ 2147483647 h 14"/>
                  <a:gd name="T16" fmla="*/ 0 w 12"/>
                  <a:gd name="T17" fmla="*/ 2147483647 h 14"/>
                  <a:gd name="T18" fmla="*/ 0 w 12"/>
                  <a:gd name="T19" fmla="*/ 2147483647 h 14"/>
                  <a:gd name="T20" fmla="*/ 0 w 12"/>
                  <a:gd name="T21" fmla="*/ 2147483647 h 14"/>
                  <a:gd name="T22" fmla="*/ 0 w 12"/>
                  <a:gd name="T23" fmla="*/ 2147483647 h 14"/>
                  <a:gd name="T24" fmla="*/ 2147483647 w 12"/>
                  <a:gd name="T25" fmla="*/ 2147483647 h 14"/>
                  <a:gd name="T26" fmla="*/ 2147483647 w 12"/>
                  <a:gd name="T27" fmla="*/ 2147483647 h 14"/>
                  <a:gd name="T28" fmla="*/ 2147483647 w 12"/>
                  <a:gd name="T29" fmla="*/ 2147483647 h 14"/>
                  <a:gd name="T30" fmla="*/ 2147483647 w 12"/>
                  <a:gd name="T31" fmla="*/ 2147483647 h 14"/>
                  <a:gd name="T32" fmla="*/ 2147483647 w 12"/>
                  <a:gd name="T33" fmla="*/ 2147483647 h 14"/>
                  <a:gd name="T34" fmla="*/ 2147483647 w 12"/>
                  <a:gd name="T35" fmla="*/ 2147483647 h 14"/>
                  <a:gd name="T36" fmla="*/ 2147483647 w 12"/>
                  <a:gd name="T37" fmla="*/ 2147483647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
                  <a:gd name="T58" fmla="*/ 0 h 14"/>
                  <a:gd name="T59" fmla="*/ 12 w 12"/>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 h="14">
                    <a:moveTo>
                      <a:pt x="8" y="8"/>
                    </a:moveTo>
                    <a:lnTo>
                      <a:pt x="8" y="8"/>
                    </a:lnTo>
                    <a:lnTo>
                      <a:pt x="4" y="4"/>
                    </a:lnTo>
                    <a:lnTo>
                      <a:pt x="4" y="2"/>
                    </a:lnTo>
                    <a:lnTo>
                      <a:pt x="2" y="0"/>
                    </a:lnTo>
                    <a:lnTo>
                      <a:pt x="0" y="0"/>
                    </a:lnTo>
                    <a:lnTo>
                      <a:pt x="0" y="2"/>
                    </a:lnTo>
                    <a:lnTo>
                      <a:pt x="0" y="4"/>
                    </a:lnTo>
                    <a:lnTo>
                      <a:pt x="0" y="6"/>
                    </a:lnTo>
                    <a:lnTo>
                      <a:pt x="0" y="8"/>
                    </a:lnTo>
                    <a:lnTo>
                      <a:pt x="2" y="12"/>
                    </a:lnTo>
                    <a:lnTo>
                      <a:pt x="6" y="14"/>
                    </a:lnTo>
                    <a:lnTo>
                      <a:pt x="12" y="14"/>
                    </a:lnTo>
                    <a:lnTo>
                      <a:pt x="12" y="12"/>
                    </a:lnTo>
                    <a:lnTo>
                      <a:pt x="8"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7" name="Freeform 5973"/>
              <p:cNvSpPr>
                <a:spLocks/>
              </p:cNvSpPr>
              <p:nvPr/>
            </p:nvSpPr>
            <p:spPr bwMode="auto">
              <a:xfrm>
                <a:off x="4348291" y="2740498"/>
                <a:ext cx="13274" cy="9954"/>
              </a:xfrm>
              <a:custGeom>
                <a:avLst/>
                <a:gdLst>
                  <a:gd name="T0" fmla="*/ 2147483647 w 18"/>
                  <a:gd name="T1" fmla="*/ 2147483647 h 20"/>
                  <a:gd name="T2" fmla="*/ 2147483647 w 18"/>
                  <a:gd name="T3" fmla="*/ 2147483647 h 20"/>
                  <a:gd name="T4" fmla="*/ 2147483647 w 18"/>
                  <a:gd name="T5" fmla="*/ 2147483647 h 20"/>
                  <a:gd name="T6" fmla="*/ 2147483647 w 18"/>
                  <a:gd name="T7" fmla="*/ 2147483647 h 20"/>
                  <a:gd name="T8" fmla="*/ 2147483647 w 18"/>
                  <a:gd name="T9" fmla="*/ 2147483647 h 20"/>
                  <a:gd name="T10" fmla="*/ 2147483647 w 18"/>
                  <a:gd name="T11" fmla="*/ 2147483647 h 20"/>
                  <a:gd name="T12" fmla="*/ 0 w 18"/>
                  <a:gd name="T13" fmla="*/ 0 h 20"/>
                  <a:gd name="T14" fmla="*/ 0 w 18"/>
                  <a:gd name="T15" fmla="*/ 0 h 20"/>
                  <a:gd name="T16" fmla="*/ 0 w 18"/>
                  <a:gd name="T17" fmla="*/ 2147483647 h 20"/>
                  <a:gd name="T18" fmla="*/ 0 w 18"/>
                  <a:gd name="T19" fmla="*/ 2147483647 h 20"/>
                  <a:gd name="T20" fmla="*/ 2147483647 w 18"/>
                  <a:gd name="T21" fmla="*/ 2147483647 h 20"/>
                  <a:gd name="T22" fmla="*/ 2147483647 w 18"/>
                  <a:gd name="T23" fmla="*/ 2147483647 h 20"/>
                  <a:gd name="T24" fmla="*/ 2147483647 w 18"/>
                  <a:gd name="T25" fmla="*/ 2147483647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20"/>
                  <a:gd name="T41" fmla="*/ 18 w 18"/>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20">
                    <a:moveTo>
                      <a:pt x="16" y="20"/>
                    </a:moveTo>
                    <a:lnTo>
                      <a:pt x="16" y="20"/>
                    </a:lnTo>
                    <a:lnTo>
                      <a:pt x="18" y="20"/>
                    </a:lnTo>
                    <a:lnTo>
                      <a:pt x="16" y="16"/>
                    </a:lnTo>
                    <a:lnTo>
                      <a:pt x="8" y="6"/>
                    </a:lnTo>
                    <a:lnTo>
                      <a:pt x="0" y="0"/>
                    </a:lnTo>
                    <a:lnTo>
                      <a:pt x="0" y="2"/>
                    </a:lnTo>
                    <a:lnTo>
                      <a:pt x="6" y="10"/>
                    </a:lnTo>
                    <a:lnTo>
                      <a:pt x="16" y="2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8" name="Freeform 5974"/>
              <p:cNvSpPr>
                <a:spLocks/>
              </p:cNvSpPr>
              <p:nvPr/>
            </p:nvSpPr>
            <p:spPr bwMode="auto">
              <a:xfrm>
                <a:off x="4434573" y="2189726"/>
                <a:ext cx="4977" cy="4977"/>
              </a:xfrm>
              <a:custGeom>
                <a:avLst/>
                <a:gdLst>
                  <a:gd name="T0" fmla="*/ 2147483647 w 8"/>
                  <a:gd name="T1" fmla="*/ 2147483647 h 12"/>
                  <a:gd name="T2" fmla="*/ 2147483647 w 8"/>
                  <a:gd name="T3" fmla="*/ 2147483647 h 12"/>
                  <a:gd name="T4" fmla="*/ 2147483647 w 8"/>
                  <a:gd name="T5" fmla="*/ 2147483647 h 12"/>
                  <a:gd name="T6" fmla="*/ 2147483647 w 8"/>
                  <a:gd name="T7" fmla="*/ 2147483647 h 12"/>
                  <a:gd name="T8" fmla="*/ 2147483647 w 8"/>
                  <a:gd name="T9" fmla="*/ 2147483647 h 12"/>
                  <a:gd name="T10" fmla="*/ 0 w 8"/>
                  <a:gd name="T11" fmla="*/ 0 h 12"/>
                  <a:gd name="T12" fmla="*/ 0 w 8"/>
                  <a:gd name="T13" fmla="*/ 0 h 12"/>
                  <a:gd name="T14" fmla="*/ 0 w 8"/>
                  <a:gd name="T15" fmla="*/ 2147483647 h 12"/>
                  <a:gd name="T16" fmla="*/ 0 w 8"/>
                  <a:gd name="T17" fmla="*/ 2147483647 h 12"/>
                  <a:gd name="T18" fmla="*/ 2147483647 w 8"/>
                  <a:gd name="T19" fmla="*/ 2147483647 h 12"/>
                  <a:gd name="T20" fmla="*/ 2147483647 w 8"/>
                  <a:gd name="T21" fmla="*/ 2147483647 h 12"/>
                  <a:gd name="T22" fmla="*/ 2147483647 w 8"/>
                  <a:gd name="T23" fmla="*/ 2147483647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2"/>
                  <a:gd name="T38" fmla="*/ 8 w 8"/>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2">
                    <a:moveTo>
                      <a:pt x="8" y="12"/>
                    </a:moveTo>
                    <a:lnTo>
                      <a:pt x="8" y="12"/>
                    </a:lnTo>
                    <a:lnTo>
                      <a:pt x="8" y="10"/>
                    </a:lnTo>
                    <a:lnTo>
                      <a:pt x="6" y="6"/>
                    </a:lnTo>
                    <a:lnTo>
                      <a:pt x="2" y="2"/>
                    </a:lnTo>
                    <a:lnTo>
                      <a:pt x="0" y="0"/>
                    </a:lnTo>
                    <a:lnTo>
                      <a:pt x="0" y="2"/>
                    </a:lnTo>
                    <a:lnTo>
                      <a:pt x="0" y="6"/>
                    </a:lnTo>
                    <a:lnTo>
                      <a:pt x="4" y="10"/>
                    </a:lnTo>
                    <a:lnTo>
                      <a:pt x="8" y="1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69" name="Freeform 5975"/>
              <p:cNvSpPr>
                <a:spLocks/>
              </p:cNvSpPr>
              <p:nvPr/>
            </p:nvSpPr>
            <p:spPr bwMode="auto">
              <a:xfrm>
                <a:off x="4268645" y="2033785"/>
                <a:ext cx="4977" cy="3318"/>
              </a:xfrm>
              <a:custGeom>
                <a:avLst/>
                <a:gdLst>
                  <a:gd name="T0" fmla="*/ 2147483647 w 12"/>
                  <a:gd name="T1" fmla="*/ 2147483647 h 8"/>
                  <a:gd name="T2" fmla="*/ 2147483647 w 12"/>
                  <a:gd name="T3" fmla="*/ 2147483647 h 8"/>
                  <a:gd name="T4" fmla="*/ 2147483647 w 12"/>
                  <a:gd name="T5" fmla="*/ 2147483647 h 8"/>
                  <a:gd name="T6" fmla="*/ 2147483647 w 12"/>
                  <a:gd name="T7" fmla="*/ 2147483647 h 8"/>
                  <a:gd name="T8" fmla="*/ 2147483647 w 12"/>
                  <a:gd name="T9" fmla="*/ 2147483647 h 8"/>
                  <a:gd name="T10" fmla="*/ 2147483647 w 12"/>
                  <a:gd name="T11" fmla="*/ 2147483647 h 8"/>
                  <a:gd name="T12" fmla="*/ 2147483647 w 12"/>
                  <a:gd name="T13" fmla="*/ 2147483647 h 8"/>
                  <a:gd name="T14" fmla="*/ 2147483647 w 12"/>
                  <a:gd name="T15" fmla="*/ 2147483647 h 8"/>
                  <a:gd name="T16" fmla="*/ 2147483647 w 12"/>
                  <a:gd name="T17" fmla="*/ 2147483647 h 8"/>
                  <a:gd name="T18" fmla="*/ 2147483647 w 12"/>
                  <a:gd name="T19" fmla="*/ 0 h 8"/>
                  <a:gd name="T20" fmla="*/ 0 w 12"/>
                  <a:gd name="T21" fmla="*/ 2147483647 h 8"/>
                  <a:gd name="T22" fmla="*/ 0 w 12"/>
                  <a:gd name="T23" fmla="*/ 2147483647 h 8"/>
                  <a:gd name="T24" fmla="*/ 0 w 12"/>
                  <a:gd name="T25" fmla="*/ 2147483647 h 8"/>
                  <a:gd name="T26" fmla="*/ 0 w 12"/>
                  <a:gd name="T27" fmla="*/ 2147483647 h 8"/>
                  <a:gd name="T28" fmla="*/ 2147483647 w 12"/>
                  <a:gd name="T29" fmla="*/ 2147483647 h 8"/>
                  <a:gd name="T30" fmla="*/ 2147483647 w 12"/>
                  <a:gd name="T31" fmla="*/ 2147483647 h 8"/>
                  <a:gd name="T32" fmla="*/ 2147483647 w 12"/>
                  <a:gd name="T33" fmla="*/ 2147483647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8"/>
                  <a:gd name="T53" fmla="*/ 12 w 12"/>
                  <a:gd name="T54" fmla="*/ 8 h 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8">
                    <a:moveTo>
                      <a:pt x="6" y="8"/>
                    </a:moveTo>
                    <a:lnTo>
                      <a:pt x="6" y="8"/>
                    </a:lnTo>
                    <a:lnTo>
                      <a:pt x="10" y="8"/>
                    </a:lnTo>
                    <a:lnTo>
                      <a:pt x="12" y="6"/>
                    </a:lnTo>
                    <a:lnTo>
                      <a:pt x="10" y="6"/>
                    </a:lnTo>
                    <a:lnTo>
                      <a:pt x="8" y="4"/>
                    </a:lnTo>
                    <a:lnTo>
                      <a:pt x="4" y="4"/>
                    </a:lnTo>
                    <a:lnTo>
                      <a:pt x="4" y="2"/>
                    </a:lnTo>
                    <a:lnTo>
                      <a:pt x="2" y="0"/>
                    </a:lnTo>
                    <a:lnTo>
                      <a:pt x="0" y="2"/>
                    </a:lnTo>
                    <a:lnTo>
                      <a:pt x="0" y="4"/>
                    </a:lnTo>
                    <a:lnTo>
                      <a:pt x="0" y="6"/>
                    </a:lnTo>
                    <a:lnTo>
                      <a:pt x="2" y="8"/>
                    </a:lnTo>
                    <a:lnTo>
                      <a:pt x="6"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0" name="Freeform 5976"/>
              <p:cNvSpPr>
                <a:spLocks/>
              </p:cNvSpPr>
              <p:nvPr/>
            </p:nvSpPr>
            <p:spPr bwMode="auto">
              <a:xfrm>
                <a:off x="4510900" y="2201339"/>
                <a:ext cx="3319" cy="1658"/>
              </a:xfrm>
              <a:custGeom>
                <a:avLst/>
                <a:gdLst>
                  <a:gd name="T0" fmla="*/ 0 w 6"/>
                  <a:gd name="T1" fmla="*/ 2147483647 h 4"/>
                  <a:gd name="T2" fmla="*/ 0 w 6"/>
                  <a:gd name="T3" fmla="*/ 2147483647 h 4"/>
                  <a:gd name="T4" fmla="*/ 0 w 6"/>
                  <a:gd name="T5" fmla="*/ 2147483647 h 4"/>
                  <a:gd name="T6" fmla="*/ 2147483647 w 6"/>
                  <a:gd name="T7" fmla="*/ 2147483647 h 4"/>
                  <a:gd name="T8" fmla="*/ 2147483647 w 6"/>
                  <a:gd name="T9" fmla="*/ 2147483647 h 4"/>
                  <a:gd name="T10" fmla="*/ 2147483647 w 6"/>
                  <a:gd name="T11" fmla="*/ 0 h 4"/>
                  <a:gd name="T12" fmla="*/ 2147483647 w 6"/>
                  <a:gd name="T13" fmla="*/ 0 h 4"/>
                  <a:gd name="T14" fmla="*/ 2147483647 w 6"/>
                  <a:gd name="T15" fmla="*/ 0 h 4"/>
                  <a:gd name="T16" fmla="*/ 2147483647 w 6"/>
                  <a:gd name="T17" fmla="*/ 0 h 4"/>
                  <a:gd name="T18" fmla="*/ 0 w 6"/>
                  <a:gd name="T19" fmla="*/ 2147483647 h 4"/>
                  <a:gd name="T20" fmla="*/ 0 w 6"/>
                  <a:gd name="T21" fmla="*/ 2147483647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0" y="2"/>
                    </a:moveTo>
                    <a:lnTo>
                      <a:pt x="0" y="2"/>
                    </a:lnTo>
                    <a:lnTo>
                      <a:pt x="0" y="4"/>
                    </a:lnTo>
                    <a:lnTo>
                      <a:pt x="2" y="4"/>
                    </a:lnTo>
                    <a:lnTo>
                      <a:pt x="4" y="2"/>
                    </a:lnTo>
                    <a:lnTo>
                      <a:pt x="6" y="0"/>
                    </a:lnTo>
                    <a:lnTo>
                      <a:pt x="4" y="0"/>
                    </a:lnTo>
                    <a:lnTo>
                      <a:pt x="2" y="0"/>
                    </a:lnTo>
                    <a:lnTo>
                      <a:pt x="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1" name="Freeform 5977"/>
              <p:cNvSpPr>
                <a:spLocks/>
              </p:cNvSpPr>
              <p:nvPr/>
            </p:nvSpPr>
            <p:spPr bwMode="auto">
              <a:xfrm>
                <a:off x="4512559" y="2193044"/>
                <a:ext cx="4978" cy="3318"/>
              </a:xfrm>
              <a:custGeom>
                <a:avLst/>
                <a:gdLst>
                  <a:gd name="T0" fmla="*/ 2147483647 w 8"/>
                  <a:gd name="T1" fmla="*/ 0 h 8"/>
                  <a:gd name="T2" fmla="*/ 2147483647 w 8"/>
                  <a:gd name="T3" fmla="*/ 0 h 8"/>
                  <a:gd name="T4" fmla="*/ 0 w 8"/>
                  <a:gd name="T5" fmla="*/ 0 h 8"/>
                  <a:gd name="T6" fmla="*/ 0 w 8"/>
                  <a:gd name="T7" fmla="*/ 2147483647 h 8"/>
                  <a:gd name="T8" fmla="*/ 2147483647 w 8"/>
                  <a:gd name="T9" fmla="*/ 2147483647 h 8"/>
                  <a:gd name="T10" fmla="*/ 2147483647 w 8"/>
                  <a:gd name="T11" fmla="*/ 2147483647 h 8"/>
                  <a:gd name="T12" fmla="*/ 2147483647 w 8"/>
                  <a:gd name="T13" fmla="*/ 2147483647 h 8"/>
                  <a:gd name="T14" fmla="*/ 2147483647 w 8"/>
                  <a:gd name="T15" fmla="*/ 2147483647 h 8"/>
                  <a:gd name="T16" fmla="*/ 2147483647 w 8"/>
                  <a:gd name="T17" fmla="*/ 2147483647 h 8"/>
                  <a:gd name="T18" fmla="*/ 2147483647 w 8"/>
                  <a:gd name="T19" fmla="*/ 2147483647 h 8"/>
                  <a:gd name="T20" fmla="*/ 2147483647 w 8"/>
                  <a:gd name="T21" fmla="*/ 0 h 8"/>
                  <a:gd name="T22" fmla="*/ 2147483647 w 8"/>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8"/>
                  <a:gd name="T38" fmla="*/ 8 w 8"/>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8">
                    <a:moveTo>
                      <a:pt x="2" y="0"/>
                    </a:moveTo>
                    <a:lnTo>
                      <a:pt x="2" y="0"/>
                    </a:lnTo>
                    <a:lnTo>
                      <a:pt x="0" y="0"/>
                    </a:lnTo>
                    <a:lnTo>
                      <a:pt x="0" y="4"/>
                    </a:lnTo>
                    <a:lnTo>
                      <a:pt x="2" y="8"/>
                    </a:lnTo>
                    <a:lnTo>
                      <a:pt x="6" y="8"/>
                    </a:lnTo>
                    <a:lnTo>
                      <a:pt x="8" y="8"/>
                    </a:lnTo>
                    <a:lnTo>
                      <a:pt x="6" y="4"/>
                    </a:lnTo>
                    <a:lnTo>
                      <a:pt x="6" y="2"/>
                    </a:lnTo>
                    <a:lnTo>
                      <a:pt x="2"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2" name="Freeform 5978"/>
              <p:cNvSpPr>
                <a:spLocks/>
              </p:cNvSpPr>
              <p:nvPr/>
            </p:nvSpPr>
            <p:spPr bwMode="auto">
              <a:xfrm>
                <a:off x="4499285" y="2085213"/>
                <a:ext cx="6637" cy="3318"/>
              </a:xfrm>
              <a:custGeom>
                <a:avLst/>
                <a:gdLst>
                  <a:gd name="T0" fmla="*/ 2147483647 w 12"/>
                  <a:gd name="T1" fmla="*/ 2147483647 h 8"/>
                  <a:gd name="T2" fmla="*/ 2147483647 w 12"/>
                  <a:gd name="T3" fmla="*/ 2147483647 h 8"/>
                  <a:gd name="T4" fmla="*/ 2147483647 w 12"/>
                  <a:gd name="T5" fmla="*/ 0 h 8"/>
                  <a:gd name="T6" fmla="*/ 2147483647 w 12"/>
                  <a:gd name="T7" fmla="*/ 0 h 8"/>
                  <a:gd name="T8" fmla="*/ 2147483647 w 12"/>
                  <a:gd name="T9" fmla="*/ 2147483647 h 8"/>
                  <a:gd name="T10" fmla="*/ 2147483647 w 12"/>
                  <a:gd name="T11" fmla="*/ 2147483647 h 8"/>
                  <a:gd name="T12" fmla="*/ 2147483647 w 12"/>
                  <a:gd name="T13" fmla="*/ 2147483647 h 8"/>
                  <a:gd name="T14" fmla="*/ 0 w 12"/>
                  <a:gd name="T15" fmla="*/ 2147483647 h 8"/>
                  <a:gd name="T16" fmla="*/ 0 w 12"/>
                  <a:gd name="T17" fmla="*/ 2147483647 h 8"/>
                  <a:gd name="T18" fmla="*/ 2147483647 w 12"/>
                  <a:gd name="T19" fmla="*/ 2147483647 h 8"/>
                  <a:gd name="T20" fmla="*/ 2147483647 w 12"/>
                  <a:gd name="T21" fmla="*/ 2147483647 h 8"/>
                  <a:gd name="T22" fmla="*/ 2147483647 w 12"/>
                  <a:gd name="T23" fmla="*/ 2147483647 h 8"/>
                  <a:gd name="T24" fmla="*/ 2147483647 w 12"/>
                  <a:gd name="T25" fmla="*/ 2147483647 h 8"/>
                  <a:gd name="T26" fmla="*/ 2147483647 w 12"/>
                  <a:gd name="T27" fmla="*/ 2147483647 h 8"/>
                  <a:gd name="T28" fmla="*/ 2147483647 w 12"/>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8"/>
                  <a:gd name="T47" fmla="*/ 12 w 12"/>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8">
                    <a:moveTo>
                      <a:pt x="12" y="4"/>
                    </a:moveTo>
                    <a:lnTo>
                      <a:pt x="12" y="4"/>
                    </a:lnTo>
                    <a:lnTo>
                      <a:pt x="12" y="0"/>
                    </a:lnTo>
                    <a:lnTo>
                      <a:pt x="10" y="0"/>
                    </a:lnTo>
                    <a:lnTo>
                      <a:pt x="4" y="2"/>
                    </a:lnTo>
                    <a:lnTo>
                      <a:pt x="2" y="2"/>
                    </a:lnTo>
                    <a:lnTo>
                      <a:pt x="0" y="2"/>
                    </a:lnTo>
                    <a:lnTo>
                      <a:pt x="0" y="4"/>
                    </a:lnTo>
                    <a:lnTo>
                      <a:pt x="4" y="8"/>
                    </a:lnTo>
                    <a:lnTo>
                      <a:pt x="6" y="8"/>
                    </a:lnTo>
                    <a:lnTo>
                      <a:pt x="8" y="8"/>
                    </a:lnTo>
                    <a:lnTo>
                      <a:pt x="12"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3" name="Freeform 5979"/>
              <p:cNvSpPr>
                <a:spLocks/>
              </p:cNvSpPr>
              <p:nvPr/>
            </p:nvSpPr>
            <p:spPr bwMode="auto">
              <a:xfrm>
                <a:off x="4268645" y="2030467"/>
                <a:ext cx="4977" cy="3318"/>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0 h 6"/>
                  <a:gd name="T10" fmla="*/ 2147483647 w 6"/>
                  <a:gd name="T11" fmla="*/ 0 h 6"/>
                  <a:gd name="T12" fmla="*/ 0 w 6"/>
                  <a:gd name="T13" fmla="*/ 2147483647 h 6"/>
                  <a:gd name="T14" fmla="*/ 0 w 6"/>
                  <a:gd name="T15" fmla="*/ 2147483647 h 6"/>
                  <a:gd name="T16" fmla="*/ 2147483647 w 6"/>
                  <a:gd name="T17" fmla="*/ 2147483647 h 6"/>
                  <a:gd name="T18" fmla="*/ 2147483647 w 6"/>
                  <a:gd name="T19" fmla="*/ 2147483647 h 6"/>
                  <a:gd name="T20" fmla="*/ 2147483647 w 6"/>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6"/>
                  <a:gd name="T35" fmla="*/ 6 w 6"/>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6">
                    <a:moveTo>
                      <a:pt x="6" y="6"/>
                    </a:moveTo>
                    <a:lnTo>
                      <a:pt x="6" y="6"/>
                    </a:lnTo>
                    <a:lnTo>
                      <a:pt x="6" y="4"/>
                    </a:lnTo>
                    <a:lnTo>
                      <a:pt x="6" y="2"/>
                    </a:lnTo>
                    <a:lnTo>
                      <a:pt x="2" y="0"/>
                    </a:lnTo>
                    <a:lnTo>
                      <a:pt x="0" y="2"/>
                    </a:lnTo>
                    <a:lnTo>
                      <a:pt x="0" y="4"/>
                    </a:lnTo>
                    <a:lnTo>
                      <a:pt x="2" y="6"/>
                    </a:lnTo>
                    <a:lnTo>
                      <a:pt x="6"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4" name="Freeform 5980"/>
              <p:cNvSpPr>
                <a:spLocks/>
              </p:cNvSpPr>
              <p:nvPr/>
            </p:nvSpPr>
            <p:spPr bwMode="auto">
              <a:xfrm>
                <a:off x="4263667" y="2032126"/>
                <a:ext cx="4978" cy="1658"/>
              </a:xfrm>
              <a:custGeom>
                <a:avLst/>
                <a:gdLst>
                  <a:gd name="T0" fmla="*/ 0 w 6"/>
                  <a:gd name="T1" fmla="*/ 0 h 4"/>
                  <a:gd name="T2" fmla="*/ 0 w 6"/>
                  <a:gd name="T3" fmla="*/ 0 h 4"/>
                  <a:gd name="T4" fmla="*/ 0 w 6"/>
                  <a:gd name="T5" fmla="*/ 2147483647 h 4"/>
                  <a:gd name="T6" fmla="*/ 0 w 6"/>
                  <a:gd name="T7" fmla="*/ 2147483647 h 4"/>
                  <a:gd name="T8" fmla="*/ 2147483647 w 6"/>
                  <a:gd name="T9" fmla="*/ 2147483647 h 4"/>
                  <a:gd name="T10" fmla="*/ 2147483647 w 6"/>
                  <a:gd name="T11" fmla="*/ 2147483647 h 4"/>
                  <a:gd name="T12" fmla="*/ 2147483647 w 6"/>
                  <a:gd name="T13" fmla="*/ 2147483647 h 4"/>
                  <a:gd name="T14" fmla="*/ 2147483647 w 6"/>
                  <a:gd name="T15" fmla="*/ 0 h 4"/>
                  <a:gd name="T16" fmla="*/ 2147483647 w 6"/>
                  <a:gd name="T17" fmla="*/ 0 h 4"/>
                  <a:gd name="T18" fmla="*/ 0 w 6"/>
                  <a:gd name="T19" fmla="*/ 0 h 4"/>
                  <a:gd name="T20" fmla="*/ 0 w 6"/>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0" y="0"/>
                    </a:moveTo>
                    <a:lnTo>
                      <a:pt x="0" y="0"/>
                    </a:lnTo>
                    <a:lnTo>
                      <a:pt x="0" y="2"/>
                    </a:lnTo>
                    <a:lnTo>
                      <a:pt x="0" y="4"/>
                    </a:lnTo>
                    <a:lnTo>
                      <a:pt x="4" y="2"/>
                    </a:lnTo>
                    <a:lnTo>
                      <a:pt x="6" y="2"/>
                    </a:lnTo>
                    <a:lnTo>
                      <a:pt x="4" y="0"/>
                    </a:lnTo>
                    <a:lnTo>
                      <a:pt x="2" y="0"/>
                    </a:lnTo>
                    <a:lnTo>
                      <a:pt x="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5" name="Freeform 5981"/>
              <p:cNvSpPr>
                <a:spLocks/>
              </p:cNvSpPr>
              <p:nvPr/>
            </p:nvSpPr>
            <p:spPr bwMode="auto">
              <a:xfrm>
                <a:off x="4578930" y="2013877"/>
                <a:ext cx="11615" cy="6636"/>
              </a:xfrm>
              <a:custGeom>
                <a:avLst/>
                <a:gdLst>
                  <a:gd name="T0" fmla="*/ 2147483647 w 20"/>
                  <a:gd name="T1" fmla="*/ 2147483647 h 10"/>
                  <a:gd name="T2" fmla="*/ 2147483647 w 20"/>
                  <a:gd name="T3" fmla="*/ 2147483647 h 10"/>
                  <a:gd name="T4" fmla="*/ 2147483647 w 20"/>
                  <a:gd name="T5" fmla="*/ 2147483647 h 10"/>
                  <a:gd name="T6" fmla="*/ 2147483647 w 20"/>
                  <a:gd name="T7" fmla="*/ 2147483647 h 10"/>
                  <a:gd name="T8" fmla="*/ 2147483647 w 20"/>
                  <a:gd name="T9" fmla="*/ 0 h 10"/>
                  <a:gd name="T10" fmla="*/ 2147483647 w 20"/>
                  <a:gd name="T11" fmla="*/ 0 h 10"/>
                  <a:gd name="T12" fmla="*/ 2147483647 w 20"/>
                  <a:gd name="T13" fmla="*/ 0 h 10"/>
                  <a:gd name="T14" fmla="*/ 2147483647 w 20"/>
                  <a:gd name="T15" fmla="*/ 0 h 10"/>
                  <a:gd name="T16" fmla="*/ 0 w 20"/>
                  <a:gd name="T17" fmla="*/ 2147483647 h 10"/>
                  <a:gd name="T18" fmla="*/ 0 w 20"/>
                  <a:gd name="T19" fmla="*/ 2147483647 h 10"/>
                  <a:gd name="T20" fmla="*/ 2147483647 w 20"/>
                  <a:gd name="T21" fmla="*/ 2147483647 h 10"/>
                  <a:gd name="T22" fmla="*/ 2147483647 w 20"/>
                  <a:gd name="T23" fmla="*/ 2147483647 h 10"/>
                  <a:gd name="T24" fmla="*/ 2147483647 w 20"/>
                  <a:gd name="T25" fmla="*/ 2147483647 h 10"/>
                  <a:gd name="T26" fmla="*/ 2147483647 w 20"/>
                  <a:gd name="T27" fmla="*/ 2147483647 h 10"/>
                  <a:gd name="T28" fmla="*/ 2147483647 w 20"/>
                  <a:gd name="T29" fmla="*/ 2147483647 h 10"/>
                  <a:gd name="T30" fmla="*/ 2147483647 w 20"/>
                  <a:gd name="T31" fmla="*/ 2147483647 h 10"/>
                  <a:gd name="T32" fmla="*/ 2147483647 w 20"/>
                  <a:gd name="T33" fmla="*/ 2147483647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
                  <a:gd name="T52" fmla="*/ 0 h 10"/>
                  <a:gd name="T53" fmla="*/ 20 w 20"/>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 h="10">
                    <a:moveTo>
                      <a:pt x="18" y="4"/>
                    </a:moveTo>
                    <a:lnTo>
                      <a:pt x="18" y="4"/>
                    </a:lnTo>
                    <a:lnTo>
                      <a:pt x="20" y="4"/>
                    </a:lnTo>
                    <a:lnTo>
                      <a:pt x="18" y="4"/>
                    </a:lnTo>
                    <a:lnTo>
                      <a:pt x="8" y="0"/>
                    </a:lnTo>
                    <a:lnTo>
                      <a:pt x="4" y="0"/>
                    </a:lnTo>
                    <a:lnTo>
                      <a:pt x="2" y="0"/>
                    </a:lnTo>
                    <a:lnTo>
                      <a:pt x="0" y="4"/>
                    </a:lnTo>
                    <a:lnTo>
                      <a:pt x="0" y="8"/>
                    </a:lnTo>
                    <a:lnTo>
                      <a:pt x="4" y="10"/>
                    </a:lnTo>
                    <a:lnTo>
                      <a:pt x="8" y="10"/>
                    </a:lnTo>
                    <a:lnTo>
                      <a:pt x="10" y="8"/>
                    </a:lnTo>
                    <a:lnTo>
                      <a:pt x="12" y="6"/>
                    </a:lnTo>
                    <a:lnTo>
                      <a:pt x="18"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6" name="Freeform 5982"/>
              <p:cNvSpPr>
                <a:spLocks/>
              </p:cNvSpPr>
              <p:nvPr/>
            </p:nvSpPr>
            <p:spPr bwMode="auto">
              <a:xfrm>
                <a:off x="4507582" y="2202998"/>
                <a:ext cx="3319" cy="1659"/>
              </a:xfrm>
              <a:custGeom>
                <a:avLst/>
                <a:gdLst>
                  <a:gd name="T0" fmla="*/ 2147483647 w 6"/>
                  <a:gd name="T1" fmla="*/ 0 h 4"/>
                  <a:gd name="T2" fmla="*/ 2147483647 w 6"/>
                  <a:gd name="T3" fmla="*/ 0 h 4"/>
                  <a:gd name="T4" fmla="*/ 2147483647 w 6"/>
                  <a:gd name="T5" fmla="*/ 0 h 4"/>
                  <a:gd name="T6" fmla="*/ 2147483647 w 6"/>
                  <a:gd name="T7" fmla="*/ 0 h 4"/>
                  <a:gd name="T8" fmla="*/ 0 w 6"/>
                  <a:gd name="T9" fmla="*/ 2147483647 h 4"/>
                  <a:gd name="T10" fmla="*/ 0 w 6"/>
                  <a:gd name="T11" fmla="*/ 2147483647 h 4"/>
                  <a:gd name="T12" fmla="*/ 0 w 6"/>
                  <a:gd name="T13" fmla="*/ 2147483647 h 4"/>
                  <a:gd name="T14" fmla="*/ 2147483647 w 6"/>
                  <a:gd name="T15" fmla="*/ 2147483647 h 4"/>
                  <a:gd name="T16" fmla="*/ 2147483647 w 6"/>
                  <a:gd name="T17" fmla="*/ 2147483647 h 4"/>
                  <a:gd name="T18" fmla="*/ 2147483647 w 6"/>
                  <a:gd name="T19" fmla="*/ 0 h 4"/>
                  <a:gd name="T20" fmla="*/ 2147483647 w 6"/>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6" y="0"/>
                    </a:moveTo>
                    <a:lnTo>
                      <a:pt x="6" y="0"/>
                    </a:lnTo>
                    <a:lnTo>
                      <a:pt x="4" y="0"/>
                    </a:lnTo>
                    <a:lnTo>
                      <a:pt x="2" y="0"/>
                    </a:lnTo>
                    <a:lnTo>
                      <a:pt x="0" y="2"/>
                    </a:lnTo>
                    <a:lnTo>
                      <a:pt x="0" y="4"/>
                    </a:lnTo>
                    <a:lnTo>
                      <a:pt x="2" y="4"/>
                    </a:lnTo>
                    <a:lnTo>
                      <a:pt x="4" y="2"/>
                    </a:lnTo>
                    <a:lnTo>
                      <a:pt x="6"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7" name="Freeform 5983"/>
              <p:cNvSpPr>
                <a:spLocks/>
              </p:cNvSpPr>
              <p:nvPr/>
            </p:nvSpPr>
            <p:spPr bwMode="auto">
              <a:xfrm>
                <a:off x="4474396" y="2206316"/>
                <a:ext cx="1659" cy="3318"/>
              </a:xfrm>
              <a:custGeom>
                <a:avLst/>
                <a:gdLst>
                  <a:gd name="T0" fmla="*/ 0 w 8"/>
                  <a:gd name="T1" fmla="*/ 0 h 6"/>
                  <a:gd name="T2" fmla="*/ 0 w 8"/>
                  <a:gd name="T3" fmla="*/ 0 h 6"/>
                  <a:gd name="T4" fmla="*/ 0 w 8"/>
                  <a:gd name="T5" fmla="*/ 2147483647 h 6"/>
                  <a:gd name="T6" fmla="*/ 2147483647 w 8"/>
                  <a:gd name="T7" fmla="*/ 2147483647 h 6"/>
                  <a:gd name="T8" fmla="*/ 2147483647 w 8"/>
                  <a:gd name="T9" fmla="*/ 2147483647 h 6"/>
                  <a:gd name="T10" fmla="*/ 2147483647 w 8"/>
                  <a:gd name="T11" fmla="*/ 2147483647 h 6"/>
                  <a:gd name="T12" fmla="*/ 2147483647 w 8"/>
                  <a:gd name="T13" fmla="*/ 2147483647 h 6"/>
                  <a:gd name="T14" fmla="*/ 2147483647 w 8"/>
                  <a:gd name="T15" fmla="*/ 2147483647 h 6"/>
                  <a:gd name="T16" fmla="*/ 2147483647 w 8"/>
                  <a:gd name="T17" fmla="*/ 0 h 6"/>
                  <a:gd name="T18" fmla="*/ 2147483647 w 8"/>
                  <a:gd name="T19" fmla="*/ 0 h 6"/>
                  <a:gd name="T20" fmla="*/ 0 w 8"/>
                  <a:gd name="T21" fmla="*/ 0 h 6"/>
                  <a:gd name="T22" fmla="*/ 0 w 8"/>
                  <a:gd name="T23" fmla="*/ 0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6"/>
                  <a:gd name="T38" fmla="*/ 8 w 8"/>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6">
                    <a:moveTo>
                      <a:pt x="0" y="0"/>
                    </a:moveTo>
                    <a:lnTo>
                      <a:pt x="0" y="0"/>
                    </a:lnTo>
                    <a:lnTo>
                      <a:pt x="0" y="2"/>
                    </a:lnTo>
                    <a:lnTo>
                      <a:pt x="2" y="4"/>
                    </a:lnTo>
                    <a:lnTo>
                      <a:pt x="6" y="6"/>
                    </a:lnTo>
                    <a:lnTo>
                      <a:pt x="8" y="4"/>
                    </a:lnTo>
                    <a:lnTo>
                      <a:pt x="8" y="2"/>
                    </a:lnTo>
                    <a:lnTo>
                      <a:pt x="6" y="0"/>
                    </a:lnTo>
                    <a:lnTo>
                      <a:pt x="2" y="0"/>
                    </a:lnTo>
                    <a:lnTo>
                      <a:pt x="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8" name="Freeform 5984"/>
              <p:cNvSpPr>
                <a:spLocks/>
              </p:cNvSpPr>
              <p:nvPr/>
            </p:nvSpPr>
            <p:spPr bwMode="auto">
              <a:xfrm>
                <a:off x="4461122" y="2194704"/>
                <a:ext cx="18252" cy="11612"/>
              </a:xfrm>
              <a:custGeom>
                <a:avLst/>
                <a:gdLst>
                  <a:gd name="T0" fmla="*/ 2147483647 w 32"/>
                  <a:gd name="T1" fmla="*/ 2147483647 h 22"/>
                  <a:gd name="T2" fmla="*/ 2147483647 w 32"/>
                  <a:gd name="T3" fmla="*/ 2147483647 h 22"/>
                  <a:gd name="T4" fmla="*/ 2147483647 w 32"/>
                  <a:gd name="T5" fmla="*/ 2147483647 h 22"/>
                  <a:gd name="T6" fmla="*/ 0 w 32"/>
                  <a:gd name="T7" fmla="*/ 2147483647 h 22"/>
                  <a:gd name="T8" fmla="*/ 0 w 32"/>
                  <a:gd name="T9" fmla="*/ 2147483647 h 22"/>
                  <a:gd name="T10" fmla="*/ 0 w 32"/>
                  <a:gd name="T11" fmla="*/ 2147483647 h 22"/>
                  <a:gd name="T12" fmla="*/ 0 w 32"/>
                  <a:gd name="T13" fmla="*/ 2147483647 h 22"/>
                  <a:gd name="T14" fmla="*/ 0 w 32"/>
                  <a:gd name="T15" fmla="*/ 2147483647 h 22"/>
                  <a:gd name="T16" fmla="*/ 2147483647 w 32"/>
                  <a:gd name="T17" fmla="*/ 2147483647 h 22"/>
                  <a:gd name="T18" fmla="*/ 2147483647 w 32"/>
                  <a:gd name="T19" fmla="*/ 2147483647 h 22"/>
                  <a:gd name="T20" fmla="*/ 2147483647 w 32"/>
                  <a:gd name="T21" fmla="*/ 2147483647 h 22"/>
                  <a:gd name="T22" fmla="*/ 2147483647 w 32"/>
                  <a:gd name="T23" fmla="*/ 2147483647 h 22"/>
                  <a:gd name="T24" fmla="*/ 2147483647 w 32"/>
                  <a:gd name="T25" fmla="*/ 2147483647 h 22"/>
                  <a:gd name="T26" fmla="*/ 2147483647 w 32"/>
                  <a:gd name="T27" fmla="*/ 2147483647 h 22"/>
                  <a:gd name="T28" fmla="*/ 2147483647 w 32"/>
                  <a:gd name="T29" fmla="*/ 2147483647 h 22"/>
                  <a:gd name="T30" fmla="*/ 2147483647 w 32"/>
                  <a:gd name="T31" fmla="*/ 2147483647 h 22"/>
                  <a:gd name="T32" fmla="*/ 2147483647 w 32"/>
                  <a:gd name="T33" fmla="*/ 2147483647 h 22"/>
                  <a:gd name="T34" fmla="*/ 2147483647 w 32"/>
                  <a:gd name="T35" fmla="*/ 2147483647 h 22"/>
                  <a:gd name="T36" fmla="*/ 2147483647 w 32"/>
                  <a:gd name="T37" fmla="*/ 2147483647 h 22"/>
                  <a:gd name="T38" fmla="*/ 2147483647 w 32"/>
                  <a:gd name="T39" fmla="*/ 2147483647 h 22"/>
                  <a:gd name="T40" fmla="*/ 2147483647 w 32"/>
                  <a:gd name="T41" fmla="*/ 2147483647 h 22"/>
                  <a:gd name="T42" fmla="*/ 2147483647 w 32"/>
                  <a:gd name="T43" fmla="*/ 2147483647 h 22"/>
                  <a:gd name="T44" fmla="*/ 2147483647 w 32"/>
                  <a:gd name="T45" fmla="*/ 2147483647 h 22"/>
                  <a:gd name="T46" fmla="*/ 2147483647 w 32"/>
                  <a:gd name="T47" fmla="*/ 2147483647 h 22"/>
                  <a:gd name="T48" fmla="*/ 2147483647 w 32"/>
                  <a:gd name="T49" fmla="*/ 2147483647 h 22"/>
                  <a:gd name="T50" fmla="*/ 2147483647 w 32"/>
                  <a:gd name="T51" fmla="*/ 2147483647 h 22"/>
                  <a:gd name="T52" fmla="*/ 2147483647 w 32"/>
                  <a:gd name="T53" fmla="*/ 2147483647 h 22"/>
                  <a:gd name="T54" fmla="*/ 2147483647 w 32"/>
                  <a:gd name="T55" fmla="*/ 2147483647 h 22"/>
                  <a:gd name="T56" fmla="*/ 2147483647 w 32"/>
                  <a:gd name="T57" fmla="*/ 2147483647 h 22"/>
                  <a:gd name="T58" fmla="*/ 2147483647 w 32"/>
                  <a:gd name="T59" fmla="*/ 2147483647 h 22"/>
                  <a:gd name="T60" fmla="*/ 2147483647 w 32"/>
                  <a:gd name="T61" fmla="*/ 2147483647 h 22"/>
                  <a:gd name="T62" fmla="*/ 2147483647 w 32"/>
                  <a:gd name="T63" fmla="*/ 0 h 22"/>
                  <a:gd name="T64" fmla="*/ 2147483647 w 32"/>
                  <a:gd name="T65" fmla="*/ 2147483647 h 22"/>
                  <a:gd name="T66" fmla="*/ 2147483647 w 32"/>
                  <a:gd name="T67" fmla="*/ 2147483647 h 22"/>
                  <a:gd name="T68" fmla="*/ 2147483647 w 32"/>
                  <a:gd name="T69" fmla="*/ 2147483647 h 22"/>
                  <a:gd name="T70" fmla="*/ 2147483647 w 32"/>
                  <a:gd name="T71" fmla="*/ 2147483647 h 22"/>
                  <a:gd name="T72" fmla="*/ 2147483647 w 32"/>
                  <a:gd name="T73" fmla="*/ 2147483647 h 22"/>
                  <a:gd name="T74" fmla="*/ 2147483647 w 32"/>
                  <a:gd name="T75" fmla="*/ 2147483647 h 22"/>
                  <a:gd name="T76" fmla="*/ 2147483647 w 32"/>
                  <a:gd name="T77" fmla="*/ 2147483647 h 22"/>
                  <a:gd name="T78" fmla="*/ 2147483647 w 32"/>
                  <a:gd name="T79" fmla="*/ 2147483647 h 22"/>
                  <a:gd name="T80" fmla="*/ 2147483647 w 32"/>
                  <a:gd name="T81" fmla="*/ 2147483647 h 22"/>
                  <a:gd name="T82" fmla="*/ 2147483647 w 32"/>
                  <a:gd name="T83" fmla="*/ 2147483647 h 2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2"/>
                  <a:gd name="T127" fmla="*/ 0 h 22"/>
                  <a:gd name="T128" fmla="*/ 32 w 32"/>
                  <a:gd name="T129" fmla="*/ 22 h 2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2" h="22">
                    <a:moveTo>
                      <a:pt x="8" y="8"/>
                    </a:moveTo>
                    <a:lnTo>
                      <a:pt x="8" y="8"/>
                    </a:lnTo>
                    <a:lnTo>
                      <a:pt x="4" y="10"/>
                    </a:lnTo>
                    <a:lnTo>
                      <a:pt x="0" y="12"/>
                    </a:lnTo>
                    <a:lnTo>
                      <a:pt x="0" y="16"/>
                    </a:lnTo>
                    <a:lnTo>
                      <a:pt x="0" y="18"/>
                    </a:lnTo>
                    <a:lnTo>
                      <a:pt x="4" y="16"/>
                    </a:lnTo>
                    <a:lnTo>
                      <a:pt x="8" y="18"/>
                    </a:lnTo>
                    <a:lnTo>
                      <a:pt x="8" y="20"/>
                    </a:lnTo>
                    <a:lnTo>
                      <a:pt x="12" y="22"/>
                    </a:lnTo>
                    <a:lnTo>
                      <a:pt x="16" y="22"/>
                    </a:lnTo>
                    <a:lnTo>
                      <a:pt x="18" y="22"/>
                    </a:lnTo>
                    <a:lnTo>
                      <a:pt x="20" y="20"/>
                    </a:lnTo>
                    <a:lnTo>
                      <a:pt x="20" y="18"/>
                    </a:lnTo>
                    <a:lnTo>
                      <a:pt x="20" y="16"/>
                    </a:lnTo>
                    <a:lnTo>
                      <a:pt x="20" y="14"/>
                    </a:lnTo>
                    <a:lnTo>
                      <a:pt x="22" y="14"/>
                    </a:lnTo>
                    <a:lnTo>
                      <a:pt x="24" y="14"/>
                    </a:lnTo>
                    <a:lnTo>
                      <a:pt x="26" y="14"/>
                    </a:lnTo>
                    <a:lnTo>
                      <a:pt x="30" y="12"/>
                    </a:lnTo>
                    <a:lnTo>
                      <a:pt x="32" y="8"/>
                    </a:lnTo>
                    <a:lnTo>
                      <a:pt x="30" y="6"/>
                    </a:lnTo>
                    <a:lnTo>
                      <a:pt x="16" y="2"/>
                    </a:lnTo>
                    <a:lnTo>
                      <a:pt x="10" y="0"/>
                    </a:lnTo>
                    <a:lnTo>
                      <a:pt x="10" y="2"/>
                    </a:lnTo>
                    <a:lnTo>
                      <a:pt x="14" y="6"/>
                    </a:lnTo>
                    <a:lnTo>
                      <a:pt x="14" y="8"/>
                    </a:lnTo>
                    <a:lnTo>
                      <a:pt x="14" y="10"/>
                    </a:lnTo>
                    <a:lnTo>
                      <a:pt x="12" y="12"/>
                    </a:lnTo>
                    <a:lnTo>
                      <a:pt x="10" y="10"/>
                    </a:lnTo>
                    <a:lnTo>
                      <a:pt x="10" y="8"/>
                    </a:lnTo>
                    <a:lnTo>
                      <a:pt x="8"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79" name="Freeform 5985"/>
              <p:cNvSpPr>
                <a:spLocks/>
              </p:cNvSpPr>
              <p:nvPr/>
            </p:nvSpPr>
            <p:spPr bwMode="auto">
              <a:xfrm>
                <a:off x="4519196" y="2196362"/>
                <a:ext cx="6637" cy="1659"/>
              </a:xfrm>
              <a:custGeom>
                <a:avLst/>
                <a:gdLst>
                  <a:gd name="T0" fmla="*/ 2147483647 w 10"/>
                  <a:gd name="T1" fmla="*/ 2147483647 h 4"/>
                  <a:gd name="T2" fmla="*/ 2147483647 w 10"/>
                  <a:gd name="T3" fmla="*/ 2147483647 h 4"/>
                  <a:gd name="T4" fmla="*/ 2147483647 w 10"/>
                  <a:gd name="T5" fmla="*/ 0 h 4"/>
                  <a:gd name="T6" fmla="*/ 2147483647 w 10"/>
                  <a:gd name="T7" fmla="*/ 0 h 4"/>
                  <a:gd name="T8" fmla="*/ 2147483647 w 10"/>
                  <a:gd name="T9" fmla="*/ 0 h 4"/>
                  <a:gd name="T10" fmla="*/ 0 w 10"/>
                  <a:gd name="T11" fmla="*/ 2147483647 h 4"/>
                  <a:gd name="T12" fmla="*/ 0 w 10"/>
                  <a:gd name="T13" fmla="*/ 2147483647 h 4"/>
                  <a:gd name="T14" fmla="*/ 2147483647 w 10"/>
                  <a:gd name="T15" fmla="*/ 2147483647 h 4"/>
                  <a:gd name="T16" fmla="*/ 2147483647 w 10"/>
                  <a:gd name="T17" fmla="*/ 2147483647 h 4"/>
                  <a:gd name="T18" fmla="*/ 2147483647 w 10"/>
                  <a:gd name="T19" fmla="*/ 2147483647 h 4"/>
                  <a:gd name="T20" fmla="*/ 2147483647 w 10"/>
                  <a:gd name="T21" fmla="*/ 2147483647 h 4"/>
                  <a:gd name="T22" fmla="*/ 2147483647 w 10"/>
                  <a:gd name="T23" fmla="*/ 2147483647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4"/>
                  <a:gd name="T38" fmla="*/ 10 w 10"/>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4">
                    <a:moveTo>
                      <a:pt x="10" y="2"/>
                    </a:moveTo>
                    <a:lnTo>
                      <a:pt x="10" y="2"/>
                    </a:lnTo>
                    <a:lnTo>
                      <a:pt x="10" y="0"/>
                    </a:lnTo>
                    <a:lnTo>
                      <a:pt x="6" y="0"/>
                    </a:lnTo>
                    <a:lnTo>
                      <a:pt x="2" y="0"/>
                    </a:lnTo>
                    <a:lnTo>
                      <a:pt x="0" y="2"/>
                    </a:lnTo>
                    <a:lnTo>
                      <a:pt x="2" y="4"/>
                    </a:lnTo>
                    <a:lnTo>
                      <a:pt x="6" y="4"/>
                    </a:lnTo>
                    <a:lnTo>
                      <a:pt x="8" y="4"/>
                    </a:lnTo>
                    <a:lnTo>
                      <a:pt x="1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0" name="Freeform 5986"/>
              <p:cNvSpPr>
                <a:spLocks/>
              </p:cNvSpPr>
              <p:nvPr/>
            </p:nvSpPr>
            <p:spPr bwMode="auto">
              <a:xfrm>
                <a:off x="4517537" y="2201339"/>
                <a:ext cx="1659" cy="1658"/>
              </a:xfrm>
              <a:custGeom>
                <a:avLst/>
                <a:gdLst>
                  <a:gd name="T0" fmla="*/ 0 w 4"/>
                  <a:gd name="T1" fmla="*/ 2147483647 h 4"/>
                  <a:gd name="T2" fmla="*/ 0 w 4"/>
                  <a:gd name="T3" fmla="*/ 2147483647 h 4"/>
                  <a:gd name="T4" fmla="*/ 0 w 4"/>
                  <a:gd name="T5" fmla="*/ 2147483647 h 4"/>
                  <a:gd name="T6" fmla="*/ 2147483647 w 4"/>
                  <a:gd name="T7" fmla="*/ 2147483647 h 4"/>
                  <a:gd name="T8" fmla="*/ 2147483647 w 4"/>
                  <a:gd name="T9" fmla="*/ 2147483647 h 4"/>
                  <a:gd name="T10" fmla="*/ 2147483647 w 4"/>
                  <a:gd name="T11" fmla="*/ 0 h 4"/>
                  <a:gd name="T12" fmla="*/ 2147483647 w 4"/>
                  <a:gd name="T13" fmla="*/ 0 h 4"/>
                  <a:gd name="T14" fmla="*/ 2147483647 w 4"/>
                  <a:gd name="T15" fmla="*/ 0 h 4"/>
                  <a:gd name="T16" fmla="*/ 0 w 4"/>
                  <a:gd name="T17" fmla="*/ 0 h 4"/>
                  <a:gd name="T18" fmla="*/ 0 w 4"/>
                  <a:gd name="T19" fmla="*/ 2147483647 h 4"/>
                  <a:gd name="T20" fmla="*/ 0 w 4"/>
                  <a:gd name="T21" fmla="*/ 2147483647 h 4"/>
                  <a:gd name="T22" fmla="*/ 0 w 4"/>
                  <a:gd name="T23" fmla="*/ 2147483647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4"/>
                  <a:gd name="T38" fmla="*/ 4 w 4"/>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4">
                    <a:moveTo>
                      <a:pt x="0" y="4"/>
                    </a:moveTo>
                    <a:lnTo>
                      <a:pt x="0" y="4"/>
                    </a:lnTo>
                    <a:lnTo>
                      <a:pt x="2" y="4"/>
                    </a:lnTo>
                    <a:lnTo>
                      <a:pt x="4" y="2"/>
                    </a:lnTo>
                    <a:lnTo>
                      <a:pt x="4" y="0"/>
                    </a:lnTo>
                    <a:lnTo>
                      <a:pt x="2" y="0"/>
                    </a:lnTo>
                    <a:lnTo>
                      <a:pt x="0" y="0"/>
                    </a:lnTo>
                    <a:lnTo>
                      <a:pt x="0" y="2"/>
                    </a:lnTo>
                    <a:lnTo>
                      <a:pt x="0"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1" name="Freeform 5987"/>
              <p:cNvSpPr>
                <a:spLocks/>
              </p:cNvSpPr>
              <p:nvPr/>
            </p:nvSpPr>
            <p:spPr bwMode="auto">
              <a:xfrm>
                <a:off x="4341654" y="3014226"/>
                <a:ext cx="3319" cy="6636"/>
              </a:xfrm>
              <a:custGeom>
                <a:avLst/>
                <a:gdLst>
                  <a:gd name="T0" fmla="*/ 0 w 8"/>
                  <a:gd name="T1" fmla="*/ 0 h 10"/>
                  <a:gd name="T2" fmla="*/ 0 w 8"/>
                  <a:gd name="T3" fmla="*/ 0 h 10"/>
                  <a:gd name="T4" fmla="*/ 0 w 8"/>
                  <a:gd name="T5" fmla="*/ 2147483647 h 10"/>
                  <a:gd name="T6" fmla="*/ 0 w 8"/>
                  <a:gd name="T7" fmla="*/ 2147483647 h 10"/>
                  <a:gd name="T8" fmla="*/ 2147483647 w 8"/>
                  <a:gd name="T9" fmla="*/ 2147483647 h 10"/>
                  <a:gd name="T10" fmla="*/ 2147483647 w 8"/>
                  <a:gd name="T11" fmla="*/ 2147483647 h 10"/>
                  <a:gd name="T12" fmla="*/ 2147483647 w 8"/>
                  <a:gd name="T13" fmla="*/ 2147483647 h 10"/>
                  <a:gd name="T14" fmla="*/ 2147483647 w 8"/>
                  <a:gd name="T15" fmla="*/ 2147483647 h 10"/>
                  <a:gd name="T16" fmla="*/ 2147483647 w 8"/>
                  <a:gd name="T17" fmla="*/ 2147483647 h 10"/>
                  <a:gd name="T18" fmla="*/ 2147483647 w 8"/>
                  <a:gd name="T19" fmla="*/ 0 h 10"/>
                  <a:gd name="T20" fmla="*/ 0 w 8"/>
                  <a:gd name="T21" fmla="*/ 0 h 10"/>
                  <a:gd name="T22" fmla="*/ 0 w 8"/>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0"/>
                  <a:gd name="T38" fmla="*/ 8 w 8"/>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0">
                    <a:moveTo>
                      <a:pt x="0" y="0"/>
                    </a:moveTo>
                    <a:lnTo>
                      <a:pt x="0" y="0"/>
                    </a:lnTo>
                    <a:lnTo>
                      <a:pt x="0" y="4"/>
                    </a:lnTo>
                    <a:lnTo>
                      <a:pt x="0" y="8"/>
                    </a:lnTo>
                    <a:lnTo>
                      <a:pt x="4" y="10"/>
                    </a:lnTo>
                    <a:lnTo>
                      <a:pt x="8" y="10"/>
                    </a:lnTo>
                    <a:lnTo>
                      <a:pt x="8" y="8"/>
                    </a:lnTo>
                    <a:lnTo>
                      <a:pt x="6" y="4"/>
                    </a:lnTo>
                    <a:lnTo>
                      <a:pt x="4" y="0"/>
                    </a:lnTo>
                    <a:lnTo>
                      <a:pt x="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2" name="Freeform 5988"/>
              <p:cNvSpPr>
                <a:spLocks/>
              </p:cNvSpPr>
              <p:nvPr/>
            </p:nvSpPr>
            <p:spPr bwMode="auto">
              <a:xfrm>
                <a:off x="4914105" y="4210330"/>
                <a:ext cx="9956" cy="19907"/>
              </a:xfrm>
              <a:custGeom>
                <a:avLst/>
                <a:gdLst>
                  <a:gd name="T0" fmla="*/ 2147483647 w 16"/>
                  <a:gd name="T1" fmla="*/ 2147483647 h 36"/>
                  <a:gd name="T2" fmla="*/ 2147483647 w 16"/>
                  <a:gd name="T3" fmla="*/ 2147483647 h 36"/>
                  <a:gd name="T4" fmla="*/ 0 w 16"/>
                  <a:gd name="T5" fmla="*/ 2147483647 h 36"/>
                  <a:gd name="T6" fmla="*/ 0 w 16"/>
                  <a:gd name="T7" fmla="*/ 2147483647 h 36"/>
                  <a:gd name="T8" fmla="*/ 2147483647 w 16"/>
                  <a:gd name="T9" fmla="*/ 2147483647 h 36"/>
                  <a:gd name="T10" fmla="*/ 2147483647 w 16"/>
                  <a:gd name="T11" fmla="*/ 2147483647 h 36"/>
                  <a:gd name="T12" fmla="*/ 2147483647 w 16"/>
                  <a:gd name="T13" fmla="*/ 2147483647 h 36"/>
                  <a:gd name="T14" fmla="*/ 2147483647 w 16"/>
                  <a:gd name="T15" fmla="*/ 2147483647 h 36"/>
                  <a:gd name="T16" fmla="*/ 2147483647 w 16"/>
                  <a:gd name="T17" fmla="*/ 2147483647 h 36"/>
                  <a:gd name="T18" fmla="*/ 2147483647 w 16"/>
                  <a:gd name="T19" fmla="*/ 2147483647 h 36"/>
                  <a:gd name="T20" fmla="*/ 2147483647 w 16"/>
                  <a:gd name="T21" fmla="*/ 2147483647 h 36"/>
                  <a:gd name="T22" fmla="*/ 2147483647 w 16"/>
                  <a:gd name="T23" fmla="*/ 2147483647 h 36"/>
                  <a:gd name="T24" fmla="*/ 2147483647 w 16"/>
                  <a:gd name="T25" fmla="*/ 2147483647 h 36"/>
                  <a:gd name="T26" fmla="*/ 2147483647 w 16"/>
                  <a:gd name="T27" fmla="*/ 2147483647 h 36"/>
                  <a:gd name="T28" fmla="*/ 2147483647 w 16"/>
                  <a:gd name="T29" fmla="*/ 2147483647 h 36"/>
                  <a:gd name="T30" fmla="*/ 2147483647 w 16"/>
                  <a:gd name="T31" fmla="*/ 2147483647 h 36"/>
                  <a:gd name="T32" fmla="*/ 2147483647 w 16"/>
                  <a:gd name="T33" fmla="*/ 2147483647 h 36"/>
                  <a:gd name="T34" fmla="*/ 2147483647 w 16"/>
                  <a:gd name="T35" fmla="*/ 0 h 36"/>
                  <a:gd name="T36" fmla="*/ 2147483647 w 16"/>
                  <a:gd name="T37" fmla="*/ 0 h 36"/>
                  <a:gd name="T38" fmla="*/ 2147483647 w 16"/>
                  <a:gd name="T39" fmla="*/ 2147483647 h 36"/>
                  <a:gd name="T40" fmla="*/ 2147483647 w 16"/>
                  <a:gd name="T41" fmla="*/ 2147483647 h 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36"/>
                  <a:gd name="T65" fmla="*/ 16 w 16"/>
                  <a:gd name="T66" fmla="*/ 36 h 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36">
                    <a:moveTo>
                      <a:pt x="2" y="6"/>
                    </a:moveTo>
                    <a:lnTo>
                      <a:pt x="2" y="6"/>
                    </a:lnTo>
                    <a:lnTo>
                      <a:pt x="0" y="12"/>
                    </a:lnTo>
                    <a:lnTo>
                      <a:pt x="0" y="18"/>
                    </a:lnTo>
                    <a:lnTo>
                      <a:pt x="4" y="24"/>
                    </a:lnTo>
                    <a:lnTo>
                      <a:pt x="8" y="30"/>
                    </a:lnTo>
                    <a:lnTo>
                      <a:pt x="12" y="36"/>
                    </a:lnTo>
                    <a:lnTo>
                      <a:pt x="16" y="36"/>
                    </a:lnTo>
                    <a:lnTo>
                      <a:pt x="16" y="32"/>
                    </a:lnTo>
                    <a:lnTo>
                      <a:pt x="14" y="26"/>
                    </a:lnTo>
                    <a:lnTo>
                      <a:pt x="14" y="20"/>
                    </a:lnTo>
                    <a:lnTo>
                      <a:pt x="12" y="18"/>
                    </a:lnTo>
                    <a:lnTo>
                      <a:pt x="10" y="14"/>
                    </a:lnTo>
                    <a:lnTo>
                      <a:pt x="8" y="8"/>
                    </a:lnTo>
                    <a:lnTo>
                      <a:pt x="6" y="0"/>
                    </a:lnTo>
                    <a:lnTo>
                      <a:pt x="4" y="0"/>
                    </a:lnTo>
                    <a:lnTo>
                      <a:pt x="2"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3" name="Freeform 5989"/>
              <p:cNvSpPr>
                <a:spLocks/>
              </p:cNvSpPr>
              <p:nvPr/>
            </p:nvSpPr>
            <p:spPr bwMode="auto">
              <a:xfrm>
                <a:off x="4925720" y="4185446"/>
                <a:ext cx="6637" cy="16590"/>
              </a:xfrm>
              <a:custGeom>
                <a:avLst/>
                <a:gdLst>
                  <a:gd name="T0" fmla="*/ 2147483647 w 10"/>
                  <a:gd name="T1" fmla="*/ 2147483647 h 28"/>
                  <a:gd name="T2" fmla="*/ 2147483647 w 10"/>
                  <a:gd name="T3" fmla="*/ 2147483647 h 28"/>
                  <a:gd name="T4" fmla="*/ 2147483647 w 10"/>
                  <a:gd name="T5" fmla="*/ 2147483647 h 28"/>
                  <a:gd name="T6" fmla="*/ 2147483647 w 10"/>
                  <a:gd name="T7" fmla="*/ 2147483647 h 28"/>
                  <a:gd name="T8" fmla="*/ 2147483647 w 10"/>
                  <a:gd name="T9" fmla="*/ 2147483647 h 28"/>
                  <a:gd name="T10" fmla="*/ 2147483647 w 10"/>
                  <a:gd name="T11" fmla="*/ 2147483647 h 28"/>
                  <a:gd name="T12" fmla="*/ 2147483647 w 10"/>
                  <a:gd name="T13" fmla="*/ 2147483647 h 28"/>
                  <a:gd name="T14" fmla="*/ 2147483647 w 10"/>
                  <a:gd name="T15" fmla="*/ 2147483647 h 28"/>
                  <a:gd name="T16" fmla="*/ 2147483647 w 10"/>
                  <a:gd name="T17" fmla="*/ 2147483647 h 28"/>
                  <a:gd name="T18" fmla="*/ 2147483647 w 10"/>
                  <a:gd name="T19" fmla="*/ 2147483647 h 28"/>
                  <a:gd name="T20" fmla="*/ 2147483647 w 10"/>
                  <a:gd name="T21" fmla="*/ 0 h 28"/>
                  <a:gd name="T22" fmla="*/ 2147483647 w 10"/>
                  <a:gd name="T23" fmla="*/ 2147483647 h 28"/>
                  <a:gd name="T24" fmla="*/ 2147483647 w 10"/>
                  <a:gd name="T25" fmla="*/ 2147483647 h 28"/>
                  <a:gd name="T26" fmla="*/ 2147483647 w 10"/>
                  <a:gd name="T27" fmla="*/ 2147483647 h 28"/>
                  <a:gd name="T28" fmla="*/ 2147483647 w 10"/>
                  <a:gd name="T29" fmla="*/ 2147483647 h 28"/>
                  <a:gd name="T30" fmla="*/ 2147483647 w 10"/>
                  <a:gd name="T31" fmla="*/ 2147483647 h 28"/>
                  <a:gd name="T32" fmla="*/ 0 w 10"/>
                  <a:gd name="T33" fmla="*/ 2147483647 h 28"/>
                  <a:gd name="T34" fmla="*/ 2147483647 w 10"/>
                  <a:gd name="T35" fmla="*/ 2147483647 h 28"/>
                  <a:gd name="T36" fmla="*/ 2147483647 w 10"/>
                  <a:gd name="T37" fmla="*/ 2147483647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
                  <a:gd name="T58" fmla="*/ 0 h 28"/>
                  <a:gd name="T59" fmla="*/ 10 w 10"/>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 h="28">
                    <a:moveTo>
                      <a:pt x="2" y="28"/>
                    </a:moveTo>
                    <a:lnTo>
                      <a:pt x="2" y="28"/>
                    </a:lnTo>
                    <a:lnTo>
                      <a:pt x="4" y="28"/>
                    </a:lnTo>
                    <a:lnTo>
                      <a:pt x="6" y="26"/>
                    </a:lnTo>
                    <a:lnTo>
                      <a:pt x="8" y="16"/>
                    </a:lnTo>
                    <a:lnTo>
                      <a:pt x="10" y="6"/>
                    </a:lnTo>
                    <a:lnTo>
                      <a:pt x="8" y="4"/>
                    </a:lnTo>
                    <a:lnTo>
                      <a:pt x="6" y="2"/>
                    </a:lnTo>
                    <a:lnTo>
                      <a:pt x="2" y="0"/>
                    </a:lnTo>
                    <a:lnTo>
                      <a:pt x="2" y="2"/>
                    </a:lnTo>
                    <a:lnTo>
                      <a:pt x="2" y="12"/>
                    </a:lnTo>
                    <a:lnTo>
                      <a:pt x="2" y="18"/>
                    </a:lnTo>
                    <a:lnTo>
                      <a:pt x="2" y="22"/>
                    </a:lnTo>
                    <a:lnTo>
                      <a:pt x="0" y="24"/>
                    </a:lnTo>
                    <a:lnTo>
                      <a:pt x="2" y="2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4" name="Freeform 5990"/>
              <p:cNvSpPr>
                <a:spLocks/>
              </p:cNvSpPr>
              <p:nvPr/>
            </p:nvSpPr>
            <p:spPr bwMode="auto">
              <a:xfrm>
                <a:off x="4925720" y="4263416"/>
                <a:ext cx="6637" cy="9954"/>
              </a:xfrm>
              <a:custGeom>
                <a:avLst/>
                <a:gdLst>
                  <a:gd name="T0" fmla="*/ 2147483647 w 12"/>
                  <a:gd name="T1" fmla="*/ 2147483647 h 18"/>
                  <a:gd name="T2" fmla="*/ 2147483647 w 12"/>
                  <a:gd name="T3" fmla="*/ 2147483647 h 18"/>
                  <a:gd name="T4" fmla="*/ 2147483647 w 12"/>
                  <a:gd name="T5" fmla="*/ 2147483647 h 18"/>
                  <a:gd name="T6" fmla="*/ 2147483647 w 12"/>
                  <a:gd name="T7" fmla="*/ 2147483647 h 18"/>
                  <a:gd name="T8" fmla="*/ 2147483647 w 12"/>
                  <a:gd name="T9" fmla="*/ 2147483647 h 18"/>
                  <a:gd name="T10" fmla="*/ 2147483647 w 12"/>
                  <a:gd name="T11" fmla="*/ 2147483647 h 18"/>
                  <a:gd name="T12" fmla="*/ 2147483647 w 12"/>
                  <a:gd name="T13" fmla="*/ 0 h 18"/>
                  <a:gd name="T14" fmla="*/ 2147483647 w 12"/>
                  <a:gd name="T15" fmla="*/ 2147483647 h 18"/>
                  <a:gd name="T16" fmla="*/ 2147483647 w 12"/>
                  <a:gd name="T17" fmla="*/ 2147483647 h 18"/>
                  <a:gd name="T18" fmla="*/ 0 w 12"/>
                  <a:gd name="T19" fmla="*/ 2147483647 h 18"/>
                  <a:gd name="T20" fmla="*/ 0 w 12"/>
                  <a:gd name="T21" fmla="*/ 2147483647 h 18"/>
                  <a:gd name="T22" fmla="*/ 2147483647 w 12"/>
                  <a:gd name="T23" fmla="*/ 2147483647 h 18"/>
                  <a:gd name="T24" fmla="*/ 2147483647 w 12"/>
                  <a:gd name="T25" fmla="*/ 2147483647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18"/>
                  <a:gd name="T41" fmla="*/ 12 w 12"/>
                  <a:gd name="T42" fmla="*/ 18 h 1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18">
                    <a:moveTo>
                      <a:pt x="4" y="18"/>
                    </a:moveTo>
                    <a:lnTo>
                      <a:pt x="4" y="18"/>
                    </a:lnTo>
                    <a:lnTo>
                      <a:pt x="6" y="16"/>
                    </a:lnTo>
                    <a:lnTo>
                      <a:pt x="10" y="12"/>
                    </a:lnTo>
                    <a:lnTo>
                      <a:pt x="12" y="2"/>
                    </a:lnTo>
                    <a:lnTo>
                      <a:pt x="12" y="0"/>
                    </a:lnTo>
                    <a:lnTo>
                      <a:pt x="10" y="2"/>
                    </a:lnTo>
                    <a:lnTo>
                      <a:pt x="4" y="8"/>
                    </a:lnTo>
                    <a:lnTo>
                      <a:pt x="0" y="14"/>
                    </a:lnTo>
                    <a:lnTo>
                      <a:pt x="0" y="18"/>
                    </a:lnTo>
                    <a:lnTo>
                      <a:pt x="4" y="1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5" name="Freeform 5991"/>
              <p:cNvSpPr>
                <a:spLocks/>
              </p:cNvSpPr>
              <p:nvPr/>
            </p:nvSpPr>
            <p:spPr bwMode="auto">
              <a:xfrm>
                <a:off x="4572293" y="2969434"/>
                <a:ext cx="3319" cy="4977"/>
              </a:xfrm>
              <a:custGeom>
                <a:avLst/>
                <a:gdLst>
                  <a:gd name="T0" fmla="*/ 2147483647 w 4"/>
                  <a:gd name="T1" fmla="*/ 2147483647 h 8"/>
                  <a:gd name="T2" fmla="*/ 2147483647 w 4"/>
                  <a:gd name="T3" fmla="*/ 2147483647 h 8"/>
                  <a:gd name="T4" fmla="*/ 2147483647 w 4"/>
                  <a:gd name="T5" fmla="*/ 2147483647 h 8"/>
                  <a:gd name="T6" fmla="*/ 2147483647 w 4"/>
                  <a:gd name="T7" fmla="*/ 0 h 8"/>
                  <a:gd name="T8" fmla="*/ 2147483647 w 4"/>
                  <a:gd name="T9" fmla="*/ 0 h 8"/>
                  <a:gd name="T10" fmla="*/ 2147483647 w 4"/>
                  <a:gd name="T11" fmla="*/ 0 h 8"/>
                  <a:gd name="T12" fmla="*/ 2147483647 w 4"/>
                  <a:gd name="T13" fmla="*/ 0 h 8"/>
                  <a:gd name="T14" fmla="*/ 0 w 4"/>
                  <a:gd name="T15" fmla="*/ 2147483647 h 8"/>
                  <a:gd name="T16" fmla="*/ 0 w 4"/>
                  <a:gd name="T17" fmla="*/ 2147483647 h 8"/>
                  <a:gd name="T18" fmla="*/ 0 w 4"/>
                  <a:gd name="T19" fmla="*/ 2147483647 h 8"/>
                  <a:gd name="T20" fmla="*/ 2147483647 w 4"/>
                  <a:gd name="T21" fmla="*/ 2147483647 h 8"/>
                  <a:gd name="T22" fmla="*/ 2147483647 w 4"/>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8"/>
                  <a:gd name="T38" fmla="*/ 4 w 4"/>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8">
                    <a:moveTo>
                      <a:pt x="2" y="8"/>
                    </a:moveTo>
                    <a:lnTo>
                      <a:pt x="2" y="8"/>
                    </a:lnTo>
                    <a:lnTo>
                      <a:pt x="4" y="6"/>
                    </a:lnTo>
                    <a:lnTo>
                      <a:pt x="4" y="0"/>
                    </a:lnTo>
                    <a:lnTo>
                      <a:pt x="2" y="0"/>
                    </a:lnTo>
                    <a:lnTo>
                      <a:pt x="0" y="2"/>
                    </a:lnTo>
                    <a:lnTo>
                      <a:pt x="0" y="6"/>
                    </a:lnTo>
                    <a:lnTo>
                      <a:pt x="0" y="8"/>
                    </a:lnTo>
                    <a:lnTo>
                      <a:pt x="2"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6" name="Freeform 5992"/>
              <p:cNvSpPr>
                <a:spLocks/>
              </p:cNvSpPr>
              <p:nvPr/>
            </p:nvSpPr>
            <p:spPr bwMode="auto">
              <a:xfrm>
                <a:off x="4577271" y="2921325"/>
                <a:ext cx="3319" cy="8294"/>
              </a:xfrm>
              <a:custGeom>
                <a:avLst/>
                <a:gdLst>
                  <a:gd name="T0" fmla="*/ 0 w 8"/>
                  <a:gd name="T1" fmla="*/ 0 h 12"/>
                  <a:gd name="T2" fmla="*/ 0 w 8"/>
                  <a:gd name="T3" fmla="*/ 0 h 12"/>
                  <a:gd name="T4" fmla="*/ 0 w 8"/>
                  <a:gd name="T5" fmla="*/ 2147483647 h 12"/>
                  <a:gd name="T6" fmla="*/ 2147483647 w 8"/>
                  <a:gd name="T7" fmla="*/ 2147483647 h 12"/>
                  <a:gd name="T8" fmla="*/ 2147483647 w 8"/>
                  <a:gd name="T9" fmla="*/ 2147483647 h 12"/>
                  <a:gd name="T10" fmla="*/ 2147483647 w 8"/>
                  <a:gd name="T11" fmla="*/ 2147483647 h 12"/>
                  <a:gd name="T12" fmla="*/ 2147483647 w 8"/>
                  <a:gd name="T13" fmla="*/ 2147483647 h 12"/>
                  <a:gd name="T14" fmla="*/ 2147483647 w 8"/>
                  <a:gd name="T15" fmla="*/ 2147483647 h 12"/>
                  <a:gd name="T16" fmla="*/ 2147483647 w 8"/>
                  <a:gd name="T17" fmla="*/ 2147483647 h 12"/>
                  <a:gd name="T18" fmla="*/ 0 w 8"/>
                  <a:gd name="T19" fmla="*/ 0 h 12"/>
                  <a:gd name="T20" fmla="*/ 0 w 8"/>
                  <a:gd name="T21" fmla="*/ 0 h 12"/>
                  <a:gd name="T22" fmla="*/ 0 w 8"/>
                  <a:gd name="T23" fmla="*/ 0 h 12"/>
                  <a:gd name="T24" fmla="*/ 0 w 8"/>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12"/>
                  <a:gd name="T41" fmla="*/ 8 w 8"/>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12">
                    <a:moveTo>
                      <a:pt x="0" y="0"/>
                    </a:moveTo>
                    <a:lnTo>
                      <a:pt x="0" y="0"/>
                    </a:lnTo>
                    <a:lnTo>
                      <a:pt x="0" y="8"/>
                    </a:lnTo>
                    <a:lnTo>
                      <a:pt x="2" y="10"/>
                    </a:lnTo>
                    <a:lnTo>
                      <a:pt x="6" y="12"/>
                    </a:lnTo>
                    <a:lnTo>
                      <a:pt x="8" y="12"/>
                    </a:lnTo>
                    <a:lnTo>
                      <a:pt x="6" y="10"/>
                    </a:lnTo>
                    <a:lnTo>
                      <a:pt x="4" y="4"/>
                    </a:lnTo>
                    <a:lnTo>
                      <a:pt x="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7" name="Freeform 5993"/>
              <p:cNvSpPr>
                <a:spLocks/>
              </p:cNvSpPr>
              <p:nvPr/>
            </p:nvSpPr>
            <p:spPr bwMode="auto">
              <a:xfrm>
                <a:off x="4537449" y="2921325"/>
                <a:ext cx="39823" cy="31520"/>
              </a:xfrm>
              <a:custGeom>
                <a:avLst/>
                <a:gdLst>
                  <a:gd name="T0" fmla="*/ 2147483647 w 70"/>
                  <a:gd name="T1" fmla="*/ 2147483647 h 56"/>
                  <a:gd name="T2" fmla="*/ 2147483647 w 70"/>
                  <a:gd name="T3" fmla="*/ 2147483647 h 56"/>
                  <a:gd name="T4" fmla="*/ 2147483647 w 70"/>
                  <a:gd name="T5" fmla="*/ 2147483647 h 56"/>
                  <a:gd name="T6" fmla="*/ 2147483647 w 70"/>
                  <a:gd name="T7" fmla="*/ 2147483647 h 56"/>
                  <a:gd name="T8" fmla="*/ 2147483647 w 70"/>
                  <a:gd name="T9" fmla="*/ 2147483647 h 56"/>
                  <a:gd name="T10" fmla="*/ 2147483647 w 70"/>
                  <a:gd name="T11" fmla="*/ 2147483647 h 56"/>
                  <a:gd name="T12" fmla="*/ 2147483647 w 70"/>
                  <a:gd name="T13" fmla="*/ 2147483647 h 56"/>
                  <a:gd name="T14" fmla="*/ 2147483647 w 70"/>
                  <a:gd name="T15" fmla="*/ 2147483647 h 56"/>
                  <a:gd name="T16" fmla="*/ 2147483647 w 70"/>
                  <a:gd name="T17" fmla="*/ 2147483647 h 56"/>
                  <a:gd name="T18" fmla="*/ 2147483647 w 70"/>
                  <a:gd name="T19" fmla="*/ 2147483647 h 56"/>
                  <a:gd name="T20" fmla="*/ 2147483647 w 70"/>
                  <a:gd name="T21" fmla="*/ 2147483647 h 56"/>
                  <a:gd name="T22" fmla="*/ 2147483647 w 70"/>
                  <a:gd name="T23" fmla="*/ 2147483647 h 56"/>
                  <a:gd name="T24" fmla="*/ 2147483647 w 70"/>
                  <a:gd name="T25" fmla="*/ 2147483647 h 56"/>
                  <a:gd name="T26" fmla="*/ 2147483647 w 70"/>
                  <a:gd name="T27" fmla="*/ 0 h 56"/>
                  <a:gd name="T28" fmla="*/ 2147483647 w 70"/>
                  <a:gd name="T29" fmla="*/ 0 h 56"/>
                  <a:gd name="T30" fmla="*/ 2147483647 w 70"/>
                  <a:gd name="T31" fmla="*/ 2147483647 h 56"/>
                  <a:gd name="T32" fmla="*/ 2147483647 w 70"/>
                  <a:gd name="T33" fmla="*/ 2147483647 h 56"/>
                  <a:gd name="T34" fmla="*/ 0 w 70"/>
                  <a:gd name="T35" fmla="*/ 2147483647 h 56"/>
                  <a:gd name="T36" fmla="*/ 0 w 70"/>
                  <a:gd name="T37" fmla="*/ 2147483647 h 56"/>
                  <a:gd name="T38" fmla="*/ 0 w 70"/>
                  <a:gd name="T39" fmla="*/ 2147483647 h 56"/>
                  <a:gd name="T40" fmla="*/ 2147483647 w 70"/>
                  <a:gd name="T41" fmla="*/ 2147483647 h 56"/>
                  <a:gd name="T42" fmla="*/ 2147483647 w 70"/>
                  <a:gd name="T43" fmla="*/ 2147483647 h 56"/>
                  <a:gd name="T44" fmla="*/ 2147483647 w 70"/>
                  <a:gd name="T45" fmla="*/ 2147483647 h 56"/>
                  <a:gd name="T46" fmla="*/ 2147483647 w 70"/>
                  <a:gd name="T47" fmla="*/ 2147483647 h 56"/>
                  <a:gd name="T48" fmla="*/ 2147483647 w 70"/>
                  <a:gd name="T49" fmla="*/ 2147483647 h 56"/>
                  <a:gd name="T50" fmla="*/ 2147483647 w 70"/>
                  <a:gd name="T51" fmla="*/ 2147483647 h 56"/>
                  <a:gd name="T52" fmla="*/ 2147483647 w 70"/>
                  <a:gd name="T53" fmla="*/ 2147483647 h 56"/>
                  <a:gd name="T54" fmla="*/ 2147483647 w 70"/>
                  <a:gd name="T55" fmla="*/ 2147483647 h 56"/>
                  <a:gd name="T56" fmla="*/ 2147483647 w 70"/>
                  <a:gd name="T57" fmla="*/ 2147483647 h 56"/>
                  <a:gd name="T58" fmla="*/ 2147483647 w 70"/>
                  <a:gd name="T59" fmla="*/ 2147483647 h 56"/>
                  <a:gd name="T60" fmla="*/ 2147483647 w 70"/>
                  <a:gd name="T61" fmla="*/ 2147483647 h 56"/>
                  <a:gd name="T62" fmla="*/ 2147483647 w 70"/>
                  <a:gd name="T63" fmla="*/ 2147483647 h 56"/>
                  <a:gd name="T64" fmla="*/ 2147483647 w 70"/>
                  <a:gd name="T65" fmla="*/ 2147483647 h 56"/>
                  <a:gd name="T66" fmla="*/ 2147483647 w 70"/>
                  <a:gd name="T67" fmla="*/ 2147483647 h 56"/>
                  <a:gd name="T68" fmla="*/ 2147483647 w 70"/>
                  <a:gd name="T69" fmla="*/ 2147483647 h 56"/>
                  <a:gd name="T70" fmla="*/ 2147483647 w 70"/>
                  <a:gd name="T71" fmla="*/ 2147483647 h 56"/>
                  <a:gd name="T72" fmla="*/ 2147483647 w 70"/>
                  <a:gd name="T73" fmla="*/ 2147483647 h 56"/>
                  <a:gd name="T74" fmla="*/ 2147483647 w 70"/>
                  <a:gd name="T75" fmla="*/ 2147483647 h 56"/>
                  <a:gd name="T76" fmla="*/ 2147483647 w 70"/>
                  <a:gd name="T77" fmla="*/ 2147483647 h 5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70"/>
                  <a:gd name="T118" fmla="*/ 0 h 56"/>
                  <a:gd name="T119" fmla="*/ 70 w 70"/>
                  <a:gd name="T120" fmla="*/ 56 h 5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70" h="56">
                    <a:moveTo>
                      <a:pt x="62" y="46"/>
                    </a:moveTo>
                    <a:lnTo>
                      <a:pt x="62" y="46"/>
                    </a:lnTo>
                    <a:lnTo>
                      <a:pt x="58" y="42"/>
                    </a:lnTo>
                    <a:lnTo>
                      <a:pt x="56" y="36"/>
                    </a:lnTo>
                    <a:lnTo>
                      <a:pt x="52" y="22"/>
                    </a:lnTo>
                    <a:lnTo>
                      <a:pt x="52" y="18"/>
                    </a:lnTo>
                    <a:lnTo>
                      <a:pt x="50" y="16"/>
                    </a:lnTo>
                    <a:lnTo>
                      <a:pt x="44" y="16"/>
                    </a:lnTo>
                    <a:lnTo>
                      <a:pt x="36" y="14"/>
                    </a:lnTo>
                    <a:lnTo>
                      <a:pt x="30" y="10"/>
                    </a:lnTo>
                    <a:lnTo>
                      <a:pt x="22" y="2"/>
                    </a:lnTo>
                    <a:lnTo>
                      <a:pt x="20" y="0"/>
                    </a:lnTo>
                    <a:lnTo>
                      <a:pt x="16" y="0"/>
                    </a:lnTo>
                    <a:lnTo>
                      <a:pt x="8" y="2"/>
                    </a:lnTo>
                    <a:lnTo>
                      <a:pt x="2" y="4"/>
                    </a:lnTo>
                    <a:lnTo>
                      <a:pt x="0" y="6"/>
                    </a:lnTo>
                    <a:lnTo>
                      <a:pt x="0" y="8"/>
                    </a:lnTo>
                    <a:lnTo>
                      <a:pt x="8" y="8"/>
                    </a:lnTo>
                    <a:lnTo>
                      <a:pt x="24" y="16"/>
                    </a:lnTo>
                    <a:lnTo>
                      <a:pt x="30" y="22"/>
                    </a:lnTo>
                    <a:lnTo>
                      <a:pt x="32" y="28"/>
                    </a:lnTo>
                    <a:lnTo>
                      <a:pt x="34" y="30"/>
                    </a:lnTo>
                    <a:lnTo>
                      <a:pt x="38" y="32"/>
                    </a:lnTo>
                    <a:lnTo>
                      <a:pt x="44" y="32"/>
                    </a:lnTo>
                    <a:lnTo>
                      <a:pt x="46" y="36"/>
                    </a:lnTo>
                    <a:lnTo>
                      <a:pt x="52" y="42"/>
                    </a:lnTo>
                    <a:lnTo>
                      <a:pt x="58" y="50"/>
                    </a:lnTo>
                    <a:lnTo>
                      <a:pt x="64" y="56"/>
                    </a:lnTo>
                    <a:lnTo>
                      <a:pt x="68" y="56"/>
                    </a:lnTo>
                    <a:lnTo>
                      <a:pt x="70" y="54"/>
                    </a:lnTo>
                    <a:lnTo>
                      <a:pt x="68" y="50"/>
                    </a:lnTo>
                    <a:lnTo>
                      <a:pt x="62" y="4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8" name="Freeform 5994"/>
              <p:cNvSpPr>
                <a:spLocks/>
              </p:cNvSpPr>
              <p:nvPr/>
            </p:nvSpPr>
            <p:spPr bwMode="auto">
              <a:xfrm>
                <a:off x="4602160" y="2881510"/>
                <a:ext cx="9956" cy="4976"/>
              </a:xfrm>
              <a:custGeom>
                <a:avLst/>
                <a:gdLst>
                  <a:gd name="T0" fmla="*/ 0 w 16"/>
                  <a:gd name="T1" fmla="*/ 2147483647 h 8"/>
                  <a:gd name="T2" fmla="*/ 0 w 16"/>
                  <a:gd name="T3" fmla="*/ 2147483647 h 8"/>
                  <a:gd name="T4" fmla="*/ 2147483647 w 16"/>
                  <a:gd name="T5" fmla="*/ 2147483647 h 8"/>
                  <a:gd name="T6" fmla="*/ 2147483647 w 16"/>
                  <a:gd name="T7" fmla="*/ 2147483647 h 8"/>
                  <a:gd name="T8" fmla="*/ 2147483647 w 16"/>
                  <a:gd name="T9" fmla="*/ 2147483647 h 8"/>
                  <a:gd name="T10" fmla="*/ 2147483647 w 16"/>
                  <a:gd name="T11" fmla="*/ 2147483647 h 8"/>
                  <a:gd name="T12" fmla="*/ 2147483647 w 16"/>
                  <a:gd name="T13" fmla="*/ 2147483647 h 8"/>
                  <a:gd name="T14" fmla="*/ 2147483647 w 16"/>
                  <a:gd name="T15" fmla="*/ 2147483647 h 8"/>
                  <a:gd name="T16" fmla="*/ 2147483647 w 16"/>
                  <a:gd name="T17" fmla="*/ 2147483647 h 8"/>
                  <a:gd name="T18" fmla="*/ 2147483647 w 16"/>
                  <a:gd name="T19" fmla="*/ 0 h 8"/>
                  <a:gd name="T20" fmla="*/ 2147483647 w 16"/>
                  <a:gd name="T21" fmla="*/ 2147483647 h 8"/>
                  <a:gd name="T22" fmla="*/ 0 w 16"/>
                  <a:gd name="T23" fmla="*/ 2147483647 h 8"/>
                  <a:gd name="T24" fmla="*/ 0 w 16"/>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8"/>
                  <a:gd name="T41" fmla="*/ 16 w 16"/>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8">
                    <a:moveTo>
                      <a:pt x="0" y="6"/>
                    </a:moveTo>
                    <a:lnTo>
                      <a:pt x="0" y="6"/>
                    </a:lnTo>
                    <a:lnTo>
                      <a:pt x="2" y="8"/>
                    </a:lnTo>
                    <a:lnTo>
                      <a:pt x="4" y="8"/>
                    </a:lnTo>
                    <a:lnTo>
                      <a:pt x="14" y="6"/>
                    </a:lnTo>
                    <a:lnTo>
                      <a:pt x="16" y="6"/>
                    </a:lnTo>
                    <a:lnTo>
                      <a:pt x="16" y="4"/>
                    </a:lnTo>
                    <a:lnTo>
                      <a:pt x="12" y="2"/>
                    </a:lnTo>
                    <a:lnTo>
                      <a:pt x="6" y="0"/>
                    </a:lnTo>
                    <a:lnTo>
                      <a:pt x="2" y="2"/>
                    </a:lnTo>
                    <a:lnTo>
                      <a:pt x="0"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89" name="Freeform 5995"/>
              <p:cNvSpPr>
                <a:spLocks/>
              </p:cNvSpPr>
              <p:nvPr/>
            </p:nvSpPr>
            <p:spPr bwMode="auto">
              <a:xfrm>
                <a:off x="4610457" y="2962798"/>
                <a:ext cx="8296" cy="4977"/>
              </a:xfrm>
              <a:custGeom>
                <a:avLst/>
                <a:gdLst>
                  <a:gd name="T0" fmla="*/ 2147483647 w 14"/>
                  <a:gd name="T1" fmla="*/ 2147483647 h 10"/>
                  <a:gd name="T2" fmla="*/ 2147483647 w 14"/>
                  <a:gd name="T3" fmla="*/ 2147483647 h 10"/>
                  <a:gd name="T4" fmla="*/ 2147483647 w 14"/>
                  <a:gd name="T5" fmla="*/ 0 h 10"/>
                  <a:gd name="T6" fmla="*/ 2147483647 w 14"/>
                  <a:gd name="T7" fmla="*/ 0 h 10"/>
                  <a:gd name="T8" fmla="*/ 2147483647 w 14"/>
                  <a:gd name="T9" fmla="*/ 2147483647 h 10"/>
                  <a:gd name="T10" fmla="*/ 2147483647 w 14"/>
                  <a:gd name="T11" fmla="*/ 2147483647 h 10"/>
                  <a:gd name="T12" fmla="*/ 0 w 14"/>
                  <a:gd name="T13" fmla="*/ 2147483647 h 10"/>
                  <a:gd name="T14" fmla="*/ 0 w 14"/>
                  <a:gd name="T15" fmla="*/ 2147483647 h 10"/>
                  <a:gd name="T16" fmla="*/ 0 w 14"/>
                  <a:gd name="T17" fmla="*/ 2147483647 h 10"/>
                  <a:gd name="T18" fmla="*/ 2147483647 w 14"/>
                  <a:gd name="T19" fmla="*/ 2147483647 h 10"/>
                  <a:gd name="T20" fmla="*/ 2147483647 w 14"/>
                  <a:gd name="T21" fmla="*/ 2147483647 h 10"/>
                  <a:gd name="T22" fmla="*/ 2147483647 w 14"/>
                  <a:gd name="T23" fmla="*/ 2147483647 h 10"/>
                  <a:gd name="T24" fmla="*/ 2147483647 w 14"/>
                  <a:gd name="T25" fmla="*/ 2147483647 h 10"/>
                  <a:gd name="T26" fmla="*/ 2147483647 w 14"/>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10"/>
                  <a:gd name="T44" fmla="*/ 14 w 14"/>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10">
                    <a:moveTo>
                      <a:pt x="14" y="2"/>
                    </a:moveTo>
                    <a:lnTo>
                      <a:pt x="14" y="2"/>
                    </a:lnTo>
                    <a:lnTo>
                      <a:pt x="14" y="0"/>
                    </a:lnTo>
                    <a:lnTo>
                      <a:pt x="12" y="0"/>
                    </a:lnTo>
                    <a:lnTo>
                      <a:pt x="8" y="2"/>
                    </a:lnTo>
                    <a:lnTo>
                      <a:pt x="2" y="4"/>
                    </a:lnTo>
                    <a:lnTo>
                      <a:pt x="0" y="8"/>
                    </a:lnTo>
                    <a:lnTo>
                      <a:pt x="0" y="10"/>
                    </a:lnTo>
                    <a:lnTo>
                      <a:pt x="2" y="10"/>
                    </a:lnTo>
                    <a:lnTo>
                      <a:pt x="8" y="8"/>
                    </a:lnTo>
                    <a:lnTo>
                      <a:pt x="12" y="4"/>
                    </a:lnTo>
                    <a:lnTo>
                      <a:pt x="14"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0" name="Freeform 5996"/>
              <p:cNvSpPr>
                <a:spLocks/>
              </p:cNvSpPr>
              <p:nvPr/>
            </p:nvSpPr>
            <p:spPr bwMode="auto">
              <a:xfrm>
                <a:off x="4607138" y="2934596"/>
                <a:ext cx="6637" cy="13272"/>
              </a:xfrm>
              <a:custGeom>
                <a:avLst/>
                <a:gdLst>
                  <a:gd name="T0" fmla="*/ 2147483647 w 12"/>
                  <a:gd name="T1" fmla="*/ 2147483647 h 24"/>
                  <a:gd name="T2" fmla="*/ 2147483647 w 12"/>
                  <a:gd name="T3" fmla="*/ 2147483647 h 24"/>
                  <a:gd name="T4" fmla="*/ 2147483647 w 12"/>
                  <a:gd name="T5" fmla="*/ 2147483647 h 24"/>
                  <a:gd name="T6" fmla="*/ 2147483647 w 12"/>
                  <a:gd name="T7" fmla="*/ 2147483647 h 24"/>
                  <a:gd name="T8" fmla="*/ 2147483647 w 12"/>
                  <a:gd name="T9" fmla="*/ 2147483647 h 24"/>
                  <a:gd name="T10" fmla="*/ 2147483647 w 12"/>
                  <a:gd name="T11" fmla="*/ 2147483647 h 24"/>
                  <a:gd name="T12" fmla="*/ 2147483647 w 12"/>
                  <a:gd name="T13" fmla="*/ 2147483647 h 24"/>
                  <a:gd name="T14" fmla="*/ 2147483647 w 12"/>
                  <a:gd name="T15" fmla="*/ 0 h 24"/>
                  <a:gd name="T16" fmla="*/ 2147483647 w 12"/>
                  <a:gd name="T17" fmla="*/ 0 h 24"/>
                  <a:gd name="T18" fmla="*/ 2147483647 w 12"/>
                  <a:gd name="T19" fmla="*/ 0 h 24"/>
                  <a:gd name="T20" fmla="*/ 2147483647 w 12"/>
                  <a:gd name="T21" fmla="*/ 0 h 24"/>
                  <a:gd name="T22" fmla="*/ 0 w 12"/>
                  <a:gd name="T23" fmla="*/ 2147483647 h 24"/>
                  <a:gd name="T24" fmla="*/ 0 w 12"/>
                  <a:gd name="T25" fmla="*/ 2147483647 h 24"/>
                  <a:gd name="T26" fmla="*/ 2147483647 w 12"/>
                  <a:gd name="T27" fmla="*/ 2147483647 h 24"/>
                  <a:gd name="T28" fmla="*/ 2147483647 w 12"/>
                  <a:gd name="T29" fmla="*/ 2147483647 h 24"/>
                  <a:gd name="T30" fmla="*/ 2147483647 w 12"/>
                  <a:gd name="T31" fmla="*/ 2147483647 h 24"/>
                  <a:gd name="T32" fmla="*/ 2147483647 w 12"/>
                  <a:gd name="T33" fmla="*/ 2147483647 h 24"/>
                  <a:gd name="T34" fmla="*/ 2147483647 w 12"/>
                  <a:gd name="T35" fmla="*/ 2147483647 h 24"/>
                  <a:gd name="T36" fmla="*/ 2147483647 w 12"/>
                  <a:gd name="T37" fmla="*/ 2147483647 h 24"/>
                  <a:gd name="T38" fmla="*/ 2147483647 w 12"/>
                  <a:gd name="T39" fmla="*/ 2147483647 h 24"/>
                  <a:gd name="T40" fmla="*/ 2147483647 w 12"/>
                  <a:gd name="T41" fmla="*/ 2147483647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
                  <a:gd name="T64" fmla="*/ 0 h 24"/>
                  <a:gd name="T65" fmla="*/ 12 w 12"/>
                  <a:gd name="T66" fmla="*/ 24 h 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 h="24">
                    <a:moveTo>
                      <a:pt x="6" y="24"/>
                    </a:moveTo>
                    <a:lnTo>
                      <a:pt x="6" y="24"/>
                    </a:lnTo>
                    <a:lnTo>
                      <a:pt x="10" y="20"/>
                    </a:lnTo>
                    <a:lnTo>
                      <a:pt x="12" y="16"/>
                    </a:lnTo>
                    <a:lnTo>
                      <a:pt x="12" y="12"/>
                    </a:lnTo>
                    <a:lnTo>
                      <a:pt x="12" y="8"/>
                    </a:lnTo>
                    <a:lnTo>
                      <a:pt x="12" y="4"/>
                    </a:lnTo>
                    <a:lnTo>
                      <a:pt x="8" y="0"/>
                    </a:lnTo>
                    <a:lnTo>
                      <a:pt x="6" y="0"/>
                    </a:lnTo>
                    <a:lnTo>
                      <a:pt x="2" y="0"/>
                    </a:lnTo>
                    <a:lnTo>
                      <a:pt x="0" y="2"/>
                    </a:lnTo>
                    <a:lnTo>
                      <a:pt x="0" y="4"/>
                    </a:lnTo>
                    <a:lnTo>
                      <a:pt x="4" y="8"/>
                    </a:lnTo>
                    <a:lnTo>
                      <a:pt x="4" y="12"/>
                    </a:lnTo>
                    <a:lnTo>
                      <a:pt x="2" y="18"/>
                    </a:lnTo>
                    <a:lnTo>
                      <a:pt x="2" y="24"/>
                    </a:lnTo>
                    <a:lnTo>
                      <a:pt x="6" y="2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1" name="Freeform 5997"/>
              <p:cNvSpPr>
                <a:spLocks/>
              </p:cNvSpPr>
              <p:nvPr/>
            </p:nvSpPr>
            <p:spPr bwMode="auto">
              <a:xfrm>
                <a:off x="4607138" y="2908053"/>
                <a:ext cx="14933" cy="13272"/>
              </a:xfrm>
              <a:custGeom>
                <a:avLst/>
                <a:gdLst>
                  <a:gd name="T0" fmla="*/ 2147483647 w 30"/>
                  <a:gd name="T1" fmla="*/ 0 h 22"/>
                  <a:gd name="T2" fmla="*/ 2147483647 w 30"/>
                  <a:gd name="T3" fmla="*/ 0 h 22"/>
                  <a:gd name="T4" fmla="*/ 2147483647 w 30"/>
                  <a:gd name="T5" fmla="*/ 0 h 22"/>
                  <a:gd name="T6" fmla="*/ 2147483647 w 30"/>
                  <a:gd name="T7" fmla="*/ 0 h 22"/>
                  <a:gd name="T8" fmla="*/ 2147483647 w 30"/>
                  <a:gd name="T9" fmla="*/ 2147483647 h 22"/>
                  <a:gd name="T10" fmla="*/ 2147483647 w 30"/>
                  <a:gd name="T11" fmla="*/ 2147483647 h 22"/>
                  <a:gd name="T12" fmla="*/ 0 w 30"/>
                  <a:gd name="T13" fmla="*/ 2147483647 h 22"/>
                  <a:gd name="T14" fmla="*/ 0 w 30"/>
                  <a:gd name="T15" fmla="*/ 2147483647 h 22"/>
                  <a:gd name="T16" fmla="*/ 2147483647 w 30"/>
                  <a:gd name="T17" fmla="*/ 2147483647 h 22"/>
                  <a:gd name="T18" fmla="*/ 2147483647 w 30"/>
                  <a:gd name="T19" fmla="*/ 2147483647 h 22"/>
                  <a:gd name="T20" fmla="*/ 2147483647 w 30"/>
                  <a:gd name="T21" fmla="*/ 2147483647 h 22"/>
                  <a:gd name="T22" fmla="*/ 2147483647 w 30"/>
                  <a:gd name="T23" fmla="*/ 2147483647 h 22"/>
                  <a:gd name="T24" fmla="*/ 2147483647 w 30"/>
                  <a:gd name="T25" fmla="*/ 2147483647 h 22"/>
                  <a:gd name="T26" fmla="*/ 2147483647 w 30"/>
                  <a:gd name="T27" fmla="*/ 2147483647 h 22"/>
                  <a:gd name="T28" fmla="*/ 2147483647 w 30"/>
                  <a:gd name="T29" fmla="*/ 2147483647 h 22"/>
                  <a:gd name="T30" fmla="*/ 2147483647 w 30"/>
                  <a:gd name="T31" fmla="*/ 2147483647 h 22"/>
                  <a:gd name="T32" fmla="*/ 2147483647 w 30"/>
                  <a:gd name="T33" fmla="*/ 2147483647 h 22"/>
                  <a:gd name="T34" fmla="*/ 2147483647 w 30"/>
                  <a:gd name="T35" fmla="*/ 2147483647 h 22"/>
                  <a:gd name="T36" fmla="*/ 2147483647 w 30"/>
                  <a:gd name="T37" fmla="*/ 2147483647 h 22"/>
                  <a:gd name="T38" fmla="*/ 2147483647 w 30"/>
                  <a:gd name="T39" fmla="*/ 2147483647 h 22"/>
                  <a:gd name="T40" fmla="*/ 2147483647 w 30"/>
                  <a:gd name="T41" fmla="*/ 2147483647 h 22"/>
                  <a:gd name="T42" fmla="*/ 2147483647 w 30"/>
                  <a:gd name="T43" fmla="*/ 2147483647 h 22"/>
                  <a:gd name="T44" fmla="*/ 2147483647 w 30"/>
                  <a:gd name="T45" fmla="*/ 0 h 22"/>
                  <a:gd name="T46" fmla="*/ 2147483647 w 30"/>
                  <a:gd name="T47" fmla="*/ 0 h 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0"/>
                  <a:gd name="T73" fmla="*/ 0 h 22"/>
                  <a:gd name="T74" fmla="*/ 30 w 30"/>
                  <a:gd name="T75" fmla="*/ 22 h 2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0" h="22">
                    <a:moveTo>
                      <a:pt x="20" y="0"/>
                    </a:moveTo>
                    <a:lnTo>
                      <a:pt x="20" y="0"/>
                    </a:lnTo>
                    <a:lnTo>
                      <a:pt x="16" y="0"/>
                    </a:lnTo>
                    <a:lnTo>
                      <a:pt x="14" y="0"/>
                    </a:lnTo>
                    <a:lnTo>
                      <a:pt x="4" y="6"/>
                    </a:lnTo>
                    <a:lnTo>
                      <a:pt x="0" y="8"/>
                    </a:lnTo>
                    <a:lnTo>
                      <a:pt x="0" y="10"/>
                    </a:lnTo>
                    <a:lnTo>
                      <a:pt x="2" y="14"/>
                    </a:lnTo>
                    <a:lnTo>
                      <a:pt x="8" y="18"/>
                    </a:lnTo>
                    <a:lnTo>
                      <a:pt x="16" y="22"/>
                    </a:lnTo>
                    <a:lnTo>
                      <a:pt x="22" y="22"/>
                    </a:lnTo>
                    <a:lnTo>
                      <a:pt x="28" y="20"/>
                    </a:lnTo>
                    <a:lnTo>
                      <a:pt x="30" y="20"/>
                    </a:lnTo>
                    <a:lnTo>
                      <a:pt x="30" y="16"/>
                    </a:lnTo>
                    <a:lnTo>
                      <a:pt x="30" y="14"/>
                    </a:lnTo>
                    <a:lnTo>
                      <a:pt x="28" y="12"/>
                    </a:lnTo>
                    <a:lnTo>
                      <a:pt x="22" y="8"/>
                    </a:lnTo>
                    <a:lnTo>
                      <a:pt x="22" y="4"/>
                    </a:lnTo>
                    <a:lnTo>
                      <a:pt x="22" y="2"/>
                    </a:lnTo>
                    <a:lnTo>
                      <a:pt x="2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2" name="Freeform 5998"/>
              <p:cNvSpPr>
                <a:spLocks/>
              </p:cNvSpPr>
              <p:nvPr/>
            </p:nvSpPr>
            <p:spPr bwMode="auto">
              <a:xfrm>
                <a:off x="4570634" y="2962798"/>
                <a:ext cx="3319" cy="3318"/>
              </a:xfrm>
              <a:custGeom>
                <a:avLst/>
                <a:gdLst>
                  <a:gd name="T0" fmla="*/ 0 w 6"/>
                  <a:gd name="T1" fmla="*/ 2147483647 h 8"/>
                  <a:gd name="T2" fmla="*/ 0 w 6"/>
                  <a:gd name="T3" fmla="*/ 2147483647 h 8"/>
                  <a:gd name="T4" fmla="*/ 2147483647 w 6"/>
                  <a:gd name="T5" fmla="*/ 2147483647 h 8"/>
                  <a:gd name="T6" fmla="*/ 2147483647 w 6"/>
                  <a:gd name="T7" fmla="*/ 2147483647 h 8"/>
                  <a:gd name="T8" fmla="*/ 2147483647 w 6"/>
                  <a:gd name="T9" fmla="*/ 2147483647 h 8"/>
                  <a:gd name="T10" fmla="*/ 2147483647 w 6"/>
                  <a:gd name="T11" fmla="*/ 2147483647 h 8"/>
                  <a:gd name="T12" fmla="*/ 2147483647 w 6"/>
                  <a:gd name="T13" fmla="*/ 2147483647 h 8"/>
                  <a:gd name="T14" fmla="*/ 2147483647 w 6"/>
                  <a:gd name="T15" fmla="*/ 0 h 8"/>
                  <a:gd name="T16" fmla="*/ 2147483647 w 6"/>
                  <a:gd name="T17" fmla="*/ 2147483647 h 8"/>
                  <a:gd name="T18" fmla="*/ 0 w 6"/>
                  <a:gd name="T19" fmla="*/ 2147483647 h 8"/>
                  <a:gd name="T20" fmla="*/ 0 w 6"/>
                  <a:gd name="T21" fmla="*/ 2147483647 h 8"/>
                  <a:gd name="T22" fmla="*/ 0 w 6"/>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8"/>
                  <a:gd name="T38" fmla="*/ 6 w 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8">
                    <a:moveTo>
                      <a:pt x="0" y="8"/>
                    </a:moveTo>
                    <a:lnTo>
                      <a:pt x="0" y="8"/>
                    </a:lnTo>
                    <a:lnTo>
                      <a:pt x="2" y="8"/>
                    </a:lnTo>
                    <a:lnTo>
                      <a:pt x="4" y="6"/>
                    </a:lnTo>
                    <a:lnTo>
                      <a:pt x="6" y="4"/>
                    </a:lnTo>
                    <a:lnTo>
                      <a:pt x="4" y="2"/>
                    </a:lnTo>
                    <a:lnTo>
                      <a:pt x="2" y="0"/>
                    </a:lnTo>
                    <a:lnTo>
                      <a:pt x="2" y="4"/>
                    </a:lnTo>
                    <a:lnTo>
                      <a:pt x="0" y="6"/>
                    </a:lnTo>
                    <a:lnTo>
                      <a:pt x="0" y="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3" name="Freeform 5999"/>
              <p:cNvSpPr>
                <a:spLocks/>
              </p:cNvSpPr>
              <p:nvPr/>
            </p:nvSpPr>
            <p:spPr bwMode="auto">
              <a:xfrm>
                <a:off x="4587227" y="2891463"/>
                <a:ext cx="8296" cy="3318"/>
              </a:xfrm>
              <a:custGeom>
                <a:avLst/>
                <a:gdLst>
                  <a:gd name="T0" fmla="*/ 2147483647 w 16"/>
                  <a:gd name="T1" fmla="*/ 0 h 12"/>
                  <a:gd name="T2" fmla="*/ 2147483647 w 16"/>
                  <a:gd name="T3" fmla="*/ 0 h 12"/>
                  <a:gd name="T4" fmla="*/ 2147483647 w 16"/>
                  <a:gd name="T5" fmla="*/ 0 h 12"/>
                  <a:gd name="T6" fmla="*/ 2147483647 w 16"/>
                  <a:gd name="T7" fmla="*/ 0 h 12"/>
                  <a:gd name="T8" fmla="*/ 2147483647 w 16"/>
                  <a:gd name="T9" fmla="*/ 0 h 12"/>
                  <a:gd name="T10" fmla="*/ 0 w 16"/>
                  <a:gd name="T11" fmla="*/ 2147483647 h 12"/>
                  <a:gd name="T12" fmla="*/ 0 w 16"/>
                  <a:gd name="T13" fmla="*/ 2147483647 h 12"/>
                  <a:gd name="T14" fmla="*/ 0 w 16"/>
                  <a:gd name="T15" fmla="*/ 2147483647 h 12"/>
                  <a:gd name="T16" fmla="*/ 0 w 16"/>
                  <a:gd name="T17" fmla="*/ 2147483647 h 12"/>
                  <a:gd name="T18" fmla="*/ 2147483647 w 16"/>
                  <a:gd name="T19" fmla="*/ 2147483647 h 12"/>
                  <a:gd name="T20" fmla="*/ 2147483647 w 16"/>
                  <a:gd name="T21" fmla="*/ 2147483647 h 12"/>
                  <a:gd name="T22" fmla="*/ 2147483647 w 16"/>
                  <a:gd name="T23" fmla="*/ 2147483647 h 12"/>
                  <a:gd name="T24" fmla="*/ 2147483647 w 16"/>
                  <a:gd name="T25" fmla="*/ 2147483647 h 12"/>
                  <a:gd name="T26" fmla="*/ 2147483647 w 16"/>
                  <a:gd name="T27" fmla="*/ 2147483647 h 12"/>
                  <a:gd name="T28" fmla="*/ 2147483647 w 16"/>
                  <a:gd name="T29" fmla="*/ 2147483647 h 12"/>
                  <a:gd name="T30" fmla="*/ 2147483647 w 16"/>
                  <a:gd name="T31" fmla="*/ 2147483647 h 12"/>
                  <a:gd name="T32" fmla="*/ 2147483647 w 16"/>
                  <a:gd name="T33" fmla="*/ 2147483647 h 12"/>
                  <a:gd name="T34" fmla="*/ 2147483647 w 16"/>
                  <a:gd name="T35" fmla="*/ 2147483647 h 12"/>
                  <a:gd name="T36" fmla="*/ 2147483647 w 16"/>
                  <a:gd name="T37" fmla="*/ 2147483647 h 12"/>
                  <a:gd name="T38" fmla="*/ 2147483647 w 16"/>
                  <a:gd name="T39" fmla="*/ 0 h 12"/>
                  <a:gd name="T40" fmla="*/ 2147483647 w 16"/>
                  <a:gd name="T41" fmla="*/ 0 h 12"/>
                  <a:gd name="T42" fmla="*/ 2147483647 w 16"/>
                  <a:gd name="T43" fmla="*/ 0 h 12"/>
                  <a:gd name="T44" fmla="*/ 2147483647 w 16"/>
                  <a:gd name="T45" fmla="*/ 0 h 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
                  <a:gd name="T70" fmla="*/ 0 h 12"/>
                  <a:gd name="T71" fmla="*/ 16 w 16"/>
                  <a:gd name="T72" fmla="*/ 12 h 1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 h="12">
                    <a:moveTo>
                      <a:pt x="14" y="0"/>
                    </a:moveTo>
                    <a:lnTo>
                      <a:pt x="14" y="0"/>
                    </a:lnTo>
                    <a:lnTo>
                      <a:pt x="10" y="0"/>
                    </a:lnTo>
                    <a:lnTo>
                      <a:pt x="6" y="0"/>
                    </a:lnTo>
                    <a:lnTo>
                      <a:pt x="2" y="0"/>
                    </a:lnTo>
                    <a:lnTo>
                      <a:pt x="0" y="2"/>
                    </a:lnTo>
                    <a:lnTo>
                      <a:pt x="0" y="6"/>
                    </a:lnTo>
                    <a:lnTo>
                      <a:pt x="0" y="10"/>
                    </a:lnTo>
                    <a:lnTo>
                      <a:pt x="2" y="10"/>
                    </a:lnTo>
                    <a:lnTo>
                      <a:pt x="4" y="10"/>
                    </a:lnTo>
                    <a:lnTo>
                      <a:pt x="6" y="8"/>
                    </a:lnTo>
                    <a:lnTo>
                      <a:pt x="8" y="8"/>
                    </a:lnTo>
                    <a:lnTo>
                      <a:pt x="10" y="8"/>
                    </a:lnTo>
                    <a:lnTo>
                      <a:pt x="12" y="10"/>
                    </a:lnTo>
                    <a:lnTo>
                      <a:pt x="14" y="12"/>
                    </a:lnTo>
                    <a:lnTo>
                      <a:pt x="14" y="10"/>
                    </a:lnTo>
                    <a:lnTo>
                      <a:pt x="16" y="0"/>
                    </a:lnTo>
                    <a:lnTo>
                      <a:pt x="14"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4" name="Freeform 6000"/>
              <p:cNvSpPr>
                <a:spLocks/>
              </p:cNvSpPr>
              <p:nvPr/>
            </p:nvSpPr>
            <p:spPr bwMode="auto">
              <a:xfrm>
                <a:off x="4580590" y="2952844"/>
                <a:ext cx="11614" cy="14931"/>
              </a:xfrm>
              <a:custGeom>
                <a:avLst/>
                <a:gdLst>
                  <a:gd name="T0" fmla="*/ 0 w 22"/>
                  <a:gd name="T1" fmla="*/ 2147483647 h 26"/>
                  <a:gd name="T2" fmla="*/ 0 w 22"/>
                  <a:gd name="T3" fmla="*/ 2147483647 h 26"/>
                  <a:gd name="T4" fmla="*/ 0 w 22"/>
                  <a:gd name="T5" fmla="*/ 2147483647 h 26"/>
                  <a:gd name="T6" fmla="*/ 2147483647 w 22"/>
                  <a:gd name="T7" fmla="*/ 2147483647 h 26"/>
                  <a:gd name="T8" fmla="*/ 2147483647 w 22"/>
                  <a:gd name="T9" fmla="*/ 2147483647 h 26"/>
                  <a:gd name="T10" fmla="*/ 2147483647 w 22"/>
                  <a:gd name="T11" fmla="*/ 2147483647 h 26"/>
                  <a:gd name="T12" fmla="*/ 2147483647 w 22"/>
                  <a:gd name="T13" fmla="*/ 2147483647 h 26"/>
                  <a:gd name="T14" fmla="*/ 2147483647 w 22"/>
                  <a:gd name="T15" fmla="*/ 2147483647 h 26"/>
                  <a:gd name="T16" fmla="*/ 2147483647 w 22"/>
                  <a:gd name="T17" fmla="*/ 2147483647 h 26"/>
                  <a:gd name="T18" fmla="*/ 2147483647 w 22"/>
                  <a:gd name="T19" fmla="*/ 2147483647 h 26"/>
                  <a:gd name="T20" fmla="*/ 2147483647 w 22"/>
                  <a:gd name="T21" fmla="*/ 2147483647 h 26"/>
                  <a:gd name="T22" fmla="*/ 2147483647 w 22"/>
                  <a:gd name="T23" fmla="*/ 2147483647 h 26"/>
                  <a:gd name="T24" fmla="*/ 2147483647 w 22"/>
                  <a:gd name="T25" fmla="*/ 2147483647 h 26"/>
                  <a:gd name="T26" fmla="*/ 2147483647 w 22"/>
                  <a:gd name="T27" fmla="*/ 0 h 26"/>
                  <a:gd name="T28" fmla="*/ 2147483647 w 22"/>
                  <a:gd name="T29" fmla="*/ 0 h 26"/>
                  <a:gd name="T30" fmla="*/ 0 w 22"/>
                  <a:gd name="T31" fmla="*/ 2147483647 h 26"/>
                  <a:gd name="T32" fmla="*/ 0 w 22"/>
                  <a:gd name="T33" fmla="*/ 2147483647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26"/>
                  <a:gd name="T53" fmla="*/ 22 w 22"/>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26">
                    <a:moveTo>
                      <a:pt x="0" y="2"/>
                    </a:moveTo>
                    <a:lnTo>
                      <a:pt x="0" y="2"/>
                    </a:lnTo>
                    <a:lnTo>
                      <a:pt x="0" y="4"/>
                    </a:lnTo>
                    <a:lnTo>
                      <a:pt x="2" y="8"/>
                    </a:lnTo>
                    <a:lnTo>
                      <a:pt x="12" y="20"/>
                    </a:lnTo>
                    <a:lnTo>
                      <a:pt x="18" y="26"/>
                    </a:lnTo>
                    <a:lnTo>
                      <a:pt x="20" y="26"/>
                    </a:lnTo>
                    <a:lnTo>
                      <a:pt x="22" y="24"/>
                    </a:lnTo>
                    <a:lnTo>
                      <a:pt x="18" y="20"/>
                    </a:lnTo>
                    <a:lnTo>
                      <a:pt x="14" y="14"/>
                    </a:lnTo>
                    <a:lnTo>
                      <a:pt x="8" y="6"/>
                    </a:lnTo>
                    <a:lnTo>
                      <a:pt x="4" y="0"/>
                    </a:lnTo>
                    <a:lnTo>
                      <a:pt x="2" y="0"/>
                    </a:lnTo>
                    <a:lnTo>
                      <a:pt x="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5" name="Freeform 6001"/>
              <p:cNvSpPr>
                <a:spLocks/>
              </p:cNvSpPr>
              <p:nvPr/>
            </p:nvSpPr>
            <p:spPr bwMode="auto">
              <a:xfrm>
                <a:off x="4577271" y="2863261"/>
                <a:ext cx="4977" cy="8295"/>
              </a:xfrm>
              <a:custGeom>
                <a:avLst/>
                <a:gdLst>
                  <a:gd name="T0" fmla="*/ 2147483647 w 10"/>
                  <a:gd name="T1" fmla="*/ 0 h 12"/>
                  <a:gd name="T2" fmla="*/ 2147483647 w 10"/>
                  <a:gd name="T3" fmla="*/ 0 h 12"/>
                  <a:gd name="T4" fmla="*/ 2147483647 w 10"/>
                  <a:gd name="T5" fmla="*/ 2147483647 h 12"/>
                  <a:gd name="T6" fmla="*/ 0 w 10"/>
                  <a:gd name="T7" fmla="*/ 2147483647 h 12"/>
                  <a:gd name="T8" fmla="*/ 0 w 10"/>
                  <a:gd name="T9" fmla="*/ 2147483647 h 12"/>
                  <a:gd name="T10" fmla="*/ 2147483647 w 10"/>
                  <a:gd name="T11" fmla="*/ 2147483647 h 12"/>
                  <a:gd name="T12" fmla="*/ 2147483647 w 10"/>
                  <a:gd name="T13" fmla="*/ 2147483647 h 12"/>
                  <a:gd name="T14" fmla="*/ 2147483647 w 10"/>
                  <a:gd name="T15" fmla="*/ 2147483647 h 12"/>
                  <a:gd name="T16" fmla="*/ 2147483647 w 10"/>
                  <a:gd name="T17" fmla="*/ 2147483647 h 12"/>
                  <a:gd name="T18" fmla="*/ 2147483647 w 10"/>
                  <a:gd name="T19" fmla="*/ 2147483647 h 12"/>
                  <a:gd name="T20" fmla="*/ 2147483647 w 10"/>
                  <a:gd name="T21" fmla="*/ 2147483647 h 12"/>
                  <a:gd name="T22" fmla="*/ 2147483647 w 10"/>
                  <a:gd name="T23" fmla="*/ 0 h 12"/>
                  <a:gd name="T24" fmla="*/ 2147483647 w 10"/>
                  <a:gd name="T25" fmla="*/ 0 h 12"/>
                  <a:gd name="T26" fmla="*/ 2147483647 w 10"/>
                  <a:gd name="T27" fmla="*/ 0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2"/>
                  <a:gd name="T44" fmla="*/ 10 w 10"/>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2">
                    <a:moveTo>
                      <a:pt x="6" y="0"/>
                    </a:moveTo>
                    <a:lnTo>
                      <a:pt x="6" y="0"/>
                    </a:lnTo>
                    <a:lnTo>
                      <a:pt x="2" y="2"/>
                    </a:lnTo>
                    <a:lnTo>
                      <a:pt x="0" y="6"/>
                    </a:lnTo>
                    <a:lnTo>
                      <a:pt x="0" y="10"/>
                    </a:lnTo>
                    <a:lnTo>
                      <a:pt x="4" y="12"/>
                    </a:lnTo>
                    <a:lnTo>
                      <a:pt x="6" y="12"/>
                    </a:lnTo>
                    <a:lnTo>
                      <a:pt x="8" y="10"/>
                    </a:lnTo>
                    <a:lnTo>
                      <a:pt x="10" y="6"/>
                    </a:lnTo>
                    <a:lnTo>
                      <a:pt x="10" y="2"/>
                    </a:lnTo>
                    <a:lnTo>
                      <a:pt x="8" y="0"/>
                    </a:lnTo>
                    <a:lnTo>
                      <a:pt x="6"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6" name="Freeform 6002"/>
              <p:cNvSpPr>
                <a:spLocks/>
              </p:cNvSpPr>
              <p:nvPr/>
            </p:nvSpPr>
            <p:spPr bwMode="auto">
              <a:xfrm>
                <a:off x="5332243" y="4613456"/>
                <a:ext cx="13274" cy="14930"/>
              </a:xfrm>
              <a:custGeom>
                <a:avLst/>
                <a:gdLst>
                  <a:gd name="T0" fmla="*/ 2147483647 w 18"/>
                  <a:gd name="T1" fmla="*/ 2147483647 h 28"/>
                  <a:gd name="T2" fmla="*/ 2147483647 w 18"/>
                  <a:gd name="T3" fmla="*/ 2147483647 h 28"/>
                  <a:gd name="T4" fmla="*/ 2147483647 w 18"/>
                  <a:gd name="T5" fmla="*/ 2147483647 h 28"/>
                  <a:gd name="T6" fmla="*/ 2147483647 w 18"/>
                  <a:gd name="T7" fmla="*/ 2147483647 h 28"/>
                  <a:gd name="T8" fmla="*/ 2147483647 w 18"/>
                  <a:gd name="T9" fmla="*/ 2147483647 h 28"/>
                  <a:gd name="T10" fmla="*/ 2147483647 w 18"/>
                  <a:gd name="T11" fmla="*/ 2147483647 h 28"/>
                  <a:gd name="T12" fmla="*/ 2147483647 w 18"/>
                  <a:gd name="T13" fmla="*/ 2147483647 h 28"/>
                  <a:gd name="T14" fmla="*/ 2147483647 w 18"/>
                  <a:gd name="T15" fmla="*/ 2147483647 h 28"/>
                  <a:gd name="T16" fmla="*/ 2147483647 w 18"/>
                  <a:gd name="T17" fmla="*/ 2147483647 h 28"/>
                  <a:gd name="T18" fmla="*/ 2147483647 w 18"/>
                  <a:gd name="T19" fmla="*/ 0 h 28"/>
                  <a:gd name="T20" fmla="*/ 2147483647 w 18"/>
                  <a:gd name="T21" fmla="*/ 2147483647 h 28"/>
                  <a:gd name="T22" fmla="*/ 2147483647 w 18"/>
                  <a:gd name="T23" fmla="*/ 2147483647 h 28"/>
                  <a:gd name="T24" fmla="*/ 0 w 18"/>
                  <a:gd name="T25" fmla="*/ 2147483647 h 28"/>
                  <a:gd name="T26" fmla="*/ 0 w 18"/>
                  <a:gd name="T27" fmla="*/ 2147483647 h 28"/>
                  <a:gd name="T28" fmla="*/ 2147483647 w 18"/>
                  <a:gd name="T29" fmla="*/ 2147483647 h 28"/>
                  <a:gd name="T30" fmla="*/ 2147483647 w 18"/>
                  <a:gd name="T31" fmla="*/ 2147483647 h 28"/>
                  <a:gd name="T32" fmla="*/ 2147483647 w 18"/>
                  <a:gd name="T33" fmla="*/ 2147483647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8"/>
                  <a:gd name="T53" fmla="*/ 18 w 18"/>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8">
                    <a:moveTo>
                      <a:pt x="10" y="28"/>
                    </a:moveTo>
                    <a:lnTo>
                      <a:pt x="10" y="28"/>
                    </a:lnTo>
                    <a:lnTo>
                      <a:pt x="14" y="26"/>
                    </a:lnTo>
                    <a:lnTo>
                      <a:pt x="16" y="24"/>
                    </a:lnTo>
                    <a:lnTo>
                      <a:pt x="18" y="22"/>
                    </a:lnTo>
                    <a:lnTo>
                      <a:pt x="18" y="20"/>
                    </a:lnTo>
                    <a:lnTo>
                      <a:pt x="16" y="12"/>
                    </a:lnTo>
                    <a:lnTo>
                      <a:pt x="14" y="2"/>
                    </a:lnTo>
                    <a:lnTo>
                      <a:pt x="12" y="0"/>
                    </a:lnTo>
                    <a:lnTo>
                      <a:pt x="10" y="2"/>
                    </a:lnTo>
                    <a:lnTo>
                      <a:pt x="2" y="12"/>
                    </a:lnTo>
                    <a:lnTo>
                      <a:pt x="0" y="18"/>
                    </a:lnTo>
                    <a:lnTo>
                      <a:pt x="0" y="24"/>
                    </a:lnTo>
                    <a:lnTo>
                      <a:pt x="2" y="28"/>
                    </a:lnTo>
                    <a:lnTo>
                      <a:pt x="10" y="2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7" name="Freeform 6003"/>
              <p:cNvSpPr>
                <a:spLocks/>
              </p:cNvSpPr>
              <p:nvPr/>
            </p:nvSpPr>
            <p:spPr bwMode="auto">
              <a:xfrm>
                <a:off x="5284125" y="4639999"/>
                <a:ext cx="14933" cy="13272"/>
              </a:xfrm>
              <a:custGeom>
                <a:avLst/>
                <a:gdLst>
                  <a:gd name="T0" fmla="*/ 0 w 26"/>
                  <a:gd name="T1" fmla="*/ 2147483647 h 24"/>
                  <a:gd name="T2" fmla="*/ 0 w 26"/>
                  <a:gd name="T3" fmla="*/ 2147483647 h 24"/>
                  <a:gd name="T4" fmla="*/ 0 w 26"/>
                  <a:gd name="T5" fmla="*/ 2147483647 h 24"/>
                  <a:gd name="T6" fmla="*/ 2147483647 w 26"/>
                  <a:gd name="T7" fmla="*/ 2147483647 h 24"/>
                  <a:gd name="T8" fmla="*/ 2147483647 w 26"/>
                  <a:gd name="T9" fmla="*/ 2147483647 h 24"/>
                  <a:gd name="T10" fmla="*/ 2147483647 w 26"/>
                  <a:gd name="T11" fmla="*/ 2147483647 h 24"/>
                  <a:gd name="T12" fmla="*/ 2147483647 w 26"/>
                  <a:gd name="T13" fmla="*/ 2147483647 h 24"/>
                  <a:gd name="T14" fmla="*/ 2147483647 w 26"/>
                  <a:gd name="T15" fmla="*/ 2147483647 h 24"/>
                  <a:gd name="T16" fmla="*/ 2147483647 w 26"/>
                  <a:gd name="T17" fmla="*/ 2147483647 h 24"/>
                  <a:gd name="T18" fmla="*/ 2147483647 w 26"/>
                  <a:gd name="T19" fmla="*/ 2147483647 h 24"/>
                  <a:gd name="T20" fmla="*/ 2147483647 w 26"/>
                  <a:gd name="T21" fmla="*/ 2147483647 h 24"/>
                  <a:gd name="T22" fmla="*/ 2147483647 w 26"/>
                  <a:gd name="T23" fmla="*/ 2147483647 h 24"/>
                  <a:gd name="T24" fmla="*/ 2147483647 w 26"/>
                  <a:gd name="T25" fmla="*/ 2147483647 h 24"/>
                  <a:gd name="T26" fmla="*/ 2147483647 w 26"/>
                  <a:gd name="T27" fmla="*/ 2147483647 h 24"/>
                  <a:gd name="T28" fmla="*/ 2147483647 w 26"/>
                  <a:gd name="T29" fmla="*/ 2147483647 h 24"/>
                  <a:gd name="T30" fmla="*/ 2147483647 w 26"/>
                  <a:gd name="T31" fmla="*/ 0 h 24"/>
                  <a:gd name="T32" fmla="*/ 2147483647 w 26"/>
                  <a:gd name="T33" fmla="*/ 2147483647 h 24"/>
                  <a:gd name="T34" fmla="*/ 0 w 26"/>
                  <a:gd name="T35" fmla="*/ 2147483647 h 24"/>
                  <a:gd name="T36" fmla="*/ 0 w 26"/>
                  <a:gd name="T37" fmla="*/ 2147483647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24"/>
                  <a:gd name="T59" fmla="*/ 26 w 26"/>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24">
                    <a:moveTo>
                      <a:pt x="0" y="4"/>
                    </a:moveTo>
                    <a:lnTo>
                      <a:pt x="0" y="4"/>
                    </a:lnTo>
                    <a:lnTo>
                      <a:pt x="0" y="8"/>
                    </a:lnTo>
                    <a:lnTo>
                      <a:pt x="2" y="12"/>
                    </a:lnTo>
                    <a:lnTo>
                      <a:pt x="8" y="20"/>
                    </a:lnTo>
                    <a:lnTo>
                      <a:pt x="12" y="22"/>
                    </a:lnTo>
                    <a:lnTo>
                      <a:pt x="16" y="24"/>
                    </a:lnTo>
                    <a:lnTo>
                      <a:pt x="20" y="22"/>
                    </a:lnTo>
                    <a:lnTo>
                      <a:pt x="24" y="20"/>
                    </a:lnTo>
                    <a:lnTo>
                      <a:pt x="26" y="16"/>
                    </a:lnTo>
                    <a:lnTo>
                      <a:pt x="26" y="12"/>
                    </a:lnTo>
                    <a:lnTo>
                      <a:pt x="22" y="8"/>
                    </a:lnTo>
                    <a:lnTo>
                      <a:pt x="18" y="4"/>
                    </a:lnTo>
                    <a:lnTo>
                      <a:pt x="14" y="2"/>
                    </a:lnTo>
                    <a:lnTo>
                      <a:pt x="8" y="0"/>
                    </a:lnTo>
                    <a:lnTo>
                      <a:pt x="4" y="2"/>
                    </a:lnTo>
                    <a:lnTo>
                      <a:pt x="0" y="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8" name="Freeform 6007"/>
              <p:cNvSpPr>
                <a:spLocks/>
              </p:cNvSpPr>
              <p:nvPr/>
            </p:nvSpPr>
            <p:spPr bwMode="auto">
              <a:xfrm>
                <a:off x="3226617" y="4006279"/>
                <a:ext cx="4977" cy="11612"/>
              </a:xfrm>
              <a:custGeom>
                <a:avLst/>
                <a:gdLst>
                  <a:gd name="T0" fmla="*/ 2147483647 w 10"/>
                  <a:gd name="T1" fmla="*/ 2147483647 h 16"/>
                  <a:gd name="T2" fmla="*/ 2147483647 w 10"/>
                  <a:gd name="T3" fmla="*/ 2147483647 h 16"/>
                  <a:gd name="T4" fmla="*/ 2147483647 w 10"/>
                  <a:gd name="T5" fmla="*/ 2147483647 h 16"/>
                  <a:gd name="T6" fmla="*/ 2147483647 w 10"/>
                  <a:gd name="T7" fmla="*/ 2147483647 h 16"/>
                  <a:gd name="T8" fmla="*/ 2147483647 w 10"/>
                  <a:gd name="T9" fmla="*/ 2147483647 h 16"/>
                  <a:gd name="T10" fmla="*/ 2147483647 w 10"/>
                  <a:gd name="T11" fmla="*/ 2147483647 h 16"/>
                  <a:gd name="T12" fmla="*/ 2147483647 w 10"/>
                  <a:gd name="T13" fmla="*/ 0 h 16"/>
                  <a:gd name="T14" fmla="*/ 2147483647 w 10"/>
                  <a:gd name="T15" fmla="*/ 0 h 16"/>
                  <a:gd name="T16" fmla="*/ 2147483647 w 10"/>
                  <a:gd name="T17" fmla="*/ 2147483647 h 16"/>
                  <a:gd name="T18" fmla="*/ 2147483647 w 10"/>
                  <a:gd name="T19" fmla="*/ 2147483647 h 16"/>
                  <a:gd name="T20" fmla="*/ 2147483647 w 10"/>
                  <a:gd name="T21" fmla="*/ 2147483647 h 16"/>
                  <a:gd name="T22" fmla="*/ 0 w 10"/>
                  <a:gd name="T23" fmla="*/ 2147483647 h 16"/>
                  <a:gd name="T24" fmla="*/ 2147483647 w 10"/>
                  <a:gd name="T25" fmla="*/ 2147483647 h 16"/>
                  <a:gd name="T26" fmla="*/ 2147483647 w 10"/>
                  <a:gd name="T27" fmla="*/ 2147483647 h 16"/>
                  <a:gd name="T28" fmla="*/ 2147483647 w 10"/>
                  <a:gd name="T29" fmla="*/ 2147483647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16"/>
                  <a:gd name="T47" fmla="*/ 10 w 10"/>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16">
                    <a:moveTo>
                      <a:pt x="6" y="16"/>
                    </a:moveTo>
                    <a:lnTo>
                      <a:pt x="6" y="16"/>
                    </a:lnTo>
                    <a:lnTo>
                      <a:pt x="8" y="16"/>
                    </a:lnTo>
                    <a:lnTo>
                      <a:pt x="10" y="12"/>
                    </a:lnTo>
                    <a:lnTo>
                      <a:pt x="6" y="4"/>
                    </a:lnTo>
                    <a:lnTo>
                      <a:pt x="4" y="0"/>
                    </a:lnTo>
                    <a:lnTo>
                      <a:pt x="4" y="6"/>
                    </a:lnTo>
                    <a:lnTo>
                      <a:pt x="2" y="10"/>
                    </a:lnTo>
                    <a:lnTo>
                      <a:pt x="0" y="14"/>
                    </a:lnTo>
                    <a:lnTo>
                      <a:pt x="2" y="16"/>
                    </a:lnTo>
                    <a:lnTo>
                      <a:pt x="6" y="1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99" name="Freeform 6137"/>
              <p:cNvSpPr>
                <a:spLocks/>
              </p:cNvSpPr>
              <p:nvPr/>
            </p:nvSpPr>
            <p:spPr bwMode="auto">
              <a:xfrm>
                <a:off x="4159133" y="4039458"/>
                <a:ext cx="6637" cy="9954"/>
              </a:xfrm>
              <a:custGeom>
                <a:avLst/>
                <a:gdLst>
                  <a:gd name="T0" fmla="*/ 2147483647 w 12"/>
                  <a:gd name="T1" fmla="*/ 0 h 18"/>
                  <a:gd name="T2" fmla="*/ 2147483647 w 12"/>
                  <a:gd name="T3" fmla="*/ 0 h 18"/>
                  <a:gd name="T4" fmla="*/ 2147483647 w 12"/>
                  <a:gd name="T5" fmla="*/ 0 h 18"/>
                  <a:gd name="T6" fmla="*/ 2147483647 w 12"/>
                  <a:gd name="T7" fmla="*/ 0 h 18"/>
                  <a:gd name="T8" fmla="*/ 0 w 12"/>
                  <a:gd name="T9" fmla="*/ 2147483647 h 18"/>
                  <a:gd name="T10" fmla="*/ 0 w 12"/>
                  <a:gd name="T11" fmla="*/ 2147483647 h 18"/>
                  <a:gd name="T12" fmla="*/ 2147483647 w 12"/>
                  <a:gd name="T13" fmla="*/ 2147483647 h 18"/>
                  <a:gd name="T14" fmla="*/ 2147483647 w 12"/>
                  <a:gd name="T15" fmla="*/ 2147483647 h 18"/>
                  <a:gd name="T16" fmla="*/ 2147483647 w 12"/>
                  <a:gd name="T17" fmla="*/ 2147483647 h 18"/>
                  <a:gd name="T18" fmla="*/ 2147483647 w 12"/>
                  <a:gd name="T19" fmla="*/ 2147483647 h 18"/>
                  <a:gd name="T20" fmla="*/ 2147483647 w 12"/>
                  <a:gd name="T21" fmla="*/ 2147483647 h 18"/>
                  <a:gd name="T22" fmla="*/ 2147483647 w 12"/>
                  <a:gd name="T23" fmla="*/ 2147483647 h 18"/>
                  <a:gd name="T24" fmla="*/ 2147483647 w 12"/>
                  <a:gd name="T25" fmla="*/ 2147483647 h 18"/>
                  <a:gd name="T26" fmla="*/ 2147483647 w 12"/>
                  <a:gd name="T27" fmla="*/ 0 h 18"/>
                  <a:gd name="T28" fmla="*/ 2147483647 w 12"/>
                  <a:gd name="T29" fmla="*/ 0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18"/>
                  <a:gd name="T47" fmla="*/ 12 w 12"/>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18">
                    <a:moveTo>
                      <a:pt x="10" y="0"/>
                    </a:moveTo>
                    <a:lnTo>
                      <a:pt x="10" y="0"/>
                    </a:lnTo>
                    <a:lnTo>
                      <a:pt x="6" y="0"/>
                    </a:lnTo>
                    <a:lnTo>
                      <a:pt x="4" y="0"/>
                    </a:lnTo>
                    <a:lnTo>
                      <a:pt x="0" y="6"/>
                    </a:lnTo>
                    <a:lnTo>
                      <a:pt x="0" y="14"/>
                    </a:lnTo>
                    <a:lnTo>
                      <a:pt x="2" y="18"/>
                    </a:lnTo>
                    <a:lnTo>
                      <a:pt x="4" y="18"/>
                    </a:lnTo>
                    <a:lnTo>
                      <a:pt x="6" y="16"/>
                    </a:lnTo>
                    <a:lnTo>
                      <a:pt x="10" y="10"/>
                    </a:lnTo>
                    <a:lnTo>
                      <a:pt x="12" y="4"/>
                    </a:lnTo>
                    <a:lnTo>
                      <a:pt x="12" y="2"/>
                    </a:lnTo>
                    <a:lnTo>
                      <a:pt x="10"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0" name="Freeform 6139"/>
              <p:cNvSpPr>
                <a:spLocks/>
              </p:cNvSpPr>
              <p:nvPr/>
            </p:nvSpPr>
            <p:spPr bwMode="auto">
              <a:xfrm>
                <a:off x="5007024" y="4369589"/>
                <a:ext cx="4978" cy="13272"/>
              </a:xfrm>
              <a:custGeom>
                <a:avLst/>
                <a:gdLst>
                  <a:gd name="T0" fmla="*/ 2147483647 w 10"/>
                  <a:gd name="T1" fmla="*/ 2147483647 h 28"/>
                  <a:gd name="T2" fmla="*/ 2147483647 w 10"/>
                  <a:gd name="T3" fmla="*/ 2147483647 h 28"/>
                  <a:gd name="T4" fmla="*/ 2147483647 w 10"/>
                  <a:gd name="T5" fmla="*/ 2147483647 h 28"/>
                  <a:gd name="T6" fmla="*/ 2147483647 w 10"/>
                  <a:gd name="T7" fmla="*/ 2147483647 h 28"/>
                  <a:gd name="T8" fmla="*/ 2147483647 w 10"/>
                  <a:gd name="T9" fmla="*/ 2147483647 h 28"/>
                  <a:gd name="T10" fmla="*/ 2147483647 w 10"/>
                  <a:gd name="T11" fmla="*/ 2147483647 h 28"/>
                  <a:gd name="T12" fmla="*/ 2147483647 w 10"/>
                  <a:gd name="T13" fmla="*/ 0 h 28"/>
                  <a:gd name="T14" fmla="*/ 2147483647 w 10"/>
                  <a:gd name="T15" fmla="*/ 0 h 28"/>
                  <a:gd name="T16" fmla="*/ 2147483647 w 10"/>
                  <a:gd name="T17" fmla="*/ 0 h 28"/>
                  <a:gd name="T18" fmla="*/ 0 w 10"/>
                  <a:gd name="T19" fmla="*/ 2147483647 h 28"/>
                  <a:gd name="T20" fmla="*/ 0 w 10"/>
                  <a:gd name="T21" fmla="*/ 2147483647 h 28"/>
                  <a:gd name="T22" fmla="*/ 2147483647 w 10"/>
                  <a:gd name="T23" fmla="*/ 2147483647 h 28"/>
                  <a:gd name="T24" fmla="*/ 2147483647 w 10"/>
                  <a:gd name="T25" fmla="*/ 2147483647 h 28"/>
                  <a:gd name="T26" fmla="*/ 2147483647 w 10"/>
                  <a:gd name="T27" fmla="*/ 2147483647 h 28"/>
                  <a:gd name="T28" fmla="*/ 2147483647 w 10"/>
                  <a:gd name="T29" fmla="*/ 2147483647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28"/>
                  <a:gd name="T47" fmla="*/ 10 w 10"/>
                  <a:gd name="T48" fmla="*/ 28 h 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28">
                    <a:moveTo>
                      <a:pt x="8" y="28"/>
                    </a:moveTo>
                    <a:lnTo>
                      <a:pt x="8" y="28"/>
                    </a:lnTo>
                    <a:lnTo>
                      <a:pt x="10" y="28"/>
                    </a:lnTo>
                    <a:lnTo>
                      <a:pt x="10" y="24"/>
                    </a:lnTo>
                    <a:lnTo>
                      <a:pt x="10" y="12"/>
                    </a:lnTo>
                    <a:lnTo>
                      <a:pt x="8" y="2"/>
                    </a:lnTo>
                    <a:lnTo>
                      <a:pt x="6" y="0"/>
                    </a:lnTo>
                    <a:lnTo>
                      <a:pt x="4" y="0"/>
                    </a:lnTo>
                    <a:lnTo>
                      <a:pt x="0" y="6"/>
                    </a:lnTo>
                    <a:lnTo>
                      <a:pt x="0" y="16"/>
                    </a:lnTo>
                    <a:lnTo>
                      <a:pt x="2" y="24"/>
                    </a:lnTo>
                    <a:lnTo>
                      <a:pt x="4" y="26"/>
                    </a:lnTo>
                    <a:lnTo>
                      <a:pt x="8" y="2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1" name="Freeform 6140"/>
              <p:cNvSpPr>
                <a:spLocks/>
              </p:cNvSpPr>
              <p:nvPr/>
            </p:nvSpPr>
            <p:spPr bwMode="auto">
              <a:xfrm>
                <a:off x="4212230" y="3946557"/>
                <a:ext cx="4977" cy="8294"/>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2147483647 w 10"/>
                  <a:gd name="T9" fmla="*/ 2147483647 h 14"/>
                  <a:gd name="T10" fmla="*/ 2147483647 w 10"/>
                  <a:gd name="T11" fmla="*/ 0 h 14"/>
                  <a:gd name="T12" fmla="*/ 2147483647 w 10"/>
                  <a:gd name="T13" fmla="*/ 0 h 14"/>
                  <a:gd name="T14" fmla="*/ 0 w 10"/>
                  <a:gd name="T15" fmla="*/ 2147483647 h 14"/>
                  <a:gd name="T16" fmla="*/ 2147483647 w 10"/>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4"/>
                  <a:gd name="T29" fmla="*/ 10 w 1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4">
                    <a:moveTo>
                      <a:pt x="8" y="14"/>
                    </a:moveTo>
                    <a:lnTo>
                      <a:pt x="8" y="14"/>
                    </a:lnTo>
                    <a:lnTo>
                      <a:pt x="10" y="10"/>
                    </a:lnTo>
                    <a:lnTo>
                      <a:pt x="10" y="6"/>
                    </a:lnTo>
                    <a:lnTo>
                      <a:pt x="10" y="2"/>
                    </a:lnTo>
                    <a:lnTo>
                      <a:pt x="8" y="0"/>
                    </a:lnTo>
                    <a:lnTo>
                      <a:pt x="4" y="0"/>
                    </a:lnTo>
                    <a:lnTo>
                      <a:pt x="0" y="4"/>
                    </a:lnTo>
                    <a:lnTo>
                      <a:pt x="8" y="1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2" name="Freeform 6142"/>
              <p:cNvSpPr>
                <a:spLocks/>
              </p:cNvSpPr>
              <p:nvPr/>
            </p:nvSpPr>
            <p:spPr bwMode="auto">
              <a:xfrm>
                <a:off x="4212230" y="3946557"/>
                <a:ext cx="4977" cy="8294"/>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2147483647 w 10"/>
                  <a:gd name="T9" fmla="*/ 2147483647 h 14"/>
                  <a:gd name="T10" fmla="*/ 2147483647 w 10"/>
                  <a:gd name="T11" fmla="*/ 0 h 14"/>
                  <a:gd name="T12" fmla="*/ 2147483647 w 10"/>
                  <a:gd name="T13" fmla="*/ 0 h 14"/>
                  <a:gd name="T14" fmla="*/ 0 w 10"/>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4"/>
                  <a:gd name="T26" fmla="*/ 10 w 1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4">
                    <a:moveTo>
                      <a:pt x="8" y="14"/>
                    </a:moveTo>
                    <a:lnTo>
                      <a:pt x="8" y="14"/>
                    </a:lnTo>
                    <a:lnTo>
                      <a:pt x="10" y="10"/>
                    </a:lnTo>
                    <a:lnTo>
                      <a:pt x="10" y="6"/>
                    </a:lnTo>
                    <a:lnTo>
                      <a:pt x="10" y="2"/>
                    </a:lnTo>
                    <a:lnTo>
                      <a:pt x="8" y="0"/>
                    </a:lnTo>
                    <a:lnTo>
                      <a:pt x="4" y="0"/>
                    </a:lnTo>
                    <a:lnTo>
                      <a:pt x="0" y="4"/>
                    </a:lnTo>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3" name="Freeform 6143"/>
              <p:cNvSpPr>
                <a:spLocks/>
              </p:cNvSpPr>
              <p:nvPr/>
            </p:nvSpPr>
            <p:spPr bwMode="auto">
              <a:xfrm>
                <a:off x="3229936" y="4004620"/>
                <a:ext cx="6637" cy="6636"/>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2147483647 w 10"/>
                  <a:gd name="T9" fmla="*/ 2147483647 h 14"/>
                  <a:gd name="T10" fmla="*/ 2147483647 w 10"/>
                  <a:gd name="T11" fmla="*/ 0 h 14"/>
                  <a:gd name="T12" fmla="*/ 2147483647 w 10"/>
                  <a:gd name="T13" fmla="*/ 2147483647 h 14"/>
                  <a:gd name="T14" fmla="*/ 2147483647 w 10"/>
                  <a:gd name="T15" fmla="*/ 2147483647 h 14"/>
                  <a:gd name="T16" fmla="*/ 2147483647 w 10"/>
                  <a:gd name="T17" fmla="*/ 2147483647 h 14"/>
                  <a:gd name="T18" fmla="*/ 0 w 10"/>
                  <a:gd name="T19" fmla="*/ 2147483647 h 14"/>
                  <a:gd name="T20" fmla="*/ 0 w 10"/>
                  <a:gd name="T21" fmla="*/ 2147483647 h 14"/>
                  <a:gd name="T22" fmla="*/ 2147483647 w 10"/>
                  <a:gd name="T23" fmla="*/ 2147483647 h 14"/>
                  <a:gd name="T24" fmla="*/ 2147483647 w 10"/>
                  <a:gd name="T25" fmla="*/ 2147483647 h 14"/>
                  <a:gd name="T26" fmla="*/ 2147483647 w 10"/>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4"/>
                  <a:gd name="T44" fmla="*/ 10 w 1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4">
                    <a:moveTo>
                      <a:pt x="6" y="14"/>
                    </a:moveTo>
                    <a:lnTo>
                      <a:pt x="6" y="14"/>
                    </a:lnTo>
                    <a:lnTo>
                      <a:pt x="10" y="10"/>
                    </a:lnTo>
                    <a:lnTo>
                      <a:pt x="10" y="4"/>
                    </a:lnTo>
                    <a:lnTo>
                      <a:pt x="10" y="2"/>
                    </a:lnTo>
                    <a:lnTo>
                      <a:pt x="8" y="0"/>
                    </a:lnTo>
                    <a:lnTo>
                      <a:pt x="6" y="2"/>
                    </a:lnTo>
                    <a:lnTo>
                      <a:pt x="2" y="4"/>
                    </a:lnTo>
                    <a:lnTo>
                      <a:pt x="0" y="6"/>
                    </a:lnTo>
                    <a:lnTo>
                      <a:pt x="0" y="10"/>
                    </a:lnTo>
                    <a:lnTo>
                      <a:pt x="4" y="14"/>
                    </a:lnTo>
                    <a:lnTo>
                      <a:pt x="6" y="1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4" name="Freeform 6145"/>
              <p:cNvSpPr>
                <a:spLocks/>
              </p:cNvSpPr>
              <p:nvPr/>
            </p:nvSpPr>
            <p:spPr bwMode="auto">
              <a:xfrm>
                <a:off x="3206706" y="4027845"/>
                <a:ext cx="4977" cy="8295"/>
              </a:xfrm>
              <a:custGeom>
                <a:avLst/>
                <a:gdLst>
                  <a:gd name="T0" fmla="*/ 2147483647 w 8"/>
                  <a:gd name="T1" fmla="*/ 0 h 14"/>
                  <a:gd name="T2" fmla="*/ 2147483647 w 8"/>
                  <a:gd name="T3" fmla="*/ 0 h 14"/>
                  <a:gd name="T4" fmla="*/ 2147483647 w 8"/>
                  <a:gd name="T5" fmla="*/ 2147483647 h 14"/>
                  <a:gd name="T6" fmla="*/ 0 w 8"/>
                  <a:gd name="T7" fmla="*/ 2147483647 h 14"/>
                  <a:gd name="T8" fmla="*/ 0 w 8"/>
                  <a:gd name="T9" fmla="*/ 2147483647 h 14"/>
                  <a:gd name="T10" fmla="*/ 0 w 8"/>
                  <a:gd name="T11" fmla="*/ 2147483647 h 14"/>
                  <a:gd name="T12" fmla="*/ 2147483647 w 8"/>
                  <a:gd name="T13" fmla="*/ 2147483647 h 14"/>
                  <a:gd name="T14" fmla="*/ 2147483647 w 8"/>
                  <a:gd name="T15" fmla="*/ 2147483647 h 14"/>
                  <a:gd name="T16" fmla="*/ 2147483647 w 8"/>
                  <a:gd name="T17" fmla="*/ 2147483647 h 14"/>
                  <a:gd name="T18" fmla="*/ 2147483647 w 8"/>
                  <a:gd name="T19" fmla="*/ 2147483647 h 14"/>
                  <a:gd name="T20" fmla="*/ 2147483647 w 8"/>
                  <a:gd name="T21" fmla="*/ 0 h 14"/>
                  <a:gd name="T22" fmla="*/ 2147483647 w 8"/>
                  <a:gd name="T23" fmla="*/ 0 h 14"/>
                  <a:gd name="T24" fmla="*/ 2147483647 w 8"/>
                  <a:gd name="T25" fmla="*/ 0 h 14"/>
                  <a:gd name="T26" fmla="*/ 2147483647 w 8"/>
                  <a:gd name="T27" fmla="*/ 0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14"/>
                  <a:gd name="T44" fmla="*/ 8 w 8"/>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14">
                    <a:moveTo>
                      <a:pt x="6" y="0"/>
                    </a:moveTo>
                    <a:lnTo>
                      <a:pt x="6" y="0"/>
                    </a:lnTo>
                    <a:lnTo>
                      <a:pt x="2" y="2"/>
                    </a:lnTo>
                    <a:lnTo>
                      <a:pt x="0" y="8"/>
                    </a:lnTo>
                    <a:lnTo>
                      <a:pt x="0" y="12"/>
                    </a:lnTo>
                    <a:lnTo>
                      <a:pt x="0" y="14"/>
                    </a:lnTo>
                    <a:lnTo>
                      <a:pt x="2" y="14"/>
                    </a:lnTo>
                    <a:lnTo>
                      <a:pt x="4" y="12"/>
                    </a:lnTo>
                    <a:lnTo>
                      <a:pt x="8" y="6"/>
                    </a:lnTo>
                    <a:lnTo>
                      <a:pt x="8" y="0"/>
                    </a:lnTo>
                    <a:lnTo>
                      <a:pt x="6"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5" name="Freeform 6146"/>
              <p:cNvSpPr>
                <a:spLocks/>
              </p:cNvSpPr>
              <p:nvPr/>
            </p:nvSpPr>
            <p:spPr bwMode="auto">
              <a:xfrm>
                <a:off x="3213343" y="4037799"/>
                <a:ext cx="4977" cy="6636"/>
              </a:xfrm>
              <a:custGeom>
                <a:avLst/>
                <a:gdLst>
                  <a:gd name="T0" fmla="*/ 2147483647 w 10"/>
                  <a:gd name="T1" fmla="*/ 2147483647 h 10"/>
                  <a:gd name="T2" fmla="*/ 2147483647 w 10"/>
                  <a:gd name="T3" fmla="*/ 2147483647 h 10"/>
                  <a:gd name="T4" fmla="*/ 2147483647 w 10"/>
                  <a:gd name="T5" fmla="*/ 0 h 10"/>
                  <a:gd name="T6" fmla="*/ 2147483647 w 10"/>
                  <a:gd name="T7" fmla="*/ 0 h 10"/>
                  <a:gd name="T8" fmla="*/ 2147483647 w 10"/>
                  <a:gd name="T9" fmla="*/ 2147483647 h 10"/>
                  <a:gd name="T10" fmla="*/ 0 w 10"/>
                  <a:gd name="T11" fmla="*/ 2147483647 h 10"/>
                  <a:gd name="T12" fmla="*/ 0 w 10"/>
                  <a:gd name="T13" fmla="*/ 2147483647 h 10"/>
                  <a:gd name="T14" fmla="*/ 2147483647 w 10"/>
                  <a:gd name="T15" fmla="*/ 2147483647 h 10"/>
                  <a:gd name="T16" fmla="*/ 2147483647 w 10"/>
                  <a:gd name="T17" fmla="*/ 2147483647 h 10"/>
                  <a:gd name="T18" fmla="*/ 2147483647 w 10"/>
                  <a:gd name="T19" fmla="*/ 2147483647 h 10"/>
                  <a:gd name="T20" fmla="*/ 2147483647 w 10"/>
                  <a:gd name="T21" fmla="*/ 2147483647 h 10"/>
                  <a:gd name="T22" fmla="*/ 2147483647 w 10"/>
                  <a:gd name="T23" fmla="*/ 2147483647 h 10"/>
                  <a:gd name="T24" fmla="*/ 2147483647 w 10"/>
                  <a:gd name="T25" fmla="*/ 2147483647 h 10"/>
                  <a:gd name="T26" fmla="*/ 2147483647 w 10"/>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0"/>
                  <a:gd name="T44" fmla="*/ 10 w 10"/>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0">
                    <a:moveTo>
                      <a:pt x="10" y="2"/>
                    </a:moveTo>
                    <a:lnTo>
                      <a:pt x="10" y="2"/>
                    </a:lnTo>
                    <a:lnTo>
                      <a:pt x="10" y="0"/>
                    </a:lnTo>
                    <a:lnTo>
                      <a:pt x="8" y="0"/>
                    </a:lnTo>
                    <a:lnTo>
                      <a:pt x="4" y="4"/>
                    </a:lnTo>
                    <a:lnTo>
                      <a:pt x="0" y="8"/>
                    </a:lnTo>
                    <a:lnTo>
                      <a:pt x="2" y="10"/>
                    </a:lnTo>
                    <a:lnTo>
                      <a:pt x="4" y="10"/>
                    </a:lnTo>
                    <a:lnTo>
                      <a:pt x="8" y="8"/>
                    </a:lnTo>
                    <a:lnTo>
                      <a:pt x="10" y="4"/>
                    </a:lnTo>
                    <a:lnTo>
                      <a:pt x="10" y="2"/>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6" name="Freeform 6147"/>
              <p:cNvSpPr>
                <a:spLocks/>
              </p:cNvSpPr>
              <p:nvPr/>
            </p:nvSpPr>
            <p:spPr bwMode="auto">
              <a:xfrm>
                <a:off x="3231595" y="3999644"/>
                <a:ext cx="6637" cy="1658"/>
              </a:xfrm>
              <a:custGeom>
                <a:avLst/>
                <a:gdLst>
                  <a:gd name="T0" fmla="*/ 0 w 10"/>
                  <a:gd name="T1" fmla="*/ 2147483647 h 6"/>
                  <a:gd name="T2" fmla="*/ 0 w 10"/>
                  <a:gd name="T3" fmla="*/ 2147483647 h 6"/>
                  <a:gd name="T4" fmla="*/ 0 w 10"/>
                  <a:gd name="T5" fmla="*/ 2147483647 h 6"/>
                  <a:gd name="T6" fmla="*/ 0 w 10"/>
                  <a:gd name="T7" fmla="*/ 2147483647 h 6"/>
                  <a:gd name="T8" fmla="*/ 2147483647 w 10"/>
                  <a:gd name="T9" fmla="*/ 2147483647 h 6"/>
                  <a:gd name="T10" fmla="*/ 2147483647 w 10"/>
                  <a:gd name="T11" fmla="*/ 2147483647 h 6"/>
                  <a:gd name="T12" fmla="*/ 2147483647 w 10"/>
                  <a:gd name="T13" fmla="*/ 0 h 6"/>
                  <a:gd name="T14" fmla="*/ 2147483647 w 10"/>
                  <a:gd name="T15" fmla="*/ 0 h 6"/>
                  <a:gd name="T16" fmla="*/ 2147483647 w 10"/>
                  <a:gd name="T17" fmla="*/ 0 h 6"/>
                  <a:gd name="T18" fmla="*/ 2147483647 w 10"/>
                  <a:gd name="T19" fmla="*/ 0 h 6"/>
                  <a:gd name="T20" fmla="*/ 2147483647 w 10"/>
                  <a:gd name="T21" fmla="*/ 2147483647 h 6"/>
                  <a:gd name="T22" fmla="*/ 0 w 10"/>
                  <a:gd name="T23" fmla="*/ 2147483647 h 6"/>
                  <a:gd name="T24" fmla="*/ 0 w 10"/>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6"/>
                  <a:gd name="T41" fmla="*/ 10 w 10"/>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6">
                    <a:moveTo>
                      <a:pt x="0" y="6"/>
                    </a:moveTo>
                    <a:lnTo>
                      <a:pt x="0" y="6"/>
                    </a:lnTo>
                    <a:lnTo>
                      <a:pt x="4" y="6"/>
                    </a:lnTo>
                    <a:lnTo>
                      <a:pt x="8" y="4"/>
                    </a:lnTo>
                    <a:lnTo>
                      <a:pt x="10" y="0"/>
                    </a:lnTo>
                    <a:lnTo>
                      <a:pt x="8" y="0"/>
                    </a:lnTo>
                    <a:lnTo>
                      <a:pt x="4" y="0"/>
                    </a:lnTo>
                    <a:lnTo>
                      <a:pt x="2" y="2"/>
                    </a:lnTo>
                    <a:lnTo>
                      <a:pt x="0"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7" name="Freeform 6148"/>
              <p:cNvSpPr>
                <a:spLocks/>
              </p:cNvSpPr>
              <p:nvPr/>
            </p:nvSpPr>
            <p:spPr bwMode="auto">
              <a:xfrm>
                <a:off x="3213343" y="4034481"/>
                <a:ext cx="3319" cy="3318"/>
              </a:xfrm>
              <a:custGeom>
                <a:avLst/>
                <a:gdLst>
                  <a:gd name="T0" fmla="*/ 2147483647 w 8"/>
                  <a:gd name="T1" fmla="*/ 0 h 8"/>
                  <a:gd name="T2" fmla="*/ 2147483647 w 8"/>
                  <a:gd name="T3" fmla="*/ 0 h 8"/>
                  <a:gd name="T4" fmla="*/ 2147483647 w 8"/>
                  <a:gd name="T5" fmla="*/ 2147483647 h 8"/>
                  <a:gd name="T6" fmla="*/ 0 w 8"/>
                  <a:gd name="T7" fmla="*/ 2147483647 h 8"/>
                  <a:gd name="T8" fmla="*/ 0 w 8"/>
                  <a:gd name="T9" fmla="*/ 2147483647 h 8"/>
                  <a:gd name="T10" fmla="*/ 0 w 8"/>
                  <a:gd name="T11" fmla="*/ 2147483647 h 8"/>
                  <a:gd name="T12" fmla="*/ 0 w 8"/>
                  <a:gd name="T13" fmla="*/ 2147483647 h 8"/>
                  <a:gd name="T14" fmla="*/ 2147483647 w 8"/>
                  <a:gd name="T15" fmla="*/ 2147483647 h 8"/>
                  <a:gd name="T16" fmla="*/ 2147483647 w 8"/>
                  <a:gd name="T17" fmla="*/ 2147483647 h 8"/>
                  <a:gd name="T18" fmla="*/ 2147483647 w 8"/>
                  <a:gd name="T19" fmla="*/ 2147483647 h 8"/>
                  <a:gd name="T20" fmla="*/ 2147483647 w 8"/>
                  <a:gd name="T21" fmla="*/ 0 h 8"/>
                  <a:gd name="T22" fmla="*/ 2147483647 w 8"/>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8"/>
                  <a:gd name="T38" fmla="*/ 8 w 8"/>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8">
                    <a:moveTo>
                      <a:pt x="6" y="0"/>
                    </a:moveTo>
                    <a:lnTo>
                      <a:pt x="6" y="0"/>
                    </a:lnTo>
                    <a:lnTo>
                      <a:pt x="4" y="2"/>
                    </a:lnTo>
                    <a:lnTo>
                      <a:pt x="0" y="4"/>
                    </a:lnTo>
                    <a:lnTo>
                      <a:pt x="0" y="6"/>
                    </a:lnTo>
                    <a:lnTo>
                      <a:pt x="0" y="8"/>
                    </a:lnTo>
                    <a:lnTo>
                      <a:pt x="4" y="8"/>
                    </a:lnTo>
                    <a:lnTo>
                      <a:pt x="6" y="6"/>
                    </a:lnTo>
                    <a:lnTo>
                      <a:pt x="8" y="2"/>
                    </a:lnTo>
                    <a:lnTo>
                      <a:pt x="6" y="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08" name="Freeform 6151"/>
              <p:cNvSpPr>
                <a:spLocks noEditPoints="1"/>
              </p:cNvSpPr>
              <p:nvPr/>
            </p:nvSpPr>
            <p:spPr bwMode="auto">
              <a:xfrm>
                <a:off x="6621504" y="4051070"/>
                <a:ext cx="1539812" cy="1375272"/>
              </a:xfrm>
              <a:custGeom>
                <a:avLst/>
                <a:gdLst/>
                <a:ahLst/>
                <a:cxnLst>
                  <a:cxn ang="0">
                    <a:pos x="696" y="550"/>
                  </a:cxn>
                  <a:cxn ang="0">
                    <a:pos x="1634" y="564"/>
                  </a:cxn>
                  <a:cxn ang="0">
                    <a:pos x="1542" y="1182"/>
                  </a:cxn>
                  <a:cxn ang="0">
                    <a:pos x="1436" y="994"/>
                  </a:cxn>
                  <a:cxn ang="0">
                    <a:pos x="1244" y="702"/>
                  </a:cxn>
                  <a:cxn ang="0">
                    <a:pos x="1144" y="636"/>
                  </a:cxn>
                  <a:cxn ang="0">
                    <a:pos x="912" y="744"/>
                  </a:cxn>
                  <a:cxn ang="0">
                    <a:pos x="920" y="604"/>
                  </a:cxn>
                  <a:cxn ang="0">
                    <a:pos x="754" y="556"/>
                  </a:cxn>
                  <a:cxn ang="0">
                    <a:pos x="612" y="722"/>
                  </a:cxn>
                  <a:cxn ang="0">
                    <a:pos x="414" y="840"/>
                  </a:cxn>
                  <a:cxn ang="0">
                    <a:pos x="110" y="1034"/>
                  </a:cxn>
                  <a:cxn ang="0">
                    <a:pos x="8" y="1264"/>
                  </a:cxn>
                  <a:cxn ang="0">
                    <a:pos x="96" y="1664"/>
                  </a:cxn>
                  <a:cxn ang="0">
                    <a:pos x="344" y="1698"/>
                  </a:cxn>
                  <a:cxn ang="0">
                    <a:pos x="772" y="1596"/>
                  </a:cxn>
                  <a:cxn ang="0">
                    <a:pos x="990" y="1640"/>
                  </a:cxn>
                  <a:cxn ang="0">
                    <a:pos x="1020" y="1792"/>
                  </a:cxn>
                  <a:cxn ang="0">
                    <a:pos x="1276" y="1916"/>
                  </a:cxn>
                  <a:cxn ang="0">
                    <a:pos x="1478" y="1874"/>
                  </a:cxn>
                  <a:cxn ang="0">
                    <a:pos x="1628" y="1412"/>
                  </a:cxn>
                  <a:cxn ang="0">
                    <a:pos x="1668" y="244"/>
                  </a:cxn>
                  <a:cxn ang="0">
                    <a:pos x="1242" y="2032"/>
                  </a:cxn>
                  <a:cxn ang="0">
                    <a:pos x="1276" y="2118"/>
                  </a:cxn>
                  <a:cxn ang="0">
                    <a:pos x="1388" y="2198"/>
                  </a:cxn>
                  <a:cxn ang="0">
                    <a:pos x="982" y="1810"/>
                  </a:cxn>
                  <a:cxn ang="0">
                    <a:pos x="2214" y="814"/>
                  </a:cxn>
                  <a:cxn ang="0">
                    <a:pos x="2158" y="1098"/>
                  </a:cxn>
                  <a:cxn ang="0">
                    <a:pos x="2154" y="718"/>
                  </a:cxn>
                  <a:cxn ang="0">
                    <a:pos x="1772" y="386"/>
                  </a:cxn>
                  <a:cxn ang="0">
                    <a:pos x="1742" y="318"/>
                  </a:cxn>
                  <a:cxn ang="0">
                    <a:pos x="1830" y="382"/>
                  </a:cxn>
                  <a:cxn ang="0">
                    <a:pos x="1906" y="576"/>
                  </a:cxn>
                  <a:cxn ang="0">
                    <a:pos x="2196" y="808"/>
                  </a:cxn>
                  <a:cxn ang="0">
                    <a:pos x="2434" y="2088"/>
                  </a:cxn>
                  <a:cxn ang="0">
                    <a:pos x="2246" y="2248"/>
                  </a:cxn>
                  <a:cxn ang="0">
                    <a:pos x="2256" y="2404"/>
                  </a:cxn>
                  <a:cxn ang="0">
                    <a:pos x="2416" y="2196"/>
                  </a:cxn>
                  <a:cxn ang="0">
                    <a:pos x="2666" y="822"/>
                  </a:cxn>
                  <a:cxn ang="0">
                    <a:pos x="2482" y="1836"/>
                  </a:cxn>
                  <a:cxn ang="0">
                    <a:pos x="2464" y="1830"/>
                  </a:cxn>
                  <a:cxn ang="0">
                    <a:pos x="2502" y="2120"/>
                  </a:cxn>
                  <a:cxn ang="0">
                    <a:pos x="2600" y="1904"/>
                  </a:cxn>
                  <a:cxn ang="0">
                    <a:pos x="2250" y="926"/>
                  </a:cxn>
                  <a:cxn ang="0">
                    <a:pos x="1522" y="492"/>
                  </a:cxn>
                  <a:cxn ang="0">
                    <a:pos x="1366" y="252"/>
                  </a:cxn>
                  <a:cxn ang="0">
                    <a:pos x="920" y="78"/>
                  </a:cxn>
                  <a:cxn ang="0">
                    <a:pos x="850" y="288"/>
                  </a:cxn>
                  <a:cxn ang="0">
                    <a:pos x="994" y="384"/>
                  </a:cxn>
                  <a:cxn ang="0">
                    <a:pos x="1060" y="804"/>
                  </a:cxn>
                  <a:cxn ang="0">
                    <a:pos x="1212" y="440"/>
                  </a:cxn>
                  <a:cxn ang="0">
                    <a:pos x="1400" y="492"/>
                  </a:cxn>
                  <a:cxn ang="0">
                    <a:pos x="1394" y="386"/>
                  </a:cxn>
                  <a:cxn ang="0">
                    <a:pos x="1220" y="170"/>
                  </a:cxn>
                  <a:cxn ang="0">
                    <a:pos x="1452" y="296"/>
                  </a:cxn>
                  <a:cxn ang="0">
                    <a:pos x="1530" y="242"/>
                  </a:cxn>
                  <a:cxn ang="0">
                    <a:pos x="1588" y="202"/>
                  </a:cxn>
                  <a:cxn ang="0">
                    <a:pos x="1500" y="128"/>
                  </a:cxn>
                  <a:cxn ang="0">
                    <a:pos x="768" y="146"/>
                  </a:cxn>
                  <a:cxn ang="0">
                    <a:pos x="1004" y="284"/>
                  </a:cxn>
                  <a:cxn ang="0">
                    <a:pos x="966" y="96"/>
                  </a:cxn>
                  <a:cxn ang="0">
                    <a:pos x="786" y="18"/>
                  </a:cxn>
                  <a:cxn ang="0">
                    <a:pos x="1616" y="1224"/>
                  </a:cxn>
                </a:cxnLst>
                <a:rect l="0" t="0" r="r" b="b"/>
                <a:pathLst>
                  <a:path w="2690" h="2404">
                    <a:moveTo>
                      <a:pt x="692" y="12"/>
                    </a:moveTo>
                    <a:lnTo>
                      <a:pt x="692" y="12"/>
                    </a:lnTo>
                    <a:lnTo>
                      <a:pt x="698" y="14"/>
                    </a:lnTo>
                    <a:lnTo>
                      <a:pt x="702" y="18"/>
                    </a:lnTo>
                    <a:lnTo>
                      <a:pt x="708" y="20"/>
                    </a:lnTo>
                    <a:lnTo>
                      <a:pt x="714" y="20"/>
                    </a:lnTo>
                    <a:lnTo>
                      <a:pt x="714" y="20"/>
                    </a:lnTo>
                    <a:lnTo>
                      <a:pt x="716" y="20"/>
                    </a:lnTo>
                    <a:lnTo>
                      <a:pt x="714" y="18"/>
                    </a:lnTo>
                    <a:lnTo>
                      <a:pt x="712" y="16"/>
                    </a:lnTo>
                    <a:lnTo>
                      <a:pt x="710" y="12"/>
                    </a:lnTo>
                    <a:lnTo>
                      <a:pt x="708" y="12"/>
                    </a:lnTo>
                    <a:lnTo>
                      <a:pt x="710" y="12"/>
                    </a:lnTo>
                    <a:lnTo>
                      <a:pt x="710" y="12"/>
                    </a:lnTo>
                    <a:lnTo>
                      <a:pt x="714" y="12"/>
                    </a:lnTo>
                    <a:lnTo>
                      <a:pt x="718" y="16"/>
                    </a:lnTo>
                    <a:lnTo>
                      <a:pt x="722" y="18"/>
                    </a:lnTo>
                    <a:lnTo>
                      <a:pt x="728" y="18"/>
                    </a:lnTo>
                    <a:lnTo>
                      <a:pt x="728" y="18"/>
                    </a:lnTo>
                    <a:lnTo>
                      <a:pt x="730" y="16"/>
                    </a:lnTo>
                    <a:lnTo>
                      <a:pt x="730" y="12"/>
                    </a:lnTo>
                    <a:lnTo>
                      <a:pt x="724" y="6"/>
                    </a:lnTo>
                    <a:lnTo>
                      <a:pt x="714" y="2"/>
                    </a:lnTo>
                    <a:lnTo>
                      <a:pt x="708" y="0"/>
                    </a:lnTo>
                    <a:lnTo>
                      <a:pt x="702" y="2"/>
                    </a:lnTo>
                    <a:lnTo>
                      <a:pt x="702" y="2"/>
                    </a:lnTo>
                    <a:lnTo>
                      <a:pt x="694" y="4"/>
                    </a:lnTo>
                    <a:lnTo>
                      <a:pt x="688" y="8"/>
                    </a:lnTo>
                    <a:lnTo>
                      <a:pt x="688" y="10"/>
                    </a:lnTo>
                    <a:lnTo>
                      <a:pt x="692" y="12"/>
                    </a:lnTo>
                    <a:lnTo>
                      <a:pt x="692" y="12"/>
                    </a:lnTo>
                    <a:close/>
                    <a:moveTo>
                      <a:pt x="742" y="352"/>
                    </a:moveTo>
                    <a:lnTo>
                      <a:pt x="742" y="352"/>
                    </a:lnTo>
                    <a:lnTo>
                      <a:pt x="740" y="350"/>
                    </a:lnTo>
                    <a:lnTo>
                      <a:pt x="740" y="350"/>
                    </a:lnTo>
                    <a:lnTo>
                      <a:pt x="736" y="352"/>
                    </a:lnTo>
                    <a:lnTo>
                      <a:pt x="732" y="358"/>
                    </a:lnTo>
                    <a:lnTo>
                      <a:pt x="728" y="366"/>
                    </a:lnTo>
                    <a:lnTo>
                      <a:pt x="724" y="382"/>
                    </a:lnTo>
                    <a:lnTo>
                      <a:pt x="724" y="386"/>
                    </a:lnTo>
                    <a:lnTo>
                      <a:pt x="724" y="388"/>
                    </a:lnTo>
                    <a:lnTo>
                      <a:pt x="726" y="388"/>
                    </a:lnTo>
                    <a:lnTo>
                      <a:pt x="726" y="388"/>
                    </a:lnTo>
                    <a:lnTo>
                      <a:pt x="736" y="382"/>
                    </a:lnTo>
                    <a:lnTo>
                      <a:pt x="742" y="374"/>
                    </a:lnTo>
                    <a:lnTo>
                      <a:pt x="744" y="364"/>
                    </a:lnTo>
                    <a:lnTo>
                      <a:pt x="742" y="352"/>
                    </a:lnTo>
                    <a:lnTo>
                      <a:pt x="742" y="352"/>
                    </a:lnTo>
                    <a:close/>
                    <a:moveTo>
                      <a:pt x="696" y="550"/>
                    </a:moveTo>
                    <a:lnTo>
                      <a:pt x="696" y="550"/>
                    </a:lnTo>
                    <a:lnTo>
                      <a:pt x="692" y="548"/>
                    </a:lnTo>
                    <a:lnTo>
                      <a:pt x="690" y="548"/>
                    </a:lnTo>
                    <a:lnTo>
                      <a:pt x="690" y="552"/>
                    </a:lnTo>
                    <a:lnTo>
                      <a:pt x="692" y="556"/>
                    </a:lnTo>
                    <a:lnTo>
                      <a:pt x="700" y="566"/>
                    </a:lnTo>
                    <a:lnTo>
                      <a:pt x="710" y="578"/>
                    </a:lnTo>
                    <a:lnTo>
                      <a:pt x="710" y="578"/>
                    </a:lnTo>
                    <a:lnTo>
                      <a:pt x="714" y="580"/>
                    </a:lnTo>
                    <a:lnTo>
                      <a:pt x="718" y="578"/>
                    </a:lnTo>
                    <a:lnTo>
                      <a:pt x="724" y="576"/>
                    </a:lnTo>
                    <a:lnTo>
                      <a:pt x="728" y="574"/>
                    </a:lnTo>
                    <a:lnTo>
                      <a:pt x="734" y="568"/>
                    </a:lnTo>
                    <a:lnTo>
                      <a:pt x="736" y="564"/>
                    </a:lnTo>
                    <a:lnTo>
                      <a:pt x="738" y="558"/>
                    </a:lnTo>
                    <a:lnTo>
                      <a:pt x="736" y="552"/>
                    </a:lnTo>
                    <a:lnTo>
                      <a:pt x="736" y="552"/>
                    </a:lnTo>
                    <a:lnTo>
                      <a:pt x="730" y="546"/>
                    </a:lnTo>
                    <a:lnTo>
                      <a:pt x="728" y="544"/>
                    </a:lnTo>
                    <a:lnTo>
                      <a:pt x="724" y="546"/>
                    </a:lnTo>
                    <a:lnTo>
                      <a:pt x="722" y="548"/>
                    </a:lnTo>
                    <a:lnTo>
                      <a:pt x="718" y="552"/>
                    </a:lnTo>
                    <a:lnTo>
                      <a:pt x="712" y="554"/>
                    </a:lnTo>
                    <a:lnTo>
                      <a:pt x="706" y="554"/>
                    </a:lnTo>
                    <a:lnTo>
                      <a:pt x="696" y="550"/>
                    </a:lnTo>
                    <a:lnTo>
                      <a:pt x="696" y="550"/>
                    </a:lnTo>
                    <a:close/>
                    <a:moveTo>
                      <a:pt x="936" y="688"/>
                    </a:moveTo>
                    <a:lnTo>
                      <a:pt x="936" y="688"/>
                    </a:lnTo>
                    <a:lnTo>
                      <a:pt x="938" y="696"/>
                    </a:lnTo>
                    <a:lnTo>
                      <a:pt x="940" y="696"/>
                    </a:lnTo>
                    <a:lnTo>
                      <a:pt x="942" y="696"/>
                    </a:lnTo>
                    <a:lnTo>
                      <a:pt x="946" y="692"/>
                    </a:lnTo>
                    <a:lnTo>
                      <a:pt x="950" y="684"/>
                    </a:lnTo>
                    <a:lnTo>
                      <a:pt x="950" y="684"/>
                    </a:lnTo>
                    <a:lnTo>
                      <a:pt x="950" y="680"/>
                    </a:lnTo>
                    <a:lnTo>
                      <a:pt x="950" y="678"/>
                    </a:lnTo>
                    <a:lnTo>
                      <a:pt x="946" y="676"/>
                    </a:lnTo>
                    <a:lnTo>
                      <a:pt x="942" y="676"/>
                    </a:lnTo>
                    <a:lnTo>
                      <a:pt x="940" y="676"/>
                    </a:lnTo>
                    <a:lnTo>
                      <a:pt x="936" y="680"/>
                    </a:lnTo>
                    <a:lnTo>
                      <a:pt x="934" y="684"/>
                    </a:lnTo>
                    <a:lnTo>
                      <a:pt x="936" y="688"/>
                    </a:lnTo>
                    <a:lnTo>
                      <a:pt x="936" y="688"/>
                    </a:lnTo>
                    <a:close/>
                    <a:moveTo>
                      <a:pt x="1610" y="556"/>
                    </a:moveTo>
                    <a:lnTo>
                      <a:pt x="1610" y="556"/>
                    </a:lnTo>
                    <a:lnTo>
                      <a:pt x="1616" y="560"/>
                    </a:lnTo>
                    <a:lnTo>
                      <a:pt x="1624" y="562"/>
                    </a:lnTo>
                    <a:lnTo>
                      <a:pt x="1632" y="564"/>
                    </a:lnTo>
                    <a:lnTo>
                      <a:pt x="1634" y="564"/>
                    </a:lnTo>
                    <a:lnTo>
                      <a:pt x="1634" y="562"/>
                    </a:lnTo>
                    <a:lnTo>
                      <a:pt x="1634" y="562"/>
                    </a:lnTo>
                    <a:lnTo>
                      <a:pt x="1628" y="558"/>
                    </a:lnTo>
                    <a:lnTo>
                      <a:pt x="1618" y="552"/>
                    </a:lnTo>
                    <a:lnTo>
                      <a:pt x="1610" y="550"/>
                    </a:lnTo>
                    <a:lnTo>
                      <a:pt x="1610" y="552"/>
                    </a:lnTo>
                    <a:lnTo>
                      <a:pt x="1610" y="556"/>
                    </a:lnTo>
                    <a:lnTo>
                      <a:pt x="1610" y="556"/>
                    </a:lnTo>
                    <a:close/>
                    <a:moveTo>
                      <a:pt x="1402" y="2052"/>
                    </a:moveTo>
                    <a:lnTo>
                      <a:pt x="1402" y="2052"/>
                    </a:lnTo>
                    <a:lnTo>
                      <a:pt x="1404" y="2054"/>
                    </a:lnTo>
                    <a:lnTo>
                      <a:pt x="1410" y="2056"/>
                    </a:lnTo>
                    <a:lnTo>
                      <a:pt x="1416" y="2056"/>
                    </a:lnTo>
                    <a:lnTo>
                      <a:pt x="1420" y="2054"/>
                    </a:lnTo>
                    <a:lnTo>
                      <a:pt x="1420" y="2054"/>
                    </a:lnTo>
                    <a:lnTo>
                      <a:pt x="1420" y="2052"/>
                    </a:lnTo>
                    <a:lnTo>
                      <a:pt x="1418" y="2048"/>
                    </a:lnTo>
                    <a:lnTo>
                      <a:pt x="1412" y="2048"/>
                    </a:lnTo>
                    <a:lnTo>
                      <a:pt x="1404" y="2048"/>
                    </a:lnTo>
                    <a:lnTo>
                      <a:pt x="1402" y="2050"/>
                    </a:lnTo>
                    <a:lnTo>
                      <a:pt x="1402" y="2052"/>
                    </a:lnTo>
                    <a:lnTo>
                      <a:pt x="1402" y="2052"/>
                    </a:lnTo>
                    <a:close/>
                    <a:moveTo>
                      <a:pt x="1610" y="1344"/>
                    </a:moveTo>
                    <a:lnTo>
                      <a:pt x="1610" y="1344"/>
                    </a:lnTo>
                    <a:lnTo>
                      <a:pt x="1612" y="1338"/>
                    </a:lnTo>
                    <a:lnTo>
                      <a:pt x="1614" y="1334"/>
                    </a:lnTo>
                    <a:lnTo>
                      <a:pt x="1612" y="1324"/>
                    </a:lnTo>
                    <a:lnTo>
                      <a:pt x="1610" y="1312"/>
                    </a:lnTo>
                    <a:lnTo>
                      <a:pt x="1608" y="1304"/>
                    </a:lnTo>
                    <a:lnTo>
                      <a:pt x="1610" y="1294"/>
                    </a:lnTo>
                    <a:lnTo>
                      <a:pt x="1610" y="1294"/>
                    </a:lnTo>
                    <a:lnTo>
                      <a:pt x="1610" y="1280"/>
                    </a:lnTo>
                    <a:lnTo>
                      <a:pt x="1608" y="1276"/>
                    </a:lnTo>
                    <a:lnTo>
                      <a:pt x="1606" y="1276"/>
                    </a:lnTo>
                    <a:lnTo>
                      <a:pt x="1604" y="1274"/>
                    </a:lnTo>
                    <a:lnTo>
                      <a:pt x="1600" y="1270"/>
                    </a:lnTo>
                    <a:lnTo>
                      <a:pt x="1598" y="1266"/>
                    </a:lnTo>
                    <a:lnTo>
                      <a:pt x="1596" y="1256"/>
                    </a:lnTo>
                    <a:lnTo>
                      <a:pt x="1596" y="1256"/>
                    </a:lnTo>
                    <a:lnTo>
                      <a:pt x="1594" y="1246"/>
                    </a:lnTo>
                    <a:lnTo>
                      <a:pt x="1590" y="1238"/>
                    </a:lnTo>
                    <a:lnTo>
                      <a:pt x="1582" y="1226"/>
                    </a:lnTo>
                    <a:lnTo>
                      <a:pt x="1570" y="1214"/>
                    </a:lnTo>
                    <a:lnTo>
                      <a:pt x="1560" y="1198"/>
                    </a:lnTo>
                    <a:lnTo>
                      <a:pt x="1560" y="1198"/>
                    </a:lnTo>
                    <a:lnTo>
                      <a:pt x="1550" y="1184"/>
                    </a:lnTo>
                    <a:lnTo>
                      <a:pt x="1548" y="1182"/>
                    </a:lnTo>
                    <a:lnTo>
                      <a:pt x="1546" y="1182"/>
                    </a:lnTo>
                    <a:lnTo>
                      <a:pt x="1542" y="1182"/>
                    </a:lnTo>
                    <a:lnTo>
                      <a:pt x="1538" y="1180"/>
                    </a:lnTo>
                    <a:lnTo>
                      <a:pt x="1534" y="1176"/>
                    </a:lnTo>
                    <a:lnTo>
                      <a:pt x="1526" y="1166"/>
                    </a:lnTo>
                    <a:lnTo>
                      <a:pt x="1526" y="1166"/>
                    </a:lnTo>
                    <a:lnTo>
                      <a:pt x="1518" y="1156"/>
                    </a:lnTo>
                    <a:lnTo>
                      <a:pt x="1514" y="1146"/>
                    </a:lnTo>
                    <a:lnTo>
                      <a:pt x="1514" y="1136"/>
                    </a:lnTo>
                    <a:lnTo>
                      <a:pt x="1514" y="1126"/>
                    </a:lnTo>
                    <a:lnTo>
                      <a:pt x="1514" y="1110"/>
                    </a:lnTo>
                    <a:lnTo>
                      <a:pt x="1514" y="1104"/>
                    </a:lnTo>
                    <a:lnTo>
                      <a:pt x="1510" y="1098"/>
                    </a:lnTo>
                    <a:lnTo>
                      <a:pt x="1510" y="1098"/>
                    </a:lnTo>
                    <a:lnTo>
                      <a:pt x="1508" y="1096"/>
                    </a:lnTo>
                    <a:lnTo>
                      <a:pt x="1506" y="1096"/>
                    </a:lnTo>
                    <a:lnTo>
                      <a:pt x="1502" y="1102"/>
                    </a:lnTo>
                    <a:lnTo>
                      <a:pt x="1502" y="1104"/>
                    </a:lnTo>
                    <a:lnTo>
                      <a:pt x="1498" y="1104"/>
                    </a:lnTo>
                    <a:lnTo>
                      <a:pt x="1494" y="1102"/>
                    </a:lnTo>
                    <a:lnTo>
                      <a:pt x="1490" y="1096"/>
                    </a:lnTo>
                    <a:lnTo>
                      <a:pt x="1490" y="1096"/>
                    </a:lnTo>
                    <a:lnTo>
                      <a:pt x="1484" y="1090"/>
                    </a:lnTo>
                    <a:lnTo>
                      <a:pt x="1480" y="1090"/>
                    </a:lnTo>
                    <a:lnTo>
                      <a:pt x="1480" y="1092"/>
                    </a:lnTo>
                    <a:lnTo>
                      <a:pt x="1480" y="1098"/>
                    </a:lnTo>
                    <a:lnTo>
                      <a:pt x="1478" y="1102"/>
                    </a:lnTo>
                    <a:lnTo>
                      <a:pt x="1478" y="1106"/>
                    </a:lnTo>
                    <a:lnTo>
                      <a:pt x="1474" y="1104"/>
                    </a:lnTo>
                    <a:lnTo>
                      <a:pt x="1470" y="1100"/>
                    </a:lnTo>
                    <a:lnTo>
                      <a:pt x="1470" y="1100"/>
                    </a:lnTo>
                    <a:lnTo>
                      <a:pt x="1464" y="1092"/>
                    </a:lnTo>
                    <a:lnTo>
                      <a:pt x="1462" y="1086"/>
                    </a:lnTo>
                    <a:lnTo>
                      <a:pt x="1462" y="1080"/>
                    </a:lnTo>
                    <a:lnTo>
                      <a:pt x="1462" y="1076"/>
                    </a:lnTo>
                    <a:lnTo>
                      <a:pt x="1464" y="1066"/>
                    </a:lnTo>
                    <a:lnTo>
                      <a:pt x="1462" y="1060"/>
                    </a:lnTo>
                    <a:lnTo>
                      <a:pt x="1462" y="1054"/>
                    </a:lnTo>
                    <a:lnTo>
                      <a:pt x="1462" y="1054"/>
                    </a:lnTo>
                    <a:lnTo>
                      <a:pt x="1458" y="1046"/>
                    </a:lnTo>
                    <a:lnTo>
                      <a:pt x="1452" y="1038"/>
                    </a:lnTo>
                    <a:lnTo>
                      <a:pt x="1440" y="1022"/>
                    </a:lnTo>
                    <a:lnTo>
                      <a:pt x="1430" y="1012"/>
                    </a:lnTo>
                    <a:lnTo>
                      <a:pt x="1428" y="1008"/>
                    </a:lnTo>
                    <a:lnTo>
                      <a:pt x="1432" y="1008"/>
                    </a:lnTo>
                    <a:lnTo>
                      <a:pt x="1432" y="1008"/>
                    </a:lnTo>
                    <a:lnTo>
                      <a:pt x="1436" y="1008"/>
                    </a:lnTo>
                    <a:lnTo>
                      <a:pt x="1438" y="1006"/>
                    </a:lnTo>
                    <a:lnTo>
                      <a:pt x="1440" y="1002"/>
                    </a:lnTo>
                    <a:lnTo>
                      <a:pt x="1438" y="998"/>
                    </a:lnTo>
                    <a:lnTo>
                      <a:pt x="1436" y="994"/>
                    </a:lnTo>
                    <a:lnTo>
                      <a:pt x="1430" y="988"/>
                    </a:lnTo>
                    <a:lnTo>
                      <a:pt x="1422" y="984"/>
                    </a:lnTo>
                    <a:lnTo>
                      <a:pt x="1410" y="978"/>
                    </a:lnTo>
                    <a:lnTo>
                      <a:pt x="1410" y="978"/>
                    </a:lnTo>
                    <a:lnTo>
                      <a:pt x="1398" y="974"/>
                    </a:lnTo>
                    <a:lnTo>
                      <a:pt x="1392" y="968"/>
                    </a:lnTo>
                    <a:lnTo>
                      <a:pt x="1388" y="964"/>
                    </a:lnTo>
                    <a:lnTo>
                      <a:pt x="1386" y="960"/>
                    </a:lnTo>
                    <a:lnTo>
                      <a:pt x="1384" y="956"/>
                    </a:lnTo>
                    <a:lnTo>
                      <a:pt x="1380" y="952"/>
                    </a:lnTo>
                    <a:lnTo>
                      <a:pt x="1374" y="950"/>
                    </a:lnTo>
                    <a:lnTo>
                      <a:pt x="1364" y="946"/>
                    </a:lnTo>
                    <a:lnTo>
                      <a:pt x="1364" y="946"/>
                    </a:lnTo>
                    <a:lnTo>
                      <a:pt x="1354" y="942"/>
                    </a:lnTo>
                    <a:lnTo>
                      <a:pt x="1346" y="938"/>
                    </a:lnTo>
                    <a:lnTo>
                      <a:pt x="1340" y="934"/>
                    </a:lnTo>
                    <a:lnTo>
                      <a:pt x="1338" y="928"/>
                    </a:lnTo>
                    <a:lnTo>
                      <a:pt x="1334" y="916"/>
                    </a:lnTo>
                    <a:lnTo>
                      <a:pt x="1332" y="908"/>
                    </a:lnTo>
                    <a:lnTo>
                      <a:pt x="1328" y="902"/>
                    </a:lnTo>
                    <a:lnTo>
                      <a:pt x="1328" y="902"/>
                    </a:lnTo>
                    <a:lnTo>
                      <a:pt x="1324" y="896"/>
                    </a:lnTo>
                    <a:lnTo>
                      <a:pt x="1324" y="886"/>
                    </a:lnTo>
                    <a:lnTo>
                      <a:pt x="1322" y="864"/>
                    </a:lnTo>
                    <a:lnTo>
                      <a:pt x="1322" y="852"/>
                    </a:lnTo>
                    <a:lnTo>
                      <a:pt x="1320" y="840"/>
                    </a:lnTo>
                    <a:lnTo>
                      <a:pt x="1316" y="828"/>
                    </a:lnTo>
                    <a:lnTo>
                      <a:pt x="1308" y="818"/>
                    </a:lnTo>
                    <a:lnTo>
                      <a:pt x="1308" y="818"/>
                    </a:lnTo>
                    <a:lnTo>
                      <a:pt x="1304" y="812"/>
                    </a:lnTo>
                    <a:lnTo>
                      <a:pt x="1302" y="806"/>
                    </a:lnTo>
                    <a:lnTo>
                      <a:pt x="1298" y="794"/>
                    </a:lnTo>
                    <a:lnTo>
                      <a:pt x="1296" y="780"/>
                    </a:lnTo>
                    <a:lnTo>
                      <a:pt x="1296" y="764"/>
                    </a:lnTo>
                    <a:lnTo>
                      <a:pt x="1296" y="750"/>
                    </a:lnTo>
                    <a:lnTo>
                      <a:pt x="1294" y="736"/>
                    </a:lnTo>
                    <a:lnTo>
                      <a:pt x="1290" y="726"/>
                    </a:lnTo>
                    <a:lnTo>
                      <a:pt x="1286" y="722"/>
                    </a:lnTo>
                    <a:lnTo>
                      <a:pt x="1282" y="718"/>
                    </a:lnTo>
                    <a:lnTo>
                      <a:pt x="1282" y="718"/>
                    </a:lnTo>
                    <a:lnTo>
                      <a:pt x="1274" y="712"/>
                    </a:lnTo>
                    <a:lnTo>
                      <a:pt x="1268" y="704"/>
                    </a:lnTo>
                    <a:lnTo>
                      <a:pt x="1262" y="692"/>
                    </a:lnTo>
                    <a:lnTo>
                      <a:pt x="1258" y="690"/>
                    </a:lnTo>
                    <a:lnTo>
                      <a:pt x="1256" y="688"/>
                    </a:lnTo>
                    <a:lnTo>
                      <a:pt x="1254" y="690"/>
                    </a:lnTo>
                    <a:lnTo>
                      <a:pt x="1250" y="698"/>
                    </a:lnTo>
                    <a:lnTo>
                      <a:pt x="1250" y="698"/>
                    </a:lnTo>
                    <a:lnTo>
                      <a:pt x="1244" y="702"/>
                    </a:lnTo>
                    <a:lnTo>
                      <a:pt x="1240" y="704"/>
                    </a:lnTo>
                    <a:lnTo>
                      <a:pt x="1236" y="702"/>
                    </a:lnTo>
                    <a:lnTo>
                      <a:pt x="1232" y="696"/>
                    </a:lnTo>
                    <a:lnTo>
                      <a:pt x="1228" y="690"/>
                    </a:lnTo>
                    <a:lnTo>
                      <a:pt x="1226" y="682"/>
                    </a:lnTo>
                    <a:lnTo>
                      <a:pt x="1224" y="664"/>
                    </a:lnTo>
                    <a:lnTo>
                      <a:pt x="1224" y="664"/>
                    </a:lnTo>
                    <a:lnTo>
                      <a:pt x="1224" y="650"/>
                    </a:lnTo>
                    <a:lnTo>
                      <a:pt x="1224" y="634"/>
                    </a:lnTo>
                    <a:lnTo>
                      <a:pt x="1220" y="620"/>
                    </a:lnTo>
                    <a:lnTo>
                      <a:pt x="1216" y="614"/>
                    </a:lnTo>
                    <a:lnTo>
                      <a:pt x="1212" y="606"/>
                    </a:lnTo>
                    <a:lnTo>
                      <a:pt x="1212" y="606"/>
                    </a:lnTo>
                    <a:lnTo>
                      <a:pt x="1208" y="600"/>
                    </a:lnTo>
                    <a:lnTo>
                      <a:pt x="1206" y="596"/>
                    </a:lnTo>
                    <a:lnTo>
                      <a:pt x="1206" y="588"/>
                    </a:lnTo>
                    <a:lnTo>
                      <a:pt x="1208" y="584"/>
                    </a:lnTo>
                    <a:lnTo>
                      <a:pt x="1206" y="582"/>
                    </a:lnTo>
                    <a:lnTo>
                      <a:pt x="1204" y="578"/>
                    </a:lnTo>
                    <a:lnTo>
                      <a:pt x="1204" y="578"/>
                    </a:lnTo>
                    <a:lnTo>
                      <a:pt x="1200" y="576"/>
                    </a:lnTo>
                    <a:lnTo>
                      <a:pt x="1196" y="572"/>
                    </a:lnTo>
                    <a:lnTo>
                      <a:pt x="1194" y="562"/>
                    </a:lnTo>
                    <a:lnTo>
                      <a:pt x="1192" y="548"/>
                    </a:lnTo>
                    <a:lnTo>
                      <a:pt x="1190" y="534"/>
                    </a:lnTo>
                    <a:lnTo>
                      <a:pt x="1190" y="534"/>
                    </a:lnTo>
                    <a:lnTo>
                      <a:pt x="1188" y="526"/>
                    </a:lnTo>
                    <a:lnTo>
                      <a:pt x="1184" y="522"/>
                    </a:lnTo>
                    <a:lnTo>
                      <a:pt x="1180" y="520"/>
                    </a:lnTo>
                    <a:lnTo>
                      <a:pt x="1176" y="520"/>
                    </a:lnTo>
                    <a:lnTo>
                      <a:pt x="1172" y="522"/>
                    </a:lnTo>
                    <a:lnTo>
                      <a:pt x="1170" y="526"/>
                    </a:lnTo>
                    <a:lnTo>
                      <a:pt x="1166" y="532"/>
                    </a:lnTo>
                    <a:lnTo>
                      <a:pt x="1166" y="538"/>
                    </a:lnTo>
                    <a:lnTo>
                      <a:pt x="1166" y="538"/>
                    </a:lnTo>
                    <a:lnTo>
                      <a:pt x="1164" y="552"/>
                    </a:lnTo>
                    <a:lnTo>
                      <a:pt x="1162" y="564"/>
                    </a:lnTo>
                    <a:lnTo>
                      <a:pt x="1150" y="594"/>
                    </a:lnTo>
                    <a:lnTo>
                      <a:pt x="1150" y="594"/>
                    </a:lnTo>
                    <a:lnTo>
                      <a:pt x="1146" y="602"/>
                    </a:lnTo>
                    <a:lnTo>
                      <a:pt x="1146" y="608"/>
                    </a:lnTo>
                    <a:lnTo>
                      <a:pt x="1146" y="612"/>
                    </a:lnTo>
                    <a:lnTo>
                      <a:pt x="1150" y="614"/>
                    </a:lnTo>
                    <a:lnTo>
                      <a:pt x="1152" y="616"/>
                    </a:lnTo>
                    <a:lnTo>
                      <a:pt x="1152" y="618"/>
                    </a:lnTo>
                    <a:lnTo>
                      <a:pt x="1150" y="622"/>
                    </a:lnTo>
                    <a:lnTo>
                      <a:pt x="1150" y="622"/>
                    </a:lnTo>
                    <a:lnTo>
                      <a:pt x="1144" y="630"/>
                    </a:lnTo>
                    <a:lnTo>
                      <a:pt x="1144" y="636"/>
                    </a:lnTo>
                    <a:lnTo>
                      <a:pt x="1144" y="646"/>
                    </a:lnTo>
                    <a:lnTo>
                      <a:pt x="1138" y="658"/>
                    </a:lnTo>
                    <a:lnTo>
                      <a:pt x="1138" y="658"/>
                    </a:lnTo>
                    <a:lnTo>
                      <a:pt x="1136" y="668"/>
                    </a:lnTo>
                    <a:lnTo>
                      <a:pt x="1136" y="676"/>
                    </a:lnTo>
                    <a:lnTo>
                      <a:pt x="1140" y="700"/>
                    </a:lnTo>
                    <a:lnTo>
                      <a:pt x="1144" y="724"/>
                    </a:lnTo>
                    <a:lnTo>
                      <a:pt x="1144" y="736"/>
                    </a:lnTo>
                    <a:lnTo>
                      <a:pt x="1142" y="748"/>
                    </a:lnTo>
                    <a:lnTo>
                      <a:pt x="1142" y="748"/>
                    </a:lnTo>
                    <a:lnTo>
                      <a:pt x="1136" y="768"/>
                    </a:lnTo>
                    <a:lnTo>
                      <a:pt x="1136" y="780"/>
                    </a:lnTo>
                    <a:lnTo>
                      <a:pt x="1136" y="792"/>
                    </a:lnTo>
                    <a:lnTo>
                      <a:pt x="1130" y="806"/>
                    </a:lnTo>
                    <a:lnTo>
                      <a:pt x="1130" y="806"/>
                    </a:lnTo>
                    <a:lnTo>
                      <a:pt x="1124" y="816"/>
                    </a:lnTo>
                    <a:lnTo>
                      <a:pt x="1120" y="826"/>
                    </a:lnTo>
                    <a:lnTo>
                      <a:pt x="1116" y="840"/>
                    </a:lnTo>
                    <a:lnTo>
                      <a:pt x="1114" y="850"/>
                    </a:lnTo>
                    <a:lnTo>
                      <a:pt x="1110" y="856"/>
                    </a:lnTo>
                    <a:lnTo>
                      <a:pt x="1102" y="862"/>
                    </a:lnTo>
                    <a:lnTo>
                      <a:pt x="1102" y="862"/>
                    </a:lnTo>
                    <a:lnTo>
                      <a:pt x="1096" y="866"/>
                    </a:lnTo>
                    <a:lnTo>
                      <a:pt x="1088" y="866"/>
                    </a:lnTo>
                    <a:lnTo>
                      <a:pt x="1078" y="864"/>
                    </a:lnTo>
                    <a:lnTo>
                      <a:pt x="1068" y="860"/>
                    </a:lnTo>
                    <a:lnTo>
                      <a:pt x="1060" y="854"/>
                    </a:lnTo>
                    <a:lnTo>
                      <a:pt x="1052" y="848"/>
                    </a:lnTo>
                    <a:lnTo>
                      <a:pt x="1046" y="842"/>
                    </a:lnTo>
                    <a:lnTo>
                      <a:pt x="1044" y="836"/>
                    </a:lnTo>
                    <a:lnTo>
                      <a:pt x="1044" y="836"/>
                    </a:lnTo>
                    <a:lnTo>
                      <a:pt x="1040" y="830"/>
                    </a:lnTo>
                    <a:lnTo>
                      <a:pt x="1036" y="826"/>
                    </a:lnTo>
                    <a:lnTo>
                      <a:pt x="1028" y="824"/>
                    </a:lnTo>
                    <a:lnTo>
                      <a:pt x="1022" y="822"/>
                    </a:lnTo>
                    <a:lnTo>
                      <a:pt x="1014" y="818"/>
                    </a:lnTo>
                    <a:lnTo>
                      <a:pt x="1004" y="812"/>
                    </a:lnTo>
                    <a:lnTo>
                      <a:pt x="990" y="800"/>
                    </a:lnTo>
                    <a:lnTo>
                      <a:pt x="990" y="800"/>
                    </a:lnTo>
                    <a:lnTo>
                      <a:pt x="978" y="788"/>
                    </a:lnTo>
                    <a:lnTo>
                      <a:pt x="968" y="782"/>
                    </a:lnTo>
                    <a:lnTo>
                      <a:pt x="962" y="780"/>
                    </a:lnTo>
                    <a:lnTo>
                      <a:pt x="956" y="778"/>
                    </a:lnTo>
                    <a:lnTo>
                      <a:pt x="948" y="776"/>
                    </a:lnTo>
                    <a:lnTo>
                      <a:pt x="942" y="772"/>
                    </a:lnTo>
                    <a:lnTo>
                      <a:pt x="934" y="764"/>
                    </a:lnTo>
                    <a:lnTo>
                      <a:pt x="934" y="764"/>
                    </a:lnTo>
                    <a:lnTo>
                      <a:pt x="922" y="752"/>
                    </a:lnTo>
                    <a:lnTo>
                      <a:pt x="912" y="744"/>
                    </a:lnTo>
                    <a:lnTo>
                      <a:pt x="898" y="732"/>
                    </a:lnTo>
                    <a:lnTo>
                      <a:pt x="896" y="728"/>
                    </a:lnTo>
                    <a:lnTo>
                      <a:pt x="896" y="722"/>
                    </a:lnTo>
                    <a:lnTo>
                      <a:pt x="900" y="712"/>
                    </a:lnTo>
                    <a:lnTo>
                      <a:pt x="908" y="700"/>
                    </a:lnTo>
                    <a:lnTo>
                      <a:pt x="908" y="700"/>
                    </a:lnTo>
                    <a:lnTo>
                      <a:pt x="916" y="684"/>
                    </a:lnTo>
                    <a:lnTo>
                      <a:pt x="920" y="674"/>
                    </a:lnTo>
                    <a:lnTo>
                      <a:pt x="920" y="670"/>
                    </a:lnTo>
                    <a:lnTo>
                      <a:pt x="918" y="670"/>
                    </a:lnTo>
                    <a:lnTo>
                      <a:pt x="916" y="668"/>
                    </a:lnTo>
                    <a:lnTo>
                      <a:pt x="914" y="666"/>
                    </a:lnTo>
                    <a:lnTo>
                      <a:pt x="914" y="662"/>
                    </a:lnTo>
                    <a:lnTo>
                      <a:pt x="918" y="652"/>
                    </a:lnTo>
                    <a:lnTo>
                      <a:pt x="918" y="652"/>
                    </a:lnTo>
                    <a:lnTo>
                      <a:pt x="924" y="644"/>
                    </a:lnTo>
                    <a:lnTo>
                      <a:pt x="928" y="640"/>
                    </a:lnTo>
                    <a:lnTo>
                      <a:pt x="930" y="642"/>
                    </a:lnTo>
                    <a:lnTo>
                      <a:pt x="934" y="646"/>
                    </a:lnTo>
                    <a:lnTo>
                      <a:pt x="936" y="648"/>
                    </a:lnTo>
                    <a:lnTo>
                      <a:pt x="936" y="650"/>
                    </a:lnTo>
                    <a:lnTo>
                      <a:pt x="938" y="646"/>
                    </a:lnTo>
                    <a:lnTo>
                      <a:pt x="940" y="638"/>
                    </a:lnTo>
                    <a:lnTo>
                      <a:pt x="940" y="638"/>
                    </a:lnTo>
                    <a:lnTo>
                      <a:pt x="942" y="626"/>
                    </a:lnTo>
                    <a:lnTo>
                      <a:pt x="946" y="618"/>
                    </a:lnTo>
                    <a:lnTo>
                      <a:pt x="950" y="612"/>
                    </a:lnTo>
                    <a:lnTo>
                      <a:pt x="956" y="606"/>
                    </a:lnTo>
                    <a:lnTo>
                      <a:pt x="958" y="604"/>
                    </a:lnTo>
                    <a:lnTo>
                      <a:pt x="960" y="602"/>
                    </a:lnTo>
                    <a:lnTo>
                      <a:pt x="960" y="598"/>
                    </a:lnTo>
                    <a:lnTo>
                      <a:pt x="956" y="596"/>
                    </a:lnTo>
                    <a:lnTo>
                      <a:pt x="956" y="596"/>
                    </a:lnTo>
                    <a:lnTo>
                      <a:pt x="950" y="590"/>
                    </a:lnTo>
                    <a:lnTo>
                      <a:pt x="946" y="586"/>
                    </a:lnTo>
                    <a:lnTo>
                      <a:pt x="942" y="580"/>
                    </a:lnTo>
                    <a:lnTo>
                      <a:pt x="942" y="578"/>
                    </a:lnTo>
                    <a:lnTo>
                      <a:pt x="940" y="578"/>
                    </a:lnTo>
                    <a:lnTo>
                      <a:pt x="934" y="582"/>
                    </a:lnTo>
                    <a:lnTo>
                      <a:pt x="934" y="582"/>
                    </a:lnTo>
                    <a:lnTo>
                      <a:pt x="930" y="584"/>
                    </a:lnTo>
                    <a:lnTo>
                      <a:pt x="928" y="588"/>
                    </a:lnTo>
                    <a:lnTo>
                      <a:pt x="928" y="594"/>
                    </a:lnTo>
                    <a:lnTo>
                      <a:pt x="930" y="598"/>
                    </a:lnTo>
                    <a:lnTo>
                      <a:pt x="928" y="600"/>
                    </a:lnTo>
                    <a:lnTo>
                      <a:pt x="926" y="602"/>
                    </a:lnTo>
                    <a:lnTo>
                      <a:pt x="926" y="602"/>
                    </a:lnTo>
                    <a:lnTo>
                      <a:pt x="922" y="604"/>
                    </a:lnTo>
                    <a:lnTo>
                      <a:pt x="920" y="604"/>
                    </a:lnTo>
                    <a:lnTo>
                      <a:pt x="918" y="598"/>
                    </a:lnTo>
                    <a:lnTo>
                      <a:pt x="918" y="592"/>
                    </a:lnTo>
                    <a:lnTo>
                      <a:pt x="918" y="590"/>
                    </a:lnTo>
                    <a:lnTo>
                      <a:pt x="916" y="590"/>
                    </a:lnTo>
                    <a:lnTo>
                      <a:pt x="916" y="590"/>
                    </a:lnTo>
                    <a:lnTo>
                      <a:pt x="914" y="588"/>
                    </a:lnTo>
                    <a:lnTo>
                      <a:pt x="914" y="586"/>
                    </a:lnTo>
                    <a:lnTo>
                      <a:pt x="914" y="578"/>
                    </a:lnTo>
                    <a:lnTo>
                      <a:pt x="914" y="574"/>
                    </a:lnTo>
                    <a:lnTo>
                      <a:pt x="912" y="574"/>
                    </a:lnTo>
                    <a:lnTo>
                      <a:pt x="906" y="576"/>
                    </a:lnTo>
                    <a:lnTo>
                      <a:pt x="898" y="584"/>
                    </a:lnTo>
                    <a:lnTo>
                      <a:pt x="898" y="584"/>
                    </a:lnTo>
                    <a:lnTo>
                      <a:pt x="888" y="590"/>
                    </a:lnTo>
                    <a:lnTo>
                      <a:pt x="882" y="594"/>
                    </a:lnTo>
                    <a:lnTo>
                      <a:pt x="878" y="594"/>
                    </a:lnTo>
                    <a:lnTo>
                      <a:pt x="874" y="592"/>
                    </a:lnTo>
                    <a:lnTo>
                      <a:pt x="870" y="586"/>
                    </a:lnTo>
                    <a:lnTo>
                      <a:pt x="866" y="584"/>
                    </a:lnTo>
                    <a:lnTo>
                      <a:pt x="860" y="584"/>
                    </a:lnTo>
                    <a:lnTo>
                      <a:pt x="860" y="584"/>
                    </a:lnTo>
                    <a:lnTo>
                      <a:pt x="854" y="586"/>
                    </a:lnTo>
                    <a:lnTo>
                      <a:pt x="848" y="586"/>
                    </a:lnTo>
                    <a:lnTo>
                      <a:pt x="844" y="584"/>
                    </a:lnTo>
                    <a:lnTo>
                      <a:pt x="842" y="580"/>
                    </a:lnTo>
                    <a:lnTo>
                      <a:pt x="834" y="572"/>
                    </a:lnTo>
                    <a:lnTo>
                      <a:pt x="830" y="570"/>
                    </a:lnTo>
                    <a:lnTo>
                      <a:pt x="822" y="570"/>
                    </a:lnTo>
                    <a:lnTo>
                      <a:pt x="822" y="570"/>
                    </a:lnTo>
                    <a:lnTo>
                      <a:pt x="814" y="570"/>
                    </a:lnTo>
                    <a:lnTo>
                      <a:pt x="808" y="568"/>
                    </a:lnTo>
                    <a:lnTo>
                      <a:pt x="804" y="564"/>
                    </a:lnTo>
                    <a:lnTo>
                      <a:pt x="802" y="560"/>
                    </a:lnTo>
                    <a:lnTo>
                      <a:pt x="798" y="554"/>
                    </a:lnTo>
                    <a:lnTo>
                      <a:pt x="796" y="554"/>
                    </a:lnTo>
                    <a:lnTo>
                      <a:pt x="792" y="554"/>
                    </a:lnTo>
                    <a:lnTo>
                      <a:pt x="792" y="554"/>
                    </a:lnTo>
                    <a:lnTo>
                      <a:pt x="788" y="554"/>
                    </a:lnTo>
                    <a:lnTo>
                      <a:pt x="784" y="554"/>
                    </a:lnTo>
                    <a:lnTo>
                      <a:pt x="782" y="550"/>
                    </a:lnTo>
                    <a:lnTo>
                      <a:pt x="776" y="546"/>
                    </a:lnTo>
                    <a:lnTo>
                      <a:pt x="774" y="544"/>
                    </a:lnTo>
                    <a:lnTo>
                      <a:pt x="768" y="542"/>
                    </a:lnTo>
                    <a:lnTo>
                      <a:pt x="768" y="542"/>
                    </a:lnTo>
                    <a:lnTo>
                      <a:pt x="758" y="542"/>
                    </a:lnTo>
                    <a:lnTo>
                      <a:pt x="752" y="544"/>
                    </a:lnTo>
                    <a:lnTo>
                      <a:pt x="750" y="546"/>
                    </a:lnTo>
                    <a:lnTo>
                      <a:pt x="750" y="548"/>
                    </a:lnTo>
                    <a:lnTo>
                      <a:pt x="754" y="556"/>
                    </a:lnTo>
                    <a:lnTo>
                      <a:pt x="754" y="556"/>
                    </a:lnTo>
                    <a:lnTo>
                      <a:pt x="756" y="558"/>
                    </a:lnTo>
                    <a:lnTo>
                      <a:pt x="762" y="560"/>
                    </a:lnTo>
                    <a:lnTo>
                      <a:pt x="774" y="560"/>
                    </a:lnTo>
                    <a:lnTo>
                      <a:pt x="778" y="560"/>
                    </a:lnTo>
                    <a:lnTo>
                      <a:pt x="782" y="564"/>
                    </a:lnTo>
                    <a:lnTo>
                      <a:pt x="784" y="570"/>
                    </a:lnTo>
                    <a:lnTo>
                      <a:pt x="782" y="580"/>
                    </a:lnTo>
                    <a:lnTo>
                      <a:pt x="782" y="580"/>
                    </a:lnTo>
                    <a:lnTo>
                      <a:pt x="778" y="594"/>
                    </a:lnTo>
                    <a:lnTo>
                      <a:pt x="778" y="596"/>
                    </a:lnTo>
                    <a:lnTo>
                      <a:pt x="776" y="596"/>
                    </a:lnTo>
                    <a:lnTo>
                      <a:pt x="768" y="594"/>
                    </a:lnTo>
                    <a:lnTo>
                      <a:pt x="760" y="594"/>
                    </a:lnTo>
                    <a:lnTo>
                      <a:pt x="750" y="596"/>
                    </a:lnTo>
                    <a:lnTo>
                      <a:pt x="750" y="596"/>
                    </a:lnTo>
                    <a:lnTo>
                      <a:pt x="742" y="596"/>
                    </a:lnTo>
                    <a:lnTo>
                      <a:pt x="736" y="596"/>
                    </a:lnTo>
                    <a:lnTo>
                      <a:pt x="728" y="592"/>
                    </a:lnTo>
                    <a:lnTo>
                      <a:pt x="726" y="592"/>
                    </a:lnTo>
                    <a:lnTo>
                      <a:pt x="720" y="594"/>
                    </a:lnTo>
                    <a:lnTo>
                      <a:pt x="700" y="608"/>
                    </a:lnTo>
                    <a:lnTo>
                      <a:pt x="700" y="608"/>
                    </a:lnTo>
                    <a:lnTo>
                      <a:pt x="688" y="620"/>
                    </a:lnTo>
                    <a:lnTo>
                      <a:pt x="680" y="628"/>
                    </a:lnTo>
                    <a:lnTo>
                      <a:pt x="678" y="634"/>
                    </a:lnTo>
                    <a:lnTo>
                      <a:pt x="676" y="638"/>
                    </a:lnTo>
                    <a:lnTo>
                      <a:pt x="676" y="644"/>
                    </a:lnTo>
                    <a:lnTo>
                      <a:pt x="674" y="652"/>
                    </a:lnTo>
                    <a:lnTo>
                      <a:pt x="670" y="662"/>
                    </a:lnTo>
                    <a:lnTo>
                      <a:pt x="662" y="674"/>
                    </a:lnTo>
                    <a:lnTo>
                      <a:pt x="662" y="674"/>
                    </a:lnTo>
                    <a:lnTo>
                      <a:pt x="654" y="688"/>
                    </a:lnTo>
                    <a:lnTo>
                      <a:pt x="650" y="698"/>
                    </a:lnTo>
                    <a:lnTo>
                      <a:pt x="652" y="706"/>
                    </a:lnTo>
                    <a:lnTo>
                      <a:pt x="654" y="710"/>
                    </a:lnTo>
                    <a:lnTo>
                      <a:pt x="662" y="716"/>
                    </a:lnTo>
                    <a:lnTo>
                      <a:pt x="662" y="720"/>
                    </a:lnTo>
                    <a:lnTo>
                      <a:pt x="658" y="724"/>
                    </a:lnTo>
                    <a:lnTo>
                      <a:pt x="658" y="724"/>
                    </a:lnTo>
                    <a:lnTo>
                      <a:pt x="652" y="728"/>
                    </a:lnTo>
                    <a:lnTo>
                      <a:pt x="648" y="730"/>
                    </a:lnTo>
                    <a:lnTo>
                      <a:pt x="644" y="730"/>
                    </a:lnTo>
                    <a:lnTo>
                      <a:pt x="640" y="728"/>
                    </a:lnTo>
                    <a:lnTo>
                      <a:pt x="630" y="722"/>
                    </a:lnTo>
                    <a:lnTo>
                      <a:pt x="626" y="722"/>
                    </a:lnTo>
                    <a:lnTo>
                      <a:pt x="618" y="722"/>
                    </a:lnTo>
                    <a:lnTo>
                      <a:pt x="618" y="722"/>
                    </a:lnTo>
                    <a:lnTo>
                      <a:pt x="612" y="722"/>
                    </a:lnTo>
                    <a:lnTo>
                      <a:pt x="608" y="718"/>
                    </a:lnTo>
                    <a:lnTo>
                      <a:pt x="596" y="712"/>
                    </a:lnTo>
                    <a:lnTo>
                      <a:pt x="574" y="688"/>
                    </a:lnTo>
                    <a:lnTo>
                      <a:pt x="562" y="676"/>
                    </a:lnTo>
                    <a:lnTo>
                      <a:pt x="554" y="670"/>
                    </a:lnTo>
                    <a:lnTo>
                      <a:pt x="550" y="668"/>
                    </a:lnTo>
                    <a:lnTo>
                      <a:pt x="548" y="668"/>
                    </a:lnTo>
                    <a:lnTo>
                      <a:pt x="546" y="670"/>
                    </a:lnTo>
                    <a:lnTo>
                      <a:pt x="544" y="674"/>
                    </a:lnTo>
                    <a:lnTo>
                      <a:pt x="544" y="674"/>
                    </a:lnTo>
                    <a:lnTo>
                      <a:pt x="542" y="682"/>
                    </a:lnTo>
                    <a:lnTo>
                      <a:pt x="540" y="684"/>
                    </a:lnTo>
                    <a:lnTo>
                      <a:pt x="536" y="684"/>
                    </a:lnTo>
                    <a:lnTo>
                      <a:pt x="532" y="682"/>
                    </a:lnTo>
                    <a:lnTo>
                      <a:pt x="526" y="678"/>
                    </a:lnTo>
                    <a:lnTo>
                      <a:pt x="522" y="678"/>
                    </a:lnTo>
                    <a:lnTo>
                      <a:pt x="518" y="682"/>
                    </a:lnTo>
                    <a:lnTo>
                      <a:pt x="516" y="690"/>
                    </a:lnTo>
                    <a:lnTo>
                      <a:pt x="516" y="690"/>
                    </a:lnTo>
                    <a:lnTo>
                      <a:pt x="516" y="698"/>
                    </a:lnTo>
                    <a:lnTo>
                      <a:pt x="514" y="700"/>
                    </a:lnTo>
                    <a:lnTo>
                      <a:pt x="510" y="700"/>
                    </a:lnTo>
                    <a:lnTo>
                      <a:pt x="508" y="698"/>
                    </a:lnTo>
                    <a:lnTo>
                      <a:pt x="502" y="696"/>
                    </a:lnTo>
                    <a:lnTo>
                      <a:pt x="498" y="698"/>
                    </a:lnTo>
                    <a:lnTo>
                      <a:pt x="490" y="704"/>
                    </a:lnTo>
                    <a:lnTo>
                      <a:pt x="482" y="718"/>
                    </a:lnTo>
                    <a:lnTo>
                      <a:pt x="482" y="718"/>
                    </a:lnTo>
                    <a:lnTo>
                      <a:pt x="474" y="732"/>
                    </a:lnTo>
                    <a:lnTo>
                      <a:pt x="468" y="742"/>
                    </a:lnTo>
                    <a:lnTo>
                      <a:pt x="458" y="752"/>
                    </a:lnTo>
                    <a:lnTo>
                      <a:pt x="454" y="756"/>
                    </a:lnTo>
                    <a:lnTo>
                      <a:pt x="452" y="762"/>
                    </a:lnTo>
                    <a:lnTo>
                      <a:pt x="450" y="768"/>
                    </a:lnTo>
                    <a:lnTo>
                      <a:pt x="448" y="780"/>
                    </a:lnTo>
                    <a:lnTo>
                      <a:pt x="448" y="780"/>
                    </a:lnTo>
                    <a:lnTo>
                      <a:pt x="448" y="794"/>
                    </a:lnTo>
                    <a:lnTo>
                      <a:pt x="446" y="798"/>
                    </a:lnTo>
                    <a:lnTo>
                      <a:pt x="444" y="800"/>
                    </a:lnTo>
                    <a:lnTo>
                      <a:pt x="440" y="798"/>
                    </a:lnTo>
                    <a:lnTo>
                      <a:pt x="434" y="794"/>
                    </a:lnTo>
                    <a:lnTo>
                      <a:pt x="428" y="792"/>
                    </a:lnTo>
                    <a:lnTo>
                      <a:pt x="426" y="792"/>
                    </a:lnTo>
                    <a:lnTo>
                      <a:pt x="422" y="794"/>
                    </a:lnTo>
                    <a:lnTo>
                      <a:pt x="420" y="798"/>
                    </a:lnTo>
                    <a:lnTo>
                      <a:pt x="418" y="804"/>
                    </a:lnTo>
                    <a:lnTo>
                      <a:pt x="416" y="824"/>
                    </a:lnTo>
                    <a:lnTo>
                      <a:pt x="416" y="824"/>
                    </a:lnTo>
                    <a:lnTo>
                      <a:pt x="414" y="840"/>
                    </a:lnTo>
                    <a:lnTo>
                      <a:pt x="414" y="842"/>
                    </a:lnTo>
                    <a:lnTo>
                      <a:pt x="412" y="842"/>
                    </a:lnTo>
                    <a:lnTo>
                      <a:pt x="408" y="828"/>
                    </a:lnTo>
                    <a:lnTo>
                      <a:pt x="402" y="818"/>
                    </a:lnTo>
                    <a:lnTo>
                      <a:pt x="400" y="812"/>
                    </a:lnTo>
                    <a:lnTo>
                      <a:pt x="396" y="810"/>
                    </a:lnTo>
                    <a:lnTo>
                      <a:pt x="392" y="810"/>
                    </a:lnTo>
                    <a:lnTo>
                      <a:pt x="386" y="812"/>
                    </a:lnTo>
                    <a:lnTo>
                      <a:pt x="382" y="816"/>
                    </a:lnTo>
                    <a:lnTo>
                      <a:pt x="376" y="822"/>
                    </a:lnTo>
                    <a:lnTo>
                      <a:pt x="376" y="822"/>
                    </a:lnTo>
                    <a:lnTo>
                      <a:pt x="366" y="840"/>
                    </a:lnTo>
                    <a:lnTo>
                      <a:pt x="360" y="852"/>
                    </a:lnTo>
                    <a:lnTo>
                      <a:pt x="360" y="864"/>
                    </a:lnTo>
                    <a:lnTo>
                      <a:pt x="362" y="872"/>
                    </a:lnTo>
                    <a:lnTo>
                      <a:pt x="362" y="880"/>
                    </a:lnTo>
                    <a:lnTo>
                      <a:pt x="362" y="886"/>
                    </a:lnTo>
                    <a:lnTo>
                      <a:pt x="358" y="894"/>
                    </a:lnTo>
                    <a:lnTo>
                      <a:pt x="350" y="902"/>
                    </a:lnTo>
                    <a:lnTo>
                      <a:pt x="350" y="902"/>
                    </a:lnTo>
                    <a:lnTo>
                      <a:pt x="344" y="908"/>
                    </a:lnTo>
                    <a:lnTo>
                      <a:pt x="338" y="916"/>
                    </a:lnTo>
                    <a:lnTo>
                      <a:pt x="334" y="930"/>
                    </a:lnTo>
                    <a:lnTo>
                      <a:pt x="330" y="940"/>
                    </a:lnTo>
                    <a:lnTo>
                      <a:pt x="324" y="948"/>
                    </a:lnTo>
                    <a:lnTo>
                      <a:pt x="316" y="958"/>
                    </a:lnTo>
                    <a:lnTo>
                      <a:pt x="304" y="968"/>
                    </a:lnTo>
                    <a:lnTo>
                      <a:pt x="304" y="968"/>
                    </a:lnTo>
                    <a:lnTo>
                      <a:pt x="290" y="976"/>
                    </a:lnTo>
                    <a:lnTo>
                      <a:pt x="276" y="980"/>
                    </a:lnTo>
                    <a:lnTo>
                      <a:pt x="266" y="982"/>
                    </a:lnTo>
                    <a:lnTo>
                      <a:pt x="256" y="980"/>
                    </a:lnTo>
                    <a:lnTo>
                      <a:pt x="240" y="980"/>
                    </a:lnTo>
                    <a:lnTo>
                      <a:pt x="234" y="982"/>
                    </a:lnTo>
                    <a:lnTo>
                      <a:pt x="232" y="986"/>
                    </a:lnTo>
                    <a:lnTo>
                      <a:pt x="232" y="986"/>
                    </a:lnTo>
                    <a:lnTo>
                      <a:pt x="228" y="990"/>
                    </a:lnTo>
                    <a:lnTo>
                      <a:pt x="224" y="994"/>
                    </a:lnTo>
                    <a:lnTo>
                      <a:pt x="212" y="998"/>
                    </a:lnTo>
                    <a:lnTo>
                      <a:pt x="198" y="1002"/>
                    </a:lnTo>
                    <a:lnTo>
                      <a:pt x="180" y="1012"/>
                    </a:lnTo>
                    <a:lnTo>
                      <a:pt x="180" y="1012"/>
                    </a:lnTo>
                    <a:lnTo>
                      <a:pt x="170" y="1016"/>
                    </a:lnTo>
                    <a:lnTo>
                      <a:pt x="162" y="1016"/>
                    </a:lnTo>
                    <a:lnTo>
                      <a:pt x="150" y="1012"/>
                    </a:lnTo>
                    <a:lnTo>
                      <a:pt x="142" y="1012"/>
                    </a:lnTo>
                    <a:lnTo>
                      <a:pt x="134" y="1014"/>
                    </a:lnTo>
                    <a:lnTo>
                      <a:pt x="124" y="1020"/>
                    </a:lnTo>
                    <a:lnTo>
                      <a:pt x="110" y="1034"/>
                    </a:lnTo>
                    <a:lnTo>
                      <a:pt x="110" y="1034"/>
                    </a:lnTo>
                    <a:lnTo>
                      <a:pt x="98" y="1048"/>
                    </a:lnTo>
                    <a:lnTo>
                      <a:pt x="86" y="1058"/>
                    </a:lnTo>
                    <a:lnTo>
                      <a:pt x="78" y="1062"/>
                    </a:lnTo>
                    <a:lnTo>
                      <a:pt x="72" y="1066"/>
                    </a:lnTo>
                    <a:lnTo>
                      <a:pt x="66" y="1068"/>
                    </a:lnTo>
                    <a:lnTo>
                      <a:pt x="60" y="1074"/>
                    </a:lnTo>
                    <a:lnTo>
                      <a:pt x="54" y="1082"/>
                    </a:lnTo>
                    <a:lnTo>
                      <a:pt x="50" y="1094"/>
                    </a:lnTo>
                    <a:lnTo>
                      <a:pt x="50" y="1094"/>
                    </a:lnTo>
                    <a:lnTo>
                      <a:pt x="44" y="1104"/>
                    </a:lnTo>
                    <a:lnTo>
                      <a:pt x="42" y="1106"/>
                    </a:lnTo>
                    <a:lnTo>
                      <a:pt x="42" y="1104"/>
                    </a:lnTo>
                    <a:lnTo>
                      <a:pt x="40" y="1100"/>
                    </a:lnTo>
                    <a:lnTo>
                      <a:pt x="38" y="1092"/>
                    </a:lnTo>
                    <a:lnTo>
                      <a:pt x="38" y="1084"/>
                    </a:lnTo>
                    <a:lnTo>
                      <a:pt x="36" y="1078"/>
                    </a:lnTo>
                    <a:lnTo>
                      <a:pt x="34" y="1078"/>
                    </a:lnTo>
                    <a:lnTo>
                      <a:pt x="30" y="1078"/>
                    </a:lnTo>
                    <a:lnTo>
                      <a:pt x="24" y="1088"/>
                    </a:lnTo>
                    <a:lnTo>
                      <a:pt x="24" y="1088"/>
                    </a:lnTo>
                    <a:lnTo>
                      <a:pt x="18" y="1100"/>
                    </a:lnTo>
                    <a:lnTo>
                      <a:pt x="16" y="1110"/>
                    </a:lnTo>
                    <a:lnTo>
                      <a:pt x="18" y="1118"/>
                    </a:lnTo>
                    <a:lnTo>
                      <a:pt x="20" y="1126"/>
                    </a:lnTo>
                    <a:lnTo>
                      <a:pt x="22" y="1134"/>
                    </a:lnTo>
                    <a:lnTo>
                      <a:pt x="22" y="1144"/>
                    </a:lnTo>
                    <a:lnTo>
                      <a:pt x="20" y="1154"/>
                    </a:lnTo>
                    <a:lnTo>
                      <a:pt x="12" y="1170"/>
                    </a:lnTo>
                    <a:lnTo>
                      <a:pt x="12" y="1170"/>
                    </a:lnTo>
                    <a:lnTo>
                      <a:pt x="8" y="1180"/>
                    </a:lnTo>
                    <a:lnTo>
                      <a:pt x="4" y="1188"/>
                    </a:lnTo>
                    <a:lnTo>
                      <a:pt x="4" y="1196"/>
                    </a:lnTo>
                    <a:lnTo>
                      <a:pt x="4" y="1204"/>
                    </a:lnTo>
                    <a:lnTo>
                      <a:pt x="8" y="1220"/>
                    </a:lnTo>
                    <a:lnTo>
                      <a:pt x="16" y="1236"/>
                    </a:lnTo>
                    <a:lnTo>
                      <a:pt x="34" y="1266"/>
                    </a:lnTo>
                    <a:lnTo>
                      <a:pt x="40" y="1280"/>
                    </a:lnTo>
                    <a:lnTo>
                      <a:pt x="40" y="1288"/>
                    </a:lnTo>
                    <a:lnTo>
                      <a:pt x="42" y="1294"/>
                    </a:lnTo>
                    <a:lnTo>
                      <a:pt x="42" y="1294"/>
                    </a:lnTo>
                    <a:lnTo>
                      <a:pt x="40" y="1304"/>
                    </a:lnTo>
                    <a:lnTo>
                      <a:pt x="38" y="1304"/>
                    </a:lnTo>
                    <a:lnTo>
                      <a:pt x="36" y="1304"/>
                    </a:lnTo>
                    <a:lnTo>
                      <a:pt x="32" y="1298"/>
                    </a:lnTo>
                    <a:lnTo>
                      <a:pt x="26" y="1288"/>
                    </a:lnTo>
                    <a:lnTo>
                      <a:pt x="14" y="1268"/>
                    </a:lnTo>
                    <a:lnTo>
                      <a:pt x="10" y="1264"/>
                    </a:lnTo>
                    <a:lnTo>
                      <a:pt x="8" y="1264"/>
                    </a:lnTo>
                    <a:lnTo>
                      <a:pt x="8" y="1264"/>
                    </a:lnTo>
                    <a:lnTo>
                      <a:pt x="8" y="1264"/>
                    </a:lnTo>
                    <a:lnTo>
                      <a:pt x="6" y="1270"/>
                    </a:lnTo>
                    <a:lnTo>
                      <a:pt x="8" y="1276"/>
                    </a:lnTo>
                    <a:lnTo>
                      <a:pt x="14" y="1290"/>
                    </a:lnTo>
                    <a:lnTo>
                      <a:pt x="20" y="1304"/>
                    </a:lnTo>
                    <a:lnTo>
                      <a:pt x="22" y="1310"/>
                    </a:lnTo>
                    <a:lnTo>
                      <a:pt x="22" y="1316"/>
                    </a:lnTo>
                    <a:lnTo>
                      <a:pt x="22" y="1316"/>
                    </a:lnTo>
                    <a:lnTo>
                      <a:pt x="20" y="1316"/>
                    </a:lnTo>
                    <a:lnTo>
                      <a:pt x="20" y="1316"/>
                    </a:lnTo>
                    <a:lnTo>
                      <a:pt x="16" y="1312"/>
                    </a:lnTo>
                    <a:lnTo>
                      <a:pt x="10" y="1298"/>
                    </a:lnTo>
                    <a:lnTo>
                      <a:pt x="6" y="1292"/>
                    </a:lnTo>
                    <a:lnTo>
                      <a:pt x="2" y="1288"/>
                    </a:lnTo>
                    <a:lnTo>
                      <a:pt x="2" y="1288"/>
                    </a:lnTo>
                    <a:lnTo>
                      <a:pt x="0" y="1290"/>
                    </a:lnTo>
                    <a:lnTo>
                      <a:pt x="0" y="1298"/>
                    </a:lnTo>
                    <a:lnTo>
                      <a:pt x="0" y="1298"/>
                    </a:lnTo>
                    <a:lnTo>
                      <a:pt x="0" y="1306"/>
                    </a:lnTo>
                    <a:lnTo>
                      <a:pt x="4" y="1316"/>
                    </a:lnTo>
                    <a:lnTo>
                      <a:pt x="18" y="1334"/>
                    </a:lnTo>
                    <a:lnTo>
                      <a:pt x="30" y="1354"/>
                    </a:lnTo>
                    <a:lnTo>
                      <a:pt x="34" y="1364"/>
                    </a:lnTo>
                    <a:lnTo>
                      <a:pt x="36" y="1374"/>
                    </a:lnTo>
                    <a:lnTo>
                      <a:pt x="36" y="1374"/>
                    </a:lnTo>
                    <a:lnTo>
                      <a:pt x="36" y="1390"/>
                    </a:lnTo>
                    <a:lnTo>
                      <a:pt x="40" y="1402"/>
                    </a:lnTo>
                    <a:lnTo>
                      <a:pt x="48" y="1414"/>
                    </a:lnTo>
                    <a:lnTo>
                      <a:pt x="60" y="1438"/>
                    </a:lnTo>
                    <a:lnTo>
                      <a:pt x="60" y="1438"/>
                    </a:lnTo>
                    <a:lnTo>
                      <a:pt x="66" y="1452"/>
                    </a:lnTo>
                    <a:lnTo>
                      <a:pt x="68" y="1462"/>
                    </a:lnTo>
                    <a:lnTo>
                      <a:pt x="68" y="1482"/>
                    </a:lnTo>
                    <a:lnTo>
                      <a:pt x="70" y="1494"/>
                    </a:lnTo>
                    <a:lnTo>
                      <a:pt x="72" y="1510"/>
                    </a:lnTo>
                    <a:lnTo>
                      <a:pt x="76" y="1530"/>
                    </a:lnTo>
                    <a:lnTo>
                      <a:pt x="86" y="1556"/>
                    </a:lnTo>
                    <a:lnTo>
                      <a:pt x="86" y="1556"/>
                    </a:lnTo>
                    <a:lnTo>
                      <a:pt x="96" y="1580"/>
                    </a:lnTo>
                    <a:lnTo>
                      <a:pt x="100" y="1598"/>
                    </a:lnTo>
                    <a:lnTo>
                      <a:pt x="102" y="1610"/>
                    </a:lnTo>
                    <a:lnTo>
                      <a:pt x="100" y="1620"/>
                    </a:lnTo>
                    <a:lnTo>
                      <a:pt x="96" y="1632"/>
                    </a:lnTo>
                    <a:lnTo>
                      <a:pt x="94" y="1638"/>
                    </a:lnTo>
                    <a:lnTo>
                      <a:pt x="94" y="1646"/>
                    </a:lnTo>
                    <a:lnTo>
                      <a:pt x="94" y="1646"/>
                    </a:lnTo>
                    <a:lnTo>
                      <a:pt x="96" y="1656"/>
                    </a:lnTo>
                    <a:lnTo>
                      <a:pt x="96" y="1664"/>
                    </a:lnTo>
                    <a:lnTo>
                      <a:pt x="94" y="1672"/>
                    </a:lnTo>
                    <a:lnTo>
                      <a:pt x="92" y="1678"/>
                    </a:lnTo>
                    <a:lnTo>
                      <a:pt x="88" y="1682"/>
                    </a:lnTo>
                    <a:lnTo>
                      <a:pt x="84" y="1684"/>
                    </a:lnTo>
                    <a:lnTo>
                      <a:pt x="80" y="1684"/>
                    </a:lnTo>
                    <a:lnTo>
                      <a:pt x="74" y="1684"/>
                    </a:lnTo>
                    <a:lnTo>
                      <a:pt x="74" y="1684"/>
                    </a:lnTo>
                    <a:lnTo>
                      <a:pt x="70" y="1684"/>
                    </a:lnTo>
                    <a:lnTo>
                      <a:pt x="68" y="1688"/>
                    </a:lnTo>
                    <a:lnTo>
                      <a:pt x="66" y="1694"/>
                    </a:lnTo>
                    <a:lnTo>
                      <a:pt x="66" y="1702"/>
                    </a:lnTo>
                    <a:lnTo>
                      <a:pt x="68" y="1710"/>
                    </a:lnTo>
                    <a:lnTo>
                      <a:pt x="70" y="1716"/>
                    </a:lnTo>
                    <a:lnTo>
                      <a:pt x="76" y="1722"/>
                    </a:lnTo>
                    <a:lnTo>
                      <a:pt x="82" y="1722"/>
                    </a:lnTo>
                    <a:lnTo>
                      <a:pt x="82" y="1722"/>
                    </a:lnTo>
                    <a:lnTo>
                      <a:pt x="88" y="1722"/>
                    </a:lnTo>
                    <a:lnTo>
                      <a:pt x="92" y="1726"/>
                    </a:lnTo>
                    <a:lnTo>
                      <a:pt x="104" y="1738"/>
                    </a:lnTo>
                    <a:lnTo>
                      <a:pt x="114" y="1746"/>
                    </a:lnTo>
                    <a:lnTo>
                      <a:pt x="124" y="1754"/>
                    </a:lnTo>
                    <a:lnTo>
                      <a:pt x="138" y="1760"/>
                    </a:lnTo>
                    <a:lnTo>
                      <a:pt x="156" y="1762"/>
                    </a:lnTo>
                    <a:lnTo>
                      <a:pt x="156" y="1762"/>
                    </a:lnTo>
                    <a:lnTo>
                      <a:pt x="174" y="1764"/>
                    </a:lnTo>
                    <a:lnTo>
                      <a:pt x="188" y="1760"/>
                    </a:lnTo>
                    <a:lnTo>
                      <a:pt x="200" y="1756"/>
                    </a:lnTo>
                    <a:lnTo>
                      <a:pt x="208" y="1750"/>
                    </a:lnTo>
                    <a:lnTo>
                      <a:pt x="222" y="1736"/>
                    </a:lnTo>
                    <a:lnTo>
                      <a:pt x="230" y="1732"/>
                    </a:lnTo>
                    <a:lnTo>
                      <a:pt x="238" y="1730"/>
                    </a:lnTo>
                    <a:lnTo>
                      <a:pt x="238" y="1730"/>
                    </a:lnTo>
                    <a:lnTo>
                      <a:pt x="246" y="1728"/>
                    </a:lnTo>
                    <a:lnTo>
                      <a:pt x="252" y="1724"/>
                    </a:lnTo>
                    <a:lnTo>
                      <a:pt x="254" y="1720"/>
                    </a:lnTo>
                    <a:lnTo>
                      <a:pt x="258" y="1714"/>
                    </a:lnTo>
                    <a:lnTo>
                      <a:pt x="260" y="1708"/>
                    </a:lnTo>
                    <a:lnTo>
                      <a:pt x="264" y="1704"/>
                    </a:lnTo>
                    <a:lnTo>
                      <a:pt x="270" y="1702"/>
                    </a:lnTo>
                    <a:lnTo>
                      <a:pt x="278" y="1700"/>
                    </a:lnTo>
                    <a:lnTo>
                      <a:pt x="278" y="1700"/>
                    </a:lnTo>
                    <a:lnTo>
                      <a:pt x="290" y="1700"/>
                    </a:lnTo>
                    <a:lnTo>
                      <a:pt x="300" y="1700"/>
                    </a:lnTo>
                    <a:lnTo>
                      <a:pt x="316" y="1696"/>
                    </a:lnTo>
                    <a:lnTo>
                      <a:pt x="322" y="1694"/>
                    </a:lnTo>
                    <a:lnTo>
                      <a:pt x="328" y="1694"/>
                    </a:lnTo>
                    <a:lnTo>
                      <a:pt x="336" y="1694"/>
                    </a:lnTo>
                    <a:lnTo>
                      <a:pt x="344" y="1698"/>
                    </a:lnTo>
                    <a:lnTo>
                      <a:pt x="344" y="1698"/>
                    </a:lnTo>
                    <a:lnTo>
                      <a:pt x="354" y="1702"/>
                    </a:lnTo>
                    <a:lnTo>
                      <a:pt x="360" y="1704"/>
                    </a:lnTo>
                    <a:lnTo>
                      <a:pt x="364" y="1704"/>
                    </a:lnTo>
                    <a:lnTo>
                      <a:pt x="368" y="1702"/>
                    </a:lnTo>
                    <a:lnTo>
                      <a:pt x="372" y="1698"/>
                    </a:lnTo>
                    <a:lnTo>
                      <a:pt x="378" y="1698"/>
                    </a:lnTo>
                    <a:lnTo>
                      <a:pt x="386" y="1698"/>
                    </a:lnTo>
                    <a:lnTo>
                      <a:pt x="398" y="1702"/>
                    </a:lnTo>
                    <a:lnTo>
                      <a:pt x="398" y="1702"/>
                    </a:lnTo>
                    <a:lnTo>
                      <a:pt x="406" y="1702"/>
                    </a:lnTo>
                    <a:lnTo>
                      <a:pt x="410" y="1702"/>
                    </a:lnTo>
                    <a:lnTo>
                      <a:pt x="416" y="1702"/>
                    </a:lnTo>
                    <a:lnTo>
                      <a:pt x="420" y="1698"/>
                    </a:lnTo>
                    <a:lnTo>
                      <a:pt x="426" y="1690"/>
                    </a:lnTo>
                    <a:lnTo>
                      <a:pt x="430" y="1678"/>
                    </a:lnTo>
                    <a:lnTo>
                      <a:pt x="434" y="1668"/>
                    </a:lnTo>
                    <a:lnTo>
                      <a:pt x="438" y="1656"/>
                    </a:lnTo>
                    <a:lnTo>
                      <a:pt x="446" y="1650"/>
                    </a:lnTo>
                    <a:lnTo>
                      <a:pt x="450" y="1646"/>
                    </a:lnTo>
                    <a:lnTo>
                      <a:pt x="454" y="1646"/>
                    </a:lnTo>
                    <a:lnTo>
                      <a:pt x="454" y="1646"/>
                    </a:lnTo>
                    <a:lnTo>
                      <a:pt x="464" y="1644"/>
                    </a:lnTo>
                    <a:lnTo>
                      <a:pt x="472" y="1640"/>
                    </a:lnTo>
                    <a:lnTo>
                      <a:pt x="484" y="1628"/>
                    </a:lnTo>
                    <a:lnTo>
                      <a:pt x="492" y="1622"/>
                    </a:lnTo>
                    <a:lnTo>
                      <a:pt x="502" y="1616"/>
                    </a:lnTo>
                    <a:lnTo>
                      <a:pt x="514" y="1614"/>
                    </a:lnTo>
                    <a:lnTo>
                      <a:pt x="530" y="1614"/>
                    </a:lnTo>
                    <a:lnTo>
                      <a:pt x="530" y="1614"/>
                    </a:lnTo>
                    <a:lnTo>
                      <a:pt x="544" y="1614"/>
                    </a:lnTo>
                    <a:lnTo>
                      <a:pt x="556" y="1614"/>
                    </a:lnTo>
                    <a:lnTo>
                      <a:pt x="578" y="1610"/>
                    </a:lnTo>
                    <a:lnTo>
                      <a:pt x="596" y="1602"/>
                    </a:lnTo>
                    <a:lnTo>
                      <a:pt x="614" y="1594"/>
                    </a:lnTo>
                    <a:lnTo>
                      <a:pt x="630" y="1586"/>
                    </a:lnTo>
                    <a:lnTo>
                      <a:pt x="644" y="1580"/>
                    </a:lnTo>
                    <a:lnTo>
                      <a:pt x="660" y="1574"/>
                    </a:lnTo>
                    <a:lnTo>
                      <a:pt x="668" y="1574"/>
                    </a:lnTo>
                    <a:lnTo>
                      <a:pt x="676" y="1574"/>
                    </a:lnTo>
                    <a:lnTo>
                      <a:pt x="676" y="1574"/>
                    </a:lnTo>
                    <a:lnTo>
                      <a:pt x="696" y="1578"/>
                    </a:lnTo>
                    <a:lnTo>
                      <a:pt x="706" y="1576"/>
                    </a:lnTo>
                    <a:lnTo>
                      <a:pt x="712" y="1574"/>
                    </a:lnTo>
                    <a:lnTo>
                      <a:pt x="716" y="1572"/>
                    </a:lnTo>
                    <a:lnTo>
                      <a:pt x="718" y="1570"/>
                    </a:lnTo>
                    <a:lnTo>
                      <a:pt x="724" y="1572"/>
                    </a:lnTo>
                    <a:lnTo>
                      <a:pt x="752" y="1586"/>
                    </a:lnTo>
                    <a:lnTo>
                      <a:pt x="752" y="1586"/>
                    </a:lnTo>
                    <a:lnTo>
                      <a:pt x="772" y="1596"/>
                    </a:lnTo>
                    <a:lnTo>
                      <a:pt x="786" y="1602"/>
                    </a:lnTo>
                    <a:lnTo>
                      <a:pt x="798" y="1606"/>
                    </a:lnTo>
                    <a:lnTo>
                      <a:pt x="806" y="1606"/>
                    </a:lnTo>
                    <a:lnTo>
                      <a:pt x="822" y="1608"/>
                    </a:lnTo>
                    <a:lnTo>
                      <a:pt x="828" y="1612"/>
                    </a:lnTo>
                    <a:lnTo>
                      <a:pt x="838" y="1618"/>
                    </a:lnTo>
                    <a:lnTo>
                      <a:pt x="838" y="1618"/>
                    </a:lnTo>
                    <a:lnTo>
                      <a:pt x="846" y="1626"/>
                    </a:lnTo>
                    <a:lnTo>
                      <a:pt x="848" y="1632"/>
                    </a:lnTo>
                    <a:lnTo>
                      <a:pt x="848" y="1636"/>
                    </a:lnTo>
                    <a:lnTo>
                      <a:pt x="846" y="1642"/>
                    </a:lnTo>
                    <a:lnTo>
                      <a:pt x="844" y="1646"/>
                    </a:lnTo>
                    <a:lnTo>
                      <a:pt x="844" y="1650"/>
                    </a:lnTo>
                    <a:lnTo>
                      <a:pt x="848" y="1656"/>
                    </a:lnTo>
                    <a:lnTo>
                      <a:pt x="860" y="1662"/>
                    </a:lnTo>
                    <a:lnTo>
                      <a:pt x="860" y="1662"/>
                    </a:lnTo>
                    <a:lnTo>
                      <a:pt x="866" y="1666"/>
                    </a:lnTo>
                    <a:lnTo>
                      <a:pt x="870" y="1672"/>
                    </a:lnTo>
                    <a:lnTo>
                      <a:pt x="876" y="1682"/>
                    </a:lnTo>
                    <a:lnTo>
                      <a:pt x="880" y="1694"/>
                    </a:lnTo>
                    <a:lnTo>
                      <a:pt x="882" y="1708"/>
                    </a:lnTo>
                    <a:lnTo>
                      <a:pt x="884" y="1722"/>
                    </a:lnTo>
                    <a:lnTo>
                      <a:pt x="886" y="1732"/>
                    </a:lnTo>
                    <a:lnTo>
                      <a:pt x="892" y="1742"/>
                    </a:lnTo>
                    <a:lnTo>
                      <a:pt x="894" y="1746"/>
                    </a:lnTo>
                    <a:lnTo>
                      <a:pt x="900" y="1748"/>
                    </a:lnTo>
                    <a:lnTo>
                      <a:pt x="900" y="1748"/>
                    </a:lnTo>
                    <a:lnTo>
                      <a:pt x="914" y="1756"/>
                    </a:lnTo>
                    <a:lnTo>
                      <a:pt x="914" y="1758"/>
                    </a:lnTo>
                    <a:lnTo>
                      <a:pt x="914" y="1756"/>
                    </a:lnTo>
                    <a:lnTo>
                      <a:pt x="914" y="1750"/>
                    </a:lnTo>
                    <a:lnTo>
                      <a:pt x="916" y="1742"/>
                    </a:lnTo>
                    <a:lnTo>
                      <a:pt x="920" y="1730"/>
                    </a:lnTo>
                    <a:lnTo>
                      <a:pt x="932" y="1716"/>
                    </a:lnTo>
                    <a:lnTo>
                      <a:pt x="932" y="1716"/>
                    </a:lnTo>
                    <a:lnTo>
                      <a:pt x="944" y="1702"/>
                    </a:lnTo>
                    <a:lnTo>
                      <a:pt x="952" y="1694"/>
                    </a:lnTo>
                    <a:lnTo>
                      <a:pt x="958" y="1690"/>
                    </a:lnTo>
                    <a:lnTo>
                      <a:pt x="962" y="1690"/>
                    </a:lnTo>
                    <a:lnTo>
                      <a:pt x="964" y="1690"/>
                    </a:lnTo>
                    <a:lnTo>
                      <a:pt x="966" y="1680"/>
                    </a:lnTo>
                    <a:lnTo>
                      <a:pt x="966" y="1680"/>
                    </a:lnTo>
                    <a:lnTo>
                      <a:pt x="968" y="1672"/>
                    </a:lnTo>
                    <a:lnTo>
                      <a:pt x="972" y="1666"/>
                    </a:lnTo>
                    <a:lnTo>
                      <a:pt x="980" y="1658"/>
                    </a:lnTo>
                    <a:lnTo>
                      <a:pt x="986" y="1650"/>
                    </a:lnTo>
                    <a:lnTo>
                      <a:pt x="988" y="1646"/>
                    </a:lnTo>
                    <a:lnTo>
                      <a:pt x="990" y="1640"/>
                    </a:lnTo>
                    <a:lnTo>
                      <a:pt x="990" y="1640"/>
                    </a:lnTo>
                    <a:lnTo>
                      <a:pt x="990" y="1632"/>
                    </a:lnTo>
                    <a:lnTo>
                      <a:pt x="990" y="1630"/>
                    </a:lnTo>
                    <a:lnTo>
                      <a:pt x="990" y="1632"/>
                    </a:lnTo>
                    <a:lnTo>
                      <a:pt x="998" y="1646"/>
                    </a:lnTo>
                    <a:lnTo>
                      <a:pt x="998" y="1646"/>
                    </a:lnTo>
                    <a:lnTo>
                      <a:pt x="998" y="1654"/>
                    </a:lnTo>
                    <a:lnTo>
                      <a:pt x="996" y="1664"/>
                    </a:lnTo>
                    <a:lnTo>
                      <a:pt x="988" y="1686"/>
                    </a:lnTo>
                    <a:lnTo>
                      <a:pt x="980" y="1710"/>
                    </a:lnTo>
                    <a:lnTo>
                      <a:pt x="978" y="1718"/>
                    </a:lnTo>
                    <a:lnTo>
                      <a:pt x="978" y="1726"/>
                    </a:lnTo>
                    <a:lnTo>
                      <a:pt x="978" y="1726"/>
                    </a:lnTo>
                    <a:lnTo>
                      <a:pt x="980" y="1736"/>
                    </a:lnTo>
                    <a:lnTo>
                      <a:pt x="980" y="1746"/>
                    </a:lnTo>
                    <a:lnTo>
                      <a:pt x="976" y="1750"/>
                    </a:lnTo>
                    <a:lnTo>
                      <a:pt x="972" y="1752"/>
                    </a:lnTo>
                    <a:lnTo>
                      <a:pt x="968" y="1752"/>
                    </a:lnTo>
                    <a:lnTo>
                      <a:pt x="968" y="1752"/>
                    </a:lnTo>
                    <a:lnTo>
                      <a:pt x="964" y="1754"/>
                    </a:lnTo>
                    <a:lnTo>
                      <a:pt x="960" y="1756"/>
                    </a:lnTo>
                    <a:lnTo>
                      <a:pt x="956" y="1758"/>
                    </a:lnTo>
                    <a:lnTo>
                      <a:pt x="954" y="1762"/>
                    </a:lnTo>
                    <a:lnTo>
                      <a:pt x="954" y="1766"/>
                    </a:lnTo>
                    <a:lnTo>
                      <a:pt x="958" y="1770"/>
                    </a:lnTo>
                    <a:lnTo>
                      <a:pt x="962" y="1770"/>
                    </a:lnTo>
                    <a:lnTo>
                      <a:pt x="972" y="1770"/>
                    </a:lnTo>
                    <a:lnTo>
                      <a:pt x="972" y="1770"/>
                    </a:lnTo>
                    <a:lnTo>
                      <a:pt x="978" y="1770"/>
                    </a:lnTo>
                    <a:lnTo>
                      <a:pt x="982" y="1766"/>
                    </a:lnTo>
                    <a:lnTo>
                      <a:pt x="990" y="1758"/>
                    </a:lnTo>
                    <a:lnTo>
                      <a:pt x="994" y="1750"/>
                    </a:lnTo>
                    <a:lnTo>
                      <a:pt x="996" y="1740"/>
                    </a:lnTo>
                    <a:lnTo>
                      <a:pt x="1000" y="1730"/>
                    </a:lnTo>
                    <a:lnTo>
                      <a:pt x="1002" y="1726"/>
                    </a:lnTo>
                    <a:lnTo>
                      <a:pt x="1004" y="1726"/>
                    </a:lnTo>
                    <a:lnTo>
                      <a:pt x="1006" y="1726"/>
                    </a:lnTo>
                    <a:lnTo>
                      <a:pt x="1012" y="1734"/>
                    </a:lnTo>
                    <a:lnTo>
                      <a:pt x="1012" y="1734"/>
                    </a:lnTo>
                    <a:lnTo>
                      <a:pt x="1016" y="1744"/>
                    </a:lnTo>
                    <a:lnTo>
                      <a:pt x="1018" y="1754"/>
                    </a:lnTo>
                    <a:lnTo>
                      <a:pt x="1016" y="1762"/>
                    </a:lnTo>
                    <a:lnTo>
                      <a:pt x="1014" y="1770"/>
                    </a:lnTo>
                    <a:lnTo>
                      <a:pt x="1006" y="1784"/>
                    </a:lnTo>
                    <a:lnTo>
                      <a:pt x="1004" y="1788"/>
                    </a:lnTo>
                    <a:lnTo>
                      <a:pt x="1006" y="1792"/>
                    </a:lnTo>
                    <a:lnTo>
                      <a:pt x="1006" y="1792"/>
                    </a:lnTo>
                    <a:lnTo>
                      <a:pt x="1008" y="1794"/>
                    </a:lnTo>
                    <a:lnTo>
                      <a:pt x="1012" y="1794"/>
                    </a:lnTo>
                    <a:lnTo>
                      <a:pt x="1020" y="1792"/>
                    </a:lnTo>
                    <a:lnTo>
                      <a:pt x="1030" y="1792"/>
                    </a:lnTo>
                    <a:lnTo>
                      <a:pt x="1036" y="1792"/>
                    </a:lnTo>
                    <a:lnTo>
                      <a:pt x="1042" y="1794"/>
                    </a:lnTo>
                    <a:lnTo>
                      <a:pt x="1042" y="1794"/>
                    </a:lnTo>
                    <a:lnTo>
                      <a:pt x="1048" y="1800"/>
                    </a:lnTo>
                    <a:lnTo>
                      <a:pt x="1054" y="1806"/>
                    </a:lnTo>
                    <a:lnTo>
                      <a:pt x="1060" y="1814"/>
                    </a:lnTo>
                    <a:lnTo>
                      <a:pt x="1066" y="1824"/>
                    </a:lnTo>
                    <a:lnTo>
                      <a:pt x="1070" y="1832"/>
                    </a:lnTo>
                    <a:lnTo>
                      <a:pt x="1072" y="1842"/>
                    </a:lnTo>
                    <a:lnTo>
                      <a:pt x="1072" y="1850"/>
                    </a:lnTo>
                    <a:lnTo>
                      <a:pt x="1070" y="1858"/>
                    </a:lnTo>
                    <a:lnTo>
                      <a:pt x="1070" y="1858"/>
                    </a:lnTo>
                    <a:lnTo>
                      <a:pt x="1068" y="1866"/>
                    </a:lnTo>
                    <a:lnTo>
                      <a:pt x="1068" y="1874"/>
                    </a:lnTo>
                    <a:lnTo>
                      <a:pt x="1074" y="1886"/>
                    </a:lnTo>
                    <a:lnTo>
                      <a:pt x="1080" y="1896"/>
                    </a:lnTo>
                    <a:lnTo>
                      <a:pt x="1088" y="1904"/>
                    </a:lnTo>
                    <a:lnTo>
                      <a:pt x="1098" y="1914"/>
                    </a:lnTo>
                    <a:lnTo>
                      <a:pt x="1106" y="1920"/>
                    </a:lnTo>
                    <a:lnTo>
                      <a:pt x="1114" y="1924"/>
                    </a:lnTo>
                    <a:lnTo>
                      <a:pt x="1114" y="1924"/>
                    </a:lnTo>
                    <a:lnTo>
                      <a:pt x="1120" y="1926"/>
                    </a:lnTo>
                    <a:lnTo>
                      <a:pt x="1126" y="1930"/>
                    </a:lnTo>
                    <a:lnTo>
                      <a:pt x="1134" y="1938"/>
                    </a:lnTo>
                    <a:lnTo>
                      <a:pt x="1138" y="1944"/>
                    </a:lnTo>
                    <a:lnTo>
                      <a:pt x="1142" y="1944"/>
                    </a:lnTo>
                    <a:lnTo>
                      <a:pt x="1146" y="1942"/>
                    </a:lnTo>
                    <a:lnTo>
                      <a:pt x="1146" y="1942"/>
                    </a:lnTo>
                    <a:lnTo>
                      <a:pt x="1152" y="1936"/>
                    </a:lnTo>
                    <a:lnTo>
                      <a:pt x="1156" y="1936"/>
                    </a:lnTo>
                    <a:lnTo>
                      <a:pt x="1160" y="1936"/>
                    </a:lnTo>
                    <a:lnTo>
                      <a:pt x="1176" y="1942"/>
                    </a:lnTo>
                    <a:lnTo>
                      <a:pt x="1198" y="1956"/>
                    </a:lnTo>
                    <a:lnTo>
                      <a:pt x="1198" y="1956"/>
                    </a:lnTo>
                    <a:lnTo>
                      <a:pt x="1210" y="1962"/>
                    </a:lnTo>
                    <a:lnTo>
                      <a:pt x="1218" y="1964"/>
                    </a:lnTo>
                    <a:lnTo>
                      <a:pt x="1224" y="1964"/>
                    </a:lnTo>
                    <a:lnTo>
                      <a:pt x="1230" y="1960"/>
                    </a:lnTo>
                    <a:lnTo>
                      <a:pt x="1238" y="1952"/>
                    </a:lnTo>
                    <a:lnTo>
                      <a:pt x="1244" y="1946"/>
                    </a:lnTo>
                    <a:lnTo>
                      <a:pt x="1252" y="1940"/>
                    </a:lnTo>
                    <a:lnTo>
                      <a:pt x="1252" y="1940"/>
                    </a:lnTo>
                    <a:lnTo>
                      <a:pt x="1260" y="1936"/>
                    </a:lnTo>
                    <a:lnTo>
                      <a:pt x="1264" y="1930"/>
                    </a:lnTo>
                    <a:lnTo>
                      <a:pt x="1270" y="1920"/>
                    </a:lnTo>
                    <a:lnTo>
                      <a:pt x="1270" y="1918"/>
                    </a:lnTo>
                    <a:lnTo>
                      <a:pt x="1272" y="1916"/>
                    </a:lnTo>
                    <a:lnTo>
                      <a:pt x="1276" y="1916"/>
                    </a:lnTo>
                    <a:lnTo>
                      <a:pt x="1282" y="1918"/>
                    </a:lnTo>
                    <a:lnTo>
                      <a:pt x="1282" y="1918"/>
                    </a:lnTo>
                    <a:lnTo>
                      <a:pt x="1286" y="1924"/>
                    </a:lnTo>
                    <a:lnTo>
                      <a:pt x="1288" y="1928"/>
                    </a:lnTo>
                    <a:lnTo>
                      <a:pt x="1284" y="1930"/>
                    </a:lnTo>
                    <a:lnTo>
                      <a:pt x="1280" y="1934"/>
                    </a:lnTo>
                    <a:lnTo>
                      <a:pt x="1274" y="1940"/>
                    </a:lnTo>
                    <a:lnTo>
                      <a:pt x="1274" y="1944"/>
                    </a:lnTo>
                    <a:lnTo>
                      <a:pt x="1278" y="1946"/>
                    </a:lnTo>
                    <a:lnTo>
                      <a:pt x="1278" y="1946"/>
                    </a:lnTo>
                    <a:lnTo>
                      <a:pt x="1282" y="1948"/>
                    </a:lnTo>
                    <a:lnTo>
                      <a:pt x="1288" y="1948"/>
                    </a:lnTo>
                    <a:lnTo>
                      <a:pt x="1290" y="1944"/>
                    </a:lnTo>
                    <a:lnTo>
                      <a:pt x="1292" y="1942"/>
                    </a:lnTo>
                    <a:lnTo>
                      <a:pt x="1296" y="1936"/>
                    </a:lnTo>
                    <a:lnTo>
                      <a:pt x="1296" y="1942"/>
                    </a:lnTo>
                    <a:lnTo>
                      <a:pt x="1296" y="1942"/>
                    </a:lnTo>
                    <a:lnTo>
                      <a:pt x="1298" y="1948"/>
                    </a:lnTo>
                    <a:lnTo>
                      <a:pt x="1300" y="1952"/>
                    </a:lnTo>
                    <a:lnTo>
                      <a:pt x="1306" y="1956"/>
                    </a:lnTo>
                    <a:lnTo>
                      <a:pt x="1316" y="1964"/>
                    </a:lnTo>
                    <a:lnTo>
                      <a:pt x="1324" y="1970"/>
                    </a:lnTo>
                    <a:lnTo>
                      <a:pt x="1334" y="1982"/>
                    </a:lnTo>
                    <a:lnTo>
                      <a:pt x="1334" y="1982"/>
                    </a:lnTo>
                    <a:lnTo>
                      <a:pt x="1338" y="1988"/>
                    </a:lnTo>
                    <a:lnTo>
                      <a:pt x="1340" y="1988"/>
                    </a:lnTo>
                    <a:lnTo>
                      <a:pt x="1340" y="1980"/>
                    </a:lnTo>
                    <a:lnTo>
                      <a:pt x="1340" y="1974"/>
                    </a:lnTo>
                    <a:lnTo>
                      <a:pt x="1340" y="1968"/>
                    </a:lnTo>
                    <a:lnTo>
                      <a:pt x="1342" y="1962"/>
                    </a:lnTo>
                    <a:lnTo>
                      <a:pt x="1346" y="1960"/>
                    </a:lnTo>
                    <a:lnTo>
                      <a:pt x="1346" y="1960"/>
                    </a:lnTo>
                    <a:lnTo>
                      <a:pt x="1354" y="1956"/>
                    </a:lnTo>
                    <a:lnTo>
                      <a:pt x="1362" y="1950"/>
                    </a:lnTo>
                    <a:lnTo>
                      <a:pt x="1386" y="1930"/>
                    </a:lnTo>
                    <a:lnTo>
                      <a:pt x="1398" y="1920"/>
                    </a:lnTo>
                    <a:lnTo>
                      <a:pt x="1412" y="1912"/>
                    </a:lnTo>
                    <a:lnTo>
                      <a:pt x="1428" y="1908"/>
                    </a:lnTo>
                    <a:lnTo>
                      <a:pt x="1434" y="1908"/>
                    </a:lnTo>
                    <a:lnTo>
                      <a:pt x="1442" y="1908"/>
                    </a:lnTo>
                    <a:lnTo>
                      <a:pt x="1442" y="1908"/>
                    </a:lnTo>
                    <a:lnTo>
                      <a:pt x="1456" y="1910"/>
                    </a:lnTo>
                    <a:lnTo>
                      <a:pt x="1466" y="1906"/>
                    </a:lnTo>
                    <a:lnTo>
                      <a:pt x="1474" y="1902"/>
                    </a:lnTo>
                    <a:lnTo>
                      <a:pt x="1478" y="1896"/>
                    </a:lnTo>
                    <a:lnTo>
                      <a:pt x="1482" y="1890"/>
                    </a:lnTo>
                    <a:lnTo>
                      <a:pt x="1482" y="1884"/>
                    </a:lnTo>
                    <a:lnTo>
                      <a:pt x="1482" y="1878"/>
                    </a:lnTo>
                    <a:lnTo>
                      <a:pt x="1478" y="1874"/>
                    </a:lnTo>
                    <a:lnTo>
                      <a:pt x="1478" y="1874"/>
                    </a:lnTo>
                    <a:lnTo>
                      <a:pt x="1476" y="1870"/>
                    </a:lnTo>
                    <a:lnTo>
                      <a:pt x="1476" y="1866"/>
                    </a:lnTo>
                    <a:lnTo>
                      <a:pt x="1480" y="1856"/>
                    </a:lnTo>
                    <a:lnTo>
                      <a:pt x="1486" y="1842"/>
                    </a:lnTo>
                    <a:lnTo>
                      <a:pt x="1488" y="1836"/>
                    </a:lnTo>
                    <a:lnTo>
                      <a:pt x="1488" y="1828"/>
                    </a:lnTo>
                    <a:lnTo>
                      <a:pt x="1488" y="1828"/>
                    </a:lnTo>
                    <a:lnTo>
                      <a:pt x="1490" y="1812"/>
                    </a:lnTo>
                    <a:lnTo>
                      <a:pt x="1494" y="1794"/>
                    </a:lnTo>
                    <a:lnTo>
                      <a:pt x="1502" y="1776"/>
                    </a:lnTo>
                    <a:lnTo>
                      <a:pt x="1506" y="1770"/>
                    </a:lnTo>
                    <a:lnTo>
                      <a:pt x="1510" y="1766"/>
                    </a:lnTo>
                    <a:lnTo>
                      <a:pt x="1510" y="1766"/>
                    </a:lnTo>
                    <a:lnTo>
                      <a:pt x="1514" y="1760"/>
                    </a:lnTo>
                    <a:lnTo>
                      <a:pt x="1518" y="1750"/>
                    </a:lnTo>
                    <a:lnTo>
                      <a:pt x="1526" y="1718"/>
                    </a:lnTo>
                    <a:lnTo>
                      <a:pt x="1530" y="1700"/>
                    </a:lnTo>
                    <a:lnTo>
                      <a:pt x="1538" y="1680"/>
                    </a:lnTo>
                    <a:lnTo>
                      <a:pt x="1548" y="1662"/>
                    </a:lnTo>
                    <a:lnTo>
                      <a:pt x="1554" y="1654"/>
                    </a:lnTo>
                    <a:lnTo>
                      <a:pt x="1562" y="1646"/>
                    </a:lnTo>
                    <a:lnTo>
                      <a:pt x="1562" y="1646"/>
                    </a:lnTo>
                    <a:lnTo>
                      <a:pt x="1574" y="1634"/>
                    </a:lnTo>
                    <a:lnTo>
                      <a:pt x="1582" y="1626"/>
                    </a:lnTo>
                    <a:lnTo>
                      <a:pt x="1586" y="1618"/>
                    </a:lnTo>
                    <a:lnTo>
                      <a:pt x="1588" y="1612"/>
                    </a:lnTo>
                    <a:lnTo>
                      <a:pt x="1588" y="1604"/>
                    </a:lnTo>
                    <a:lnTo>
                      <a:pt x="1590" y="1598"/>
                    </a:lnTo>
                    <a:lnTo>
                      <a:pt x="1594" y="1590"/>
                    </a:lnTo>
                    <a:lnTo>
                      <a:pt x="1594" y="1590"/>
                    </a:lnTo>
                    <a:lnTo>
                      <a:pt x="1598" y="1576"/>
                    </a:lnTo>
                    <a:lnTo>
                      <a:pt x="1602" y="1566"/>
                    </a:lnTo>
                    <a:lnTo>
                      <a:pt x="1602" y="1556"/>
                    </a:lnTo>
                    <a:lnTo>
                      <a:pt x="1602" y="1546"/>
                    </a:lnTo>
                    <a:lnTo>
                      <a:pt x="1602" y="1532"/>
                    </a:lnTo>
                    <a:lnTo>
                      <a:pt x="1604" y="1524"/>
                    </a:lnTo>
                    <a:lnTo>
                      <a:pt x="1606" y="1516"/>
                    </a:lnTo>
                    <a:lnTo>
                      <a:pt x="1606" y="1516"/>
                    </a:lnTo>
                    <a:lnTo>
                      <a:pt x="1612" y="1504"/>
                    </a:lnTo>
                    <a:lnTo>
                      <a:pt x="1614" y="1494"/>
                    </a:lnTo>
                    <a:lnTo>
                      <a:pt x="1616" y="1476"/>
                    </a:lnTo>
                    <a:lnTo>
                      <a:pt x="1618" y="1458"/>
                    </a:lnTo>
                    <a:lnTo>
                      <a:pt x="1620" y="1448"/>
                    </a:lnTo>
                    <a:lnTo>
                      <a:pt x="1626" y="1438"/>
                    </a:lnTo>
                    <a:lnTo>
                      <a:pt x="1626" y="1438"/>
                    </a:lnTo>
                    <a:lnTo>
                      <a:pt x="1628" y="1432"/>
                    </a:lnTo>
                    <a:lnTo>
                      <a:pt x="1630" y="1426"/>
                    </a:lnTo>
                    <a:lnTo>
                      <a:pt x="1628" y="1412"/>
                    </a:lnTo>
                    <a:lnTo>
                      <a:pt x="1626" y="1398"/>
                    </a:lnTo>
                    <a:lnTo>
                      <a:pt x="1622" y="1384"/>
                    </a:lnTo>
                    <a:lnTo>
                      <a:pt x="1612" y="1358"/>
                    </a:lnTo>
                    <a:lnTo>
                      <a:pt x="1610" y="1350"/>
                    </a:lnTo>
                    <a:lnTo>
                      <a:pt x="1610" y="1344"/>
                    </a:lnTo>
                    <a:lnTo>
                      <a:pt x="1610" y="1344"/>
                    </a:lnTo>
                    <a:close/>
                    <a:moveTo>
                      <a:pt x="1412" y="2026"/>
                    </a:moveTo>
                    <a:lnTo>
                      <a:pt x="1412" y="2026"/>
                    </a:lnTo>
                    <a:lnTo>
                      <a:pt x="1408" y="2024"/>
                    </a:lnTo>
                    <a:lnTo>
                      <a:pt x="1406" y="2020"/>
                    </a:lnTo>
                    <a:lnTo>
                      <a:pt x="1404" y="2016"/>
                    </a:lnTo>
                    <a:lnTo>
                      <a:pt x="1402" y="2014"/>
                    </a:lnTo>
                    <a:lnTo>
                      <a:pt x="1400" y="2014"/>
                    </a:lnTo>
                    <a:lnTo>
                      <a:pt x="1396" y="2018"/>
                    </a:lnTo>
                    <a:lnTo>
                      <a:pt x="1396" y="2018"/>
                    </a:lnTo>
                    <a:lnTo>
                      <a:pt x="1392" y="2022"/>
                    </a:lnTo>
                    <a:lnTo>
                      <a:pt x="1392" y="2024"/>
                    </a:lnTo>
                    <a:lnTo>
                      <a:pt x="1394" y="2024"/>
                    </a:lnTo>
                    <a:lnTo>
                      <a:pt x="1394" y="2024"/>
                    </a:lnTo>
                    <a:lnTo>
                      <a:pt x="1396" y="2026"/>
                    </a:lnTo>
                    <a:lnTo>
                      <a:pt x="1398" y="2028"/>
                    </a:lnTo>
                    <a:lnTo>
                      <a:pt x="1400" y="2038"/>
                    </a:lnTo>
                    <a:lnTo>
                      <a:pt x="1400" y="2038"/>
                    </a:lnTo>
                    <a:lnTo>
                      <a:pt x="1402" y="2040"/>
                    </a:lnTo>
                    <a:lnTo>
                      <a:pt x="1404" y="2042"/>
                    </a:lnTo>
                    <a:lnTo>
                      <a:pt x="1410" y="2044"/>
                    </a:lnTo>
                    <a:lnTo>
                      <a:pt x="1414" y="2042"/>
                    </a:lnTo>
                    <a:lnTo>
                      <a:pt x="1414" y="2040"/>
                    </a:lnTo>
                    <a:lnTo>
                      <a:pt x="1414" y="2036"/>
                    </a:lnTo>
                    <a:lnTo>
                      <a:pt x="1414" y="2036"/>
                    </a:lnTo>
                    <a:lnTo>
                      <a:pt x="1412" y="2034"/>
                    </a:lnTo>
                    <a:lnTo>
                      <a:pt x="1412" y="2032"/>
                    </a:lnTo>
                    <a:lnTo>
                      <a:pt x="1414" y="2030"/>
                    </a:lnTo>
                    <a:lnTo>
                      <a:pt x="1416" y="2028"/>
                    </a:lnTo>
                    <a:lnTo>
                      <a:pt x="1412" y="2026"/>
                    </a:lnTo>
                    <a:lnTo>
                      <a:pt x="1412" y="2026"/>
                    </a:lnTo>
                    <a:close/>
                    <a:moveTo>
                      <a:pt x="1708" y="300"/>
                    </a:moveTo>
                    <a:lnTo>
                      <a:pt x="1708" y="300"/>
                    </a:lnTo>
                    <a:lnTo>
                      <a:pt x="1704" y="298"/>
                    </a:lnTo>
                    <a:lnTo>
                      <a:pt x="1700" y="294"/>
                    </a:lnTo>
                    <a:lnTo>
                      <a:pt x="1694" y="284"/>
                    </a:lnTo>
                    <a:lnTo>
                      <a:pt x="1688" y="274"/>
                    </a:lnTo>
                    <a:lnTo>
                      <a:pt x="1686" y="272"/>
                    </a:lnTo>
                    <a:lnTo>
                      <a:pt x="1682" y="268"/>
                    </a:lnTo>
                    <a:lnTo>
                      <a:pt x="1682" y="268"/>
                    </a:lnTo>
                    <a:lnTo>
                      <a:pt x="1678" y="266"/>
                    </a:lnTo>
                    <a:lnTo>
                      <a:pt x="1676" y="262"/>
                    </a:lnTo>
                    <a:lnTo>
                      <a:pt x="1672" y="252"/>
                    </a:lnTo>
                    <a:lnTo>
                      <a:pt x="1668" y="244"/>
                    </a:lnTo>
                    <a:lnTo>
                      <a:pt x="1668" y="242"/>
                    </a:lnTo>
                    <a:lnTo>
                      <a:pt x="1664" y="244"/>
                    </a:lnTo>
                    <a:lnTo>
                      <a:pt x="1664" y="244"/>
                    </a:lnTo>
                    <a:lnTo>
                      <a:pt x="1662" y="248"/>
                    </a:lnTo>
                    <a:lnTo>
                      <a:pt x="1662" y="250"/>
                    </a:lnTo>
                    <a:lnTo>
                      <a:pt x="1666" y="256"/>
                    </a:lnTo>
                    <a:lnTo>
                      <a:pt x="1670" y="264"/>
                    </a:lnTo>
                    <a:lnTo>
                      <a:pt x="1672" y="268"/>
                    </a:lnTo>
                    <a:lnTo>
                      <a:pt x="1672" y="276"/>
                    </a:lnTo>
                    <a:lnTo>
                      <a:pt x="1672" y="276"/>
                    </a:lnTo>
                    <a:lnTo>
                      <a:pt x="1672" y="282"/>
                    </a:lnTo>
                    <a:lnTo>
                      <a:pt x="1672" y="288"/>
                    </a:lnTo>
                    <a:lnTo>
                      <a:pt x="1680" y="298"/>
                    </a:lnTo>
                    <a:lnTo>
                      <a:pt x="1688" y="306"/>
                    </a:lnTo>
                    <a:lnTo>
                      <a:pt x="1690" y="310"/>
                    </a:lnTo>
                    <a:lnTo>
                      <a:pt x="1692" y="316"/>
                    </a:lnTo>
                    <a:lnTo>
                      <a:pt x="1692" y="316"/>
                    </a:lnTo>
                    <a:lnTo>
                      <a:pt x="1694" y="324"/>
                    </a:lnTo>
                    <a:lnTo>
                      <a:pt x="1700" y="330"/>
                    </a:lnTo>
                    <a:lnTo>
                      <a:pt x="1708" y="332"/>
                    </a:lnTo>
                    <a:lnTo>
                      <a:pt x="1716" y="330"/>
                    </a:lnTo>
                    <a:lnTo>
                      <a:pt x="1716" y="330"/>
                    </a:lnTo>
                    <a:lnTo>
                      <a:pt x="1720" y="328"/>
                    </a:lnTo>
                    <a:lnTo>
                      <a:pt x="1722" y="326"/>
                    </a:lnTo>
                    <a:lnTo>
                      <a:pt x="1722" y="322"/>
                    </a:lnTo>
                    <a:lnTo>
                      <a:pt x="1720" y="316"/>
                    </a:lnTo>
                    <a:lnTo>
                      <a:pt x="1716" y="306"/>
                    </a:lnTo>
                    <a:lnTo>
                      <a:pt x="1712" y="304"/>
                    </a:lnTo>
                    <a:lnTo>
                      <a:pt x="1708" y="300"/>
                    </a:lnTo>
                    <a:lnTo>
                      <a:pt x="1708" y="300"/>
                    </a:lnTo>
                    <a:close/>
                    <a:moveTo>
                      <a:pt x="1712" y="342"/>
                    </a:moveTo>
                    <a:lnTo>
                      <a:pt x="1712" y="342"/>
                    </a:lnTo>
                    <a:lnTo>
                      <a:pt x="1712" y="346"/>
                    </a:lnTo>
                    <a:lnTo>
                      <a:pt x="1716" y="346"/>
                    </a:lnTo>
                    <a:lnTo>
                      <a:pt x="1718" y="346"/>
                    </a:lnTo>
                    <a:lnTo>
                      <a:pt x="1720" y="344"/>
                    </a:lnTo>
                    <a:lnTo>
                      <a:pt x="1720" y="344"/>
                    </a:lnTo>
                    <a:lnTo>
                      <a:pt x="1718" y="340"/>
                    </a:lnTo>
                    <a:lnTo>
                      <a:pt x="1716" y="338"/>
                    </a:lnTo>
                    <a:lnTo>
                      <a:pt x="1712" y="340"/>
                    </a:lnTo>
                    <a:lnTo>
                      <a:pt x="1712" y="342"/>
                    </a:lnTo>
                    <a:lnTo>
                      <a:pt x="1712" y="342"/>
                    </a:lnTo>
                    <a:close/>
                    <a:moveTo>
                      <a:pt x="1238" y="2006"/>
                    </a:moveTo>
                    <a:lnTo>
                      <a:pt x="1238" y="2006"/>
                    </a:lnTo>
                    <a:lnTo>
                      <a:pt x="1236" y="2012"/>
                    </a:lnTo>
                    <a:lnTo>
                      <a:pt x="1234" y="2024"/>
                    </a:lnTo>
                    <a:lnTo>
                      <a:pt x="1236" y="2032"/>
                    </a:lnTo>
                    <a:lnTo>
                      <a:pt x="1240" y="2034"/>
                    </a:lnTo>
                    <a:lnTo>
                      <a:pt x="1242" y="2032"/>
                    </a:lnTo>
                    <a:lnTo>
                      <a:pt x="1242" y="2032"/>
                    </a:lnTo>
                    <a:lnTo>
                      <a:pt x="1244" y="2028"/>
                    </a:lnTo>
                    <a:lnTo>
                      <a:pt x="1246" y="2024"/>
                    </a:lnTo>
                    <a:lnTo>
                      <a:pt x="1246" y="2014"/>
                    </a:lnTo>
                    <a:lnTo>
                      <a:pt x="1242" y="2006"/>
                    </a:lnTo>
                    <a:lnTo>
                      <a:pt x="1240" y="2004"/>
                    </a:lnTo>
                    <a:lnTo>
                      <a:pt x="1238" y="2006"/>
                    </a:lnTo>
                    <a:lnTo>
                      <a:pt x="1238" y="2006"/>
                    </a:lnTo>
                    <a:close/>
                    <a:moveTo>
                      <a:pt x="1414" y="2116"/>
                    </a:moveTo>
                    <a:lnTo>
                      <a:pt x="1414" y="2116"/>
                    </a:lnTo>
                    <a:lnTo>
                      <a:pt x="1414" y="2106"/>
                    </a:lnTo>
                    <a:lnTo>
                      <a:pt x="1414" y="2096"/>
                    </a:lnTo>
                    <a:lnTo>
                      <a:pt x="1414" y="2088"/>
                    </a:lnTo>
                    <a:lnTo>
                      <a:pt x="1412" y="2082"/>
                    </a:lnTo>
                    <a:lnTo>
                      <a:pt x="1408" y="2076"/>
                    </a:lnTo>
                    <a:lnTo>
                      <a:pt x="1406" y="2072"/>
                    </a:lnTo>
                    <a:lnTo>
                      <a:pt x="1402" y="2072"/>
                    </a:lnTo>
                    <a:lnTo>
                      <a:pt x="1400" y="2074"/>
                    </a:lnTo>
                    <a:lnTo>
                      <a:pt x="1400" y="2074"/>
                    </a:lnTo>
                    <a:lnTo>
                      <a:pt x="1398" y="2078"/>
                    </a:lnTo>
                    <a:lnTo>
                      <a:pt x="1396" y="2078"/>
                    </a:lnTo>
                    <a:lnTo>
                      <a:pt x="1392" y="2076"/>
                    </a:lnTo>
                    <a:lnTo>
                      <a:pt x="1388" y="2076"/>
                    </a:lnTo>
                    <a:lnTo>
                      <a:pt x="1386" y="2078"/>
                    </a:lnTo>
                    <a:lnTo>
                      <a:pt x="1382" y="2080"/>
                    </a:lnTo>
                    <a:lnTo>
                      <a:pt x="1382" y="2080"/>
                    </a:lnTo>
                    <a:lnTo>
                      <a:pt x="1380" y="2082"/>
                    </a:lnTo>
                    <a:lnTo>
                      <a:pt x="1378" y="2082"/>
                    </a:lnTo>
                    <a:lnTo>
                      <a:pt x="1370" y="2082"/>
                    </a:lnTo>
                    <a:lnTo>
                      <a:pt x="1352" y="2088"/>
                    </a:lnTo>
                    <a:lnTo>
                      <a:pt x="1352" y="2088"/>
                    </a:lnTo>
                    <a:lnTo>
                      <a:pt x="1340" y="2092"/>
                    </a:lnTo>
                    <a:lnTo>
                      <a:pt x="1332" y="2094"/>
                    </a:lnTo>
                    <a:lnTo>
                      <a:pt x="1324" y="2092"/>
                    </a:lnTo>
                    <a:lnTo>
                      <a:pt x="1320" y="2088"/>
                    </a:lnTo>
                    <a:lnTo>
                      <a:pt x="1310" y="2080"/>
                    </a:lnTo>
                    <a:lnTo>
                      <a:pt x="1304" y="2076"/>
                    </a:lnTo>
                    <a:lnTo>
                      <a:pt x="1296" y="2076"/>
                    </a:lnTo>
                    <a:lnTo>
                      <a:pt x="1296" y="2076"/>
                    </a:lnTo>
                    <a:lnTo>
                      <a:pt x="1288" y="2074"/>
                    </a:lnTo>
                    <a:lnTo>
                      <a:pt x="1282" y="2072"/>
                    </a:lnTo>
                    <a:lnTo>
                      <a:pt x="1274" y="2066"/>
                    </a:lnTo>
                    <a:lnTo>
                      <a:pt x="1272" y="2064"/>
                    </a:lnTo>
                    <a:lnTo>
                      <a:pt x="1270" y="2064"/>
                    </a:lnTo>
                    <a:lnTo>
                      <a:pt x="1266" y="2078"/>
                    </a:lnTo>
                    <a:lnTo>
                      <a:pt x="1266" y="2078"/>
                    </a:lnTo>
                    <a:lnTo>
                      <a:pt x="1264" y="2086"/>
                    </a:lnTo>
                    <a:lnTo>
                      <a:pt x="1266" y="2094"/>
                    </a:lnTo>
                    <a:lnTo>
                      <a:pt x="1276" y="2118"/>
                    </a:lnTo>
                    <a:lnTo>
                      <a:pt x="1276" y="2118"/>
                    </a:lnTo>
                    <a:lnTo>
                      <a:pt x="1280" y="2130"/>
                    </a:lnTo>
                    <a:lnTo>
                      <a:pt x="1284" y="2134"/>
                    </a:lnTo>
                    <a:lnTo>
                      <a:pt x="1288" y="2136"/>
                    </a:lnTo>
                    <a:lnTo>
                      <a:pt x="1288" y="2144"/>
                    </a:lnTo>
                    <a:lnTo>
                      <a:pt x="1288" y="2144"/>
                    </a:lnTo>
                    <a:lnTo>
                      <a:pt x="1288" y="2158"/>
                    </a:lnTo>
                    <a:lnTo>
                      <a:pt x="1292" y="2174"/>
                    </a:lnTo>
                    <a:lnTo>
                      <a:pt x="1296" y="2186"/>
                    </a:lnTo>
                    <a:lnTo>
                      <a:pt x="1300" y="2192"/>
                    </a:lnTo>
                    <a:lnTo>
                      <a:pt x="1304" y="2198"/>
                    </a:lnTo>
                    <a:lnTo>
                      <a:pt x="1304" y="2198"/>
                    </a:lnTo>
                    <a:lnTo>
                      <a:pt x="1310" y="2202"/>
                    </a:lnTo>
                    <a:lnTo>
                      <a:pt x="1312" y="2206"/>
                    </a:lnTo>
                    <a:lnTo>
                      <a:pt x="1318" y="2216"/>
                    </a:lnTo>
                    <a:lnTo>
                      <a:pt x="1322" y="2224"/>
                    </a:lnTo>
                    <a:lnTo>
                      <a:pt x="1324" y="2226"/>
                    </a:lnTo>
                    <a:lnTo>
                      <a:pt x="1328" y="2226"/>
                    </a:lnTo>
                    <a:lnTo>
                      <a:pt x="1328" y="2226"/>
                    </a:lnTo>
                    <a:lnTo>
                      <a:pt x="1332" y="2226"/>
                    </a:lnTo>
                    <a:lnTo>
                      <a:pt x="1338" y="2226"/>
                    </a:lnTo>
                    <a:lnTo>
                      <a:pt x="1352" y="2230"/>
                    </a:lnTo>
                    <a:lnTo>
                      <a:pt x="1352" y="2230"/>
                    </a:lnTo>
                    <a:lnTo>
                      <a:pt x="1356" y="2232"/>
                    </a:lnTo>
                    <a:lnTo>
                      <a:pt x="1358" y="2230"/>
                    </a:lnTo>
                    <a:lnTo>
                      <a:pt x="1360" y="2226"/>
                    </a:lnTo>
                    <a:lnTo>
                      <a:pt x="1362" y="2220"/>
                    </a:lnTo>
                    <a:lnTo>
                      <a:pt x="1366" y="2214"/>
                    </a:lnTo>
                    <a:lnTo>
                      <a:pt x="1366" y="2214"/>
                    </a:lnTo>
                    <a:lnTo>
                      <a:pt x="1370" y="2212"/>
                    </a:lnTo>
                    <a:lnTo>
                      <a:pt x="1372" y="2208"/>
                    </a:lnTo>
                    <a:lnTo>
                      <a:pt x="1374" y="2200"/>
                    </a:lnTo>
                    <a:lnTo>
                      <a:pt x="1376" y="2194"/>
                    </a:lnTo>
                    <a:lnTo>
                      <a:pt x="1378" y="2194"/>
                    </a:lnTo>
                    <a:lnTo>
                      <a:pt x="1378" y="2196"/>
                    </a:lnTo>
                    <a:lnTo>
                      <a:pt x="1378" y="2196"/>
                    </a:lnTo>
                    <a:lnTo>
                      <a:pt x="1380" y="2198"/>
                    </a:lnTo>
                    <a:lnTo>
                      <a:pt x="1382" y="2198"/>
                    </a:lnTo>
                    <a:lnTo>
                      <a:pt x="1382" y="2194"/>
                    </a:lnTo>
                    <a:lnTo>
                      <a:pt x="1384" y="2190"/>
                    </a:lnTo>
                    <a:lnTo>
                      <a:pt x="1386" y="2188"/>
                    </a:lnTo>
                    <a:lnTo>
                      <a:pt x="1388" y="2188"/>
                    </a:lnTo>
                    <a:lnTo>
                      <a:pt x="1388" y="2188"/>
                    </a:lnTo>
                    <a:lnTo>
                      <a:pt x="1392" y="2192"/>
                    </a:lnTo>
                    <a:lnTo>
                      <a:pt x="1394" y="2194"/>
                    </a:lnTo>
                    <a:lnTo>
                      <a:pt x="1394" y="2196"/>
                    </a:lnTo>
                    <a:lnTo>
                      <a:pt x="1392" y="2196"/>
                    </a:lnTo>
                    <a:lnTo>
                      <a:pt x="1392" y="2196"/>
                    </a:lnTo>
                    <a:lnTo>
                      <a:pt x="1388" y="2198"/>
                    </a:lnTo>
                    <a:lnTo>
                      <a:pt x="1388" y="2202"/>
                    </a:lnTo>
                    <a:lnTo>
                      <a:pt x="1390" y="2206"/>
                    </a:lnTo>
                    <a:lnTo>
                      <a:pt x="1398" y="2210"/>
                    </a:lnTo>
                    <a:lnTo>
                      <a:pt x="1398" y="2210"/>
                    </a:lnTo>
                    <a:lnTo>
                      <a:pt x="1402" y="2208"/>
                    </a:lnTo>
                    <a:lnTo>
                      <a:pt x="1404" y="2206"/>
                    </a:lnTo>
                    <a:lnTo>
                      <a:pt x="1402" y="2194"/>
                    </a:lnTo>
                    <a:lnTo>
                      <a:pt x="1400" y="2180"/>
                    </a:lnTo>
                    <a:lnTo>
                      <a:pt x="1400" y="2174"/>
                    </a:lnTo>
                    <a:lnTo>
                      <a:pt x="1402" y="2170"/>
                    </a:lnTo>
                    <a:lnTo>
                      <a:pt x="1402" y="2170"/>
                    </a:lnTo>
                    <a:lnTo>
                      <a:pt x="1404" y="2168"/>
                    </a:lnTo>
                    <a:lnTo>
                      <a:pt x="1404" y="2166"/>
                    </a:lnTo>
                    <a:lnTo>
                      <a:pt x="1402" y="2160"/>
                    </a:lnTo>
                    <a:lnTo>
                      <a:pt x="1402" y="2152"/>
                    </a:lnTo>
                    <a:lnTo>
                      <a:pt x="1402" y="2150"/>
                    </a:lnTo>
                    <a:lnTo>
                      <a:pt x="1404" y="2146"/>
                    </a:lnTo>
                    <a:lnTo>
                      <a:pt x="1404" y="2146"/>
                    </a:lnTo>
                    <a:lnTo>
                      <a:pt x="1408" y="2144"/>
                    </a:lnTo>
                    <a:lnTo>
                      <a:pt x="1410" y="2144"/>
                    </a:lnTo>
                    <a:lnTo>
                      <a:pt x="1410" y="2150"/>
                    </a:lnTo>
                    <a:lnTo>
                      <a:pt x="1412" y="2154"/>
                    </a:lnTo>
                    <a:lnTo>
                      <a:pt x="1412" y="2154"/>
                    </a:lnTo>
                    <a:lnTo>
                      <a:pt x="1414" y="2152"/>
                    </a:lnTo>
                    <a:lnTo>
                      <a:pt x="1414" y="2152"/>
                    </a:lnTo>
                    <a:lnTo>
                      <a:pt x="1416" y="2148"/>
                    </a:lnTo>
                    <a:lnTo>
                      <a:pt x="1416" y="2146"/>
                    </a:lnTo>
                    <a:lnTo>
                      <a:pt x="1414" y="2140"/>
                    </a:lnTo>
                    <a:lnTo>
                      <a:pt x="1412" y="2132"/>
                    </a:lnTo>
                    <a:lnTo>
                      <a:pt x="1412" y="2124"/>
                    </a:lnTo>
                    <a:lnTo>
                      <a:pt x="1414" y="2116"/>
                    </a:lnTo>
                    <a:lnTo>
                      <a:pt x="1414" y="2116"/>
                    </a:lnTo>
                    <a:close/>
                    <a:moveTo>
                      <a:pt x="984" y="1792"/>
                    </a:moveTo>
                    <a:lnTo>
                      <a:pt x="984" y="1792"/>
                    </a:lnTo>
                    <a:lnTo>
                      <a:pt x="980" y="1788"/>
                    </a:lnTo>
                    <a:lnTo>
                      <a:pt x="974" y="1788"/>
                    </a:lnTo>
                    <a:lnTo>
                      <a:pt x="966" y="1788"/>
                    </a:lnTo>
                    <a:lnTo>
                      <a:pt x="958" y="1792"/>
                    </a:lnTo>
                    <a:lnTo>
                      <a:pt x="950" y="1794"/>
                    </a:lnTo>
                    <a:lnTo>
                      <a:pt x="944" y="1798"/>
                    </a:lnTo>
                    <a:lnTo>
                      <a:pt x="942" y="1804"/>
                    </a:lnTo>
                    <a:lnTo>
                      <a:pt x="940" y="1808"/>
                    </a:lnTo>
                    <a:lnTo>
                      <a:pt x="940" y="1808"/>
                    </a:lnTo>
                    <a:lnTo>
                      <a:pt x="942" y="1810"/>
                    </a:lnTo>
                    <a:lnTo>
                      <a:pt x="948" y="1812"/>
                    </a:lnTo>
                    <a:lnTo>
                      <a:pt x="960" y="1814"/>
                    </a:lnTo>
                    <a:lnTo>
                      <a:pt x="974" y="1812"/>
                    </a:lnTo>
                    <a:lnTo>
                      <a:pt x="982" y="1810"/>
                    </a:lnTo>
                    <a:lnTo>
                      <a:pt x="982" y="1810"/>
                    </a:lnTo>
                    <a:lnTo>
                      <a:pt x="990" y="1808"/>
                    </a:lnTo>
                    <a:lnTo>
                      <a:pt x="998" y="1808"/>
                    </a:lnTo>
                    <a:lnTo>
                      <a:pt x="1004" y="1806"/>
                    </a:lnTo>
                    <a:lnTo>
                      <a:pt x="1004" y="1804"/>
                    </a:lnTo>
                    <a:lnTo>
                      <a:pt x="1002" y="1800"/>
                    </a:lnTo>
                    <a:lnTo>
                      <a:pt x="1002" y="1800"/>
                    </a:lnTo>
                    <a:lnTo>
                      <a:pt x="1000" y="1798"/>
                    </a:lnTo>
                    <a:lnTo>
                      <a:pt x="994" y="1798"/>
                    </a:lnTo>
                    <a:lnTo>
                      <a:pt x="990" y="1796"/>
                    </a:lnTo>
                    <a:lnTo>
                      <a:pt x="984" y="1792"/>
                    </a:lnTo>
                    <a:lnTo>
                      <a:pt x="984" y="1792"/>
                    </a:lnTo>
                    <a:close/>
                    <a:moveTo>
                      <a:pt x="2204" y="1064"/>
                    </a:moveTo>
                    <a:lnTo>
                      <a:pt x="2204" y="1064"/>
                    </a:lnTo>
                    <a:lnTo>
                      <a:pt x="2206" y="1066"/>
                    </a:lnTo>
                    <a:lnTo>
                      <a:pt x="2208" y="1066"/>
                    </a:lnTo>
                    <a:lnTo>
                      <a:pt x="2212" y="1066"/>
                    </a:lnTo>
                    <a:lnTo>
                      <a:pt x="2214" y="1060"/>
                    </a:lnTo>
                    <a:lnTo>
                      <a:pt x="2214" y="1058"/>
                    </a:lnTo>
                    <a:lnTo>
                      <a:pt x="2212" y="1054"/>
                    </a:lnTo>
                    <a:lnTo>
                      <a:pt x="2212" y="1054"/>
                    </a:lnTo>
                    <a:lnTo>
                      <a:pt x="2210" y="1050"/>
                    </a:lnTo>
                    <a:lnTo>
                      <a:pt x="2208" y="1048"/>
                    </a:lnTo>
                    <a:lnTo>
                      <a:pt x="2206" y="1048"/>
                    </a:lnTo>
                    <a:lnTo>
                      <a:pt x="2204" y="1050"/>
                    </a:lnTo>
                    <a:lnTo>
                      <a:pt x="2202" y="1054"/>
                    </a:lnTo>
                    <a:lnTo>
                      <a:pt x="2204" y="1064"/>
                    </a:lnTo>
                    <a:lnTo>
                      <a:pt x="2204" y="1064"/>
                    </a:lnTo>
                    <a:close/>
                    <a:moveTo>
                      <a:pt x="2218" y="862"/>
                    </a:moveTo>
                    <a:lnTo>
                      <a:pt x="2218" y="862"/>
                    </a:lnTo>
                    <a:lnTo>
                      <a:pt x="2216" y="866"/>
                    </a:lnTo>
                    <a:lnTo>
                      <a:pt x="2218" y="870"/>
                    </a:lnTo>
                    <a:lnTo>
                      <a:pt x="2222" y="872"/>
                    </a:lnTo>
                    <a:lnTo>
                      <a:pt x="2228" y="874"/>
                    </a:lnTo>
                    <a:lnTo>
                      <a:pt x="2228" y="874"/>
                    </a:lnTo>
                    <a:lnTo>
                      <a:pt x="2230" y="872"/>
                    </a:lnTo>
                    <a:lnTo>
                      <a:pt x="2230" y="870"/>
                    </a:lnTo>
                    <a:lnTo>
                      <a:pt x="2228" y="864"/>
                    </a:lnTo>
                    <a:lnTo>
                      <a:pt x="2222" y="860"/>
                    </a:lnTo>
                    <a:lnTo>
                      <a:pt x="2220" y="860"/>
                    </a:lnTo>
                    <a:lnTo>
                      <a:pt x="2218" y="862"/>
                    </a:lnTo>
                    <a:lnTo>
                      <a:pt x="2218" y="862"/>
                    </a:lnTo>
                    <a:close/>
                    <a:moveTo>
                      <a:pt x="2220" y="824"/>
                    </a:moveTo>
                    <a:lnTo>
                      <a:pt x="2220" y="824"/>
                    </a:lnTo>
                    <a:lnTo>
                      <a:pt x="2222" y="824"/>
                    </a:lnTo>
                    <a:lnTo>
                      <a:pt x="2222" y="822"/>
                    </a:lnTo>
                    <a:lnTo>
                      <a:pt x="2216" y="814"/>
                    </a:lnTo>
                    <a:lnTo>
                      <a:pt x="2216" y="814"/>
                    </a:lnTo>
                    <a:lnTo>
                      <a:pt x="2216" y="812"/>
                    </a:lnTo>
                    <a:lnTo>
                      <a:pt x="2214" y="814"/>
                    </a:lnTo>
                    <a:lnTo>
                      <a:pt x="2212" y="816"/>
                    </a:lnTo>
                    <a:lnTo>
                      <a:pt x="2214" y="822"/>
                    </a:lnTo>
                    <a:lnTo>
                      <a:pt x="2216" y="822"/>
                    </a:lnTo>
                    <a:lnTo>
                      <a:pt x="2220" y="824"/>
                    </a:lnTo>
                    <a:lnTo>
                      <a:pt x="2220" y="824"/>
                    </a:lnTo>
                    <a:close/>
                    <a:moveTo>
                      <a:pt x="2124" y="1064"/>
                    </a:moveTo>
                    <a:lnTo>
                      <a:pt x="2124" y="1064"/>
                    </a:lnTo>
                    <a:lnTo>
                      <a:pt x="2118" y="1060"/>
                    </a:lnTo>
                    <a:lnTo>
                      <a:pt x="2116" y="1060"/>
                    </a:lnTo>
                    <a:lnTo>
                      <a:pt x="2114" y="1062"/>
                    </a:lnTo>
                    <a:lnTo>
                      <a:pt x="2096" y="1042"/>
                    </a:lnTo>
                    <a:lnTo>
                      <a:pt x="2096" y="1042"/>
                    </a:lnTo>
                    <a:lnTo>
                      <a:pt x="2094" y="1038"/>
                    </a:lnTo>
                    <a:lnTo>
                      <a:pt x="2090" y="1032"/>
                    </a:lnTo>
                    <a:lnTo>
                      <a:pt x="2076" y="1018"/>
                    </a:lnTo>
                    <a:lnTo>
                      <a:pt x="2060" y="1008"/>
                    </a:lnTo>
                    <a:lnTo>
                      <a:pt x="2050" y="1000"/>
                    </a:lnTo>
                    <a:lnTo>
                      <a:pt x="2050" y="1004"/>
                    </a:lnTo>
                    <a:lnTo>
                      <a:pt x="2050" y="1004"/>
                    </a:lnTo>
                    <a:lnTo>
                      <a:pt x="2044" y="998"/>
                    </a:lnTo>
                    <a:lnTo>
                      <a:pt x="2040" y="994"/>
                    </a:lnTo>
                    <a:lnTo>
                      <a:pt x="2036" y="992"/>
                    </a:lnTo>
                    <a:lnTo>
                      <a:pt x="2040" y="1000"/>
                    </a:lnTo>
                    <a:lnTo>
                      <a:pt x="2050" y="1020"/>
                    </a:lnTo>
                    <a:lnTo>
                      <a:pt x="2050" y="1020"/>
                    </a:lnTo>
                    <a:lnTo>
                      <a:pt x="2052" y="1024"/>
                    </a:lnTo>
                    <a:lnTo>
                      <a:pt x="2052" y="1026"/>
                    </a:lnTo>
                    <a:lnTo>
                      <a:pt x="2052" y="1026"/>
                    </a:lnTo>
                    <a:lnTo>
                      <a:pt x="2064" y="1036"/>
                    </a:lnTo>
                    <a:lnTo>
                      <a:pt x="2070" y="1042"/>
                    </a:lnTo>
                    <a:lnTo>
                      <a:pt x="2076" y="1056"/>
                    </a:lnTo>
                    <a:lnTo>
                      <a:pt x="2076" y="1054"/>
                    </a:lnTo>
                    <a:lnTo>
                      <a:pt x="2078" y="1058"/>
                    </a:lnTo>
                    <a:lnTo>
                      <a:pt x="2078" y="1058"/>
                    </a:lnTo>
                    <a:lnTo>
                      <a:pt x="2082" y="1058"/>
                    </a:lnTo>
                    <a:lnTo>
                      <a:pt x="2088" y="1064"/>
                    </a:lnTo>
                    <a:lnTo>
                      <a:pt x="2088" y="1064"/>
                    </a:lnTo>
                    <a:lnTo>
                      <a:pt x="2094" y="1070"/>
                    </a:lnTo>
                    <a:lnTo>
                      <a:pt x="2102" y="1074"/>
                    </a:lnTo>
                    <a:lnTo>
                      <a:pt x="2110" y="1080"/>
                    </a:lnTo>
                    <a:lnTo>
                      <a:pt x="2116" y="1086"/>
                    </a:lnTo>
                    <a:lnTo>
                      <a:pt x="2136" y="1098"/>
                    </a:lnTo>
                    <a:lnTo>
                      <a:pt x="2136" y="1098"/>
                    </a:lnTo>
                    <a:lnTo>
                      <a:pt x="2136" y="1102"/>
                    </a:lnTo>
                    <a:lnTo>
                      <a:pt x="2136" y="1104"/>
                    </a:lnTo>
                    <a:lnTo>
                      <a:pt x="2136" y="1104"/>
                    </a:lnTo>
                    <a:lnTo>
                      <a:pt x="2136" y="1104"/>
                    </a:lnTo>
                    <a:lnTo>
                      <a:pt x="2154" y="1100"/>
                    </a:lnTo>
                    <a:lnTo>
                      <a:pt x="2158" y="1098"/>
                    </a:lnTo>
                    <a:lnTo>
                      <a:pt x="2158" y="1096"/>
                    </a:lnTo>
                    <a:lnTo>
                      <a:pt x="2148" y="1086"/>
                    </a:lnTo>
                    <a:lnTo>
                      <a:pt x="2124" y="1064"/>
                    </a:lnTo>
                    <a:lnTo>
                      <a:pt x="2124" y="1064"/>
                    </a:lnTo>
                    <a:close/>
                    <a:moveTo>
                      <a:pt x="2172" y="1036"/>
                    </a:moveTo>
                    <a:lnTo>
                      <a:pt x="2172" y="1036"/>
                    </a:lnTo>
                    <a:lnTo>
                      <a:pt x="2178" y="1038"/>
                    </a:lnTo>
                    <a:lnTo>
                      <a:pt x="2182" y="1040"/>
                    </a:lnTo>
                    <a:lnTo>
                      <a:pt x="2184" y="1038"/>
                    </a:lnTo>
                    <a:lnTo>
                      <a:pt x="2186" y="1036"/>
                    </a:lnTo>
                    <a:lnTo>
                      <a:pt x="2186" y="1030"/>
                    </a:lnTo>
                    <a:lnTo>
                      <a:pt x="2182" y="1024"/>
                    </a:lnTo>
                    <a:lnTo>
                      <a:pt x="2182" y="1024"/>
                    </a:lnTo>
                    <a:lnTo>
                      <a:pt x="2176" y="1018"/>
                    </a:lnTo>
                    <a:lnTo>
                      <a:pt x="2172" y="1016"/>
                    </a:lnTo>
                    <a:lnTo>
                      <a:pt x="2168" y="1018"/>
                    </a:lnTo>
                    <a:lnTo>
                      <a:pt x="2168" y="1020"/>
                    </a:lnTo>
                    <a:lnTo>
                      <a:pt x="2170" y="1020"/>
                    </a:lnTo>
                    <a:lnTo>
                      <a:pt x="2170" y="1020"/>
                    </a:lnTo>
                    <a:lnTo>
                      <a:pt x="2172" y="1022"/>
                    </a:lnTo>
                    <a:lnTo>
                      <a:pt x="2172" y="1024"/>
                    </a:lnTo>
                    <a:lnTo>
                      <a:pt x="2170" y="1028"/>
                    </a:lnTo>
                    <a:lnTo>
                      <a:pt x="2168" y="1032"/>
                    </a:lnTo>
                    <a:lnTo>
                      <a:pt x="2170" y="1034"/>
                    </a:lnTo>
                    <a:lnTo>
                      <a:pt x="2172" y="1036"/>
                    </a:lnTo>
                    <a:lnTo>
                      <a:pt x="2172" y="1036"/>
                    </a:lnTo>
                    <a:close/>
                    <a:moveTo>
                      <a:pt x="2152" y="752"/>
                    </a:moveTo>
                    <a:lnTo>
                      <a:pt x="2152" y="752"/>
                    </a:lnTo>
                    <a:lnTo>
                      <a:pt x="2154" y="760"/>
                    </a:lnTo>
                    <a:lnTo>
                      <a:pt x="2156" y="764"/>
                    </a:lnTo>
                    <a:lnTo>
                      <a:pt x="2160" y="766"/>
                    </a:lnTo>
                    <a:lnTo>
                      <a:pt x="2168" y="764"/>
                    </a:lnTo>
                    <a:lnTo>
                      <a:pt x="2168" y="764"/>
                    </a:lnTo>
                    <a:lnTo>
                      <a:pt x="2172" y="762"/>
                    </a:lnTo>
                    <a:lnTo>
                      <a:pt x="2174" y="760"/>
                    </a:lnTo>
                    <a:lnTo>
                      <a:pt x="2176" y="758"/>
                    </a:lnTo>
                    <a:lnTo>
                      <a:pt x="2176" y="754"/>
                    </a:lnTo>
                    <a:lnTo>
                      <a:pt x="2174" y="746"/>
                    </a:lnTo>
                    <a:lnTo>
                      <a:pt x="2170" y="736"/>
                    </a:lnTo>
                    <a:lnTo>
                      <a:pt x="2170" y="736"/>
                    </a:lnTo>
                    <a:lnTo>
                      <a:pt x="2168" y="732"/>
                    </a:lnTo>
                    <a:lnTo>
                      <a:pt x="2166" y="732"/>
                    </a:lnTo>
                    <a:lnTo>
                      <a:pt x="2164" y="734"/>
                    </a:lnTo>
                    <a:lnTo>
                      <a:pt x="2162" y="736"/>
                    </a:lnTo>
                    <a:lnTo>
                      <a:pt x="2162" y="736"/>
                    </a:lnTo>
                    <a:lnTo>
                      <a:pt x="2158" y="730"/>
                    </a:lnTo>
                    <a:lnTo>
                      <a:pt x="2158" y="730"/>
                    </a:lnTo>
                    <a:lnTo>
                      <a:pt x="2156" y="724"/>
                    </a:lnTo>
                    <a:lnTo>
                      <a:pt x="2154" y="718"/>
                    </a:lnTo>
                    <a:lnTo>
                      <a:pt x="2152" y="716"/>
                    </a:lnTo>
                    <a:lnTo>
                      <a:pt x="2148" y="716"/>
                    </a:lnTo>
                    <a:lnTo>
                      <a:pt x="2148" y="716"/>
                    </a:lnTo>
                    <a:lnTo>
                      <a:pt x="2146" y="718"/>
                    </a:lnTo>
                    <a:lnTo>
                      <a:pt x="2146" y="722"/>
                    </a:lnTo>
                    <a:lnTo>
                      <a:pt x="2148" y="726"/>
                    </a:lnTo>
                    <a:lnTo>
                      <a:pt x="2148" y="726"/>
                    </a:lnTo>
                    <a:lnTo>
                      <a:pt x="2152" y="736"/>
                    </a:lnTo>
                    <a:lnTo>
                      <a:pt x="2152" y="742"/>
                    </a:lnTo>
                    <a:lnTo>
                      <a:pt x="2152" y="746"/>
                    </a:lnTo>
                    <a:lnTo>
                      <a:pt x="2152" y="752"/>
                    </a:lnTo>
                    <a:lnTo>
                      <a:pt x="2152" y="752"/>
                    </a:lnTo>
                    <a:close/>
                    <a:moveTo>
                      <a:pt x="2196" y="758"/>
                    </a:moveTo>
                    <a:lnTo>
                      <a:pt x="2196" y="758"/>
                    </a:lnTo>
                    <a:lnTo>
                      <a:pt x="2202" y="754"/>
                    </a:lnTo>
                    <a:lnTo>
                      <a:pt x="2206" y="750"/>
                    </a:lnTo>
                    <a:lnTo>
                      <a:pt x="2208" y="748"/>
                    </a:lnTo>
                    <a:lnTo>
                      <a:pt x="2206" y="746"/>
                    </a:lnTo>
                    <a:lnTo>
                      <a:pt x="2206" y="746"/>
                    </a:lnTo>
                    <a:lnTo>
                      <a:pt x="2202" y="746"/>
                    </a:lnTo>
                    <a:lnTo>
                      <a:pt x="2198" y="748"/>
                    </a:lnTo>
                    <a:lnTo>
                      <a:pt x="2194" y="752"/>
                    </a:lnTo>
                    <a:lnTo>
                      <a:pt x="2194" y="754"/>
                    </a:lnTo>
                    <a:lnTo>
                      <a:pt x="2196" y="758"/>
                    </a:lnTo>
                    <a:lnTo>
                      <a:pt x="2196" y="758"/>
                    </a:lnTo>
                    <a:close/>
                    <a:moveTo>
                      <a:pt x="2206" y="798"/>
                    </a:moveTo>
                    <a:lnTo>
                      <a:pt x="2206" y="798"/>
                    </a:lnTo>
                    <a:lnTo>
                      <a:pt x="2210" y="800"/>
                    </a:lnTo>
                    <a:lnTo>
                      <a:pt x="2214" y="800"/>
                    </a:lnTo>
                    <a:lnTo>
                      <a:pt x="2216" y="798"/>
                    </a:lnTo>
                    <a:lnTo>
                      <a:pt x="2216" y="792"/>
                    </a:lnTo>
                    <a:lnTo>
                      <a:pt x="2216" y="792"/>
                    </a:lnTo>
                    <a:lnTo>
                      <a:pt x="2216" y="790"/>
                    </a:lnTo>
                    <a:lnTo>
                      <a:pt x="2214" y="788"/>
                    </a:lnTo>
                    <a:lnTo>
                      <a:pt x="2208" y="790"/>
                    </a:lnTo>
                    <a:lnTo>
                      <a:pt x="2204" y="794"/>
                    </a:lnTo>
                    <a:lnTo>
                      <a:pt x="2204" y="796"/>
                    </a:lnTo>
                    <a:lnTo>
                      <a:pt x="2206" y="798"/>
                    </a:lnTo>
                    <a:lnTo>
                      <a:pt x="2206" y="798"/>
                    </a:lnTo>
                    <a:close/>
                    <a:moveTo>
                      <a:pt x="1762" y="382"/>
                    </a:moveTo>
                    <a:lnTo>
                      <a:pt x="1762" y="382"/>
                    </a:lnTo>
                    <a:lnTo>
                      <a:pt x="1762" y="386"/>
                    </a:lnTo>
                    <a:lnTo>
                      <a:pt x="1764" y="392"/>
                    </a:lnTo>
                    <a:lnTo>
                      <a:pt x="1768" y="394"/>
                    </a:lnTo>
                    <a:lnTo>
                      <a:pt x="1770" y="394"/>
                    </a:lnTo>
                    <a:lnTo>
                      <a:pt x="1772" y="392"/>
                    </a:lnTo>
                    <a:lnTo>
                      <a:pt x="1772" y="392"/>
                    </a:lnTo>
                    <a:lnTo>
                      <a:pt x="1774" y="390"/>
                    </a:lnTo>
                    <a:lnTo>
                      <a:pt x="1772" y="386"/>
                    </a:lnTo>
                    <a:lnTo>
                      <a:pt x="1770" y="382"/>
                    </a:lnTo>
                    <a:lnTo>
                      <a:pt x="1766" y="378"/>
                    </a:lnTo>
                    <a:lnTo>
                      <a:pt x="1764" y="380"/>
                    </a:lnTo>
                    <a:lnTo>
                      <a:pt x="1762" y="382"/>
                    </a:lnTo>
                    <a:lnTo>
                      <a:pt x="1762" y="382"/>
                    </a:lnTo>
                    <a:close/>
                    <a:moveTo>
                      <a:pt x="1786" y="386"/>
                    </a:moveTo>
                    <a:lnTo>
                      <a:pt x="1786" y="386"/>
                    </a:lnTo>
                    <a:lnTo>
                      <a:pt x="1784" y="386"/>
                    </a:lnTo>
                    <a:lnTo>
                      <a:pt x="1780" y="388"/>
                    </a:lnTo>
                    <a:lnTo>
                      <a:pt x="1776" y="396"/>
                    </a:lnTo>
                    <a:lnTo>
                      <a:pt x="1776" y="402"/>
                    </a:lnTo>
                    <a:lnTo>
                      <a:pt x="1778" y="404"/>
                    </a:lnTo>
                    <a:lnTo>
                      <a:pt x="1780" y="404"/>
                    </a:lnTo>
                    <a:lnTo>
                      <a:pt x="1780" y="404"/>
                    </a:lnTo>
                    <a:lnTo>
                      <a:pt x="1784" y="402"/>
                    </a:lnTo>
                    <a:lnTo>
                      <a:pt x="1788" y="404"/>
                    </a:lnTo>
                    <a:lnTo>
                      <a:pt x="1790" y="410"/>
                    </a:lnTo>
                    <a:lnTo>
                      <a:pt x="1794" y="414"/>
                    </a:lnTo>
                    <a:lnTo>
                      <a:pt x="1794" y="414"/>
                    </a:lnTo>
                    <a:lnTo>
                      <a:pt x="1796" y="416"/>
                    </a:lnTo>
                    <a:lnTo>
                      <a:pt x="1800" y="412"/>
                    </a:lnTo>
                    <a:lnTo>
                      <a:pt x="1798" y="408"/>
                    </a:lnTo>
                    <a:lnTo>
                      <a:pt x="1794" y="402"/>
                    </a:lnTo>
                    <a:lnTo>
                      <a:pt x="1794" y="402"/>
                    </a:lnTo>
                    <a:lnTo>
                      <a:pt x="1790" y="396"/>
                    </a:lnTo>
                    <a:lnTo>
                      <a:pt x="1790" y="392"/>
                    </a:lnTo>
                    <a:lnTo>
                      <a:pt x="1790" y="390"/>
                    </a:lnTo>
                    <a:lnTo>
                      <a:pt x="1786" y="386"/>
                    </a:lnTo>
                    <a:lnTo>
                      <a:pt x="1786" y="386"/>
                    </a:lnTo>
                    <a:close/>
                    <a:moveTo>
                      <a:pt x="1754" y="340"/>
                    </a:moveTo>
                    <a:lnTo>
                      <a:pt x="1754" y="340"/>
                    </a:lnTo>
                    <a:lnTo>
                      <a:pt x="1758" y="346"/>
                    </a:lnTo>
                    <a:lnTo>
                      <a:pt x="1766" y="354"/>
                    </a:lnTo>
                    <a:lnTo>
                      <a:pt x="1776" y="360"/>
                    </a:lnTo>
                    <a:lnTo>
                      <a:pt x="1780" y="360"/>
                    </a:lnTo>
                    <a:lnTo>
                      <a:pt x="1784" y="360"/>
                    </a:lnTo>
                    <a:lnTo>
                      <a:pt x="1784" y="360"/>
                    </a:lnTo>
                    <a:lnTo>
                      <a:pt x="1788" y="358"/>
                    </a:lnTo>
                    <a:lnTo>
                      <a:pt x="1788" y="358"/>
                    </a:lnTo>
                    <a:lnTo>
                      <a:pt x="1784" y="356"/>
                    </a:lnTo>
                    <a:lnTo>
                      <a:pt x="1776" y="352"/>
                    </a:lnTo>
                    <a:lnTo>
                      <a:pt x="1774" y="348"/>
                    </a:lnTo>
                    <a:lnTo>
                      <a:pt x="1772" y="344"/>
                    </a:lnTo>
                    <a:lnTo>
                      <a:pt x="1772" y="344"/>
                    </a:lnTo>
                    <a:lnTo>
                      <a:pt x="1768" y="336"/>
                    </a:lnTo>
                    <a:lnTo>
                      <a:pt x="1764" y="332"/>
                    </a:lnTo>
                    <a:lnTo>
                      <a:pt x="1746" y="320"/>
                    </a:lnTo>
                    <a:lnTo>
                      <a:pt x="1746" y="320"/>
                    </a:lnTo>
                    <a:lnTo>
                      <a:pt x="1742" y="318"/>
                    </a:lnTo>
                    <a:lnTo>
                      <a:pt x="1740" y="320"/>
                    </a:lnTo>
                    <a:lnTo>
                      <a:pt x="1742" y="328"/>
                    </a:lnTo>
                    <a:lnTo>
                      <a:pt x="1742" y="328"/>
                    </a:lnTo>
                    <a:lnTo>
                      <a:pt x="1744" y="332"/>
                    </a:lnTo>
                    <a:lnTo>
                      <a:pt x="1748" y="334"/>
                    </a:lnTo>
                    <a:lnTo>
                      <a:pt x="1752" y="336"/>
                    </a:lnTo>
                    <a:lnTo>
                      <a:pt x="1754" y="340"/>
                    </a:lnTo>
                    <a:lnTo>
                      <a:pt x="1754" y="340"/>
                    </a:lnTo>
                    <a:close/>
                    <a:moveTo>
                      <a:pt x="1744" y="368"/>
                    </a:moveTo>
                    <a:lnTo>
                      <a:pt x="1744" y="368"/>
                    </a:lnTo>
                    <a:lnTo>
                      <a:pt x="1744" y="374"/>
                    </a:lnTo>
                    <a:lnTo>
                      <a:pt x="1748" y="378"/>
                    </a:lnTo>
                    <a:lnTo>
                      <a:pt x="1752" y="382"/>
                    </a:lnTo>
                    <a:lnTo>
                      <a:pt x="1754" y="380"/>
                    </a:lnTo>
                    <a:lnTo>
                      <a:pt x="1756" y="380"/>
                    </a:lnTo>
                    <a:lnTo>
                      <a:pt x="1756" y="380"/>
                    </a:lnTo>
                    <a:lnTo>
                      <a:pt x="1758" y="376"/>
                    </a:lnTo>
                    <a:lnTo>
                      <a:pt x="1758" y="374"/>
                    </a:lnTo>
                    <a:lnTo>
                      <a:pt x="1752" y="368"/>
                    </a:lnTo>
                    <a:lnTo>
                      <a:pt x="1746" y="366"/>
                    </a:lnTo>
                    <a:lnTo>
                      <a:pt x="1744" y="366"/>
                    </a:lnTo>
                    <a:lnTo>
                      <a:pt x="1744" y="368"/>
                    </a:lnTo>
                    <a:lnTo>
                      <a:pt x="1744" y="368"/>
                    </a:lnTo>
                    <a:close/>
                    <a:moveTo>
                      <a:pt x="1802" y="416"/>
                    </a:moveTo>
                    <a:lnTo>
                      <a:pt x="1802" y="416"/>
                    </a:lnTo>
                    <a:lnTo>
                      <a:pt x="1800" y="420"/>
                    </a:lnTo>
                    <a:lnTo>
                      <a:pt x="1800" y="424"/>
                    </a:lnTo>
                    <a:lnTo>
                      <a:pt x="1804" y="426"/>
                    </a:lnTo>
                    <a:lnTo>
                      <a:pt x="1810" y="424"/>
                    </a:lnTo>
                    <a:lnTo>
                      <a:pt x="1810" y="424"/>
                    </a:lnTo>
                    <a:lnTo>
                      <a:pt x="1810" y="422"/>
                    </a:lnTo>
                    <a:lnTo>
                      <a:pt x="1812" y="420"/>
                    </a:lnTo>
                    <a:lnTo>
                      <a:pt x="1810" y="416"/>
                    </a:lnTo>
                    <a:lnTo>
                      <a:pt x="1806" y="414"/>
                    </a:lnTo>
                    <a:lnTo>
                      <a:pt x="1804" y="414"/>
                    </a:lnTo>
                    <a:lnTo>
                      <a:pt x="1802" y="416"/>
                    </a:lnTo>
                    <a:lnTo>
                      <a:pt x="1802" y="416"/>
                    </a:lnTo>
                    <a:close/>
                    <a:moveTo>
                      <a:pt x="1858" y="386"/>
                    </a:moveTo>
                    <a:lnTo>
                      <a:pt x="1858" y="386"/>
                    </a:lnTo>
                    <a:lnTo>
                      <a:pt x="1848" y="382"/>
                    </a:lnTo>
                    <a:lnTo>
                      <a:pt x="1844" y="378"/>
                    </a:lnTo>
                    <a:lnTo>
                      <a:pt x="1840" y="374"/>
                    </a:lnTo>
                    <a:lnTo>
                      <a:pt x="1832" y="368"/>
                    </a:lnTo>
                    <a:lnTo>
                      <a:pt x="1832" y="368"/>
                    </a:lnTo>
                    <a:lnTo>
                      <a:pt x="1828" y="366"/>
                    </a:lnTo>
                    <a:lnTo>
                      <a:pt x="1826" y="368"/>
                    </a:lnTo>
                    <a:lnTo>
                      <a:pt x="1828" y="378"/>
                    </a:lnTo>
                    <a:lnTo>
                      <a:pt x="1828" y="378"/>
                    </a:lnTo>
                    <a:lnTo>
                      <a:pt x="1830" y="382"/>
                    </a:lnTo>
                    <a:lnTo>
                      <a:pt x="1834" y="386"/>
                    </a:lnTo>
                    <a:lnTo>
                      <a:pt x="1848" y="394"/>
                    </a:lnTo>
                    <a:lnTo>
                      <a:pt x="1864" y="404"/>
                    </a:lnTo>
                    <a:lnTo>
                      <a:pt x="1878" y="414"/>
                    </a:lnTo>
                    <a:lnTo>
                      <a:pt x="1878" y="414"/>
                    </a:lnTo>
                    <a:lnTo>
                      <a:pt x="1880" y="416"/>
                    </a:lnTo>
                    <a:lnTo>
                      <a:pt x="1882" y="416"/>
                    </a:lnTo>
                    <a:lnTo>
                      <a:pt x="1878" y="408"/>
                    </a:lnTo>
                    <a:lnTo>
                      <a:pt x="1870" y="396"/>
                    </a:lnTo>
                    <a:lnTo>
                      <a:pt x="1864" y="390"/>
                    </a:lnTo>
                    <a:lnTo>
                      <a:pt x="1858" y="386"/>
                    </a:lnTo>
                    <a:lnTo>
                      <a:pt x="1858" y="386"/>
                    </a:lnTo>
                    <a:close/>
                    <a:moveTo>
                      <a:pt x="1882" y="456"/>
                    </a:moveTo>
                    <a:lnTo>
                      <a:pt x="1882" y="456"/>
                    </a:lnTo>
                    <a:lnTo>
                      <a:pt x="1876" y="450"/>
                    </a:lnTo>
                    <a:lnTo>
                      <a:pt x="1872" y="450"/>
                    </a:lnTo>
                    <a:lnTo>
                      <a:pt x="1870" y="454"/>
                    </a:lnTo>
                    <a:lnTo>
                      <a:pt x="1870" y="462"/>
                    </a:lnTo>
                    <a:lnTo>
                      <a:pt x="1870" y="462"/>
                    </a:lnTo>
                    <a:lnTo>
                      <a:pt x="1870" y="468"/>
                    </a:lnTo>
                    <a:lnTo>
                      <a:pt x="1876" y="474"/>
                    </a:lnTo>
                    <a:lnTo>
                      <a:pt x="1882" y="478"/>
                    </a:lnTo>
                    <a:lnTo>
                      <a:pt x="1892" y="478"/>
                    </a:lnTo>
                    <a:lnTo>
                      <a:pt x="1892" y="478"/>
                    </a:lnTo>
                    <a:lnTo>
                      <a:pt x="1900" y="476"/>
                    </a:lnTo>
                    <a:lnTo>
                      <a:pt x="1900" y="478"/>
                    </a:lnTo>
                    <a:lnTo>
                      <a:pt x="1902" y="480"/>
                    </a:lnTo>
                    <a:lnTo>
                      <a:pt x="1912" y="482"/>
                    </a:lnTo>
                    <a:lnTo>
                      <a:pt x="1912" y="482"/>
                    </a:lnTo>
                    <a:lnTo>
                      <a:pt x="1916" y="482"/>
                    </a:lnTo>
                    <a:lnTo>
                      <a:pt x="1920" y="482"/>
                    </a:lnTo>
                    <a:lnTo>
                      <a:pt x="1920" y="480"/>
                    </a:lnTo>
                    <a:lnTo>
                      <a:pt x="1918" y="476"/>
                    </a:lnTo>
                    <a:lnTo>
                      <a:pt x="1914" y="468"/>
                    </a:lnTo>
                    <a:lnTo>
                      <a:pt x="1906" y="460"/>
                    </a:lnTo>
                    <a:lnTo>
                      <a:pt x="1906" y="460"/>
                    </a:lnTo>
                    <a:lnTo>
                      <a:pt x="1902" y="458"/>
                    </a:lnTo>
                    <a:lnTo>
                      <a:pt x="1900" y="456"/>
                    </a:lnTo>
                    <a:lnTo>
                      <a:pt x="1892" y="456"/>
                    </a:lnTo>
                    <a:lnTo>
                      <a:pt x="1886" y="458"/>
                    </a:lnTo>
                    <a:lnTo>
                      <a:pt x="1884" y="456"/>
                    </a:lnTo>
                    <a:lnTo>
                      <a:pt x="1882" y="456"/>
                    </a:lnTo>
                    <a:lnTo>
                      <a:pt x="1882" y="456"/>
                    </a:lnTo>
                    <a:close/>
                    <a:moveTo>
                      <a:pt x="1884" y="560"/>
                    </a:moveTo>
                    <a:lnTo>
                      <a:pt x="1884" y="560"/>
                    </a:lnTo>
                    <a:lnTo>
                      <a:pt x="1886" y="564"/>
                    </a:lnTo>
                    <a:lnTo>
                      <a:pt x="1894" y="570"/>
                    </a:lnTo>
                    <a:lnTo>
                      <a:pt x="1902" y="576"/>
                    </a:lnTo>
                    <a:lnTo>
                      <a:pt x="1906" y="576"/>
                    </a:lnTo>
                    <a:lnTo>
                      <a:pt x="1910" y="576"/>
                    </a:lnTo>
                    <a:lnTo>
                      <a:pt x="1910" y="576"/>
                    </a:lnTo>
                    <a:lnTo>
                      <a:pt x="1910" y="574"/>
                    </a:lnTo>
                    <a:lnTo>
                      <a:pt x="1908" y="570"/>
                    </a:lnTo>
                    <a:lnTo>
                      <a:pt x="1900" y="562"/>
                    </a:lnTo>
                    <a:lnTo>
                      <a:pt x="1890" y="558"/>
                    </a:lnTo>
                    <a:lnTo>
                      <a:pt x="1886" y="558"/>
                    </a:lnTo>
                    <a:lnTo>
                      <a:pt x="1884" y="560"/>
                    </a:lnTo>
                    <a:lnTo>
                      <a:pt x="1884" y="560"/>
                    </a:lnTo>
                    <a:close/>
                    <a:moveTo>
                      <a:pt x="1966" y="508"/>
                    </a:moveTo>
                    <a:lnTo>
                      <a:pt x="1966" y="508"/>
                    </a:lnTo>
                    <a:lnTo>
                      <a:pt x="1958" y="506"/>
                    </a:lnTo>
                    <a:lnTo>
                      <a:pt x="1950" y="502"/>
                    </a:lnTo>
                    <a:lnTo>
                      <a:pt x="1942" y="498"/>
                    </a:lnTo>
                    <a:lnTo>
                      <a:pt x="1938" y="498"/>
                    </a:lnTo>
                    <a:lnTo>
                      <a:pt x="1936" y="500"/>
                    </a:lnTo>
                    <a:lnTo>
                      <a:pt x="1936" y="500"/>
                    </a:lnTo>
                    <a:lnTo>
                      <a:pt x="1934" y="500"/>
                    </a:lnTo>
                    <a:lnTo>
                      <a:pt x="1934" y="502"/>
                    </a:lnTo>
                    <a:lnTo>
                      <a:pt x="1938" y="504"/>
                    </a:lnTo>
                    <a:lnTo>
                      <a:pt x="1942" y="506"/>
                    </a:lnTo>
                    <a:lnTo>
                      <a:pt x="1944" y="510"/>
                    </a:lnTo>
                    <a:lnTo>
                      <a:pt x="1944" y="512"/>
                    </a:lnTo>
                    <a:lnTo>
                      <a:pt x="1944" y="512"/>
                    </a:lnTo>
                    <a:lnTo>
                      <a:pt x="1946" y="516"/>
                    </a:lnTo>
                    <a:lnTo>
                      <a:pt x="1948" y="518"/>
                    </a:lnTo>
                    <a:lnTo>
                      <a:pt x="1956" y="524"/>
                    </a:lnTo>
                    <a:lnTo>
                      <a:pt x="1966" y="528"/>
                    </a:lnTo>
                    <a:lnTo>
                      <a:pt x="1974" y="528"/>
                    </a:lnTo>
                    <a:lnTo>
                      <a:pt x="1974" y="528"/>
                    </a:lnTo>
                    <a:lnTo>
                      <a:pt x="1976" y="528"/>
                    </a:lnTo>
                    <a:lnTo>
                      <a:pt x="1978" y="526"/>
                    </a:lnTo>
                    <a:lnTo>
                      <a:pt x="1976" y="518"/>
                    </a:lnTo>
                    <a:lnTo>
                      <a:pt x="1972" y="512"/>
                    </a:lnTo>
                    <a:lnTo>
                      <a:pt x="1968" y="510"/>
                    </a:lnTo>
                    <a:lnTo>
                      <a:pt x="1966" y="508"/>
                    </a:lnTo>
                    <a:lnTo>
                      <a:pt x="1966" y="508"/>
                    </a:lnTo>
                    <a:close/>
                    <a:moveTo>
                      <a:pt x="2174" y="784"/>
                    </a:moveTo>
                    <a:lnTo>
                      <a:pt x="2174" y="784"/>
                    </a:lnTo>
                    <a:lnTo>
                      <a:pt x="2174" y="788"/>
                    </a:lnTo>
                    <a:lnTo>
                      <a:pt x="2180" y="792"/>
                    </a:lnTo>
                    <a:lnTo>
                      <a:pt x="2180" y="792"/>
                    </a:lnTo>
                    <a:lnTo>
                      <a:pt x="2182" y="794"/>
                    </a:lnTo>
                    <a:lnTo>
                      <a:pt x="2184" y="798"/>
                    </a:lnTo>
                    <a:lnTo>
                      <a:pt x="2186" y="804"/>
                    </a:lnTo>
                    <a:lnTo>
                      <a:pt x="2188" y="808"/>
                    </a:lnTo>
                    <a:lnTo>
                      <a:pt x="2192" y="808"/>
                    </a:lnTo>
                    <a:lnTo>
                      <a:pt x="2196" y="808"/>
                    </a:lnTo>
                    <a:lnTo>
                      <a:pt x="2196" y="808"/>
                    </a:lnTo>
                    <a:lnTo>
                      <a:pt x="2198" y="806"/>
                    </a:lnTo>
                    <a:lnTo>
                      <a:pt x="2198" y="800"/>
                    </a:lnTo>
                    <a:lnTo>
                      <a:pt x="2196" y="794"/>
                    </a:lnTo>
                    <a:lnTo>
                      <a:pt x="2190" y="788"/>
                    </a:lnTo>
                    <a:lnTo>
                      <a:pt x="2186" y="784"/>
                    </a:lnTo>
                    <a:lnTo>
                      <a:pt x="2180" y="780"/>
                    </a:lnTo>
                    <a:lnTo>
                      <a:pt x="2176" y="780"/>
                    </a:lnTo>
                    <a:lnTo>
                      <a:pt x="2174" y="784"/>
                    </a:lnTo>
                    <a:lnTo>
                      <a:pt x="2174" y="784"/>
                    </a:lnTo>
                    <a:close/>
                    <a:moveTo>
                      <a:pt x="1938" y="458"/>
                    </a:moveTo>
                    <a:lnTo>
                      <a:pt x="1938" y="458"/>
                    </a:lnTo>
                    <a:lnTo>
                      <a:pt x="1938" y="454"/>
                    </a:lnTo>
                    <a:lnTo>
                      <a:pt x="1938" y="448"/>
                    </a:lnTo>
                    <a:lnTo>
                      <a:pt x="1936" y="444"/>
                    </a:lnTo>
                    <a:lnTo>
                      <a:pt x="1930" y="438"/>
                    </a:lnTo>
                    <a:lnTo>
                      <a:pt x="1930" y="438"/>
                    </a:lnTo>
                    <a:lnTo>
                      <a:pt x="1928" y="434"/>
                    </a:lnTo>
                    <a:lnTo>
                      <a:pt x="1926" y="428"/>
                    </a:lnTo>
                    <a:lnTo>
                      <a:pt x="1922" y="420"/>
                    </a:lnTo>
                    <a:lnTo>
                      <a:pt x="1920" y="410"/>
                    </a:lnTo>
                    <a:lnTo>
                      <a:pt x="1916" y="408"/>
                    </a:lnTo>
                    <a:lnTo>
                      <a:pt x="1910" y="406"/>
                    </a:lnTo>
                    <a:lnTo>
                      <a:pt x="1910" y="406"/>
                    </a:lnTo>
                    <a:lnTo>
                      <a:pt x="1908" y="404"/>
                    </a:lnTo>
                    <a:lnTo>
                      <a:pt x="1906" y="406"/>
                    </a:lnTo>
                    <a:lnTo>
                      <a:pt x="1906" y="412"/>
                    </a:lnTo>
                    <a:lnTo>
                      <a:pt x="1912" y="422"/>
                    </a:lnTo>
                    <a:lnTo>
                      <a:pt x="1916" y="440"/>
                    </a:lnTo>
                    <a:lnTo>
                      <a:pt x="1916" y="440"/>
                    </a:lnTo>
                    <a:lnTo>
                      <a:pt x="1918" y="446"/>
                    </a:lnTo>
                    <a:lnTo>
                      <a:pt x="1920" y="448"/>
                    </a:lnTo>
                    <a:lnTo>
                      <a:pt x="1926" y="452"/>
                    </a:lnTo>
                    <a:lnTo>
                      <a:pt x="1930" y="460"/>
                    </a:lnTo>
                    <a:lnTo>
                      <a:pt x="1930" y="460"/>
                    </a:lnTo>
                    <a:lnTo>
                      <a:pt x="1936" y="466"/>
                    </a:lnTo>
                    <a:lnTo>
                      <a:pt x="1940" y="470"/>
                    </a:lnTo>
                    <a:lnTo>
                      <a:pt x="1942" y="468"/>
                    </a:lnTo>
                    <a:lnTo>
                      <a:pt x="1942" y="468"/>
                    </a:lnTo>
                    <a:lnTo>
                      <a:pt x="1938" y="458"/>
                    </a:lnTo>
                    <a:lnTo>
                      <a:pt x="1938" y="458"/>
                    </a:lnTo>
                    <a:close/>
                    <a:moveTo>
                      <a:pt x="2456" y="2102"/>
                    </a:moveTo>
                    <a:lnTo>
                      <a:pt x="2456" y="2102"/>
                    </a:lnTo>
                    <a:lnTo>
                      <a:pt x="2460" y="2096"/>
                    </a:lnTo>
                    <a:lnTo>
                      <a:pt x="2460" y="2090"/>
                    </a:lnTo>
                    <a:lnTo>
                      <a:pt x="2458" y="2084"/>
                    </a:lnTo>
                    <a:lnTo>
                      <a:pt x="2456" y="2082"/>
                    </a:lnTo>
                    <a:lnTo>
                      <a:pt x="2450" y="2082"/>
                    </a:lnTo>
                    <a:lnTo>
                      <a:pt x="2442" y="2084"/>
                    </a:lnTo>
                    <a:lnTo>
                      <a:pt x="2434" y="2088"/>
                    </a:lnTo>
                    <a:lnTo>
                      <a:pt x="2426" y="2094"/>
                    </a:lnTo>
                    <a:lnTo>
                      <a:pt x="2426" y="2094"/>
                    </a:lnTo>
                    <a:lnTo>
                      <a:pt x="2418" y="2100"/>
                    </a:lnTo>
                    <a:lnTo>
                      <a:pt x="2412" y="2100"/>
                    </a:lnTo>
                    <a:lnTo>
                      <a:pt x="2410" y="2098"/>
                    </a:lnTo>
                    <a:lnTo>
                      <a:pt x="2410" y="2094"/>
                    </a:lnTo>
                    <a:lnTo>
                      <a:pt x="2410" y="2080"/>
                    </a:lnTo>
                    <a:lnTo>
                      <a:pt x="2410" y="2076"/>
                    </a:lnTo>
                    <a:lnTo>
                      <a:pt x="2408" y="2074"/>
                    </a:lnTo>
                    <a:lnTo>
                      <a:pt x="2408" y="2074"/>
                    </a:lnTo>
                    <a:lnTo>
                      <a:pt x="2400" y="2072"/>
                    </a:lnTo>
                    <a:lnTo>
                      <a:pt x="2398" y="2070"/>
                    </a:lnTo>
                    <a:lnTo>
                      <a:pt x="2398" y="2068"/>
                    </a:lnTo>
                    <a:lnTo>
                      <a:pt x="2404" y="2064"/>
                    </a:lnTo>
                    <a:lnTo>
                      <a:pt x="2404" y="2064"/>
                    </a:lnTo>
                    <a:lnTo>
                      <a:pt x="2408" y="2062"/>
                    </a:lnTo>
                    <a:lnTo>
                      <a:pt x="2408" y="2058"/>
                    </a:lnTo>
                    <a:lnTo>
                      <a:pt x="2408" y="2056"/>
                    </a:lnTo>
                    <a:lnTo>
                      <a:pt x="2404" y="2054"/>
                    </a:lnTo>
                    <a:lnTo>
                      <a:pt x="2400" y="2054"/>
                    </a:lnTo>
                    <a:lnTo>
                      <a:pt x="2396" y="2056"/>
                    </a:lnTo>
                    <a:lnTo>
                      <a:pt x="2388" y="2060"/>
                    </a:lnTo>
                    <a:lnTo>
                      <a:pt x="2380" y="2068"/>
                    </a:lnTo>
                    <a:lnTo>
                      <a:pt x="2380" y="2068"/>
                    </a:lnTo>
                    <a:lnTo>
                      <a:pt x="2376" y="2074"/>
                    </a:lnTo>
                    <a:lnTo>
                      <a:pt x="2374" y="2080"/>
                    </a:lnTo>
                    <a:lnTo>
                      <a:pt x="2374" y="2096"/>
                    </a:lnTo>
                    <a:lnTo>
                      <a:pt x="2372" y="2104"/>
                    </a:lnTo>
                    <a:lnTo>
                      <a:pt x="2370" y="2110"/>
                    </a:lnTo>
                    <a:lnTo>
                      <a:pt x="2366" y="2116"/>
                    </a:lnTo>
                    <a:lnTo>
                      <a:pt x="2358" y="2120"/>
                    </a:lnTo>
                    <a:lnTo>
                      <a:pt x="2358" y="2120"/>
                    </a:lnTo>
                    <a:lnTo>
                      <a:pt x="2352" y="2126"/>
                    </a:lnTo>
                    <a:lnTo>
                      <a:pt x="2346" y="2134"/>
                    </a:lnTo>
                    <a:lnTo>
                      <a:pt x="2336" y="2156"/>
                    </a:lnTo>
                    <a:lnTo>
                      <a:pt x="2324" y="2180"/>
                    </a:lnTo>
                    <a:lnTo>
                      <a:pt x="2318" y="2190"/>
                    </a:lnTo>
                    <a:lnTo>
                      <a:pt x="2310" y="2196"/>
                    </a:lnTo>
                    <a:lnTo>
                      <a:pt x="2310" y="2196"/>
                    </a:lnTo>
                    <a:lnTo>
                      <a:pt x="2298" y="2206"/>
                    </a:lnTo>
                    <a:lnTo>
                      <a:pt x="2286" y="2218"/>
                    </a:lnTo>
                    <a:lnTo>
                      <a:pt x="2274" y="2228"/>
                    </a:lnTo>
                    <a:lnTo>
                      <a:pt x="2270" y="2230"/>
                    </a:lnTo>
                    <a:lnTo>
                      <a:pt x="2264" y="2232"/>
                    </a:lnTo>
                    <a:lnTo>
                      <a:pt x="2264" y="2232"/>
                    </a:lnTo>
                    <a:lnTo>
                      <a:pt x="2260" y="2234"/>
                    </a:lnTo>
                    <a:lnTo>
                      <a:pt x="2256" y="2236"/>
                    </a:lnTo>
                    <a:lnTo>
                      <a:pt x="2250" y="2242"/>
                    </a:lnTo>
                    <a:lnTo>
                      <a:pt x="2246" y="2248"/>
                    </a:lnTo>
                    <a:lnTo>
                      <a:pt x="2242" y="2250"/>
                    </a:lnTo>
                    <a:lnTo>
                      <a:pt x="2236" y="2250"/>
                    </a:lnTo>
                    <a:lnTo>
                      <a:pt x="2236" y="2250"/>
                    </a:lnTo>
                    <a:lnTo>
                      <a:pt x="2228" y="2250"/>
                    </a:lnTo>
                    <a:lnTo>
                      <a:pt x="2222" y="2254"/>
                    </a:lnTo>
                    <a:lnTo>
                      <a:pt x="2216" y="2260"/>
                    </a:lnTo>
                    <a:lnTo>
                      <a:pt x="2210" y="2266"/>
                    </a:lnTo>
                    <a:lnTo>
                      <a:pt x="2200" y="2282"/>
                    </a:lnTo>
                    <a:lnTo>
                      <a:pt x="2186" y="2298"/>
                    </a:lnTo>
                    <a:lnTo>
                      <a:pt x="2186" y="2298"/>
                    </a:lnTo>
                    <a:lnTo>
                      <a:pt x="2174" y="2310"/>
                    </a:lnTo>
                    <a:lnTo>
                      <a:pt x="2162" y="2322"/>
                    </a:lnTo>
                    <a:lnTo>
                      <a:pt x="2160" y="2328"/>
                    </a:lnTo>
                    <a:lnTo>
                      <a:pt x="2156" y="2334"/>
                    </a:lnTo>
                    <a:lnTo>
                      <a:pt x="2156" y="2338"/>
                    </a:lnTo>
                    <a:lnTo>
                      <a:pt x="2158" y="2344"/>
                    </a:lnTo>
                    <a:lnTo>
                      <a:pt x="2158" y="2344"/>
                    </a:lnTo>
                    <a:lnTo>
                      <a:pt x="2160" y="2348"/>
                    </a:lnTo>
                    <a:lnTo>
                      <a:pt x="2158" y="2352"/>
                    </a:lnTo>
                    <a:lnTo>
                      <a:pt x="2152" y="2356"/>
                    </a:lnTo>
                    <a:lnTo>
                      <a:pt x="2146" y="2360"/>
                    </a:lnTo>
                    <a:lnTo>
                      <a:pt x="2146" y="2362"/>
                    </a:lnTo>
                    <a:lnTo>
                      <a:pt x="2146" y="2368"/>
                    </a:lnTo>
                    <a:lnTo>
                      <a:pt x="2146" y="2368"/>
                    </a:lnTo>
                    <a:lnTo>
                      <a:pt x="2152" y="2376"/>
                    </a:lnTo>
                    <a:lnTo>
                      <a:pt x="2162" y="2382"/>
                    </a:lnTo>
                    <a:lnTo>
                      <a:pt x="2168" y="2384"/>
                    </a:lnTo>
                    <a:lnTo>
                      <a:pt x="2172" y="2384"/>
                    </a:lnTo>
                    <a:lnTo>
                      <a:pt x="2178" y="2382"/>
                    </a:lnTo>
                    <a:lnTo>
                      <a:pt x="2184" y="2378"/>
                    </a:lnTo>
                    <a:lnTo>
                      <a:pt x="2184" y="2378"/>
                    </a:lnTo>
                    <a:lnTo>
                      <a:pt x="2190" y="2376"/>
                    </a:lnTo>
                    <a:lnTo>
                      <a:pt x="2192" y="2374"/>
                    </a:lnTo>
                    <a:lnTo>
                      <a:pt x="2194" y="2376"/>
                    </a:lnTo>
                    <a:lnTo>
                      <a:pt x="2196" y="2378"/>
                    </a:lnTo>
                    <a:lnTo>
                      <a:pt x="2200" y="2384"/>
                    </a:lnTo>
                    <a:lnTo>
                      <a:pt x="2202" y="2386"/>
                    </a:lnTo>
                    <a:lnTo>
                      <a:pt x="2208" y="2386"/>
                    </a:lnTo>
                    <a:lnTo>
                      <a:pt x="2208" y="2386"/>
                    </a:lnTo>
                    <a:lnTo>
                      <a:pt x="2212" y="2386"/>
                    </a:lnTo>
                    <a:lnTo>
                      <a:pt x="2216" y="2388"/>
                    </a:lnTo>
                    <a:lnTo>
                      <a:pt x="2218" y="2392"/>
                    </a:lnTo>
                    <a:lnTo>
                      <a:pt x="2218" y="2396"/>
                    </a:lnTo>
                    <a:lnTo>
                      <a:pt x="2220" y="2398"/>
                    </a:lnTo>
                    <a:lnTo>
                      <a:pt x="2224" y="2402"/>
                    </a:lnTo>
                    <a:lnTo>
                      <a:pt x="2232" y="2402"/>
                    </a:lnTo>
                    <a:lnTo>
                      <a:pt x="2232" y="2402"/>
                    </a:lnTo>
                    <a:lnTo>
                      <a:pt x="2248" y="2404"/>
                    </a:lnTo>
                    <a:lnTo>
                      <a:pt x="2256" y="2404"/>
                    </a:lnTo>
                    <a:lnTo>
                      <a:pt x="2262" y="2404"/>
                    </a:lnTo>
                    <a:lnTo>
                      <a:pt x="2268" y="2402"/>
                    </a:lnTo>
                    <a:lnTo>
                      <a:pt x="2276" y="2398"/>
                    </a:lnTo>
                    <a:lnTo>
                      <a:pt x="2282" y="2390"/>
                    </a:lnTo>
                    <a:lnTo>
                      <a:pt x="2288" y="2380"/>
                    </a:lnTo>
                    <a:lnTo>
                      <a:pt x="2288" y="2380"/>
                    </a:lnTo>
                    <a:lnTo>
                      <a:pt x="2296" y="2372"/>
                    </a:lnTo>
                    <a:lnTo>
                      <a:pt x="2302" y="2366"/>
                    </a:lnTo>
                    <a:lnTo>
                      <a:pt x="2308" y="2362"/>
                    </a:lnTo>
                    <a:lnTo>
                      <a:pt x="2314" y="2360"/>
                    </a:lnTo>
                    <a:lnTo>
                      <a:pt x="2320" y="2358"/>
                    </a:lnTo>
                    <a:lnTo>
                      <a:pt x="2320" y="2356"/>
                    </a:lnTo>
                    <a:lnTo>
                      <a:pt x="2318" y="2352"/>
                    </a:lnTo>
                    <a:lnTo>
                      <a:pt x="2318" y="2352"/>
                    </a:lnTo>
                    <a:lnTo>
                      <a:pt x="2318" y="2346"/>
                    </a:lnTo>
                    <a:lnTo>
                      <a:pt x="2318" y="2340"/>
                    </a:lnTo>
                    <a:lnTo>
                      <a:pt x="2324" y="2328"/>
                    </a:lnTo>
                    <a:lnTo>
                      <a:pt x="2332" y="2312"/>
                    </a:lnTo>
                    <a:lnTo>
                      <a:pt x="2336" y="2300"/>
                    </a:lnTo>
                    <a:lnTo>
                      <a:pt x="2336" y="2288"/>
                    </a:lnTo>
                    <a:lnTo>
                      <a:pt x="2336" y="2288"/>
                    </a:lnTo>
                    <a:lnTo>
                      <a:pt x="2340" y="2276"/>
                    </a:lnTo>
                    <a:lnTo>
                      <a:pt x="2346" y="2266"/>
                    </a:lnTo>
                    <a:lnTo>
                      <a:pt x="2354" y="2258"/>
                    </a:lnTo>
                    <a:lnTo>
                      <a:pt x="2364" y="2252"/>
                    </a:lnTo>
                    <a:lnTo>
                      <a:pt x="2376" y="2248"/>
                    </a:lnTo>
                    <a:lnTo>
                      <a:pt x="2386" y="2246"/>
                    </a:lnTo>
                    <a:lnTo>
                      <a:pt x="2394" y="2244"/>
                    </a:lnTo>
                    <a:lnTo>
                      <a:pt x="2400" y="2246"/>
                    </a:lnTo>
                    <a:lnTo>
                      <a:pt x="2400" y="2246"/>
                    </a:lnTo>
                    <a:lnTo>
                      <a:pt x="2406" y="2246"/>
                    </a:lnTo>
                    <a:lnTo>
                      <a:pt x="2410" y="2246"/>
                    </a:lnTo>
                    <a:lnTo>
                      <a:pt x="2414" y="2244"/>
                    </a:lnTo>
                    <a:lnTo>
                      <a:pt x="2416" y="2242"/>
                    </a:lnTo>
                    <a:lnTo>
                      <a:pt x="2418" y="2238"/>
                    </a:lnTo>
                    <a:lnTo>
                      <a:pt x="2418" y="2236"/>
                    </a:lnTo>
                    <a:lnTo>
                      <a:pt x="2416" y="2232"/>
                    </a:lnTo>
                    <a:lnTo>
                      <a:pt x="2410" y="2230"/>
                    </a:lnTo>
                    <a:lnTo>
                      <a:pt x="2410" y="2230"/>
                    </a:lnTo>
                    <a:lnTo>
                      <a:pt x="2404" y="2228"/>
                    </a:lnTo>
                    <a:lnTo>
                      <a:pt x="2402" y="2224"/>
                    </a:lnTo>
                    <a:lnTo>
                      <a:pt x="2400" y="2218"/>
                    </a:lnTo>
                    <a:lnTo>
                      <a:pt x="2400" y="2214"/>
                    </a:lnTo>
                    <a:lnTo>
                      <a:pt x="2400" y="2208"/>
                    </a:lnTo>
                    <a:lnTo>
                      <a:pt x="2402" y="2204"/>
                    </a:lnTo>
                    <a:lnTo>
                      <a:pt x="2406" y="2200"/>
                    </a:lnTo>
                    <a:lnTo>
                      <a:pt x="2410" y="2198"/>
                    </a:lnTo>
                    <a:lnTo>
                      <a:pt x="2410" y="2198"/>
                    </a:lnTo>
                    <a:lnTo>
                      <a:pt x="2416" y="2196"/>
                    </a:lnTo>
                    <a:lnTo>
                      <a:pt x="2420" y="2192"/>
                    </a:lnTo>
                    <a:lnTo>
                      <a:pt x="2430" y="2178"/>
                    </a:lnTo>
                    <a:lnTo>
                      <a:pt x="2440" y="2160"/>
                    </a:lnTo>
                    <a:lnTo>
                      <a:pt x="2454" y="2138"/>
                    </a:lnTo>
                    <a:lnTo>
                      <a:pt x="2454" y="2138"/>
                    </a:lnTo>
                    <a:lnTo>
                      <a:pt x="2460" y="2130"/>
                    </a:lnTo>
                    <a:lnTo>
                      <a:pt x="2462" y="2124"/>
                    </a:lnTo>
                    <a:lnTo>
                      <a:pt x="2462" y="2120"/>
                    </a:lnTo>
                    <a:lnTo>
                      <a:pt x="2460" y="2118"/>
                    </a:lnTo>
                    <a:lnTo>
                      <a:pt x="2456" y="2116"/>
                    </a:lnTo>
                    <a:lnTo>
                      <a:pt x="2454" y="2114"/>
                    </a:lnTo>
                    <a:lnTo>
                      <a:pt x="2454" y="2110"/>
                    </a:lnTo>
                    <a:lnTo>
                      <a:pt x="2456" y="2102"/>
                    </a:lnTo>
                    <a:lnTo>
                      <a:pt x="2456" y="2102"/>
                    </a:lnTo>
                    <a:close/>
                    <a:moveTo>
                      <a:pt x="2684" y="808"/>
                    </a:moveTo>
                    <a:lnTo>
                      <a:pt x="2684" y="808"/>
                    </a:lnTo>
                    <a:lnTo>
                      <a:pt x="2680" y="812"/>
                    </a:lnTo>
                    <a:lnTo>
                      <a:pt x="2678" y="810"/>
                    </a:lnTo>
                    <a:lnTo>
                      <a:pt x="2678" y="810"/>
                    </a:lnTo>
                    <a:lnTo>
                      <a:pt x="2682" y="802"/>
                    </a:lnTo>
                    <a:lnTo>
                      <a:pt x="2688" y="794"/>
                    </a:lnTo>
                    <a:lnTo>
                      <a:pt x="2688" y="794"/>
                    </a:lnTo>
                    <a:lnTo>
                      <a:pt x="2690" y="792"/>
                    </a:lnTo>
                    <a:lnTo>
                      <a:pt x="2690" y="790"/>
                    </a:lnTo>
                    <a:lnTo>
                      <a:pt x="2688" y="788"/>
                    </a:lnTo>
                    <a:lnTo>
                      <a:pt x="2684" y="790"/>
                    </a:lnTo>
                    <a:lnTo>
                      <a:pt x="2676" y="794"/>
                    </a:lnTo>
                    <a:lnTo>
                      <a:pt x="2664" y="800"/>
                    </a:lnTo>
                    <a:lnTo>
                      <a:pt x="2664" y="800"/>
                    </a:lnTo>
                    <a:lnTo>
                      <a:pt x="2658" y="804"/>
                    </a:lnTo>
                    <a:lnTo>
                      <a:pt x="2652" y="806"/>
                    </a:lnTo>
                    <a:lnTo>
                      <a:pt x="2648" y="806"/>
                    </a:lnTo>
                    <a:lnTo>
                      <a:pt x="2646" y="812"/>
                    </a:lnTo>
                    <a:lnTo>
                      <a:pt x="2646" y="812"/>
                    </a:lnTo>
                    <a:lnTo>
                      <a:pt x="2644" y="814"/>
                    </a:lnTo>
                    <a:lnTo>
                      <a:pt x="2642" y="816"/>
                    </a:lnTo>
                    <a:lnTo>
                      <a:pt x="2636" y="814"/>
                    </a:lnTo>
                    <a:lnTo>
                      <a:pt x="2634" y="814"/>
                    </a:lnTo>
                    <a:lnTo>
                      <a:pt x="2634" y="816"/>
                    </a:lnTo>
                    <a:lnTo>
                      <a:pt x="2636" y="826"/>
                    </a:lnTo>
                    <a:lnTo>
                      <a:pt x="2636" y="826"/>
                    </a:lnTo>
                    <a:lnTo>
                      <a:pt x="2640" y="832"/>
                    </a:lnTo>
                    <a:lnTo>
                      <a:pt x="2642" y="832"/>
                    </a:lnTo>
                    <a:lnTo>
                      <a:pt x="2656" y="822"/>
                    </a:lnTo>
                    <a:lnTo>
                      <a:pt x="2656" y="822"/>
                    </a:lnTo>
                    <a:lnTo>
                      <a:pt x="2660" y="820"/>
                    </a:lnTo>
                    <a:lnTo>
                      <a:pt x="2662" y="820"/>
                    </a:lnTo>
                    <a:lnTo>
                      <a:pt x="2664" y="820"/>
                    </a:lnTo>
                    <a:lnTo>
                      <a:pt x="2666" y="822"/>
                    </a:lnTo>
                    <a:lnTo>
                      <a:pt x="2666" y="824"/>
                    </a:lnTo>
                    <a:lnTo>
                      <a:pt x="2668" y="824"/>
                    </a:lnTo>
                    <a:lnTo>
                      <a:pt x="2670" y="824"/>
                    </a:lnTo>
                    <a:lnTo>
                      <a:pt x="2670" y="824"/>
                    </a:lnTo>
                    <a:lnTo>
                      <a:pt x="2678" y="820"/>
                    </a:lnTo>
                    <a:lnTo>
                      <a:pt x="2684" y="820"/>
                    </a:lnTo>
                    <a:lnTo>
                      <a:pt x="2690" y="820"/>
                    </a:lnTo>
                    <a:lnTo>
                      <a:pt x="2690" y="820"/>
                    </a:lnTo>
                    <a:lnTo>
                      <a:pt x="2690" y="820"/>
                    </a:lnTo>
                    <a:lnTo>
                      <a:pt x="2690" y="820"/>
                    </a:lnTo>
                    <a:lnTo>
                      <a:pt x="2688" y="816"/>
                    </a:lnTo>
                    <a:lnTo>
                      <a:pt x="2688" y="810"/>
                    </a:lnTo>
                    <a:lnTo>
                      <a:pt x="2688" y="806"/>
                    </a:lnTo>
                    <a:lnTo>
                      <a:pt x="2684" y="808"/>
                    </a:lnTo>
                    <a:lnTo>
                      <a:pt x="2684" y="808"/>
                    </a:lnTo>
                    <a:close/>
                    <a:moveTo>
                      <a:pt x="2600" y="1904"/>
                    </a:moveTo>
                    <a:lnTo>
                      <a:pt x="2600" y="1904"/>
                    </a:lnTo>
                    <a:lnTo>
                      <a:pt x="2596" y="1910"/>
                    </a:lnTo>
                    <a:lnTo>
                      <a:pt x="2592" y="1916"/>
                    </a:lnTo>
                    <a:lnTo>
                      <a:pt x="2586" y="1918"/>
                    </a:lnTo>
                    <a:lnTo>
                      <a:pt x="2580" y="1918"/>
                    </a:lnTo>
                    <a:lnTo>
                      <a:pt x="2574" y="1918"/>
                    </a:lnTo>
                    <a:lnTo>
                      <a:pt x="2566" y="1914"/>
                    </a:lnTo>
                    <a:lnTo>
                      <a:pt x="2548" y="1906"/>
                    </a:lnTo>
                    <a:lnTo>
                      <a:pt x="2548" y="1906"/>
                    </a:lnTo>
                    <a:lnTo>
                      <a:pt x="2540" y="1900"/>
                    </a:lnTo>
                    <a:lnTo>
                      <a:pt x="2534" y="1892"/>
                    </a:lnTo>
                    <a:lnTo>
                      <a:pt x="2530" y="1884"/>
                    </a:lnTo>
                    <a:lnTo>
                      <a:pt x="2528" y="1876"/>
                    </a:lnTo>
                    <a:lnTo>
                      <a:pt x="2522" y="1856"/>
                    </a:lnTo>
                    <a:lnTo>
                      <a:pt x="2518" y="1848"/>
                    </a:lnTo>
                    <a:lnTo>
                      <a:pt x="2514" y="1840"/>
                    </a:lnTo>
                    <a:lnTo>
                      <a:pt x="2514" y="1840"/>
                    </a:lnTo>
                    <a:lnTo>
                      <a:pt x="2508" y="1834"/>
                    </a:lnTo>
                    <a:lnTo>
                      <a:pt x="2504" y="1832"/>
                    </a:lnTo>
                    <a:lnTo>
                      <a:pt x="2504" y="1834"/>
                    </a:lnTo>
                    <a:lnTo>
                      <a:pt x="2504" y="1838"/>
                    </a:lnTo>
                    <a:lnTo>
                      <a:pt x="2506" y="1850"/>
                    </a:lnTo>
                    <a:lnTo>
                      <a:pt x="2512" y="1868"/>
                    </a:lnTo>
                    <a:lnTo>
                      <a:pt x="2512" y="1868"/>
                    </a:lnTo>
                    <a:lnTo>
                      <a:pt x="2514" y="1874"/>
                    </a:lnTo>
                    <a:lnTo>
                      <a:pt x="2512" y="1876"/>
                    </a:lnTo>
                    <a:lnTo>
                      <a:pt x="2512" y="1876"/>
                    </a:lnTo>
                    <a:lnTo>
                      <a:pt x="2506" y="1874"/>
                    </a:lnTo>
                    <a:lnTo>
                      <a:pt x="2498" y="1868"/>
                    </a:lnTo>
                    <a:lnTo>
                      <a:pt x="2490" y="1862"/>
                    </a:lnTo>
                    <a:lnTo>
                      <a:pt x="2484" y="1854"/>
                    </a:lnTo>
                    <a:lnTo>
                      <a:pt x="2482" y="1844"/>
                    </a:lnTo>
                    <a:lnTo>
                      <a:pt x="2482" y="1836"/>
                    </a:lnTo>
                    <a:lnTo>
                      <a:pt x="2482" y="1836"/>
                    </a:lnTo>
                    <a:lnTo>
                      <a:pt x="2482" y="1830"/>
                    </a:lnTo>
                    <a:lnTo>
                      <a:pt x="2482" y="1826"/>
                    </a:lnTo>
                    <a:lnTo>
                      <a:pt x="2478" y="1818"/>
                    </a:lnTo>
                    <a:lnTo>
                      <a:pt x="2474" y="1810"/>
                    </a:lnTo>
                    <a:lnTo>
                      <a:pt x="2472" y="1806"/>
                    </a:lnTo>
                    <a:lnTo>
                      <a:pt x="2472" y="1802"/>
                    </a:lnTo>
                    <a:lnTo>
                      <a:pt x="2472" y="1802"/>
                    </a:lnTo>
                    <a:lnTo>
                      <a:pt x="2472" y="1792"/>
                    </a:lnTo>
                    <a:lnTo>
                      <a:pt x="2470" y="1786"/>
                    </a:lnTo>
                    <a:lnTo>
                      <a:pt x="2466" y="1780"/>
                    </a:lnTo>
                    <a:lnTo>
                      <a:pt x="2462" y="1770"/>
                    </a:lnTo>
                    <a:lnTo>
                      <a:pt x="2462" y="1770"/>
                    </a:lnTo>
                    <a:lnTo>
                      <a:pt x="2454" y="1762"/>
                    </a:lnTo>
                    <a:lnTo>
                      <a:pt x="2448" y="1758"/>
                    </a:lnTo>
                    <a:lnTo>
                      <a:pt x="2440" y="1754"/>
                    </a:lnTo>
                    <a:lnTo>
                      <a:pt x="2428" y="1752"/>
                    </a:lnTo>
                    <a:lnTo>
                      <a:pt x="2428" y="1752"/>
                    </a:lnTo>
                    <a:lnTo>
                      <a:pt x="2424" y="1750"/>
                    </a:lnTo>
                    <a:lnTo>
                      <a:pt x="2422" y="1748"/>
                    </a:lnTo>
                    <a:lnTo>
                      <a:pt x="2418" y="1738"/>
                    </a:lnTo>
                    <a:lnTo>
                      <a:pt x="2412" y="1730"/>
                    </a:lnTo>
                    <a:lnTo>
                      <a:pt x="2408" y="1726"/>
                    </a:lnTo>
                    <a:lnTo>
                      <a:pt x="2402" y="1726"/>
                    </a:lnTo>
                    <a:lnTo>
                      <a:pt x="2402" y="1726"/>
                    </a:lnTo>
                    <a:lnTo>
                      <a:pt x="2394" y="1726"/>
                    </a:lnTo>
                    <a:lnTo>
                      <a:pt x="2394" y="1728"/>
                    </a:lnTo>
                    <a:lnTo>
                      <a:pt x="2394" y="1730"/>
                    </a:lnTo>
                    <a:lnTo>
                      <a:pt x="2400" y="1736"/>
                    </a:lnTo>
                    <a:lnTo>
                      <a:pt x="2410" y="1748"/>
                    </a:lnTo>
                    <a:lnTo>
                      <a:pt x="2410" y="1748"/>
                    </a:lnTo>
                    <a:lnTo>
                      <a:pt x="2414" y="1754"/>
                    </a:lnTo>
                    <a:lnTo>
                      <a:pt x="2416" y="1758"/>
                    </a:lnTo>
                    <a:lnTo>
                      <a:pt x="2416" y="1762"/>
                    </a:lnTo>
                    <a:lnTo>
                      <a:pt x="2416" y="1764"/>
                    </a:lnTo>
                    <a:lnTo>
                      <a:pt x="2414" y="1768"/>
                    </a:lnTo>
                    <a:lnTo>
                      <a:pt x="2420" y="1776"/>
                    </a:lnTo>
                    <a:lnTo>
                      <a:pt x="2420" y="1776"/>
                    </a:lnTo>
                    <a:lnTo>
                      <a:pt x="2426" y="1784"/>
                    </a:lnTo>
                    <a:lnTo>
                      <a:pt x="2430" y="1794"/>
                    </a:lnTo>
                    <a:lnTo>
                      <a:pt x="2440" y="1814"/>
                    </a:lnTo>
                    <a:lnTo>
                      <a:pt x="2444" y="1822"/>
                    </a:lnTo>
                    <a:lnTo>
                      <a:pt x="2448" y="1828"/>
                    </a:lnTo>
                    <a:lnTo>
                      <a:pt x="2452" y="1830"/>
                    </a:lnTo>
                    <a:lnTo>
                      <a:pt x="2454" y="1826"/>
                    </a:lnTo>
                    <a:lnTo>
                      <a:pt x="2454" y="1826"/>
                    </a:lnTo>
                    <a:lnTo>
                      <a:pt x="2456" y="1822"/>
                    </a:lnTo>
                    <a:lnTo>
                      <a:pt x="2460" y="1822"/>
                    </a:lnTo>
                    <a:lnTo>
                      <a:pt x="2464" y="1830"/>
                    </a:lnTo>
                    <a:lnTo>
                      <a:pt x="2466" y="1840"/>
                    </a:lnTo>
                    <a:lnTo>
                      <a:pt x="2466" y="1842"/>
                    </a:lnTo>
                    <a:lnTo>
                      <a:pt x="2464" y="1842"/>
                    </a:lnTo>
                    <a:lnTo>
                      <a:pt x="2464" y="1842"/>
                    </a:lnTo>
                    <a:lnTo>
                      <a:pt x="2458" y="1838"/>
                    </a:lnTo>
                    <a:lnTo>
                      <a:pt x="2458" y="1842"/>
                    </a:lnTo>
                    <a:lnTo>
                      <a:pt x="2474" y="1878"/>
                    </a:lnTo>
                    <a:lnTo>
                      <a:pt x="2474" y="1878"/>
                    </a:lnTo>
                    <a:lnTo>
                      <a:pt x="2480" y="1892"/>
                    </a:lnTo>
                    <a:lnTo>
                      <a:pt x="2482" y="1902"/>
                    </a:lnTo>
                    <a:lnTo>
                      <a:pt x="2482" y="1910"/>
                    </a:lnTo>
                    <a:lnTo>
                      <a:pt x="2482" y="1916"/>
                    </a:lnTo>
                    <a:lnTo>
                      <a:pt x="2478" y="1928"/>
                    </a:lnTo>
                    <a:lnTo>
                      <a:pt x="2476" y="1936"/>
                    </a:lnTo>
                    <a:lnTo>
                      <a:pt x="2476" y="1946"/>
                    </a:lnTo>
                    <a:lnTo>
                      <a:pt x="2476" y="1946"/>
                    </a:lnTo>
                    <a:lnTo>
                      <a:pt x="2476" y="1954"/>
                    </a:lnTo>
                    <a:lnTo>
                      <a:pt x="2472" y="1962"/>
                    </a:lnTo>
                    <a:lnTo>
                      <a:pt x="2466" y="1968"/>
                    </a:lnTo>
                    <a:lnTo>
                      <a:pt x="2460" y="1972"/>
                    </a:lnTo>
                    <a:lnTo>
                      <a:pt x="2446" y="1980"/>
                    </a:lnTo>
                    <a:lnTo>
                      <a:pt x="2442" y="1984"/>
                    </a:lnTo>
                    <a:lnTo>
                      <a:pt x="2440" y="1988"/>
                    </a:lnTo>
                    <a:lnTo>
                      <a:pt x="2440" y="1988"/>
                    </a:lnTo>
                    <a:lnTo>
                      <a:pt x="2440" y="1994"/>
                    </a:lnTo>
                    <a:lnTo>
                      <a:pt x="2444" y="2000"/>
                    </a:lnTo>
                    <a:lnTo>
                      <a:pt x="2456" y="2010"/>
                    </a:lnTo>
                    <a:lnTo>
                      <a:pt x="2474" y="2020"/>
                    </a:lnTo>
                    <a:lnTo>
                      <a:pt x="2488" y="2028"/>
                    </a:lnTo>
                    <a:lnTo>
                      <a:pt x="2488" y="2028"/>
                    </a:lnTo>
                    <a:lnTo>
                      <a:pt x="2494" y="2032"/>
                    </a:lnTo>
                    <a:lnTo>
                      <a:pt x="2496" y="2040"/>
                    </a:lnTo>
                    <a:lnTo>
                      <a:pt x="2498" y="2048"/>
                    </a:lnTo>
                    <a:lnTo>
                      <a:pt x="2496" y="2058"/>
                    </a:lnTo>
                    <a:lnTo>
                      <a:pt x="2492" y="2076"/>
                    </a:lnTo>
                    <a:lnTo>
                      <a:pt x="2488" y="2082"/>
                    </a:lnTo>
                    <a:lnTo>
                      <a:pt x="2484" y="2088"/>
                    </a:lnTo>
                    <a:lnTo>
                      <a:pt x="2484" y="2088"/>
                    </a:lnTo>
                    <a:lnTo>
                      <a:pt x="2478" y="2092"/>
                    </a:lnTo>
                    <a:lnTo>
                      <a:pt x="2474" y="2098"/>
                    </a:lnTo>
                    <a:lnTo>
                      <a:pt x="2474" y="2100"/>
                    </a:lnTo>
                    <a:lnTo>
                      <a:pt x="2476" y="2100"/>
                    </a:lnTo>
                    <a:lnTo>
                      <a:pt x="2488" y="2106"/>
                    </a:lnTo>
                    <a:lnTo>
                      <a:pt x="2488" y="2106"/>
                    </a:lnTo>
                    <a:lnTo>
                      <a:pt x="2492" y="2108"/>
                    </a:lnTo>
                    <a:lnTo>
                      <a:pt x="2494" y="2110"/>
                    </a:lnTo>
                    <a:lnTo>
                      <a:pt x="2498" y="2116"/>
                    </a:lnTo>
                    <a:lnTo>
                      <a:pt x="2498" y="2120"/>
                    </a:lnTo>
                    <a:lnTo>
                      <a:pt x="2502" y="2120"/>
                    </a:lnTo>
                    <a:lnTo>
                      <a:pt x="2506" y="2118"/>
                    </a:lnTo>
                    <a:lnTo>
                      <a:pt x="2512" y="2114"/>
                    </a:lnTo>
                    <a:lnTo>
                      <a:pt x="2512" y="2114"/>
                    </a:lnTo>
                    <a:lnTo>
                      <a:pt x="2520" y="2108"/>
                    </a:lnTo>
                    <a:lnTo>
                      <a:pt x="2530" y="2094"/>
                    </a:lnTo>
                    <a:lnTo>
                      <a:pt x="2552" y="2062"/>
                    </a:lnTo>
                    <a:lnTo>
                      <a:pt x="2560" y="2044"/>
                    </a:lnTo>
                    <a:lnTo>
                      <a:pt x="2568" y="2028"/>
                    </a:lnTo>
                    <a:lnTo>
                      <a:pt x="2570" y="2016"/>
                    </a:lnTo>
                    <a:lnTo>
                      <a:pt x="2570" y="2010"/>
                    </a:lnTo>
                    <a:lnTo>
                      <a:pt x="2568" y="2006"/>
                    </a:lnTo>
                    <a:lnTo>
                      <a:pt x="2568" y="2006"/>
                    </a:lnTo>
                    <a:lnTo>
                      <a:pt x="2566" y="2002"/>
                    </a:lnTo>
                    <a:lnTo>
                      <a:pt x="2568" y="1998"/>
                    </a:lnTo>
                    <a:lnTo>
                      <a:pt x="2570" y="1992"/>
                    </a:lnTo>
                    <a:lnTo>
                      <a:pt x="2574" y="1986"/>
                    </a:lnTo>
                    <a:lnTo>
                      <a:pt x="2580" y="1982"/>
                    </a:lnTo>
                    <a:lnTo>
                      <a:pt x="2586" y="1980"/>
                    </a:lnTo>
                    <a:lnTo>
                      <a:pt x="2594" y="1982"/>
                    </a:lnTo>
                    <a:lnTo>
                      <a:pt x="2602" y="1986"/>
                    </a:lnTo>
                    <a:lnTo>
                      <a:pt x="2602" y="1986"/>
                    </a:lnTo>
                    <a:lnTo>
                      <a:pt x="2608" y="1990"/>
                    </a:lnTo>
                    <a:lnTo>
                      <a:pt x="2610" y="1990"/>
                    </a:lnTo>
                    <a:lnTo>
                      <a:pt x="2612" y="1988"/>
                    </a:lnTo>
                    <a:lnTo>
                      <a:pt x="2612" y="1984"/>
                    </a:lnTo>
                    <a:lnTo>
                      <a:pt x="2610" y="1978"/>
                    </a:lnTo>
                    <a:lnTo>
                      <a:pt x="2608" y="1970"/>
                    </a:lnTo>
                    <a:lnTo>
                      <a:pt x="2608" y="1964"/>
                    </a:lnTo>
                    <a:lnTo>
                      <a:pt x="2610" y="1958"/>
                    </a:lnTo>
                    <a:lnTo>
                      <a:pt x="2612" y="1956"/>
                    </a:lnTo>
                    <a:lnTo>
                      <a:pt x="2614" y="1954"/>
                    </a:lnTo>
                    <a:lnTo>
                      <a:pt x="2614" y="1954"/>
                    </a:lnTo>
                    <a:lnTo>
                      <a:pt x="2620" y="1952"/>
                    </a:lnTo>
                    <a:lnTo>
                      <a:pt x="2624" y="1948"/>
                    </a:lnTo>
                    <a:lnTo>
                      <a:pt x="2626" y="1942"/>
                    </a:lnTo>
                    <a:lnTo>
                      <a:pt x="2626" y="1934"/>
                    </a:lnTo>
                    <a:lnTo>
                      <a:pt x="2628" y="1920"/>
                    </a:lnTo>
                    <a:lnTo>
                      <a:pt x="2628" y="1912"/>
                    </a:lnTo>
                    <a:lnTo>
                      <a:pt x="2630" y="1908"/>
                    </a:lnTo>
                    <a:lnTo>
                      <a:pt x="2630" y="1908"/>
                    </a:lnTo>
                    <a:lnTo>
                      <a:pt x="2632" y="1904"/>
                    </a:lnTo>
                    <a:lnTo>
                      <a:pt x="2630" y="1900"/>
                    </a:lnTo>
                    <a:lnTo>
                      <a:pt x="2626" y="1896"/>
                    </a:lnTo>
                    <a:lnTo>
                      <a:pt x="2620" y="1894"/>
                    </a:lnTo>
                    <a:lnTo>
                      <a:pt x="2614" y="1894"/>
                    </a:lnTo>
                    <a:lnTo>
                      <a:pt x="2608" y="1896"/>
                    </a:lnTo>
                    <a:lnTo>
                      <a:pt x="2604" y="1900"/>
                    </a:lnTo>
                    <a:lnTo>
                      <a:pt x="2600" y="1904"/>
                    </a:lnTo>
                    <a:lnTo>
                      <a:pt x="2600" y="1904"/>
                    </a:lnTo>
                    <a:close/>
                    <a:moveTo>
                      <a:pt x="2636" y="868"/>
                    </a:moveTo>
                    <a:lnTo>
                      <a:pt x="2636" y="868"/>
                    </a:lnTo>
                    <a:lnTo>
                      <a:pt x="2636" y="864"/>
                    </a:lnTo>
                    <a:lnTo>
                      <a:pt x="2634" y="860"/>
                    </a:lnTo>
                    <a:lnTo>
                      <a:pt x="2630" y="856"/>
                    </a:lnTo>
                    <a:lnTo>
                      <a:pt x="2626" y="854"/>
                    </a:lnTo>
                    <a:lnTo>
                      <a:pt x="2616" y="850"/>
                    </a:lnTo>
                    <a:lnTo>
                      <a:pt x="2606" y="852"/>
                    </a:lnTo>
                    <a:lnTo>
                      <a:pt x="2606" y="852"/>
                    </a:lnTo>
                    <a:lnTo>
                      <a:pt x="2596" y="858"/>
                    </a:lnTo>
                    <a:lnTo>
                      <a:pt x="2588" y="864"/>
                    </a:lnTo>
                    <a:lnTo>
                      <a:pt x="2582" y="870"/>
                    </a:lnTo>
                    <a:lnTo>
                      <a:pt x="2580" y="876"/>
                    </a:lnTo>
                    <a:lnTo>
                      <a:pt x="2580" y="880"/>
                    </a:lnTo>
                    <a:lnTo>
                      <a:pt x="2580" y="882"/>
                    </a:lnTo>
                    <a:lnTo>
                      <a:pt x="2582" y="886"/>
                    </a:lnTo>
                    <a:lnTo>
                      <a:pt x="2586" y="888"/>
                    </a:lnTo>
                    <a:lnTo>
                      <a:pt x="2600" y="892"/>
                    </a:lnTo>
                    <a:lnTo>
                      <a:pt x="2600" y="892"/>
                    </a:lnTo>
                    <a:lnTo>
                      <a:pt x="2610" y="896"/>
                    </a:lnTo>
                    <a:lnTo>
                      <a:pt x="2616" y="894"/>
                    </a:lnTo>
                    <a:lnTo>
                      <a:pt x="2620" y="890"/>
                    </a:lnTo>
                    <a:lnTo>
                      <a:pt x="2620" y="890"/>
                    </a:lnTo>
                    <a:lnTo>
                      <a:pt x="2624" y="888"/>
                    </a:lnTo>
                    <a:lnTo>
                      <a:pt x="2626" y="886"/>
                    </a:lnTo>
                    <a:lnTo>
                      <a:pt x="2630" y="888"/>
                    </a:lnTo>
                    <a:lnTo>
                      <a:pt x="2636" y="890"/>
                    </a:lnTo>
                    <a:lnTo>
                      <a:pt x="2638" y="890"/>
                    </a:lnTo>
                    <a:lnTo>
                      <a:pt x="2640" y="888"/>
                    </a:lnTo>
                    <a:lnTo>
                      <a:pt x="2640" y="888"/>
                    </a:lnTo>
                    <a:lnTo>
                      <a:pt x="2642" y="886"/>
                    </a:lnTo>
                    <a:lnTo>
                      <a:pt x="2642" y="886"/>
                    </a:lnTo>
                    <a:lnTo>
                      <a:pt x="2640" y="882"/>
                    </a:lnTo>
                    <a:lnTo>
                      <a:pt x="2636" y="876"/>
                    </a:lnTo>
                    <a:lnTo>
                      <a:pt x="2636" y="872"/>
                    </a:lnTo>
                    <a:lnTo>
                      <a:pt x="2636" y="868"/>
                    </a:lnTo>
                    <a:lnTo>
                      <a:pt x="2636" y="868"/>
                    </a:lnTo>
                    <a:close/>
                    <a:moveTo>
                      <a:pt x="2260" y="930"/>
                    </a:moveTo>
                    <a:lnTo>
                      <a:pt x="2260" y="930"/>
                    </a:lnTo>
                    <a:lnTo>
                      <a:pt x="2260" y="928"/>
                    </a:lnTo>
                    <a:lnTo>
                      <a:pt x="2262" y="924"/>
                    </a:lnTo>
                    <a:lnTo>
                      <a:pt x="2258" y="918"/>
                    </a:lnTo>
                    <a:lnTo>
                      <a:pt x="2254" y="912"/>
                    </a:lnTo>
                    <a:lnTo>
                      <a:pt x="2252" y="912"/>
                    </a:lnTo>
                    <a:lnTo>
                      <a:pt x="2248" y="914"/>
                    </a:lnTo>
                    <a:lnTo>
                      <a:pt x="2248" y="914"/>
                    </a:lnTo>
                    <a:lnTo>
                      <a:pt x="2248" y="918"/>
                    </a:lnTo>
                    <a:lnTo>
                      <a:pt x="2248" y="920"/>
                    </a:lnTo>
                    <a:lnTo>
                      <a:pt x="2250" y="926"/>
                    </a:lnTo>
                    <a:lnTo>
                      <a:pt x="2256" y="930"/>
                    </a:lnTo>
                    <a:lnTo>
                      <a:pt x="2258" y="930"/>
                    </a:lnTo>
                    <a:lnTo>
                      <a:pt x="2260" y="930"/>
                    </a:lnTo>
                    <a:lnTo>
                      <a:pt x="2260" y="930"/>
                    </a:lnTo>
                    <a:close/>
                    <a:moveTo>
                      <a:pt x="2258" y="948"/>
                    </a:moveTo>
                    <a:lnTo>
                      <a:pt x="2258" y="948"/>
                    </a:lnTo>
                    <a:lnTo>
                      <a:pt x="2256" y="950"/>
                    </a:lnTo>
                    <a:lnTo>
                      <a:pt x="2256" y="954"/>
                    </a:lnTo>
                    <a:lnTo>
                      <a:pt x="2258" y="960"/>
                    </a:lnTo>
                    <a:lnTo>
                      <a:pt x="2262" y="964"/>
                    </a:lnTo>
                    <a:lnTo>
                      <a:pt x="2266" y="966"/>
                    </a:lnTo>
                    <a:lnTo>
                      <a:pt x="2266" y="966"/>
                    </a:lnTo>
                    <a:lnTo>
                      <a:pt x="2268" y="964"/>
                    </a:lnTo>
                    <a:lnTo>
                      <a:pt x="2268" y="962"/>
                    </a:lnTo>
                    <a:lnTo>
                      <a:pt x="2266" y="954"/>
                    </a:lnTo>
                    <a:lnTo>
                      <a:pt x="2262" y="948"/>
                    </a:lnTo>
                    <a:lnTo>
                      <a:pt x="2260" y="948"/>
                    </a:lnTo>
                    <a:lnTo>
                      <a:pt x="2258" y="948"/>
                    </a:lnTo>
                    <a:lnTo>
                      <a:pt x="2258" y="948"/>
                    </a:lnTo>
                    <a:close/>
                    <a:moveTo>
                      <a:pt x="1490" y="460"/>
                    </a:moveTo>
                    <a:lnTo>
                      <a:pt x="1490" y="460"/>
                    </a:lnTo>
                    <a:lnTo>
                      <a:pt x="1492" y="462"/>
                    </a:lnTo>
                    <a:lnTo>
                      <a:pt x="1494" y="464"/>
                    </a:lnTo>
                    <a:lnTo>
                      <a:pt x="1496" y="462"/>
                    </a:lnTo>
                    <a:lnTo>
                      <a:pt x="1496" y="460"/>
                    </a:lnTo>
                    <a:lnTo>
                      <a:pt x="1496" y="454"/>
                    </a:lnTo>
                    <a:lnTo>
                      <a:pt x="1494" y="448"/>
                    </a:lnTo>
                    <a:lnTo>
                      <a:pt x="1494" y="448"/>
                    </a:lnTo>
                    <a:lnTo>
                      <a:pt x="1490" y="446"/>
                    </a:lnTo>
                    <a:lnTo>
                      <a:pt x="1486" y="448"/>
                    </a:lnTo>
                    <a:lnTo>
                      <a:pt x="1486" y="452"/>
                    </a:lnTo>
                    <a:lnTo>
                      <a:pt x="1490" y="460"/>
                    </a:lnTo>
                    <a:lnTo>
                      <a:pt x="1490" y="460"/>
                    </a:lnTo>
                    <a:close/>
                    <a:moveTo>
                      <a:pt x="1532" y="492"/>
                    </a:moveTo>
                    <a:lnTo>
                      <a:pt x="1532" y="492"/>
                    </a:lnTo>
                    <a:lnTo>
                      <a:pt x="1534" y="486"/>
                    </a:lnTo>
                    <a:lnTo>
                      <a:pt x="1534" y="482"/>
                    </a:lnTo>
                    <a:lnTo>
                      <a:pt x="1532" y="482"/>
                    </a:lnTo>
                    <a:lnTo>
                      <a:pt x="1530" y="482"/>
                    </a:lnTo>
                    <a:lnTo>
                      <a:pt x="1530" y="482"/>
                    </a:lnTo>
                    <a:lnTo>
                      <a:pt x="1528" y="484"/>
                    </a:lnTo>
                    <a:lnTo>
                      <a:pt x="1526" y="484"/>
                    </a:lnTo>
                    <a:lnTo>
                      <a:pt x="1522" y="480"/>
                    </a:lnTo>
                    <a:lnTo>
                      <a:pt x="1518" y="478"/>
                    </a:lnTo>
                    <a:lnTo>
                      <a:pt x="1516" y="478"/>
                    </a:lnTo>
                    <a:lnTo>
                      <a:pt x="1516" y="478"/>
                    </a:lnTo>
                    <a:lnTo>
                      <a:pt x="1516" y="478"/>
                    </a:lnTo>
                    <a:lnTo>
                      <a:pt x="1518" y="486"/>
                    </a:lnTo>
                    <a:lnTo>
                      <a:pt x="1522" y="492"/>
                    </a:lnTo>
                    <a:lnTo>
                      <a:pt x="1528" y="496"/>
                    </a:lnTo>
                    <a:lnTo>
                      <a:pt x="1532" y="496"/>
                    </a:lnTo>
                    <a:lnTo>
                      <a:pt x="1532" y="492"/>
                    </a:lnTo>
                    <a:lnTo>
                      <a:pt x="1532" y="492"/>
                    </a:lnTo>
                    <a:close/>
                    <a:moveTo>
                      <a:pt x="1520" y="466"/>
                    </a:moveTo>
                    <a:lnTo>
                      <a:pt x="1520" y="466"/>
                    </a:lnTo>
                    <a:lnTo>
                      <a:pt x="1516" y="458"/>
                    </a:lnTo>
                    <a:lnTo>
                      <a:pt x="1512" y="454"/>
                    </a:lnTo>
                    <a:lnTo>
                      <a:pt x="1508" y="454"/>
                    </a:lnTo>
                    <a:lnTo>
                      <a:pt x="1506" y="454"/>
                    </a:lnTo>
                    <a:lnTo>
                      <a:pt x="1504" y="456"/>
                    </a:lnTo>
                    <a:lnTo>
                      <a:pt x="1502" y="460"/>
                    </a:lnTo>
                    <a:lnTo>
                      <a:pt x="1502" y="460"/>
                    </a:lnTo>
                    <a:lnTo>
                      <a:pt x="1500" y="468"/>
                    </a:lnTo>
                    <a:lnTo>
                      <a:pt x="1500" y="470"/>
                    </a:lnTo>
                    <a:lnTo>
                      <a:pt x="1504" y="470"/>
                    </a:lnTo>
                    <a:lnTo>
                      <a:pt x="1504" y="470"/>
                    </a:lnTo>
                    <a:lnTo>
                      <a:pt x="1514" y="472"/>
                    </a:lnTo>
                    <a:lnTo>
                      <a:pt x="1518" y="470"/>
                    </a:lnTo>
                    <a:lnTo>
                      <a:pt x="1520" y="466"/>
                    </a:lnTo>
                    <a:lnTo>
                      <a:pt x="1520" y="466"/>
                    </a:lnTo>
                    <a:close/>
                    <a:moveTo>
                      <a:pt x="1400" y="268"/>
                    </a:moveTo>
                    <a:lnTo>
                      <a:pt x="1400" y="268"/>
                    </a:lnTo>
                    <a:lnTo>
                      <a:pt x="1394" y="264"/>
                    </a:lnTo>
                    <a:lnTo>
                      <a:pt x="1392" y="264"/>
                    </a:lnTo>
                    <a:lnTo>
                      <a:pt x="1390" y="266"/>
                    </a:lnTo>
                    <a:lnTo>
                      <a:pt x="1392" y="272"/>
                    </a:lnTo>
                    <a:lnTo>
                      <a:pt x="1396" y="280"/>
                    </a:lnTo>
                    <a:lnTo>
                      <a:pt x="1396" y="280"/>
                    </a:lnTo>
                    <a:lnTo>
                      <a:pt x="1398" y="282"/>
                    </a:lnTo>
                    <a:lnTo>
                      <a:pt x="1400" y="284"/>
                    </a:lnTo>
                    <a:lnTo>
                      <a:pt x="1402" y="282"/>
                    </a:lnTo>
                    <a:lnTo>
                      <a:pt x="1404" y="280"/>
                    </a:lnTo>
                    <a:lnTo>
                      <a:pt x="1404" y="274"/>
                    </a:lnTo>
                    <a:lnTo>
                      <a:pt x="1402" y="272"/>
                    </a:lnTo>
                    <a:lnTo>
                      <a:pt x="1400" y="268"/>
                    </a:lnTo>
                    <a:lnTo>
                      <a:pt x="1400" y="268"/>
                    </a:lnTo>
                    <a:close/>
                    <a:moveTo>
                      <a:pt x="1360" y="254"/>
                    </a:moveTo>
                    <a:lnTo>
                      <a:pt x="1360" y="254"/>
                    </a:lnTo>
                    <a:lnTo>
                      <a:pt x="1360" y="256"/>
                    </a:lnTo>
                    <a:lnTo>
                      <a:pt x="1360" y="260"/>
                    </a:lnTo>
                    <a:lnTo>
                      <a:pt x="1362" y="264"/>
                    </a:lnTo>
                    <a:lnTo>
                      <a:pt x="1368" y="266"/>
                    </a:lnTo>
                    <a:lnTo>
                      <a:pt x="1372" y="264"/>
                    </a:lnTo>
                    <a:lnTo>
                      <a:pt x="1372" y="264"/>
                    </a:lnTo>
                    <a:lnTo>
                      <a:pt x="1372" y="262"/>
                    </a:lnTo>
                    <a:lnTo>
                      <a:pt x="1372" y="260"/>
                    </a:lnTo>
                    <a:lnTo>
                      <a:pt x="1370" y="254"/>
                    </a:lnTo>
                    <a:lnTo>
                      <a:pt x="1366" y="252"/>
                    </a:lnTo>
                    <a:lnTo>
                      <a:pt x="1364" y="252"/>
                    </a:lnTo>
                    <a:lnTo>
                      <a:pt x="1360" y="254"/>
                    </a:lnTo>
                    <a:lnTo>
                      <a:pt x="1360" y="254"/>
                    </a:lnTo>
                    <a:close/>
                    <a:moveTo>
                      <a:pt x="1320" y="218"/>
                    </a:moveTo>
                    <a:lnTo>
                      <a:pt x="1320" y="218"/>
                    </a:lnTo>
                    <a:lnTo>
                      <a:pt x="1318" y="216"/>
                    </a:lnTo>
                    <a:lnTo>
                      <a:pt x="1316" y="218"/>
                    </a:lnTo>
                    <a:lnTo>
                      <a:pt x="1314" y="220"/>
                    </a:lnTo>
                    <a:lnTo>
                      <a:pt x="1314" y="226"/>
                    </a:lnTo>
                    <a:lnTo>
                      <a:pt x="1316" y="232"/>
                    </a:lnTo>
                    <a:lnTo>
                      <a:pt x="1316" y="232"/>
                    </a:lnTo>
                    <a:lnTo>
                      <a:pt x="1318" y="232"/>
                    </a:lnTo>
                    <a:lnTo>
                      <a:pt x="1320" y="232"/>
                    </a:lnTo>
                    <a:lnTo>
                      <a:pt x="1324" y="228"/>
                    </a:lnTo>
                    <a:lnTo>
                      <a:pt x="1324" y="224"/>
                    </a:lnTo>
                    <a:lnTo>
                      <a:pt x="1324" y="220"/>
                    </a:lnTo>
                    <a:lnTo>
                      <a:pt x="1320" y="218"/>
                    </a:lnTo>
                    <a:lnTo>
                      <a:pt x="1320" y="218"/>
                    </a:lnTo>
                    <a:close/>
                    <a:moveTo>
                      <a:pt x="1360" y="106"/>
                    </a:moveTo>
                    <a:lnTo>
                      <a:pt x="1360" y="106"/>
                    </a:lnTo>
                    <a:lnTo>
                      <a:pt x="1370" y="106"/>
                    </a:lnTo>
                    <a:lnTo>
                      <a:pt x="1376" y="102"/>
                    </a:lnTo>
                    <a:lnTo>
                      <a:pt x="1376" y="100"/>
                    </a:lnTo>
                    <a:lnTo>
                      <a:pt x="1376" y="98"/>
                    </a:lnTo>
                    <a:lnTo>
                      <a:pt x="1374" y="98"/>
                    </a:lnTo>
                    <a:lnTo>
                      <a:pt x="1370" y="96"/>
                    </a:lnTo>
                    <a:lnTo>
                      <a:pt x="1370" y="96"/>
                    </a:lnTo>
                    <a:lnTo>
                      <a:pt x="1362" y="94"/>
                    </a:lnTo>
                    <a:lnTo>
                      <a:pt x="1352" y="94"/>
                    </a:lnTo>
                    <a:lnTo>
                      <a:pt x="1344" y="96"/>
                    </a:lnTo>
                    <a:lnTo>
                      <a:pt x="1342" y="100"/>
                    </a:lnTo>
                    <a:lnTo>
                      <a:pt x="1340" y="102"/>
                    </a:lnTo>
                    <a:lnTo>
                      <a:pt x="1340" y="102"/>
                    </a:lnTo>
                    <a:lnTo>
                      <a:pt x="1340" y="108"/>
                    </a:lnTo>
                    <a:lnTo>
                      <a:pt x="1344" y="108"/>
                    </a:lnTo>
                    <a:lnTo>
                      <a:pt x="1352" y="108"/>
                    </a:lnTo>
                    <a:lnTo>
                      <a:pt x="1360" y="106"/>
                    </a:lnTo>
                    <a:lnTo>
                      <a:pt x="1360" y="106"/>
                    </a:lnTo>
                    <a:close/>
                    <a:moveTo>
                      <a:pt x="918" y="88"/>
                    </a:moveTo>
                    <a:lnTo>
                      <a:pt x="918" y="88"/>
                    </a:lnTo>
                    <a:lnTo>
                      <a:pt x="922" y="90"/>
                    </a:lnTo>
                    <a:lnTo>
                      <a:pt x="926" y="92"/>
                    </a:lnTo>
                    <a:lnTo>
                      <a:pt x="948" y="88"/>
                    </a:lnTo>
                    <a:lnTo>
                      <a:pt x="948" y="88"/>
                    </a:lnTo>
                    <a:lnTo>
                      <a:pt x="958" y="84"/>
                    </a:lnTo>
                    <a:lnTo>
                      <a:pt x="958" y="84"/>
                    </a:lnTo>
                    <a:lnTo>
                      <a:pt x="954" y="82"/>
                    </a:lnTo>
                    <a:lnTo>
                      <a:pt x="920" y="78"/>
                    </a:lnTo>
                    <a:lnTo>
                      <a:pt x="920" y="78"/>
                    </a:lnTo>
                    <a:lnTo>
                      <a:pt x="906" y="76"/>
                    </a:lnTo>
                    <a:lnTo>
                      <a:pt x="902" y="78"/>
                    </a:lnTo>
                    <a:lnTo>
                      <a:pt x="908" y="80"/>
                    </a:lnTo>
                    <a:lnTo>
                      <a:pt x="918" y="88"/>
                    </a:lnTo>
                    <a:lnTo>
                      <a:pt x="918" y="88"/>
                    </a:lnTo>
                    <a:close/>
                    <a:moveTo>
                      <a:pt x="910" y="44"/>
                    </a:moveTo>
                    <a:lnTo>
                      <a:pt x="910" y="44"/>
                    </a:lnTo>
                    <a:lnTo>
                      <a:pt x="912" y="46"/>
                    </a:lnTo>
                    <a:lnTo>
                      <a:pt x="914" y="48"/>
                    </a:lnTo>
                    <a:lnTo>
                      <a:pt x="914" y="54"/>
                    </a:lnTo>
                    <a:lnTo>
                      <a:pt x="916" y="56"/>
                    </a:lnTo>
                    <a:lnTo>
                      <a:pt x="918" y="56"/>
                    </a:lnTo>
                    <a:lnTo>
                      <a:pt x="922" y="58"/>
                    </a:lnTo>
                    <a:lnTo>
                      <a:pt x="930" y="56"/>
                    </a:lnTo>
                    <a:lnTo>
                      <a:pt x="930" y="56"/>
                    </a:lnTo>
                    <a:lnTo>
                      <a:pt x="936" y="54"/>
                    </a:lnTo>
                    <a:lnTo>
                      <a:pt x="938" y="52"/>
                    </a:lnTo>
                    <a:lnTo>
                      <a:pt x="936" y="50"/>
                    </a:lnTo>
                    <a:lnTo>
                      <a:pt x="928" y="46"/>
                    </a:lnTo>
                    <a:lnTo>
                      <a:pt x="928" y="46"/>
                    </a:lnTo>
                    <a:lnTo>
                      <a:pt x="924" y="44"/>
                    </a:lnTo>
                    <a:lnTo>
                      <a:pt x="920" y="38"/>
                    </a:lnTo>
                    <a:lnTo>
                      <a:pt x="916" y="34"/>
                    </a:lnTo>
                    <a:lnTo>
                      <a:pt x="906" y="30"/>
                    </a:lnTo>
                    <a:lnTo>
                      <a:pt x="906" y="30"/>
                    </a:lnTo>
                    <a:lnTo>
                      <a:pt x="896" y="30"/>
                    </a:lnTo>
                    <a:lnTo>
                      <a:pt x="894" y="30"/>
                    </a:lnTo>
                    <a:lnTo>
                      <a:pt x="896" y="32"/>
                    </a:lnTo>
                    <a:lnTo>
                      <a:pt x="902" y="38"/>
                    </a:lnTo>
                    <a:lnTo>
                      <a:pt x="910" y="44"/>
                    </a:lnTo>
                    <a:lnTo>
                      <a:pt x="910" y="44"/>
                    </a:lnTo>
                    <a:close/>
                    <a:moveTo>
                      <a:pt x="868" y="284"/>
                    </a:moveTo>
                    <a:lnTo>
                      <a:pt x="868" y="284"/>
                    </a:lnTo>
                    <a:lnTo>
                      <a:pt x="866" y="272"/>
                    </a:lnTo>
                    <a:lnTo>
                      <a:pt x="862" y="266"/>
                    </a:lnTo>
                    <a:lnTo>
                      <a:pt x="860" y="264"/>
                    </a:lnTo>
                    <a:lnTo>
                      <a:pt x="858" y="264"/>
                    </a:lnTo>
                    <a:lnTo>
                      <a:pt x="856" y="270"/>
                    </a:lnTo>
                    <a:lnTo>
                      <a:pt x="856" y="270"/>
                    </a:lnTo>
                    <a:lnTo>
                      <a:pt x="852" y="276"/>
                    </a:lnTo>
                    <a:lnTo>
                      <a:pt x="850" y="276"/>
                    </a:lnTo>
                    <a:lnTo>
                      <a:pt x="848" y="276"/>
                    </a:lnTo>
                    <a:lnTo>
                      <a:pt x="846" y="278"/>
                    </a:lnTo>
                    <a:lnTo>
                      <a:pt x="846" y="278"/>
                    </a:lnTo>
                    <a:lnTo>
                      <a:pt x="848" y="280"/>
                    </a:lnTo>
                    <a:lnTo>
                      <a:pt x="848" y="282"/>
                    </a:lnTo>
                    <a:lnTo>
                      <a:pt x="850" y="284"/>
                    </a:lnTo>
                    <a:lnTo>
                      <a:pt x="850" y="288"/>
                    </a:lnTo>
                    <a:lnTo>
                      <a:pt x="850" y="288"/>
                    </a:lnTo>
                    <a:lnTo>
                      <a:pt x="850" y="296"/>
                    </a:lnTo>
                    <a:lnTo>
                      <a:pt x="852" y="300"/>
                    </a:lnTo>
                    <a:lnTo>
                      <a:pt x="860" y="308"/>
                    </a:lnTo>
                    <a:lnTo>
                      <a:pt x="860" y="308"/>
                    </a:lnTo>
                    <a:lnTo>
                      <a:pt x="864" y="310"/>
                    </a:lnTo>
                    <a:lnTo>
                      <a:pt x="866" y="306"/>
                    </a:lnTo>
                    <a:lnTo>
                      <a:pt x="868" y="298"/>
                    </a:lnTo>
                    <a:lnTo>
                      <a:pt x="868" y="284"/>
                    </a:lnTo>
                    <a:lnTo>
                      <a:pt x="868" y="284"/>
                    </a:lnTo>
                    <a:close/>
                    <a:moveTo>
                      <a:pt x="852" y="306"/>
                    </a:moveTo>
                    <a:lnTo>
                      <a:pt x="852" y="306"/>
                    </a:lnTo>
                    <a:lnTo>
                      <a:pt x="848" y="302"/>
                    </a:lnTo>
                    <a:lnTo>
                      <a:pt x="846" y="298"/>
                    </a:lnTo>
                    <a:lnTo>
                      <a:pt x="844" y="296"/>
                    </a:lnTo>
                    <a:lnTo>
                      <a:pt x="844" y="296"/>
                    </a:lnTo>
                    <a:lnTo>
                      <a:pt x="844" y="296"/>
                    </a:lnTo>
                    <a:lnTo>
                      <a:pt x="844" y="302"/>
                    </a:lnTo>
                    <a:lnTo>
                      <a:pt x="846" y="304"/>
                    </a:lnTo>
                    <a:lnTo>
                      <a:pt x="846" y="304"/>
                    </a:lnTo>
                    <a:lnTo>
                      <a:pt x="852" y="310"/>
                    </a:lnTo>
                    <a:lnTo>
                      <a:pt x="858" y="318"/>
                    </a:lnTo>
                    <a:lnTo>
                      <a:pt x="858" y="318"/>
                    </a:lnTo>
                    <a:lnTo>
                      <a:pt x="858" y="318"/>
                    </a:lnTo>
                    <a:lnTo>
                      <a:pt x="858" y="314"/>
                    </a:lnTo>
                    <a:lnTo>
                      <a:pt x="856" y="310"/>
                    </a:lnTo>
                    <a:lnTo>
                      <a:pt x="852" y="306"/>
                    </a:lnTo>
                    <a:lnTo>
                      <a:pt x="852" y="306"/>
                    </a:lnTo>
                    <a:close/>
                    <a:moveTo>
                      <a:pt x="1028" y="396"/>
                    </a:moveTo>
                    <a:lnTo>
                      <a:pt x="1028" y="396"/>
                    </a:lnTo>
                    <a:lnTo>
                      <a:pt x="1032" y="394"/>
                    </a:lnTo>
                    <a:lnTo>
                      <a:pt x="1032" y="392"/>
                    </a:lnTo>
                    <a:lnTo>
                      <a:pt x="1036" y="380"/>
                    </a:lnTo>
                    <a:lnTo>
                      <a:pt x="1036" y="380"/>
                    </a:lnTo>
                    <a:lnTo>
                      <a:pt x="1040" y="372"/>
                    </a:lnTo>
                    <a:lnTo>
                      <a:pt x="1040" y="370"/>
                    </a:lnTo>
                    <a:lnTo>
                      <a:pt x="1036" y="368"/>
                    </a:lnTo>
                    <a:lnTo>
                      <a:pt x="1036" y="368"/>
                    </a:lnTo>
                    <a:lnTo>
                      <a:pt x="1034" y="366"/>
                    </a:lnTo>
                    <a:lnTo>
                      <a:pt x="1032" y="364"/>
                    </a:lnTo>
                    <a:lnTo>
                      <a:pt x="1032" y="362"/>
                    </a:lnTo>
                    <a:lnTo>
                      <a:pt x="1028" y="360"/>
                    </a:lnTo>
                    <a:lnTo>
                      <a:pt x="1028" y="360"/>
                    </a:lnTo>
                    <a:lnTo>
                      <a:pt x="1024" y="358"/>
                    </a:lnTo>
                    <a:lnTo>
                      <a:pt x="1018" y="360"/>
                    </a:lnTo>
                    <a:lnTo>
                      <a:pt x="1008" y="366"/>
                    </a:lnTo>
                    <a:lnTo>
                      <a:pt x="998" y="374"/>
                    </a:lnTo>
                    <a:lnTo>
                      <a:pt x="994" y="378"/>
                    </a:lnTo>
                    <a:lnTo>
                      <a:pt x="994" y="384"/>
                    </a:lnTo>
                    <a:lnTo>
                      <a:pt x="994" y="384"/>
                    </a:lnTo>
                    <a:lnTo>
                      <a:pt x="992" y="388"/>
                    </a:lnTo>
                    <a:lnTo>
                      <a:pt x="988" y="396"/>
                    </a:lnTo>
                    <a:lnTo>
                      <a:pt x="984" y="402"/>
                    </a:lnTo>
                    <a:lnTo>
                      <a:pt x="984" y="408"/>
                    </a:lnTo>
                    <a:lnTo>
                      <a:pt x="984" y="408"/>
                    </a:lnTo>
                    <a:lnTo>
                      <a:pt x="984" y="410"/>
                    </a:lnTo>
                    <a:lnTo>
                      <a:pt x="984" y="412"/>
                    </a:lnTo>
                    <a:lnTo>
                      <a:pt x="988" y="410"/>
                    </a:lnTo>
                    <a:lnTo>
                      <a:pt x="996" y="408"/>
                    </a:lnTo>
                    <a:lnTo>
                      <a:pt x="1000" y="408"/>
                    </a:lnTo>
                    <a:lnTo>
                      <a:pt x="1006" y="410"/>
                    </a:lnTo>
                    <a:lnTo>
                      <a:pt x="1006" y="410"/>
                    </a:lnTo>
                    <a:lnTo>
                      <a:pt x="1012" y="410"/>
                    </a:lnTo>
                    <a:lnTo>
                      <a:pt x="1016" y="410"/>
                    </a:lnTo>
                    <a:lnTo>
                      <a:pt x="1020" y="406"/>
                    </a:lnTo>
                    <a:lnTo>
                      <a:pt x="1024" y="400"/>
                    </a:lnTo>
                    <a:lnTo>
                      <a:pt x="1028" y="396"/>
                    </a:lnTo>
                    <a:lnTo>
                      <a:pt x="1028" y="396"/>
                    </a:lnTo>
                    <a:close/>
                    <a:moveTo>
                      <a:pt x="1032" y="410"/>
                    </a:moveTo>
                    <a:lnTo>
                      <a:pt x="1032" y="410"/>
                    </a:lnTo>
                    <a:lnTo>
                      <a:pt x="1036" y="410"/>
                    </a:lnTo>
                    <a:lnTo>
                      <a:pt x="1036" y="406"/>
                    </a:lnTo>
                    <a:lnTo>
                      <a:pt x="1034" y="402"/>
                    </a:lnTo>
                    <a:lnTo>
                      <a:pt x="1032" y="400"/>
                    </a:lnTo>
                    <a:lnTo>
                      <a:pt x="1032" y="400"/>
                    </a:lnTo>
                    <a:lnTo>
                      <a:pt x="1032" y="398"/>
                    </a:lnTo>
                    <a:lnTo>
                      <a:pt x="1030" y="398"/>
                    </a:lnTo>
                    <a:lnTo>
                      <a:pt x="1026" y="400"/>
                    </a:lnTo>
                    <a:lnTo>
                      <a:pt x="1024" y="404"/>
                    </a:lnTo>
                    <a:lnTo>
                      <a:pt x="1024" y="404"/>
                    </a:lnTo>
                    <a:lnTo>
                      <a:pt x="1024" y="408"/>
                    </a:lnTo>
                    <a:lnTo>
                      <a:pt x="1024" y="410"/>
                    </a:lnTo>
                    <a:lnTo>
                      <a:pt x="1032" y="410"/>
                    </a:lnTo>
                    <a:lnTo>
                      <a:pt x="1032" y="410"/>
                    </a:lnTo>
                    <a:close/>
                    <a:moveTo>
                      <a:pt x="1044" y="820"/>
                    </a:moveTo>
                    <a:lnTo>
                      <a:pt x="1044" y="820"/>
                    </a:lnTo>
                    <a:lnTo>
                      <a:pt x="1046" y="820"/>
                    </a:lnTo>
                    <a:lnTo>
                      <a:pt x="1050" y="820"/>
                    </a:lnTo>
                    <a:lnTo>
                      <a:pt x="1054" y="816"/>
                    </a:lnTo>
                    <a:lnTo>
                      <a:pt x="1056" y="812"/>
                    </a:lnTo>
                    <a:lnTo>
                      <a:pt x="1056" y="812"/>
                    </a:lnTo>
                    <a:lnTo>
                      <a:pt x="1060" y="812"/>
                    </a:lnTo>
                    <a:lnTo>
                      <a:pt x="1064" y="810"/>
                    </a:lnTo>
                    <a:lnTo>
                      <a:pt x="1068" y="808"/>
                    </a:lnTo>
                    <a:lnTo>
                      <a:pt x="1068" y="806"/>
                    </a:lnTo>
                    <a:lnTo>
                      <a:pt x="1066" y="804"/>
                    </a:lnTo>
                    <a:lnTo>
                      <a:pt x="1066" y="804"/>
                    </a:lnTo>
                    <a:lnTo>
                      <a:pt x="1064" y="802"/>
                    </a:lnTo>
                    <a:lnTo>
                      <a:pt x="1060" y="804"/>
                    </a:lnTo>
                    <a:lnTo>
                      <a:pt x="1052" y="808"/>
                    </a:lnTo>
                    <a:lnTo>
                      <a:pt x="1046" y="814"/>
                    </a:lnTo>
                    <a:lnTo>
                      <a:pt x="1044" y="818"/>
                    </a:lnTo>
                    <a:lnTo>
                      <a:pt x="1044" y="820"/>
                    </a:lnTo>
                    <a:lnTo>
                      <a:pt x="1044" y="820"/>
                    </a:lnTo>
                    <a:close/>
                    <a:moveTo>
                      <a:pt x="844" y="336"/>
                    </a:moveTo>
                    <a:lnTo>
                      <a:pt x="844" y="336"/>
                    </a:lnTo>
                    <a:lnTo>
                      <a:pt x="852" y="332"/>
                    </a:lnTo>
                    <a:lnTo>
                      <a:pt x="856" y="326"/>
                    </a:lnTo>
                    <a:lnTo>
                      <a:pt x="854" y="320"/>
                    </a:lnTo>
                    <a:lnTo>
                      <a:pt x="850" y="312"/>
                    </a:lnTo>
                    <a:lnTo>
                      <a:pt x="850" y="312"/>
                    </a:lnTo>
                    <a:lnTo>
                      <a:pt x="846" y="306"/>
                    </a:lnTo>
                    <a:lnTo>
                      <a:pt x="842" y="306"/>
                    </a:lnTo>
                    <a:lnTo>
                      <a:pt x="840" y="310"/>
                    </a:lnTo>
                    <a:lnTo>
                      <a:pt x="840" y="316"/>
                    </a:lnTo>
                    <a:lnTo>
                      <a:pt x="840" y="330"/>
                    </a:lnTo>
                    <a:lnTo>
                      <a:pt x="842" y="336"/>
                    </a:lnTo>
                    <a:lnTo>
                      <a:pt x="844" y="336"/>
                    </a:lnTo>
                    <a:lnTo>
                      <a:pt x="844" y="336"/>
                    </a:lnTo>
                    <a:close/>
                    <a:moveTo>
                      <a:pt x="794" y="292"/>
                    </a:moveTo>
                    <a:lnTo>
                      <a:pt x="794" y="292"/>
                    </a:lnTo>
                    <a:lnTo>
                      <a:pt x="800" y="276"/>
                    </a:lnTo>
                    <a:lnTo>
                      <a:pt x="804" y="264"/>
                    </a:lnTo>
                    <a:lnTo>
                      <a:pt x="806" y="256"/>
                    </a:lnTo>
                    <a:lnTo>
                      <a:pt x="806" y="256"/>
                    </a:lnTo>
                    <a:lnTo>
                      <a:pt x="804" y="256"/>
                    </a:lnTo>
                    <a:lnTo>
                      <a:pt x="804" y="256"/>
                    </a:lnTo>
                    <a:lnTo>
                      <a:pt x="798" y="264"/>
                    </a:lnTo>
                    <a:lnTo>
                      <a:pt x="794" y="278"/>
                    </a:lnTo>
                    <a:lnTo>
                      <a:pt x="794" y="292"/>
                    </a:lnTo>
                    <a:lnTo>
                      <a:pt x="794" y="292"/>
                    </a:lnTo>
                    <a:close/>
                    <a:moveTo>
                      <a:pt x="1118" y="446"/>
                    </a:moveTo>
                    <a:lnTo>
                      <a:pt x="1118" y="446"/>
                    </a:lnTo>
                    <a:lnTo>
                      <a:pt x="1122" y="448"/>
                    </a:lnTo>
                    <a:lnTo>
                      <a:pt x="1128" y="450"/>
                    </a:lnTo>
                    <a:lnTo>
                      <a:pt x="1142" y="448"/>
                    </a:lnTo>
                    <a:lnTo>
                      <a:pt x="1158" y="448"/>
                    </a:lnTo>
                    <a:lnTo>
                      <a:pt x="1166" y="450"/>
                    </a:lnTo>
                    <a:lnTo>
                      <a:pt x="1172" y="452"/>
                    </a:lnTo>
                    <a:lnTo>
                      <a:pt x="1172" y="452"/>
                    </a:lnTo>
                    <a:lnTo>
                      <a:pt x="1180" y="454"/>
                    </a:lnTo>
                    <a:lnTo>
                      <a:pt x="1186" y="454"/>
                    </a:lnTo>
                    <a:lnTo>
                      <a:pt x="1190" y="452"/>
                    </a:lnTo>
                    <a:lnTo>
                      <a:pt x="1194" y="450"/>
                    </a:lnTo>
                    <a:lnTo>
                      <a:pt x="1204" y="442"/>
                    </a:lnTo>
                    <a:lnTo>
                      <a:pt x="1208" y="440"/>
                    </a:lnTo>
                    <a:lnTo>
                      <a:pt x="1212" y="440"/>
                    </a:lnTo>
                    <a:lnTo>
                      <a:pt x="1212" y="440"/>
                    </a:lnTo>
                    <a:lnTo>
                      <a:pt x="1216" y="440"/>
                    </a:lnTo>
                    <a:lnTo>
                      <a:pt x="1218" y="438"/>
                    </a:lnTo>
                    <a:lnTo>
                      <a:pt x="1218" y="434"/>
                    </a:lnTo>
                    <a:lnTo>
                      <a:pt x="1218" y="430"/>
                    </a:lnTo>
                    <a:lnTo>
                      <a:pt x="1214" y="420"/>
                    </a:lnTo>
                    <a:lnTo>
                      <a:pt x="1206" y="414"/>
                    </a:lnTo>
                    <a:lnTo>
                      <a:pt x="1206" y="414"/>
                    </a:lnTo>
                    <a:lnTo>
                      <a:pt x="1200" y="410"/>
                    </a:lnTo>
                    <a:lnTo>
                      <a:pt x="1198" y="406"/>
                    </a:lnTo>
                    <a:lnTo>
                      <a:pt x="1200" y="406"/>
                    </a:lnTo>
                    <a:lnTo>
                      <a:pt x="1206" y="404"/>
                    </a:lnTo>
                    <a:lnTo>
                      <a:pt x="1218" y="402"/>
                    </a:lnTo>
                    <a:lnTo>
                      <a:pt x="1222" y="398"/>
                    </a:lnTo>
                    <a:lnTo>
                      <a:pt x="1222" y="394"/>
                    </a:lnTo>
                    <a:lnTo>
                      <a:pt x="1222" y="394"/>
                    </a:lnTo>
                    <a:lnTo>
                      <a:pt x="1222" y="392"/>
                    </a:lnTo>
                    <a:lnTo>
                      <a:pt x="1224" y="390"/>
                    </a:lnTo>
                    <a:lnTo>
                      <a:pt x="1230" y="388"/>
                    </a:lnTo>
                    <a:lnTo>
                      <a:pt x="1232" y="388"/>
                    </a:lnTo>
                    <a:lnTo>
                      <a:pt x="1232" y="384"/>
                    </a:lnTo>
                    <a:lnTo>
                      <a:pt x="1232" y="376"/>
                    </a:lnTo>
                    <a:lnTo>
                      <a:pt x="1228" y="364"/>
                    </a:lnTo>
                    <a:lnTo>
                      <a:pt x="1228" y="364"/>
                    </a:lnTo>
                    <a:lnTo>
                      <a:pt x="1234" y="372"/>
                    </a:lnTo>
                    <a:lnTo>
                      <a:pt x="1240" y="376"/>
                    </a:lnTo>
                    <a:lnTo>
                      <a:pt x="1246" y="378"/>
                    </a:lnTo>
                    <a:lnTo>
                      <a:pt x="1256" y="376"/>
                    </a:lnTo>
                    <a:lnTo>
                      <a:pt x="1256" y="376"/>
                    </a:lnTo>
                    <a:lnTo>
                      <a:pt x="1268" y="372"/>
                    </a:lnTo>
                    <a:lnTo>
                      <a:pt x="1272" y="374"/>
                    </a:lnTo>
                    <a:lnTo>
                      <a:pt x="1272" y="376"/>
                    </a:lnTo>
                    <a:lnTo>
                      <a:pt x="1274" y="378"/>
                    </a:lnTo>
                    <a:lnTo>
                      <a:pt x="1278" y="382"/>
                    </a:lnTo>
                    <a:lnTo>
                      <a:pt x="1284" y="384"/>
                    </a:lnTo>
                    <a:lnTo>
                      <a:pt x="1296" y="386"/>
                    </a:lnTo>
                    <a:lnTo>
                      <a:pt x="1296" y="386"/>
                    </a:lnTo>
                    <a:lnTo>
                      <a:pt x="1308" y="388"/>
                    </a:lnTo>
                    <a:lnTo>
                      <a:pt x="1316" y="392"/>
                    </a:lnTo>
                    <a:lnTo>
                      <a:pt x="1324" y="398"/>
                    </a:lnTo>
                    <a:lnTo>
                      <a:pt x="1330" y="406"/>
                    </a:lnTo>
                    <a:lnTo>
                      <a:pt x="1340" y="426"/>
                    </a:lnTo>
                    <a:lnTo>
                      <a:pt x="1348" y="438"/>
                    </a:lnTo>
                    <a:lnTo>
                      <a:pt x="1358" y="450"/>
                    </a:lnTo>
                    <a:lnTo>
                      <a:pt x="1358" y="450"/>
                    </a:lnTo>
                    <a:lnTo>
                      <a:pt x="1374" y="472"/>
                    </a:lnTo>
                    <a:lnTo>
                      <a:pt x="1380" y="480"/>
                    </a:lnTo>
                    <a:lnTo>
                      <a:pt x="1384" y="486"/>
                    </a:lnTo>
                    <a:lnTo>
                      <a:pt x="1392" y="488"/>
                    </a:lnTo>
                    <a:lnTo>
                      <a:pt x="1400" y="492"/>
                    </a:lnTo>
                    <a:lnTo>
                      <a:pt x="1432" y="498"/>
                    </a:lnTo>
                    <a:lnTo>
                      <a:pt x="1432" y="498"/>
                    </a:lnTo>
                    <a:lnTo>
                      <a:pt x="1450" y="502"/>
                    </a:lnTo>
                    <a:lnTo>
                      <a:pt x="1462" y="506"/>
                    </a:lnTo>
                    <a:lnTo>
                      <a:pt x="1470" y="510"/>
                    </a:lnTo>
                    <a:lnTo>
                      <a:pt x="1476" y="512"/>
                    </a:lnTo>
                    <a:lnTo>
                      <a:pt x="1482" y="518"/>
                    </a:lnTo>
                    <a:lnTo>
                      <a:pt x="1488" y="520"/>
                    </a:lnTo>
                    <a:lnTo>
                      <a:pt x="1492" y="520"/>
                    </a:lnTo>
                    <a:lnTo>
                      <a:pt x="1492" y="520"/>
                    </a:lnTo>
                    <a:lnTo>
                      <a:pt x="1500" y="520"/>
                    </a:lnTo>
                    <a:lnTo>
                      <a:pt x="1506" y="518"/>
                    </a:lnTo>
                    <a:lnTo>
                      <a:pt x="1512" y="514"/>
                    </a:lnTo>
                    <a:lnTo>
                      <a:pt x="1514" y="510"/>
                    </a:lnTo>
                    <a:lnTo>
                      <a:pt x="1514" y="506"/>
                    </a:lnTo>
                    <a:lnTo>
                      <a:pt x="1512" y="502"/>
                    </a:lnTo>
                    <a:lnTo>
                      <a:pt x="1508" y="498"/>
                    </a:lnTo>
                    <a:lnTo>
                      <a:pt x="1498" y="494"/>
                    </a:lnTo>
                    <a:lnTo>
                      <a:pt x="1498" y="494"/>
                    </a:lnTo>
                    <a:lnTo>
                      <a:pt x="1482" y="490"/>
                    </a:lnTo>
                    <a:lnTo>
                      <a:pt x="1474" y="484"/>
                    </a:lnTo>
                    <a:lnTo>
                      <a:pt x="1472" y="482"/>
                    </a:lnTo>
                    <a:lnTo>
                      <a:pt x="1472" y="480"/>
                    </a:lnTo>
                    <a:lnTo>
                      <a:pt x="1474" y="476"/>
                    </a:lnTo>
                    <a:lnTo>
                      <a:pt x="1478" y="472"/>
                    </a:lnTo>
                    <a:lnTo>
                      <a:pt x="1478" y="470"/>
                    </a:lnTo>
                    <a:lnTo>
                      <a:pt x="1476" y="468"/>
                    </a:lnTo>
                    <a:lnTo>
                      <a:pt x="1464" y="466"/>
                    </a:lnTo>
                    <a:lnTo>
                      <a:pt x="1464" y="466"/>
                    </a:lnTo>
                    <a:lnTo>
                      <a:pt x="1454" y="464"/>
                    </a:lnTo>
                    <a:lnTo>
                      <a:pt x="1450" y="462"/>
                    </a:lnTo>
                    <a:lnTo>
                      <a:pt x="1448" y="458"/>
                    </a:lnTo>
                    <a:lnTo>
                      <a:pt x="1448" y="454"/>
                    </a:lnTo>
                    <a:lnTo>
                      <a:pt x="1450" y="448"/>
                    </a:lnTo>
                    <a:lnTo>
                      <a:pt x="1454" y="442"/>
                    </a:lnTo>
                    <a:lnTo>
                      <a:pt x="1454" y="438"/>
                    </a:lnTo>
                    <a:lnTo>
                      <a:pt x="1448" y="438"/>
                    </a:lnTo>
                    <a:lnTo>
                      <a:pt x="1436" y="440"/>
                    </a:lnTo>
                    <a:lnTo>
                      <a:pt x="1436" y="440"/>
                    </a:lnTo>
                    <a:lnTo>
                      <a:pt x="1432" y="440"/>
                    </a:lnTo>
                    <a:lnTo>
                      <a:pt x="1428" y="440"/>
                    </a:lnTo>
                    <a:lnTo>
                      <a:pt x="1422" y="436"/>
                    </a:lnTo>
                    <a:lnTo>
                      <a:pt x="1416" y="428"/>
                    </a:lnTo>
                    <a:lnTo>
                      <a:pt x="1412" y="420"/>
                    </a:lnTo>
                    <a:lnTo>
                      <a:pt x="1408" y="400"/>
                    </a:lnTo>
                    <a:lnTo>
                      <a:pt x="1404" y="394"/>
                    </a:lnTo>
                    <a:lnTo>
                      <a:pt x="1400" y="390"/>
                    </a:lnTo>
                    <a:lnTo>
                      <a:pt x="1400" y="390"/>
                    </a:lnTo>
                    <a:lnTo>
                      <a:pt x="1394" y="386"/>
                    </a:lnTo>
                    <a:lnTo>
                      <a:pt x="1386" y="378"/>
                    </a:lnTo>
                    <a:lnTo>
                      <a:pt x="1370" y="360"/>
                    </a:lnTo>
                    <a:lnTo>
                      <a:pt x="1364" y="350"/>
                    </a:lnTo>
                    <a:lnTo>
                      <a:pt x="1358" y="340"/>
                    </a:lnTo>
                    <a:lnTo>
                      <a:pt x="1356" y="334"/>
                    </a:lnTo>
                    <a:lnTo>
                      <a:pt x="1356" y="332"/>
                    </a:lnTo>
                    <a:lnTo>
                      <a:pt x="1358" y="330"/>
                    </a:lnTo>
                    <a:lnTo>
                      <a:pt x="1358" y="330"/>
                    </a:lnTo>
                    <a:lnTo>
                      <a:pt x="1362" y="328"/>
                    </a:lnTo>
                    <a:lnTo>
                      <a:pt x="1366" y="326"/>
                    </a:lnTo>
                    <a:lnTo>
                      <a:pt x="1376" y="328"/>
                    </a:lnTo>
                    <a:lnTo>
                      <a:pt x="1388" y="328"/>
                    </a:lnTo>
                    <a:lnTo>
                      <a:pt x="1392" y="326"/>
                    </a:lnTo>
                    <a:lnTo>
                      <a:pt x="1394" y="324"/>
                    </a:lnTo>
                    <a:lnTo>
                      <a:pt x="1394" y="324"/>
                    </a:lnTo>
                    <a:lnTo>
                      <a:pt x="1396" y="320"/>
                    </a:lnTo>
                    <a:lnTo>
                      <a:pt x="1396" y="314"/>
                    </a:lnTo>
                    <a:lnTo>
                      <a:pt x="1390" y="302"/>
                    </a:lnTo>
                    <a:lnTo>
                      <a:pt x="1386" y="296"/>
                    </a:lnTo>
                    <a:lnTo>
                      <a:pt x="1380" y="292"/>
                    </a:lnTo>
                    <a:lnTo>
                      <a:pt x="1374" y="290"/>
                    </a:lnTo>
                    <a:lnTo>
                      <a:pt x="1370" y="290"/>
                    </a:lnTo>
                    <a:lnTo>
                      <a:pt x="1370" y="290"/>
                    </a:lnTo>
                    <a:lnTo>
                      <a:pt x="1364" y="290"/>
                    </a:lnTo>
                    <a:lnTo>
                      <a:pt x="1360" y="290"/>
                    </a:lnTo>
                    <a:lnTo>
                      <a:pt x="1354" y="284"/>
                    </a:lnTo>
                    <a:lnTo>
                      <a:pt x="1344" y="276"/>
                    </a:lnTo>
                    <a:lnTo>
                      <a:pt x="1338" y="272"/>
                    </a:lnTo>
                    <a:lnTo>
                      <a:pt x="1328" y="270"/>
                    </a:lnTo>
                    <a:lnTo>
                      <a:pt x="1328" y="270"/>
                    </a:lnTo>
                    <a:lnTo>
                      <a:pt x="1312" y="264"/>
                    </a:lnTo>
                    <a:lnTo>
                      <a:pt x="1310" y="262"/>
                    </a:lnTo>
                    <a:lnTo>
                      <a:pt x="1308" y="260"/>
                    </a:lnTo>
                    <a:lnTo>
                      <a:pt x="1310" y="256"/>
                    </a:lnTo>
                    <a:lnTo>
                      <a:pt x="1312" y="246"/>
                    </a:lnTo>
                    <a:lnTo>
                      <a:pt x="1312" y="246"/>
                    </a:lnTo>
                    <a:lnTo>
                      <a:pt x="1312" y="238"/>
                    </a:lnTo>
                    <a:lnTo>
                      <a:pt x="1306" y="230"/>
                    </a:lnTo>
                    <a:lnTo>
                      <a:pt x="1298" y="220"/>
                    </a:lnTo>
                    <a:lnTo>
                      <a:pt x="1288" y="210"/>
                    </a:lnTo>
                    <a:lnTo>
                      <a:pt x="1278" y="200"/>
                    </a:lnTo>
                    <a:lnTo>
                      <a:pt x="1266" y="192"/>
                    </a:lnTo>
                    <a:lnTo>
                      <a:pt x="1256" y="188"/>
                    </a:lnTo>
                    <a:lnTo>
                      <a:pt x="1248" y="186"/>
                    </a:lnTo>
                    <a:lnTo>
                      <a:pt x="1248" y="186"/>
                    </a:lnTo>
                    <a:lnTo>
                      <a:pt x="1242" y="186"/>
                    </a:lnTo>
                    <a:lnTo>
                      <a:pt x="1238" y="184"/>
                    </a:lnTo>
                    <a:lnTo>
                      <a:pt x="1230" y="178"/>
                    </a:lnTo>
                    <a:lnTo>
                      <a:pt x="1220" y="170"/>
                    </a:lnTo>
                    <a:lnTo>
                      <a:pt x="1214" y="166"/>
                    </a:lnTo>
                    <a:lnTo>
                      <a:pt x="1202" y="162"/>
                    </a:lnTo>
                    <a:lnTo>
                      <a:pt x="1202" y="162"/>
                    </a:lnTo>
                    <a:lnTo>
                      <a:pt x="1190" y="158"/>
                    </a:lnTo>
                    <a:lnTo>
                      <a:pt x="1174" y="152"/>
                    </a:lnTo>
                    <a:lnTo>
                      <a:pt x="1140" y="134"/>
                    </a:lnTo>
                    <a:lnTo>
                      <a:pt x="1106" y="120"/>
                    </a:lnTo>
                    <a:lnTo>
                      <a:pt x="1092" y="116"/>
                    </a:lnTo>
                    <a:lnTo>
                      <a:pt x="1078" y="116"/>
                    </a:lnTo>
                    <a:lnTo>
                      <a:pt x="1080" y="404"/>
                    </a:lnTo>
                    <a:lnTo>
                      <a:pt x="1080" y="404"/>
                    </a:lnTo>
                    <a:lnTo>
                      <a:pt x="1094" y="414"/>
                    </a:lnTo>
                    <a:lnTo>
                      <a:pt x="1104" y="426"/>
                    </a:lnTo>
                    <a:lnTo>
                      <a:pt x="1118" y="446"/>
                    </a:lnTo>
                    <a:lnTo>
                      <a:pt x="1118" y="446"/>
                    </a:lnTo>
                    <a:close/>
                    <a:moveTo>
                      <a:pt x="784" y="288"/>
                    </a:moveTo>
                    <a:lnTo>
                      <a:pt x="784" y="288"/>
                    </a:lnTo>
                    <a:lnTo>
                      <a:pt x="786" y="290"/>
                    </a:lnTo>
                    <a:lnTo>
                      <a:pt x="788" y="288"/>
                    </a:lnTo>
                    <a:lnTo>
                      <a:pt x="790" y="286"/>
                    </a:lnTo>
                    <a:lnTo>
                      <a:pt x="790" y="282"/>
                    </a:lnTo>
                    <a:lnTo>
                      <a:pt x="790" y="282"/>
                    </a:lnTo>
                    <a:lnTo>
                      <a:pt x="788" y="278"/>
                    </a:lnTo>
                    <a:lnTo>
                      <a:pt x="784" y="274"/>
                    </a:lnTo>
                    <a:lnTo>
                      <a:pt x="784" y="274"/>
                    </a:lnTo>
                    <a:lnTo>
                      <a:pt x="782" y="276"/>
                    </a:lnTo>
                    <a:lnTo>
                      <a:pt x="784" y="288"/>
                    </a:lnTo>
                    <a:lnTo>
                      <a:pt x="784" y="288"/>
                    </a:lnTo>
                    <a:close/>
                    <a:moveTo>
                      <a:pt x="1474" y="80"/>
                    </a:moveTo>
                    <a:lnTo>
                      <a:pt x="1474" y="80"/>
                    </a:lnTo>
                    <a:lnTo>
                      <a:pt x="1476" y="80"/>
                    </a:lnTo>
                    <a:lnTo>
                      <a:pt x="1476" y="78"/>
                    </a:lnTo>
                    <a:lnTo>
                      <a:pt x="1474" y="72"/>
                    </a:lnTo>
                    <a:lnTo>
                      <a:pt x="1468" y="68"/>
                    </a:lnTo>
                    <a:lnTo>
                      <a:pt x="1466" y="68"/>
                    </a:lnTo>
                    <a:lnTo>
                      <a:pt x="1464" y="68"/>
                    </a:lnTo>
                    <a:lnTo>
                      <a:pt x="1464" y="68"/>
                    </a:lnTo>
                    <a:lnTo>
                      <a:pt x="1464" y="72"/>
                    </a:lnTo>
                    <a:lnTo>
                      <a:pt x="1464" y="76"/>
                    </a:lnTo>
                    <a:lnTo>
                      <a:pt x="1468" y="78"/>
                    </a:lnTo>
                    <a:lnTo>
                      <a:pt x="1474" y="80"/>
                    </a:lnTo>
                    <a:lnTo>
                      <a:pt x="1474" y="80"/>
                    </a:lnTo>
                    <a:close/>
                    <a:moveTo>
                      <a:pt x="1436" y="292"/>
                    </a:moveTo>
                    <a:lnTo>
                      <a:pt x="1436" y="292"/>
                    </a:lnTo>
                    <a:lnTo>
                      <a:pt x="1442" y="296"/>
                    </a:lnTo>
                    <a:lnTo>
                      <a:pt x="1446" y="298"/>
                    </a:lnTo>
                    <a:lnTo>
                      <a:pt x="1448" y="298"/>
                    </a:lnTo>
                    <a:lnTo>
                      <a:pt x="1450" y="298"/>
                    </a:lnTo>
                    <a:lnTo>
                      <a:pt x="1452" y="296"/>
                    </a:lnTo>
                    <a:lnTo>
                      <a:pt x="1454" y="296"/>
                    </a:lnTo>
                    <a:lnTo>
                      <a:pt x="1458" y="298"/>
                    </a:lnTo>
                    <a:lnTo>
                      <a:pt x="1462" y="302"/>
                    </a:lnTo>
                    <a:lnTo>
                      <a:pt x="1462" y="302"/>
                    </a:lnTo>
                    <a:lnTo>
                      <a:pt x="1468" y="306"/>
                    </a:lnTo>
                    <a:lnTo>
                      <a:pt x="1478" y="308"/>
                    </a:lnTo>
                    <a:lnTo>
                      <a:pt x="1490" y="306"/>
                    </a:lnTo>
                    <a:lnTo>
                      <a:pt x="1502" y="302"/>
                    </a:lnTo>
                    <a:lnTo>
                      <a:pt x="1514" y="298"/>
                    </a:lnTo>
                    <a:lnTo>
                      <a:pt x="1524" y="292"/>
                    </a:lnTo>
                    <a:lnTo>
                      <a:pt x="1534" y="284"/>
                    </a:lnTo>
                    <a:lnTo>
                      <a:pt x="1538" y="278"/>
                    </a:lnTo>
                    <a:lnTo>
                      <a:pt x="1538" y="278"/>
                    </a:lnTo>
                    <a:lnTo>
                      <a:pt x="1542" y="272"/>
                    </a:lnTo>
                    <a:lnTo>
                      <a:pt x="1544" y="270"/>
                    </a:lnTo>
                    <a:lnTo>
                      <a:pt x="1548" y="270"/>
                    </a:lnTo>
                    <a:lnTo>
                      <a:pt x="1550" y="270"/>
                    </a:lnTo>
                    <a:lnTo>
                      <a:pt x="1556" y="272"/>
                    </a:lnTo>
                    <a:lnTo>
                      <a:pt x="1560" y="270"/>
                    </a:lnTo>
                    <a:lnTo>
                      <a:pt x="1566" y="268"/>
                    </a:lnTo>
                    <a:lnTo>
                      <a:pt x="1566" y="268"/>
                    </a:lnTo>
                    <a:lnTo>
                      <a:pt x="1568" y="264"/>
                    </a:lnTo>
                    <a:lnTo>
                      <a:pt x="1570" y="260"/>
                    </a:lnTo>
                    <a:lnTo>
                      <a:pt x="1566" y="252"/>
                    </a:lnTo>
                    <a:lnTo>
                      <a:pt x="1564" y="246"/>
                    </a:lnTo>
                    <a:lnTo>
                      <a:pt x="1564" y="244"/>
                    </a:lnTo>
                    <a:lnTo>
                      <a:pt x="1566" y="242"/>
                    </a:lnTo>
                    <a:lnTo>
                      <a:pt x="1566" y="242"/>
                    </a:lnTo>
                    <a:lnTo>
                      <a:pt x="1572" y="240"/>
                    </a:lnTo>
                    <a:lnTo>
                      <a:pt x="1574" y="238"/>
                    </a:lnTo>
                    <a:lnTo>
                      <a:pt x="1580" y="228"/>
                    </a:lnTo>
                    <a:lnTo>
                      <a:pt x="1580" y="216"/>
                    </a:lnTo>
                    <a:lnTo>
                      <a:pt x="1578" y="212"/>
                    </a:lnTo>
                    <a:lnTo>
                      <a:pt x="1576" y="208"/>
                    </a:lnTo>
                    <a:lnTo>
                      <a:pt x="1576" y="208"/>
                    </a:lnTo>
                    <a:lnTo>
                      <a:pt x="1572" y="202"/>
                    </a:lnTo>
                    <a:lnTo>
                      <a:pt x="1566" y="202"/>
                    </a:lnTo>
                    <a:lnTo>
                      <a:pt x="1548" y="202"/>
                    </a:lnTo>
                    <a:lnTo>
                      <a:pt x="1548" y="202"/>
                    </a:lnTo>
                    <a:lnTo>
                      <a:pt x="1546" y="204"/>
                    </a:lnTo>
                    <a:lnTo>
                      <a:pt x="1544" y="206"/>
                    </a:lnTo>
                    <a:lnTo>
                      <a:pt x="1542" y="210"/>
                    </a:lnTo>
                    <a:lnTo>
                      <a:pt x="1546" y="224"/>
                    </a:lnTo>
                    <a:lnTo>
                      <a:pt x="1550" y="236"/>
                    </a:lnTo>
                    <a:lnTo>
                      <a:pt x="1548" y="240"/>
                    </a:lnTo>
                    <a:lnTo>
                      <a:pt x="1542" y="240"/>
                    </a:lnTo>
                    <a:lnTo>
                      <a:pt x="1542" y="240"/>
                    </a:lnTo>
                    <a:lnTo>
                      <a:pt x="1536" y="238"/>
                    </a:lnTo>
                    <a:lnTo>
                      <a:pt x="1530" y="242"/>
                    </a:lnTo>
                    <a:lnTo>
                      <a:pt x="1526" y="248"/>
                    </a:lnTo>
                    <a:lnTo>
                      <a:pt x="1522" y="254"/>
                    </a:lnTo>
                    <a:lnTo>
                      <a:pt x="1518" y="262"/>
                    </a:lnTo>
                    <a:lnTo>
                      <a:pt x="1514" y="266"/>
                    </a:lnTo>
                    <a:lnTo>
                      <a:pt x="1510" y="268"/>
                    </a:lnTo>
                    <a:lnTo>
                      <a:pt x="1504" y="266"/>
                    </a:lnTo>
                    <a:lnTo>
                      <a:pt x="1504" y="266"/>
                    </a:lnTo>
                    <a:lnTo>
                      <a:pt x="1500" y="264"/>
                    </a:lnTo>
                    <a:lnTo>
                      <a:pt x="1498" y="264"/>
                    </a:lnTo>
                    <a:lnTo>
                      <a:pt x="1494" y="268"/>
                    </a:lnTo>
                    <a:lnTo>
                      <a:pt x="1490" y="270"/>
                    </a:lnTo>
                    <a:lnTo>
                      <a:pt x="1488" y="264"/>
                    </a:lnTo>
                    <a:lnTo>
                      <a:pt x="1488" y="264"/>
                    </a:lnTo>
                    <a:lnTo>
                      <a:pt x="1486" y="256"/>
                    </a:lnTo>
                    <a:lnTo>
                      <a:pt x="1488" y="250"/>
                    </a:lnTo>
                    <a:lnTo>
                      <a:pt x="1490" y="248"/>
                    </a:lnTo>
                    <a:lnTo>
                      <a:pt x="1490" y="244"/>
                    </a:lnTo>
                    <a:lnTo>
                      <a:pt x="1490" y="244"/>
                    </a:lnTo>
                    <a:lnTo>
                      <a:pt x="1488" y="242"/>
                    </a:lnTo>
                    <a:lnTo>
                      <a:pt x="1488" y="242"/>
                    </a:lnTo>
                    <a:lnTo>
                      <a:pt x="1484" y="244"/>
                    </a:lnTo>
                    <a:lnTo>
                      <a:pt x="1480" y="250"/>
                    </a:lnTo>
                    <a:lnTo>
                      <a:pt x="1480" y="262"/>
                    </a:lnTo>
                    <a:lnTo>
                      <a:pt x="1480" y="262"/>
                    </a:lnTo>
                    <a:lnTo>
                      <a:pt x="1478" y="266"/>
                    </a:lnTo>
                    <a:lnTo>
                      <a:pt x="1476" y="268"/>
                    </a:lnTo>
                    <a:lnTo>
                      <a:pt x="1470" y="270"/>
                    </a:lnTo>
                    <a:lnTo>
                      <a:pt x="1460" y="268"/>
                    </a:lnTo>
                    <a:lnTo>
                      <a:pt x="1448" y="266"/>
                    </a:lnTo>
                    <a:lnTo>
                      <a:pt x="1434" y="266"/>
                    </a:lnTo>
                    <a:lnTo>
                      <a:pt x="1424" y="264"/>
                    </a:lnTo>
                    <a:lnTo>
                      <a:pt x="1416" y="266"/>
                    </a:lnTo>
                    <a:lnTo>
                      <a:pt x="1414" y="268"/>
                    </a:lnTo>
                    <a:lnTo>
                      <a:pt x="1414" y="270"/>
                    </a:lnTo>
                    <a:lnTo>
                      <a:pt x="1414" y="270"/>
                    </a:lnTo>
                    <a:lnTo>
                      <a:pt x="1416" y="278"/>
                    </a:lnTo>
                    <a:lnTo>
                      <a:pt x="1420" y="280"/>
                    </a:lnTo>
                    <a:lnTo>
                      <a:pt x="1428" y="284"/>
                    </a:lnTo>
                    <a:lnTo>
                      <a:pt x="1436" y="292"/>
                    </a:lnTo>
                    <a:lnTo>
                      <a:pt x="1436" y="292"/>
                    </a:lnTo>
                    <a:close/>
                    <a:moveTo>
                      <a:pt x="1546" y="156"/>
                    </a:moveTo>
                    <a:lnTo>
                      <a:pt x="1546" y="156"/>
                    </a:lnTo>
                    <a:lnTo>
                      <a:pt x="1552" y="162"/>
                    </a:lnTo>
                    <a:lnTo>
                      <a:pt x="1562" y="170"/>
                    </a:lnTo>
                    <a:lnTo>
                      <a:pt x="1572" y="178"/>
                    </a:lnTo>
                    <a:lnTo>
                      <a:pt x="1582" y="190"/>
                    </a:lnTo>
                    <a:lnTo>
                      <a:pt x="1582" y="190"/>
                    </a:lnTo>
                    <a:lnTo>
                      <a:pt x="1586" y="196"/>
                    </a:lnTo>
                    <a:lnTo>
                      <a:pt x="1588" y="202"/>
                    </a:lnTo>
                    <a:lnTo>
                      <a:pt x="1590" y="210"/>
                    </a:lnTo>
                    <a:lnTo>
                      <a:pt x="1590" y="220"/>
                    </a:lnTo>
                    <a:lnTo>
                      <a:pt x="1592" y="224"/>
                    </a:lnTo>
                    <a:lnTo>
                      <a:pt x="1594" y="232"/>
                    </a:lnTo>
                    <a:lnTo>
                      <a:pt x="1594" y="232"/>
                    </a:lnTo>
                    <a:lnTo>
                      <a:pt x="1598" y="236"/>
                    </a:lnTo>
                    <a:lnTo>
                      <a:pt x="1602" y="234"/>
                    </a:lnTo>
                    <a:lnTo>
                      <a:pt x="1604" y="230"/>
                    </a:lnTo>
                    <a:lnTo>
                      <a:pt x="1608" y="222"/>
                    </a:lnTo>
                    <a:lnTo>
                      <a:pt x="1608" y="214"/>
                    </a:lnTo>
                    <a:lnTo>
                      <a:pt x="1608" y="206"/>
                    </a:lnTo>
                    <a:lnTo>
                      <a:pt x="1604" y="196"/>
                    </a:lnTo>
                    <a:lnTo>
                      <a:pt x="1596" y="190"/>
                    </a:lnTo>
                    <a:lnTo>
                      <a:pt x="1596" y="190"/>
                    </a:lnTo>
                    <a:lnTo>
                      <a:pt x="1582" y="178"/>
                    </a:lnTo>
                    <a:lnTo>
                      <a:pt x="1574" y="168"/>
                    </a:lnTo>
                    <a:lnTo>
                      <a:pt x="1566" y="160"/>
                    </a:lnTo>
                    <a:lnTo>
                      <a:pt x="1556" y="154"/>
                    </a:lnTo>
                    <a:lnTo>
                      <a:pt x="1556" y="154"/>
                    </a:lnTo>
                    <a:lnTo>
                      <a:pt x="1538" y="142"/>
                    </a:lnTo>
                    <a:lnTo>
                      <a:pt x="1526" y="132"/>
                    </a:lnTo>
                    <a:lnTo>
                      <a:pt x="1518" y="126"/>
                    </a:lnTo>
                    <a:lnTo>
                      <a:pt x="1516" y="126"/>
                    </a:lnTo>
                    <a:lnTo>
                      <a:pt x="1514" y="128"/>
                    </a:lnTo>
                    <a:lnTo>
                      <a:pt x="1514" y="128"/>
                    </a:lnTo>
                    <a:lnTo>
                      <a:pt x="1510" y="132"/>
                    </a:lnTo>
                    <a:lnTo>
                      <a:pt x="1508" y="134"/>
                    </a:lnTo>
                    <a:lnTo>
                      <a:pt x="1510" y="136"/>
                    </a:lnTo>
                    <a:lnTo>
                      <a:pt x="1516" y="138"/>
                    </a:lnTo>
                    <a:lnTo>
                      <a:pt x="1530" y="144"/>
                    </a:lnTo>
                    <a:lnTo>
                      <a:pt x="1538" y="150"/>
                    </a:lnTo>
                    <a:lnTo>
                      <a:pt x="1546" y="156"/>
                    </a:lnTo>
                    <a:lnTo>
                      <a:pt x="1546" y="156"/>
                    </a:lnTo>
                    <a:close/>
                    <a:moveTo>
                      <a:pt x="1500" y="128"/>
                    </a:moveTo>
                    <a:lnTo>
                      <a:pt x="1500" y="128"/>
                    </a:lnTo>
                    <a:lnTo>
                      <a:pt x="1502" y="126"/>
                    </a:lnTo>
                    <a:lnTo>
                      <a:pt x="1502" y="122"/>
                    </a:lnTo>
                    <a:lnTo>
                      <a:pt x="1496" y="116"/>
                    </a:lnTo>
                    <a:lnTo>
                      <a:pt x="1492" y="114"/>
                    </a:lnTo>
                    <a:lnTo>
                      <a:pt x="1490" y="114"/>
                    </a:lnTo>
                    <a:lnTo>
                      <a:pt x="1486" y="114"/>
                    </a:lnTo>
                    <a:lnTo>
                      <a:pt x="1484" y="118"/>
                    </a:lnTo>
                    <a:lnTo>
                      <a:pt x="1484" y="118"/>
                    </a:lnTo>
                    <a:lnTo>
                      <a:pt x="1484" y="120"/>
                    </a:lnTo>
                    <a:lnTo>
                      <a:pt x="1484" y="124"/>
                    </a:lnTo>
                    <a:lnTo>
                      <a:pt x="1488" y="128"/>
                    </a:lnTo>
                    <a:lnTo>
                      <a:pt x="1494" y="130"/>
                    </a:lnTo>
                    <a:lnTo>
                      <a:pt x="1498" y="130"/>
                    </a:lnTo>
                    <a:lnTo>
                      <a:pt x="1500" y="128"/>
                    </a:lnTo>
                    <a:lnTo>
                      <a:pt x="1500" y="128"/>
                    </a:lnTo>
                    <a:close/>
                    <a:moveTo>
                      <a:pt x="726" y="46"/>
                    </a:moveTo>
                    <a:lnTo>
                      <a:pt x="726" y="46"/>
                    </a:lnTo>
                    <a:lnTo>
                      <a:pt x="726" y="50"/>
                    </a:lnTo>
                    <a:lnTo>
                      <a:pt x="724" y="54"/>
                    </a:lnTo>
                    <a:lnTo>
                      <a:pt x="716" y="62"/>
                    </a:lnTo>
                    <a:lnTo>
                      <a:pt x="714" y="66"/>
                    </a:lnTo>
                    <a:lnTo>
                      <a:pt x="716" y="70"/>
                    </a:lnTo>
                    <a:lnTo>
                      <a:pt x="718" y="72"/>
                    </a:lnTo>
                    <a:lnTo>
                      <a:pt x="726" y="72"/>
                    </a:lnTo>
                    <a:lnTo>
                      <a:pt x="726" y="72"/>
                    </a:lnTo>
                    <a:lnTo>
                      <a:pt x="738" y="72"/>
                    </a:lnTo>
                    <a:lnTo>
                      <a:pt x="742" y="74"/>
                    </a:lnTo>
                    <a:lnTo>
                      <a:pt x="746" y="78"/>
                    </a:lnTo>
                    <a:lnTo>
                      <a:pt x="752" y="88"/>
                    </a:lnTo>
                    <a:lnTo>
                      <a:pt x="758" y="104"/>
                    </a:lnTo>
                    <a:lnTo>
                      <a:pt x="758" y="104"/>
                    </a:lnTo>
                    <a:lnTo>
                      <a:pt x="762" y="106"/>
                    </a:lnTo>
                    <a:lnTo>
                      <a:pt x="764" y="108"/>
                    </a:lnTo>
                    <a:lnTo>
                      <a:pt x="774" y="110"/>
                    </a:lnTo>
                    <a:lnTo>
                      <a:pt x="786" y="110"/>
                    </a:lnTo>
                    <a:lnTo>
                      <a:pt x="798" y="110"/>
                    </a:lnTo>
                    <a:lnTo>
                      <a:pt x="810" y="108"/>
                    </a:lnTo>
                    <a:lnTo>
                      <a:pt x="820" y="108"/>
                    </a:lnTo>
                    <a:lnTo>
                      <a:pt x="828" y="110"/>
                    </a:lnTo>
                    <a:lnTo>
                      <a:pt x="830" y="112"/>
                    </a:lnTo>
                    <a:lnTo>
                      <a:pt x="830" y="114"/>
                    </a:lnTo>
                    <a:lnTo>
                      <a:pt x="830" y="114"/>
                    </a:lnTo>
                    <a:lnTo>
                      <a:pt x="830" y="120"/>
                    </a:lnTo>
                    <a:lnTo>
                      <a:pt x="826" y="122"/>
                    </a:lnTo>
                    <a:lnTo>
                      <a:pt x="822" y="122"/>
                    </a:lnTo>
                    <a:lnTo>
                      <a:pt x="816" y="120"/>
                    </a:lnTo>
                    <a:lnTo>
                      <a:pt x="808" y="120"/>
                    </a:lnTo>
                    <a:lnTo>
                      <a:pt x="802" y="118"/>
                    </a:lnTo>
                    <a:lnTo>
                      <a:pt x="798" y="120"/>
                    </a:lnTo>
                    <a:lnTo>
                      <a:pt x="794" y="124"/>
                    </a:lnTo>
                    <a:lnTo>
                      <a:pt x="794" y="124"/>
                    </a:lnTo>
                    <a:lnTo>
                      <a:pt x="790" y="130"/>
                    </a:lnTo>
                    <a:lnTo>
                      <a:pt x="784" y="134"/>
                    </a:lnTo>
                    <a:lnTo>
                      <a:pt x="778" y="134"/>
                    </a:lnTo>
                    <a:lnTo>
                      <a:pt x="772" y="132"/>
                    </a:lnTo>
                    <a:lnTo>
                      <a:pt x="766" y="130"/>
                    </a:lnTo>
                    <a:lnTo>
                      <a:pt x="760" y="130"/>
                    </a:lnTo>
                    <a:lnTo>
                      <a:pt x="756" y="132"/>
                    </a:lnTo>
                    <a:lnTo>
                      <a:pt x="756" y="138"/>
                    </a:lnTo>
                    <a:lnTo>
                      <a:pt x="756" y="138"/>
                    </a:lnTo>
                    <a:lnTo>
                      <a:pt x="756" y="142"/>
                    </a:lnTo>
                    <a:lnTo>
                      <a:pt x="760" y="144"/>
                    </a:lnTo>
                    <a:lnTo>
                      <a:pt x="768" y="146"/>
                    </a:lnTo>
                    <a:lnTo>
                      <a:pt x="780" y="156"/>
                    </a:lnTo>
                    <a:lnTo>
                      <a:pt x="780" y="156"/>
                    </a:lnTo>
                    <a:lnTo>
                      <a:pt x="786" y="164"/>
                    </a:lnTo>
                    <a:lnTo>
                      <a:pt x="790" y="170"/>
                    </a:lnTo>
                    <a:lnTo>
                      <a:pt x="790" y="174"/>
                    </a:lnTo>
                    <a:lnTo>
                      <a:pt x="788" y="176"/>
                    </a:lnTo>
                    <a:lnTo>
                      <a:pt x="784" y="180"/>
                    </a:lnTo>
                    <a:lnTo>
                      <a:pt x="784" y="184"/>
                    </a:lnTo>
                    <a:lnTo>
                      <a:pt x="784" y="188"/>
                    </a:lnTo>
                    <a:lnTo>
                      <a:pt x="784" y="188"/>
                    </a:lnTo>
                    <a:lnTo>
                      <a:pt x="788" y="194"/>
                    </a:lnTo>
                    <a:lnTo>
                      <a:pt x="792" y="196"/>
                    </a:lnTo>
                    <a:lnTo>
                      <a:pt x="796" y="198"/>
                    </a:lnTo>
                    <a:lnTo>
                      <a:pt x="802" y="198"/>
                    </a:lnTo>
                    <a:lnTo>
                      <a:pt x="806" y="196"/>
                    </a:lnTo>
                    <a:lnTo>
                      <a:pt x="810" y="192"/>
                    </a:lnTo>
                    <a:lnTo>
                      <a:pt x="814" y="186"/>
                    </a:lnTo>
                    <a:lnTo>
                      <a:pt x="816" y="178"/>
                    </a:lnTo>
                    <a:lnTo>
                      <a:pt x="816" y="178"/>
                    </a:lnTo>
                    <a:lnTo>
                      <a:pt x="822" y="158"/>
                    </a:lnTo>
                    <a:lnTo>
                      <a:pt x="826" y="150"/>
                    </a:lnTo>
                    <a:lnTo>
                      <a:pt x="828" y="150"/>
                    </a:lnTo>
                    <a:lnTo>
                      <a:pt x="828" y="154"/>
                    </a:lnTo>
                    <a:lnTo>
                      <a:pt x="824" y="168"/>
                    </a:lnTo>
                    <a:lnTo>
                      <a:pt x="824" y="168"/>
                    </a:lnTo>
                    <a:lnTo>
                      <a:pt x="824" y="174"/>
                    </a:lnTo>
                    <a:lnTo>
                      <a:pt x="824" y="178"/>
                    </a:lnTo>
                    <a:lnTo>
                      <a:pt x="828" y="180"/>
                    </a:lnTo>
                    <a:lnTo>
                      <a:pt x="832" y="184"/>
                    </a:lnTo>
                    <a:lnTo>
                      <a:pt x="844" y="188"/>
                    </a:lnTo>
                    <a:lnTo>
                      <a:pt x="852" y="192"/>
                    </a:lnTo>
                    <a:lnTo>
                      <a:pt x="860" y="198"/>
                    </a:lnTo>
                    <a:lnTo>
                      <a:pt x="860" y="198"/>
                    </a:lnTo>
                    <a:lnTo>
                      <a:pt x="870" y="206"/>
                    </a:lnTo>
                    <a:lnTo>
                      <a:pt x="878" y="212"/>
                    </a:lnTo>
                    <a:lnTo>
                      <a:pt x="886" y="214"/>
                    </a:lnTo>
                    <a:lnTo>
                      <a:pt x="892" y="216"/>
                    </a:lnTo>
                    <a:lnTo>
                      <a:pt x="906" y="218"/>
                    </a:lnTo>
                    <a:lnTo>
                      <a:pt x="916" y="220"/>
                    </a:lnTo>
                    <a:lnTo>
                      <a:pt x="926" y="226"/>
                    </a:lnTo>
                    <a:lnTo>
                      <a:pt x="926" y="226"/>
                    </a:lnTo>
                    <a:lnTo>
                      <a:pt x="940" y="232"/>
                    </a:lnTo>
                    <a:lnTo>
                      <a:pt x="954" y="238"/>
                    </a:lnTo>
                    <a:lnTo>
                      <a:pt x="966" y="242"/>
                    </a:lnTo>
                    <a:lnTo>
                      <a:pt x="980" y="252"/>
                    </a:lnTo>
                    <a:lnTo>
                      <a:pt x="980" y="252"/>
                    </a:lnTo>
                    <a:lnTo>
                      <a:pt x="988" y="258"/>
                    </a:lnTo>
                    <a:lnTo>
                      <a:pt x="994" y="266"/>
                    </a:lnTo>
                    <a:lnTo>
                      <a:pt x="1004" y="284"/>
                    </a:lnTo>
                    <a:lnTo>
                      <a:pt x="1014" y="302"/>
                    </a:lnTo>
                    <a:lnTo>
                      <a:pt x="1024" y="318"/>
                    </a:lnTo>
                    <a:lnTo>
                      <a:pt x="1024" y="318"/>
                    </a:lnTo>
                    <a:lnTo>
                      <a:pt x="1028" y="324"/>
                    </a:lnTo>
                    <a:lnTo>
                      <a:pt x="1030" y="328"/>
                    </a:lnTo>
                    <a:lnTo>
                      <a:pt x="1028" y="330"/>
                    </a:lnTo>
                    <a:lnTo>
                      <a:pt x="1026" y="332"/>
                    </a:lnTo>
                    <a:lnTo>
                      <a:pt x="1022" y="336"/>
                    </a:lnTo>
                    <a:lnTo>
                      <a:pt x="1020" y="338"/>
                    </a:lnTo>
                    <a:lnTo>
                      <a:pt x="1020" y="344"/>
                    </a:lnTo>
                    <a:lnTo>
                      <a:pt x="1020" y="344"/>
                    </a:lnTo>
                    <a:lnTo>
                      <a:pt x="1024" y="350"/>
                    </a:lnTo>
                    <a:lnTo>
                      <a:pt x="1028" y="354"/>
                    </a:lnTo>
                    <a:lnTo>
                      <a:pt x="1036" y="360"/>
                    </a:lnTo>
                    <a:lnTo>
                      <a:pt x="1040" y="364"/>
                    </a:lnTo>
                    <a:lnTo>
                      <a:pt x="1044" y="368"/>
                    </a:lnTo>
                    <a:lnTo>
                      <a:pt x="1044" y="372"/>
                    </a:lnTo>
                    <a:lnTo>
                      <a:pt x="1040" y="380"/>
                    </a:lnTo>
                    <a:lnTo>
                      <a:pt x="1040" y="380"/>
                    </a:lnTo>
                    <a:lnTo>
                      <a:pt x="1036" y="394"/>
                    </a:lnTo>
                    <a:lnTo>
                      <a:pt x="1036" y="396"/>
                    </a:lnTo>
                    <a:lnTo>
                      <a:pt x="1038" y="398"/>
                    </a:lnTo>
                    <a:lnTo>
                      <a:pt x="1044" y="396"/>
                    </a:lnTo>
                    <a:lnTo>
                      <a:pt x="1046" y="396"/>
                    </a:lnTo>
                    <a:lnTo>
                      <a:pt x="1050" y="396"/>
                    </a:lnTo>
                    <a:lnTo>
                      <a:pt x="1050" y="396"/>
                    </a:lnTo>
                    <a:lnTo>
                      <a:pt x="1052" y="398"/>
                    </a:lnTo>
                    <a:lnTo>
                      <a:pt x="1054" y="398"/>
                    </a:lnTo>
                    <a:lnTo>
                      <a:pt x="1060" y="398"/>
                    </a:lnTo>
                    <a:lnTo>
                      <a:pt x="1068" y="398"/>
                    </a:lnTo>
                    <a:lnTo>
                      <a:pt x="1074" y="400"/>
                    </a:lnTo>
                    <a:lnTo>
                      <a:pt x="1080" y="404"/>
                    </a:lnTo>
                    <a:lnTo>
                      <a:pt x="1078" y="116"/>
                    </a:lnTo>
                    <a:lnTo>
                      <a:pt x="1078" y="116"/>
                    </a:lnTo>
                    <a:lnTo>
                      <a:pt x="1070" y="114"/>
                    </a:lnTo>
                    <a:lnTo>
                      <a:pt x="1060" y="110"/>
                    </a:lnTo>
                    <a:lnTo>
                      <a:pt x="1038" y="100"/>
                    </a:lnTo>
                    <a:lnTo>
                      <a:pt x="1002" y="76"/>
                    </a:lnTo>
                    <a:lnTo>
                      <a:pt x="1002" y="76"/>
                    </a:lnTo>
                    <a:lnTo>
                      <a:pt x="996" y="72"/>
                    </a:lnTo>
                    <a:lnTo>
                      <a:pt x="988" y="72"/>
                    </a:lnTo>
                    <a:lnTo>
                      <a:pt x="982" y="74"/>
                    </a:lnTo>
                    <a:lnTo>
                      <a:pt x="976" y="76"/>
                    </a:lnTo>
                    <a:lnTo>
                      <a:pt x="970" y="80"/>
                    </a:lnTo>
                    <a:lnTo>
                      <a:pt x="966" y="84"/>
                    </a:lnTo>
                    <a:lnTo>
                      <a:pt x="964" y="88"/>
                    </a:lnTo>
                    <a:lnTo>
                      <a:pt x="964" y="92"/>
                    </a:lnTo>
                    <a:lnTo>
                      <a:pt x="964" y="92"/>
                    </a:lnTo>
                    <a:lnTo>
                      <a:pt x="966" y="96"/>
                    </a:lnTo>
                    <a:lnTo>
                      <a:pt x="964" y="100"/>
                    </a:lnTo>
                    <a:lnTo>
                      <a:pt x="956" y="106"/>
                    </a:lnTo>
                    <a:lnTo>
                      <a:pt x="946" y="110"/>
                    </a:lnTo>
                    <a:lnTo>
                      <a:pt x="942" y="110"/>
                    </a:lnTo>
                    <a:lnTo>
                      <a:pt x="938" y="108"/>
                    </a:lnTo>
                    <a:lnTo>
                      <a:pt x="938" y="108"/>
                    </a:lnTo>
                    <a:lnTo>
                      <a:pt x="936" y="108"/>
                    </a:lnTo>
                    <a:lnTo>
                      <a:pt x="934" y="110"/>
                    </a:lnTo>
                    <a:lnTo>
                      <a:pt x="928" y="116"/>
                    </a:lnTo>
                    <a:lnTo>
                      <a:pt x="914" y="138"/>
                    </a:lnTo>
                    <a:lnTo>
                      <a:pt x="906" y="148"/>
                    </a:lnTo>
                    <a:lnTo>
                      <a:pt x="898" y="158"/>
                    </a:lnTo>
                    <a:lnTo>
                      <a:pt x="890" y="164"/>
                    </a:lnTo>
                    <a:lnTo>
                      <a:pt x="886" y="164"/>
                    </a:lnTo>
                    <a:lnTo>
                      <a:pt x="882" y="164"/>
                    </a:lnTo>
                    <a:lnTo>
                      <a:pt x="882" y="164"/>
                    </a:lnTo>
                    <a:lnTo>
                      <a:pt x="876" y="160"/>
                    </a:lnTo>
                    <a:lnTo>
                      <a:pt x="872" y="156"/>
                    </a:lnTo>
                    <a:lnTo>
                      <a:pt x="870" y="150"/>
                    </a:lnTo>
                    <a:lnTo>
                      <a:pt x="868" y="144"/>
                    </a:lnTo>
                    <a:lnTo>
                      <a:pt x="864" y="132"/>
                    </a:lnTo>
                    <a:lnTo>
                      <a:pt x="862" y="126"/>
                    </a:lnTo>
                    <a:lnTo>
                      <a:pt x="860" y="120"/>
                    </a:lnTo>
                    <a:lnTo>
                      <a:pt x="860" y="120"/>
                    </a:lnTo>
                    <a:lnTo>
                      <a:pt x="856" y="118"/>
                    </a:lnTo>
                    <a:lnTo>
                      <a:pt x="854" y="118"/>
                    </a:lnTo>
                    <a:lnTo>
                      <a:pt x="852" y="124"/>
                    </a:lnTo>
                    <a:lnTo>
                      <a:pt x="852" y="126"/>
                    </a:lnTo>
                    <a:lnTo>
                      <a:pt x="852" y="126"/>
                    </a:lnTo>
                    <a:lnTo>
                      <a:pt x="846" y="114"/>
                    </a:lnTo>
                    <a:lnTo>
                      <a:pt x="846" y="114"/>
                    </a:lnTo>
                    <a:lnTo>
                      <a:pt x="842" y="102"/>
                    </a:lnTo>
                    <a:lnTo>
                      <a:pt x="842" y="94"/>
                    </a:lnTo>
                    <a:lnTo>
                      <a:pt x="842" y="86"/>
                    </a:lnTo>
                    <a:lnTo>
                      <a:pt x="844" y="80"/>
                    </a:lnTo>
                    <a:lnTo>
                      <a:pt x="846" y="66"/>
                    </a:lnTo>
                    <a:lnTo>
                      <a:pt x="846" y="58"/>
                    </a:lnTo>
                    <a:lnTo>
                      <a:pt x="844" y="48"/>
                    </a:lnTo>
                    <a:lnTo>
                      <a:pt x="844" y="48"/>
                    </a:lnTo>
                    <a:lnTo>
                      <a:pt x="840" y="40"/>
                    </a:lnTo>
                    <a:lnTo>
                      <a:pt x="838" y="36"/>
                    </a:lnTo>
                    <a:lnTo>
                      <a:pt x="834" y="36"/>
                    </a:lnTo>
                    <a:lnTo>
                      <a:pt x="830" y="36"/>
                    </a:lnTo>
                    <a:lnTo>
                      <a:pt x="826" y="36"/>
                    </a:lnTo>
                    <a:lnTo>
                      <a:pt x="818" y="36"/>
                    </a:lnTo>
                    <a:lnTo>
                      <a:pt x="810" y="32"/>
                    </a:lnTo>
                    <a:lnTo>
                      <a:pt x="798" y="26"/>
                    </a:lnTo>
                    <a:lnTo>
                      <a:pt x="798" y="26"/>
                    </a:lnTo>
                    <a:lnTo>
                      <a:pt x="786" y="18"/>
                    </a:lnTo>
                    <a:lnTo>
                      <a:pt x="776" y="16"/>
                    </a:lnTo>
                    <a:lnTo>
                      <a:pt x="770" y="16"/>
                    </a:lnTo>
                    <a:lnTo>
                      <a:pt x="764" y="20"/>
                    </a:lnTo>
                    <a:lnTo>
                      <a:pt x="756" y="28"/>
                    </a:lnTo>
                    <a:lnTo>
                      <a:pt x="752" y="32"/>
                    </a:lnTo>
                    <a:lnTo>
                      <a:pt x="748" y="34"/>
                    </a:lnTo>
                    <a:lnTo>
                      <a:pt x="748" y="34"/>
                    </a:lnTo>
                    <a:lnTo>
                      <a:pt x="740" y="36"/>
                    </a:lnTo>
                    <a:lnTo>
                      <a:pt x="732" y="38"/>
                    </a:lnTo>
                    <a:lnTo>
                      <a:pt x="728" y="40"/>
                    </a:lnTo>
                    <a:lnTo>
                      <a:pt x="726" y="42"/>
                    </a:lnTo>
                    <a:lnTo>
                      <a:pt x="726" y="46"/>
                    </a:lnTo>
                    <a:lnTo>
                      <a:pt x="726" y="46"/>
                    </a:lnTo>
                    <a:close/>
                    <a:moveTo>
                      <a:pt x="1600" y="438"/>
                    </a:moveTo>
                    <a:lnTo>
                      <a:pt x="1600" y="438"/>
                    </a:lnTo>
                    <a:lnTo>
                      <a:pt x="1594" y="436"/>
                    </a:lnTo>
                    <a:lnTo>
                      <a:pt x="1588" y="434"/>
                    </a:lnTo>
                    <a:lnTo>
                      <a:pt x="1586" y="436"/>
                    </a:lnTo>
                    <a:lnTo>
                      <a:pt x="1588" y="438"/>
                    </a:lnTo>
                    <a:lnTo>
                      <a:pt x="1588" y="438"/>
                    </a:lnTo>
                    <a:lnTo>
                      <a:pt x="1590" y="442"/>
                    </a:lnTo>
                    <a:lnTo>
                      <a:pt x="1590" y="444"/>
                    </a:lnTo>
                    <a:lnTo>
                      <a:pt x="1592" y="446"/>
                    </a:lnTo>
                    <a:lnTo>
                      <a:pt x="1596" y="448"/>
                    </a:lnTo>
                    <a:lnTo>
                      <a:pt x="1596" y="448"/>
                    </a:lnTo>
                    <a:lnTo>
                      <a:pt x="1600" y="448"/>
                    </a:lnTo>
                    <a:lnTo>
                      <a:pt x="1604" y="446"/>
                    </a:lnTo>
                    <a:lnTo>
                      <a:pt x="1604" y="444"/>
                    </a:lnTo>
                    <a:lnTo>
                      <a:pt x="1600" y="438"/>
                    </a:lnTo>
                    <a:lnTo>
                      <a:pt x="1600" y="438"/>
                    </a:lnTo>
                    <a:close/>
                    <a:moveTo>
                      <a:pt x="1606" y="1248"/>
                    </a:moveTo>
                    <a:lnTo>
                      <a:pt x="1606" y="1248"/>
                    </a:lnTo>
                    <a:lnTo>
                      <a:pt x="1606" y="1252"/>
                    </a:lnTo>
                    <a:lnTo>
                      <a:pt x="1604" y="1260"/>
                    </a:lnTo>
                    <a:lnTo>
                      <a:pt x="1604" y="1268"/>
                    </a:lnTo>
                    <a:lnTo>
                      <a:pt x="1604" y="1272"/>
                    </a:lnTo>
                    <a:lnTo>
                      <a:pt x="1606" y="1274"/>
                    </a:lnTo>
                    <a:lnTo>
                      <a:pt x="1606" y="1274"/>
                    </a:lnTo>
                    <a:lnTo>
                      <a:pt x="1608" y="1274"/>
                    </a:lnTo>
                    <a:lnTo>
                      <a:pt x="1610" y="1270"/>
                    </a:lnTo>
                    <a:lnTo>
                      <a:pt x="1610" y="1260"/>
                    </a:lnTo>
                    <a:lnTo>
                      <a:pt x="1610" y="1260"/>
                    </a:lnTo>
                    <a:lnTo>
                      <a:pt x="1614" y="1250"/>
                    </a:lnTo>
                    <a:lnTo>
                      <a:pt x="1620" y="1240"/>
                    </a:lnTo>
                    <a:lnTo>
                      <a:pt x="1620" y="1240"/>
                    </a:lnTo>
                    <a:lnTo>
                      <a:pt x="1620" y="1236"/>
                    </a:lnTo>
                    <a:lnTo>
                      <a:pt x="1618" y="1232"/>
                    </a:lnTo>
                    <a:lnTo>
                      <a:pt x="1618" y="1228"/>
                    </a:lnTo>
                    <a:lnTo>
                      <a:pt x="1616" y="1224"/>
                    </a:lnTo>
                    <a:lnTo>
                      <a:pt x="1616" y="1224"/>
                    </a:lnTo>
                    <a:lnTo>
                      <a:pt x="1616" y="1220"/>
                    </a:lnTo>
                    <a:lnTo>
                      <a:pt x="1614" y="1220"/>
                    </a:lnTo>
                    <a:lnTo>
                      <a:pt x="1612" y="1224"/>
                    </a:lnTo>
                    <a:lnTo>
                      <a:pt x="1612" y="1230"/>
                    </a:lnTo>
                    <a:lnTo>
                      <a:pt x="1612" y="1230"/>
                    </a:lnTo>
                    <a:lnTo>
                      <a:pt x="1612" y="1234"/>
                    </a:lnTo>
                    <a:lnTo>
                      <a:pt x="1612" y="1236"/>
                    </a:lnTo>
                    <a:lnTo>
                      <a:pt x="1608" y="1240"/>
                    </a:lnTo>
                    <a:lnTo>
                      <a:pt x="1606" y="1244"/>
                    </a:lnTo>
                    <a:lnTo>
                      <a:pt x="1604" y="1246"/>
                    </a:lnTo>
                    <a:lnTo>
                      <a:pt x="1606" y="1248"/>
                    </a:lnTo>
                    <a:lnTo>
                      <a:pt x="1606" y="1248"/>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sp>
            <p:nvSpPr>
              <p:cNvPr id="109" name="Freeform 6152"/>
              <p:cNvSpPr>
                <a:spLocks/>
              </p:cNvSpPr>
              <p:nvPr/>
            </p:nvSpPr>
            <p:spPr bwMode="auto">
              <a:xfrm>
                <a:off x="4751495" y="3153578"/>
                <a:ext cx="1660" cy="3318"/>
              </a:xfrm>
              <a:custGeom>
                <a:avLst/>
                <a:gdLst>
                  <a:gd name="T0" fmla="*/ 2147483647 w 4"/>
                  <a:gd name="T1" fmla="*/ 2147483647 h 6"/>
                  <a:gd name="T2" fmla="*/ 2147483647 w 4"/>
                  <a:gd name="T3" fmla="*/ 2147483647 h 6"/>
                  <a:gd name="T4" fmla="*/ 2147483647 w 4"/>
                  <a:gd name="T5" fmla="*/ 2147483647 h 6"/>
                  <a:gd name="T6" fmla="*/ 0 w 4"/>
                  <a:gd name="T7" fmla="*/ 0 h 6"/>
                  <a:gd name="T8" fmla="*/ 2147483647 w 4"/>
                  <a:gd name="T9" fmla="*/ 2147483647 h 6"/>
                  <a:gd name="T10" fmla="*/ 2147483647 w 4"/>
                  <a:gd name="T11" fmla="*/ 2147483647 h 6"/>
                  <a:gd name="T12" fmla="*/ 2147483647 w 4"/>
                  <a:gd name="T13" fmla="*/ 2147483647 h 6"/>
                  <a:gd name="T14" fmla="*/ 2147483647 w 4"/>
                  <a:gd name="T15" fmla="*/ 2147483647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4" y="6"/>
                    </a:moveTo>
                    <a:lnTo>
                      <a:pt x="4" y="6"/>
                    </a:lnTo>
                    <a:lnTo>
                      <a:pt x="4" y="4"/>
                    </a:lnTo>
                    <a:lnTo>
                      <a:pt x="0" y="0"/>
                    </a:lnTo>
                    <a:lnTo>
                      <a:pt x="2" y="4"/>
                    </a:lnTo>
                    <a:lnTo>
                      <a:pt x="4" y="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mn-lt"/>
                  <a:ea typeface="MS PGothic" pitchFamily="34" charset="-128"/>
                  <a:cs typeface="+mn-cs"/>
                </a:endParaRPr>
              </a:p>
            </p:txBody>
          </p:sp>
          <p:sp>
            <p:nvSpPr>
              <p:cNvPr id="110" name="Freeform 6153"/>
              <p:cNvSpPr>
                <a:spLocks noEditPoints="1"/>
              </p:cNvSpPr>
              <p:nvPr/>
            </p:nvSpPr>
            <p:spPr bwMode="auto">
              <a:xfrm>
                <a:off x="3608252" y="2972752"/>
                <a:ext cx="1589590" cy="2077008"/>
              </a:xfrm>
              <a:custGeom>
                <a:avLst/>
                <a:gdLst/>
                <a:ahLst/>
                <a:cxnLst>
                  <a:cxn ang="0">
                    <a:pos x="2626" y="2588"/>
                  </a:cxn>
                  <a:cxn ang="0">
                    <a:pos x="2478" y="2732"/>
                  </a:cxn>
                  <a:cxn ang="0">
                    <a:pos x="2470" y="2928"/>
                  </a:cxn>
                  <a:cxn ang="0">
                    <a:pos x="2514" y="3136"/>
                  </a:cxn>
                  <a:cxn ang="0">
                    <a:pos x="2698" y="2722"/>
                  </a:cxn>
                  <a:cxn ang="0">
                    <a:pos x="2736" y="2624"/>
                  </a:cxn>
                  <a:cxn ang="0">
                    <a:pos x="2676" y="1330"/>
                  </a:cxn>
                  <a:cxn ang="0">
                    <a:pos x="2484" y="1368"/>
                  </a:cxn>
                  <a:cxn ang="0">
                    <a:pos x="2416" y="1236"/>
                  </a:cxn>
                  <a:cxn ang="0">
                    <a:pos x="2338" y="1150"/>
                  </a:cxn>
                  <a:cxn ang="0">
                    <a:pos x="2260" y="998"/>
                  </a:cxn>
                  <a:cxn ang="0">
                    <a:pos x="2208" y="850"/>
                  </a:cxn>
                  <a:cxn ang="0">
                    <a:pos x="2132" y="716"/>
                  </a:cxn>
                  <a:cxn ang="0">
                    <a:pos x="2050" y="494"/>
                  </a:cxn>
                  <a:cxn ang="0">
                    <a:pos x="1990" y="314"/>
                  </a:cxn>
                  <a:cxn ang="0">
                    <a:pos x="1886" y="346"/>
                  </a:cxn>
                  <a:cxn ang="0">
                    <a:pos x="1718" y="308"/>
                  </a:cxn>
                  <a:cxn ang="0">
                    <a:pos x="1550" y="246"/>
                  </a:cxn>
                  <a:cxn ang="0">
                    <a:pos x="1376" y="328"/>
                  </a:cxn>
                  <a:cxn ang="0">
                    <a:pos x="1172" y="224"/>
                  </a:cxn>
                  <a:cxn ang="0">
                    <a:pos x="1152" y="110"/>
                  </a:cxn>
                  <a:cxn ang="0">
                    <a:pos x="1122" y="32"/>
                  </a:cxn>
                  <a:cxn ang="0">
                    <a:pos x="998" y="14"/>
                  </a:cxn>
                  <a:cxn ang="0">
                    <a:pos x="842" y="28"/>
                  </a:cxn>
                  <a:cxn ang="0">
                    <a:pos x="668" y="86"/>
                  </a:cxn>
                  <a:cxn ang="0">
                    <a:pos x="542" y="114"/>
                  </a:cxn>
                  <a:cxn ang="0">
                    <a:pos x="332" y="256"/>
                  </a:cxn>
                  <a:cxn ang="0">
                    <a:pos x="196" y="492"/>
                  </a:cxn>
                  <a:cxn ang="0">
                    <a:pos x="60" y="714"/>
                  </a:cxn>
                  <a:cxn ang="0">
                    <a:pos x="24" y="846"/>
                  </a:cxn>
                  <a:cxn ang="0">
                    <a:pos x="60" y="986"/>
                  </a:cxn>
                  <a:cxn ang="0">
                    <a:pos x="40" y="1222"/>
                  </a:cxn>
                  <a:cxn ang="0">
                    <a:pos x="54" y="1264"/>
                  </a:cxn>
                  <a:cxn ang="0">
                    <a:pos x="54" y="1300"/>
                  </a:cxn>
                  <a:cxn ang="0">
                    <a:pos x="86" y="1336"/>
                  </a:cxn>
                  <a:cxn ang="0">
                    <a:pos x="112" y="1360"/>
                  </a:cxn>
                  <a:cxn ang="0">
                    <a:pos x="168" y="1432"/>
                  </a:cxn>
                  <a:cxn ang="0">
                    <a:pos x="182" y="1482"/>
                  </a:cxn>
                  <a:cxn ang="0">
                    <a:pos x="270" y="1570"/>
                  </a:cxn>
                  <a:cxn ang="0">
                    <a:pos x="504" y="1632"/>
                  </a:cxn>
                  <a:cxn ang="0">
                    <a:pos x="648" y="1636"/>
                  </a:cxn>
                  <a:cxn ang="0">
                    <a:pos x="844" y="1564"/>
                  </a:cxn>
                  <a:cxn ang="0">
                    <a:pos x="996" y="1658"/>
                  </a:cxn>
                  <a:cxn ang="0">
                    <a:pos x="1088" y="1684"/>
                  </a:cxn>
                  <a:cxn ang="0">
                    <a:pos x="1082" y="1824"/>
                  </a:cxn>
                  <a:cxn ang="0">
                    <a:pos x="1104" y="1880"/>
                  </a:cxn>
                  <a:cxn ang="0">
                    <a:pos x="1088" y="1988"/>
                  </a:cxn>
                  <a:cxn ang="0">
                    <a:pos x="1208" y="2168"/>
                  </a:cxn>
                  <a:cxn ang="0">
                    <a:pos x="1256" y="2396"/>
                  </a:cxn>
                  <a:cxn ang="0">
                    <a:pos x="1176" y="2736"/>
                  </a:cxn>
                  <a:cxn ang="0">
                    <a:pos x="1334" y="3266"/>
                  </a:cxn>
                  <a:cxn ang="0">
                    <a:pos x="1424" y="3532"/>
                  </a:cxn>
                  <a:cxn ang="0">
                    <a:pos x="1472" y="3606"/>
                  </a:cxn>
                  <a:cxn ang="0">
                    <a:pos x="1590" y="3598"/>
                  </a:cxn>
                  <a:cxn ang="0">
                    <a:pos x="1740" y="3574"/>
                  </a:cxn>
                  <a:cxn ang="0">
                    <a:pos x="2018" y="3276"/>
                  </a:cxn>
                  <a:cxn ang="0">
                    <a:pos x="2134" y="3056"/>
                  </a:cxn>
                  <a:cxn ang="0">
                    <a:pos x="2108" y="2854"/>
                  </a:cxn>
                  <a:cxn ang="0">
                    <a:pos x="2336" y="2636"/>
                  </a:cxn>
                  <a:cxn ang="0">
                    <a:pos x="2324" y="2384"/>
                  </a:cxn>
                  <a:cxn ang="0">
                    <a:pos x="2282" y="2206"/>
                  </a:cxn>
                  <a:cxn ang="0">
                    <a:pos x="2350" y="1998"/>
                  </a:cxn>
                  <a:cxn ang="0">
                    <a:pos x="2646" y="1646"/>
                  </a:cxn>
                </a:cxnLst>
                <a:rect l="0" t="0" r="r" b="b"/>
                <a:pathLst>
                  <a:path w="2776" h="3628">
                    <a:moveTo>
                      <a:pt x="2710" y="2504"/>
                    </a:moveTo>
                    <a:lnTo>
                      <a:pt x="2710" y="2504"/>
                    </a:lnTo>
                    <a:lnTo>
                      <a:pt x="2706" y="2498"/>
                    </a:lnTo>
                    <a:lnTo>
                      <a:pt x="2702" y="2492"/>
                    </a:lnTo>
                    <a:lnTo>
                      <a:pt x="2698" y="2476"/>
                    </a:lnTo>
                    <a:lnTo>
                      <a:pt x="2696" y="2470"/>
                    </a:lnTo>
                    <a:lnTo>
                      <a:pt x="2692" y="2466"/>
                    </a:lnTo>
                    <a:lnTo>
                      <a:pt x="2690" y="2468"/>
                    </a:lnTo>
                    <a:lnTo>
                      <a:pt x="2684" y="2472"/>
                    </a:lnTo>
                    <a:lnTo>
                      <a:pt x="2684" y="2472"/>
                    </a:lnTo>
                    <a:lnTo>
                      <a:pt x="2680" y="2480"/>
                    </a:lnTo>
                    <a:lnTo>
                      <a:pt x="2678" y="2486"/>
                    </a:lnTo>
                    <a:lnTo>
                      <a:pt x="2676" y="2508"/>
                    </a:lnTo>
                    <a:lnTo>
                      <a:pt x="2676" y="2508"/>
                    </a:lnTo>
                    <a:lnTo>
                      <a:pt x="2674" y="2518"/>
                    </a:lnTo>
                    <a:lnTo>
                      <a:pt x="2672" y="2526"/>
                    </a:lnTo>
                    <a:lnTo>
                      <a:pt x="2668" y="2532"/>
                    </a:lnTo>
                    <a:lnTo>
                      <a:pt x="2664" y="2536"/>
                    </a:lnTo>
                    <a:lnTo>
                      <a:pt x="2656" y="2542"/>
                    </a:lnTo>
                    <a:lnTo>
                      <a:pt x="2648" y="2544"/>
                    </a:lnTo>
                    <a:lnTo>
                      <a:pt x="2634" y="2546"/>
                    </a:lnTo>
                    <a:lnTo>
                      <a:pt x="2632" y="2548"/>
                    </a:lnTo>
                    <a:lnTo>
                      <a:pt x="2632" y="2554"/>
                    </a:lnTo>
                    <a:lnTo>
                      <a:pt x="2632" y="2554"/>
                    </a:lnTo>
                    <a:lnTo>
                      <a:pt x="2638" y="2566"/>
                    </a:lnTo>
                    <a:lnTo>
                      <a:pt x="2636" y="2572"/>
                    </a:lnTo>
                    <a:lnTo>
                      <a:pt x="2636" y="2576"/>
                    </a:lnTo>
                    <a:lnTo>
                      <a:pt x="2626" y="2588"/>
                    </a:lnTo>
                    <a:lnTo>
                      <a:pt x="2606" y="2608"/>
                    </a:lnTo>
                    <a:lnTo>
                      <a:pt x="2606" y="2608"/>
                    </a:lnTo>
                    <a:lnTo>
                      <a:pt x="2596" y="2618"/>
                    </a:lnTo>
                    <a:lnTo>
                      <a:pt x="2588" y="2628"/>
                    </a:lnTo>
                    <a:lnTo>
                      <a:pt x="2578" y="2640"/>
                    </a:lnTo>
                    <a:lnTo>
                      <a:pt x="2572" y="2646"/>
                    </a:lnTo>
                    <a:lnTo>
                      <a:pt x="2564" y="2650"/>
                    </a:lnTo>
                    <a:lnTo>
                      <a:pt x="2554" y="2652"/>
                    </a:lnTo>
                    <a:lnTo>
                      <a:pt x="2538" y="2656"/>
                    </a:lnTo>
                    <a:lnTo>
                      <a:pt x="2538" y="2656"/>
                    </a:lnTo>
                    <a:lnTo>
                      <a:pt x="2530" y="2658"/>
                    </a:lnTo>
                    <a:lnTo>
                      <a:pt x="2526" y="2660"/>
                    </a:lnTo>
                    <a:lnTo>
                      <a:pt x="2522" y="2664"/>
                    </a:lnTo>
                    <a:lnTo>
                      <a:pt x="2520" y="2668"/>
                    </a:lnTo>
                    <a:lnTo>
                      <a:pt x="2516" y="2670"/>
                    </a:lnTo>
                    <a:lnTo>
                      <a:pt x="2512" y="2670"/>
                    </a:lnTo>
                    <a:lnTo>
                      <a:pt x="2506" y="2670"/>
                    </a:lnTo>
                    <a:lnTo>
                      <a:pt x="2506" y="2670"/>
                    </a:lnTo>
                    <a:lnTo>
                      <a:pt x="2500" y="2670"/>
                    </a:lnTo>
                    <a:lnTo>
                      <a:pt x="2496" y="2670"/>
                    </a:lnTo>
                    <a:lnTo>
                      <a:pt x="2496" y="2672"/>
                    </a:lnTo>
                    <a:lnTo>
                      <a:pt x="2496" y="2676"/>
                    </a:lnTo>
                    <a:lnTo>
                      <a:pt x="2494" y="2690"/>
                    </a:lnTo>
                    <a:lnTo>
                      <a:pt x="2492" y="2700"/>
                    </a:lnTo>
                    <a:lnTo>
                      <a:pt x="2486" y="2712"/>
                    </a:lnTo>
                    <a:lnTo>
                      <a:pt x="2486" y="2712"/>
                    </a:lnTo>
                    <a:lnTo>
                      <a:pt x="2480" y="2724"/>
                    </a:lnTo>
                    <a:lnTo>
                      <a:pt x="2478" y="2732"/>
                    </a:lnTo>
                    <a:lnTo>
                      <a:pt x="2478" y="2738"/>
                    </a:lnTo>
                    <a:lnTo>
                      <a:pt x="2478" y="2742"/>
                    </a:lnTo>
                    <a:lnTo>
                      <a:pt x="2482" y="2750"/>
                    </a:lnTo>
                    <a:lnTo>
                      <a:pt x="2482" y="2754"/>
                    </a:lnTo>
                    <a:lnTo>
                      <a:pt x="2482" y="2762"/>
                    </a:lnTo>
                    <a:lnTo>
                      <a:pt x="2482" y="2762"/>
                    </a:lnTo>
                    <a:lnTo>
                      <a:pt x="2480" y="2772"/>
                    </a:lnTo>
                    <a:lnTo>
                      <a:pt x="2480" y="2778"/>
                    </a:lnTo>
                    <a:lnTo>
                      <a:pt x="2484" y="2790"/>
                    </a:lnTo>
                    <a:lnTo>
                      <a:pt x="2488" y="2798"/>
                    </a:lnTo>
                    <a:lnTo>
                      <a:pt x="2488" y="2802"/>
                    </a:lnTo>
                    <a:lnTo>
                      <a:pt x="2488" y="2806"/>
                    </a:lnTo>
                    <a:lnTo>
                      <a:pt x="2488" y="2806"/>
                    </a:lnTo>
                    <a:lnTo>
                      <a:pt x="2488" y="2814"/>
                    </a:lnTo>
                    <a:lnTo>
                      <a:pt x="2490" y="2820"/>
                    </a:lnTo>
                    <a:lnTo>
                      <a:pt x="2494" y="2832"/>
                    </a:lnTo>
                    <a:lnTo>
                      <a:pt x="2498" y="2848"/>
                    </a:lnTo>
                    <a:lnTo>
                      <a:pt x="2498" y="2848"/>
                    </a:lnTo>
                    <a:lnTo>
                      <a:pt x="2498" y="2860"/>
                    </a:lnTo>
                    <a:lnTo>
                      <a:pt x="2496" y="2868"/>
                    </a:lnTo>
                    <a:lnTo>
                      <a:pt x="2492" y="2876"/>
                    </a:lnTo>
                    <a:lnTo>
                      <a:pt x="2488" y="2884"/>
                    </a:lnTo>
                    <a:lnTo>
                      <a:pt x="2480" y="2900"/>
                    </a:lnTo>
                    <a:lnTo>
                      <a:pt x="2476" y="2908"/>
                    </a:lnTo>
                    <a:lnTo>
                      <a:pt x="2474" y="2916"/>
                    </a:lnTo>
                    <a:lnTo>
                      <a:pt x="2474" y="2916"/>
                    </a:lnTo>
                    <a:lnTo>
                      <a:pt x="2472" y="2924"/>
                    </a:lnTo>
                    <a:lnTo>
                      <a:pt x="2470" y="2928"/>
                    </a:lnTo>
                    <a:lnTo>
                      <a:pt x="2466" y="2928"/>
                    </a:lnTo>
                    <a:lnTo>
                      <a:pt x="2464" y="2928"/>
                    </a:lnTo>
                    <a:lnTo>
                      <a:pt x="2462" y="2930"/>
                    </a:lnTo>
                    <a:lnTo>
                      <a:pt x="2458" y="2934"/>
                    </a:lnTo>
                    <a:lnTo>
                      <a:pt x="2454" y="2942"/>
                    </a:lnTo>
                    <a:lnTo>
                      <a:pt x="2450" y="2954"/>
                    </a:lnTo>
                    <a:lnTo>
                      <a:pt x="2450" y="2954"/>
                    </a:lnTo>
                    <a:lnTo>
                      <a:pt x="2448" y="2968"/>
                    </a:lnTo>
                    <a:lnTo>
                      <a:pt x="2446" y="2980"/>
                    </a:lnTo>
                    <a:lnTo>
                      <a:pt x="2448" y="2990"/>
                    </a:lnTo>
                    <a:lnTo>
                      <a:pt x="2448" y="2998"/>
                    </a:lnTo>
                    <a:lnTo>
                      <a:pt x="2456" y="3012"/>
                    </a:lnTo>
                    <a:lnTo>
                      <a:pt x="2464" y="3026"/>
                    </a:lnTo>
                    <a:lnTo>
                      <a:pt x="2464" y="3026"/>
                    </a:lnTo>
                    <a:lnTo>
                      <a:pt x="2466" y="3034"/>
                    </a:lnTo>
                    <a:lnTo>
                      <a:pt x="2466" y="3040"/>
                    </a:lnTo>
                    <a:lnTo>
                      <a:pt x="2466" y="3054"/>
                    </a:lnTo>
                    <a:lnTo>
                      <a:pt x="2464" y="3062"/>
                    </a:lnTo>
                    <a:lnTo>
                      <a:pt x="2466" y="3072"/>
                    </a:lnTo>
                    <a:lnTo>
                      <a:pt x="2468" y="3084"/>
                    </a:lnTo>
                    <a:lnTo>
                      <a:pt x="2474" y="3100"/>
                    </a:lnTo>
                    <a:lnTo>
                      <a:pt x="2474" y="3100"/>
                    </a:lnTo>
                    <a:lnTo>
                      <a:pt x="2480" y="3114"/>
                    </a:lnTo>
                    <a:lnTo>
                      <a:pt x="2486" y="3122"/>
                    </a:lnTo>
                    <a:lnTo>
                      <a:pt x="2492" y="3126"/>
                    </a:lnTo>
                    <a:lnTo>
                      <a:pt x="2498" y="3130"/>
                    </a:lnTo>
                    <a:lnTo>
                      <a:pt x="2510" y="3134"/>
                    </a:lnTo>
                    <a:lnTo>
                      <a:pt x="2514" y="3136"/>
                    </a:lnTo>
                    <a:lnTo>
                      <a:pt x="2520" y="3142"/>
                    </a:lnTo>
                    <a:lnTo>
                      <a:pt x="2520" y="3142"/>
                    </a:lnTo>
                    <a:lnTo>
                      <a:pt x="2522" y="3144"/>
                    </a:lnTo>
                    <a:lnTo>
                      <a:pt x="2526" y="3146"/>
                    </a:lnTo>
                    <a:lnTo>
                      <a:pt x="2534" y="3146"/>
                    </a:lnTo>
                    <a:lnTo>
                      <a:pt x="2544" y="3144"/>
                    </a:lnTo>
                    <a:lnTo>
                      <a:pt x="2554" y="3140"/>
                    </a:lnTo>
                    <a:lnTo>
                      <a:pt x="2574" y="3128"/>
                    </a:lnTo>
                    <a:lnTo>
                      <a:pt x="2584" y="3124"/>
                    </a:lnTo>
                    <a:lnTo>
                      <a:pt x="2594" y="3122"/>
                    </a:lnTo>
                    <a:lnTo>
                      <a:pt x="2594" y="3122"/>
                    </a:lnTo>
                    <a:lnTo>
                      <a:pt x="2598" y="3120"/>
                    </a:lnTo>
                    <a:lnTo>
                      <a:pt x="2602" y="3116"/>
                    </a:lnTo>
                    <a:lnTo>
                      <a:pt x="2610" y="3096"/>
                    </a:lnTo>
                    <a:lnTo>
                      <a:pt x="2620" y="3068"/>
                    </a:lnTo>
                    <a:lnTo>
                      <a:pt x="2628" y="3034"/>
                    </a:lnTo>
                    <a:lnTo>
                      <a:pt x="2648" y="2952"/>
                    </a:lnTo>
                    <a:lnTo>
                      <a:pt x="2668" y="2870"/>
                    </a:lnTo>
                    <a:lnTo>
                      <a:pt x="2668" y="2870"/>
                    </a:lnTo>
                    <a:lnTo>
                      <a:pt x="2682" y="2822"/>
                    </a:lnTo>
                    <a:lnTo>
                      <a:pt x="2694" y="2792"/>
                    </a:lnTo>
                    <a:lnTo>
                      <a:pt x="2696" y="2780"/>
                    </a:lnTo>
                    <a:lnTo>
                      <a:pt x="2700" y="2768"/>
                    </a:lnTo>
                    <a:lnTo>
                      <a:pt x="2700" y="2756"/>
                    </a:lnTo>
                    <a:lnTo>
                      <a:pt x="2698" y="2742"/>
                    </a:lnTo>
                    <a:lnTo>
                      <a:pt x="2698" y="2742"/>
                    </a:lnTo>
                    <a:lnTo>
                      <a:pt x="2698" y="2730"/>
                    </a:lnTo>
                    <a:lnTo>
                      <a:pt x="2698" y="2722"/>
                    </a:lnTo>
                    <a:lnTo>
                      <a:pt x="2700" y="2718"/>
                    </a:lnTo>
                    <a:lnTo>
                      <a:pt x="2704" y="2714"/>
                    </a:lnTo>
                    <a:lnTo>
                      <a:pt x="2710" y="2710"/>
                    </a:lnTo>
                    <a:lnTo>
                      <a:pt x="2712" y="2706"/>
                    </a:lnTo>
                    <a:lnTo>
                      <a:pt x="2710" y="2700"/>
                    </a:lnTo>
                    <a:lnTo>
                      <a:pt x="2710" y="2700"/>
                    </a:lnTo>
                    <a:lnTo>
                      <a:pt x="2710" y="2690"/>
                    </a:lnTo>
                    <a:lnTo>
                      <a:pt x="2712" y="2684"/>
                    </a:lnTo>
                    <a:lnTo>
                      <a:pt x="2712" y="2674"/>
                    </a:lnTo>
                    <a:lnTo>
                      <a:pt x="2712" y="2670"/>
                    </a:lnTo>
                    <a:lnTo>
                      <a:pt x="2710" y="2662"/>
                    </a:lnTo>
                    <a:lnTo>
                      <a:pt x="2710" y="2662"/>
                    </a:lnTo>
                    <a:lnTo>
                      <a:pt x="2706" y="2654"/>
                    </a:lnTo>
                    <a:lnTo>
                      <a:pt x="2706" y="2648"/>
                    </a:lnTo>
                    <a:lnTo>
                      <a:pt x="2706" y="2642"/>
                    </a:lnTo>
                    <a:lnTo>
                      <a:pt x="2708" y="2638"/>
                    </a:lnTo>
                    <a:lnTo>
                      <a:pt x="2710" y="2636"/>
                    </a:lnTo>
                    <a:lnTo>
                      <a:pt x="2714" y="2640"/>
                    </a:lnTo>
                    <a:lnTo>
                      <a:pt x="2718" y="2646"/>
                    </a:lnTo>
                    <a:lnTo>
                      <a:pt x="2722" y="2658"/>
                    </a:lnTo>
                    <a:lnTo>
                      <a:pt x="2722" y="2658"/>
                    </a:lnTo>
                    <a:lnTo>
                      <a:pt x="2724" y="2662"/>
                    </a:lnTo>
                    <a:lnTo>
                      <a:pt x="2728" y="2662"/>
                    </a:lnTo>
                    <a:lnTo>
                      <a:pt x="2732" y="2658"/>
                    </a:lnTo>
                    <a:lnTo>
                      <a:pt x="2734" y="2652"/>
                    </a:lnTo>
                    <a:lnTo>
                      <a:pt x="2736" y="2644"/>
                    </a:lnTo>
                    <a:lnTo>
                      <a:pt x="2738" y="2634"/>
                    </a:lnTo>
                    <a:lnTo>
                      <a:pt x="2736" y="2624"/>
                    </a:lnTo>
                    <a:lnTo>
                      <a:pt x="2734" y="2614"/>
                    </a:lnTo>
                    <a:lnTo>
                      <a:pt x="2734" y="2614"/>
                    </a:lnTo>
                    <a:lnTo>
                      <a:pt x="2732" y="2604"/>
                    </a:lnTo>
                    <a:lnTo>
                      <a:pt x="2730" y="2590"/>
                    </a:lnTo>
                    <a:lnTo>
                      <a:pt x="2724" y="2556"/>
                    </a:lnTo>
                    <a:lnTo>
                      <a:pt x="2720" y="2522"/>
                    </a:lnTo>
                    <a:lnTo>
                      <a:pt x="2716" y="2510"/>
                    </a:lnTo>
                    <a:lnTo>
                      <a:pt x="2710" y="2504"/>
                    </a:lnTo>
                    <a:lnTo>
                      <a:pt x="2710" y="2504"/>
                    </a:lnTo>
                    <a:close/>
                    <a:moveTo>
                      <a:pt x="2770" y="1364"/>
                    </a:moveTo>
                    <a:lnTo>
                      <a:pt x="2770" y="1364"/>
                    </a:lnTo>
                    <a:lnTo>
                      <a:pt x="2764" y="1352"/>
                    </a:lnTo>
                    <a:lnTo>
                      <a:pt x="2762" y="1342"/>
                    </a:lnTo>
                    <a:lnTo>
                      <a:pt x="2764" y="1332"/>
                    </a:lnTo>
                    <a:lnTo>
                      <a:pt x="2766" y="1322"/>
                    </a:lnTo>
                    <a:lnTo>
                      <a:pt x="2770" y="1316"/>
                    </a:lnTo>
                    <a:lnTo>
                      <a:pt x="2770" y="1308"/>
                    </a:lnTo>
                    <a:lnTo>
                      <a:pt x="2768" y="1304"/>
                    </a:lnTo>
                    <a:lnTo>
                      <a:pt x="2762" y="1300"/>
                    </a:lnTo>
                    <a:lnTo>
                      <a:pt x="2762" y="1300"/>
                    </a:lnTo>
                    <a:lnTo>
                      <a:pt x="2752" y="1300"/>
                    </a:lnTo>
                    <a:lnTo>
                      <a:pt x="2746" y="1302"/>
                    </a:lnTo>
                    <a:lnTo>
                      <a:pt x="2730" y="1314"/>
                    </a:lnTo>
                    <a:lnTo>
                      <a:pt x="2720" y="1320"/>
                    </a:lnTo>
                    <a:lnTo>
                      <a:pt x="2708" y="1326"/>
                    </a:lnTo>
                    <a:lnTo>
                      <a:pt x="2694" y="1330"/>
                    </a:lnTo>
                    <a:lnTo>
                      <a:pt x="2676" y="1330"/>
                    </a:lnTo>
                    <a:lnTo>
                      <a:pt x="2676" y="1330"/>
                    </a:lnTo>
                    <a:lnTo>
                      <a:pt x="2660" y="1332"/>
                    </a:lnTo>
                    <a:lnTo>
                      <a:pt x="2650" y="1332"/>
                    </a:lnTo>
                    <a:lnTo>
                      <a:pt x="2646" y="1334"/>
                    </a:lnTo>
                    <a:lnTo>
                      <a:pt x="2646" y="1336"/>
                    </a:lnTo>
                    <a:lnTo>
                      <a:pt x="2646" y="1338"/>
                    </a:lnTo>
                    <a:lnTo>
                      <a:pt x="2644" y="1340"/>
                    </a:lnTo>
                    <a:lnTo>
                      <a:pt x="2640" y="1340"/>
                    </a:lnTo>
                    <a:lnTo>
                      <a:pt x="2630" y="1340"/>
                    </a:lnTo>
                    <a:lnTo>
                      <a:pt x="2630" y="1340"/>
                    </a:lnTo>
                    <a:lnTo>
                      <a:pt x="2618" y="1340"/>
                    </a:lnTo>
                    <a:lnTo>
                      <a:pt x="2608" y="1342"/>
                    </a:lnTo>
                    <a:lnTo>
                      <a:pt x="2602" y="1346"/>
                    </a:lnTo>
                    <a:lnTo>
                      <a:pt x="2596" y="1352"/>
                    </a:lnTo>
                    <a:lnTo>
                      <a:pt x="2590" y="1356"/>
                    </a:lnTo>
                    <a:lnTo>
                      <a:pt x="2584" y="1360"/>
                    </a:lnTo>
                    <a:lnTo>
                      <a:pt x="2574" y="1360"/>
                    </a:lnTo>
                    <a:lnTo>
                      <a:pt x="2564" y="1358"/>
                    </a:lnTo>
                    <a:lnTo>
                      <a:pt x="2564" y="1358"/>
                    </a:lnTo>
                    <a:lnTo>
                      <a:pt x="2552" y="1356"/>
                    </a:lnTo>
                    <a:lnTo>
                      <a:pt x="2542" y="1356"/>
                    </a:lnTo>
                    <a:lnTo>
                      <a:pt x="2534" y="1360"/>
                    </a:lnTo>
                    <a:lnTo>
                      <a:pt x="2528" y="1366"/>
                    </a:lnTo>
                    <a:lnTo>
                      <a:pt x="2520" y="1370"/>
                    </a:lnTo>
                    <a:lnTo>
                      <a:pt x="2512" y="1374"/>
                    </a:lnTo>
                    <a:lnTo>
                      <a:pt x="2504" y="1376"/>
                    </a:lnTo>
                    <a:lnTo>
                      <a:pt x="2494" y="1374"/>
                    </a:lnTo>
                    <a:lnTo>
                      <a:pt x="2494" y="1374"/>
                    </a:lnTo>
                    <a:lnTo>
                      <a:pt x="2484" y="1368"/>
                    </a:lnTo>
                    <a:lnTo>
                      <a:pt x="2476" y="1362"/>
                    </a:lnTo>
                    <a:lnTo>
                      <a:pt x="2470" y="1356"/>
                    </a:lnTo>
                    <a:lnTo>
                      <a:pt x="2466" y="1350"/>
                    </a:lnTo>
                    <a:lnTo>
                      <a:pt x="2458" y="1334"/>
                    </a:lnTo>
                    <a:lnTo>
                      <a:pt x="2454" y="1328"/>
                    </a:lnTo>
                    <a:lnTo>
                      <a:pt x="2448" y="1320"/>
                    </a:lnTo>
                    <a:lnTo>
                      <a:pt x="2448" y="1320"/>
                    </a:lnTo>
                    <a:lnTo>
                      <a:pt x="2444" y="1318"/>
                    </a:lnTo>
                    <a:lnTo>
                      <a:pt x="2438" y="1316"/>
                    </a:lnTo>
                    <a:lnTo>
                      <a:pt x="2428" y="1316"/>
                    </a:lnTo>
                    <a:lnTo>
                      <a:pt x="2426" y="1316"/>
                    </a:lnTo>
                    <a:lnTo>
                      <a:pt x="2428" y="1314"/>
                    </a:lnTo>
                    <a:lnTo>
                      <a:pt x="2444" y="1302"/>
                    </a:lnTo>
                    <a:lnTo>
                      <a:pt x="2444" y="1302"/>
                    </a:lnTo>
                    <a:lnTo>
                      <a:pt x="2450" y="1298"/>
                    </a:lnTo>
                    <a:lnTo>
                      <a:pt x="2452" y="1294"/>
                    </a:lnTo>
                    <a:lnTo>
                      <a:pt x="2452" y="1288"/>
                    </a:lnTo>
                    <a:lnTo>
                      <a:pt x="2452" y="1284"/>
                    </a:lnTo>
                    <a:lnTo>
                      <a:pt x="2448" y="1272"/>
                    </a:lnTo>
                    <a:lnTo>
                      <a:pt x="2440" y="1260"/>
                    </a:lnTo>
                    <a:lnTo>
                      <a:pt x="2440" y="1260"/>
                    </a:lnTo>
                    <a:lnTo>
                      <a:pt x="2436" y="1256"/>
                    </a:lnTo>
                    <a:lnTo>
                      <a:pt x="2432" y="1254"/>
                    </a:lnTo>
                    <a:lnTo>
                      <a:pt x="2426" y="1252"/>
                    </a:lnTo>
                    <a:lnTo>
                      <a:pt x="2422" y="1244"/>
                    </a:lnTo>
                    <a:lnTo>
                      <a:pt x="2422" y="1244"/>
                    </a:lnTo>
                    <a:lnTo>
                      <a:pt x="2418" y="1238"/>
                    </a:lnTo>
                    <a:lnTo>
                      <a:pt x="2416" y="1236"/>
                    </a:lnTo>
                    <a:lnTo>
                      <a:pt x="2414" y="1232"/>
                    </a:lnTo>
                    <a:lnTo>
                      <a:pt x="2410" y="1224"/>
                    </a:lnTo>
                    <a:lnTo>
                      <a:pt x="2410" y="1224"/>
                    </a:lnTo>
                    <a:lnTo>
                      <a:pt x="2404" y="1214"/>
                    </a:lnTo>
                    <a:lnTo>
                      <a:pt x="2404" y="1214"/>
                    </a:lnTo>
                    <a:lnTo>
                      <a:pt x="2402" y="1214"/>
                    </a:lnTo>
                    <a:lnTo>
                      <a:pt x="2402" y="1216"/>
                    </a:lnTo>
                    <a:lnTo>
                      <a:pt x="2396" y="1208"/>
                    </a:lnTo>
                    <a:lnTo>
                      <a:pt x="2396" y="1208"/>
                    </a:lnTo>
                    <a:lnTo>
                      <a:pt x="2394" y="1204"/>
                    </a:lnTo>
                    <a:lnTo>
                      <a:pt x="2392" y="1202"/>
                    </a:lnTo>
                    <a:lnTo>
                      <a:pt x="2388" y="1202"/>
                    </a:lnTo>
                    <a:lnTo>
                      <a:pt x="2384" y="1202"/>
                    </a:lnTo>
                    <a:lnTo>
                      <a:pt x="2382" y="1198"/>
                    </a:lnTo>
                    <a:lnTo>
                      <a:pt x="2378" y="1192"/>
                    </a:lnTo>
                    <a:lnTo>
                      <a:pt x="2372" y="1182"/>
                    </a:lnTo>
                    <a:lnTo>
                      <a:pt x="2372" y="1182"/>
                    </a:lnTo>
                    <a:lnTo>
                      <a:pt x="2366" y="1172"/>
                    </a:lnTo>
                    <a:lnTo>
                      <a:pt x="2362" y="1166"/>
                    </a:lnTo>
                    <a:lnTo>
                      <a:pt x="2358" y="1164"/>
                    </a:lnTo>
                    <a:lnTo>
                      <a:pt x="2356" y="1164"/>
                    </a:lnTo>
                    <a:lnTo>
                      <a:pt x="2354" y="1166"/>
                    </a:lnTo>
                    <a:lnTo>
                      <a:pt x="2352" y="1166"/>
                    </a:lnTo>
                    <a:lnTo>
                      <a:pt x="2348" y="1162"/>
                    </a:lnTo>
                    <a:lnTo>
                      <a:pt x="2344" y="1156"/>
                    </a:lnTo>
                    <a:lnTo>
                      <a:pt x="2344" y="1156"/>
                    </a:lnTo>
                    <a:lnTo>
                      <a:pt x="2340" y="1150"/>
                    </a:lnTo>
                    <a:lnTo>
                      <a:pt x="2338" y="1150"/>
                    </a:lnTo>
                    <a:lnTo>
                      <a:pt x="2334" y="1150"/>
                    </a:lnTo>
                    <a:lnTo>
                      <a:pt x="2332" y="1152"/>
                    </a:lnTo>
                    <a:lnTo>
                      <a:pt x="2330" y="1152"/>
                    </a:lnTo>
                    <a:lnTo>
                      <a:pt x="2326" y="1150"/>
                    </a:lnTo>
                    <a:lnTo>
                      <a:pt x="2322" y="1144"/>
                    </a:lnTo>
                    <a:lnTo>
                      <a:pt x="2316" y="1132"/>
                    </a:lnTo>
                    <a:lnTo>
                      <a:pt x="2316" y="1132"/>
                    </a:lnTo>
                    <a:lnTo>
                      <a:pt x="2312" y="1124"/>
                    </a:lnTo>
                    <a:lnTo>
                      <a:pt x="2310" y="1122"/>
                    </a:lnTo>
                    <a:lnTo>
                      <a:pt x="2308" y="1124"/>
                    </a:lnTo>
                    <a:lnTo>
                      <a:pt x="2308" y="1128"/>
                    </a:lnTo>
                    <a:lnTo>
                      <a:pt x="2308" y="1140"/>
                    </a:lnTo>
                    <a:lnTo>
                      <a:pt x="2308" y="1144"/>
                    </a:lnTo>
                    <a:lnTo>
                      <a:pt x="2306" y="1146"/>
                    </a:lnTo>
                    <a:lnTo>
                      <a:pt x="2306" y="1146"/>
                    </a:lnTo>
                    <a:lnTo>
                      <a:pt x="2304" y="1142"/>
                    </a:lnTo>
                    <a:lnTo>
                      <a:pt x="2300" y="1136"/>
                    </a:lnTo>
                    <a:lnTo>
                      <a:pt x="2298" y="1126"/>
                    </a:lnTo>
                    <a:lnTo>
                      <a:pt x="2290" y="1110"/>
                    </a:lnTo>
                    <a:lnTo>
                      <a:pt x="2290" y="1110"/>
                    </a:lnTo>
                    <a:lnTo>
                      <a:pt x="2286" y="1100"/>
                    </a:lnTo>
                    <a:lnTo>
                      <a:pt x="2284" y="1086"/>
                    </a:lnTo>
                    <a:lnTo>
                      <a:pt x="2280" y="1058"/>
                    </a:lnTo>
                    <a:lnTo>
                      <a:pt x="2276" y="1042"/>
                    </a:lnTo>
                    <a:lnTo>
                      <a:pt x="2272" y="1026"/>
                    </a:lnTo>
                    <a:lnTo>
                      <a:pt x="2268" y="1012"/>
                    </a:lnTo>
                    <a:lnTo>
                      <a:pt x="2260" y="998"/>
                    </a:lnTo>
                    <a:lnTo>
                      <a:pt x="2260" y="998"/>
                    </a:lnTo>
                    <a:lnTo>
                      <a:pt x="2252" y="988"/>
                    </a:lnTo>
                    <a:lnTo>
                      <a:pt x="2248" y="984"/>
                    </a:lnTo>
                    <a:lnTo>
                      <a:pt x="2244" y="986"/>
                    </a:lnTo>
                    <a:lnTo>
                      <a:pt x="2244" y="986"/>
                    </a:lnTo>
                    <a:lnTo>
                      <a:pt x="2242" y="986"/>
                    </a:lnTo>
                    <a:lnTo>
                      <a:pt x="2240" y="984"/>
                    </a:lnTo>
                    <a:lnTo>
                      <a:pt x="2236" y="976"/>
                    </a:lnTo>
                    <a:lnTo>
                      <a:pt x="2230" y="968"/>
                    </a:lnTo>
                    <a:lnTo>
                      <a:pt x="2226" y="966"/>
                    </a:lnTo>
                    <a:lnTo>
                      <a:pt x="2222" y="966"/>
                    </a:lnTo>
                    <a:lnTo>
                      <a:pt x="2222" y="966"/>
                    </a:lnTo>
                    <a:lnTo>
                      <a:pt x="2220" y="966"/>
                    </a:lnTo>
                    <a:lnTo>
                      <a:pt x="2218" y="964"/>
                    </a:lnTo>
                    <a:lnTo>
                      <a:pt x="2212" y="956"/>
                    </a:lnTo>
                    <a:lnTo>
                      <a:pt x="2208" y="944"/>
                    </a:lnTo>
                    <a:lnTo>
                      <a:pt x="2206" y="928"/>
                    </a:lnTo>
                    <a:lnTo>
                      <a:pt x="2202" y="900"/>
                    </a:lnTo>
                    <a:lnTo>
                      <a:pt x="2200" y="890"/>
                    </a:lnTo>
                    <a:lnTo>
                      <a:pt x="2202" y="884"/>
                    </a:lnTo>
                    <a:lnTo>
                      <a:pt x="2202" y="884"/>
                    </a:lnTo>
                    <a:lnTo>
                      <a:pt x="2204" y="876"/>
                    </a:lnTo>
                    <a:lnTo>
                      <a:pt x="2204" y="870"/>
                    </a:lnTo>
                    <a:lnTo>
                      <a:pt x="2200" y="858"/>
                    </a:lnTo>
                    <a:lnTo>
                      <a:pt x="2198" y="850"/>
                    </a:lnTo>
                    <a:lnTo>
                      <a:pt x="2200" y="848"/>
                    </a:lnTo>
                    <a:lnTo>
                      <a:pt x="2204" y="850"/>
                    </a:lnTo>
                    <a:lnTo>
                      <a:pt x="2204" y="850"/>
                    </a:lnTo>
                    <a:lnTo>
                      <a:pt x="2208" y="850"/>
                    </a:lnTo>
                    <a:lnTo>
                      <a:pt x="2210" y="848"/>
                    </a:lnTo>
                    <a:lnTo>
                      <a:pt x="2204" y="842"/>
                    </a:lnTo>
                    <a:lnTo>
                      <a:pt x="2198" y="826"/>
                    </a:lnTo>
                    <a:lnTo>
                      <a:pt x="2194" y="816"/>
                    </a:lnTo>
                    <a:lnTo>
                      <a:pt x="2192" y="802"/>
                    </a:lnTo>
                    <a:lnTo>
                      <a:pt x="2192" y="802"/>
                    </a:lnTo>
                    <a:lnTo>
                      <a:pt x="2190" y="794"/>
                    </a:lnTo>
                    <a:lnTo>
                      <a:pt x="2188" y="790"/>
                    </a:lnTo>
                    <a:lnTo>
                      <a:pt x="2184" y="786"/>
                    </a:lnTo>
                    <a:lnTo>
                      <a:pt x="2176" y="784"/>
                    </a:lnTo>
                    <a:lnTo>
                      <a:pt x="2176" y="784"/>
                    </a:lnTo>
                    <a:lnTo>
                      <a:pt x="2174" y="782"/>
                    </a:lnTo>
                    <a:lnTo>
                      <a:pt x="2170" y="780"/>
                    </a:lnTo>
                    <a:lnTo>
                      <a:pt x="2166" y="772"/>
                    </a:lnTo>
                    <a:lnTo>
                      <a:pt x="2162" y="766"/>
                    </a:lnTo>
                    <a:lnTo>
                      <a:pt x="2160" y="764"/>
                    </a:lnTo>
                    <a:lnTo>
                      <a:pt x="2154" y="764"/>
                    </a:lnTo>
                    <a:lnTo>
                      <a:pt x="2154" y="764"/>
                    </a:lnTo>
                    <a:lnTo>
                      <a:pt x="2150" y="762"/>
                    </a:lnTo>
                    <a:lnTo>
                      <a:pt x="2146" y="758"/>
                    </a:lnTo>
                    <a:lnTo>
                      <a:pt x="2138" y="746"/>
                    </a:lnTo>
                    <a:lnTo>
                      <a:pt x="2138" y="746"/>
                    </a:lnTo>
                    <a:lnTo>
                      <a:pt x="2134" y="752"/>
                    </a:lnTo>
                    <a:lnTo>
                      <a:pt x="2134" y="752"/>
                    </a:lnTo>
                    <a:lnTo>
                      <a:pt x="2138" y="746"/>
                    </a:lnTo>
                    <a:lnTo>
                      <a:pt x="2138" y="746"/>
                    </a:lnTo>
                    <a:lnTo>
                      <a:pt x="2134" y="732"/>
                    </a:lnTo>
                    <a:lnTo>
                      <a:pt x="2132" y="716"/>
                    </a:lnTo>
                    <a:lnTo>
                      <a:pt x="2132" y="710"/>
                    </a:lnTo>
                    <a:lnTo>
                      <a:pt x="2134" y="706"/>
                    </a:lnTo>
                    <a:lnTo>
                      <a:pt x="2136" y="702"/>
                    </a:lnTo>
                    <a:lnTo>
                      <a:pt x="2142" y="702"/>
                    </a:lnTo>
                    <a:lnTo>
                      <a:pt x="2142" y="702"/>
                    </a:lnTo>
                    <a:lnTo>
                      <a:pt x="2144" y="702"/>
                    </a:lnTo>
                    <a:lnTo>
                      <a:pt x="2138" y="698"/>
                    </a:lnTo>
                    <a:lnTo>
                      <a:pt x="2134" y="692"/>
                    </a:lnTo>
                    <a:lnTo>
                      <a:pt x="2128" y="684"/>
                    </a:lnTo>
                    <a:lnTo>
                      <a:pt x="2120" y="674"/>
                    </a:lnTo>
                    <a:lnTo>
                      <a:pt x="2116" y="662"/>
                    </a:lnTo>
                    <a:lnTo>
                      <a:pt x="2116" y="662"/>
                    </a:lnTo>
                    <a:lnTo>
                      <a:pt x="2108" y="642"/>
                    </a:lnTo>
                    <a:lnTo>
                      <a:pt x="2098" y="624"/>
                    </a:lnTo>
                    <a:lnTo>
                      <a:pt x="2082" y="594"/>
                    </a:lnTo>
                    <a:lnTo>
                      <a:pt x="2072" y="572"/>
                    </a:lnTo>
                    <a:lnTo>
                      <a:pt x="2070" y="564"/>
                    </a:lnTo>
                    <a:lnTo>
                      <a:pt x="2070" y="556"/>
                    </a:lnTo>
                    <a:lnTo>
                      <a:pt x="2070" y="556"/>
                    </a:lnTo>
                    <a:lnTo>
                      <a:pt x="2070" y="550"/>
                    </a:lnTo>
                    <a:lnTo>
                      <a:pt x="2070" y="544"/>
                    </a:lnTo>
                    <a:lnTo>
                      <a:pt x="2064" y="534"/>
                    </a:lnTo>
                    <a:lnTo>
                      <a:pt x="2058" y="526"/>
                    </a:lnTo>
                    <a:lnTo>
                      <a:pt x="2056" y="520"/>
                    </a:lnTo>
                    <a:lnTo>
                      <a:pt x="2056" y="512"/>
                    </a:lnTo>
                    <a:lnTo>
                      <a:pt x="2056" y="512"/>
                    </a:lnTo>
                    <a:lnTo>
                      <a:pt x="2054" y="504"/>
                    </a:lnTo>
                    <a:lnTo>
                      <a:pt x="2050" y="494"/>
                    </a:lnTo>
                    <a:lnTo>
                      <a:pt x="2036" y="474"/>
                    </a:lnTo>
                    <a:lnTo>
                      <a:pt x="2022" y="452"/>
                    </a:lnTo>
                    <a:lnTo>
                      <a:pt x="2018" y="442"/>
                    </a:lnTo>
                    <a:lnTo>
                      <a:pt x="2016" y="434"/>
                    </a:lnTo>
                    <a:lnTo>
                      <a:pt x="2016" y="434"/>
                    </a:lnTo>
                    <a:lnTo>
                      <a:pt x="2016" y="426"/>
                    </a:lnTo>
                    <a:lnTo>
                      <a:pt x="2014" y="422"/>
                    </a:lnTo>
                    <a:lnTo>
                      <a:pt x="2010" y="416"/>
                    </a:lnTo>
                    <a:lnTo>
                      <a:pt x="2008" y="412"/>
                    </a:lnTo>
                    <a:lnTo>
                      <a:pt x="2008" y="408"/>
                    </a:lnTo>
                    <a:lnTo>
                      <a:pt x="2010" y="402"/>
                    </a:lnTo>
                    <a:lnTo>
                      <a:pt x="2014" y="394"/>
                    </a:lnTo>
                    <a:lnTo>
                      <a:pt x="2000" y="332"/>
                    </a:lnTo>
                    <a:lnTo>
                      <a:pt x="2000" y="332"/>
                    </a:lnTo>
                    <a:lnTo>
                      <a:pt x="1998" y="332"/>
                    </a:lnTo>
                    <a:lnTo>
                      <a:pt x="1996" y="328"/>
                    </a:lnTo>
                    <a:lnTo>
                      <a:pt x="1996" y="328"/>
                    </a:lnTo>
                    <a:lnTo>
                      <a:pt x="1992" y="326"/>
                    </a:lnTo>
                    <a:lnTo>
                      <a:pt x="1990" y="326"/>
                    </a:lnTo>
                    <a:lnTo>
                      <a:pt x="1986" y="326"/>
                    </a:lnTo>
                    <a:lnTo>
                      <a:pt x="1984" y="324"/>
                    </a:lnTo>
                    <a:lnTo>
                      <a:pt x="1984" y="324"/>
                    </a:lnTo>
                    <a:lnTo>
                      <a:pt x="1984" y="322"/>
                    </a:lnTo>
                    <a:lnTo>
                      <a:pt x="1984" y="320"/>
                    </a:lnTo>
                    <a:lnTo>
                      <a:pt x="1986" y="318"/>
                    </a:lnTo>
                    <a:lnTo>
                      <a:pt x="1988" y="316"/>
                    </a:lnTo>
                    <a:lnTo>
                      <a:pt x="1988" y="316"/>
                    </a:lnTo>
                    <a:lnTo>
                      <a:pt x="1990" y="314"/>
                    </a:lnTo>
                    <a:lnTo>
                      <a:pt x="1992" y="316"/>
                    </a:lnTo>
                    <a:lnTo>
                      <a:pt x="1998" y="320"/>
                    </a:lnTo>
                    <a:lnTo>
                      <a:pt x="1996" y="316"/>
                    </a:lnTo>
                    <a:lnTo>
                      <a:pt x="1996" y="316"/>
                    </a:lnTo>
                    <a:lnTo>
                      <a:pt x="1990" y="310"/>
                    </a:lnTo>
                    <a:lnTo>
                      <a:pt x="1990" y="310"/>
                    </a:lnTo>
                    <a:lnTo>
                      <a:pt x="1988" y="308"/>
                    </a:lnTo>
                    <a:lnTo>
                      <a:pt x="1986" y="308"/>
                    </a:lnTo>
                    <a:lnTo>
                      <a:pt x="1980" y="312"/>
                    </a:lnTo>
                    <a:lnTo>
                      <a:pt x="1980" y="312"/>
                    </a:lnTo>
                    <a:lnTo>
                      <a:pt x="1976" y="314"/>
                    </a:lnTo>
                    <a:lnTo>
                      <a:pt x="1974" y="314"/>
                    </a:lnTo>
                    <a:lnTo>
                      <a:pt x="1966" y="310"/>
                    </a:lnTo>
                    <a:lnTo>
                      <a:pt x="1958" y="306"/>
                    </a:lnTo>
                    <a:lnTo>
                      <a:pt x="1954" y="306"/>
                    </a:lnTo>
                    <a:lnTo>
                      <a:pt x="1948" y="308"/>
                    </a:lnTo>
                    <a:lnTo>
                      <a:pt x="1948" y="308"/>
                    </a:lnTo>
                    <a:lnTo>
                      <a:pt x="1938" y="312"/>
                    </a:lnTo>
                    <a:lnTo>
                      <a:pt x="1932" y="312"/>
                    </a:lnTo>
                    <a:lnTo>
                      <a:pt x="1928" y="312"/>
                    </a:lnTo>
                    <a:lnTo>
                      <a:pt x="1922" y="318"/>
                    </a:lnTo>
                    <a:lnTo>
                      <a:pt x="1922" y="318"/>
                    </a:lnTo>
                    <a:lnTo>
                      <a:pt x="1920" y="320"/>
                    </a:lnTo>
                    <a:lnTo>
                      <a:pt x="1916" y="322"/>
                    </a:lnTo>
                    <a:lnTo>
                      <a:pt x="1908" y="326"/>
                    </a:lnTo>
                    <a:lnTo>
                      <a:pt x="1892" y="340"/>
                    </a:lnTo>
                    <a:lnTo>
                      <a:pt x="1892" y="340"/>
                    </a:lnTo>
                    <a:lnTo>
                      <a:pt x="1886" y="346"/>
                    </a:lnTo>
                    <a:lnTo>
                      <a:pt x="1880" y="346"/>
                    </a:lnTo>
                    <a:lnTo>
                      <a:pt x="1874" y="346"/>
                    </a:lnTo>
                    <a:lnTo>
                      <a:pt x="1866" y="344"/>
                    </a:lnTo>
                    <a:lnTo>
                      <a:pt x="1854" y="336"/>
                    </a:lnTo>
                    <a:lnTo>
                      <a:pt x="1848" y="334"/>
                    </a:lnTo>
                    <a:lnTo>
                      <a:pt x="1844" y="334"/>
                    </a:lnTo>
                    <a:lnTo>
                      <a:pt x="1844" y="334"/>
                    </a:lnTo>
                    <a:lnTo>
                      <a:pt x="1836" y="332"/>
                    </a:lnTo>
                    <a:lnTo>
                      <a:pt x="1830" y="330"/>
                    </a:lnTo>
                    <a:lnTo>
                      <a:pt x="1826" y="326"/>
                    </a:lnTo>
                    <a:lnTo>
                      <a:pt x="1822" y="326"/>
                    </a:lnTo>
                    <a:lnTo>
                      <a:pt x="1818" y="326"/>
                    </a:lnTo>
                    <a:lnTo>
                      <a:pt x="1818" y="326"/>
                    </a:lnTo>
                    <a:lnTo>
                      <a:pt x="1812" y="326"/>
                    </a:lnTo>
                    <a:lnTo>
                      <a:pt x="1812" y="324"/>
                    </a:lnTo>
                    <a:lnTo>
                      <a:pt x="1808" y="322"/>
                    </a:lnTo>
                    <a:lnTo>
                      <a:pt x="1804" y="318"/>
                    </a:lnTo>
                    <a:lnTo>
                      <a:pt x="1794" y="314"/>
                    </a:lnTo>
                    <a:lnTo>
                      <a:pt x="1778" y="310"/>
                    </a:lnTo>
                    <a:lnTo>
                      <a:pt x="1778" y="310"/>
                    </a:lnTo>
                    <a:lnTo>
                      <a:pt x="1762" y="308"/>
                    </a:lnTo>
                    <a:lnTo>
                      <a:pt x="1750" y="306"/>
                    </a:lnTo>
                    <a:lnTo>
                      <a:pt x="1734" y="308"/>
                    </a:lnTo>
                    <a:lnTo>
                      <a:pt x="1724" y="310"/>
                    </a:lnTo>
                    <a:lnTo>
                      <a:pt x="1718" y="310"/>
                    </a:lnTo>
                    <a:lnTo>
                      <a:pt x="1718" y="310"/>
                    </a:lnTo>
                    <a:lnTo>
                      <a:pt x="1718" y="308"/>
                    </a:lnTo>
                    <a:lnTo>
                      <a:pt x="1718" y="308"/>
                    </a:lnTo>
                    <a:lnTo>
                      <a:pt x="1716" y="302"/>
                    </a:lnTo>
                    <a:lnTo>
                      <a:pt x="1714" y="292"/>
                    </a:lnTo>
                    <a:lnTo>
                      <a:pt x="1710" y="288"/>
                    </a:lnTo>
                    <a:lnTo>
                      <a:pt x="1706" y="286"/>
                    </a:lnTo>
                    <a:lnTo>
                      <a:pt x="1700" y="284"/>
                    </a:lnTo>
                    <a:lnTo>
                      <a:pt x="1692" y="284"/>
                    </a:lnTo>
                    <a:lnTo>
                      <a:pt x="1692" y="284"/>
                    </a:lnTo>
                    <a:lnTo>
                      <a:pt x="1678" y="284"/>
                    </a:lnTo>
                    <a:lnTo>
                      <a:pt x="1672" y="282"/>
                    </a:lnTo>
                    <a:lnTo>
                      <a:pt x="1666" y="280"/>
                    </a:lnTo>
                    <a:lnTo>
                      <a:pt x="1654" y="278"/>
                    </a:lnTo>
                    <a:lnTo>
                      <a:pt x="1654" y="278"/>
                    </a:lnTo>
                    <a:lnTo>
                      <a:pt x="1648" y="276"/>
                    </a:lnTo>
                    <a:lnTo>
                      <a:pt x="1644" y="274"/>
                    </a:lnTo>
                    <a:lnTo>
                      <a:pt x="1640" y="266"/>
                    </a:lnTo>
                    <a:lnTo>
                      <a:pt x="1638" y="262"/>
                    </a:lnTo>
                    <a:lnTo>
                      <a:pt x="1632" y="256"/>
                    </a:lnTo>
                    <a:lnTo>
                      <a:pt x="1624" y="250"/>
                    </a:lnTo>
                    <a:lnTo>
                      <a:pt x="1612" y="242"/>
                    </a:lnTo>
                    <a:lnTo>
                      <a:pt x="1612" y="242"/>
                    </a:lnTo>
                    <a:lnTo>
                      <a:pt x="1596" y="236"/>
                    </a:lnTo>
                    <a:lnTo>
                      <a:pt x="1584" y="236"/>
                    </a:lnTo>
                    <a:lnTo>
                      <a:pt x="1574" y="238"/>
                    </a:lnTo>
                    <a:lnTo>
                      <a:pt x="1568" y="242"/>
                    </a:lnTo>
                    <a:lnTo>
                      <a:pt x="1568" y="242"/>
                    </a:lnTo>
                    <a:lnTo>
                      <a:pt x="1564" y="244"/>
                    </a:lnTo>
                    <a:lnTo>
                      <a:pt x="1560" y="246"/>
                    </a:lnTo>
                    <a:lnTo>
                      <a:pt x="1550" y="246"/>
                    </a:lnTo>
                    <a:lnTo>
                      <a:pt x="1544" y="248"/>
                    </a:lnTo>
                    <a:lnTo>
                      <a:pt x="1536" y="252"/>
                    </a:lnTo>
                    <a:lnTo>
                      <a:pt x="1528" y="260"/>
                    </a:lnTo>
                    <a:lnTo>
                      <a:pt x="1516" y="274"/>
                    </a:lnTo>
                    <a:lnTo>
                      <a:pt x="1516" y="274"/>
                    </a:lnTo>
                    <a:lnTo>
                      <a:pt x="1510" y="284"/>
                    </a:lnTo>
                    <a:lnTo>
                      <a:pt x="1508" y="292"/>
                    </a:lnTo>
                    <a:lnTo>
                      <a:pt x="1508" y="302"/>
                    </a:lnTo>
                    <a:lnTo>
                      <a:pt x="1510" y="314"/>
                    </a:lnTo>
                    <a:lnTo>
                      <a:pt x="1512" y="324"/>
                    </a:lnTo>
                    <a:lnTo>
                      <a:pt x="1514" y="334"/>
                    </a:lnTo>
                    <a:lnTo>
                      <a:pt x="1512" y="344"/>
                    </a:lnTo>
                    <a:lnTo>
                      <a:pt x="1506" y="354"/>
                    </a:lnTo>
                    <a:lnTo>
                      <a:pt x="1506" y="354"/>
                    </a:lnTo>
                    <a:lnTo>
                      <a:pt x="1498" y="362"/>
                    </a:lnTo>
                    <a:lnTo>
                      <a:pt x="1492" y="368"/>
                    </a:lnTo>
                    <a:lnTo>
                      <a:pt x="1484" y="374"/>
                    </a:lnTo>
                    <a:lnTo>
                      <a:pt x="1478" y="376"/>
                    </a:lnTo>
                    <a:lnTo>
                      <a:pt x="1470" y="376"/>
                    </a:lnTo>
                    <a:lnTo>
                      <a:pt x="1464" y="374"/>
                    </a:lnTo>
                    <a:lnTo>
                      <a:pt x="1458" y="368"/>
                    </a:lnTo>
                    <a:lnTo>
                      <a:pt x="1452" y="362"/>
                    </a:lnTo>
                    <a:lnTo>
                      <a:pt x="1452" y="362"/>
                    </a:lnTo>
                    <a:lnTo>
                      <a:pt x="1446" y="356"/>
                    </a:lnTo>
                    <a:lnTo>
                      <a:pt x="1438" y="350"/>
                    </a:lnTo>
                    <a:lnTo>
                      <a:pt x="1418" y="338"/>
                    </a:lnTo>
                    <a:lnTo>
                      <a:pt x="1398" y="330"/>
                    </a:lnTo>
                    <a:lnTo>
                      <a:pt x="1376" y="328"/>
                    </a:lnTo>
                    <a:lnTo>
                      <a:pt x="1376" y="328"/>
                    </a:lnTo>
                    <a:lnTo>
                      <a:pt x="1358" y="326"/>
                    </a:lnTo>
                    <a:lnTo>
                      <a:pt x="1350" y="324"/>
                    </a:lnTo>
                    <a:lnTo>
                      <a:pt x="1344" y="320"/>
                    </a:lnTo>
                    <a:lnTo>
                      <a:pt x="1338" y="316"/>
                    </a:lnTo>
                    <a:lnTo>
                      <a:pt x="1334" y="310"/>
                    </a:lnTo>
                    <a:lnTo>
                      <a:pt x="1330" y="300"/>
                    </a:lnTo>
                    <a:lnTo>
                      <a:pt x="1326" y="288"/>
                    </a:lnTo>
                    <a:lnTo>
                      <a:pt x="1326" y="288"/>
                    </a:lnTo>
                    <a:lnTo>
                      <a:pt x="1324" y="276"/>
                    </a:lnTo>
                    <a:lnTo>
                      <a:pt x="1320" y="268"/>
                    </a:lnTo>
                    <a:lnTo>
                      <a:pt x="1314" y="262"/>
                    </a:lnTo>
                    <a:lnTo>
                      <a:pt x="1306" y="260"/>
                    </a:lnTo>
                    <a:lnTo>
                      <a:pt x="1294" y="258"/>
                    </a:lnTo>
                    <a:lnTo>
                      <a:pt x="1288" y="256"/>
                    </a:lnTo>
                    <a:lnTo>
                      <a:pt x="1284" y="254"/>
                    </a:lnTo>
                    <a:lnTo>
                      <a:pt x="1284" y="254"/>
                    </a:lnTo>
                    <a:lnTo>
                      <a:pt x="1272" y="248"/>
                    </a:lnTo>
                    <a:lnTo>
                      <a:pt x="1256" y="242"/>
                    </a:lnTo>
                    <a:lnTo>
                      <a:pt x="1238" y="240"/>
                    </a:lnTo>
                    <a:lnTo>
                      <a:pt x="1230" y="240"/>
                    </a:lnTo>
                    <a:lnTo>
                      <a:pt x="1224" y="240"/>
                    </a:lnTo>
                    <a:lnTo>
                      <a:pt x="1224" y="240"/>
                    </a:lnTo>
                    <a:lnTo>
                      <a:pt x="1216" y="242"/>
                    </a:lnTo>
                    <a:lnTo>
                      <a:pt x="1210" y="242"/>
                    </a:lnTo>
                    <a:lnTo>
                      <a:pt x="1196" y="236"/>
                    </a:lnTo>
                    <a:lnTo>
                      <a:pt x="1182" y="230"/>
                    </a:lnTo>
                    <a:lnTo>
                      <a:pt x="1172" y="224"/>
                    </a:lnTo>
                    <a:lnTo>
                      <a:pt x="1172" y="224"/>
                    </a:lnTo>
                    <a:lnTo>
                      <a:pt x="1160" y="218"/>
                    </a:lnTo>
                    <a:lnTo>
                      <a:pt x="1156" y="214"/>
                    </a:lnTo>
                    <a:lnTo>
                      <a:pt x="1154" y="206"/>
                    </a:lnTo>
                    <a:lnTo>
                      <a:pt x="1154" y="206"/>
                    </a:lnTo>
                    <a:lnTo>
                      <a:pt x="1152" y="198"/>
                    </a:lnTo>
                    <a:lnTo>
                      <a:pt x="1150" y="198"/>
                    </a:lnTo>
                    <a:lnTo>
                      <a:pt x="1148" y="198"/>
                    </a:lnTo>
                    <a:lnTo>
                      <a:pt x="1144" y="200"/>
                    </a:lnTo>
                    <a:lnTo>
                      <a:pt x="1142" y="200"/>
                    </a:lnTo>
                    <a:lnTo>
                      <a:pt x="1140" y="198"/>
                    </a:lnTo>
                    <a:lnTo>
                      <a:pt x="1140" y="198"/>
                    </a:lnTo>
                    <a:lnTo>
                      <a:pt x="1132" y="196"/>
                    </a:lnTo>
                    <a:lnTo>
                      <a:pt x="1124" y="194"/>
                    </a:lnTo>
                    <a:lnTo>
                      <a:pt x="1118" y="194"/>
                    </a:lnTo>
                    <a:lnTo>
                      <a:pt x="1114" y="190"/>
                    </a:lnTo>
                    <a:lnTo>
                      <a:pt x="1110" y="184"/>
                    </a:lnTo>
                    <a:lnTo>
                      <a:pt x="1108" y="176"/>
                    </a:lnTo>
                    <a:lnTo>
                      <a:pt x="1108" y="176"/>
                    </a:lnTo>
                    <a:lnTo>
                      <a:pt x="1110" y="170"/>
                    </a:lnTo>
                    <a:lnTo>
                      <a:pt x="1116" y="162"/>
                    </a:lnTo>
                    <a:lnTo>
                      <a:pt x="1134" y="144"/>
                    </a:lnTo>
                    <a:lnTo>
                      <a:pt x="1142" y="134"/>
                    </a:lnTo>
                    <a:lnTo>
                      <a:pt x="1150" y="124"/>
                    </a:lnTo>
                    <a:lnTo>
                      <a:pt x="1154" y="116"/>
                    </a:lnTo>
                    <a:lnTo>
                      <a:pt x="1154" y="114"/>
                    </a:lnTo>
                    <a:lnTo>
                      <a:pt x="1152" y="110"/>
                    </a:lnTo>
                    <a:lnTo>
                      <a:pt x="1152" y="110"/>
                    </a:lnTo>
                    <a:lnTo>
                      <a:pt x="1150" y="106"/>
                    </a:lnTo>
                    <a:lnTo>
                      <a:pt x="1148" y="102"/>
                    </a:lnTo>
                    <a:lnTo>
                      <a:pt x="1148" y="96"/>
                    </a:lnTo>
                    <a:lnTo>
                      <a:pt x="1148" y="92"/>
                    </a:lnTo>
                    <a:lnTo>
                      <a:pt x="1146" y="90"/>
                    </a:lnTo>
                    <a:lnTo>
                      <a:pt x="1142" y="86"/>
                    </a:lnTo>
                    <a:lnTo>
                      <a:pt x="1136" y="82"/>
                    </a:lnTo>
                    <a:lnTo>
                      <a:pt x="1136" y="82"/>
                    </a:lnTo>
                    <a:lnTo>
                      <a:pt x="1132" y="78"/>
                    </a:lnTo>
                    <a:lnTo>
                      <a:pt x="1128" y="74"/>
                    </a:lnTo>
                    <a:lnTo>
                      <a:pt x="1124" y="64"/>
                    </a:lnTo>
                    <a:lnTo>
                      <a:pt x="1124" y="60"/>
                    </a:lnTo>
                    <a:lnTo>
                      <a:pt x="1124" y="56"/>
                    </a:lnTo>
                    <a:lnTo>
                      <a:pt x="1126" y="52"/>
                    </a:lnTo>
                    <a:lnTo>
                      <a:pt x="1130" y="50"/>
                    </a:lnTo>
                    <a:lnTo>
                      <a:pt x="1130" y="50"/>
                    </a:lnTo>
                    <a:lnTo>
                      <a:pt x="1140" y="42"/>
                    </a:lnTo>
                    <a:lnTo>
                      <a:pt x="1148" y="34"/>
                    </a:lnTo>
                    <a:lnTo>
                      <a:pt x="1152" y="26"/>
                    </a:lnTo>
                    <a:lnTo>
                      <a:pt x="1152" y="20"/>
                    </a:lnTo>
                    <a:lnTo>
                      <a:pt x="1152" y="16"/>
                    </a:lnTo>
                    <a:lnTo>
                      <a:pt x="1152" y="16"/>
                    </a:lnTo>
                    <a:lnTo>
                      <a:pt x="1148" y="14"/>
                    </a:lnTo>
                    <a:lnTo>
                      <a:pt x="1146" y="16"/>
                    </a:lnTo>
                    <a:lnTo>
                      <a:pt x="1136" y="22"/>
                    </a:lnTo>
                    <a:lnTo>
                      <a:pt x="1128" y="30"/>
                    </a:lnTo>
                    <a:lnTo>
                      <a:pt x="1124" y="32"/>
                    </a:lnTo>
                    <a:lnTo>
                      <a:pt x="1122" y="32"/>
                    </a:lnTo>
                    <a:lnTo>
                      <a:pt x="1122" y="32"/>
                    </a:lnTo>
                    <a:lnTo>
                      <a:pt x="1120" y="30"/>
                    </a:lnTo>
                    <a:lnTo>
                      <a:pt x="1118" y="26"/>
                    </a:lnTo>
                    <a:lnTo>
                      <a:pt x="1118" y="18"/>
                    </a:lnTo>
                    <a:lnTo>
                      <a:pt x="1116" y="10"/>
                    </a:lnTo>
                    <a:lnTo>
                      <a:pt x="1112" y="6"/>
                    </a:lnTo>
                    <a:lnTo>
                      <a:pt x="1108" y="4"/>
                    </a:lnTo>
                    <a:lnTo>
                      <a:pt x="1108" y="4"/>
                    </a:lnTo>
                    <a:lnTo>
                      <a:pt x="1096" y="0"/>
                    </a:lnTo>
                    <a:lnTo>
                      <a:pt x="1088" y="2"/>
                    </a:lnTo>
                    <a:lnTo>
                      <a:pt x="1080" y="4"/>
                    </a:lnTo>
                    <a:lnTo>
                      <a:pt x="1074" y="6"/>
                    </a:lnTo>
                    <a:lnTo>
                      <a:pt x="1064" y="16"/>
                    </a:lnTo>
                    <a:lnTo>
                      <a:pt x="1058" y="22"/>
                    </a:lnTo>
                    <a:lnTo>
                      <a:pt x="1058" y="22"/>
                    </a:lnTo>
                    <a:lnTo>
                      <a:pt x="1052" y="22"/>
                    </a:lnTo>
                    <a:lnTo>
                      <a:pt x="1052" y="22"/>
                    </a:lnTo>
                    <a:lnTo>
                      <a:pt x="1040" y="22"/>
                    </a:lnTo>
                    <a:lnTo>
                      <a:pt x="1034" y="22"/>
                    </a:lnTo>
                    <a:lnTo>
                      <a:pt x="1026" y="24"/>
                    </a:lnTo>
                    <a:lnTo>
                      <a:pt x="1026" y="24"/>
                    </a:lnTo>
                    <a:lnTo>
                      <a:pt x="1022" y="28"/>
                    </a:lnTo>
                    <a:lnTo>
                      <a:pt x="1018" y="24"/>
                    </a:lnTo>
                    <a:lnTo>
                      <a:pt x="1014" y="20"/>
                    </a:lnTo>
                    <a:lnTo>
                      <a:pt x="1006" y="14"/>
                    </a:lnTo>
                    <a:lnTo>
                      <a:pt x="1006" y="14"/>
                    </a:lnTo>
                    <a:lnTo>
                      <a:pt x="1002" y="12"/>
                    </a:lnTo>
                    <a:lnTo>
                      <a:pt x="998" y="14"/>
                    </a:lnTo>
                    <a:lnTo>
                      <a:pt x="994" y="18"/>
                    </a:lnTo>
                    <a:lnTo>
                      <a:pt x="992" y="20"/>
                    </a:lnTo>
                    <a:lnTo>
                      <a:pt x="988" y="22"/>
                    </a:lnTo>
                    <a:lnTo>
                      <a:pt x="984" y="22"/>
                    </a:lnTo>
                    <a:lnTo>
                      <a:pt x="978" y="20"/>
                    </a:lnTo>
                    <a:lnTo>
                      <a:pt x="978" y="20"/>
                    </a:lnTo>
                    <a:lnTo>
                      <a:pt x="966" y="16"/>
                    </a:lnTo>
                    <a:lnTo>
                      <a:pt x="962" y="16"/>
                    </a:lnTo>
                    <a:lnTo>
                      <a:pt x="960" y="18"/>
                    </a:lnTo>
                    <a:lnTo>
                      <a:pt x="954" y="22"/>
                    </a:lnTo>
                    <a:lnTo>
                      <a:pt x="942" y="26"/>
                    </a:lnTo>
                    <a:lnTo>
                      <a:pt x="942" y="26"/>
                    </a:lnTo>
                    <a:lnTo>
                      <a:pt x="936" y="28"/>
                    </a:lnTo>
                    <a:lnTo>
                      <a:pt x="930" y="30"/>
                    </a:lnTo>
                    <a:lnTo>
                      <a:pt x="924" y="36"/>
                    </a:lnTo>
                    <a:lnTo>
                      <a:pt x="920" y="38"/>
                    </a:lnTo>
                    <a:lnTo>
                      <a:pt x="918" y="38"/>
                    </a:lnTo>
                    <a:lnTo>
                      <a:pt x="914" y="36"/>
                    </a:lnTo>
                    <a:lnTo>
                      <a:pt x="910" y="32"/>
                    </a:lnTo>
                    <a:lnTo>
                      <a:pt x="910" y="32"/>
                    </a:lnTo>
                    <a:lnTo>
                      <a:pt x="906" y="28"/>
                    </a:lnTo>
                    <a:lnTo>
                      <a:pt x="900" y="26"/>
                    </a:lnTo>
                    <a:lnTo>
                      <a:pt x="886" y="22"/>
                    </a:lnTo>
                    <a:lnTo>
                      <a:pt x="870" y="24"/>
                    </a:lnTo>
                    <a:lnTo>
                      <a:pt x="854" y="26"/>
                    </a:lnTo>
                    <a:lnTo>
                      <a:pt x="854" y="26"/>
                    </a:lnTo>
                    <a:lnTo>
                      <a:pt x="848" y="28"/>
                    </a:lnTo>
                    <a:lnTo>
                      <a:pt x="842" y="28"/>
                    </a:lnTo>
                    <a:lnTo>
                      <a:pt x="832" y="28"/>
                    </a:lnTo>
                    <a:lnTo>
                      <a:pt x="822" y="28"/>
                    </a:lnTo>
                    <a:lnTo>
                      <a:pt x="820" y="30"/>
                    </a:lnTo>
                    <a:lnTo>
                      <a:pt x="816" y="32"/>
                    </a:lnTo>
                    <a:lnTo>
                      <a:pt x="816" y="32"/>
                    </a:lnTo>
                    <a:lnTo>
                      <a:pt x="812" y="38"/>
                    </a:lnTo>
                    <a:lnTo>
                      <a:pt x="804" y="40"/>
                    </a:lnTo>
                    <a:lnTo>
                      <a:pt x="776" y="42"/>
                    </a:lnTo>
                    <a:lnTo>
                      <a:pt x="776" y="42"/>
                    </a:lnTo>
                    <a:lnTo>
                      <a:pt x="754" y="46"/>
                    </a:lnTo>
                    <a:lnTo>
                      <a:pt x="732" y="52"/>
                    </a:lnTo>
                    <a:lnTo>
                      <a:pt x="724" y="58"/>
                    </a:lnTo>
                    <a:lnTo>
                      <a:pt x="716" y="64"/>
                    </a:lnTo>
                    <a:lnTo>
                      <a:pt x="710" y="70"/>
                    </a:lnTo>
                    <a:lnTo>
                      <a:pt x="706" y="76"/>
                    </a:lnTo>
                    <a:lnTo>
                      <a:pt x="706" y="76"/>
                    </a:lnTo>
                    <a:lnTo>
                      <a:pt x="704" y="82"/>
                    </a:lnTo>
                    <a:lnTo>
                      <a:pt x="700" y="86"/>
                    </a:lnTo>
                    <a:lnTo>
                      <a:pt x="698" y="86"/>
                    </a:lnTo>
                    <a:lnTo>
                      <a:pt x="696" y="84"/>
                    </a:lnTo>
                    <a:lnTo>
                      <a:pt x="690" y="80"/>
                    </a:lnTo>
                    <a:lnTo>
                      <a:pt x="686" y="82"/>
                    </a:lnTo>
                    <a:lnTo>
                      <a:pt x="682" y="84"/>
                    </a:lnTo>
                    <a:lnTo>
                      <a:pt x="682" y="84"/>
                    </a:lnTo>
                    <a:lnTo>
                      <a:pt x="680" y="86"/>
                    </a:lnTo>
                    <a:lnTo>
                      <a:pt x="676" y="88"/>
                    </a:lnTo>
                    <a:lnTo>
                      <a:pt x="670" y="86"/>
                    </a:lnTo>
                    <a:lnTo>
                      <a:pt x="668" y="86"/>
                    </a:lnTo>
                    <a:lnTo>
                      <a:pt x="664" y="88"/>
                    </a:lnTo>
                    <a:lnTo>
                      <a:pt x="662" y="90"/>
                    </a:lnTo>
                    <a:lnTo>
                      <a:pt x="656" y="96"/>
                    </a:lnTo>
                    <a:lnTo>
                      <a:pt x="656" y="96"/>
                    </a:lnTo>
                    <a:lnTo>
                      <a:pt x="650" y="104"/>
                    </a:lnTo>
                    <a:lnTo>
                      <a:pt x="640" y="114"/>
                    </a:lnTo>
                    <a:lnTo>
                      <a:pt x="634" y="118"/>
                    </a:lnTo>
                    <a:lnTo>
                      <a:pt x="628" y="120"/>
                    </a:lnTo>
                    <a:lnTo>
                      <a:pt x="622" y="120"/>
                    </a:lnTo>
                    <a:lnTo>
                      <a:pt x="616" y="120"/>
                    </a:lnTo>
                    <a:lnTo>
                      <a:pt x="616" y="120"/>
                    </a:lnTo>
                    <a:lnTo>
                      <a:pt x="600" y="120"/>
                    </a:lnTo>
                    <a:lnTo>
                      <a:pt x="596" y="118"/>
                    </a:lnTo>
                    <a:lnTo>
                      <a:pt x="592" y="116"/>
                    </a:lnTo>
                    <a:lnTo>
                      <a:pt x="588" y="112"/>
                    </a:lnTo>
                    <a:lnTo>
                      <a:pt x="586" y="108"/>
                    </a:lnTo>
                    <a:lnTo>
                      <a:pt x="586" y="108"/>
                    </a:lnTo>
                    <a:lnTo>
                      <a:pt x="586" y="104"/>
                    </a:lnTo>
                    <a:lnTo>
                      <a:pt x="584" y="104"/>
                    </a:lnTo>
                    <a:lnTo>
                      <a:pt x="580" y="108"/>
                    </a:lnTo>
                    <a:lnTo>
                      <a:pt x="578" y="110"/>
                    </a:lnTo>
                    <a:lnTo>
                      <a:pt x="574" y="112"/>
                    </a:lnTo>
                    <a:lnTo>
                      <a:pt x="570" y="114"/>
                    </a:lnTo>
                    <a:lnTo>
                      <a:pt x="562" y="112"/>
                    </a:lnTo>
                    <a:lnTo>
                      <a:pt x="562" y="112"/>
                    </a:lnTo>
                    <a:lnTo>
                      <a:pt x="558" y="110"/>
                    </a:lnTo>
                    <a:lnTo>
                      <a:pt x="552" y="110"/>
                    </a:lnTo>
                    <a:lnTo>
                      <a:pt x="542" y="114"/>
                    </a:lnTo>
                    <a:lnTo>
                      <a:pt x="536" y="116"/>
                    </a:lnTo>
                    <a:lnTo>
                      <a:pt x="530" y="118"/>
                    </a:lnTo>
                    <a:lnTo>
                      <a:pt x="520" y="116"/>
                    </a:lnTo>
                    <a:lnTo>
                      <a:pt x="510" y="112"/>
                    </a:lnTo>
                    <a:lnTo>
                      <a:pt x="510" y="112"/>
                    </a:lnTo>
                    <a:lnTo>
                      <a:pt x="502" y="108"/>
                    </a:lnTo>
                    <a:lnTo>
                      <a:pt x="498" y="102"/>
                    </a:lnTo>
                    <a:lnTo>
                      <a:pt x="494" y="98"/>
                    </a:lnTo>
                    <a:lnTo>
                      <a:pt x="492" y="94"/>
                    </a:lnTo>
                    <a:lnTo>
                      <a:pt x="464" y="96"/>
                    </a:lnTo>
                    <a:lnTo>
                      <a:pt x="464" y="96"/>
                    </a:lnTo>
                    <a:lnTo>
                      <a:pt x="454" y="122"/>
                    </a:lnTo>
                    <a:lnTo>
                      <a:pt x="444" y="152"/>
                    </a:lnTo>
                    <a:lnTo>
                      <a:pt x="436" y="166"/>
                    </a:lnTo>
                    <a:lnTo>
                      <a:pt x="426" y="180"/>
                    </a:lnTo>
                    <a:lnTo>
                      <a:pt x="414" y="190"/>
                    </a:lnTo>
                    <a:lnTo>
                      <a:pt x="400" y="200"/>
                    </a:lnTo>
                    <a:lnTo>
                      <a:pt x="400" y="200"/>
                    </a:lnTo>
                    <a:lnTo>
                      <a:pt x="380" y="206"/>
                    </a:lnTo>
                    <a:lnTo>
                      <a:pt x="368" y="212"/>
                    </a:lnTo>
                    <a:lnTo>
                      <a:pt x="360" y="218"/>
                    </a:lnTo>
                    <a:lnTo>
                      <a:pt x="356" y="222"/>
                    </a:lnTo>
                    <a:lnTo>
                      <a:pt x="352" y="232"/>
                    </a:lnTo>
                    <a:lnTo>
                      <a:pt x="348" y="238"/>
                    </a:lnTo>
                    <a:lnTo>
                      <a:pt x="342" y="244"/>
                    </a:lnTo>
                    <a:lnTo>
                      <a:pt x="342" y="244"/>
                    </a:lnTo>
                    <a:lnTo>
                      <a:pt x="334" y="252"/>
                    </a:lnTo>
                    <a:lnTo>
                      <a:pt x="332" y="256"/>
                    </a:lnTo>
                    <a:lnTo>
                      <a:pt x="330" y="260"/>
                    </a:lnTo>
                    <a:lnTo>
                      <a:pt x="330" y="264"/>
                    </a:lnTo>
                    <a:lnTo>
                      <a:pt x="330" y="270"/>
                    </a:lnTo>
                    <a:lnTo>
                      <a:pt x="330" y="274"/>
                    </a:lnTo>
                    <a:lnTo>
                      <a:pt x="326" y="282"/>
                    </a:lnTo>
                    <a:lnTo>
                      <a:pt x="320" y="292"/>
                    </a:lnTo>
                    <a:lnTo>
                      <a:pt x="320" y="292"/>
                    </a:lnTo>
                    <a:lnTo>
                      <a:pt x="312" y="306"/>
                    </a:lnTo>
                    <a:lnTo>
                      <a:pt x="308" y="320"/>
                    </a:lnTo>
                    <a:lnTo>
                      <a:pt x="308" y="336"/>
                    </a:lnTo>
                    <a:lnTo>
                      <a:pt x="310" y="350"/>
                    </a:lnTo>
                    <a:lnTo>
                      <a:pt x="314" y="376"/>
                    </a:lnTo>
                    <a:lnTo>
                      <a:pt x="314" y="388"/>
                    </a:lnTo>
                    <a:lnTo>
                      <a:pt x="310" y="398"/>
                    </a:lnTo>
                    <a:lnTo>
                      <a:pt x="310" y="398"/>
                    </a:lnTo>
                    <a:lnTo>
                      <a:pt x="298" y="420"/>
                    </a:lnTo>
                    <a:lnTo>
                      <a:pt x="288" y="434"/>
                    </a:lnTo>
                    <a:lnTo>
                      <a:pt x="282" y="442"/>
                    </a:lnTo>
                    <a:lnTo>
                      <a:pt x="276" y="446"/>
                    </a:lnTo>
                    <a:lnTo>
                      <a:pt x="264" y="452"/>
                    </a:lnTo>
                    <a:lnTo>
                      <a:pt x="258" y="456"/>
                    </a:lnTo>
                    <a:lnTo>
                      <a:pt x="250" y="466"/>
                    </a:lnTo>
                    <a:lnTo>
                      <a:pt x="250" y="466"/>
                    </a:lnTo>
                    <a:lnTo>
                      <a:pt x="240" y="478"/>
                    </a:lnTo>
                    <a:lnTo>
                      <a:pt x="228" y="484"/>
                    </a:lnTo>
                    <a:lnTo>
                      <a:pt x="218" y="488"/>
                    </a:lnTo>
                    <a:lnTo>
                      <a:pt x="206" y="490"/>
                    </a:lnTo>
                    <a:lnTo>
                      <a:pt x="196" y="492"/>
                    </a:lnTo>
                    <a:lnTo>
                      <a:pt x="188" y="496"/>
                    </a:lnTo>
                    <a:lnTo>
                      <a:pt x="180" y="500"/>
                    </a:lnTo>
                    <a:lnTo>
                      <a:pt x="174" y="510"/>
                    </a:lnTo>
                    <a:lnTo>
                      <a:pt x="174" y="510"/>
                    </a:lnTo>
                    <a:lnTo>
                      <a:pt x="164" y="538"/>
                    </a:lnTo>
                    <a:lnTo>
                      <a:pt x="156" y="556"/>
                    </a:lnTo>
                    <a:lnTo>
                      <a:pt x="148" y="566"/>
                    </a:lnTo>
                    <a:lnTo>
                      <a:pt x="140" y="572"/>
                    </a:lnTo>
                    <a:lnTo>
                      <a:pt x="134" y="574"/>
                    </a:lnTo>
                    <a:lnTo>
                      <a:pt x="128" y="578"/>
                    </a:lnTo>
                    <a:lnTo>
                      <a:pt x="124" y="584"/>
                    </a:lnTo>
                    <a:lnTo>
                      <a:pt x="120" y="596"/>
                    </a:lnTo>
                    <a:lnTo>
                      <a:pt x="120" y="596"/>
                    </a:lnTo>
                    <a:lnTo>
                      <a:pt x="116" y="610"/>
                    </a:lnTo>
                    <a:lnTo>
                      <a:pt x="114" y="614"/>
                    </a:lnTo>
                    <a:lnTo>
                      <a:pt x="110" y="620"/>
                    </a:lnTo>
                    <a:lnTo>
                      <a:pt x="108" y="640"/>
                    </a:lnTo>
                    <a:lnTo>
                      <a:pt x="108" y="640"/>
                    </a:lnTo>
                    <a:lnTo>
                      <a:pt x="104" y="660"/>
                    </a:lnTo>
                    <a:lnTo>
                      <a:pt x="102" y="666"/>
                    </a:lnTo>
                    <a:lnTo>
                      <a:pt x="98" y="670"/>
                    </a:lnTo>
                    <a:lnTo>
                      <a:pt x="90" y="678"/>
                    </a:lnTo>
                    <a:lnTo>
                      <a:pt x="78" y="692"/>
                    </a:lnTo>
                    <a:lnTo>
                      <a:pt x="78" y="692"/>
                    </a:lnTo>
                    <a:lnTo>
                      <a:pt x="64" y="706"/>
                    </a:lnTo>
                    <a:lnTo>
                      <a:pt x="58" y="712"/>
                    </a:lnTo>
                    <a:lnTo>
                      <a:pt x="58" y="714"/>
                    </a:lnTo>
                    <a:lnTo>
                      <a:pt x="60" y="714"/>
                    </a:lnTo>
                    <a:lnTo>
                      <a:pt x="64" y="714"/>
                    </a:lnTo>
                    <a:lnTo>
                      <a:pt x="64" y="714"/>
                    </a:lnTo>
                    <a:lnTo>
                      <a:pt x="66" y="714"/>
                    </a:lnTo>
                    <a:lnTo>
                      <a:pt x="66" y="716"/>
                    </a:lnTo>
                    <a:lnTo>
                      <a:pt x="60" y="726"/>
                    </a:lnTo>
                    <a:lnTo>
                      <a:pt x="54" y="740"/>
                    </a:lnTo>
                    <a:lnTo>
                      <a:pt x="52" y="750"/>
                    </a:lnTo>
                    <a:lnTo>
                      <a:pt x="50" y="762"/>
                    </a:lnTo>
                    <a:lnTo>
                      <a:pt x="50" y="762"/>
                    </a:lnTo>
                    <a:lnTo>
                      <a:pt x="48" y="772"/>
                    </a:lnTo>
                    <a:lnTo>
                      <a:pt x="46" y="778"/>
                    </a:lnTo>
                    <a:lnTo>
                      <a:pt x="42" y="782"/>
                    </a:lnTo>
                    <a:lnTo>
                      <a:pt x="36" y="786"/>
                    </a:lnTo>
                    <a:lnTo>
                      <a:pt x="32" y="788"/>
                    </a:lnTo>
                    <a:lnTo>
                      <a:pt x="28" y="794"/>
                    </a:lnTo>
                    <a:lnTo>
                      <a:pt x="24" y="800"/>
                    </a:lnTo>
                    <a:lnTo>
                      <a:pt x="20" y="812"/>
                    </a:lnTo>
                    <a:lnTo>
                      <a:pt x="20" y="812"/>
                    </a:lnTo>
                    <a:lnTo>
                      <a:pt x="16" y="834"/>
                    </a:lnTo>
                    <a:lnTo>
                      <a:pt x="14" y="850"/>
                    </a:lnTo>
                    <a:lnTo>
                      <a:pt x="16" y="858"/>
                    </a:lnTo>
                    <a:lnTo>
                      <a:pt x="16" y="860"/>
                    </a:lnTo>
                    <a:lnTo>
                      <a:pt x="18" y="860"/>
                    </a:lnTo>
                    <a:lnTo>
                      <a:pt x="18" y="860"/>
                    </a:lnTo>
                    <a:lnTo>
                      <a:pt x="20" y="860"/>
                    </a:lnTo>
                    <a:lnTo>
                      <a:pt x="22" y="858"/>
                    </a:lnTo>
                    <a:lnTo>
                      <a:pt x="22" y="852"/>
                    </a:lnTo>
                    <a:lnTo>
                      <a:pt x="24" y="846"/>
                    </a:lnTo>
                    <a:lnTo>
                      <a:pt x="24" y="844"/>
                    </a:lnTo>
                    <a:lnTo>
                      <a:pt x="26" y="844"/>
                    </a:lnTo>
                    <a:lnTo>
                      <a:pt x="26" y="844"/>
                    </a:lnTo>
                    <a:lnTo>
                      <a:pt x="30" y="846"/>
                    </a:lnTo>
                    <a:lnTo>
                      <a:pt x="30" y="850"/>
                    </a:lnTo>
                    <a:lnTo>
                      <a:pt x="32" y="860"/>
                    </a:lnTo>
                    <a:lnTo>
                      <a:pt x="34" y="868"/>
                    </a:lnTo>
                    <a:lnTo>
                      <a:pt x="36" y="868"/>
                    </a:lnTo>
                    <a:lnTo>
                      <a:pt x="38" y="868"/>
                    </a:lnTo>
                    <a:lnTo>
                      <a:pt x="38" y="868"/>
                    </a:lnTo>
                    <a:lnTo>
                      <a:pt x="42" y="868"/>
                    </a:lnTo>
                    <a:lnTo>
                      <a:pt x="44" y="868"/>
                    </a:lnTo>
                    <a:lnTo>
                      <a:pt x="48" y="878"/>
                    </a:lnTo>
                    <a:lnTo>
                      <a:pt x="50" y="890"/>
                    </a:lnTo>
                    <a:lnTo>
                      <a:pt x="50" y="902"/>
                    </a:lnTo>
                    <a:lnTo>
                      <a:pt x="50" y="902"/>
                    </a:lnTo>
                    <a:lnTo>
                      <a:pt x="50" y="910"/>
                    </a:lnTo>
                    <a:lnTo>
                      <a:pt x="46" y="918"/>
                    </a:lnTo>
                    <a:lnTo>
                      <a:pt x="42" y="926"/>
                    </a:lnTo>
                    <a:lnTo>
                      <a:pt x="38" y="930"/>
                    </a:lnTo>
                    <a:lnTo>
                      <a:pt x="40" y="932"/>
                    </a:lnTo>
                    <a:lnTo>
                      <a:pt x="42" y="936"/>
                    </a:lnTo>
                    <a:lnTo>
                      <a:pt x="42" y="936"/>
                    </a:lnTo>
                    <a:lnTo>
                      <a:pt x="46" y="940"/>
                    </a:lnTo>
                    <a:lnTo>
                      <a:pt x="50" y="948"/>
                    </a:lnTo>
                    <a:lnTo>
                      <a:pt x="54" y="958"/>
                    </a:lnTo>
                    <a:lnTo>
                      <a:pt x="58" y="972"/>
                    </a:lnTo>
                    <a:lnTo>
                      <a:pt x="60" y="986"/>
                    </a:lnTo>
                    <a:lnTo>
                      <a:pt x="60" y="1002"/>
                    </a:lnTo>
                    <a:lnTo>
                      <a:pt x="58" y="1016"/>
                    </a:lnTo>
                    <a:lnTo>
                      <a:pt x="54" y="1030"/>
                    </a:lnTo>
                    <a:lnTo>
                      <a:pt x="54" y="1030"/>
                    </a:lnTo>
                    <a:lnTo>
                      <a:pt x="42" y="1066"/>
                    </a:lnTo>
                    <a:lnTo>
                      <a:pt x="40" y="1076"/>
                    </a:lnTo>
                    <a:lnTo>
                      <a:pt x="40" y="1086"/>
                    </a:lnTo>
                    <a:lnTo>
                      <a:pt x="40" y="1086"/>
                    </a:lnTo>
                    <a:lnTo>
                      <a:pt x="40" y="1102"/>
                    </a:lnTo>
                    <a:lnTo>
                      <a:pt x="34" y="1122"/>
                    </a:lnTo>
                    <a:lnTo>
                      <a:pt x="28" y="1132"/>
                    </a:lnTo>
                    <a:lnTo>
                      <a:pt x="22" y="1142"/>
                    </a:lnTo>
                    <a:lnTo>
                      <a:pt x="16" y="1150"/>
                    </a:lnTo>
                    <a:lnTo>
                      <a:pt x="6" y="1156"/>
                    </a:lnTo>
                    <a:lnTo>
                      <a:pt x="6" y="1156"/>
                    </a:lnTo>
                    <a:lnTo>
                      <a:pt x="2" y="1160"/>
                    </a:lnTo>
                    <a:lnTo>
                      <a:pt x="0" y="1162"/>
                    </a:lnTo>
                    <a:lnTo>
                      <a:pt x="2" y="1164"/>
                    </a:lnTo>
                    <a:lnTo>
                      <a:pt x="10" y="1164"/>
                    </a:lnTo>
                    <a:lnTo>
                      <a:pt x="10" y="1164"/>
                    </a:lnTo>
                    <a:lnTo>
                      <a:pt x="14" y="1164"/>
                    </a:lnTo>
                    <a:lnTo>
                      <a:pt x="16" y="1168"/>
                    </a:lnTo>
                    <a:lnTo>
                      <a:pt x="22" y="1184"/>
                    </a:lnTo>
                    <a:lnTo>
                      <a:pt x="30" y="1202"/>
                    </a:lnTo>
                    <a:lnTo>
                      <a:pt x="34" y="1210"/>
                    </a:lnTo>
                    <a:lnTo>
                      <a:pt x="38" y="1218"/>
                    </a:lnTo>
                    <a:lnTo>
                      <a:pt x="38" y="1218"/>
                    </a:lnTo>
                    <a:lnTo>
                      <a:pt x="40" y="1222"/>
                    </a:lnTo>
                    <a:lnTo>
                      <a:pt x="44" y="1224"/>
                    </a:lnTo>
                    <a:lnTo>
                      <a:pt x="46" y="1226"/>
                    </a:lnTo>
                    <a:lnTo>
                      <a:pt x="52" y="1226"/>
                    </a:lnTo>
                    <a:lnTo>
                      <a:pt x="64" y="1224"/>
                    </a:lnTo>
                    <a:lnTo>
                      <a:pt x="80" y="1224"/>
                    </a:lnTo>
                    <a:lnTo>
                      <a:pt x="80" y="1224"/>
                    </a:lnTo>
                    <a:lnTo>
                      <a:pt x="62" y="1228"/>
                    </a:lnTo>
                    <a:lnTo>
                      <a:pt x="50" y="1232"/>
                    </a:lnTo>
                    <a:lnTo>
                      <a:pt x="40" y="1232"/>
                    </a:lnTo>
                    <a:lnTo>
                      <a:pt x="38" y="1232"/>
                    </a:lnTo>
                    <a:lnTo>
                      <a:pt x="36" y="1228"/>
                    </a:lnTo>
                    <a:lnTo>
                      <a:pt x="36" y="1228"/>
                    </a:lnTo>
                    <a:lnTo>
                      <a:pt x="34" y="1226"/>
                    </a:lnTo>
                    <a:lnTo>
                      <a:pt x="32" y="1224"/>
                    </a:lnTo>
                    <a:lnTo>
                      <a:pt x="28" y="1228"/>
                    </a:lnTo>
                    <a:lnTo>
                      <a:pt x="26" y="1234"/>
                    </a:lnTo>
                    <a:lnTo>
                      <a:pt x="28" y="1242"/>
                    </a:lnTo>
                    <a:lnTo>
                      <a:pt x="28" y="1242"/>
                    </a:lnTo>
                    <a:lnTo>
                      <a:pt x="30" y="1252"/>
                    </a:lnTo>
                    <a:lnTo>
                      <a:pt x="30" y="1260"/>
                    </a:lnTo>
                    <a:lnTo>
                      <a:pt x="30" y="1264"/>
                    </a:lnTo>
                    <a:lnTo>
                      <a:pt x="32" y="1264"/>
                    </a:lnTo>
                    <a:lnTo>
                      <a:pt x="34" y="1264"/>
                    </a:lnTo>
                    <a:lnTo>
                      <a:pt x="34" y="1264"/>
                    </a:lnTo>
                    <a:lnTo>
                      <a:pt x="40" y="1262"/>
                    </a:lnTo>
                    <a:lnTo>
                      <a:pt x="44" y="1264"/>
                    </a:lnTo>
                    <a:lnTo>
                      <a:pt x="48" y="1266"/>
                    </a:lnTo>
                    <a:lnTo>
                      <a:pt x="54" y="1264"/>
                    </a:lnTo>
                    <a:lnTo>
                      <a:pt x="54" y="1264"/>
                    </a:lnTo>
                    <a:lnTo>
                      <a:pt x="60" y="1264"/>
                    </a:lnTo>
                    <a:lnTo>
                      <a:pt x="64" y="1264"/>
                    </a:lnTo>
                    <a:lnTo>
                      <a:pt x="70" y="1268"/>
                    </a:lnTo>
                    <a:lnTo>
                      <a:pt x="76" y="1268"/>
                    </a:lnTo>
                    <a:lnTo>
                      <a:pt x="76" y="1268"/>
                    </a:lnTo>
                    <a:lnTo>
                      <a:pt x="64" y="1270"/>
                    </a:lnTo>
                    <a:lnTo>
                      <a:pt x="54" y="1270"/>
                    </a:lnTo>
                    <a:lnTo>
                      <a:pt x="44" y="1268"/>
                    </a:lnTo>
                    <a:lnTo>
                      <a:pt x="38" y="1266"/>
                    </a:lnTo>
                    <a:lnTo>
                      <a:pt x="36" y="1268"/>
                    </a:lnTo>
                    <a:lnTo>
                      <a:pt x="32" y="1270"/>
                    </a:lnTo>
                    <a:lnTo>
                      <a:pt x="32" y="1270"/>
                    </a:lnTo>
                    <a:lnTo>
                      <a:pt x="30" y="1274"/>
                    </a:lnTo>
                    <a:lnTo>
                      <a:pt x="30" y="1276"/>
                    </a:lnTo>
                    <a:lnTo>
                      <a:pt x="34" y="1278"/>
                    </a:lnTo>
                    <a:lnTo>
                      <a:pt x="38" y="1282"/>
                    </a:lnTo>
                    <a:lnTo>
                      <a:pt x="38" y="1282"/>
                    </a:lnTo>
                    <a:lnTo>
                      <a:pt x="40" y="1286"/>
                    </a:lnTo>
                    <a:lnTo>
                      <a:pt x="42" y="1286"/>
                    </a:lnTo>
                    <a:lnTo>
                      <a:pt x="48" y="1284"/>
                    </a:lnTo>
                    <a:lnTo>
                      <a:pt x="52" y="1284"/>
                    </a:lnTo>
                    <a:lnTo>
                      <a:pt x="50" y="1290"/>
                    </a:lnTo>
                    <a:lnTo>
                      <a:pt x="50" y="1290"/>
                    </a:lnTo>
                    <a:lnTo>
                      <a:pt x="46" y="1296"/>
                    </a:lnTo>
                    <a:lnTo>
                      <a:pt x="48" y="1298"/>
                    </a:lnTo>
                    <a:lnTo>
                      <a:pt x="48" y="1300"/>
                    </a:lnTo>
                    <a:lnTo>
                      <a:pt x="54" y="1300"/>
                    </a:lnTo>
                    <a:lnTo>
                      <a:pt x="60" y="1300"/>
                    </a:lnTo>
                    <a:lnTo>
                      <a:pt x="60" y="1300"/>
                    </a:lnTo>
                    <a:lnTo>
                      <a:pt x="64" y="1298"/>
                    </a:lnTo>
                    <a:lnTo>
                      <a:pt x="64" y="1300"/>
                    </a:lnTo>
                    <a:lnTo>
                      <a:pt x="64" y="1306"/>
                    </a:lnTo>
                    <a:lnTo>
                      <a:pt x="64" y="1312"/>
                    </a:lnTo>
                    <a:lnTo>
                      <a:pt x="66" y="1312"/>
                    </a:lnTo>
                    <a:lnTo>
                      <a:pt x="70" y="1310"/>
                    </a:lnTo>
                    <a:lnTo>
                      <a:pt x="70" y="1310"/>
                    </a:lnTo>
                    <a:lnTo>
                      <a:pt x="78" y="1304"/>
                    </a:lnTo>
                    <a:lnTo>
                      <a:pt x="86" y="1300"/>
                    </a:lnTo>
                    <a:lnTo>
                      <a:pt x="88" y="1300"/>
                    </a:lnTo>
                    <a:lnTo>
                      <a:pt x="88" y="1302"/>
                    </a:lnTo>
                    <a:lnTo>
                      <a:pt x="82" y="1304"/>
                    </a:lnTo>
                    <a:lnTo>
                      <a:pt x="82" y="1304"/>
                    </a:lnTo>
                    <a:lnTo>
                      <a:pt x="80" y="1306"/>
                    </a:lnTo>
                    <a:lnTo>
                      <a:pt x="78" y="1308"/>
                    </a:lnTo>
                    <a:lnTo>
                      <a:pt x="80" y="1312"/>
                    </a:lnTo>
                    <a:lnTo>
                      <a:pt x="82" y="1318"/>
                    </a:lnTo>
                    <a:lnTo>
                      <a:pt x="84" y="1320"/>
                    </a:lnTo>
                    <a:lnTo>
                      <a:pt x="82" y="1324"/>
                    </a:lnTo>
                    <a:lnTo>
                      <a:pt x="82" y="1324"/>
                    </a:lnTo>
                    <a:lnTo>
                      <a:pt x="80" y="1328"/>
                    </a:lnTo>
                    <a:lnTo>
                      <a:pt x="82" y="1328"/>
                    </a:lnTo>
                    <a:lnTo>
                      <a:pt x="84" y="1328"/>
                    </a:lnTo>
                    <a:lnTo>
                      <a:pt x="86" y="1332"/>
                    </a:lnTo>
                    <a:lnTo>
                      <a:pt x="86" y="1332"/>
                    </a:lnTo>
                    <a:lnTo>
                      <a:pt x="86" y="1336"/>
                    </a:lnTo>
                    <a:lnTo>
                      <a:pt x="88" y="1336"/>
                    </a:lnTo>
                    <a:lnTo>
                      <a:pt x="90" y="1338"/>
                    </a:lnTo>
                    <a:lnTo>
                      <a:pt x="90" y="1342"/>
                    </a:lnTo>
                    <a:lnTo>
                      <a:pt x="90" y="1342"/>
                    </a:lnTo>
                    <a:lnTo>
                      <a:pt x="92" y="1346"/>
                    </a:lnTo>
                    <a:lnTo>
                      <a:pt x="94" y="1344"/>
                    </a:lnTo>
                    <a:lnTo>
                      <a:pt x="100" y="1336"/>
                    </a:lnTo>
                    <a:lnTo>
                      <a:pt x="100" y="1336"/>
                    </a:lnTo>
                    <a:lnTo>
                      <a:pt x="98" y="1344"/>
                    </a:lnTo>
                    <a:lnTo>
                      <a:pt x="100" y="1348"/>
                    </a:lnTo>
                    <a:lnTo>
                      <a:pt x="100" y="1348"/>
                    </a:lnTo>
                    <a:lnTo>
                      <a:pt x="98" y="1352"/>
                    </a:lnTo>
                    <a:lnTo>
                      <a:pt x="100" y="1356"/>
                    </a:lnTo>
                    <a:lnTo>
                      <a:pt x="100" y="1356"/>
                    </a:lnTo>
                    <a:lnTo>
                      <a:pt x="102" y="1356"/>
                    </a:lnTo>
                    <a:lnTo>
                      <a:pt x="102" y="1356"/>
                    </a:lnTo>
                    <a:lnTo>
                      <a:pt x="104" y="1352"/>
                    </a:lnTo>
                    <a:lnTo>
                      <a:pt x="108" y="1346"/>
                    </a:lnTo>
                    <a:lnTo>
                      <a:pt x="110" y="1344"/>
                    </a:lnTo>
                    <a:lnTo>
                      <a:pt x="114" y="1344"/>
                    </a:lnTo>
                    <a:lnTo>
                      <a:pt x="114" y="1344"/>
                    </a:lnTo>
                    <a:lnTo>
                      <a:pt x="116" y="1344"/>
                    </a:lnTo>
                    <a:lnTo>
                      <a:pt x="112" y="1346"/>
                    </a:lnTo>
                    <a:lnTo>
                      <a:pt x="110" y="1350"/>
                    </a:lnTo>
                    <a:lnTo>
                      <a:pt x="110" y="1354"/>
                    </a:lnTo>
                    <a:lnTo>
                      <a:pt x="110" y="1358"/>
                    </a:lnTo>
                    <a:lnTo>
                      <a:pt x="110" y="1358"/>
                    </a:lnTo>
                    <a:lnTo>
                      <a:pt x="112" y="1360"/>
                    </a:lnTo>
                    <a:lnTo>
                      <a:pt x="114" y="1360"/>
                    </a:lnTo>
                    <a:lnTo>
                      <a:pt x="118" y="1356"/>
                    </a:lnTo>
                    <a:lnTo>
                      <a:pt x="118" y="1354"/>
                    </a:lnTo>
                    <a:lnTo>
                      <a:pt x="118" y="1362"/>
                    </a:lnTo>
                    <a:lnTo>
                      <a:pt x="118" y="1362"/>
                    </a:lnTo>
                    <a:lnTo>
                      <a:pt x="118" y="1372"/>
                    </a:lnTo>
                    <a:lnTo>
                      <a:pt x="118" y="1372"/>
                    </a:lnTo>
                    <a:lnTo>
                      <a:pt x="120" y="1378"/>
                    </a:lnTo>
                    <a:lnTo>
                      <a:pt x="120" y="1378"/>
                    </a:lnTo>
                    <a:lnTo>
                      <a:pt x="124" y="1384"/>
                    </a:lnTo>
                    <a:lnTo>
                      <a:pt x="128" y="1386"/>
                    </a:lnTo>
                    <a:lnTo>
                      <a:pt x="134" y="1388"/>
                    </a:lnTo>
                    <a:lnTo>
                      <a:pt x="140" y="1392"/>
                    </a:lnTo>
                    <a:lnTo>
                      <a:pt x="140" y="1392"/>
                    </a:lnTo>
                    <a:lnTo>
                      <a:pt x="146" y="1398"/>
                    </a:lnTo>
                    <a:lnTo>
                      <a:pt x="154" y="1402"/>
                    </a:lnTo>
                    <a:lnTo>
                      <a:pt x="158" y="1404"/>
                    </a:lnTo>
                    <a:lnTo>
                      <a:pt x="158" y="1406"/>
                    </a:lnTo>
                    <a:lnTo>
                      <a:pt x="158" y="1408"/>
                    </a:lnTo>
                    <a:lnTo>
                      <a:pt x="158" y="1408"/>
                    </a:lnTo>
                    <a:lnTo>
                      <a:pt x="156" y="1414"/>
                    </a:lnTo>
                    <a:lnTo>
                      <a:pt x="154" y="1418"/>
                    </a:lnTo>
                    <a:lnTo>
                      <a:pt x="156" y="1420"/>
                    </a:lnTo>
                    <a:lnTo>
                      <a:pt x="162" y="1424"/>
                    </a:lnTo>
                    <a:lnTo>
                      <a:pt x="162" y="1424"/>
                    </a:lnTo>
                    <a:lnTo>
                      <a:pt x="166" y="1426"/>
                    </a:lnTo>
                    <a:lnTo>
                      <a:pt x="166" y="1430"/>
                    </a:lnTo>
                    <a:lnTo>
                      <a:pt x="168" y="1432"/>
                    </a:lnTo>
                    <a:lnTo>
                      <a:pt x="170" y="1434"/>
                    </a:lnTo>
                    <a:lnTo>
                      <a:pt x="170" y="1434"/>
                    </a:lnTo>
                    <a:lnTo>
                      <a:pt x="172" y="1436"/>
                    </a:lnTo>
                    <a:lnTo>
                      <a:pt x="170" y="1438"/>
                    </a:lnTo>
                    <a:lnTo>
                      <a:pt x="170" y="1440"/>
                    </a:lnTo>
                    <a:lnTo>
                      <a:pt x="170" y="1442"/>
                    </a:lnTo>
                    <a:lnTo>
                      <a:pt x="170" y="1442"/>
                    </a:lnTo>
                    <a:lnTo>
                      <a:pt x="176" y="1448"/>
                    </a:lnTo>
                    <a:lnTo>
                      <a:pt x="176" y="1450"/>
                    </a:lnTo>
                    <a:lnTo>
                      <a:pt x="174" y="1450"/>
                    </a:lnTo>
                    <a:lnTo>
                      <a:pt x="172" y="1452"/>
                    </a:lnTo>
                    <a:lnTo>
                      <a:pt x="170" y="1454"/>
                    </a:lnTo>
                    <a:lnTo>
                      <a:pt x="172" y="1458"/>
                    </a:lnTo>
                    <a:lnTo>
                      <a:pt x="172" y="1458"/>
                    </a:lnTo>
                    <a:lnTo>
                      <a:pt x="174" y="1462"/>
                    </a:lnTo>
                    <a:lnTo>
                      <a:pt x="176" y="1462"/>
                    </a:lnTo>
                    <a:lnTo>
                      <a:pt x="180" y="1462"/>
                    </a:lnTo>
                    <a:lnTo>
                      <a:pt x="186" y="1464"/>
                    </a:lnTo>
                    <a:lnTo>
                      <a:pt x="186" y="1464"/>
                    </a:lnTo>
                    <a:lnTo>
                      <a:pt x="182" y="1468"/>
                    </a:lnTo>
                    <a:lnTo>
                      <a:pt x="178" y="1470"/>
                    </a:lnTo>
                    <a:lnTo>
                      <a:pt x="172" y="1470"/>
                    </a:lnTo>
                    <a:lnTo>
                      <a:pt x="170" y="1468"/>
                    </a:lnTo>
                    <a:lnTo>
                      <a:pt x="170" y="1472"/>
                    </a:lnTo>
                    <a:lnTo>
                      <a:pt x="170" y="1472"/>
                    </a:lnTo>
                    <a:lnTo>
                      <a:pt x="174" y="1480"/>
                    </a:lnTo>
                    <a:lnTo>
                      <a:pt x="178" y="1482"/>
                    </a:lnTo>
                    <a:lnTo>
                      <a:pt x="182" y="1482"/>
                    </a:lnTo>
                    <a:lnTo>
                      <a:pt x="184" y="1486"/>
                    </a:lnTo>
                    <a:lnTo>
                      <a:pt x="184" y="1486"/>
                    </a:lnTo>
                    <a:lnTo>
                      <a:pt x="186" y="1492"/>
                    </a:lnTo>
                    <a:lnTo>
                      <a:pt x="184" y="1494"/>
                    </a:lnTo>
                    <a:lnTo>
                      <a:pt x="182" y="1496"/>
                    </a:lnTo>
                    <a:lnTo>
                      <a:pt x="182" y="1498"/>
                    </a:lnTo>
                    <a:lnTo>
                      <a:pt x="182" y="1498"/>
                    </a:lnTo>
                    <a:lnTo>
                      <a:pt x="186" y="1502"/>
                    </a:lnTo>
                    <a:lnTo>
                      <a:pt x="192" y="1504"/>
                    </a:lnTo>
                    <a:lnTo>
                      <a:pt x="196" y="1506"/>
                    </a:lnTo>
                    <a:lnTo>
                      <a:pt x="202" y="1510"/>
                    </a:lnTo>
                    <a:lnTo>
                      <a:pt x="202" y="1510"/>
                    </a:lnTo>
                    <a:lnTo>
                      <a:pt x="204" y="1512"/>
                    </a:lnTo>
                    <a:lnTo>
                      <a:pt x="204" y="1514"/>
                    </a:lnTo>
                    <a:lnTo>
                      <a:pt x="202" y="1518"/>
                    </a:lnTo>
                    <a:lnTo>
                      <a:pt x="200" y="1520"/>
                    </a:lnTo>
                    <a:lnTo>
                      <a:pt x="202" y="1520"/>
                    </a:lnTo>
                    <a:lnTo>
                      <a:pt x="208" y="1524"/>
                    </a:lnTo>
                    <a:lnTo>
                      <a:pt x="208" y="1524"/>
                    </a:lnTo>
                    <a:lnTo>
                      <a:pt x="228" y="1534"/>
                    </a:lnTo>
                    <a:lnTo>
                      <a:pt x="236" y="1538"/>
                    </a:lnTo>
                    <a:lnTo>
                      <a:pt x="242" y="1546"/>
                    </a:lnTo>
                    <a:lnTo>
                      <a:pt x="242" y="1546"/>
                    </a:lnTo>
                    <a:lnTo>
                      <a:pt x="246" y="1552"/>
                    </a:lnTo>
                    <a:lnTo>
                      <a:pt x="250" y="1556"/>
                    </a:lnTo>
                    <a:lnTo>
                      <a:pt x="260" y="1562"/>
                    </a:lnTo>
                    <a:lnTo>
                      <a:pt x="268" y="1566"/>
                    </a:lnTo>
                    <a:lnTo>
                      <a:pt x="270" y="1570"/>
                    </a:lnTo>
                    <a:lnTo>
                      <a:pt x="272" y="1574"/>
                    </a:lnTo>
                    <a:lnTo>
                      <a:pt x="272" y="1574"/>
                    </a:lnTo>
                    <a:lnTo>
                      <a:pt x="272" y="1576"/>
                    </a:lnTo>
                    <a:lnTo>
                      <a:pt x="274" y="1578"/>
                    </a:lnTo>
                    <a:lnTo>
                      <a:pt x="282" y="1582"/>
                    </a:lnTo>
                    <a:lnTo>
                      <a:pt x="294" y="1590"/>
                    </a:lnTo>
                    <a:lnTo>
                      <a:pt x="302" y="1596"/>
                    </a:lnTo>
                    <a:lnTo>
                      <a:pt x="310" y="1606"/>
                    </a:lnTo>
                    <a:lnTo>
                      <a:pt x="310" y="1606"/>
                    </a:lnTo>
                    <a:lnTo>
                      <a:pt x="328" y="1626"/>
                    </a:lnTo>
                    <a:lnTo>
                      <a:pt x="346" y="1644"/>
                    </a:lnTo>
                    <a:lnTo>
                      <a:pt x="364" y="1654"/>
                    </a:lnTo>
                    <a:lnTo>
                      <a:pt x="380" y="1660"/>
                    </a:lnTo>
                    <a:lnTo>
                      <a:pt x="380" y="1660"/>
                    </a:lnTo>
                    <a:lnTo>
                      <a:pt x="388" y="1664"/>
                    </a:lnTo>
                    <a:lnTo>
                      <a:pt x="392" y="1668"/>
                    </a:lnTo>
                    <a:lnTo>
                      <a:pt x="396" y="1670"/>
                    </a:lnTo>
                    <a:lnTo>
                      <a:pt x="402" y="1672"/>
                    </a:lnTo>
                    <a:lnTo>
                      <a:pt x="402" y="1672"/>
                    </a:lnTo>
                    <a:lnTo>
                      <a:pt x="408" y="1670"/>
                    </a:lnTo>
                    <a:lnTo>
                      <a:pt x="412" y="1666"/>
                    </a:lnTo>
                    <a:lnTo>
                      <a:pt x="422" y="1658"/>
                    </a:lnTo>
                    <a:lnTo>
                      <a:pt x="436" y="1648"/>
                    </a:lnTo>
                    <a:lnTo>
                      <a:pt x="448" y="1642"/>
                    </a:lnTo>
                    <a:lnTo>
                      <a:pt x="462" y="1638"/>
                    </a:lnTo>
                    <a:lnTo>
                      <a:pt x="462" y="1638"/>
                    </a:lnTo>
                    <a:lnTo>
                      <a:pt x="488" y="1634"/>
                    </a:lnTo>
                    <a:lnTo>
                      <a:pt x="504" y="1632"/>
                    </a:lnTo>
                    <a:lnTo>
                      <a:pt x="516" y="1632"/>
                    </a:lnTo>
                    <a:lnTo>
                      <a:pt x="530" y="1630"/>
                    </a:lnTo>
                    <a:lnTo>
                      <a:pt x="530" y="1630"/>
                    </a:lnTo>
                    <a:lnTo>
                      <a:pt x="540" y="1628"/>
                    </a:lnTo>
                    <a:lnTo>
                      <a:pt x="554" y="1630"/>
                    </a:lnTo>
                    <a:lnTo>
                      <a:pt x="554" y="1630"/>
                    </a:lnTo>
                    <a:lnTo>
                      <a:pt x="566" y="1630"/>
                    </a:lnTo>
                    <a:lnTo>
                      <a:pt x="572" y="1630"/>
                    </a:lnTo>
                    <a:lnTo>
                      <a:pt x="576" y="1630"/>
                    </a:lnTo>
                    <a:lnTo>
                      <a:pt x="580" y="1630"/>
                    </a:lnTo>
                    <a:lnTo>
                      <a:pt x="580" y="1630"/>
                    </a:lnTo>
                    <a:lnTo>
                      <a:pt x="590" y="1632"/>
                    </a:lnTo>
                    <a:lnTo>
                      <a:pt x="592" y="1632"/>
                    </a:lnTo>
                    <a:lnTo>
                      <a:pt x="590" y="1632"/>
                    </a:lnTo>
                    <a:lnTo>
                      <a:pt x="590" y="1632"/>
                    </a:lnTo>
                    <a:lnTo>
                      <a:pt x="582" y="1634"/>
                    </a:lnTo>
                    <a:lnTo>
                      <a:pt x="578" y="1634"/>
                    </a:lnTo>
                    <a:lnTo>
                      <a:pt x="576" y="1636"/>
                    </a:lnTo>
                    <a:lnTo>
                      <a:pt x="578" y="1636"/>
                    </a:lnTo>
                    <a:lnTo>
                      <a:pt x="578" y="1636"/>
                    </a:lnTo>
                    <a:lnTo>
                      <a:pt x="594" y="1640"/>
                    </a:lnTo>
                    <a:lnTo>
                      <a:pt x="606" y="1644"/>
                    </a:lnTo>
                    <a:lnTo>
                      <a:pt x="618" y="1650"/>
                    </a:lnTo>
                    <a:lnTo>
                      <a:pt x="618" y="1650"/>
                    </a:lnTo>
                    <a:lnTo>
                      <a:pt x="622" y="1652"/>
                    </a:lnTo>
                    <a:lnTo>
                      <a:pt x="626" y="1652"/>
                    </a:lnTo>
                    <a:lnTo>
                      <a:pt x="636" y="1644"/>
                    </a:lnTo>
                    <a:lnTo>
                      <a:pt x="648" y="1636"/>
                    </a:lnTo>
                    <a:lnTo>
                      <a:pt x="656" y="1632"/>
                    </a:lnTo>
                    <a:lnTo>
                      <a:pt x="664" y="1630"/>
                    </a:lnTo>
                    <a:lnTo>
                      <a:pt x="664" y="1630"/>
                    </a:lnTo>
                    <a:lnTo>
                      <a:pt x="674" y="1628"/>
                    </a:lnTo>
                    <a:lnTo>
                      <a:pt x="680" y="1624"/>
                    </a:lnTo>
                    <a:lnTo>
                      <a:pt x="690" y="1614"/>
                    </a:lnTo>
                    <a:lnTo>
                      <a:pt x="698" y="1610"/>
                    </a:lnTo>
                    <a:lnTo>
                      <a:pt x="706" y="1606"/>
                    </a:lnTo>
                    <a:lnTo>
                      <a:pt x="716" y="1602"/>
                    </a:lnTo>
                    <a:lnTo>
                      <a:pt x="730" y="1600"/>
                    </a:lnTo>
                    <a:lnTo>
                      <a:pt x="730" y="1600"/>
                    </a:lnTo>
                    <a:lnTo>
                      <a:pt x="742" y="1598"/>
                    </a:lnTo>
                    <a:lnTo>
                      <a:pt x="746" y="1596"/>
                    </a:lnTo>
                    <a:lnTo>
                      <a:pt x="746" y="1594"/>
                    </a:lnTo>
                    <a:lnTo>
                      <a:pt x="748" y="1590"/>
                    </a:lnTo>
                    <a:lnTo>
                      <a:pt x="754" y="1586"/>
                    </a:lnTo>
                    <a:lnTo>
                      <a:pt x="754" y="1586"/>
                    </a:lnTo>
                    <a:lnTo>
                      <a:pt x="760" y="1582"/>
                    </a:lnTo>
                    <a:lnTo>
                      <a:pt x="774" y="1578"/>
                    </a:lnTo>
                    <a:lnTo>
                      <a:pt x="774" y="1578"/>
                    </a:lnTo>
                    <a:lnTo>
                      <a:pt x="796" y="1574"/>
                    </a:lnTo>
                    <a:lnTo>
                      <a:pt x="814" y="1572"/>
                    </a:lnTo>
                    <a:lnTo>
                      <a:pt x="814" y="1572"/>
                    </a:lnTo>
                    <a:lnTo>
                      <a:pt x="832" y="1572"/>
                    </a:lnTo>
                    <a:lnTo>
                      <a:pt x="838" y="1570"/>
                    </a:lnTo>
                    <a:lnTo>
                      <a:pt x="840" y="1568"/>
                    </a:lnTo>
                    <a:lnTo>
                      <a:pt x="840" y="1568"/>
                    </a:lnTo>
                    <a:lnTo>
                      <a:pt x="844" y="1564"/>
                    </a:lnTo>
                    <a:lnTo>
                      <a:pt x="846" y="1566"/>
                    </a:lnTo>
                    <a:lnTo>
                      <a:pt x="850" y="1570"/>
                    </a:lnTo>
                    <a:lnTo>
                      <a:pt x="860" y="1570"/>
                    </a:lnTo>
                    <a:lnTo>
                      <a:pt x="860" y="1570"/>
                    </a:lnTo>
                    <a:lnTo>
                      <a:pt x="874" y="1570"/>
                    </a:lnTo>
                    <a:lnTo>
                      <a:pt x="884" y="1574"/>
                    </a:lnTo>
                    <a:lnTo>
                      <a:pt x="890" y="1578"/>
                    </a:lnTo>
                    <a:lnTo>
                      <a:pt x="896" y="1584"/>
                    </a:lnTo>
                    <a:lnTo>
                      <a:pt x="908" y="1600"/>
                    </a:lnTo>
                    <a:lnTo>
                      <a:pt x="908" y="1600"/>
                    </a:lnTo>
                    <a:lnTo>
                      <a:pt x="916" y="1616"/>
                    </a:lnTo>
                    <a:lnTo>
                      <a:pt x="924" y="1642"/>
                    </a:lnTo>
                    <a:lnTo>
                      <a:pt x="930" y="1654"/>
                    </a:lnTo>
                    <a:lnTo>
                      <a:pt x="936" y="1664"/>
                    </a:lnTo>
                    <a:lnTo>
                      <a:pt x="944" y="1670"/>
                    </a:lnTo>
                    <a:lnTo>
                      <a:pt x="948" y="1672"/>
                    </a:lnTo>
                    <a:lnTo>
                      <a:pt x="954" y="1672"/>
                    </a:lnTo>
                    <a:lnTo>
                      <a:pt x="954" y="1672"/>
                    </a:lnTo>
                    <a:lnTo>
                      <a:pt x="970" y="1672"/>
                    </a:lnTo>
                    <a:lnTo>
                      <a:pt x="976" y="1672"/>
                    </a:lnTo>
                    <a:lnTo>
                      <a:pt x="984" y="1670"/>
                    </a:lnTo>
                    <a:lnTo>
                      <a:pt x="984" y="1670"/>
                    </a:lnTo>
                    <a:lnTo>
                      <a:pt x="990" y="1668"/>
                    </a:lnTo>
                    <a:lnTo>
                      <a:pt x="992" y="1664"/>
                    </a:lnTo>
                    <a:lnTo>
                      <a:pt x="992" y="1662"/>
                    </a:lnTo>
                    <a:lnTo>
                      <a:pt x="992" y="1658"/>
                    </a:lnTo>
                    <a:lnTo>
                      <a:pt x="992" y="1656"/>
                    </a:lnTo>
                    <a:lnTo>
                      <a:pt x="996" y="1658"/>
                    </a:lnTo>
                    <a:lnTo>
                      <a:pt x="996" y="1658"/>
                    </a:lnTo>
                    <a:lnTo>
                      <a:pt x="1002" y="1660"/>
                    </a:lnTo>
                    <a:lnTo>
                      <a:pt x="1008" y="1662"/>
                    </a:lnTo>
                    <a:lnTo>
                      <a:pt x="1018" y="1662"/>
                    </a:lnTo>
                    <a:lnTo>
                      <a:pt x="1028" y="1662"/>
                    </a:lnTo>
                    <a:lnTo>
                      <a:pt x="1036" y="1660"/>
                    </a:lnTo>
                    <a:lnTo>
                      <a:pt x="1040" y="1656"/>
                    </a:lnTo>
                    <a:lnTo>
                      <a:pt x="1042" y="1654"/>
                    </a:lnTo>
                    <a:lnTo>
                      <a:pt x="1042" y="1650"/>
                    </a:lnTo>
                    <a:lnTo>
                      <a:pt x="1036" y="1640"/>
                    </a:lnTo>
                    <a:lnTo>
                      <a:pt x="1048" y="1650"/>
                    </a:lnTo>
                    <a:lnTo>
                      <a:pt x="1048" y="1650"/>
                    </a:lnTo>
                    <a:lnTo>
                      <a:pt x="1048" y="1658"/>
                    </a:lnTo>
                    <a:lnTo>
                      <a:pt x="1050" y="1662"/>
                    </a:lnTo>
                    <a:lnTo>
                      <a:pt x="1052" y="1662"/>
                    </a:lnTo>
                    <a:lnTo>
                      <a:pt x="1056" y="1662"/>
                    </a:lnTo>
                    <a:lnTo>
                      <a:pt x="1060" y="1660"/>
                    </a:lnTo>
                    <a:lnTo>
                      <a:pt x="1062" y="1662"/>
                    </a:lnTo>
                    <a:lnTo>
                      <a:pt x="1064" y="1666"/>
                    </a:lnTo>
                    <a:lnTo>
                      <a:pt x="1064" y="1666"/>
                    </a:lnTo>
                    <a:lnTo>
                      <a:pt x="1066" y="1682"/>
                    </a:lnTo>
                    <a:lnTo>
                      <a:pt x="1070" y="1684"/>
                    </a:lnTo>
                    <a:lnTo>
                      <a:pt x="1076" y="1688"/>
                    </a:lnTo>
                    <a:lnTo>
                      <a:pt x="1076" y="1688"/>
                    </a:lnTo>
                    <a:lnTo>
                      <a:pt x="1082" y="1690"/>
                    </a:lnTo>
                    <a:lnTo>
                      <a:pt x="1084" y="1690"/>
                    </a:lnTo>
                    <a:lnTo>
                      <a:pt x="1086" y="1686"/>
                    </a:lnTo>
                    <a:lnTo>
                      <a:pt x="1088" y="1684"/>
                    </a:lnTo>
                    <a:lnTo>
                      <a:pt x="1090" y="1684"/>
                    </a:lnTo>
                    <a:lnTo>
                      <a:pt x="1094" y="1684"/>
                    </a:lnTo>
                    <a:lnTo>
                      <a:pt x="1094" y="1684"/>
                    </a:lnTo>
                    <a:lnTo>
                      <a:pt x="1096" y="1688"/>
                    </a:lnTo>
                    <a:lnTo>
                      <a:pt x="1096" y="1690"/>
                    </a:lnTo>
                    <a:lnTo>
                      <a:pt x="1094" y="1694"/>
                    </a:lnTo>
                    <a:lnTo>
                      <a:pt x="1090" y="1698"/>
                    </a:lnTo>
                    <a:lnTo>
                      <a:pt x="1090" y="1700"/>
                    </a:lnTo>
                    <a:lnTo>
                      <a:pt x="1092" y="1704"/>
                    </a:lnTo>
                    <a:lnTo>
                      <a:pt x="1092" y="1704"/>
                    </a:lnTo>
                    <a:lnTo>
                      <a:pt x="1096" y="1708"/>
                    </a:lnTo>
                    <a:lnTo>
                      <a:pt x="1094" y="1708"/>
                    </a:lnTo>
                    <a:lnTo>
                      <a:pt x="1094" y="1712"/>
                    </a:lnTo>
                    <a:lnTo>
                      <a:pt x="1100" y="1718"/>
                    </a:lnTo>
                    <a:lnTo>
                      <a:pt x="1100" y="1718"/>
                    </a:lnTo>
                    <a:lnTo>
                      <a:pt x="1102" y="1724"/>
                    </a:lnTo>
                    <a:lnTo>
                      <a:pt x="1104" y="1730"/>
                    </a:lnTo>
                    <a:lnTo>
                      <a:pt x="1104" y="1742"/>
                    </a:lnTo>
                    <a:lnTo>
                      <a:pt x="1100" y="1756"/>
                    </a:lnTo>
                    <a:lnTo>
                      <a:pt x="1100" y="1770"/>
                    </a:lnTo>
                    <a:lnTo>
                      <a:pt x="1100" y="1770"/>
                    </a:lnTo>
                    <a:lnTo>
                      <a:pt x="1100" y="1782"/>
                    </a:lnTo>
                    <a:lnTo>
                      <a:pt x="1098" y="1790"/>
                    </a:lnTo>
                    <a:lnTo>
                      <a:pt x="1094" y="1798"/>
                    </a:lnTo>
                    <a:lnTo>
                      <a:pt x="1090" y="1804"/>
                    </a:lnTo>
                    <a:lnTo>
                      <a:pt x="1084" y="1814"/>
                    </a:lnTo>
                    <a:lnTo>
                      <a:pt x="1082" y="1820"/>
                    </a:lnTo>
                    <a:lnTo>
                      <a:pt x="1082" y="1824"/>
                    </a:lnTo>
                    <a:lnTo>
                      <a:pt x="1082" y="1824"/>
                    </a:lnTo>
                    <a:lnTo>
                      <a:pt x="1082" y="1828"/>
                    </a:lnTo>
                    <a:lnTo>
                      <a:pt x="1084" y="1828"/>
                    </a:lnTo>
                    <a:lnTo>
                      <a:pt x="1088" y="1828"/>
                    </a:lnTo>
                    <a:lnTo>
                      <a:pt x="1092" y="1828"/>
                    </a:lnTo>
                    <a:lnTo>
                      <a:pt x="1090" y="1834"/>
                    </a:lnTo>
                    <a:lnTo>
                      <a:pt x="1090" y="1834"/>
                    </a:lnTo>
                    <a:lnTo>
                      <a:pt x="1090" y="1838"/>
                    </a:lnTo>
                    <a:lnTo>
                      <a:pt x="1092" y="1844"/>
                    </a:lnTo>
                    <a:lnTo>
                      <a:pt x="1094" y="1848"/>
                    </a:lnTo>
                    <a:lnTo>
                      <a:pt x="1092" y="1852"/>
                    </a:lnTo>
                    <a:lnTo>
                      <a:pt x="1092" y="1852"/>
                    </a:lnTo>
                    <a:lnTo>
                      <a:pt x="1090" y="1852"/>
                    </a:lnTo>
                    <a:lnTo>
                      <a:pt x="1088" y="1850"/>
                    </a:lnTo>
                    <a:lnTo>
                      <a:pt x="1086" y="1848"/>
                    </a:lnTo>
                    <a:lnTo>
                      <a:pt x="1082" y="1852"/>
                    </a:lnTo>
                    <a:lnTo>
                      <a:pt x="1082" y="1852"/>
                    </a:lnTo>
                    <a:lnTo>
                      <a:pt x="1082" y="1854"/>
                    </a:lnTo>
                    <a:lnTo>
                      <a:pt x="1082" y="1858"/>
                    </a:lnTo>
                    <a:lnTo>
                      <a:pt x="1086" y="1864"/>
                    </a:lnTo>
                    <a:lnTo>
                      <a:pt x="1094" y="1868"/>
                    </a:lnTo>
                    <a:lnTo>
                      <a:pt x="1106" y="1872"/>
                    </a:lnTo>
                    <a:lnTo>
                      <a:pt x="1106" y="1872"/>
                    </a:lnTo>
                    <a:lnTo>
                      <a:pt x="1110" y="1872"/>
                    </a:lnTo>
                    <a:lnTo>
                      <a:pt x="1110" y="1874"/>
                    </a:lnTo>
                    <a:lnTo>
                      <a:pt x="1110" y="1876"/>
                    </a:lnTo>
                    <a:lnTo>
                      <a:pt x="1106" y="1878"/>
                    </a:lnTo>
                    <a:lnTo>
                      <a:pt x="1104" y="1880"/>
                    </a:lnTo>
                    <a:lnTo>
                      <a:pt x="1098" y="1880"/>
                    </a:lnTo>
                    <a:lnTo>
                      <a:pt x="1094" y="1878"/>
                    </a:lnTo>
                    <a:lnTo>
                      <a:pt x="1090" y="1874"/>
                    </a:lnTo>
                    <a:lnTo>
                      <a:pt x="1090" y="1874"/>
                    </a:lnTo>
                    <a:lnTo>
                      <a:pt x="1084" y="1868"/>
                    </a:lnTo>
                    <a:lnTo>
                      <a:pt x="1082" y="1866"/>
                    </a:lnTo>
                    <a:lnTo>
                      <a:pt x="1080" y="1866"/>
                    </a:lnTo>
                    <a:lnTo>
                      <a:pt x="1080" y="1872"/>
                    </a:lnTo>
                    <a:lnTo>
                      <a:pt x="1080" y="1882"/>
                    </a:lnTo>
                    <a:lnTo>
                      <a:pt x="1080" y="1882"/>
                    </a:lnTo>
                    <a:lnTo>
                      <a:pt x="1078" y="1898"/>
                    </a:lnTo>
                    <a:lnTo>
                      <a:pt x="1074" y="1910"/>
                    </a:lnTo>
                    <a:lnTo>
                      <a:pt x="1072" y="1914"/>
                    </a:lnTo>
                    <a:lnTo>
                      <a:pt x="1068" y="1918"/>
                    </a:lnTo>
                    <a:lnTo>
                      <a:pt x="1066" y="1918"/>
                    </a:lnTo>
                    <a:lnTo>
                      <a:pt x="1062" y="1914"/>
                    </a:lnTo>
                    <a:lnTo>
                      <a:pt x="1062" y="1914"/>
                    </a:lnTo>
                    <a:lnTo>
                      <a:pt x="1056" y="1910"/>
                    </a:lnTo>
                    <a:lnTo>
                      <a:pt x="1056" y="1910"/>
                    </a:lnTo>
                    <a:lnTo>
                      <a:pt x="1056" y="1912"/>
                    </a:lnTo>
                    <a:lnTo>
                      <a:pt x="1058" y="1922"/>
                    </a:lnTo>
                    <a:lnTo>
                      <a:pt x="1064" y="1936"/>
                    </a:lnTo>
                    <a:lnTo>
                      <a:pt x="1064" y="1936"/>
                    </a:lnTo>
                    <a:lnTo>
                      <a:pt x="1076" y="1964"/>
                    </a:lnTo>
                    <a:lnTo>
                      <a:pt x="1080" y="1974"/>
                    </a:lnTo>
                    <a:lnTo>
                      <a:pt x="1084" y="1982"/>
                    </a:lnTo>
                    <a:lnTo>
                      <a:pt x="1084" y="1982"/>
                    </a:lnTo>
                    <a:lnTo>
                      <a:pt x="1088" y="1988"/>
                    </a:lnTo>
                    <a:lnTo>
                      <a:pt x="1094" y="1996"/>
                    </a:lnTo>
                    <a:lnTo>
                      <a:pt x="1100" y="2006"/>
                    </a:lnTo>
                    <a:lnTo>
                      <a:pt x="1110" y="2018"/>
                    </a:lnTo>
                    <a:lnTo>
                      <a:pt x="1110" y="2018"/>
                    </a:lnTo>
                    <a:lnTo>
                      <a:pt x="1132" y="2042"/>
                    </a:lnTo>
                    <a:lnTo>
                      <a:pt x="1140" y="2052"/>
                    </a:lnTo>
                    <a:lnTo>
                      <a:pt x="1142" y="2058"/>
                    </a:lnTo>
                    <a:lnTo>
                      <a:pt x="1150" y="2070"/>
                    </a:lnTo>
                    <a:lnTo>
                      <a:pt x="1150" y="2070"/>
                    </a:lnTo>
                    <a:lnTo>
                      <a:pt x="1172" y="2092"/>
                    </a:lnTo>
                    <a:lnTo>
                      <a:pt x="1178" y="2100"/>
                    </a:lnTo>
                    <a:lnTo>
                      <a:pt x="1180" y="2110"/>
                    </a:lnTo>
                    <a:lnTo>
                      <a:pt x="1180" y="2110"/>
                    </a:lnTo>
                    <a:lnTo>
                      <a:pt x="1184" y="2118"/>
                    </a:lnTo>
                    <a:lnTo>
                      <a:pt x="1190" y="2128"/>
                    </a:lnTo>
                    <a:lnTo>
                      <a:pt x="1190" y="2128"/>
                    </a:lnTo>
                    <a:lnTo>
                      <a:pt x="1194" y="2136"/>
                    </a:lnTo>
                    <a:lnTo>
                      <a:pt x="1196" y="2142"/>
                    </a:lnTo>
                    <a:lnTo>
                      <a:pt x="1194" y="2148"/>
                    </a:lnTo>
                    <a:lnTo>
                      <a:pt x="1194" y="2148"/>
                    </a:lnTo>
                    <a:lnTo>
                      <a:pt x="1194" y="2156"/>
                    </a:lnTo>
                    <a:lnTo>
                      <a:pt x="1194" y="2158"/>
                    </a:lnTo>
                    <a:lnTo>
                      <a:pt x="1196" y="2160"/>
                    </a:lnTo>
                    <a:lnTo>
                      <a:pt x="1198" y="2164"/>
                    </a:lnTo>
                    <a:lnTo>
                      <a:pt x="1198" y="2164"/>
                    </a:lnTo>
                    <a:lnTo>
                      <a:pt x="1200" y="2168"/>
                    </a:lnTo>
                    <a:lnTo>
                      <a:pt x="1204" y="2170"/>
                    </a:lnTo>
                    <a:lnTo>
                      <a:pt x="1208" y="2168"/>
                    </a:lnTo>
                    <a:lnTo>
                      <a:pt x="1216" y="2164"/>
                    </a:lnTo>
                    <a:lnTo>
                      <a:pt x="1216" y="2164"/>
                    </a:lnTo>
                    <a:lnTo>
                      <a:pt x="1222" y="2162"/>
                    </a:lnTo>
                    <a:lnTo>
                      <a:pt x="1226" y="2162"/>
                    </a:lnTo>
                    <a:lnTo>
                      <a:pt x="1234" y="2162"/>
                    </a:lnTo>
                    <a:lnTo>
                      <a:pt x="1234" y="2162"/>
                    </a:lnTo>
                    <a:lnTo>
                      <a:pt x="1226" y="2168"/>
                    </a:lnTo>
                    <a:lnTo>
                      <a:pt x="1220" y="2172"/>
                    </a:lnTo>
                    <a:lnTo>
                      <a:pt x="1208" y="2174"/>
                    </a:lnTo>
                    <a:lnTo>
                      <a:pt x="1202" y="2176"/>
                    </a:lnTo>
                    <a:lnTo>
                      <a:pt x="1200" y="2178"/>
                    </a:lnTo>
                    <a:lnTo>
                      <a:pt x="1202" y="2182"/>
                    </a:lnTo>
                    <a:lnTo>
                      <a:pt x="1202" y="2182"/>
                    </a:lnTo>
                    <a:lnTo>
                      <a:pt x="1212" y="2202"/>
                    </a:lnTo>
                    <a:lnTo>
                      <a:pt x="1226" y="2240"/>
                    </a:lnTo>
                    <a:lnTo>
                      <a:pt x="1232" y="2260"/>
                    </a:lnTo>
                    <a:lnTo>
                      <a:pt x="1238" y="2278"/>
                    </a:lnTo>
                    <a:lnTo>
                      <a:pt x="1238" y="2294"/>
                    </a:lnTo>
                    <a:lnTo>
                      <a:pt x="1236" y="2300"/>
                    </a:lnTo>
                    <a:lnTo>
                      <a:pt x="1234" y="2306"/>
                    </a:lnTo>
                    <a:lnTo>
                      <a:pt x="1234" y="2306"/>
                    </a:lnTo>
                    <a:lnTo>
                      <a:pt x="1230" y="2314"/>
                    </a:lnTo>
                    <a:lnTo>
                      <a:pt x="1230" y="2324"/>
                    </a:lnTo>
                    <a:lnTo>
                      <a:pt x="1230" y="2336"/>
                    </a:lnTo>
                    <a:lnTo>
                      <a:pt x="1234" y="2346"/>
                    </a:lnTo>
                    <a:lnTo>
                      <a:pt x="1246" y="2372"/>
                    </a:lnTo>
                    <a:lnTo>
                      <a:pt x="1256" y="2396"/>
                    </a:lnTo>
                    <a:lnTo>
                      <a:pt x="1256" y="2396"/>
                    </a:lnTo>
                    <a:lnTo>
                      <a:pt x="1260" y="2408"/>
                    </a:lnTo>
                    <a:lnTo>
                      <a:pt x="1262" y="2422"/>
                    </a:lnTo>
                    <a:lnTo>
                      <a:pt x="1262" y="2436"/>
                    </a:lnTo>
                    <a:lnTo>
                      <a:pt x="1262" y="2450"/>
                    </a:lnTo>
                    <a:lnTo>
                      <a:pt x="1258" y="2464"/>
                    </a:lnTo>
                    <a:lnTo>
                      <a:pt x="1254" y="2476"/>
                    </a:lnTo>
                    <a:lnTo>
                      <a:pt x="1246" y="2486"/>
                    </a:lnTo>
                    <a:lnTo>
                      <a:pt x="1238" y="2494"/>
                    </a:lnTo>
                    <a:lnTo>
                      <a:pt x="1238" y="2494"/>
                    </a:lnTo>
                    <a:lnTo>
                      <a:pt x="1230" y="2502"/>
                    </a:lnTo>
                    <a:lnTo>
                      <a:pt x="1222" y="2510"/>
                    </a:lnTo>
                    <a:lnTo>
                      <a:pt x="1218" y="2518"/>
                    </a:lnTo>
                    <a:lnTo>
                      <a:pt x="1212" y="2528"/>
                    </a:lnTo>
                    <a:lnTo>
                      <a:pt x="1206" y="2548"/>
                    </a:lnTo>
                    <a:lnTo>
                      <a:pt x="1202" y="2570"/>
                    </a:lnTo>
                    <a:lnTo>
                      <a:pt x="1196" y="2610"/>
                    </a:lnTo>
                    <a:lnTo>
                      <a:pt x="1192" y="2626"/>
                    </a:lnTo>
                    <a:lnTo>
                      <a:pt x="1188" y="2640"/>
                    </a:lnTo>
                    <a:lnTo>
                      <a:pt x="1188" y="2640"/>
                    </a:lnTo>
                    <a:lnTo>
                      <a:pt x="1182" y="2652"/>
                    </a:lnTo>
                    <a:lnTo>
                      <a:pt x="1178" y="2662"/>
                    </a:lnTo>
                    <a:lnTo>
                      <a:pt x="1176" y="2670"/>
                    </a:lnTo>
                    <a:lnTo>
                      <a:pt x="1176" y="2680"/>
                    </a:lnTo>
                    <a:lnTo>
                      <a:pt x="1178" y="2700"/>
                    </a:lnTo>
                    <a:lnTo>
                      <a:pt x="1178" y="2712"/>
                    </a:lnTo>
                    <a:lnTo>
                      <a:pt x="1178" y="2726"/>
                    </a:lnTo>
                    <a:lnTo>
                      <a:pt x="1178" y="2726"/>
                    </a:lnTo>
                    <a:lnTo>
                      <a:pt x="1176" y="2736"/>
                    </a:lnTo>
                    <a:lnTo>
                      <a:pt x="1176" y="2746"/>
                    </a:lnTo>
                    <a:lnTo>
                      <a:pt x="1180" y="2764"/>
                    </a:lnTo>
                    <a:lnTo>
                      <a:pt x="1188" y="2784"/>
                    </a:lnTo>
                    <a:lnTo>
                      <a:pt x="1200" y="2804"/>
                    </a:lnTo>
                    <a:lnTo>
                      <a:pt x="1222" y="2850"/>
                    </a:lnTo>
                    <a:lnTo>
                      <a:pt x="1234" y="2876"/>
                    </a:lnTo>
                    <a:lnTo>
                      <a:pt x="1242" y="2904"/>
                    </a:lnTo>
                    <a:lnTo>
                      <a:pt x="1242" y="2904"/>
                    </a:lnTo>
                    <a:lnTo>
                      <a:pt x="1250" y="2930"/>
                    </a:lnTo>
                    <a:lnTo>
                      <a:pt x="1260" y="2946"/>
                    </a:lnTo>
                    <a:lnTo>
                      <a:pt x="1268" y="2958"/>
                    </a:lnTo>
                    <a:lnTo>
                      <a:pt x="1276" y="2966"/>
                    </a:lnTo>
                    <a:lnTo>
                      <a:pt x="1284" y="2976"/>
                    </a:lnTo>
                    <a:lnTo>
                      <a:pt x="1288" y="2990"/>
                    </a:lnTo>
                    <a:lnTo>
                      <a:pt x="1288" y="3008"/>
                    </a:lnTo>
                    <a:lnTo>
                      <a:pt x="1286" y="3038"/>
                    </a:lnTo>
                    <a:lnTo>
                      <a:pt x="1286" y="3038"/>
                    </a:lnTo>
                    <a:lnTo>
                      <a:pt x="1284" y="3052"/>
                    </a:lnTo>
                    <a:lnTo>
                      <a:pt x="1286" y="3070"/>
                    </a:lnTo>
                    <a:lnTo>
                      <a:pt x="1294" y="3112"/>
                    </a:lnTo>
                    <a:lnTo>
                      <a:pt x="1304" y="3156"/>
                    </a:lnTo>
                    <a:lnTo>
                      <a:pt x="1308" y="3178"/>
                    </a:lnTo>
                    <a:lnTo>
                      <a:pt x="1310" y="3200"/>
                    </a:lnTo>
                    <a:lnTo>
                      <a:pt x="1310" y="3200"/>
                    </a:lnTo>
                    <a:lnTo>
                      <a:pt x="1312" y="3220"/>
                    </a:lnTo>
                    <a:lnTo>
                      <a:pt x="1318" y="3238"/>
                    </a:lnTo>
                    <a:lnTo>
                      <a:pt x="1326" y="3254"/>
                    </a:lnTo>
                    <a:lnTo>
                      <a:pt x="1334" y="3266"/>
                    </a:lnTo>
                    <a:lnTo>
                      <a:pt x="1342" y="3278"/>
                    </a:lnTo>
                    <a:lnTo>
                      <a:pt x="1352" y="3286"/>
                    </a:lnTo>
                    <a:lnTo>
                      <a:pt x="1366" y="3302"/>
                    </a:lnTo>
                    <a:lnTo>
                      <a:pt x="1366" y="3302"/>
                    </a:lnTo>
                    <a:lnTo>
                      <a:pt x="1376" y="3316"/>
                    </a:lnTo>
                    <a:lnTo>
                      <a:pt x="1384" y="3330"/>
                    </a:lnTo>
                    <a:lnTo>
                      <a:pt x="1388" y="3344"/>
                    </a:lnTo>
                    <a:lnTo>
                      <a:pt x="1392" y="3358"/>
                    </a:lnTo>
                    <a:lnTo>
                      <a:pt x="1396" y="3374"/>
                    </a:lnTo>
                    <a:lnTo>
                      <a:pt x="1402" y="3392"/>
                    </a:lnTo>
                    <a:lnTo>
                      <a:pt x="1410" y="3414"/>
                    </a:lnTo>
                    <a:lnTo>
                      <a:pt x="1424" y="3436"/>
                    </a:lnTo>
                    <a:lnTo>
                      <a:pt x="1424" y="3436"/>
                    </a:lnTo>
                    <a:lnTo>
                      <a:pt x="1436" y="3458"/>
                    </a:lnTo>
                    <a:lnTo>
                      <a:pt x="1444" y="3474"/>
                    </a:lnTo>
                    <a:lnTo>
                      <a:pt x="1446" y="3490"/>
                    </a:lnTo>
                    <a:lnTo>
                      <a:pt x="1446" y="3502"/>
                    </a:lnTo>
                    <a:lnTo>
                      <a:pt x="1442" y="3510"/>
                    </a:lnTo>
                    <a:lnTo>
                      <a:pt x="1438" y="3516"/>
                    </a:lnTo>
                    <a:lnTo>
                      <a:pt x="1434" y="3518"/>
                    </a:lnTo>
                    <a:lnTo>
                      <a:pt x="1432" y="3518"/>
                    </a:lnTo>
                    <a:lnTo>
                      <a:pt x="1432" y="3518"/>
                    </a:lnTo>
                    <a:lnTo>
                      <a:pt x="1430" y="3516"/>
                    </a:lnTo>
                    <a:lnTo>
                      <a:pt x="1426" y="3518"/>
                    </a:lnTo>
                    <a:lnTo>
                      <a:pt x="1424" y="3518"/>
                    </a:lnTo>
                    <a:lnTo>
                      <a:pt x="1424" y="3522"/>
                    </a:lnTo>
                    <a:lnTo>
                      <a:pt x="1424" y="3526"/>
                    </a:lnTo>
                    <a:lnTo>
                      <a:pt x="1424" y="3532"/>
                    </a:lnTo>
                    <a:lnTo>
                      <a:pt x="1428" y="3538"/>
                    </a:lnTo>
                    <a:lnTo>
                      <a:pt x="1432" y="3546"/>
                    </a:lnTo>
                    <a:lnTo>
                      <a:pt x="1432" y="3546"/>
                    </a:lnTo>
                    <a:lnTo>
                      <a:pt x="1442" y="3558"/>
                    </a:lnTo>
                    <a:lnTo>
                      <a:pt x="1446" y="3568"/>
                    </a:lnTo>
                    <a:lnTo>
                      <a:pt x="1448" y="3574"/>
                    </a:lnTo>
                    <a:lnTo>
                      <a:pt x="1444" y="3580"/>
                    </a:lnTo>
                    <a:lnTo>
                      <a:pt x="1444" y="3580"/>
                    </a:lnTo>
                    <a:lnTo>
                      <a:pt x="1442" y="3582"/>
                    </a:lnTo>
                    <a:lnTo>
                      <a:pt x="1442" y="3588"/>
                    </a:lnTo>
                    <a:lnTo>
                      <a:pt x="1442" y="3596"/>
                    </a:lnTo>
                    <a:lnTo>
                      <a:pt x="1446" y="3602"/>
                    </a:lnTo>
                    <a:lnTo>
                      <a:pt x="1448" y="3602"/>
                    </a:lnTo>
                    <a:lnTo>
                      <a:pt x="1448" y="3598"/>
                    </a:lnTo>
                    <a:lnTo>
                      <a:pt x="1448" y="3598"/>
                    </a:lnTo>
                    <a:lnTo>
                      <a:pt x="1450" y="3594"/>
                    </a:lnTo>
                    <a:lnTo>
                      <a:pt x="1452" y="3590"/>
                    </a:lnTo>
                    <a:lnTo>
                      <a:pt x="1454" y="3588"/>
                    </a:lnTo>
                    <a:lnTo>
                      <a:pt x="1458" y="3588"/>
                    </a:lnTo>
                    <a:lnTo>
                      <a:pt x="1460" y="3588"/>
                    </a:lnTo>
                    <a:lnTo>
                      <a:pt x="1462" y="3590"/>
                    </a:lnTo>
                    <a:lnTo>
                      <a:pt x="1464" y="3592"/>
                    </a:lnTo>
                    <a:lnTo>
                      <a:pt x="1464" y="3596"/>
                    </a:lnTo>
                    <a:lnTo>
                      <a:pt x="1464" y="3596"/>
                    </a:lnTo>
                    <a:lnTo>
                      <a:pt x="1464" y="3602"/>
                    </a:lnTo>
                    <a:lnTo>
                      <a:pt x="1466" y="3604"/>
                    </a:lnTo>
                    <a:lnTo>
                      <a:pt x="1470" y="3606"/>
                    </a:lnTo>
                    <a:lnTo>
                      <a:pt x="1472" y="3606"/>
                    </a:lnTo>
                    <a:lnTo>
                      <a:pt x="1478" y="3606"/>
                    </a:lnTo>
                    <a:lnTo>
                      <a:pt x="1480" y="3608"/>
                    </a:lnTo>
                    <a:lnTo>
                      <a:pt x="1482" y="3612"/>
                    </a:lnTo>
                    <a:lnTo>
                      <a:pt x="1482" y="3612"/>
                    </a:lnTo>
                    <a:lnTo>
                      <a:pt x="1484" y="3618"/>
                    </a:lnTo>
                    <a:lnTo>
                      <a:pt x="1486" y="3620"/>
                    </a:lnTo>
                    <a:lnTo>
                      <a:pt x="1490" y="3620"/>
                    </a:lnTo>
                    <a:lnTo>
                      <a:pt x="1494" y="3624"/>
                    </a:lnTo>
                    <a:lnTo>
                      <a:pt x="1494" y="3624"/>
                    </a:lnTo>
                    <a:lnTo>
                      <a:pt x="1496" y="3628"/>
                    </a:lnTo>
                    <a:lnTo>
                      <a:pt x="1500" y="3626"/>
                    </a:lnTo>
                    <a:lnTo>
                      <a:pt x="1506" y="3626"/>
                    </a:lnTo>
                    <a:lnTo>
                      <a:pt x="1510" y="3626"/>
                    </a:lnTo>
                    <a:lnTo>
                      <a:pt x="1510" y="3626"/>
                    </a:lnTo>
                    <a:lnTo>
                      <a:pt x="1514" y="3628"/>
                    </a:lnTo>
                    <a:lnTo>
                      <a:pt x="1516" y="3626"/>
                    </a:lnTo>
                    <a:lnTo>
                      <a:pt x="1520" y="3620"/>
                    </a:lnTo>
                    <a:lnTo>
                      <a:pt x="1526" y="3612"/>
                    </a:lnTo>
                    <a:lnTo>
                      <a:pt x="1532" y="3610"/>
                    </a:lnTo>
                    <a:lnTo>
                      <a:pt x="1540" y="3608"/>
                    </a:lnTo>
                    <a:lnTo>
                      <a:pt x="1540" y="3608"/>
                    </a:lnTo>
                    <a:lnTo>
                      <a:pt x="1552" y="3606"/>
                    </a:lnTo>
                    <a:lnTo>
                      <a:pt x="1558" y="3608"/>
                    </a:lnTo>
                    <a:lnTo>
                      <a:pt x="1564" y="3608"/>
                    </a:lnTo>
                    <a:lnTo>
                      <a:pt x="1576" y="3604"/>
                    </a:lnTo>
                    <a:lnTo>
                      <a:pt x="1576" y="3604"/>
                    </a:lnTo>
                    <a:lnTo>
                      <a:pt x="1584" y="3602"/>
                    </a:lnTo>
                    <a:lnTo>
                      <a:pt x="1590" y="3598"/>
                    </a:lnTo>
                    <a:lnTo>
                      <a:pt x="1594" y="3592"/>
                    </a:lnTo>
                    <a:lnTo>
                      <a:pt x="1600" y="3586"/>
                    </a:lnTo>
                    <a:lnTo>
                      <a:pt x="1602" y="3586"/>
                    </a:lnTo>
                    <a:lnTo>
                      <a:pt x="1608" y="3584"/>
                    </a:lnTo>
                    <a:lnTo>
                      <a:pt x="1608" y="3584"/>
                    </a:lnTo>
                    <a:lnTo>
                      <a:pt x="1620" y="3584"/>
                    </a:lnTo>
                    <a:lnTo>
                      <a:pt x="1632" y="3588"/>
                    </a:lnTo>
                    <a:lnTo>
                      <a:pt x="1642" y="3590"/>
                    </a:lnTo>
                    <a:lnTo>
                      <a:pt x="1648" y="3590"/>
                    </a:lnTo>
                    <a:lnTo>
                      <a:pt x="1652" y="3586"/>
                    </a:lnTo>
                    <a:lnTo>
                      <a:pt x="1652" y="3586"/>
                    </a:lnTo>
                    <a:lnTo>
                      <a:pt x="1656" y="3586"/>
                    </a:lnTo>
                    <a:lnTo>
                      <a:pt x="1664" y="3586"/>
                    </a:lnTo>
                    <a:lnTo>
                      <a:pt x="1678" y="3592"/>
                    </a:lnTo>
                    <a:lnTo>
                      <a:pt x="1686" y="3594"/>
                    </a:lnTo>
                    <a:lnTo>
                      <a:pt x="1694" y="3594"/>
                    </a:lnTo>
                    <a:lnTo>
                      <a:pt x="1702" y="3594"/>
                    </a:lnTo>
                    <a:lnTo>
                      <a:pt x="1706" y="3590"/>
                    </a:lnTo>
                    <a:lnTo>
                      <a:pt x="1706" y="3590"/>
                    </a:lnTo>
                    <a:lnTo>
                      <a:pt x="1712" y="3584"/>
                    </a:lnTo>
                    <a:lnTo>
                      <a:pt x="1718" y="3582"/>
                    </a:lnTo>
                    <a:lnTo>
                      <a:pt x="1724" y="3584"/>
                    </a:lnTo>
                    <a:lnTo>
                      <a:pt x="1730" y="3584"/>
                    </a:lnTo>
                    <a:lnTo>
                      <a:pt x="1738" y="3586"/>
                    </a:lnTo>
                    <a:lnTo>
                      <a:pt x="1740" y="3584"/>
                    </a:lnTo>
                    <a:lnTo>
                      <a:pt x="1740" y="3580"/>
                    </a:lnTo>
                    <a:lnTo>
                      <a:pt x="1740" y="3580"/>
                    </a:lnTo>
                    <a:lnTo>
                      <a:pt x="1740" y="3574"/>
                    </a:lnTo>
                    <a:lnTo>
                      <a:pt x="1742" y="3572"/>
                    </a:lnTo>
                    <a:lnTo>
                      <a:pt x="1748" y="3572"/>
                    </a:lnTo>
                    <a:lnTo>
                      <a:pt x="1756" y="3572"/>
                    </a:lnTo>
                    <a:lnTo>
                      <a:pt x="1764" y="3572"/>
                    </a:lnTo>
                    <a:lnTo>
                      <a:pt x="1774" y="3570"/>
                    </a:lnTo>
                    <a:lnTo>
                      <a:pt x="1782" y="3568"/>
                    </a:lnTo>
                    <a:lnTo>
                      <a:pt x="1792" y="3562"/>
                    </a:lnTo>
                    <a:lnTo>
                      <a:pt x="1792" y="3562"/>
                    </a:lnTo>
                    <a:lnTo>
                      <a:pt x="1810" y="3550"/>
                    </a:lnTo>
                    <a:lnTo>
                      <a:pt x="1832" y="3532"/>
                    </a:lnTo>
                    <a:lnTo>
                      <a:pt x="1858" y="3506"/>
                    </a:lnTo>
                    <a:lnTo>
                      <a:pt x="1870" y="3490"/>
                    </a:lnTo>
                    <a:lnTo>
                      <a:pt x="1884" y="3472"/>
                    </a:lnTo>
                    <a:lnTo>
                      <a:pt x="1884" y="3472"/>
                    </a:lnTo>
                    <a:lnTo>
                      <a:pt x="1892" y="3462"/>
                    </a:lnTo>
                    <a:lnTo>
                      <a:pt x="1898" y="3456"/>
                    </a:lnTo>
                    <a:lnTo>
                      <a:pt x="1912" y="3442"/>
                    </a:lnTo>
                    <a:lnTo>
                      <a:pt x="1920" y="3432"/>
                    </a:lnTo>
                    <a:lnTo>
                      <a:pt x="1930" y="3418"/>
                    </a:lnTo>
                    <a:lnTo>
                      <a:pt x="1940" y="3398"/>
                    </a:lnTo>
                    <a:lnTo>
                      <a:pt x="1952" y="3372"/>
                    </a:lnTo>
                    <a:lnTo>
                      <a:pt x="1952" y="3372"/>
                    </a:lnTo>
                    <a:lnTo>
                      <a:pt x="1968" y="3344"/>
                    </a:lnTo>
                    <a:lnTo>
                      <a:pt x="1980" y="3324"/>
                    </a:lnTo>
                    <a:lnTo>
                      <a:pt x="1992" y="3314"/>
                    </a:lnTo>
                    <a:lnTo>
                      <a:pt x="2002" y="3304"/>
                    </a:lnTo>
                    <a:lnTo>
                      <a:pt x="2010" y="3294"/>
                    </a:lnTo>
                    <a:lnTo>
                      <a:pt x="2018" y="3276"/>
                    </a:lnTo>
                    <a:lnTo>
                      <a:pt x="2026" y="3250"/>
                    </a:lnTo>
                    <a:lnTo>
                      <a:pt x="2030" y="3210"/>
                    </a:lnTo>
                    <a:lnTo>
                      <a:pt x="2030" y="3210"/>
                    </a:lnTo>
                    <a:lnTo>
                      <a:pt x="2034" y="3182"/>
                    </a:lnTo>
                    <a:lnTo>
                      <a:pt x="2032" y="3176"/>
                    </a:lnTo>
                    <a:lnTo>
                      <a:pt x="2030" y="3176"/>
                    </a:lnTo>
                    <a:lnTo>
                      <a:pt x="2026" y="3176"/>
                    </a:lnTo>
                    <a:lnTo>
                      <a:pt x="2024" y="3176"/>
                    </a:lnTo>
                    <a:lnTo>
                      <a:pt x="2022" y="3170"/>
                    </a:lnTo>
                    <a:lnTo>
                      <a:pt x="2022" y="3170"/>
                    </a:lnTo>
                    <a:lnTo>
                      <a:pt x="2020" y="3164"/>
                    </a:lnTo>
                    <a:lnTo>
                      <a:pt x="2024" y="3156"/>
                    </a:lnTo>
                    <a:lnTo>
                      <a:pt x="2028" y="3148"/>
                    </a:lnTo>
                    <a:lnTo>
                      <a:pt x="2036" y="3140"/>
                    </a:lnTo>
                    <a:lnTo>
                      <a:pt x="2046" y="3132"/>
                    </a:lnTo>
                    <a:lnTo>
                      <a:pt x="2056" y="3126"/>
                    </a:lnTo>
                    <a:lnTo>
                      <a:pt x="2070" y="3118"/>
                    </a:lnTo>
                    <a:lnTo>
                      <a:pt x="2084" y="3114"/>
                    </a:lnTo>
                    <a:lnTo>
                      <a:pt x="2084" y="3114"/>
                    </a:lnTo>
                    <a:lnTo>
                      <a:pt x="2096" y="3108"/>
                    </a:lnTo>
                    <a:lnTo>
                      <a:pt x="2108" y="3100"/>
                    </a:lnTo>
                    <a:lnTo>
                      <a:pt x="2118" y="3094"/>
                    </a:lnTo>
                    <a:lnTo>
                      <a:pt x="2126" y="3086"/>
                    </a:lnTo>
                    <a:lnTo>
                      <a:pt x="2132" y="3078"/>
                    </a:lnTo>
                    <a:lnTo>
                      <a:pt x="2136" y="3070"/>
                    </a:lnTo>
                    <a:lnTo>
                      <a:pt x="2136" y="3062"/>
                    </a:lnTo>
                    <a:lnTo>
                      <a:pt x="2134" y="3056"/>
                    </a:lnTo>
                    <a:lnTo>
                      <a:pt x="2134" y="3056"/>
                    </a:lnTo>
                    <a:lnTo>
                      <a:pt x="2130" y="3050"/>
                    </a:lnTo>
                    <a:lnTo>
                      <a:pt x="2130" y="3044"/>
                    </a:lnTo>
                    <a:lnTo>
                      <a:pt x="2132" y="3034"/>
                    </a:lnTo>
                    <a:lnTo>
                      <a:pt x="2136" y="3016"/>
                    </a:lnTo>
                    <a:lnTo>
                      <a:pt x="2138" y="3006"/>
                    </a:lnTo>
                    <a:lnTo>
                      <a:pt x="2138" y="2990"/>
                    </a:lnTo>
                    <a:lnTo>
                      <a:pt x="2138" y="2990"/>
                    </a:lnTo>
                    <a:lnTo>
                      <a:pt x="2136" y="2972"/>
                    </a:lnTo>
                    <a:lnTo>
                      <a:pt x="2136" y="2970"/>
                    </a:lnTo>
                    <a:lnTo>
                      <a:pt x="2134" y="2972"/>
                    </a:lnTo>
                    <a:lnTo>
                      <a:pt x="2132" y="2974"/>
                    </a:lnTo>
                    <a:lnTo>
                      <a:pt x="2130" y="2974"/>
                    </a:lnTo>
                    <a:lnTo>
                      <a:pt x="2128" y="2972"/>
                    </a:lnTo>
                    <a:lnTo>
                      <a:pt x="2126" y="2962"/>
                    </a:lnTo>
                    <a:lnTo>
                      <a:pt x="2126" y="2962"/>
                    </a:lnTo>
                    <a:lnTo>
                      <a:pt x="2120" y="2934"/>
                    </a:lnTo>
                    <a:lnTo>
                      <a:pt x="2120" y="2920"/>
                    </a:lnTo>
                    <a:lnTo>
                      <a:pt x="2118" y="2910"/>
                    </a:lnTo>
                    <a:lnTo>
                      <a:pt x="2108" y="2896"/>
                    </a:lnTo>
                    <a:lnTo>
                      <a:pt x="2108" y="2896"/>
                    </a:lnTo>
                    <a:lnTo>
                      <a:pt x="2104" y="2890"/>
                    </a:lnTo>
                    <a:lnTo>
                      <a:pt x="2102" y="2886"/>
                    </a:lnTo>
                    <a:lnTo>
                      <a:pt x="2102" y="2878"/>
                    </a:lnTo>
                    <a:lnTo>
                      <a:pt x="2104" y="2870"/>
                    </a:lnTo>
                    <a:lnTo>
                      <a:pt x="2104" y="2860"/>
                    </a:lnTo>
                    <a:lnTo>
                      <a:pt x="2104" y="2860"/>
                    </a:lnTo>
                    <a:lnTo>
                      <a:pt x="2104" y="2854"/>
                    </a:lnTo>
                    <a:lnTo>
                      <a:pt x="2108" y="2854"/>
                    </a:lnTo>
                    <a:lnTo>
                      <a:pt x="2114" y="2852"/>
                    </a:lnTo>
                    <a:lnTo>
                      <a:pt x="2120" y="2848"/>
                    </a:lnTo>
                    <a:lnTo>
                      <a:pt x="2126" y="2842"/>
                    </a:lnTo>
                    <a:lnTo>
                      <a:pt x="2136" y="2832"/>
                    </a:lnTo>
                    <a:lnTo>
                      <a:pt x="2136" y="2832"/>
                    </a:lnTo>
                    <a:lnTo>
                      <a:pt x="2144" y="2822"/>
                    </a:lnTo>
                    <a:lnTo>
                      <a:pt x="2150" y="2816"/>
                    </a:lnTo>
                    <a:lnTo>
                      <a:pt x="2160" y="2812"/>
                    </a:lnTo>
                    <a:lnTo>
                      <a:pt x="2166" y="2808"/>
                    </a:lnTo>
                    <a:lnTo>
                      <a:pt x="2170" y="2804"/>
                    </a:lnTo>
                    <a:lnTo>
                      <a:pt x="2178" y="2794"/>
                    </a:lnTo>
                    <a:lnTo>
                      <a:pt x="2186" y="2780"/>
                    </a:lnTo>
                    <a:lnTo>
                      <a:pt x="2186" y="2780"/>
                    </a:lnTo>
                    <a:lnTo>
                      <a:pt x="2196" y="2764"/>
                    </a:lnTo>
                    <a:lnTo>
                      <a:pt x="2206" y="2750"/>
                    </a:lnTo>
                    <a:lnTo>
                      <a:pt x="2216" y="2740"/>
                    </a:lnTo>
                    <a:lnTo>
                      <a:pt x="2226" y="2734"/>
                    </a:lnTo>
                    <a:lnTo>
                      <a:pt x="2236" y="2728"/>
                    </a:lnTo>
                    <a:lnTo>
                      <a:pt x="2246" y="2724"/>
                    </a:lnTo>
                    <a:lnTo>
                      <a:pt x="2266" y="2718"/>
                    </a:lnTo>
                    <a:lnTo>
                      <a:pt x="2266" y="2718"/>
                    </a:lnTo>
                    <a:lnTo>
                      <a:pt x="2276" y="2714"/>
                    </a:lnTo>
                    <a:lnTo>
                      <a:pt x="2284" y="2708"/>
                    </a:lnTo>
                    <a:lnTo>
                      <a:pt x="2294" y="2700"/>
                    </a:lnTo>
                    <a:lnTo>
                      <a:pt x="2302" y="2690"/>
                    </a:lnTo>
                    <a:lnTo>
                      <a:pt x="2320" y="2666"/>
                    </a:lnTo>
                    <a:lnTo>
                      <a:pt x="2336" y="2636"/>
                    </a:lnTo>
                    <a:lnTo>
                      <a:pt x="2336" y="2636"/>
                    </a:lnTo>
                    <a:lnTo>
                      <a:pt x="2344" y="2622"/>
                    </a:lnTo>
                    <a:lnTo>
                      <a:pt x="2344" y="2620"/>
                    </a:lnTo>
                    <a:lnTo>
                      <a:pt x="2344" y="2616"/>
                    </a:lnTo>
                    <a:lnTo>
                      <a:pt x="2348" y="2606"/>
                    </a:lnTo>
                    <a:lnTo>
                      <a:pt x="2348" y="2606"/>
                    </a:lnTo>
                    <a:lnTo>
                      <a:pt x="2350" y="2598"/>
                    </a:lnTo>
                    <a:lnTo>
                      <a:pt x="2352" y="2594"/>
                    </a:lnTo>
                    <a:lnTo>
                      <a:pt x="2350" y="2590"/>
                    </a:lnTo>
                    <a:lnTo>
                      <a:pt x="2348" y="2586"/>
                    </a:lnTo>
                    <a:lnTo>
                      <a:pt x="2344" y="2582"/>
                    </a:lnTo>
                    <a:lnTo>
                      <a:pt x="2340" y="2576"/>
                    </a:lnTo>
                    <a:lnTo>
                      <a:pt x="2338" y="2566"/>
                    </a:lnTo>
                    <a:lnTo>
                      <a:pt x="2338" y="2552"/>
                    </a:lnTo>
                    <a:lnTo>
                      <a:pt x="2338" y="2552"/>
                    </a:lnTo>
                    <a:lnTo>
                      <a:pt x="2338" y="2500"/>
                    </a:lnTo>
                    <a:lnTo>
                      <a:pt x="2338" y="2478"/>
                    </a:lnTo>
                    <a:lnTo>
                      <a:pt x="2334" y="2454"/>
                    </a:lnTo>
                    <a:lnTo>
                      <a:pt x="2334" y="2454"/>
                    </a:lnTo>
                    <a:lnTo>
                      <a:pt x="2334" y="2440"/>
                    </a:lnTo>
                    <a:lnTo>
                      <a:pt x="2334" y="2432"/>
                    </a:lnTo>
                    <a:lnTo>
                      <a:pt x="2338" y="2426"/>
                    </a:lnTo>
                    <a:lnTo>
                      <a:pt x="2342" y="2424"/>
                    </a:lnTo>
                    <a:lnTo>
                      <a:pt x="2344" y="2420"/>
                    </a:lnTo>
                    <a:lnTo>
                      <a:pt x="2344" y="2414"/>
                    </a:lnTo>
                    <a:lnTo>
                      <a:pt x="2340" y="2406"/>
                    </a:lnTo>
                    <a:lnTo>
                      <a:pt x="2334" y="2394"/>
                    </a:lnTo>
                    <a:lnTo>
                      <a:pt x="2334" y="2394"/>
                    </a:lnTo>
                    <a:lnTo>
                      <a:pt x="2324" y="2384"/>
                    </a:lnTo>
                    <a:lnTo>
                      <a:pt x="2318" y="2380"/>
                    </a:lnTo>
                    <a:lnTo>
                      <a:pt x="2312" y="2376"/>
                    </a:lnTo>
                    <a:lnTo>
                      <a:pt x="2308" y="2368"/>
                    </a:lnTo>
                    <a:lnTo>
                      <a:pt x="2308" y="2368"/>
                    </a:lnTo>
                    <a:lnTo>
                      <a:pt x="2304" y="2358"/>
                    </a:lnTo>
                    <a:lnTo>
                      <a:pt x="2302" y="2348"/>
                    </a:lnTo>
                    <a:lnTo>
                      <a:pt x="2300" y="2334"/>
                    </a:lnTo>
                    <a:lnTo>
                      <a:pt x="2292" y="2310"/>
                    </a:lnTo>
                    <a:lnTo>
                      <a:pt x="2292" y="2310"/>
                    </a:lnTo>
                    <a:lnTo>
                      <a:pt x="2288" y="2298"/>
                    </a:lnTo>
                    <a:lnTo>
                      <a:pt x="2288" y="2290"/>
                    </a:lnTo>
                    <a:lnTo>
                      <a:pt x="2288" y="2286"/>
                    </a:lnTo>
                    <a:lnTo>
                      <a:pt x="2290" y="2280"/>
                    </a:lnTo>
                    <a:lnTo>
                      <a:pt x="2292" y="2278"/>
                    </a:lnTo>
                    <a:lnTo>
                      <a:pt x="2294" y="2274"/>
                    </a:lnTo>
                    <a:lnTo>
                      <a:pt x="2294" y="2268"/>
                    </a:lnTo>
                    <a:lnTo>
                      <a:pt x="2292" y="2258"/>
                    </a:lnTo>
                    <a:lnTo>
                      <a:pt x="2292" y="2258"/>
                    </a:lnTo>
                    <a:lnTo>
                      <a:pt x="2288" y="2248"/>
                    </a:lnTo>
                    <a:lnTo>
                      <a:pt x="2288" y="2240"/>
                    </a:lnTo>
                    <a:lnTo>
                      <a:pt x="2290" y="2236"/>
                    </a:lnTo>
                    <a:lnTo>
                      <a:pt x="2292" y="2232"/>
                    </a:lnTo>
                    <a:lnTo>
                      <a:pt x="2294" y="2230"/>
                    </a:lnTo>
                    <a:lnTo>
                      <a:pt x="2296" y="2228"/>
                    </a:lnTo>
                    <a:lnTo>
                      <a:pt x="2296" y="2226"/>
                    </a:lnTo>
                    <a:lnTo>
                      <a:pt x="2294" y="2220"/>
                    </a:lnTo>
                    <a:lnTo>
                      <a:pt x="2294" y="2220"/>
                    </a:lnTo>
                    <a:lnTo>
                      <a:pt x="2282" y="2206"/>
                    </a:lnTo>
                    <a:lnTo>
                      <a:pt x="2272" y="2192"/>
                    </a:lnTo>
                    <a:lnTo>
                      <a:pt x="2268" y="2184"/>
                    </a:lnTo>
                    <a:lnTo>
                      <a:pt x="2266" y="2174"/>
                    </a:lnTo>
                    <a:lnTo>
                      <a:pt x="2268" y="2164"/>
                    </a:lnTo>
                    <a:lnTo>
                      <a:pt x="2272" y="2150"/>
                    </a:lnTo>
                    <a:lnTo>
                      <a:pt x="2272" y="2150"/>
                    </a:lnTo>
                    <a:lnTo>
                      <a:pt x="2276" y="2138"/>
                    </a:lnTo>
                    <a:lnTo>
                      <a:pt x="2278" y="2130"/>
                    </a:lnTo>
                    <a:lnTo>
                      <a:pt x="2282" y="2122"/>
                    </a:lnTo>
                    <a:lnTo>
                      <a:pt x="2288" y="2108"/>
                    </a:lnTo>
                    <a:lnTo>
                      <a:pt x="2288" y="2108"/>
                    </a:lnTo>
                    <a:lnTo>
                      <a:pt x="2304" y="2084"/>
                    </a:lnTo>
                    <a:lnTo>
                      <a:pt x="2308" y="2074"/>
                    </a:lnTo>
                    <a:lnTo>
                      <a:pt x="2310" y="2058"/>
                    </a:lnTo>
                    <a:lnTo>
                      <a:pt x="2310" y="2058"/>
                    </a:lnTo>
                    <a:lnTo>
                      <a:pt x="2312" y="2052"/>
                    </a:lnTo>
                    <a:lnTo>
                      <a:pt x="2314" y="2048"/>
                    </a:lnTo>
                    <a:lnTo>
                      <a:pt x="2320" y="2046"/>
                    </a:lnTo>
                    <a:lnTo>
                      <a:pt x="2322" y="2044"/>
                    </a:lnTo>
                    <a:lnTo>
                      <a:pt x="2324" y="2042"/>
                    </a:lnTo>
                    <a:lnTo>
                      <a:pt x="2324" y="2036"/>
                    </a:lnTo>
                    <a:lnTo>
                      <a:pt x="2322" y="2026"/>
                    </a:lnTo>
                    <a:lnTo>
                      <a:pt x="2322" y="2026"/>
                    </a:lnTo>
                    <a:lnTo>
                      <a:pt x="2324" y="2016"/>
                    </a:lnTo>
                    <a:lnTo>
                      <a:pt x="2326" y="2008"/>
                    </a:lnTo>
                    <a:lnTo>
                      <a:pt x="2332" y="2004"/>
                    </a:lnTo>
                    <a:lnTo>
                      <a:pt x="2338" y="2002"/>
                    </a:lnTo>
                    <a:lnTo>
                      <a:pt x="2350" y="1998"/>
                    </a:lnTo>
                    <a:lnTo>
                      <a:pt x="2354" y="1994"/>
                    </a:lnTo>
                    <a:lnTo>
                      <a:pt x="2354" y="1988"/>
                    </a:lnTo>
                    <a:lnTo>
                      <a:pt x="2354" y="1988"/>
                    </a:lnTo>
                    <a:lnTo>
                      <a:pt x="2352" y="1980"/>
                    </a:lnTo>
                    <a:lnTo>
                      <a:pt x="2356" y="1980"/>
                    </a:lnTo>
                    <a:lnTo>
                      <a:pt x="2360" y="1980"/>
                    </a:lnTo>
                    <a:lnTo>
                      <a:pt x="2366" y="1978"/>
                    </a:lnTo>
                    <a:lnTo>
                      <a:pt x="2372" y="1972"/>
                    </a:lnTo>
                    <a:lnTo>
                      <a:pt x="2380" y="1962"/>
                    </a:lnTo>
                    <a:lnTo>
                      <a:pt x="2380" y="1962"/>
                    </a:lnTo>
                    <a:lnTo>
                      <a:pt x="2388" y="1950"/>
                    </a:lnTo>
                    <a:lnTo>
                      <a:pt x="2390" y="1944"/>
                    </a:lnTo>
                    <a:lnTo>
                      <a:pt x="2394" y="1932"/>
                    </a:lnTo>
                    <a:lnTo>
                      <a:pt x="2396" y="1926"/>
                    </a:lnTo>
                    <a:lnTo>
                      <a:pt x="2400" y="1918"/>
                    </a:lnTo>
                    <a:lnTo>
                      <a:pt x="2408" y="1908"/>
                    </a:lnTo>
                    <a:lnTo>
                      <a:pt x="2422" y="1892"/>
                    </a:lnTo>
                    <a:lnTo>
                      <a:pt x="2422" y="1892"/>
                    </a:lnTo>
                    <a:lnTo>
                      <a:pt x="2450" y="1860"/>
                    </a:lnTo>
                    <a:lnTo>
                      <a:pt x="2470" y="1836"/>
                    </a:lnTo>
                    <a:lnTo>
                      <a:pt x="2494" y="1812"/>
                    </a:lnTo>
                    <a:lnTo>
                      <a:pt x="2532" y="1780"/>
                    </a:lnTo>
                    <a:lnTo>
                      <a:pt x="2532" y="1780"/>
                    </a:lnTo>
                    <a:lnTo>
                      <a:pt x="2556" y="1760"/>
                    </a:lnTo>
                    <a:lnTo>
                      <a:pt x="2580" y="1736"/>
                    </a:lnTo>
                    <a:lnTo>
                      <a:pt x="2604" y="1710"/>
                    </a:lnTo>
                    <a:lnTo>
                      <a:pt x="2626" y="1680"/>
                    </a:lnTo>
                    <a:lnTo>
                      <a:pt x="2646" y="1646"/>
                    </a:lnTo>
                    <a:lnTo>
                      <a:pt x="2666" y="1610"/>
                    </a:lnTo>
                    <a:lnTo>
                      <a:pt x="2686" y="1570"/>
                    </a:lnTo>
                    <a:lnTo>
                      <a:pt x="2702" y="1526"/>
                    </a:lnTo>
                    <a:lnTo>
                      <a:pt x="2702" y="1526"/>
                    </a:lnTo>
                    <a:lnTo>
                      <a:pt x="2712" y="1502"/>
                    </a:lnTo>
                    <a:lnTo>
                      <a:pt x="2722" y="1482"/>
                    </a:lnTo>
                    <a:lnTo>
                      <a:pt x="2738" y="1452"/>
                    </a:lnTo>
                    <a:lnTo>
                      <a:pt x="2750" y="1426"/>
                    </a:lnTo>
                    <a:lnTo>
                      <a:pt x="2752" y="1416"/>
                    </a:lnTo>
                    <a:lnTo>
                      <a:pt x="2754" y="1404"/>
                    </a:lnTo>
                    <a:lnTo>
                      <a:pt x="2754" y="1404"/>
                    </a:lnTo>
                    <a:lnTo>
                      <a:pt x="2758" y="1388"/>
                    </a:lnTo>
                    <a:lnTo>
                      <a:pt x="2762" y="1378"/>
                    </a:lnTo>
                    <a:lnTo>
                      <a:pt x="2768" y="1376"/>
                    </a:lnTo>
                    <a:lnTo>
                      <a:pt x="2772" y="1376"/>
                    </a:lnTo>
                    <a:lnTo>
                      <a:pt x="2776" y="1376"/>
                    </a:lnTo>
                    <a:lnTo>
                      <a:pt x="2776" y="1376"/>
                    </a:lnTo>
                    <a:lnTo>
                      <a:pt x="2770" y="1364"/>
                    </a:lnTo>
                    <a:lnTo>
                      <a:pt x="2770" y="1364"/>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sp>
            <p:nvSpPr>
              <p:cNvPr id="111" name="Freeform 6155"/>
              <p:cNvSpPr>
                <a:spLocks noEditPoints="1"/>
              </p:cNvSpPr>
              <p:nvPr/>
            </p:nvSpPr>
            <p:spPr bwMode="auto">
              <a:xfrm>
                <a:off x="3769201" y="1348638"/>
                <a:ext cx="1621117" cy="2352394"/>
              </a:xfrm>
              <a:custGeom>
                <a:avLst/>
                <a:gdLst/>
                <a:ahLst/>
                <a:cxnLst>
                  <a:cxn ang="0">
                    <a:pos x="1252" y="182"/>
                  </a:cxn>
                  <a:cxn ang="0">
                    <a:pos x="1182" y="102"/>
                  </a:cxn>
                  <a:cxn ang="0">
                    <a:pos x="1170" y="832"/>
                  </a:cxn>
                  <a:cxn ang="0">
                    <a:pos x="1328" y="260"/>
                  </a:cxn>
                  <a:cxn ang="0">
                    <a:pos x="1116" y="888"/>
                  </a:cxn>
                  <a:cxn ang="0">
                    <a:pos x="1002" y="938"/>
                  </a:cxn>
                  <a:cxn ang="0">
                    <a:pos x="1078" y="890"/>
                  </a:cxn>
                  <a:cxn ang="0">
                    <a:pos x="1318" y="40"/>
                  </a:cxn>
                  <a:cxn ang="0">
                    <a:pos x="144" y="1644"/>
                  </a:cxn>
                  <a:cxn ang="0">
                    <a:pos x="70" y="1866"/>
                  </a:cxn>
                  <a:cxn ang="0">
                    <a:pos x="170" y="1652"/>
                  </a:cxn>
                  <a:cxn ang="0">
                    <a:pos x="188" y="1758"/>
                  </a:cxn>
                  <a:cxn ang="0">
                    <a:pos x="270" y="1632"/>
                  </a:cxn>
                  <a:cxn ang="0">
                    <a:pos x="204" y="1758"/>
                  </a:cxn>
                  <a:cxn ang="0">
                    <a:pos x="234" y="1954"/>
                  </a:cxn>
                  <a:cxn ang="0">
                    <a:pos x="316" y="2084"/>
                  </a:cxn>
                  <a:cxn ang="0">
                    <a:pos x="626" y="1382"/>
                  </a:cxn>
                  <a:cxn ang="0">
                    <a:pos x="354" y="1486"/>
                  </a:cxn>
                  <a:cxn ang="0">
                    <a:pos x="522" y="1136"/>
                  </a:cxn>
                  <a:cxn ang="0">
                    <a:pos x="180" y="1048"/>
                  </a:cxn>
                  <a:cxn ang="0">
                    <a:pos x="238" y="1920"/>
                  </a:cxn>
                  <a:cxn ang="0">
                    <a:pos x="908" y="1824"/>
                  </a:cxn>
                  <a:cxn ang="0">
                    <a:pos x="914" y="1826"/>
                  </a:cxn>
                  <a:cxn ang="0">
                    <a:pos x="1094" y="1700"/>
                  </a:cxn>
                  <a:cxn ang="0">
                    <a:pos x="632" y="1514"/>
                  </a:cxn>
                  <a:cxn ang="0">
                    <a:pos x="1324" y="1592"/>
                  </a:cxn>
                  <a:cxn ang="0">
                    <a:pos x="954" y="2790"/>
                  </a:cxn>
                  <a:cxn ang="0">
                    <a:pos x="1260" y="2818"/>
                  </a:cxn>
                  <a:cxn ang="0">
                    <a:pos x="1352" y="2902"/>
                  </a:cxn>
                  <a:cxn ang="0">
                    <a:pos x="2500" y="3468"/>
                  </a:cxn>
                  <a:cxn ang="0">
                    <a:pos x="2346" y="3260"/>
                  </a:cxn>
                  <a:cxn ang="0">
                    <a:pos x="2192" y="978"/>
                  </a:cxn>
                  <a:cxn ang="0">
                    <a:pos x="1910" y="896"/>
                  </a:cxn>
                  <a:cxn ang="0">
                    <a:pos x="1536" y="738"/>
                  </a:cxn>
                  <a:cxn ang="0">
                    <a:pos x="1350" y="810"/>
                  </a:cxn>
                  <a:cxn ang="0">
                    <a:pos x="1154" y="858"/>
                  </a:cxn>
                  <a:cxn ang="0">
                    <a:pos x="1036" y="1012"/>
                  </a:cxn>
                  <a:cxn ang="0">
                    <a:pos x="886" y="1194"/>
                  </a:cxn>
                  <a:cxn ang="0">
                    <a:pos x="704" y="1308"/>
                  </a:cxn>
                  <a:cxn ang="0">
                    <a:pos x="624" y="1436"/>
                  </a:cxn>
                  <a:cxn ang="0">
                    <a:pos x="760" y="1618"/>
                  </a:cxn>
                  <a:cxn ang="0">
                    <a:pos x="1070" y="1736"/>
                  </a:cxn>
                  <a:cxn ang="0">
                    <a:pos x="1148" y="1332"/>
                  </a:cxn>
                  <a:cxn ang="0">
                    <a:pos x="1290" y="1300"/>
                  </a:cxn>
                  <a:cxn ang="0">
                    <a:pos x="1552" y="1536"/>
                  </a:cxn>
                  <a:cxn ang="0">
                    <a:pos x="1180" y="1840"/>
                  </a:cxn>
                  <a:cxn ang="0">
                    <a:pos x="810" y="1824"/>
                  </a:cxn>
                  <a:cxn ang="0">
                    <a:pos x="766" y="1806"/>
                  </a:cxn>
                  <a:cxn ang="0">
                    <a:pos x="618" y="1946"/>
                  </a:cxn>
                  <a:cxn ang="0">
                    <a:pos x="292" y="2188"/>
                  </a:cxn>
                  <a:cxn ang="0">
                    <a:pos x="270" y="2496"/>
                  </a:cxn>
                  <a:cxn ang="0">
                    <a:pos x="284" y="2872"/>
                  </a:cxn>
                  <a:cxn ang="0">
                    <a:pos x="854" y="2536"/>
                  </a:cxn>
                  <a:cxn ang="0">
                    <a:pos x="990" y="2544"/>
                  </a:cxn>
                  <a:cxn ang="0">
                    <a:pos x="1240" y="2726"/>
                  </a:cxn>
                  <a:cxn ang="0">
                    <a:pos x="1394" y="2818"/>
                  </a:cxn>
                  <a:cxn ang="0">
                    <a:pos x="1532" y="2638"/>
                  </a:cxn>
                  <a:cxn ang="0">
                    <a:pos x="1772" y="2410"/>
                  </a:cxn>
                  <a:cxn ang="0">
                    <a:pos x="1912" y="2410"/>
                  </a:cxn>
                  <a:cxn ang="0">
                    <a:pos x="1538" y="2666"/>
                  </a:cxn>
                  <a:cxn ang="0">
                    <a:pos x="1642" y="2896"/>
                  </a:cxn>
                  <a:cxn ang="0">
                    <a:pos x="1818" y="3330"/>
                  </a:cxn>
                  <a:cxn ang="0">
                    <a:pos x="2248" y="4088"/>
                  </a:cxn>
                </a:cxnLst>
                <a:rect l="0" t="0" r="r" b="b"/>
                <a:pathLst>
                  <a:path w="2834" h="4108">
                    <a:moveTo>
                      <a:pt x="1216" y="808"/>
                    </a:moveTo>
                    <a:lnTo>
                      <a:pt x="1216" y="808"/>
                    </a:lnTo>
                    <a:lnTo>
                      <a:pt x="1216" y="806"/>
                    </a:lnTo>
                    <a:lnTo>
                      <a:pt x="1212" y="804"/>
                    </a:lnTo>
                    <a:lnTo>
                      <a:pt x="1208" y="804"/>
                    </a:lnTo>
                    <a:lnTo>
                      <a:pt x="1206" y="804"/>
                    </a:lnTo>
                    <a:lnTo>
                      <a:pt x="1206" y="804"/>
                    </a:lnTo>
                    <a:lnTo>
                      <a:pt x="1206" y="806"/>
                    </a:lnTo>
                    <a:lnTo>
                      <a:pt x="1210" y="808"/>
                    </a:lnTo>
                    <a:lnTo>
                      <a:pt x="1214" y="808"/>
                    </a:lnTo>
                    <a:lnTo>
                      <a:pt x="1216" y="808"/>
                    </a:lnTo>
                    <a:lnTo>
                      <a:pt x="1216" y="808"/>
                    </a:lnTo>
                    <a:close/>
                    <a:moveTo>
                      <a:pt x="1202" y="798"/>
                    </a:moveTo>
                    <a:lnTo>
                      <a:pt x="1202" y="798"/>
                    </a:lnTo>
                    <a:lnTo>
                      <a:pt x="1198" y="798"/>
                    </a:lnTo>
                    <a:lnTo>
                      <a:pt x="1194" y="802"/>
                    </a:lnTo>
                    <a:lnTo>
                      <a:pt x="1194" y="806"/>
                    </a:lnTo>
                    <a:lnTo>
                      <a:pt x="1194" y="806"/>
                    </a:lnTo>
                    <a:lnTo>
                      <a:pt x="1196" y="806"/>
                    </a:lnTo>
                    <a:lnTo>
                      <a:pt x="1196" y="806"/>
                    </a:lnTo>
                    <a:lnTo>
                      <a:pt x="1200" y="806"/>
                    </a:lnTo>
                    <a:lnTo>
                      <a:pt x="1202" y="802"/>
                    </a:lnTo>
                    <a:lnTo>
                      <a:pt x="1202" y="800"/>
                    </a:lnTo>
                    <a:lnTo>
                      <a:pt x="1202" y="798"/>
                    </a:lnTo>
                    <a:lnTo>
                      <a:pt x="1202" y="798"/>
                    </a:lnTo>
                    <a:close/>
                    <a:moveTo>
                      <a:pt x="1082" y="898"/>
                    </a:moveTo>
                    <a:lnTo>
                      <a:pt x="1082" y="898"/>
                    </a:lnTo>
                    <a:lnTo>
                      <a:pt x="1078" y="896"/>
                    </a:lnTo>
                    <a:lnTo>
                      <a:pt x="1074" y="900"/>
                    </a:lnTo>
                    <a:lnTo>
                      <a:pt x="1074" y="900"/>
                    </a:lnTo>
                    <a:lnTo>
                      <a:pt x="1072" y="902"/>
                    </a:lnTo>
                    <a:lnTo>
                      <a:pt x="1072" y="906"/>
                    </a:lnTo>
                    <a:lnTo>
                      <a:pt x="1072" y="910"/>
                    </a:lnTo>
                    <a:lnTo>
                      <a:pt x="1066" y="914"/>
                    </a:lnTo>
                    <a:lnTo>
                      <a:pt x="1066" y="914"/>
                    </a:lnTo>
                    <a:lnTo>
                      <a:pt x="1062" y="916"/>
                    </a:lnTo>
                    <a:lnTo>
                      <a:pt x="1064" y="914"/>
                    </a:lnTo>
                    <a:lnTo>
                      <a:pt x="1066" y="910"/>
                    </a:lnTo>
                    <a:lnTo>
                      <a:pt x="1064" y="908"/>
                    </a:lnTo>
                    <a:lnTo>
                      <a:pt x="1062" y="908"/>
                    </a:lnTo>
                    <a:lnTo>
                      <a:pt x="1062" y="908"/>
                    </a:lnTo>
                    <a:lnTo>
                      <a:pt x="1060" y="908"/>
                    </a:lnTo>
                    <a:lnTo>
                      <a:pt x="1060" y="906"/>
                    </a:lnTo>
                    <a:lnTo>
                      <a:pt x="1062" y="902"/>
                    </a:lnTo>
                    <a:lnTo>
                      <a:pt x="1066" y="896"/>
                    </a:lnTo>
                    <a:lnTo>
                      <a:pt x="1066" y="894"/>
                    </a:lnTo>
                    <a:lnTo>
                      <a:pt x="1064" y="892"/>
                    </a:lnTo>
                    <a:lnTo>
                      <a:pt x="1064" y="892"/>
                    </a:lnTo>
                    <a:lnTo>
                      <a:pt x="1058" y="892"/>
                    </a:lnTo>
                    <a:lnTo>
                      <a:pt x="1054" y="896"/>
                    </a:lnTo>
                    <a:lnTo>
                      <a:pt x="1048" y="900"/>
                    </a:lnTo>
                    <a:lnTo>
                      <a:pt x="1046" y="906"/>
                    </a:lnTo>
                    <a:lnTo>
                      <a:pt x="1046" y="906"/>
                    </a:lnTo>
                    <a:lnTo>
                      <a:pt x="1046" y="912"/>
                    </a:lnTo>
                    <a:lnTo>
                      <a:pt x="1046" y="916"/>
                    </a:lnTo>
                    <a:lnTo>
                      <a:pt x="1046" y="918"/>
                    </a:lnTo>
                    <a:lnTo>
                      <a:pt x="1042" y="920"/>
                    </a:lnTo>
                    <a:lnTo>
                      <a:pt x="1042" y="920"/>
                    </a:lnTo>
                    <a:lnTo>
                      <a:pt x="1036" y="922"/>
                    </a:lnTo>
                    <a:lnTo>
                      <a:pt x="1036" y="924"/>
                    </a:lnTo>
                    <a:lnTo>
                      <a:pt x="1036" y="928"/>
                    </a:lnTo>
                    <a:lnTo>
                      <a:pt x="1032" y="938"/>
                    </a:lnTo>
                    <a:lnTo>
                      <a:pt x="1032" y="938"/>
                    </a:lnTo>
                    <a:lnTo>
                      <a:pt x="1030" y="942"/>
                    </a:lnTo>
                    <a:lnTo>
                      <a:pt x="1034" y="940"/>
                    </a:lnTo>
                    <a:lnTo>
                      <a:pt x="1040" y="938"/>
                    </a:lnTo>
                    <a:lnTo>
                      <a:pt x="1044" y="938"/>
                    </a:lnTo>
                    <a:lnTo>
                      <a:pt x="1048" y="940"/>
                    </a:lnTo>
                    <a:lnTo>
                      <a:pt x="1048" y="940"/>
                    </a:lnTo>
                    <a:lnTo>
                      <a:pt x="1050" y="940"/>
                    </a:lnTo>
                    <a:lnTo>
                      <a:pt x="1052" y="940"/>
                    </a:lnTo>
                    <a:lnTo>
                      <a:pt x="1054" y="936"/>
                    </a:lnTo>
                    <a:lnTo>
                      <a:pt x="1056" y="934"/>
                    </a:lnTo>
                    <a:lnTo>
                      <a:pt x="1058" y="932"/>
                    </a:lnTo>
                    <a:lnTo>
                      <a:pt x="1060" y="934"/>
                    </a:lnTo>
                    <a:lnTo>
                      <a:pt x="1060" y="934"/>
                    </a:lnTo>
                    <a:lnTo>
                      <a:pt x="1062" y="936"/>
                    </a:lnTo>
                    <a:lnTo>
                      <a:pt x="1064" y="936"/>
                    </a:lnTo>
                    <a:lnTo>
                      <a:pt x="1068" y="930"/>
                    </a:lnTo>
                    <a:lnTo>
                      <a:pt x="1068" y="930"/>
                    </a:lnTo>
                    <a:lnTo>
                      <a:pt x="1070" y="926"/>
                    </a:lnTo>
                    <a:lnTo>
                      <a:pt x="1072" y="924"/>
                    </a:lnTo>
                    <a:lnTo>
                      <a:pt x="1076" y="920"/>
                    </a:lnTo>
                    <a:lnTo>
                      <a:pt x="1084" y="920"/>
                    </a:lnTo>
                    <a:lnTo>
                      <a:pt x="1084" y="920"/>
                    </a:lnTo>
                    <a:lnTo>
                      <a:pt x="1088" y="918"/>
                    </a:lnTo>
                    <a:lnTo>
                      <a:pt x="1090" y="916"/>
                    </a:lnTo>
                    <a:lnTo>
                      <a:pt x="1090" y="914"/>
                    </a:lnTo>
                    <a:lnTo>
                      <a:pt x="1090" y="910"/>
                    </a:lnTo>
                    <a:lnTo>
                      <a:pt x="1086" y="904"/>
                    </a:lnTo>
                    <a:lnTo>
                      <a:pt x="1082" y="898"/>
                    </a:lnTo>
                    <a:lnTo>
                      <a:pt x="1082" y="898"/>
                    </a:lnTo>
                    <a:close/>
                    <a:moveTo>
                      <a:pt x="1190" y="808"/>
                    </a:moveTo>
                    <a:lnTo>
                      <a:pt x="1190" y="808"/>
                    </a:lnTo>
                    <a:lnTo>
                      <a:pt x="1188" y="808"/>
                    </a:lnTo>
                    <a:lnTo>
                      <a:pt x="1186" y="808"/>
                    </a:lnTo>
                    <a:lnTo>
                      <a:pt x="1184" y="808"/>
                    </a:lnTo>
                    <a:lnTo>
                      <a:pt x="1182" y="808"/>
                    </a:lnTo>
                    <a:lnTo>
                      <a:pt x="1182" y="808"/>
                    </a:lnTo>
                    <a:lnTo>
                      <a:pt x="1180" y="808"/>
                    </a:lnTo>
                    <a:lnTo>
                      <a:pt x="1178" y="810"/>
                    </a:lnTo>
                    <a:lnTo>
                      <a:pt x="1176" y="814"/>
                    </a:lnTo>
                    <a:lnTo>
                      <a:pt x="1176" y="814"/>
                    </a:lnTo>
                    <a:lnTo>
                      <a:pt x="1178" y="814"/>
                    </a:lnTo>
                    <a:lnTo>
                      <a:pt x="1178" y="816"/>
                    </a:lnTo>
                    <a:lnTo>
                      <a:pt x="1184" y="814"/>
                    </a:lnTo>
                    <a:lnTo>
                      <a:pt x="1188" y="810"/>
                    </a:lnTo>
                    <a:lnTo>
                      <a:pt x="1190" y="808"/>
                    </a:lnTo>
                    <a:lnTo>
                      <a:pt x="1190" y="808"/>
                    </a:lnTo>
                    <a:close/>
                    <a:moveTo>
                      <a:pt x="1400" y="746"/>
                    </a:moveTo>
                    <a:lnTo>
                      <a:pt x="1400" y="746"/>
                    </a:lnTo>
                    <a:lnTo>
                      <a:pt x="1394" y="744"/>
                    </a:lnTo>
                    <a:lnTo>
                      <a:pt x="1390" y="744"/>
                    </a:lnTo>
                    <a:lnTo>
                      <a:pt x="1388" y="744"/>
                    </a:lnTo>
                    <a:lnTo>
                      <a:pt x="1390" y="748"/>
                    </a:lnTo>
                    <a:lnTo>
                      <a:pt x="1390" y="748"/>
                    </a:lnTo>
                    <a:lnTo>
                      <a:pt x="1394" y="750"/>
                    </a:lnTo>
                    <a:lnTo>
                      <a:pt x="1398" y="750"/>
                    </a:lnTo>
                    <a:lnTo>
                      <a:pt x="1400" y="748"/>
                    </a:lnTo>
                    <a:lnTo>
                      <a:pt x="1400" y="746"/>
                    </a:lnTo>
                    <a:lnTo>
                      <a:pt x="1400" y="746"/>
                    </a:lnTo>
                    <a:close/>
                    <a:moveTo>
                      <a:pt x="1252" y="182"/>
                    </a:moveTo>
                    <a:lnTo>
                      <a:pt x="1252" y="182"/>
                    </a:lnTo>
                    <a:lnTo>
                      <a:pt x="1256" y="186"/>
                    </a:lnTo>
                    <a:lnTo>
                      <a:pt x="1256" y="188"/>
                    </a:lnTo>
                    <a:lnTo>
                      <a:pt x="1258" y="190"/>
                    </a:lnTo>
                    <a:lnTo>
                      <a:pt x="1258" y="192"/>
                    </a:lnTo>
                    <a:lnTo>
                      <a:pt x="1262" y="192"/>
                    </a:lnTo>
                    <a:lnTo>
                      <a:pt x="1272" y="190"/>
                    </a:lnTo>
                    <a:lnTo>
                      <a:pt x="1272" y="190"/>
                    </a:lnTo>
                    <a:lnTo>
                      <a:pt x="1290" y="186"/>
                    </a:lnTo>
                    <a:lnTo>
                      <a:pt x="1306" y="186"/>
                    </a:lnTo>
                    <a:lnTo>
                      <a:pt x="1312" y="184"/>
                    </a:lnTo>
                    <a:lnTo>
                      <a:pt x="1316" y="182"/>
                    </a:lnTo>
                    <a:lnTo>
                      <a:pt x="1318" y="178"/>
                    </a:lnTo>
                    <a:lnTo>
                      <a:pt x="1318" y="172"/>
                    </a:lnTo>
                    <a:lnTo>
                      <a:pt x="1318" y="172"/>
                    </a:lnTo>
                    <a:lnTo>
                      <a:pt x="1316" y="166"/>
                    </a:lnTo>
                    <a:lnTo>
                      <a:pt x="1312" y="162"/>
                    </a:lnTo>
                    <a:lnTo>
                      <a:pt x="1306" y="160"/>
                    </a:lnTo>
                    <a:lnTo>
                      <a:pt x="1300" y="158"/>
                    </a:lnTo>
                    <a:lnTo>
                      <a:pt x="1284" y="158"/>
                    </a:lnTo>
                    <a:lnTo>
                      <a:pt x="1266" y="162"/>
                    </a:lnTo>
                    <a:lnTo>
                      <a:pt x="1266" y="162"/>
                    </a:lnTo>
                    <a:lnTo>
                      <a:pt x="1250" y="166"/>
                    </a:lnTo>
                    <a:lnTo>
                      <a:pt x="1238" y="168"/>
                    </a:lnTo>
                    <a:lnTo>
                      <a:pt x="1238" y="170"/>
                    </a:lnTo>
                    <a:lnTo>
                      <a:pt x="1238" y="174"/>
                    </a:lnTo>
                    <a:lnTo>
                      <a:pt x="1252" y="182"/>
                    </a:lnTo>
                    <a:lnTo>
                      <a:pt x="1252" y="182"/>
                    </a:lnTo>
                    <a:close/>
                    <a:moveTo>
                      <a:pt x="1236" y="808"/>
                    </a:moveTo>
                    <a:lnTo>
                      <a:pt x="1236" y="808"/>
                    </a:lnTo>
                    <a:lnTo>
                      <a:pt x="1238" y="806"/>
                    </a:lnTo>
                    <a:lnTo>
                      <a:pt x="1236" y="804"/>
                    </a:lnTo>
                    <a:lnTo>
                      <a:pt x="1228" y="802"/>
                    </a:lnTo>
                    <a:lnTo>
                      <a:pt x="1228" y="802"/>
                    </a:lnTo>
                    <a:lnTo>
                      <a:pt x="1224" y="798"/>
                    </a:lnTo>
                    <a:lnTo>
                      <a:pt x="1220" y="796"/>
                    </a:lnTo>
                    <a:lnTo>
                      <a:pt x="1216" y="794"/>
                    </a:lnTo>
                    <a:lnTo>
                      <a:pt x="1216" y="798"/>
                    </a:lnTo>
                    <a:lnTo>
                      <a:pt x="1216" y="798"/>
                    </a:lnTo>
                    <a:lnTo>
                      <a:pt x="1216" y="802"/>
                    </a:lnTo>
                    <a:lnTo>
                      <a:pt x="1220" y="806"/>
                    </a:lnTo>
                    <a:lnTo>
                      <a:pt x="1228" y="810"/>
                    </a:lnTo>
                    <a:lnTo>
                      <a:pt x="1236" y="808"/>
                    </a:lnTo>
                    <a:lnTo>
                      <a:pt x="1236" y="808"/>
                    </a:lnTo>
                    <a:close/>
                    <a:moveTo>
                      <a:pt x="902" y="108"/>
                    </a:moveTo>
                    <a:lnTo>
                      <a:pt x="902" y="108"/>
                    </a:lnTo>
                    <a:lnTo>
                      <a:pt x="902" y="114"/>
                    </a:lnTo>
                    <a:lnTo>
                      <a:pt x="904" y="120"/>
                    </a:lnTo>
                    <a:lnTo>
                      <a:pt x="906" y="124"/>
                    </a:lnTo>
                    <a:lnTo>
                      <a:pt x="910" y="126"/>
                    </a:lnTo>
                    <a:lnTo>
                      <a:pt x="912" y="128"/>
                    </a:lnTo>
                    <a:lnTo>
                      <a:pt x="910" y="128"/>
                    </a:lnTo>
                    <a:lnTo>
                      <a:pt x="900" y="130"/>
                    </a:lnTo>
                    <a:lnTo>
                      <a:pt x="900" y="130"/>
                    </a:lnTo>
                    <a:lnTo>
                      <a:pt x="886" y="130"/>
                    </a:lnTo>
                    <a:lnTo>
                      <a:pt x="884" y="132"/>
                    </a:lnTo>
                    <a:lnTo>
                      <a:pt x="886" y="136"/>
                    </a:lnTo>
                    <a:lnTo>
                      <a:pt x="898" y="148"/>
                    </a:lnTo>
                    <a:lnTo>
                      <a:pt x="922" y="172"/>
                    </a:lnTo>
                    <a:lnTo>
                      <a:pt x="922" y="172"/>
                    </a:lnTo>
                    <a:lnTo>
                      <a:pt x="936" y="184"/>
                    </a:lnTo>
                    <a:lnTo>
                      <a:pt x="948" y="192"/>
                    </a:lnTo>
                    <a:lnTo>
                      <a:pt x="960" y="194"/>
                    </a:lnTo>
                    <a:lnTo>
                      <a:pt x="970" y="192"/>
                    </a:lnTo>
                    <a:lnTo>
                      <a:pt x="980" y="188"/>
                    </a:lnTo>
                    <a:lnTo>
                      <a:pt x="990" y="182"/>
                    </a:lnTo>
                    <a:lnTo>
                      <a:pt x="1018" y="164"/>
                    </a:lnTo>
                    <a:lnTo>
                      <a:pt x="1018" y="164"/>
                    </a:lnTo>
                    <a:lnTo>
                      <a:pt x="1038" y="152"/>
                    </a:lnTo>
                    <a:lnTo>
                      <a:pt x="1040" y="152"/>
                    </a:lnTo>
                    <a:lnTo>
                      <a:pt x="1042" y="154"/>
                    </a:lnTo>
                    <a:lnTo>
                      <a:pt x="1042" y="158"/>
                    </a:lnTo>
                    <a:lnTo>
                      <a:pt x="1048" y="160"/>
                    </a:lnTo>
                    <a:lnTo>
                      <a:pt x="1056" y="164"/>
                    </a:lnTo>
                    <a:lnTo>
                      <a:pt x="1072" y="166"/>
                    </a:lnTo>
                    <a:lnTo>
                      <a:pt x="1072" y="166"/>
                    </a:lnTo>
                    <a:lnTo>
                      <a:pt x="1088" y="168"/>
                    </a:lnTo>
                    <a:lnTo>
                      <a:pt x="1096" y="170"/>
                    </a:lnTo>
                    <a:lnTo>
                      <a:pt x="1096" y="170"/>
                    </a:lnTo>
                    <a:lnTo>
                      <a:pt x="1094" y="172"/>
                    </a:lnTo>
                    <a:lnTo>
                      <a:pt x="1088" y="176"/>
                    </a:lnTo>
                    <a:lnTo>
                      <a:pt x="1058" y="186"/>
                    </a:lnTo>
                    <a:lnTo>
                      <a:pt x="1014" y="198"/>
                    </a:lnTo>
                    <a:lnTo>
                      <a:pt x="1014" y="198"/>
                    </a:lnTo>
                    <a:lnTo>
                      <a:pt x="994" y="206"/>
                    </a:lnTo>
                    <a:lnTo>
                      <a:pt x="980" y="210"/>
                    </a:lnTo>
                    <a:lnTo>
                      <a:pt x="972" y="216"/>
                    </a:lnTo>
                    <a:lnTo>
                      <a:pt x="970" y="218"/>
                    </a:lnTo>
                    <a:lnTo>
                      <a:pt x="970" y="220"/>
                    </a:lnTo>
                    <a:lnTo>
                      <a:pt x="976" y="222"/>
                    </a:lnTo>
                    <a:lnTo>
                      <a:pt x="988" y="224"/>
                    </a:lnTo>
                    <a:lnTo>
                      <a:pt x="1008" y="224"/>
                    </a:lnTo>
                    <a:lnTo>
                      <a:pt x="1034" y="222"/>
                    </a:lnTo>
                    <a:lnTo>
                      <a:pt x="1034" y="222"/>
                    </a:lnTo>
                    <a:lnTo>
                      <a:pt x="1058" y="220"/>
                    </a:lnTo>
                    <a:lnTo>
                      <a:pt x="1072" y="220"/>
                    </a:lnTo>
                    <a:lnTo>
                      <a:pt x="1074" y="222"/>
                    </a:lnTo>
                    <a:lnTo>
                      <a:pt x="1076" y="222"/>
                    </a:lnTo>
                    <a:lnTo>
                      <a:pt x="1072" y="226"/>
                    </a:lnTo>
                    <a:lnTo>
                      <a:pt x="1064" y="232"/>
                    </a:lnTo>
                    <a:lnTo>
                      <a:pt x="1050" y="236"/>
                    </a:lnTo>
                    <a:lnTo>
                      <a:pt x="1036" y="242"/>
                    </a:lnTo>
                    <a:lnTo>
                      <a:pt x="1018" y="244"/>
                    </a:lnTo>
                    <a:lnTo>
                      <a:pt x="1018" y="244"/>
                    </a:lnTo>
                    <a:lnTo>
                      <a:pt x="994" y="250"/>
                    </a:lnTo>
                    <a:lnTo>
                      <a:pt x="988" y="252"/>
                    </a:lnTo>
                    <a:lnTo>
                      <a:pt x="984" y="256"/>
                    </a:lnTo>
                    <a:lnTo>
                      <a:pt x="986" y="260"/>
                    </a:lnTo>
                    <a:lnTo>
                      <a:pt x="990" y="264"/>
                    </a:lnTo>
                    <a:lnTo>
                      <a:pt x="1014" y="274"/>
                    </a:lnTo>
                    <a:lnTo>
                      <a:pt x="1014" y="274"/>
                    </a:lnTo>
                    <a:lnTo>
                      <a:pt x="1028" y="280"/>
                    </a:lnTo>
                    <a:lnTo>
                      <a:pt x="1036" y="286"/>
                    </a:lnTo>
                    <a:lnTo>
                      <a:pt x="1048" y="296"/>
                    </a:lnTo>
                    <a:lnTo>
                      <a:pt x="1052" y="302"/>
                    </a:lnTo>
                    <a:lnTo>
                      <a:pt x="1060" y="308"/>
                    </a:lnTo>
                    <a:lnTo>
                      <a:pt x="1072" y="312"/>
                    </a:lnTo>
                    <a:lnTo>
                      <a:pt x="1090" y="318"/>
                    </a:lnTo>
                    <a:lnTo>
                      <a:pt x="1090" y="318"/>
                    </a:lnTo>
                    <a:lnTo>
                      <a:pt x="1098" y="320"/>
                    </a:lnTo>
                    <a:lnTo>
                      <a:pt x="1104" y="320"/>
                    </a:lnTo>
                    <a:lnTo>
                      <a:pt x="1110" y="318"/>
                    </a:lnTo>
                    <a:lnTo>
                      <a:pt x="1114" y="316"/>
                    </a:lnTo>
                    <a:lnTo>
                      <a:pt x="1116" y="312"/>
                    </a:lnTo>
                    <a:lnTo>
                      <a:pt x="1116" y="306"/>
                    </a:lnTo>
                    <a:lnTo>
                      <a:pt x="1118" y="294"/>
                    </a:lnTo>
                    <a:lnTo>
                      <a:pt x="1120" y="282"/>
                    </a:lnTo>
                    <a:lnTo>
                      <a:pt x="1124" y="268"/>
                    </a:lnTo>
                    <a:lnTo>
                      <a:pt x="1128" y="262"/>
                    </a:lnTo>
                    <a:lnTo>
                      <a:pt x="1132" y="256"/>
                    </a:lnTo>
                    <a:lnTo>
                      <a:pt x="1138" y="252"/>
                    </a:lnTo>
                    <a:lnTo>
                      <a:pt x="1146" y="248"/>
                    </a:lnTo>
                    <a:lnTo>
                      <a:pt x="1146" y="248"/>
                    </a:lnTo>
                    <a:lnTo>
                      <a:pt x="1160" y="242"/>
                    </a:lnTo>
                    <a:lnTo>
                      <a:pt x="1166" y="236"/>
                    </a:lnTo>
                    <a:lnTo>
                      <a:pt x="1166" y="230"/>
                    </a:lnTo>
                    <a:lnTo>
                      <a:pt x="1164" y="224"/>
                    </a:lnTo>
                    <a:lnTo>
                      <a:pt x="1162" y="218"/>
                    </a:lnTo>
                    <a:lnTo>
                      <a:pt x="1162" y="214"/>
                    </a:lnTo>
                    <a:lnTo>
                      <a:pt x="1162" y="212"/>
                    </a:lnTo>
                    <a:lnTo>
                      <a:pt x="1166" y="208"/>
                    </a:lnTo>
                    <a:lnTo>
                      <a:pt x="1176" y="204"/>
                    </a:lnTo>
                    <a:lnTo>
                      <a:pt x="1176" y="204"/>
                    </a:lnTo>
                    <a:lnTo>
                      <a:pt x="1182" y="202"/>
                    </a:lnTo>
                    <a:lnTo>
                      <a:pt x="1188" y="200"/>
                    </a:lnTo>
                    <a:lnTo>
                      <a:pt x="1190" y="196"/>
                    </a:lnTo>
                    <a:lnTo>
                      <a:pt x="1192" y="192"/>
                    </a:lnTo>
                    <a:lnTo>
                      <a:pt x="1194" y="186"/>
                    </a:lnTo>
                    <a:lnTo>
                      <a:pt x="1194" y="178"/>
                    </a:lnTo>
                    <a:lnTo>
                      <a:pt x="1196" y="170"/>
                    </a:lnTo>
                    <a:lnTo>
                      <a:pt x="1198" y="166"/>
                    </a:lnTo>
                    <a:lnTo>
                      <a:pt x="1202" y="164"/>
                    </a:lnTo>
                    <a:lnTo>
                      <a:pt x="1206" y="160"/>
                    </a:lnTo>
                    <a:lnTo>
                      <a:pt x="1212" y="158"/>
                    </a:lnTo>
                    <a:lnTo>
                      <a:pt x="1234" y="156"/>
                    </a:lnTo>
                    <a:lnTo>
                      <a:pt x="1234" y="156"/>
                    </a:lnTo>
                    <a:lnTo>
                      <a:pt x="1272" y="152"/>
                    </a:lnTo>
                    <a:lnTo>
                      <a:pt x="1284" y="148"/>
                    </a:lnTo>
                    <a:lnTo>
                      <a:pt x="1290" y="146"/>
                    </a:lnTo>
                    <a:lnTo>
                      <a:pt x="1290" y="144"/>
                    </a:lnTo>
                    <a:lnTo>
                      <a:pt x="1290" y="142"/>
                    </a:lnTo>
                    <a:lnTo>
                      <a:pt x="1284" y="138"/>
                    </a:lnTo>
                    <a:lnTo>
                      <a:pt x="1274" y="136"/>
                    </a:lnTo>
                    <a:lnTo>
                      <a:pt x="1260" y="130"/>
                    </a:lnTo>
                    <a:lnTo>
                      <a:pt x="1260" y="130"/>
                    </a:lnTo>
                    <a:lnTo>
                      <a:pt x="1244" y="126"/>
                    </a:lnTo>
                    <a:lnTo>
                      <a:pt x="1236" y="124"/>
                    </a:lnTo>
                    <a:lnTo>
                      <a:pt x="1226" y="118"/>
                    </a:lnTo>
                    <a:lnTo>
                      <a:pt x="1224" y="116"/>
                    </a:lnTo>
                    <a:lnTo>
                      <a:pt x="1220" y="114"/>
                    </a:lnTo>
                    <a:lnTo>
                      <a:pt x="1202" y="114"/>
                    </a:lnTo>
                    <a:lnTo>
                      <a:pt x="1202" y="114"/>
                    </a:lnTo>
                    <a:lnTo>
                      <a:pt x="1190" y="112"/>
                    </a:lnTo>
                    <a:lnTo>
                      <a:pt x="1186" y="110"/>
                    </a:lnTo>
                    <a:lnTo>
                      <a:pt x="1184" y="106"/>
                    </a:lnTo>
                    <a:lnTo>
                      <a:pt x="1182" y="102"/>
                    </a:lnTo>
                    <a:lnTo>
                      <a:pt x="1182" y="96"/>
                    </a:lnTo>
                    <a:lnTo>
                      <a:pt x="1182" y="90"/>
                    </a:lnTo>
                    <a:lnTo>
                      <a:pt x="1178" y="84"/>
                    </a:lnTo>
                    <a:lnTo>
                      <a:pt x="1170" y="78"/>
                    </a:lnTo>
                    <a:lnTo>
                      <a:pt x="1170" y="78"/>
                    </a:lnTo>
                    <a:lnTo>
                      <a:pt x="1162" y="74"/>
                    </a:lnTo>
                    <a:lnTo>
                      <a:pt x="1156" y="76"/>
                    </a:lnTo>
                    <a:lnTo>
                      <a:pt x="1152" y="82"/>
                    </a:lnTo>
                    <a:lnTo>
                      <a:pt x="1148" y="88"/>
                    </a:lnTo>
                    <a:lnTo>
                      <a:pt x="1144" y="96"/>
                    </a:lnTo>
                    <a:lnTo>
                      <a:pt x="1144" y="98"/>
                    </a:lnTo>
                    <a:lnTo>
                      <a:pt x="1142" y="94"/>
                    </a:lnTo>
                    <a:lnTo>
                      <a:pt x="1142" y="94"/>
                    </a:lnTo>
                    <a:lnTo>
                      <a:pt x="1140" y="84"/>
                    </a:lnTo>
                    <a:lnTo>
                      <a:pt x="1140" y="78"/>
                    </a:lnTo>
                    <a:lnTo>
                      <a:pt x="1142" y="74"/>
                    </a:lnTo>
                    <a:lnTo>
                      <a:pt x="1144" y="70"/>
                    </a:lnTo>
                    <a:lnTo>
                      <a:pt x="1150" y="66"/>
                    </a:lnTo>
                    <a:lnTo>
                      <a:pt x="1152" y="64"/>
                    </a:lnTo>
                    <a:lnTo>
                      <a:pt x="1152" y="64"/>
                    </a:lnTo>
                    <a:lnTo>
                      <a:pt x="1152" y="64"/>
                    </a:lnTo>
                    <a:lnTo>
                      <a:pt x="1132" y="54"/>
                    </a:lnTo>
                    <a:lnTo>
                      <a:pt x="1124" y="50"/>
                    </a:lnTo>
                    <a:lnTo>
                      <a:pt x="1108" y="50"/>
                    </a:lnTo>
                    <a:lnTo>
                      <a:pt x="1108" y="50"/>
                    </a:lnTo>
                    <a:lnTo>
                      <a:pt x="1100" y="50"/>
                    </a:lnTo>
                    <a:lnTo>
                      <a:pt x="1092" y="48"/>
                    </a:lnTo>
                    <a:lnTo>
                      <a:pt x="1084" y="42"/>
                    </a:lnTo>
                    <a:lnTo>
                      <a:pt x="1080" y="40"/>
                    </a:lnTo>
                    <a:lnTo>
                      <a:pt x="1076" y="40"/>
                    </a:lnTo>
                    <a:lnTo>
                      <a:pt x="1070" y="40"/>
                    </a:lnTo>
                    <a:lnTo>
                      <a:pt x="1062" y="44"/>
                    </a:lnTo>
                    <a:lnTo>
                      <a:pt x="1062" y="44"/>
                    </a:lnTo>
                    <a:lnTo>
                      <a:pt x="1058" y="48"/>
                    </a:lnTo>
                    <a:lnTo>
                      <a:pt x="1056" y="54"/>
                    </a:lnTo>
                    <a:lnTo>
                      <a:pt x="1054" y="58"/>
                    </a:lnTo>
                    <a:lnTo>
                      <a:pt x="1056" y="66"/>
                    </a:lnTo>
                    <a:lnTo>
                      <a:pt x="1060" y="80"/>
                    </a:lnTo>
                    <a:lnTo>
                      <a:pt x="1068" y="94"/>
                    </a:lnTo>
                    <a:lnTo>
                      <a:pt x="1084" y="120"/>
                    </a:lnTo>
                    <a:lnTo>
                      <a:pt x="1086" y="130"/>
                    </a:lnTo>
                    <a:lnTo>
                      <a:pt x="1086" y="132"/>
                    </a:lnTo>
                    <a:lnTo>
                      <a:pt x="1084" y="132"/>
                    </a:lnTo>
                    <a:lnTo>
                      <a:pt x="1084" y="132"/>
                    </a:lnTo>
                    <a:lnTo>
                      <a:pt x="1080" y="132"/>
                    </a:lnTo>
                    <a:lnTo>
                      <a:pt x="1076" y="130"/>
                    </a:lnTo>
                    <a:lnTo>
                      <a:pt x="1068" y="122"/>
                    </a:lnTo>
                    <a:lnTo>
                      <a:pt x="1048" y="96"/>
                    </a:lnTo>
                    <a:lnTo>
                      <a:pt x="1036" y="82"/>
                    </a:lnTo>
                    <a:lnTo>
                      <a:pt x="1026" y="72"/>
                    </a:lnTo>
                    <a:lnTo>
                      <a:pt x="1020" y="68"/>
                    </a:lnTo>
                    <a:lnTo>
                      <a:pt x="1014" y="66"/>
                    </a:lnTo>
                    <a:lnTo>
                      <a:pt x="1008" y="64"/>
                    </a:lnTo>
                    <a:lnTo>
                      <a:pt x="1004" y="66"/>
                    </a:lnTo>
                    <a:lnTo>
                      <a:pt x="1004" y="66"/>
                    </a:lnTo>
                    <a:lnTo>
                      <a:pt x="998" y="68"/>
                    </a:lnTo>
                    <a:lnTo>
                      <a:pt x="994" y="70"/>
                    </a:lnTo>
                    <a:lnTo>
                      <a:pt x="990" y="78"/>
                    </a:lnTo>
                    <a:lnTo>
                      <a:pt x="988" y="88"/>
                    </a:lnTo>
                    <a:lnTo>
                      <a:pt x="986" y="96"/>
                    </a:lnTo>
                    <a:lnTo>
                      <a:pt x="986" y="108"/>
                    </a:lnTo>
                    <a:lnTo>
                      <a:pt x="984" y="106"/>
                    </a:lnTo>
                    <a:lnTo>
                      <a:pt x="980" y="100"/>
                    </a:lnTo>
                    <a:lnTo>
                      <a:pt x="980" y="100"/>
                    </a:lnTo>
                    <a:lnTo>
                      <a:pt x="974" y="90"/>
                    </a:lnTo>
                    <a:lnTo>
                      <a:pt x="968" y="84"/>
                    </a:lnTo>
                    <a:lnTo>
                      <a:pt x="960" y="80"/>
                    </a:lnTo>
                    <a:lnTo>
                      <a:pt x="954" y="78"/>
                    </a:lnTo>
                    <a:lnTo>
                      <a:pt x="950" y="76"/>
                    </a:lnTo>
                    <a:lnTo>
                      <a:pt x="948" y="76"/>
                    </a:lnTo>
                    <a:lnTo>
                      <a:pt x="960" y="72"/>
                    </a:lnTo>
                    <a:lnTo>
                      <a:pt x="960" y="72"/>
                    </a:lnTo>
                    <a:lnTo>
                      <a:pt x="972" y="70"/>
                    </a:lnTo>
                    <a:lnTo>
                      <a:pt x="978" y="66"/>
                    </a:lnTo>
                    <a:lnTo>
                      <a:pt x="984" y="62"/>
                    </a:lnTo>
                    <a:lnTo>
                      <a:pt x="984" y="60"/>
                    </a:lnTo>
                    <a:lnTo>
                      <a:pt x="982" y="56"/>
                    </a:lnTo>
                    <a:lnTo>
                      <a:pt x="978" y="56"/>
                    </a:lnTo>
                    <a:lnTo>
                      <a:pt x="970" y="56"/>
                    </a:lnTo>
                    <a:lnTo>
                      <a:pt x="958" y="60"/>
                    </a:lnTo>
                    <a:lnTo>
                      <a:pt x="958" y="60"/>
                    </a:lnTo>
                    <a:lnTo>
                      <a:pt x="946" y="62"/>
                    </a:lnTo>
                    <a:lnTo>
                      <a:pt x="938" y="62"/>
                    </a:lnTo>
                    <a:lnTo>
                      <a:pt x="934" y="62"/>
                    </a:lnTo>
                    <a:lnTo>
                      <a:pt x="930" y="58"/>
                    </a:lnTo>
                    <a:lnTo>
                      <a:pt x="928" y="56"/>
                    </a:lnTo>
                    <a:lnTo>
                      <a:pt x="926" y="56"/>
                    </a:lnTo>
                    <a:lnTo>
                      <a:pt x="922" y="58"/>
                    </a:lnTo>
                    <a:lnTo>
                      <a:pt x="916" y="60"/>
                    </a:lnTo>
                    <a:lnTo>
                      <a:pt x="916" y="60"/>
                    </a:lnTo>
                    <a:lnTo>
                      <a:pt x="908" y="64"/>
                    </a:lnTo>
                    <a:lnTo>
                      <a:pt x="904" y="64"/>
                    </a:lnTo>
                    <a:lnTo>
                      <a:pt x="902" y="64"/>
                    </a:lnTo>
                    <a:lnTo>
                      <a:pt x="900" y="60"/>
                    </a:lnTo>
                    <a:lnTo>
                      <a:pt x="896" y="58"/>
                    </a:lnTo>
                    <a:lnTo>
                      <a:pt x="892" y="58"/>
                    </a:lnTo>
                    <a:lnTo>
                      <a:pt x="884" y="60"/>
                    </a:lnTo>
                    <a:lnTo>
                      <a:pt x="874" y="64"/>
                    </a:lnTo>
                    <a:lnTo>
                      <a:pt x="874" y="64"/>
                    </a:lnTo>
                    <a:lnTo>
                      <a:pt x="862" y="72"/>
                    </a:lnTo>
                    <a:lnTo>
                      <a:pt x="856" y="78"/>
                    </a:lnTo>
                    <a:lnTo>
                      <a:pt x="854" y="82"/>
                    </a:lnTo>
                    <a:lnTo>
                      <a:pt x="854" y="88"/>
                    </a:lnTo>
                    <a:lnTo>
                      <a:pt x="858" y="92"/>
                    </a:lnTo>
                    <a:lnTo>
                      <a:pt x="862" y="98"/>
                    </a:lnTo>
                    <a:lnTo>
                      <a:pt x="872" y="112"/>
                    </a:lnTo>
                    <a:lnTo>
                      <a:pt x="872" y="112"/>
                    </a:lnTo>
                    <a:lnTo>
                      <a:pt x="878" y="116"/>
                    </a:lnTo>
                    <a:lnTo>
                      <a:pt x="884" y="118"/>
                    </a:lnTo>
                    <a:lnTo>
                      <a:pt x="890" y="114"/>
                    </a:lnTo>
                    <a:lnTo>
                      <a:pt x="894" y="110"/>
                    </a:lnTo>
                    <a:lnTo>
                      <a:pt x="902" y="104"/>
                    </a:lnTo>
                    <a:lnTo>
                      <a:pt x="902" y="104"/>
                    </a:lnTo>
                    <a:lnTo>
                      <a:pt x="902" y="108"/>
                    </a:lnTo>
                    <a:lnTo>
                      <a:pt x="902" y="108"/>
                    </a:lnTo>
                    <a:close/>
                    <a:moveTo>
                      <a:pt x="1272" y="818"/>
                    </a:moveTo>
                    <a:lnTo>
                      <a:pt x="1272" y="818"/>
                    </a:lnTo>
                    <a:lnTo>
                      <a:pt x="1272" y="818"/>
                    </a:lnTo>
                    <a:lnTo>
                      <a:pt x="1272" y="816"/>
                    </a:lnTo>
                    <a:lnTo>
                      <a:pt x="1270" y="814"/>
                    </a:lnTo>
                    <a:lnTo>
                      <a:pt x="1266" y="812"/>
                    </a:lnTo>
                    <a:lnTo>
                      <a:pt x="1264" y="814"/>
                    </a:lnTo>
                    <a:lnTo>
                      <a:pt x="1264" y="814"/>
                    </a:lnTo>
                    <a:lnTo>
                      <a:pt x="1264" y="818"/>
                    </a:lnTo>
                    <a:lnTo>
                      <a:pt x="1264" y="820"/>
                    </a:lnTo>
                    <a:lnTo>
                      <a:pt x="1272" y="818"/>
                    </a:lnTo>
                    <a:lnTo>
                      <a:pt x="1272" y="818"/>
                    </a:lnTo>
                    <a:close/>
                    <a:moveTo>
                      <a:pt x="1168" y="848"/>
                    </a:moveTo>
                    <a:lnTo>
                      <a:pt x="1168" y="848"/>
                    </a:lnTo>
                    <a:lnTo>
                      <a:pt x="1176" y="848"/>
                    </a:lnTo>
                    <a:lnTo>
                      <a:pt x="1180" y="848"/>
                    </a:lnTo>
                    <a:lnTo>
                      <a:pt x="1182" y="844"/>
                    </a:lnTo>
                    <a:lnTo>
                      <a:pt x="1182" y="844"/>
                    </a:lnTo>
                    <a:lnTo>
                      <a:pt x="1184" y="840"/>
                    </a:lnTo>
                    <a:lnTo>
                      <a:pt x="1190" y="836"/>
                    </a:lnTo>
                    <a:lnTo>
                      <a:pt x="1192" y="834"/>
                    </a:lnTo>
                    <a:lnTo>
                      <a:pt x="1192" y="832"/>
                    </a:lnTo>
                    <a:lnTo>
                      <a:pt x="1192" y="830"/>
                    </a:lnTo>
                    <a:lnTo>
                      <a:pt x="1188" y="828"/>
                    </a:lnTo>
                    <a:lnTo>
                      <a:pt x="1188" y="828"/>
                    </a:lnTo>
                    <a:lnTo>
                      <a:pt x="1182" y="826"/>
                    </a:lnTo>
                    <a:lnTo>
                      <a:pt x="1180" y="826"/>
                    </a:lnTo>
                    <a:lnTo>
                      <a:pt x="1180" y="828"/>
                    </a:lnTo>
                    <a:lnTo>
                      <a:pt x="1176" y="830"/>
                    </a:lnTo>
                    <a:lnTo>
                      <a:pt x="1176" y="830"/>
                    </a:lnTo>
                    <a:lnTo>
                      <a:pt x="1174" y="830"/>
                    </a:lnTo>
                    <a:lnTo>
                      <a:pt x="1172" y="832"/>
                    </a:lnTo>
                    <a:lnTo>
                      <a:pt x="1172" y="832"/>
                    </a:lnTo>
                    <a:lnTo>
                      <a:pt x="1170" y="832"/>
                    </a:lnTo>
                    <a:lnTo>
                      <a:pt x="1170" y="832"/>
                    </a:lnTo>
                    <a:lnTo>
                      <a:pt x="1166" y="832"/>
                    </a:lnTo>
                    <a:lnTo>
                      <a:pt x="1164" y="832"/>
                    </a:lnTo>
                    <a:lnTo>
                      <a:pt x="1162" y="834"/>
                    </a:lnTo>
                    <a:lnTo>
                      <a:pt x="1162" y="838"/>
                    </a:lnTo>
                    <a:lnTo>
                      <a:pt x="1162" y="838"/>
                    </a:lnTo>
                    <a:lnTo>
                      <a:pt x="1160" y="842"/>
                    </a:lnTo>
                    <a:lnTo>
                      <a:pt x="1156" y="842"/>
                    </a:lnTo>
                    <a:lnTo>
                      <a:pt x="1154" y="842"/>
                    </a:lnTo>
                    <a:lnTo>
                      <a:pt x="1152" y="844"/>
                    </a:lnTo>
                    <a:lnTo>
                      <a:pt x="1152" y="844"/>
                    </a:lnTo>
                    <a:lnTo>
                      <a:pt x="1152" y="846"/>
                    </a:lnTo>
                    <a:lnTo>
                      <a:pt x="1154" y="848"/>
                    </a:lnTo>
                    <a:lnTo>
                      <a:pt x="1168" y="848"/>
                    </a:lnTo>
                    <a:lnTo>
                      <a:pt x="1168" y="848"/>
                    </a:lnTo>
                    <a:close/>
                    <a:moveTo>
                      <a:pt x="1214" y="822"/>
                    </a:moveTo>
                    <a:lnTo>
                      <a:pt x="1214" y="822"/>
                    </a:lnTo>
                    <a:lnTo>
                      <a:pt x="1218" y="816"/>
                    </a:lnTo>
                    <a:lnTo>
                      <a:pt x="1218" y="814"/>
                    </a:lnTo>
                    <a:lnTo>
                      <a:pt x="1216" y="814"/>
                    </a:lnTo>
                    <a:lnTo>
                      <a:pt x="1216" y="814"/>
                    </a:lnTo>
                    <a:lnTo>
                      <a:pt x="1212" y="812"/>
                    </a:lnTo>
                    <a:lnTo>
                      <a:pt x="1208" y="814"/>
                    </a:lnTo>
                    <a:lnTo>
                      <a:pt x="1206" y="814"/>
                    </a:lnTo>
                    <a:lnTo>
                      <a:pt x="1202" y="812"/>
                    </a:lnTo>
                    <a:lnTo>
                      <a:pt x="1202" y="812"/>
                    </a:lnTo>
                    <a:lnTo>
                      <a:pt x="1198" y="810"/>
                    </a:lnTo>
                    <a:lnTo>
                      <a:pt x="1198" y="810"/>
                    </a:lnTo>
                    <a:lnTo>
                      <a:pt x="1196" y="812"/>
                    </a:lnTo>
                    <a:lnTo>
                      <a:pt x="1192" y="814"/>
                    </a:lnTo>
                    <a:lnTo>
                      <a:pt x="1192" y="814"/>
                    </a:lnTo>
                    <a:lnTo>
                      <a:pt x="1190" y="814"/>
                    </a:lnTo>
                    <a:lnTo>
                      <a:pt x="1188" y="814"/>
                    </a:lnTo>
                    <a:lnTo>
                      <a:pt x="1188" y="816"/>
                    </a:lnTo>
                    <a:lnTo>
                      <a:pt x="1184" y="820"/>
                    </a:lnTo>
                    <a:lnTo>
                      <a:pt x="1184" y="820"/>
                    </a:lnTo>
                    <a:lnTo>
                      <a:pt x="1182" y="822"/>
                    </a:lnTo>
                    <a:lnTo>
                      <a:pt x="1184" y="824"/>
                    </a:lnTo>
                    <a:lnTo>
                      <a:pt x="1190" y="824"/>
                    </a:lnTo>
                    <a:lnTo>
                      <a:pt x="1196" y="828"/>
                    </a:lnTo>
                    <a:lnTo>
                      <a:pt x="1196" y="828"/>
                    </a:lnTo>
                    <a:lnTo>
                      <a:pt x="1200" y="830"/>
                    </a:lnTo>
                    <a:lnTo>
                      <a:pt x="1204" y="830"/>
                    </a:lnTo>
                    <a:lnTo>
                      <a:pt x="1214" y="822"/>
                    </a:lnTo>
                    <a:lnTo>
                      <a:pt x="1214" y="822"/>
                    </a:lnTo>
                    <a:close/>
                    <a:moveTo>
                      <a:pt x="1352" y="792"/>
                    </a:moveTo>
                    <a:lnTo>
                      <a:pt x="1352" y="792"/>
                    </a:lnTo>
                    <a:lnTo>
                      <a:pt x="1348" y="790"/>
                    </a:lnTo>
                    <a:lnTo>
                      <a:pt x="1344" y="788"/>
                    </a:lnTo>
                    <a:lnTo>
                      <a:pt x="1338" y="788"/>
                    </a:lnTo>
                    <a:lnTo>
                      <a:pt x="1330" y="790"/>
                    </a:lnTo>
                    <a:lnTo>
                      <a:pt x="1330" y="790"/>
                    </a:lnTo>
                    <a:lnTo>
                      <a:pt x="1328" y="792"/>
                    </a:lnTo>
                    <a:lnTo>
                      <a:pt x="1330" y="794"/>
                    </a:lnTo>
                    <a:lnTo>
                      <a:pt x="1340" y="798"/>
                    </a:lnTo>
                    <a:lnTo>
                      <a:pt x="1350" y="796"/>
                    </a:lnTo>
                    <a:lnTo>
                      <a:pt x="1352" y="796"/>
                    </a:lnTo>
                    <a:lnTo>
                      <a:pt x="1352" y="792"/>
                    </a:lnTo>
                    <a:lnTo>
                      <a:pt x="1352" y="792"/>
                    </a:lnTo>
                    <a:close/>
                    <a:moveTo>
                      <a:pt x="1326" y="780"/>
                    </a:moveTo>
                    <a:lnTo>
                      <a:pt x="1326" y="780"/>
                    </a:lnTo>
                    <a:lnTo>
                      <a:pt x="1330" y="778"/>
                    </a:lnTo>
                    <a:lnTo>
                      <a:pt x="1334" y="776"/>
                    </a:lnTo>
                    <a:lnTo>
                      <a:pt x="1338" y="776"/>
                    </a:lnTo>
                    <a:lnTo>
                      <a:pt x="1342" y="776"/>
                    </a:lnTo>
                    <a:lnTo>
                      <a:pt x="1342" y="776"/>
                    </a:lnTo>
                    <a:lnTo>
                      <a:pt x="1346" y="778"/>
                    </a:lnTo>
                    <a:lnTo>
                      <a:pt x="1350" y="776"/>
                    </a:lnTo>
                    <a:lnTo>
                      <a:pt x="1364" y="766"/>
                    </a:lnTo>
                    <a:lnTo>
                      <a:pt x="1364" y="766"/>
                    </a:lnTo>
                    <a:lnTo>
                      <a:pt x="1372" y="760"/>
                    </a:lnTo>
                    <a:lnTo>
                      <a:pt x="1372" y="758"/>
                    </a:lnTo>
                    <a:lnTo>
                      <a:pt x="1372" y="756"/>
                    </a:lnTo>
                    <a:lnTo>
                      <a:pt x="1368" y="756"/>
                    </a:lnTo>
                    <a:lnTo>
                      <a:pt x="1362" y="756"/>
                    </a:lnTo>
                    <a:lnTo>
                      <a:pt x="1362" y="756"/>
                    </a:lnTo>
                    <a:lnTo>
                      <a:pt x="1356" y="758"/>
                    </a:lnTo>
                    <a:lnTo>
                      <a:pt x="1358" y="760"/>
                    </a:lnTo>
                    <a:lnTo>
                      <a:pt x="1358" y="762"/>
                    </a:lnTo>
                    <a:lnTo>
                      <a:pt x="1356" y="764"/>
                    </a:lnTo>
                    <a:lnTo>
                      <a:pt x="1356" y="764"/>
                    </a:lnTo>
                    <a:lnTo>
                      <a:pt x="1350" y="762"/>
                    </a:lnTo>
                    <a:lnTo>
                      <a:pt x="1348" y="762"/>
                    </a:lnTo>
                    <a:lnTo>
                      <a:pt x="1346" y="762"/>
                    </a:lnTo>
                    <a:lnTo>
                      <a:pt x="1342" y="766"/>
                    </a:lnTo>
                    <a:lnTo>
                      <a:pt x="1342" y="766"/>
                    </a:lnTo>
                    <a:lnTo>
                      <a:pt x="1342" y="770"/>
                    </a:lnTo>
                    <a:lnTo>
                      <a:pt x="1340" y="768"/>
                    </a:lnTo>
                    <a:lnTo>
                      <a:pt x="1338" y="766"/>
                    </a:lnTo>
                    <a:lnTo>
                      <a:pt x="1332" y="766"/>
                    </a:lnTo>
                    <a:lnTo>
                      <a:pt x="1332" y="766"/>
                    </a:lnTo>
                    <a:lnTo>
                      <a:pt x="1318" y="770"/>
                    </a:lnTo>
                    <a:lnTo>
                      <a:pt x="1314" y="774"/>
                    </a:lnTo>
                    <a:lnTo>
                      <a:pt x="1318" y="776"/>
                    </a:lnTo>
                    <a:lnTo>
                      <a:pt x="1318" y="776"/>
                    </a:lnTo>
                    <a:lnTo>
                      <a:pt x="1320" y="776"/>
                    </a:lnTo>
                    <a:lnTo>
                      <a:pt x="1322" y="778"/>
                    </a:lnTo>
                    <a:lnTo>
                      <a:pt x="1320" y="780"/>
                    </a:lnTo>
                    <a:lnTo>
                      <a:pt x="1320" y="780"/>
                    </a:lnTo>
                    <a:lnTo>
                      <a:pt x="1326" y="780"/>
                    </a:lnTo>
                    <a:lnTo>
                      <a:pt x="1326" y="780"/>
                    </a:lnTo>
                    <a:close/>
                    <a:moveTo>
                      <a:pt x="1414" y="220"/>
                    </a:moveTo>
                    <a:lnTo>
                      <a:pt x="1414" y="220"/>
                    </a:lnTo>
                    <a:lnTo>
                      <a:pt x="1408" y="216"/>
                    </a:lnTo>
                    <a:lnTo>
                      <a:pt x="1402" y="216"/>
                    </a:lnTo>
                    <a:lnTo>
                      <a:pt x="1392" y="218"/>
                    </a:lnTo>
                    <a:lnTo>
                      <a:pt x="1388" y="220"/>
                    </a:lnTo>
                    <a:lnTo>
                      <a:pt x="1382" y="220"/>
                    </a:lnTo>
                    <a:lnTo>
                      <a:pt x="1374" y="218"/>
                    </a:lnTo>
                    <a:lnTo>
                      <a:pt x="1364" y="214"/>
                    </a:lnTo>
                    <a:lnTo>
                      <a:pt x="1364" y="214"/>
                    </a:lnTo>
                    <a:lnTo>
                      <a:pt x="1356" y="208"/>
                    </a:lnTo>
                    <a:lnTo>
                      <a:pt x="1354" y="204"/>
                    </a:lnTo>
                    <a:lnTo>
                      <a:pt x="1356" y="200"/>
                    </a:lnTo>
                    <a:lnTo>
                      <a:pt x="1360" y="198"/>
                    </a:lnTo>
                    <a:lnTo>
                      <a:pt x="1370" y="194"/>
                    </a:lnTo>
                    <a:lnTo>
                      <a:pt x="1370" y="192"/>
                    </a:lnTo>
                    <a:lnTo>
                      <a:pt x="1366" y="190"/>
                    </a:lnTo>
                    <a:lnTo>
                      <a:pt x="1366" y="190"/>
                    </a:lnTo>
                    <a:lnTo>
                      <a:pt x="1354" y="188"/>
                    </a:lnTo>
                    <a:lnTo>
                      <a:pt x="1336" y="188"/>
                    </a:lnTo>
                    <a:lnTo>
                      <a:pt x="1316" y="188"/>
                    </a:lnTo>
                    <a:lnTo>
                      <a:pt x="1296" y="190"/>
                    </a:lnTo>
                    <a:lnTo>
                      <a:pt x="1280" y="194"/>
                    </a:lnTo>
                    <a:lnTo>
                      <a:pt x="1274" y="196"/>
                    </a:lnTo>
                    <a:lnTo>
                      <a:pt x="1270" y="198"/>
                    </a:lnTo>
                    <a:lnTo>
                      <a:pt x="1270" y="202"/>
                    </a:lnTo>
                    <a:lnTo>
                      <a:pt x="1272" y="204"/>
                    </a:lnTo>
                    <a:lnTo>
                      <a:pt x="1276" y="208"/>
                    </a:lnTo>
                    <a:lnTo>
                      <a:pt x="1286" y="212"/>
                    </a:lnTo>
                    <a:lnTo>
                      <a:pt x="1286" y="212"/>
                    </a:lnTo>
                    <a:lnTo>
                      <a:pt x="1292" y="214"/>
                    </a:lnTo>
                    <a:lnTo>
                      <a:pt x="1292" y="216"/>
                    </a:lnTo>
                    <a:lnTo>
                      <a:pt x="1292" y="218"/>
                    </a:lnTo>
                    <a:lnTo>
                      <a:pt x="1286" y="224"/>
                    </a:lnTo>
                    <a:lnTo>
                      <a:pt x="1272" y="236"/>
                    </a:lnTo>
                    <a:lnTo>
                      <a:pt x="1272" y="236"/>
                    </a:lnTo>
                    <a:lnTo>
                      <a:pt x="1264" y="242"/>
                    </a:lnTo>
                    <a:lnTo>
                      <a:pt x="1262" y="246"/>
                    </a:lnTo>
                    <a:lnTo>
                      <a:pt x="1264" y="248"/>
                    </a:lnTo>
                    <a:lnTo>
                      <a:pt x="1270" y="250"/>
                    </a:lnTo>
                    <a:lnTo>
                      <a:pt x="1288" y="250"/>
                    </a:lnTo>
                    <a:lnTo>
                      <a:pt x="1314" y="246"/>
                    </a:lnTo>
                    <a:lnTo>
                      <a:pt x="1314" y="246"/>
                    </a:lnTo>
                    <a:lnTo>
                      <a:pt x="1324" y="248"/>
                    </a:lnTo>
                    <a:lnTo>
                      <a:pt x="1328" y="248"/>
                    </a:lnTo>
                    <a:lnTo>
                      <a:pt x="1328" y="250"/>
                    </a:lnTo>
                    <a:lnTo>
                      <a:pt x="1328" y="256"/>
                    </a:lnTo>
                    <a:lnTo>
                      <a:pt x="1328" y="260"/>
                    </a:lnTo>
                    <a:lnTo>
                      <a:pt x="1326" y="264"/>
                    </a:lnTo>
                    <a:lnTo>
                      <a:pt x="1326" y="266"/>
                    </a:lnTo>
                    <a:lnTo>
                      <a:pt x="1328" y="266"/>
                    </a:lnTo>
                    <a:lnTo>
                      <a:pt x="1336" y="266"/>
                    </a:lnTo>
                    <a:lnTo>
                      <a:pt x="1350" y="260"/>
                    </a:lnTo>
                    <a:lnTo>
                      <a:pt x="1350" y="260"/>
                    </a:lnTo>
                    <a:lnTo>
                      <a:pt x="1376" y="250"/>
                    </a:lnTo>
                    <a:lnTo>
                      <a:pt x="1402" y="238"/>
                    </a:lnTo>
                    <a:lnTo>
                      <a:pt x="1412" y="234"/>
                    </a:lnTo>
                    <a:lnTo>
                      <a:pt x="1418" y="228"/>
                    </a:lnTo>
                    <a:lnTo>
                      <a:pt x="1420" y="226"/>
                    </a:lnTo>
                    <a:lnTo>
                      <a:pt x="1420" y="224"/>
                    </a:lnTo>
                    <a:lnTo>
                      <a:pt x="1418" y="222"/>
                    </a:lnTo>
                    <a:lnTo>
                      <a:pt x="1414" y="220"/>
                    </a:lnTo>
                    <a:lnTo>
                      <a:pt x="1414" y="220"/>
                    </a:lnTo>
                    <a:close/>
                    <a:moveTo>
                      <a:pt x="1370" y="792"/>
                    </a:moveTo>
                    <a:lnTo>
                      <a:pt x="1370" y="792"/>
                    </a:lnTo>
                    <a:lnTo>
                      <a:pt x="1378" y="782"/>
                    </a:lnTo>
                    <a:lnTo>
                      <a:pt x="1380" y="776"/>
                    </a:lnTo>
                    <a:lnTo>
                      <a:pt x="1378" y="774"/>
                    </a:lnTo>
                    <a:lnTo>
                      <a:pt x="1376" y="772"/>
                    </a:lnTo>
                    <a:lnTo>
                      <a:pt x="1376" y="772"/>
                    </a:lnTo>
                    <a:lnTo>
                      <a:pt x="1372" y="770"/>
                    </a:lnTo>
                    <a:lnTo>
                      <a:pt x="1372" y="770"/>
                    </a:lnTo>
                    <a:lnTo>
                      <a:pt x="1370" y="774"/>
                    </a:lnTo>
                    <a:lnTo>
                      <a:pt x="1362" y="776"/>
                    </a:lnTo>
                    <a:lnTo>
                      <a:pt x="1362" y="776"/>
                    </a:lnTo>
                    <a:lnTo>
                      <a:pt x="1354" y="780"/>
                    </a:lnTo>
                    <a:lnTo>
                      <a:pt x="1350" y="784"/>
                    </a:lnTo>
                    <a:lnTo>
                      <a:pt x="1350" y="786"/>
                    </a:lnTo>
                    <a:lnTo>
                      <a:pt x="1350" y="788"/>
                    </a:lnTo>
                    <a:lnTo>
                      <a:pt x="1356" y="792"/>
                    </a:lnTo>
                    <a:lnTo>
                      <a:pt x="1356" y="792"/>
                    </a:lnTo>
                    <a:lnTo>
                      <a:pt x="1364" y="794"/>
                    </a:lnTo>
                    <a:lnTo>
                      <a:pt x="1366" y="794"/>
                    </a:lnTo>
                    <a:lnTo>
                      <a:pt x="1370" y="792"/>
                    </a:lnTo>
                    <a:lnTo>
                      <a:pt x="1370" y="792"/>
                    </a:lnTo>
                    <a:close/>
                    <a:moveTo>
                      <a:pt x="1388" y="762"/>
                    </a:moveTo>
                    <a:lnTo>
                      <a:pt x="1388" y="762"/>
                    </a:lnTo>
                    <a:lnTo>
                      <a:pt x="1384" y="762"/>
                    </a:lnTo>
                    <a:lnTo>
                      <a:pt x="1380" y="764"/>
                    </a:lnTo>
                    <a:lnTo>
                      <a:pt x="1380" y="766"/>
                    </a:lnTo>
                    <a:lnTo>
                      <a:pt x="1380" y="770"/>
                    </a:lnTo>
                    <a:lnTo>
                      <a:pt x="1384" y="776"/>
                    </a:lnTo>
                    <a:lnTo>
                      <a:pt x="1386" y="778"/>
                    </a:lnTo>
                    <a:lnTo>
                      <a:pt x="1388" y="778"/>
                    </a:lnTo>
                    <a:lnTo>
                      <a:pt x="1388" y="778"/>
                    </a:lnTo>
                    <a:lnTo>
                      <a:pt x="1394" y="776"/>
                    </a:lnTo>
                    <a:lnTo>
                      <a:pt x="1396" y="772"/>
                    </a:lnTo>
                    <a:lnTo>
                      <a:pt x="1396" y="770"/>
                    </a:lnTo>
                    <a:lnTo>
                      <a:pt x="1396" y="766"/>
                    </a:lnTo>
                    <a:lnTo>
                      <a:pt x="1392" y="764"/>
                    </a:lnTo>
                    <a:lnTo>
                      <a:pt x="1388" y="762"/>
                    </a:lnTo>
                    <a:lnTo>
                      <a:pt x="1388" y="762"/>
                    </a:lnTo>
                    <a:close/>
                    <a:moveTo>
                      <a:pt x="1264" y="804"/>
                    </a:moveTo>
                    <a:lnTo>
                      <a:pt x="1264" y="804"/>
                    </a:lnTo>
                    <a:lnTo>
                      <a:pt x="1264" y="800"/>
                    </a:lnTo>
                    <a:lnTo>
                      <a:pt x="1262" y="798"/>
                    </a:lnTo>
                    <a:lnTo>
                      <a:pt x="1258" y="798"/>
                    </a:lnTo>
                    <a:lnTo>
                      <a:pt x="1252" y="802"/>
                    </a:lnTo>
                    <a:lnTo>
                      <a:pt x="1252" y="802"/>
                    </a:lnTo>
                    <a:lnTo>
                      <a:pt x="1248" y="804"/>
                    </a:lnTo>
                    <a:lnTo>
                      <a:pt x="1248" y="808"/>
                    </a:lnTo>
                    <a:lnTo>
                      <a:pt x="1250" y="810"/>
                    </a:lnTo>
                    <a:lnTo>
                      <a:pt x="1254" y="812"/>
                    </a:lnTo>
                    <a:lnTo>
                      <a:pt x="1254" y="812"/>
                    </a:lnTo>
                    <a:lnTo>
                      <a:pt x="1260" y="814"/>
                    </a:lnTo>
                    <a:lnTo>
                      <a:pt x="1262" y="812"/>
                    </a:lnTo>
                    <a:lnTo>
                      <a:pt x="1264" y="804"/>
                    </a:lnTo>
                    <a:lnTo>
                      <a:pt x="1264" y="804"/>
                    </a:lnTo>
                    <a:close/>
                    <a:moveTo>
                      <a:pt x="1102" y="904"/>
                    </a:moveTo>
                    <a:lnTo>
                      <a:pt x="1102" y="904"/>
                    </a:lnTo>
                    <a:lnTo>
                      <a:pt x="1102" y="908"/>
                    </a:lnTo>
                    <a:lnTo>
                      <a:pt x="1104" y="908"/>
                    </a:lnTo>
                    <a:lnTo>
                      <a:pt x="1112" y="908"/>
                    </a:lnTo>
                    <a:lnTo>
                      <a:pt x="1112" y="908"/>
                    </a:lnTo>
                    <a:lnTo>
                      <a:pt x="1114" y="906"/>
                    </a:lnTo>
                    <a:lnTo>
                      <a:pt x="1114" y="906"/>
                    </a:lnTo>
                    <a:lnTo>
                      <a:pt x="1112" y="902"/>
                    </a:lnTo>
                    <a:lnTo>
                      <a:pt x="1106" y="902"/>
                    </a:lnTo>
                    <a:lnTo>
                      <a:pt x="1104" y="902"/>
                    </a:lnTo>
                    <a:lnTo>
                      <a:pt x="1102" y="904"/>
                    </a:lnTo>
                    <a:lnTo>
                      <a:pt x="1102" y="904"/>
                    </a:lnTo>
                    <a:close/>
                    <a:moveTo>
                      <a:pt x="1116" y="898"/>
                    </a:moveTo>
                    <a:lnTo>
                      <a:pt x="1116" y="898"/>
                    </a:lnTo>
                    <a:lnTo>
                      <a:pt x="1120" y="900"/>
                    </a:lnTo>
                    <a:lnTo>
                      <a:pt x="1122" y="898"/>
                    </a:lnTo>
                    <a:lnTo>
                      <a:pt x="1124" y="896"/>
                    </a:lnTo>
                    <a:lnTo>
                      <a:pt x="1124" y="894"/>
                    </a:lnTo>
                    <a:lnTo>
                      <a:pt x="1124" y="894"/>
                    </a:lnTo>
                    <a:lnTo>
                      <a:pt x="1120" y="892"/>
                    </a:lnTo>
                    <a:lnTo>
                      <a:pt x="1116" y="894"/>
                    </a:lnTo>
                    <a:lnTo>
                      <a:pt x="1114" y="896"/>
                    </a:lnTo>
                    <a:lnTo>
                      <a:pt x="1116" y="898"/>
                    </a:lnTo>
                    <a:lnTo>
                      <a:pt x="1116" y="898"/>
                    </a:lnTo>
                    <a:close/>
                    <a:moveTo>
                      <a:pt x="1150" y="850"/>
                    </a:moveTo>
                    <a:lnTo>
                      <a:pt x="1150" y="850"/>
                    </a:lnTo>
                    <a:lnTo>
                      <a:pt x="1148" y="850"/>
                    </a:lnTo>
                    <a:lnTo>
                      <a:pt x="1148" y="848"/>
                    </a:lnTo>
                    <a:lnTo>
                      <a:pt x="1146" y="846"/>
                    </a:lnTo>
                    <a:lnTo>
                      <a:pt x="1144" y="846"/>
                    </a:lnTo>
                    <a:lnTo>
                      <a:pt x="1144" y="846"/>
                    </a:lnTo>
                    <a:lnTo>
                      <a:pt x="1142" y="848"/>
                    </a:lnTo>
                    <a:lnTo>
                      <a:pt x="1140" y="846"/>
                    </a:lnTo>
                    <a:lnTo>
                      <a:pt x="1138" y="844"/>
                    </a:lnTo>
                    <a:lnTo>
                      <a:pt x="1136" y="846"/>
                    </a:lnTo>
                    <a:lnTo>
                      <a:pt x="1136" y="846"/>
                    </a:lnTo>
                    <a:lnTo>
                      <a:pt x="1136" y="848"/>
                    </a:lnTo>
                    <a:lnTo>
                      <a:pt x="1132" y="848"/>
                    </a:lnTo>
                    <a:lnTo>
                      <a:pt x="1130" y="846"/>
                    </a:lnTo>
                    <a:lnTo>
                      <a:pt x="1130" y="850"/>
                    </a:lnTo>
                    <a:lnTo>
                      <a:pt x="1130" y="850"/>
                    </a:lnTo>
                    <a:lnTo>
                      <a:pt x="1130" y="852"/>
                    </a:lnTo>
                    <a:lnTo>
                      <a:pt x="1128" y="850"/>
                    </a:lnTo>
                    <a:lnTo>
                      <a:pt x="1124" y="850"/>
                    </a:lnTo>
                    <a:lnTo>
                      <a:pt x="1120" y="850"/>
                    </a:lnTo>
                    <a:lnTo>
                      <a:pt x="1120" y="850"/>
                    </a:lnTo>
                    <a:lnTo>
                      <a:pt x="1118" y="854"/>
                    </a:lnTo>
                    <a:lnTo>
                      <a:pt x="1120" y="856"/>
                    </a:lnTo>
                    <a:lnTo>
                      <a:pt x="1124" y="856"/>
                    </a:lnTo>
                    <a:lnTo>
                      <a:pt x="1124" y="858"/>
                    </a:lnTo>
                    <a:lnTo>
                      <a:pt x="1124" y="858"/>
                    </a:lnTo>
                    <a:lnTo>
                      <a:pt x="1120" y="860"/>
                    </a:lnTo>
                    <a:lnTo>
                      <a:pt x="1114" y="860"/>
                    </a:lnTo>
                    <a:lnTo>
                      <a:pt x="1108" y="860"/>
                    </a:lnTo>
                    <a:lnTo>
                      <a:pt x="1108" y="862"/>
                    </a:lnTo>
                    <a:lnTo>
                      <a:pt x="1110" y="862"/>
                    </a:lnTo>
                    <a:lnTo>
                      <a:pt x="1110" y="862"/>
                    </a:lnTo>
                    <a:lnTo>
                      <a:pt x="1110" y="864"/>
                    </a:lnTo>
                    <a:lnTo>
                      <a:pt x="1108" y="866"/>
                    </a:lnTo>
                    <a:lnTo>
                      <a:pt x="1106" y="866"/>
                    </a:lnTo>
                    <a:lnTo>
                      <a:pt x="1108" y="868"/>
                    </a:lnTo>
                    <a:lnTo>
                      <a:pt x="1108" y="868"/>
                    </a:lnTo>
                    <a:lnTo>
                      <a:pt x="1110" y="870"/>
                    </a:lnTo>
                    <a:lnTo>
                      <a:pt x="1108" y="870"/>
                    </a:lnTo>
                    <a:lnTo>
                      <a:pt x="1108" y="872"/>
                    </a:lnTo>
                    <a:lnTo>
                      <a:pt x="1108" y="874"/>
                    </a:lnTo>
                    <a:lnTo>
                      <a:pt x="1108" y="874"/>
                    </a:lnTo>
                    <a:lnTo>
                      <a:pt x="1108" y="876"/>
                    </a:lnTo>
                    <a:lnTo>
                      <a:pt x="1108" y="878"/>
                    </a:lnTo>
                    <a:lnTo>
                      <a:pt x="1106" y="880"/>
                    </a:lnTo>
                    <a:lnTo>
                      <a:pt x="1104" y="882"/>
                    </a:lnTo>
                    <a:lnTo>
                      <a:pt x="1108" y="884"/>
                    </a:lnTo>
                    <a:lnTo>
                      <a:pt x="1108" y="884"/>
                    </a:lnTo>
                    <a:lnTo>
                      <a:pt x="1114" y="884"/>
                    </a:lnTo>
                    <a:lnTo>
                      <a:pt x="1114" y="886"/>
                    </a:lnTo>
                    <a:lnTo>
                      <a:pt x="1114" y="888"/>
                    </a:lnTo>
                    <a:lnTo>
                      <a:pt x="1116" y="888"/>
                    </a:lnTo>
                    <a:lnTo>
                      <a:pt x="1116" y="888"/>
                    </a:lnTo>
                    <a:lnTo>
                      <a:pt x="1120" y="884"/>
                    </a:lnTo>
                    <a:lnTo>
                      <a:pt x="1122" y="880"/>
                    </a:lnTo>
                    <a:lnTo>
                      <a:pt x="1126" y="876"/>
                    </a:lnTo>
                    <a:lnTo>
                      <a:pt x="1130" y="874"/>
                    </a:lnTo>
                    <a:lnTo>
                      <a:pt x="1130" y="874"/>
                    </a:lnTo>
                    <a:lnTo>
                      <a:pt x="1132" y="876"/>
                    </a:lnTo>
                    <a:lnTo>
                      <a:pt x="1132" y="878"/>
                    </a:lnTo>
                    <a:lnTo>
                      <a:pt x="1134" y="878"/>
                    </a:lnTo>
                    <a:lnTo>
                      <a:pt x="1142" y="878"/>
                    </a:lnTo>
                    <a:lnTo>
                      <a:pt x="1142" y="878"/>
                    </a:lnTo>
                    <a:lnTo>
                      <a:pt x="1146" y="876"/>
                    </a:lnTo>
                    <a:lnTo>
                      <a:pt x="1148" y="874"/>
                    </a:lnTo>
                    <a:lnTo>
                      <a:pt x="1146" y="870"/>
                    </a:lnTo>
                    <a:lnTo>
                      <a:pt x="1146" y="870"/>
                    </a:lnTo>
                    <a:lnTo>
                      <a:pt x="1146" y="866"/>
                    </a:lnTo>
                    <a:lnTo>
                      <a:pt x="1148" y="864"/>
                    </a:lnTo>
                    <a:lnTo>
                      <a:pt x="1150" y="862"/>
                    </a:lnTo>
                    <a:lnTo>
                      <a:pt x="1150" y="860"/>
                    </a:lnTo>
                    <a:lnTo>
                      <a:pt x="1150" y="860"/>
                    </a:lnTo>
                    <a:lnTo>
                      <a:pt x="1152" y="852"/>
                    </a:lnTo>
                    <a:lnTo>
                      <a:pt x="1152" y="850"/>
                    </a:lnTo>
                    <a:lnTo>
                      <a:pt x="1150" y="850"/>
                    </a:lnTo>
                    <a:lnTo>
                      <a:pt x="1150" y="850"/>
                    </a:lnTo>
                    <a:close/>
                    <a:moveTo>
                      <a:pt x="1254" y="830"/>
                    </a:moveTo>
                    <a:lnTo>
                      <a:pt x="1254" y="830"/>
                    </a:lnTo>
                    <a:lnTo>
                      <a:pt x="1260" y="826"/>
                    </a:lnTo>
                    <a:lnTo>
                      <a:pt x="1262" y="824"/>
                    </a:lnTo>
                    <a:lnTo>
                      <a:pt x="1260" y="820"/>
                    </a:lnTo>
                    <a:lnTo>
                      <a:pt x="1260" y="820"/>
                    </a:lnTo>
                    <a:lnTo>
                      <a:pt x="1258" y="822"/>
                    </a:lnTo>
                    <a:lnTo>
                      <a:pt x="1256" y="826"/>
                    </a:lnTo>
                    <a:lnTo>
                      <a:pt x="1254" y="830"/>
                    </a:lnTo>
                    <a:lnTo>
                      <a:pt x="1254" y="830"/>
                    </a:lnTo>
                    <a:lnTo>
                      <a:pt x="1254" y="830"/>
                    </a:lnTo>
                    <a:lnTo>
                      <a:pt x="1254" y="830"/>
                    </a:lnTo>
                    <a:close/>
                    <a:moveTo>
                      <a:pt x="1226" y="818"/>
                    </a:moveTo>
                    <a:lnTo>
                      <a:pt x="1226" y="818"/>
                    </a:lnTo>
                    <a:lnTo>
                      <a:pt x="1226" y="818"/>
                    </a:lnTo>
                    <a:lnTo>
                      <a:pt x="1222" y="818"/>
                    </a:lnTo>
                    <a:lnTo>
                      <a:pt x="1218" y="820"/>
                    </a:lnTo>
                    <a:lnTo>
                      <a:pt x="1214" y="826"/>
                    </a:lnTo>
                    <a:lnTo>
                      <a:pt x="1214" y="826"/>
                    </a:lnTo>
                    <a:lnTo>
                      <a:pt x="1214" y="826"/>
                    </a:lnTo>
                    <a:lnTo>
                      <a:pt x="1216" y="826"/>
                    </a:lnTo>
                    <a:lnTo>
                      <a:pt x="1220" y="824"/>
                    </a:lnTo>
                    <a:lnTo>
                      <a:pt x="1224" y="822"/>
                    </a:lnTo>
                    <a:lnTo>
                      <a:pt x="1226" y="818"/>
                    </a:lnTo>
                    <a:lnTo>
                      <a:pt x="1226" y="818"/>
                    </a:lnTo>
                    <a:close/>
                    <a:moveTo>
                      <a:pt x="1074" y="928"/>
                    </a:moveTo>
                    <a:lnTo>
                      <a:pt x="1074" y="928"/>
                    </a:lnTo>
                    <a:lnTo>
                      <a:pt x="1074" y="930"/>
                    </a:lnTo>
                    <a:lnTo>
                      <a:pt x="1074" y="932"/>
                    </a:lnTo>
                    <a:lnTo>
                      <a:pt x="1078" y="932"/>
                    </a:lnTo>
                    <a:lnTo>
                      <a:pt x="1082" y="930"/>
                    </a:lnTo>
                    <a:lnTo>
                      <a:pt x="1084" y="926"/>
                    </a:lnTo>
                    <a:lnTo>
                      <a:pt x="1084" y="926"/>
                    </a:lnTo>
                    <a:lnTo>
                      <a:pt x="1084" y="924"/>
                    </a:lnTo>
                    <a:lnTo>
                      <a:pt x="1080" y="924"/>
                    </a:lnTo>
                    <a:lnTo>
                      <a:pt x="1076" y="924"/>
                    </a:lnTo>
                    <a:lnTo>
                      <a:pt x="1074" y="928"/>
                    </a:lnTo>
                    <a:lnTo>
                      <a:pt x="1074" y="928"/>
                    </a:lnTo>
                    <a:close/>
                    <a:moveTo>
                      <a:pt x="772" y="1274"/>
                    </a:moveTo>
                    <a:lnTo>
                      <a:pt x="772" y="1274"/>
                    </a:lnTo>
                    <a:lnTo>
                      <a:pt x="784" y="1270"/>
                    </a:lnTo>
                    <a:lnTo>
                      <a:pt x="788" y="1270"/>
                    </a:lnTo>
                    <a:lnTo>
                      <a:pt x="790" y="1268"/>
                    </a:lnTo>
                    <a:lnTo>
                      <a:pt x="790" y="1268"/>
                    </a:lnTo>
                    <a:lnTo>
                      <a:pt x="790" y="1266"/>
                    </a:lnTo>
                    <a:lnTo>
                      <a:pt x="788" y="1264"/>
                    </a:lnTo>
                    <a:lnTo>
                      <a:pt x="786" y="1264"/>
                    </a:lnTo>
                    <a:lnTo>
                      <a:pt x="784" y="1262"/>
                    </a:lnTo>
                    <a:lnTo>
                      <a:pt x="784" y="1262"/>
                    </a:lnTo>
                    <a:lnTo>
                      <a:pt x="784" y="1260"/>
                    </a:lnTo>
                    <a:lnTo>
                      <a:pt x="784" y="1260"/>
                    </a:lnTo>
                    <a:lnTo>
                      <a:pt x="778" y="1262"/>
                    </a:lnTo>
                    <a:lnTo>
                      <a:pt x="768" y="1266"/>
                    </a:lnTo>
                    <a:lnTo>
                      <a:pt x="768" y="1266"/>
                    </a:lnTo>
                    <a:lnTo>
                      <a:pt x="760" y="1268"/>
                    </a:lnTo>
                    <a:lnTo>
                      <a:pt x="758" y="1270"/>
                    </a:lnTo>
                    <a:lnTo>
                      <a:pt x="756" y="1274"/>
                    </a:lnTo>
                    <a:lnTo>
                      <a:pt x="756" y="1274"/>
                    </a:lnTo>
                    <a:lnTo>
                      <a:pt x="758" y="1276"/>
                    </a:lnTo>
                    <a:lnTo>
                      <a:pt x="760" y="1276"/>
                    </a:lnTo>
                    <a:lnTo>
                      <a:pt x="772" y="1274"/>
                    </a:lnTo>
                    <a:lnTo>
                      <a:pt x="772" y="1274"/>
                    </a:lnTo>
                    <a:close/>
                    <a:moveTo>
                      <a:pt x="776" y="1258"/>
                    </a:moveTo>
                    <a:lnTo>
                      <a:pt x="776" y="1258"/>
                    </a:lnTo>
                    <a:lnTo>
                      <a:pt x="780" y="1256"/>
                    </a:lnTo>
                    <a:lnTo>
                      <a:pt x="778" y="1252"/>
                    </a:lnTo>
                    <a:lnTo>
                      <a:pt x="776" y="1250"/>
                    </a:lnTo>
                    <a:lnTo>
                      <a:pt x="774" y="1252"/>
                    </a:lnTo>
                    <a:lnTo>
                      <a:pt x="774" y="1252"/>
                    </a:lnTo>
                    <a:lnTo>
                      <a:pt x="772" y="1254"/>
                    </a:lnTo>
                    <a:lnTo>
                      <a:pt x="764" y="1256"/>
                    </a:lnTo>
                    <a:lnTo>
                      <a:pt x="760" y="1258"/>
                    </a:lnTo>
                    <a:lnTo>
                      <a:pt x="758" y="1258"/>
                    </a:lnTo>
                    <a:lnTo>
                      <a:pt x="758" y="1260"/>
                    </a:lnTo>
                    <a:lnTo>
                      <a:pt x="758" y="1260"/>
                    </a:lnTo>
                    <a:lnTo>
                      <a:pt x="764" y="1260"/>
                    </a:lnTo>
                    <a:lnTo>
                      <a:pt x="776" y="1258"/>
                    </a:lnTo>
                    <a:lnTo>
                      <a:pt x="776" y="1258"/>
                    </a:lnTo>
                    <a:close/>
                    <a:moveTo>
                      <a:pt x="892" y="180"/>
                    </a:moveTo>
                    <a:lnTo>
                      <a:pt x="892" y="180"/>
                    </a:lnTo>
                    <a:lnTo>
                      <a:pt x="904" y="186"/>
                    </a:lnTo>
                    <a:lnTo>
                      <a:pt x="912" y="188"/>
                    </a:lnTo>
                    <a:lnTo>
                      <a:pt x="912" y="188"/>
                    </a:lnTo>
                    <a:lnTo>
                      <a:pt x="912" y="186"/>
                    </a:lnTo>
                    <a:lnTo>
                      <a:pt x="910" y="182"/>
                    </a:lnTo>
                    <a:lnTo>
                      <a:pt x="906" y="176"/>
                    </a:lnTo>
                    <a:lnTo>
                      <a:pt x="900" y="170"/>
                    </a:lnTo>
                    <a:lnTo>
                      <a:pt x="894" y="164"/>
                    </a:lnTo>
                    <a:lnTo>
                      <a:pt x="888" y="164"/>
                    </a:lnTo>
                    <a:lnTo>
                      <a:pt x="888" y="164"/>
                    </a:lnTo>
                    <a:lnTo>
                      <a:pt x="882" y="162"/>
                    </a:lnTo>
                    <a:lnTo>
                      <a:pt x="878" y="158"/>
                    </a:lnTo>
                    <a:lnTo>
                      <a:pt x="870" y="144"/>
                    </a:lnTo>
                    <a:lnTo>
                      <a:pt x="866" y="138"/>
                    </a:lnTo>
                    <a:lnTo>
                      <a:pt x="860" y="134"/>
                    </a:lnTo>
                    <a:lnTo>
                      <a:pt x="856" y="132"/>
                    </a:lnTo>
                    <a:lnTo>
                      <a:pt x="850" y="132"/>
                    </a:lnTo>
                    <a:lnTo>
                      <a:pt x="850" y="132"/>
                    </a:lnTo>
                    <a:lnTo>
                      <a:pt x="846" y="136"/>
                    </a:lnTo>
                    <a:lnTo>
                      <a:pt x="846" y="142"/>
                    </a:lnTo>
                    <a:lnTo>
                      <a:pt x="860" y="164"/>
                    </a:lnTo>
                    <a:lnTo>
                      <a:pt x="860" y="164"/>
                    </a:lnTo>
                    <a:lnTo>
                      <a:pt x="866" y="174"/>
                    </a:lnTo>
                    <a:lnTo>
                      <a:pt x="868" y="174"/>
                    </a:lnTo>
                    <a:lnTo>
                      <a:pt x="870" y="174"/>
                    </a:lnTo>
                    <a:lnTo>
                      <a:pt x="872" y="172"/>
                    </a:lnTo>
                    <a:lnTo>
                      <a:pt x="876" y="172"/>
                    </a:lnTo>
                    <a:lnTo>
                      <a:pt x="884" y="174"/>
                    </a:lnTo>
                    <a:lnTo>
                      <a:pt x="892" y="180"/>
                    </a:lnTo>
                    <a:lnTo>
                      <a:pt x="892" y="180"/>
                    </a:lnTo>
                    <a:close/>
                    <a:moveTo>
                      <a:pt x="1006" y="948"/>
                    </a:moveTo>
                    <a:lnTo>
                      <a:pt x="1006" y="948"/>
                    </a:lnTo>
                    <a:lnTo>
                      <a:pt x="1016" y="944"/>
                    </a:lnTo>
                    <a:lnTo>
                      <a:pt x="1026" y="934"/>
                    </a:lnTo>
                    <a:lnTo>
                      <a:pt x="1026" y="934"/>
                    </a:lnTo>
                    <a:lnTo>
                      <a:pt x="1030" y="932"/>
                    </a:lnTo>
                    <a:lnTo>
                      <a:pt x="1030" y="930"/>
                    </a:lnTo>
                    <a:lnTo>
                      <a:pt x="1026" y="930"/>
                    </a:lnTo>
                    <a:lnTo>
                      <a:pt x="1026" y="930"/>
                    </a:lnTo>
                    <a:lnTo>
                      <a:pt x="1018" y="930"/>
                    </a:lnTo>
                    <a:lnTo>
                      <a:pt x="1008" y="932"/>
                    </a:lnTo>
                    <a:lnTo>
                      <a:pt x="1008" y="932"/>
                    </a:lnTo>
                    <a:lnTo>
                      <a:pt x="1004" y="934"/>
                    </a:lnTo>
                    <a:lnTo>
                      <a:pt x="1006" y="936"/>
                    </a:lnTo>
                    <a:lnTo>
                      <a:pt x="1006" y="938"/>
                    </a:lnTo>
                    <a:lnTo>
                      <a:pt x="1002" y="938"/>
                    </a:lnTo>
                    <a:lnTo>
                      <a:pt x="1002" y="938"/>
                    </a:lnTo>
                    <a:lnTo>
                      <a:pt x="998" y="938"/>
                    </a:lnTo>
                    <a:lnTo>
                      <a:pt x="998" y="940"/>
                    </a:lnTo>
                    <a:lnTo>
                      <a:pt x="1000" y="942"/>
                    </a:lnTo>
                    <a:lnTo>
                      <a:pt x="998" y="946"/>
                    </a:lnTo>
                    <a:lnTo>
                      <a:pt x="998" y="946"/>
                    </a:lnTo>
                    <a:lnTo>
                      <a:pt x="996" y="948"/>
                    </a:lnTo>
                    <a:lnTo>
                      <a:pt x="996" y="948"/>
                    </a:lnTo>
                    <a:lnTo>
                      <a:pt x="1000" y="948"/>
                    </a:lnTo>
                    <a:lnTo>
                      <a:pt x="1006" y="948"/>
                    </a:lnTo>
                    <a:lnTo>
                      <a:pt x="1006" y="948"/>
                    </a:lnTo>
                    <a:close/>
                    <a:moveTo>
                      <a:pt x="1028" y="900"/>
                    </a:moveTo>
                    <a:lnTo>
                      <a:pt x="1028" y="900"/>
                    </a:lnTo>
                    <a:lnTo>
                      <a:pt x="1024" y="900"/>
                    </a:lnTo>
                    <a:lnTo>
                      <a:pt x="1022" y="902"/>
                    </a:lnTo>
                    <a:lnTo>
                      <a:pt x="1022" y="904"/>
                    </a:lnTo>
                    <a:lnTo>
                      <a:pt x="1018" y="906"/>
                    </a:lnTo>
                    <a:lnTo>
                      <a:pt x="1018" y="906"/>
                    </a:lnTo>
                    <a:lnTo>
                      <a:pt x="1016" y="904"/>
                    </a:lnTo>
                    <a:lnTo>
                      <a:pt x="1014" y="902"/>
                    </a:lnTo>
                    <a:lnTo>
                      <a:pt x="1014" y="902"/>
                    </a:lnTo>
                    <a:lnTo>
                      <a:pt x="1012" y="902"/>
                    </a:lnTo>
                    <a:lnTo>
                      <a:pt x="1012" y="902"/>
                    </a:lnTo>
                    <a:lnTo>
                      <a:pt x="1010" y="904"/>
                    </a:lnTo>
                    <a:lnTo>
                      <a:pt x="1008" y="904"/>
                    </a:lnTo>
                    <a:lnTo>
                      <a:pt x="1006" y="904"/>
                    </a:lnTo>
                    <a:lnTo>
                      <a:pt x="1004" y="906"/>
                    </a:lnTo>
                    <a:lnTo>
                      <a:pt x="1004" y="906"/>
                    </a:lnTo>
                    <a:lnTo>
                      <a:pt x="1004" y="910"/>
                    </a:lnTo>
                    <a:lnTo>
                      <a:pt x="1002" y="912"/>
                    </a:lnTo>
                    <a:lnTo>
                      <a:pt x="1002" y="914"/>
                    </a:lnTo>
                    <a:lnTo>
                      <a:pt x="1004" y="916"/>
                    </a:lnTo>
                    <a:lnTo>
                      <a:pt x="1004" y="916"/>
                    </a:lnTo>
                    <a:lnTo>
                      <a:pt x="1008" y="918"/>
                    </a:lnTo>
                    <a:lnTo>
                      <a:pt x="1012" y="916"/>
                    </a:lnTo>
                    <a:lnTo>
                      <a:pt x="1016" y="914"/>
                    </a:lnTo>
                    <a:lnTo>
                      <a:pt x="1026" y="910"/>
                    </a:lnTo>
                    <a:lnTo>
                      <a:pt x="1026" y="910"/>
                    </a:lnTo>
                    <a:lnTo>
                      <a:pt x="1030" y="910"/>
                    </a:lnTo>
                    <a:lnTo>
                      <a:pt x="1026" y="914"/>
                    </a:lnTo>
                    <a:lnTo>
                      <a:pt x="1020" y="918"/>
                    </a:lnTo>
                    <a:lnTo>
                      <a:pt x="1020" y="918"/>
                    </a:lnTo>
                    <a:lnTo>
                      <a:pt x="1020" y="920"/>
                    </a:lnTo>
                    <a:lnTo>
                      <a:pt x="1020" y="920"/>
                    </a:lnTo>
                    <a:lnTo>
                      <a:pt x="1030" y="918"/>
                    </a:lnTo>
                    <a:lnTo>
                      <a:pt x="1040" y="916"/>
                    </a:lnTo>
                    <a:lnTo>
                      <a:pt x="1040" y="916"/>
                    </a:lnTo>
                    <a:lnTo>
                      <a:pt x="1042" y="914"/>
                    </a:lnTo>
                    <a:lnTo>
                      <a:pt x="1042" y="912"/>
                    </a:lnTo>
                    <a:lnTo>
                      <a:pt x="1042" y="910"/>
                    </a:lnTo>
                    <a:lnTo>
                      <a:pt x="1040" y="906"/>
                    </a:lnTo>
                    <a:lnTo>
                      <a:pt x="1040" y="904"/>
                    </a:lnTo>
                    <a:lnTo>
                      <a:pt x="1040" y="904"/>
                    </a:lnTo>
                    <a:lnTo>
                      <a:pt x="1040" y="904"/>
                    </a:lnTo>
                    <a:lnTo>
                      <a:pt x="1042" y="902"/>
                    </a:lnTo>
                    <a:lnTo>
                      <a:pt x="1042" y="900"/>
                    </a:lnTo>
                    <a:lnTo>
                      <a:pt x="1038" y="896"/>
                    </a:lnTo>
                    <a:lnTo>
                      <a:pt x="1034" y="890"/>
                    </a:lnTo>
                    <a:lnTo>
                      <a:pt x="1032" y="890"/>
                    </a:lnTo>
                    <a:lnTo>
                      <a:pt x="1030" y="890"/>
                    </a:lnTo>
                    <a:lnTo>
                      <a:pt x="1030" y="890"/>
                    </a:lnTo>
                    <a:lnTo>
                      <a:pt x="1028" y="890"/>
                    </a:lnTo>
                    <a:lnTo>
                      <a:pt x="1028" y="892"/>
                    </a:lnTo>
                    <a:lnTo>
                      <a:pt x="1030" y="896"/>
                    </a:lnTo>
                    <a:lnTo>
                      <a:pt x="1032" y="900"/>
                    </a:lnTo>
                    <a:lnTo>
                      <a:pt x="1028" y="900"/>
                    </a:lnTo>
                    <a:lnTo>
                      <a:pt x="1028" y="900"/>
                    </a:lnTo>
                    <a:close/>
                    <a:moveTo>
                      <a:pt x="996" y="942"/>
                    </a:moveTo>
                    <a:lnTo>
                      <a:pt x="996" y="942"/>
                    </a:lnTo>
                    <a:lnTo>
                      <a:pt x="996" y="940"/>
                    </a:lnTo>
                    <a:lnTo>
                      <a:pt x="994" y="938"/>
                    </a:lnTo>
                    <a:lnTo>
                      <a:pt x="990" y="938"/>
                    </a:lnTo>
                    <a:lnTo>
                      <a:pt x="988" y="938"/>
                    </a:lnTo>
                    <a:lnTo>
                      <a:pt x="988" y="938"/>
                    </a:lnTo>
                    <a:lnTo>
                      <a:pt x="990" y="940"/>
                    </a:lnTo>
                    <a:lnTo>
                      <a:pt x="992" y="942"/>
                    </a:lnTo>
                    <a:lnTo>
                      <a:pt x="994" y="942"/>
                    </a:lnTo>
                    <a:lnTo>
                      <a:pt x="996" y="942"/>
                    </a:lnTo>
                    <a:lnTo>
                      <a:pt x="996" y="942"/>
                    </a:lnTo>
                    <a:close/>
                    <a:moveTo>
                      <a:pt x="942" y="966"/>
                    </a:moveTo>
                    <a:lnTo>
                      <a:pt x="942" y="966"/>
                    </a:lnTo>
                    <a:lnTo>
                      <a:pt x="940" y="974"/>
                    </a:lnTo>
                    <a:lnTo>
                      <a:pt x="946" y="970"/>
                    </a:lnTo>
                    <a:lnTo>
                      <a:pt x="946" y="970"/>
                    </a:lnTo>
                    <a:lnTo>
                      <a:pt x="948" y="968"/>
                    </a:lnTo>
                    <a:lnTo>
                      <a:pt x="950" y="964"/>
                    </a:lnTo>
                    <a:lnTo>
                      <a:pt x="950" y="958"/>
                    </a:lnTo>
                    <a:lnTo>
                      <a:pt x="950" y="958"/>
                    </a:lnTo>
                    <a:lnTo>
                      <a:pt x="950" y="956"/>
                    </a:lnTo>
                    <a:lnTo>
                      <a:pt x="948" y="956"/>
                    </a:lnTo>
                    <a:lnTo>
                      <a:pt x="942" y="966"/>
                    </a:lnTo>
                    <a:lnTo>
                      <a:pt x="942" y="966"/>
                    </a:lnTo>
                    <a:close/>
                    <a:moveTo>
                      <a:pt x="970" y="956"/>
                    </a:moveTo>
                    <a:lnTo>
                      <a:pt x="970" y="956"/>
                    </a:lnTo>
                    <a:lnTo>
                      <a:pt x="972" y="956"/>
                    </a:lnTo>
                    <a:lnTo>
                      <a:pt x="974" y="956"/>
                    </a:lnTo>
                    <a:lnTo>
                      <a:pt x="976" y="956"/>
                    </a:lnTo>
                    <a:lnTo>
                      <a:pt x="976" y="956"/>
                    </a:lnTo>
                    <a:lnTo>
                      <a:pt x="978" y="954"/>
                    </a:lnTo>
                    <a:lnTo>
                      <a:pt x="982" y="952"/>
                    </a:lnTo>
                    <a:lnTo>
                      <a:pt x="984" y="950"/>
                    </a:lnTo>
                    <a:lnTo>
                      <a:pt x="988" y="946"/>
                    </a:lnTo>
                    <a:lnTo>
                      <a:pt x="988" y="946"/>
                    </a:lnTo>
                    <a:lnTo>
                      <a:pt x="992" y="946"/>
                    </a:lnTo>
                    <a:lnTo>
                      <a:pt x="990" y="944"/>
                    </a:lnTo>
                    <a:lnTo>
                      <a:pt x="980" y="942"/>
                    </a:lnTo>
                    <a:lnTo>
                      <a:pt x="980" y="942"/>
                    </a:lnTo>
                    <a:lnTo>
                      <a:pt x="976" y="940"/>
                    </a:lnTo>
                    <a:lnTo>
                      <a:pt x="972" y="942"/>
                    </a:lnTo>
                    <a:lnTo>
                      <a:pt x="970" y="944"/>
                    </a:lnTo>
                    <a:lnTo>
                      <a:pt x="966" y="948"/>
                    </a:lnTo>
                    <a:lnTo>
                      <a:pt x="966" y="948"/>
                    </a:lnTo>
                    <a:lnTo>
                      <a:pt x="966" y="952"/>
                    </a:lnTo>
                    <a:lnTo>
                      <a:pt x="966" y="954"/>
                    </a:lnTo>
                    <a:lnTo>
                      <a:pt x="966" y="954"/>
                    </a:lnTo>
                    <a:lnTo>
                      <a:pt x="964" y="956"/>
                    </a:lnTo>
                    <a:lnTo>
                      <a:pt x="966" y="958"/>
                    </a:lnTo>
                    <a:lnTo>
                      <a:pt x="968" y="958"/>
                    </a:lnTo>
                    <a:lnTo>
                      <a:pt x="970" y="956"/>
                    </a:lnTo>
                    <a:lnTo>
                      <a:pt x="970" y="956"/>
                    </a:lnTo>
                    <a:close/>
                    <a:moveTo>
                      <a:pt x="958" y="954"/>
                    </a:moveTo>
                    <a:lnTo>
                      <a:pt x="958" y="954"/>
                    </a:lnTo>
                    <a:lnTo>
                      <a:pt x="958" y="956"/>
                    </a:lnTo>
                    <a:lnTo>
                      <a:pt x="956" y="956"/>
                    </a:lnTo>
                    <a:lnTo>
                      <a:pt x="954" y="956"/>
                    </a:lnTo>
                    <a:lnTo>
                      <a:pt x="954" y="960"/>
                    </a:lnTo>
                    <a:lnTo>
                      <a:pt x="954" y="960"/>
                    </a:lnTo>
                    <a:lnTo>
                      <a:pt x="956" y="962"/>
                    </a:lnTo>
                    <a:lnTo>
                      <a:pt x="956" y="962"/>
                    </a:lnTo>
                    <a:lnTo>
                      <a:pt x="962" y="958"/>
                    </a:lnTo>
                    <a:lnTo>
                      <a:pt x="962" y="958"/>
                    </a:lnTo>
                    <a:lnTo>
                      <a:pt x="964" y="954"/>
                    </a:lnTo>
                    <a:lnTo>
                      <a:pt x="962" y="950"/>
                    </a:lnTo>
                    <a:lnTo>
                      <a:pt x="960" y="950"/>
                    </a:lnTo>
                    <a:lnTo>
                      <a:pt x="958" y="954"/>
                    </a:lnTo>
                    <a:lnTo>
                      <a:pt x="958" y="954"/>
                    </a:lnTo>
                    <a:close/>
                    <a:moveTo>
                      <a:pt x="1028" y="966"/>
                    </a:moveTo>
                    <a:lnTo>
                      <a:pt x="1028" y="966"/>
                    </a:lnTo>
                    <a:lnTo>
                      <a:pt x="1032" y="966"/>
                    </a:lnTo>
                    <a:lnTo>
                      <a:pt x="1034" y="964"/>
                    </a:lnTo>
                    <a:lnTo>
                      <a:pt x="1030" y="962"/>
                    </a:lnTo>
                    <a:lnTo>
                      <a:pt x="1030" y="962"/>
                    </a:lnTo>
                    <a:lnTo>
                      <a:pt x="1028" y="962"/>
                    </a:lnTo>
                    <a:lnTo>
                      <a:pt x="1026" y="964"/>
                    </a:lnTo>
                    <a:lnTo>
                      <a:pt x="1026" y="966"/>
                    </a:lnTo>
                    <a:lnTo>
                      <a:pt x="1028" y="966"/>
                    </a:lnTo>
                    <a:lnTo>
                      <a:pt x="1028" y="966"/>
                    </a:lnTo>
                    <a:close/>
                    <a:moveTo>
                      <a:pt x="1078" y="890"/>
                    </a:moveTo>
                    <a:lnTo>
                      <a:pt x="1078" y="890"/>
                    </a:lnTo>
                    <a:lnTo>
                      <a:pt x="1080" y="892"/>
                    </a:lnTo>
                    <a:lnTo>
                      <a:pt x="1082" y="894"/>
                    </a:lnTo>
                    <a:lnTo>
                      <a:pt x="1088" y="896"/>
                    </a:lnTo>
                    <a:lnTo>
                      <a:pt x="1092" y="896"/>
                    </a:lnTo>
                    <a:lnTo>
                      <a:pt x="1092" y="896"/>
                    </a:lnTo>
                    <a:lnTo>
                      <a:pt x="1092" y="894"/>
                    </a:lnTo>
                    <a:lnTo>
                      <a:pt x="1092" y="894"/>
                    </a:lnTo>
                    <a:lnTo>
                      <a:pt x="1088" y="892"/>
                    </a:lnTo>
                    <a:lnTo>
                      <a:pt x="1082" y="890"/>
                    </a:lnTo>
                    <a:lnTo>
                      <a:pt x="1078" y="890"/>
                    </a:lnTo>
                    <a:lnTo>
                      <a:pt x="1078" y="890"/>
                    </a:lnTo>
                    <a:close/>
                    <a:moveTo>
                      <a:pt x="1054" y="890"/>
                    </a:moveTo>
                    <a:lnTo>
                      <a:pt x="1054" y="890"/>
                    </a:lnTo>
                    <a:lnTo>
                      <a:pt x="1060" y="890"/>
                    </a:lnTo>
                    <a:lnTo>
                      <a:pt x="1062" y="888"/>
                    </a:lnTo>
                    <a:lnTo>
                      <a:pt x="1068" y="878"/>
                    </a:lnTo>
                    <a:lnTo>
                      <a:pt x="1068" y="878"/>
                    </a:lnTo>
                    <a:lnTo>
                      <a:pt x="1072" y="872"/>
                    </a:lnTo>
                    <a:lnTo>
                      <a:pt x="1074" y="868"/>
                    </a:lnTo>
                    <a:lnTo>
                      <a:pt x="1072" y="868"/>
                    </a:lnTo>
                    <a:lnTo>
                      <a:pt x="1066" y="870"/>
                    </a:lnTo>
                    <a:lnTo>
                      <a:pt x="1066" y="870"/>
                    </a:lnTo>
                    <a:lnTo>
                      <a:pt x="1054" y="878"/>
                    </a:lnTo>
                    <a:lnTo>
                      <a:pt x="1050" y="882"/>
                    </a:lnTo>
                    <a:lnTo>
                      <a:pt x="1046" y="890"/>
                    </a:lnTo>
                    <a:lnTo>
                      <a:pt x="1046" y="890"/>
                    </a:lnTo>
                    <a:lnTo>
                      <a:pt x="1044" y="894"/>
                    </a:lnTo>
                    <a:lnTo>
                      <a:pt x="1044" y="896"/>
                    </a:lnTo>
                    <a:lnTo>
                      <a:pt x="1046" y="898"/>
                    </a:lnTo>
                    <a:lnTo>
                      <a:pt x="1046" y="898"/>
                    </a:lnTo>
                    <a:lnTo>
                      <a:pt x="1048" y="898"/>
                    </a:lnTo>
                    <a:lnTo>
                      <a:pt x="1048" y="894"/>
                    </a:lnTo>
                    <a:lnTo>
                      <a:pt x="1050" y="892"/>
                    </a:lnTo>
                    <a:lnTo>
                      <a:pt x="1054" y="890"/>
                    </a:lnTo>
                    <a:lnTo>
                      <a:pt x="1054" y="890"/>
                    </a:lnTo>
                    <a:close/>
                    <a:moveTo>
                      <a:pt x="752" y="1276"/>
                    </a:moveTo>
                    <a:lnTo>
                      <a:pt x="752" y="1276"/>
                    </a:lnTo>
                    <a:lnTo>
                      <a:pt x="750" y="1274"/>
                    </a:lnTo>
                    <a:lnTo>
                      <a:pt x="742" y="1274"/>
                    </a:lnTo>
                    <a:lnTo>
                      <a:pt x="738" y="1276"/>
                    </a:lnTo>
                    <a:lnTo>
                      <a:pt x="736" y="1278"/>
                    </a:lnTo>
                    <a:lnTo>
                      <a:pt x="736" y="1278"/>
                    </a:lnTo>
                    <a:lnTo>
                      <a:pt x="736" y="1278"/>
                    </a:lnTo>
                    <a:lnTo>
                      <a:pt x="742" y="1282"/>
                    </a:lnTo>
                    <a:lnTo>
                      <a:pt x="748" y="1282"/>
                    </a:lnTo>
                    <a:lnTo>
                      <a:pt x="750" y="1278"/>
                    </a:lnTo>
                    <a:lnTo>
                      <a:pt x="752" y="1276"/>
                    </a:lnTo>
                    <a:lnTo>
                      <a:pt x="752" y="1276"/>
                    </a:lnTo>
                    <a:close/>
                    <a:moveTo>
                      <a:pt x="1156" y="42"/>
                    </a:moveTo>
                    <a:lnTo>
                      <a:pt x="1156" y="42"/>
                    </a:lnTo>
                    <a:lnTo>
                      <a:pt x="1164" y="44"/>
                    </a:lnTo>
                    <a:lnTo>
                      <a:pt x="1166" y="46"/>
                    </a:lnTo>
                    <a:lnTo>
                      <a:pt x="1164" y="48"/>
                    </a:lnTo>
                    <a:lnTo>
                      <a:pt x="1162" y="48"/>
                    </a:lnTo>
                    <a:lnTo>
                      <a:pt x="1160" y="50"/>
                    </a:lnTo>
                    <a:lnTo>
                      <a:pt x="1162" y="52"/>
                    </a:lnTo>
                    <a:lnTo>
                      <a:pt x="1166" y="56"/>
                    </a:lnTo>
                    <a:lnTo>
                      <a:pt x="1176" y="62"/>
                    </a:lnTo>
                    <a:lnTo>
                      <a:pt x="1176" y="62"/>
                    </a:lnTo>
                    <a:lnTo>
                      <a:pt x="1186" y="66"/>
                    </a:lnTo>
                    <a:lnTo>
                      <a:pt x="1194" y="68"/>
                    </a:lnTo>
                    <a:lnTo>
                      <a:pt x="1204" y="68"/>
                    </a:lnTo>
                    <a:lnTo>
                      <a:pt x="1214" y="66"/>
                    </a:lnTo>
                    <a:lnTo>
                      <a:pt x="1238" y="62"/>
                    </a:lnTo>
                    <a:lnTo>
                      <a:pt x="1252" y="60"/>
                    </a:lnTo>
                    <a:lnTo>
                      <a:pt x="1270" y="58"/>
                    </a:lnTo>
                    <a:lnTo>
                      <a:pt x="1270" y="58"/>
                    </a:lnTo>
                    <a:lnTo>
                      <a:pt x="1296" y="58"/>
                    </a:lnTo>
                    <a:lnTo>
                      <a:pt x="1298" y="60"/>
                    </a:lnTo>
                    <a:lnTo>
                      <a:pt x="1294" y="62"/>
                    </a:lnTo>
                    <a:lnTo>
                      <a:pt x="1274" y="66"/>
                    </a:lnTo>
                    <a:lnTo>
                      <a:pt x="1236" y="74"/>
                    </a:lnTo>
                    <a:lnTo>
                      <a:pt x="1236" y="74"/>
                    </a:lnTo>
                    <a:lnTo>
                      <a:pt x="1220" y="78"/>
                    </a:lnTo>
                    <a:lnTo>
                      <a:pt x="1216" y="80"/>
                    </a:lnTo>
                    <a:lnTo>
                      <a:pt x="1216" y="82"/>
                    </a:lnTo>
                    <a:lnTo>
                      <a:pt x="1216" y="84"/>
                    </a:lnTo>
                    <a:lnTo>
                      <a:pt x="1220" y="86"/>
                    </a:lnTo>
                    <a:lnTo>
                      <a:pt x="1232" y="88"/>
                    </a:lnTo>
                    <a:lnTo>
                      <a:pt x="1270" y="92"/>
                    </a:lnTo>
                    <a:lnTo>
                      <a:pt x="1308" y="94"/>
                    </a:lnTo>
                    <a:lnTo>
                      <a:pt x="1308" y="94"/>
                    </a:lnTo>
                    <a:lnTo>
                      <a:pt x="1324" y="96"/>
                    </a:lnTo>
                    <a:lnTo>
                      <a:pt x="1336" y="100"/>
                    </a:lnTo>
                    <a:lnTo>
                      <a:pt x="1360" y="110"/>
                    </a:lnTo>
                    <a:lnTo>
                      <a:pt x="1370" y="114"/>
                    </a:lnTo>
                    <a:lnTo>
                      <a:pt x="1380" y="114"/>
                    </a:lnTo>
                    <a:lnTo>
                      <a:pt x="1390" y="112"/>
                    </a:lnTo>
                    <a:lnTo>
                      <a:pt x="1402" y="106"/>
                    </a:lnTo>
                    <a:lnTo>
                      <a:pt x="1402" y="106"/>
                    </a:lnTo>
                    <a:lnTo>
                      <a:pt x="1412" y="98"/>
                    </a:lnTo>
                    <a:lnTo>
                      <a:pt x="1420" y="96"/>
                    </a:lnTo>
                    <a:lnTo>
                      <a:pt x="1424" y="94"/>
                    </a:lnTo>
                    <a:lnTo>
                      <a:pt x="1430" y="96"/>
                    </a:lnTo>
                    <a:lnTo>
                      <a:pt x="1438" y="98"/>
                    </a:lnTo>
                    <a:lnTo>
                      <a:pt x="1446" y="98"/>
                    </a:lnTo>
                    <a:lnTo>
                      <a:pt x="1456" y="96"/>
                    </a:lnTo>
                    <a:lnTo>
                      <a:pt x="1456" y="96"/>
                    </a:lnTo>
                    <a:lnTo>
                      <a:pt x="1464" y="92"/>
                    </a:lnTo>
                    <a:lnTo>
                      <a:pt x="1468" y="88"/>
                    </a:lnTo>
                    <a:lnTo>
                      <a:pt x="1468" y="84"/>
                    </a:lnTo>
                    <a:lnTo>
                      <a:pt x="1468" y="80"/>
                    </a:lnTo>
                    <a:lnTo>
                      <a:pt x="1470" y="76"/>
                    </a:lnTo>
                    <a:lnTo>
                      <a:pt x="1476" y="72"/>
                    </a:lnTo>
                    <a:lnTo>
                      <a:pt x="1488" y="66"/>
                    </a:lnTo>
                    <a:lnTo>
                      <a:pt x="1506" y="58"/>
                    </a:lnTo>
                    <a:lnTo>
                      <a:pt x="1506" y="58"/>
                    </a:lnTo>
                    <a:lnTo>
                      <a:pt x="1516" y="54"/>
                    </a:lnTo>
                    <a:lnTo>
                      <a:pt x="1522" y="48"/>
                    </a:lnTo>
                    <a:lnTo>
                      <a:pt x="1520" y="42"/>
                    </a:lnTo>
                    <a:lnTo>
                      <a:pt x="1516" y="38"/>
                    </a:lnTo>
                    <a:lnTo>
                      <a:pt x="1510" y="34"/>
                    </a:lnTo>
                    <a:lnTo>
                      <a:pt x="1502" y="30"/>
                    </a:lnTo>
                    <a:lnTo>
                      <a:pt x="1492" y="28"/>
                    </a:lnTo>
                    <a:lnTo>
                      <a:pt x="1484" y="28"/>
                    </a:lnTo>
                    <a:lnTo>
                      <a:pt x="1484" y="28"/>
                    </a:lnTo>
                    <a:lnTo>
                      <a:pt x="1468" y="28"/>
                    </a:lnTo>
                    <a:lnTo>
                      <a:pt x="1450" y="24"/>
                    </a:lnTo>
                    <a:lnTo>
                      <a:pt x="1430" y="18"/>
                    </a:lnTo>
                    <a:lnTo>
                      <a:pt x="1406" y="14"/>
                    </a:lnTo>
                    <a:lnTo>
                      <a:pt x="1406" y="14"/>
                    </a:lnTo>
                    <a:lnTo>
                      <a:pt x="1394" y="12"/>
                    </a:lnTo>
                    <a:lnTo>
                      <a:pt x="1388" y="14"/>
                    </a:lnTo>
                    <a:lnTo>
                      <a:pt x="1384" y="16"/>
                    </a:lnTo>
                    <a:lnTo>
                      <a:pt x="1382" y="20"/>
                    </a:lnTo>
                    <a:lnTo>
                      <a:pt x="1378" y="28"/>
                    </a:lnTo>
                    <a:lnTo>
                      <a:pt x="1374" y="30"/>
                    </a:lnTo>
                    <a:lnTo>
                      <a:pt x="1366" y="30"/>
                    </a:lnTo>
                    <a:lnTo>
                      <a:pt x="1366" y="30"/>
                    </a:lnTo>
                    <a:lnTo>
                      <a:pt x="1360" y="28"/>
                    </a:lnTo>
                    <a:lnTo>
                      <a:pt x="1358" y="24"/>
                    </a:lnTo>
                    <a:lnTo>
                      <a:pt x="1358" y="20"/>
                    </a:lnTo>
                    <a:lnTo>
                      <a:pt x="1360" y="16"/>
                    </a:lnTo>
                    <a:lnTo>
                      <a:pt x="1362" y="10"/>
                    </a:lnTo>
                    <a:lnTo>
                      <a:pt x="1362" y="6"/>
                    </a:lnTo>
                    <a:lnTo>
                      <a:pt x="1360" y="4"/>
                    </a:lnTo>
                    <a:lnTo>
                      <a:pt x="1360" y="4"/>
                    </a:lnTo>
                    <a:lnTo>
                      <a:pt x="1350" y="0"/>
                    </a:lnTo>
                    <a:lnTo>
                      <a:pt x="1344" y="0"/>
                    </a:lnTo>
                    <a:lnTo>
                      <a:pt x="1340" y="2"/>
                    </a:lnTo>
                    <a:lnTo>
                      <a:pt x="1334" y="4"/>
                    </a:lnTo>
                    <a:lnTo>
                      <a:pt x="1332" y="8"/>
                    </a:lnTo>
                    <a:lnTo>
                      <a:pt x="1328" y="14"/>
                    </a:lnTo>
                    <a:lnTo>
                      <a:pt x="1326" y="22"/>
                    </a:lnTo>
                    <a:lnTo>
                      <a:pt x="1326" y="22"/>
                    </a:lnTo>
                    <a:lnTo>
                      <a:pt x="1324" y="36"/>
                    </a:lnTo>
                    <a:lnTo>
                      <a:pt x="1322" y="40"/>
                    </a:lnTo>
                    <a:lnTo>
                      <a:pt x="1320" y="40"/>
                    </a:lnTo>
                    <a:lnTo>
                      <a:pt x="1318" y="40"/>
                    </a:lnTo>
                    <a:lnTo>
                      <a:pt x="1314" y="36"/>
                    </a:lnTo>
                    <a:lnTo>
                      <a:pt x="1306" y="24"/>
                    </a:lnTo>
                    <a:lnTo>
                      <a:pt x="1306" y="24"/>
                    </a:lnTo>
                    <a:lnTo>
                      <a:pt x="1300" y="20"/>
                    </a:lnTo>
                    <a:lnTo>
                      <a:pt x="1296" y="18"/>
                    </a:lnTo>
                    <a:lnTo>
                      <a:pt x="1292" y="18"/>
                    </a:lnTo>
                    <a:lnTo>
                      <a:pt x="1286" y="18"/>
                    </a:lnTo>
                    <a:lnTo>
                      <a:pt x="1278" y="20"/>
                    </a:lnTo>
                    <a:lnTo>
                      <a:pt x="1268" y="18"/>
                    </a:lnTo>
                    <a:lnTo>
                      <a:pt x="1252" y="16"/>
                    </a:lnTo>
                    <a:lnTo>
                      <a:pt x="1232" y="8"/>
                    </a:lnTo>
                    <a:lnTo>
                      <a:pt x="1232" y="8"/>
                    </a:lnTo>
                    <a:lnTo>
                      <a:pt x="1216" y="2"/>
                    </a:lnTo>
                    <a:lnTo>
                      <a:pt x="1208" y="2"/>
                    </a:lnTo>
                    <a:lnTo>
                      <a:pt x="1208" y="2"/>
                    </a:lnTo>
                    <a:lnTo>
                      <a:pt x="1208" y="4"/>
                    </a:lnTo>
                    <a:lnTo>
                      <a:pt x="1212" y="10"/>
                    </a:lnTo>
                    <a:lnTo>
                      <a:pt x="1216" y="16"/>
                    </a:lnTo>
                    <a:lnTo>
                      <a:pt x="1216" y="20"/>
                    </a:lnTo>
                    <a:lnTo>
                      <a:pt x="1216" y="22"/>
                    </a:lnTo>
                    <a:lnTo>
                      <a:pt x="1212" y="22"/>
                    </a:lnTo>
                    <a:lnTo>
                      <a:pt x="1200" y="16"/>
                    </a:lnTo>
                    <a:lnTo>
                      <a:pt x="1200" y="16"/>
                    </a:lnTo>
                    <a:lnTo>
                      <a:pt x="1188" y="12"/>
                    </a:lnTo>
                    <a:lnTo>
                      <a:pt x="1182" y="12"/>
                    </a:lnTo>
                    <a:lnTo>
                      <a:pt x="1184" y="14"/>
                    </a:lnTo>
                    <a:lnTo>
                      <a:pt x="1188" y="18"/>
                    </a:lnTo>
                    <a:lnTo>
                      <a:pt x="1192" y="24"/>
                    </a:lnTo>
                    <a:lnTo>
                      <a:pt x="1194" y="28"/>
                    </a:lnTo>
                    <a:lnTo>
                      <a:pt x="1194" y="30"/>
                    </a:lnTo>
                    <a:lnTo>
                      <a:pt x="1190" y="30"/>
                    </a:lnTo>
                    <a:lnTo>
                      <a:pt x="1180" y="28"/>
                    </a:lnTo>
                    <a:lnTo>
                      <a:pt x="1180" y="28"/>
                    </a:lnTo>
                    <a:lnTo>
                      <a:pt x="1166" y="26"/>
                    </a:lnTo>
                    <a:lnTo>
                      <a:pt x="1154" y="24"/>
                    </a:lnTo>
                    <a:lnTo>
                      <a:pt x="1148" y="24"/>
                    </a:lnTo>
                    <a:lnTo>
                      <a:pt x="1142" y="26"/>
                    </a:lnTo>
                    <a:lnTo>
                      <a:pt x="1142" y="30"/>
                    </a:lnTo>
                    <a:lnTo>
                      <a:pt x="1144" y="34"/>
                    </a:lnTo>
                    <a:lnTo>
                      <a:pt x="1148" y="38"/>
                    </a:lnTo>
                    <a:lnTo>
                      <a:pt x="1156" y="42"/>
                    </a:lnTo>
                    <a:lnTo>
                      <a:pt x="1156" y="42"/>
                    </a:lnTo>
                    <a:close/>
                    <a:moveTo>
                      <a:pt x="388" y="1446"/>
                    </a:moveTo>
                    <a:lnTo>
                      <a:pt x="388" y="1446"/>
                    </a:lnTo>
                    <a:lnTo>
                      <a:pt x="384" y="1448"/>
                    </a:lnTo>
                    <a:lnTo>
                      <a:pt x="384" y="1450"/>
                    </a:lnTo>
                    <a:lnTo>
                      <a:pt x="384" y="1452"/>
                    </a:lnTo>
                    <a:lnTo>
                      <a:pt x="386" y="1456"/>
                    </a:lnTo>
                    <a:lnTo>
                      <a:pt x="386" y="1456"/>
                    </a:lnTo>
                    <a:lnTo>
                      <a:pt x="388" y="1454"/>
                    </a:lnTo>
                    <a:lnTo>
                      <a:pt x="390" y="1452"/>
                    </a:lnTo>
                    <a:lnTo>
                      <a:pt x="390" y="1448"/>
                    </a:lnTo>
                    <a:lnTo>
                      <a:pt x="388" y="1446"/>
                    </a:lnTo>
                    <a:lnTo>
                      <a:pt x="388" y="1446"/>
                    </a:lnTo>
                    <a:close/>
                    <a:moveTo>
                      <a:pt x="164" y="1358"/>
                    </a:moveTo>
                    <a:lnTo>
                      <a:pt x="164" y="1358"/>
                    </a:lnTo>
                    <a:lnTo>
                      <a:pt x="164" y="1358"/>
                    </a:lnTo>
                    <a:lnTo>
                      <a:pt x="166" y="1356"/>
                    </a:lnTo>
                    <a:lnTo>
                      <a:pt x="168" y="1358"/>
                    </a:lnTo>
                    <a:lnTo>
                      <a:pt x="168" y="1358"/>
                    </a:lnTo>
                    <a:lnTo>
                      <a:pt x="170" y="1356"/>
                    </a:lnTo>
                    <a:lnTo>
                      <a:pt x="170" y="1356"/>
                    </a:lnTo>
                    <a:lnTo>
                      <a:pt x="172" y="1354"/>
                    </a:lnTo>
                    <a:lnTo>
                      <a:pt x="170" y="1354"/>
                    </a:lnTo>
                    <a:lnTo>
                      <a:pt x="168" y="1350"/>
                    </a:lnTo>
                    <a:lnTo>
                      <a:pt x="168" y="1350"/>
                    </a:lnTo>
                    <a:lnTo>
                      <a:pt x="164" y="1346"/>
                    </a:lnTo>
                    <a:lnTo>
                      <a:pt x="164" y="1346"/>
                    </a:lnTo>
                    <a:lnTo>
                      <a:pt x="164" y="1348"/>
                    </a:lnTo>
                    <a:lnTo>
                      <a:pt x="164" y="1348"/>
                    </a:lnTo>
                    <a:lnTo>
                      <a:pt x="164" y="1350"/>
                    </a:lnTo>
                    <a:lnTo>
                      <a:pt x="164" y="1352"/>
                    </a:lnTo>
                    <a:lnTo>
                      <a:pt x="164" y="1354"/>
                    </a:lnTo>
                    <a:lnTo>
                      <a:pt x="164" y="1358"/>
                    </a:lnTo>
                    <a:lnTo>
                      <a:pt x="164" y="1358"/>
                    </a:lnTo>
                    <a:close/>
                    <a:moveTo>
                      <a:pt x="148" y="1644"/>
                    </a:moveTo>
                    <a:lnTo>
                      <a:pt x="148" y="1644"/>
                    </a:lnTo>
                    <a:lnTo>
                      <a:pt x="150" y="1642"/>
                    </a:lnTo>
                    <a:lnTo>
                      <a:pt x="150" y="1642"/>
                    </a:lnTo>
                    <a:lnTo>
                      <a:pt x="150" y="1640"/>
                    </a:lnTo>
                    <a:lnTo>
                      <a:pt x="152" y="1636"/>
                    </a:lnTo>
                    <a:lnTo>
                      <a:pt x="152" y="1636"/>
                    </a:lnTo>
                    <a:lnTo>
                      <a:pt x="156" y="1634"/>
                    </a:lnTo>
                    <a:lnTo>
                      <a:pt x="160" y="1634"/>
                    </a:lnTo>
                    <a:lnTo>
                      <a:pt x="162" y="1634"/>
                    </a:lnTo>
                    <a:lnTo>
                      <a:pt x="162" y="1632"/>
                    </a:lnTo>
                    <a:lnTo>
                      <a:pt x="162" y="1632"/>
                    </a:lnTo>
                    <a:lnTo>
                      <a:pt x="162" y="1630"/>
                    </a:lnTo>
                    <a:lnTo>
                      <a:pt x="164" y="1630"/>
                    </a:lnTo>
                    <a:lnTo>
                      <a:pt x="166" y="1628"/>
                    </a:lnTo>
                    <a:lnTo>
                      <a:pt x="166" y="1626"/>
                    </a:lnTo>
                    <a:lnTo>
                      <a:pt x="166" y="1626"/>
                    </a:lnTo>
                    <a:lnTo>
                      <a:pt x="164" y="1624"/>
                    </a:lnTo>
                    <a:lnTo>
                      <a:pt x="164" y="1624"/>
                    </a:lnTo>
                    <a:lnTo>
                      <a:pt x="166" y="1622"/>
                    </a:lnTo>
                    <a:lnTo>
                      <a:pt x="164" y="1620"/>
                    </a:lnTo>
                    <a:lnTo>
                      <a:pt x="164" y="1620"/>
                    </a:lnTo>
                    <a:lnTo>
                      <a:pt x="166" y="1618"/>
                    </a:lnTo>
                    <a:lnTo>
                      <a:pt x="168" y="1618"/>
                    </a:lnTo>
                    <a:lnTo>
                      <a:pt x="170" y="1618"/>
                    </a:lnTo>
                    <a:lnTo>
                      <a:pt x="174" y="1616"/>
                    </a:lnTo>
                    <a:lnTo>
                      <a:pt x="174" y="1616"/>
                    </a:lnTo>
                    <a:lnTo>
                      <a:pt x="176" y="1614"/>
                    </a:lnTo>
                    <a:lnTo>
                      <a:pt x="172" y="1614"/>
                    </a:lnTo>
                    <a:lnTo>
                      <a:pt x="168" y="1614"/>
                    </a:lnTo>
                    <a:lnTo>
                      <a:pt x="168" y="1614"/>
                    </a:lnTo>
                    <a:lnTo>
                      <a:pt x="168" y="1614"/>
                    </a:lnTo>
                    <a:lnTo>
                      <a:pt x="168" y="1614"/>
                    </a:lnTo>
                    <a:lnTo>
                      <a:pt x="172" y="1610"/>
                    </a:lnTo>
                    <a:lnTo>
                      <a:pt x="174" y="1606"/>
                    </a:lnTo>
                    <a:lnTo>
                      <a:pt x="174" y="1600"/>
                    </a:lnTo>
                    <a:lnTo>
                      <a:pt x="172" y="1598"/>
                    </a:lnTo>
                    <a:lnTo>
                      <a:pt x="172" y="1598"/>
                    </a:lnTo>
                    <a:lnTo>
                      <a:pt x="170" y="1598"/>
                    </a:lnTo>
                    <a:lnTo>
                      <a:pt x="164" y="1602"/>
                    </a:lnTo>
                    <a:lnTo>
                      <a:pt x="158" y="1606"/>
                    </a:lnTo>
                    <a:lnTo>
                      <a:pt x="150" y="1610"/>
                    </a:lnTo>
                    <a:lnTo>
                      <a:pt x="150" y="1610"/>
                    </a:lnTo>
                    <a:lnTo>
                      <a:pt x="148" y="1612"/>
                    </a:lnTo>
                    <a:lnTo>
                      <a:pt x="148" y="1614"/>
                    </a:lnTo>
                    <a:lnTo>
                      <a:pt x="148" y="1616"/>
                    </a:lnTo>
                    <a:lnTo>
                      <a:pt x="148" y="1620"/>
                    </a:lnTo>
                    <a:lnTo>
                      <a:pt x="148" y="1620"/>
                    </a:lnTo>
                    <a:lnTo>
                      <a:pt x="146" y="1620"/>
                    </a:lnTo>
                    <a:lnTo>
                      <a:pt x="144" y="1618"/>
                    </a:lnTo>
                    <a:lnTo>
                      <a:pt x="142" y="1616"/>
                    </a:lnTo>
                    <a:lnTo>
                      <a:pt x="140" y="1616"/>
                    </a:lnTo>
                    <a:lnTo>
                      <a:pt x="140" y="1616"/>
                    </a:lnTo>
                    <a:lnTo>
                      <a:pt x="136" y="1622"/>
                    </a:lnTo>
                    <a:lnTo>
                      <a:pt x="136" y="1624"/>
                    </a:lnTo>
                    <a:lnTo>
                      <a:pt x="138" y="1628"/>
                    </a:lnTo>
                    <a:lnTo>
                      <a:pt x="138" y="1628"/>
                    </a:lnTo>
                    <a:lnTo>
                      <a:pt x="140" y="1630"/>
                    </a:lnTo>
                    <a:lnTo>
                      <a:pt x="140" y="1630"/>
                    </a:lnTo>
                    <a:lnTo>
                      <a:pt x="138" y="1632"/>
                    </a:lnTo>
                    <a:lnTo>
                      <a:pt x="138" y="1632"/>
                    </a:lnTo>
                    <a:lnTo>
                      <a:pt x="138" y="1632"/>
                    </a:lnTo>
                    <a:lnTo>
                      <a:pt x="144" y="1636"/>
                    </a:lnTo>
                    <a:lnTo>
                      <a:pt x="144" y="1636"/>
                    </a:lnTo>
                    <a:lnTo>
                      <a:pt x="146" y="1636"/>
                    </a:lnTo>
                    <a:lnTo>
                      <a:pt x="146" y="1636"/>
                    </a:lnTo>
                    <a:lnTo>
                      <a:pt x="142" y="1638"/>
                    </a:lnTo>
                    <a:lnTo>
                      <a:pt x="138" y="1642"/>
                    </a:lnTo>
                    <a:lnTo>
                      <a:pt x="136" y="1644"/>
                    </a:lnTo>
                    <a:lnTo>
                      <a:pt x="138" y="1646"/>
                    </a:lnTo>
                    <a:lnTo>
                      <a:pt x="138" y="1646"/>
                    </a:lnTo>
                    <a:lnTo>
                      <a:pt x="140" y="1648"/>
                    </a:lnTo>
                    <a:lnTo>
                      <a:pt x="142" y="1648"/>
                    </a:lnTo>
                    <a:lnTo>
                      <a:pt x="144" y="1644"/>
                    </a:lnTo>
                    <a:lnTo>
                      <a:pt x="148" y="1644"/>
                    </a:lnTo>
                    <a:lnTo>
                      <a:pt x="148" y="1644"/>
                    </a:lnTo>
                    <a:close/>
                    <a:moveTo>
                      <a:pt x="84" y="2020"/>
                    </a:moveTo>
                    <a:lnTo>
                      <a:pt x="84" y="2020"/>
                    </a:lnTo>
                    <a:lnTo>
                      <a:pt x="88" y="2008"/>
                    </a:lnTo>
                    <a:lnTo>
                      <a:pt x="90" y="2008"/>
                    </a:lnTo>
                    <a:lnTo>
                      <a:pt x="92" y="2012"/>
                    </a:lnTo>
                    <a:lnTo>
                      <a:pt x="92" y="2012"/>
                    </a:lnTo>
                    <a:lnTo>
                      <a:pt x="94" y="2014"/>
                    </a:lnTo>
                    <a:lnTo>
                      <a:pt x="96" y="2014"/>
                    </a:lnTo>
                    <a:lnTo>
                      <a:pt x="106" y="2008"/>
                    </a:lnTo>
                    <a:lnTo>
                      <a:pt x="120" y="2000"/>
                    </a:lnTo>
                    <a:lnTo>
                      <a:pt x="126" y="1996"/>
                    </a:lnTo>
                    <a:lnTo>
                      <a:pt x="132" y="1994"/>
                    </a:lnTo>
                    <a:lnTo>
                      <a:pt x="132" y="1994"/>
                    </a:lnTo>
                    <a:lnTo>
                      <a:pt x="142" y="1992"/>
                    </a:lnTo>
                    <a:lnTo>
                      <a:pt x="148" y="1990"/>
                    </a:lnTo>
                    <a:lnTo>
                      <a:pt x="152" y="1990"/>
                    </a:lnTo>
                    <a:lnTo>
                      <a:pt x="160" y="1990"/>
                    </a:lnTo>
                    <a:lnTo>
                      <a:pt x="160" y="1990"/>
                    </a:lnTo>
                    <a:lnTo>
                      <a:pt x="166" y="1992"/>
                    </a:lnTo>
                    <a:lnTo>
                      <a:pt x="168" y="1988"/>
                    </a:lnTo>
                    <a:lnTo>
                      <a:pt x="168" y="1980"/>
                    </a:lnTo>
                    <a:lnTo>
                      <a:pt x="168" y="1974"/>
                    </a:lnTo>
                    <a:lnTo>
                      <a:pt x="172" y="1966"/>
                    </a:lnTo>
                    <a:lnTo>
                      <a:pt x="172" y="1966"/>
                    </a:lnTo>
                    <a:lnTo>
                      <a:pt x="176" y="1958"/>
                    </a:lnTo>
                    <a:lnTo>
                      <a:pt x="178" y="1950"/>
                    </a:lnTo>
                    <a:lnTo>
                      <a:pt x="180" y="1934"/>
                    </a:lnTo>
                    <a:lnTo>
                      <a:pt x="178" y="1920"/>
                    </a:lnTo>
                    <a:lnTo>
                      <a:pt x="174" y="1906"/>
                    </a:lnTo>
                    <a:lnTo>
                      <a:pt x="174" y="1906"/>
                    </a:lnTo>
                    <a:lnTo>
                      <a:pt x="168" y="1888"/>
                    </a:lnTo>
                    <a:lnTo>
                      <a:pt x="166" y="1884"/>
                    </a:lnTo>
                    <a:lnTo>
                      <a:pt x="170" y="1884"/>
                    </a:lnTo>
                    <a:lnTo>
                      <a:pt x="170" y="1884"/>
                    </a:lnTo>
                    <a:lnTo>
                      <a:pt x="172" y="1882"/>
                    </a:lnTo>
                    <a:lnTo>
                      <a:pt x="172" y="1880"/>
                    </a:lnTo>
                    <a:lnTo>
                      <a:pt x="168" y="1874"/>
                    </a:lnTo>
                    <a:lnTo>
                      <a:pt x="168" y="1874"/>
                    </a:lnTo>
                    <a:lnTo>
                      <a:pt x="172" y="1874"/>
                    </a:lnTo>
                    <a:lnTo>
                      <a:pt x="176" y="1876"/>
                    </a:lnTo>
                    <a:lnTo>
                      <a:pt x="178" y="1878"/>
                    </a:lnTo>
                    <a:lnTo>
                      <a:pt x="178" y="1878"/>
                    </a:lnTo>
                    <a:lnTo>
                      <a:pt x="180" y="1878"/>
                    </a:lnTo>
                    <a:lnTo>
                      <a:pt x="186" y="1870"/>
                    </a:lnTo>
                    <a:lnTo>
                      <a:pt x="186" y="1870"/>
                    </a:lnTo>
                    <a:lnTo>
                      <a:pt x="190" y="1866"/>
                    </a:lnTo>
                    <a:lnTo>
                      <a:pt x="194" y="1866"/>
                    </a:lnTo>
                    <a:lnTo>
                      <a:pt x="196" y="1864"/>
                    </a:lnTo>
                    <a:lnTo>
                      <a:pt x="198" y="1862"/>
                    </a:lnTo>
                    <a:lnTo>
                      <a:pt x="198" y="1862"/>
                    </a:lnTo>
                    <a:lnTo>
                      <a:pt x="196" y="1858"/>
                    </a:lnTo>
                    <a:lnTo>
                      <a:pt x="194" y="1858"/>
                    </a:lnTo>
                    <a:lnTo>
                      <a:pt x="192" y="1858"/>
                    </a:lnTo>
                    <a:lnTo>
                      <a:pt x="192" y="1858"/>
                    </a:lnTo>
                    <a:lnTo>
                      <a:pt x="192" y="1858"/>
                    </a:lnTo>
                    <a:lnTo>
                      <a:pt x="194" y="1854"/>
                    </a:lnTo>
                    <a:lnTo>
                      <a:pt x="196" y="1850"/>
                    </a:lnTo>
                    <a:lnTo>
                      <a:pt x="196" y="1848"/>
                    </a:lnTo>
                    <a:lnTo>
                      <a:pt x="196" y="1850"/>
                    </a:lnTo>
                    <a:lnTo>
                      <a:pt x="196" y="1850"/>
                    </a:lnTo>
                    <a:lnTo>
                      <a:pt x="200" y="1858"/>
                    </a:lnTo>
                    <a:lnTo>
                      <a:pt x="202" y="1858"/>
                    </a:lnTo>
                    <a:lnTo>
                      <a:pt x="204" y="1856"/>
                    </a:lnTo>
                    <a:lnTo>
                      <a:pt x="204" y="1856"/>
                    </a:lnTo>
                    <a:lnTo>
                      <a:pt x="204" y="1850"/>
                    </a:lnTo>
                    <a:lnTo>
                      <a:pt x="202" y="1844"/>
                    </a:lnTo>
                    <a:lnTo>
                      <a:pt x="198" y="1840"/>
                    </a:lnTo>
                    <a:lnTo>
                      <a:pt x="196" y="1838"/>
                    </a:lnTo>
                    <a:lnTo>
                      <a:pt x="194" y="1838"/>
                    </a:lnTo>
                    <a:lnTo>
                      <a:pt x="194" y="1838"/>
                    </a:lnTo>
                    <a:lnTo>
                      <a:pt x="186" y="1840"/>
                    </a:lnTo>
                    <a:lnTo>
                      <a:pt x="184" y="1840"/>
                    </a:lnTo>
                    <a:lnTo>
                      <a:pt x="186" y="1838"/>
                    </a:lnTo>
                    <a:lnTo>
                      <a:pt x="186" y="1838"/>
                    </a:lnTo>
                    <a:lnTo>
                      <a:pt x="192" y="1834"/>
                    </a:lnTo>
                    <a:lnTo>
                      <a:pt x="194" y="1832"/>
                    </a:lnTo>
                    <a:lnTo>
                      <a:pt x="192" y="1828"/>
                    </a:lnTo>
                    <a:lnTo>
                      <a:pt x="190" y="1828"/>
                    </a:lnTo>
                    <a:lnTo>
                      <a:pt x="190" y="1828"/>
                    </a:lnTo>
                    <a:lnTo>
                      <a:pt x="186" y="1826"/>
                    </a:lnTo>
                    <a:lnTo>
                      <a:pt x="182" y="1820"/>
                    </a:lnTo>
                    <a:lnTo>
                      <a:pt x="176" y="1808"/>
                    </a:lnTo>
                    <a:lnTo>
                      <a:pt x="176" y="1808"/>
                    </a:lnTo>
                    <a:lnTo>
                      <a:pt x="174" y="1806"/>
                    </a:lnTo>
                    <a:lnTo>
                      <a:pt x="172" y="1804"/>
                    </a:lnTo>
                    <a:lnTo>
                      <a:pt x="164" y="1806"/>
                    </a:lnTo>
                    <a:lnTo>
                      <a:pt x="156" y="1808"/>
                    </a:lnTo>
                    <a:lnTo>
                      <a:pt x="148" y="1808"/>
                    </a:lnTo>
                    <a:lnTo>
                      <a:pt x="148" y="1808"/>
                    </a:lnTo>
                    <a:lnTo>
                      <a:pt x="142" y="1810"/>
                    </a:lnTo>
                    <a:lnTo>
                      <a:pt x="140" y="1812"/>
                    </a:lnTo>
                    <a:lnTo>
                      <a:pt x="138" y="1814"/>
                    </a:lnTo>
                    <a:lnTo>
                      <a:pt x="130" y="1816"/>
                    </a:lnTo>
                    <a:lnTo>
                      <a:pt x="130" y="1816"/>
                    </a:lnTo>
                    <a:lnTo>
                      <a:pt x="126" y="1818"/>
                    </a:lnTo>
                    <a:lnTo>
                      <a:pt x="124" y="1822"/>
                    </a:lnTo>
                    <a:lnTo>
                      <a:pt x="122" y="1828"/>
                    </a:lnTo>
                    <a:lnTo>
                      <a:pt x="120" y="1834"/>
                    </a:lnTo>
                    <a:lnTo>
                      <a:pt x="116" y="1836"/>
                    </a:lnTo>
                    <a:lnTo>
                      <a:pt x="112" y="1836"/>
                    </a:lnTo>
                    <a:lnTo>
                      <a:pt x="112" y="1836"/>
                    </a:lnTo>
                    <a:lnTo>
                      <a:pt x="116" y="1836"/>
                    </a:lnTo>
                    <a:lnTo>
                      <a:pt x="120" y="1832"/>
                    </a:lnTo>
                    <a:lnTo>
                      <a:pt x="122" y="1826"/>
                    </a:lnTo>
                    <a:lnTo>
                      <a:pt x="124" y="1818"/>
                    </a:lnTo>
                    <a:lnTo>
                      <a:pt x="128" y="1816"/>
                    </a:lnTo>
                    <a:lnTo>
                      <a:pt x="132" y="1814"/>
                    </a:lnTo>
                    <a:lnTo>
                      <a:pt x="132" y="1814"/>
                    </a:lnTo>
                    <a:lnTo>
                      <a:pt x="132" y="1810"/>
                    </a:lnTo>
                    <a:lnTo>
                      <a:pt x="134" y="1808"/>
                    </a:lnTo>
                    <a:lnTo>
                      <a:pt x="138" y="1806"/>
                    </a:lnTo>
                    <a:lnTo>
                      <a:pt x="140" y="1804"/>
                    </a:lnTo>
                    <a:lnTo>
                      <a:pt x="140" y="1804"/>
                    </a:lnTo>
                    <a:lnTo>
                      <a:pt x="134" y="1798"/>
                    </a:lnTo>
                    <a:lnTo>
                      <a:pt x="134" y="1798"/>
                    </a:lnTo>
                    <a:lnTo>
                      <a:pt x="130" y="1796"/>
                    </a:lnTo>
                    <a:lnTo>
                      <a:pt x="126" y="1796"/>
                    </a:lnTo>
                    <a:lnTo>
                      <a:pt x="124" y="1798"/>
                    </a:lnTo>
                    <a:lnTo>
                      <a:pt x="122" y="1800"/>
                    </a:lnTo>
                    <a:lnTo>
                      <a:pt x="118" y="1804"/>
                    </a:lnTo>
                    <a:lnTo>
                      <a:pt x="116" y="1804"/>
                    </a:lnTo>
                    <a:lnTo>
                      <a:pt x="112" y="1804"/>
                    </a:lnTo>
                    <a:lnTo>
                      <a:pt x="112" y="1804"/>
                    </a:lnTo>
                    <a:lnTo>
                      <a:pt x="104" y="1806"/>
                    </a:lnTo>
                    <a:lnTo>
                      <a:pt x="94" y="1810"/>
                    </a:lnTo>
                    <a:lnTo>
                      <a:pt x="86" y="1816"/>
                    </a:lnTo>
                    <a:lnTo>
                      <a:pt x="84" y="1820"/>
                    </a:lnTo>
                    <a:lnTo>
                      <a:pt x="84" y="1824"/>
                    </a:lnTo>
                    <a:lnTo>
                      <a:pt x="84" y="1824"/>
                    </a:lnTo>
                    <a:lnTo>
                      <a:pt x="84" y="1828"/>
                    </a:lnTo>
                    <a:lnTo>
                      <a:pt x="82" y="1830"/>
                    </a:lnTo>
                    <a:lnTo>
                      <a:pt x="76" y="1834"/>
                    </a:lnTo>
                    <a:lnTo>
                      <a:pt x="70" y="1836"/>
                    </a:lnTo>
                    <a:lnTo>
                      <a:pt x="68" y="1838"/>
                    </a:lnTo>
                    <a:lnTo>
                      <a:pt x="68" y="1840"/>
                    </a:lnTo>
                    <a:lnTo>
                      <a:pt x="68" y="1840"/>
                    </a:lnTo>
                    <a:lnTo>
                      <a:pt x="70" y="1842"/>
                    </a:lnTo>
                    <a:lnTo>
                      <a:pt x="76" y="1842"/>
                    </a:lnTo>
                    <a:lnTo>
                      <a:pt x="86" y="1842"/>
                    </a:lnTo>
                    <a:lnTo>
                      <a:pt x="94" y="1844"/>
                    </a:lnTo>
                    <a:lnTo>
                      <a:pt x="94" y="1846"/>
                    </a:lnTo>
                    <a:lnTo>
                      <a:pt x="90" y="1848"/>
                    </a:lnTo>
                    <a:lnTo>
                      <a:pt x="90" y="1848"/>
                    </a:lnTo>
                    <a:lnTo>
                      <a:pt x="82" y="1856"/>
                    </a:lnTo>
                    <a:lnTo>
                      <a:pt x="78" y="1862"/>
                    </a:lnTo>
                    <a:lnTo>
                      <a:pt x="74" y="1866"/>
                    </a:lnTo>
                    <a:lnTo>
                      <a:pt x="70" y="1866"/>
                    </a:lnTo>
                    <a:lnTo>
                      <a:pt x="70" y="1866"/>
                    </a:lnTo>
                    <a:lnTo>
                      <a:pt x="62" y="1864"/>
                    </a:lnTo>
                    <a:lnTo>
                      <a:pt x="58" y="1866"/>
                    </a:lnTo>
                    <a:lnTo>
                      <a:pt x="54" y="1866"/>
                    </a:lnTo>
                    <a:lnTo>
                      <a:pt x="48" y="1864"/>
                    </a:lnTo>
                    <a:lnTo>
                      <a:pt x="48" y="1864"/>
                    </a:lnTo>
                    <a:lnTo>
                      <a:pt x="40" y="1860"/>
                    </a:lnTo>
                    <a:lnTo>
                      <a:pt x="30" y="1860"/>
                    </a:lnTo>
                    <a:lnTo>
                      <a:pt x="22" y="1862"/>
                    </a:lnTo>
                    <a:lnTo>
                      <a:pt x="14" y="1868"/>
                    </a:lnTo>
                    <a:lnTo>
                      <a:pt x="14" y="1868"/>
                    </a:lnTo>
                    <a:lnTo>
                      <a:pt x="14" y="1870"/>
                    </a:lnTo>
                    <a:lnTo>
                      <a:pt x="14" y="1870"/>
                    </a:lnTo>
                    <a:lnTo>
                      <a:pt x="18" y="1870"/>
                    </a:lnTo>
                    <a:lnTo>
                      <a:pt x="20" y="1870"/>
                    </a:lnTo>
                    <a:lnTo>
                      <a:pt x="20" y="1872"/>
                    </a:lnTo>
                    <a:lnTo>
                      <a:pt x="20" y="1874"/>
                    </a:lnTo>
                    <a:lnTo>
                      <a:pt x="18" y="1878"/>
                    </a:lnTo>
                    <a:lnTo>
                      <a:pt x="18" y="1878"/>
                    </a:lnTo>
                    <a:lnTo>
                      <a:pt x="16" y="1884"/>
                    </a:lnTo>
                    <a:lnTo>
                      <a:pt x="18" y="1886"/>
                    </a:lnTo>
                    <a:lnTo>
                      <a:pt x="22" y="1888"/>
                    </a:lnTo>
                    <a:lnTo>
                      <a:pt x="28" y="1888"/>
                    </a:lnTo>
                    <a:lnTo>
                      <a:pt x="38" y="1888"/>
                    </a:lnTo>
                    <a:lnTo>
                      <a:pt x="38" y="1890"/>
                    </a:lnTo>
                    <a:lnTo>
                      <a:pt x="34" y="1892"/>
                    </a:lnTo>
                    <a:lnTo>
                      <a:pt x="34" y="1892"/>
                    </a:lnTo>
                    <a:lnTo>
                      <a:pt x="24" y="1898"/>
                    </a:lnTo>
                    <a:lnTo>
                      <a:pt x="22" y="1900"/>
                    </a:lnTo>
                    <a:lnTo>
                      <a:pt x="20" y="1904"/>
                    </a:lnTo>
                    <a:lnTo>
                      <a:pt x="16" y="1908"/>
                    </a:lnTo>
                    <a:lnTo>
                      <a:pt x="16" y="1908"/>
                    </a:lnTo>
                    <a:lnTo>
                      <a:pt x="14" y="1912"/>
                    </a:lnTo>
                    <a:lnTo>
                      <a:pt x="16" y="1914"/>
                    </a:lnTo>
                    <a:lnTo>
                      <a:pt x="24" y="1922"/>
                    </a:lnTo>
                    <a:lnTo>
                      <a:pt x="36" y="1928"/>
                    </a:lnTo>
                    <a:lnTo>
                      <a:pt x="40" y="1928"/>
                    </a:lnTo>
                    <a:lnTo>
                      <a:pt x="44" y="1928"/>
                    </a:lnTo>
                    <a:lnTo>
                      <a:pt x="44" y="1928"/>
                    </a:lnTo>
                    <a:lnTo>
                      <a:pt x="52" y="1926"/>
                    </a:lnTo>
                    <a:lnTo>
                      <a:pt x="58" y="1928"/>
                    </a:lnTo>
                    <a:lnTo>
                      <a:pt x="60" y="1928"/>
                    </a:lnTo>
                    <a:lnTo>
                      <a:pt x="60" y="1930"/>
                    </a:lnTo>
                    <a:lnTo>
                      <a:pt x="50" y="1934"/>
                    </a:lnTo>
                    <a:lnTo>
                      <a:pt x="50" y="1934"/>
                    </a:lnTo>
                    <a:lnTo>
                      <a:pt x="44" y="1936"/>
                    </a:lnTo>
                    <a:lnTo>
                      <a:pt x="42" y="1938"/>
                    </a:lnTo>
                    <a:lnTo>
                      <a:pt x="42" y="1940"/>
                    </a:lnTo>
                    <a:lnTo>
                      <a:pt x="42" y="1944"/>
                    </a:lnTo>
                    <a:lnTo>
                      <a:pt x="42" y="1948"/>
                    </a:lnTo>
                    <a:lnTo>
                      <a:pt x="40" y="1952"/>
                    </a:lnTo>
                    <a:lnTo>
                      <a:pt x="36" y="1956"/>
                    </a:lnTo>
                    <a:lnTo>
                      <a:pt x="28" y="1962"/>
                    </a:lnTo>
                    <a:lnTo>
                      <a:pt x="28" y="1962"/>
                    </a:lnTo>
                    <a:lnTo>
                      <a:pt x="22" y="1966"/>
                    </a:lnTo>
                    <a:lnTo>
                      <a:pt x="22" y="1968"/>
                    </a:lnTo>
                    <a:lnTo>
                      <a:pt x="26" y="1968"/>
                    </a:lnTo>
                    <a:lnTo>
                      <a:pt x="30" y="1968"/>
                    </a:lnTo>
                    <a:lnTo>
                      <a:pt x="58" y="1960"/>
                    </a:lnTo>
                    <a:lnTo>
                      <a:pt x="58" y="1960"/>
                    </a:lnTo>
                    <a:lnTo>
                      <a:pt x="64" y="1960"/>
                    </a:lnTo>
                    <a:lnTo>
                      <a:pt x="66" y="1960"/>
                    </a:lnTo>
                    <a:lnTo>
                      <a:pt x="66" y="1962"/>
                    </a:lnTo>
                    <a:lnTo>
                      <a:pt x="66" y="1964"/>
                    </a:lnTo>
                    <a:lnTo>
                      <a:pt x="62" y="1966"/>
                    </a:lnTo>
                    <a:lnTo>
                      <a:pt x="50" y="1968"/>
                    </a:lnTo>
                    <a:lnTo>
                      <a:pt x="50" y="1968"/>
                    </a:lnTo>
                    <a:lnTo>
                      <a:pt x="36" y="1970"/>
                    </a:lnTo>
                    <a:lnTo>
                      <a:pt x="28" y="1974"/>
                    </a:lnTo>
                    <a:lnTo>
                      <a:pt x="24" y="1978"/>
                    </a:lnTo>
                    <a:lnTo>
                      <a:pt x="26" y="1982"/>
                    </a:lnTo>
                    <a:lnTo>
                      <a:pt x="26" y="1982"/>
                    </a:lnTo>
                    <a:lnTo>
                      <a:pt x="28" y="1984"/>
                    </a:lnTo>
                    <a:lnTo>
                      <a:pt x="26" y="1986"/>
                    </a:lnTo>
                    <a:lnTo>
                      <a:pt x="22" y="1984"/>
                    </a:lnTo>
                    <a:lnTo>
                      <a:pt x="14" y="1984"/>
                    </a:lnTo>
                    <a:lnTo>
                      <a:pt x="10" y="1986"/>
                    </a:lnTo>
                    <a:lnTo>
                      <a:pt x="4" y="1988"/>
                    </a:lnTo>
                    <a:lnTo>
                      <a:pt x="4" y="1988"/>
                    </a:lnTo>
                    <a:lnTo>
                      <a:pt x="0" y="1994"/>
                    </a:lnTo>
                    <a:lnTo>
                      <a:pt x="0" y="1996"/>
                    </a:lnTo>
                    <a:lnTo>
                      <a:pt x="2" y="1996"/>
                    </a:lnTo>
                    <a:lnTo>
                      <a:pt x="6" y="1996"/>
                    </a:lnTo>
                    <a:lnTo>
                      <a:pt x="10" y="1996"/>
                    </a:lnTo>
                    <a:lnTo>
                      <a:pt x="14" y="1996"/>
                    </a:lnTo>
                    <a:lnTo>
                      <a:pt x="14" y="2000"/>
                    </a:lnTo>
                    <a:lnTo>
                      <a:pt x="10" y="2004"/>
                    </a:lnTo>
                    <a:lnTo>
                      <a:pt x="10" y="2004"/>
                    </a:lnTo>
                    <a:lnTo>
                      <a:pt x="6" y="2010"/>
                    </a:lnTo>
                    <a:lnTo>
                      <a:pt x="4" y="2012"/>
                    </a:lnTo>
                    <a:lnTo>
                      <a:pt x="8" y="2014"/>
                    </a:lnTo>
                    <a:lnTo>
                      <a:pt x="12" y="2016"/>
                    </a:lnTo>
                    <a:lnTo>
                      <a:pt x="18" y="2018"/>
                    </a:lnTo>
                    <a:lnTo>
                      <a:pt x="20" y="2020"/>
                    </a:lnTo>
                    <a:lnTo>
                      <a:pt x="16" y="2024"/>
                    </a:lnTo>
                    <a:lnTo>
                      <a:pt x="16" y="2024"/>
                    </a:lnTo>
                    <a:lnTo>
                      <a:pt x="14" y="2026"/>
                    </a:lnTo>
                    <a:lnTo>
                      <a:pt x="16" y="2026"/>
                    </a:lnTo>
                    <a:lnTo>
                      <a:pt x="28" y="2022"/>
                    </a:lnTo>
                    <a:lnTo>
                      <a:pt x="36" y="2020"/>
                    </a:lnTo>
                    <a:lnTo>
                      <a:pt x="36" y="2022"/>
                    </a:lnTo>
                    <a:lnTo>
                      <a:pt x="30" y="2026"/>
                    </a:lnTo>
                    <a:lnTo>
                      <a:pt x="30" y="2026"/>
                    </a:lnTo>
                    <a:lnTo>
                      <a:pt x="28" y="2030"/>
                    </a:lnTo>
                    <a:lnTo>
                      <a:pt x="28" y="2032"/>
                    </a:lnTo>
                    <a:lnTo>
                      <a:pt x="30" y="2034"/>
                    </a:lnTo>
                    <a:lnTo>
                      <a:pt x="38" y="2034"/>
                    </a:lnTo>
                    <a:lnTo>
                      <a:pt x="48" y="2032"/>
                    </a:lnTo>
                    <a:lnTo>
                      <a:pt x="70" y="2028"/>
                    </a:lnTo>
                    <a:lnTo>
                      <a:pt x="78" y="2024"/>
                    </a:lnTo>
                    <a:lnTo>
                      <a:pt x="84" y="2020"/>
                    </a:lnTo>
                    <a:lnTo>
                      <a:pt x="84" y="2020"/>
                    </a:lnTo>
                    <a:close/>
                    <a:moveTo>
                      <a:pt x="154" y="1672"/>
                    </a:moveTo>
                    <a:lnTo>
                      <a:pt x="154" y="1672"/>
                    </a:lnTo>
                    <a:lnTo>
                      <a:pt x="156" y="1672"/>
                    </a:lnTo>
                    <a:lnTo>
                      <a:pt x="156" y="1672"/>
                    </a:lnTo>
                    <a:lnTo>
                      <a:pt x="158" y="1670"/>
                    </a:lnTo>
                    <a:lnTo>
                      <a:pt x="162" y="1672"/>
                    </a:lnTo>
                    <a:lnTo>
                      <a:pt x="162" y="1672"/>
                    </a:lnTo>
                    <a:lnTo>
                      <a:pt x="162" y="1674"/>
                    </a:lnTo>
                    <a:lnTo>
                      <a:pt x="162" y="1676"/>
                    </a:lnTo>
                    <a:lnTo>
                      <a:pt x="162" y="1678"/>
                    </a:lnTo>
                    <a:lnTo>
                      <a:pt x="164" y="1682"/>
                    </a:lnTo>
                    <a:lnTo>
                      <a:pt x="164" y="1682"/>
                    </a:lnTo>
                    <a:lnTo>
                      <a:pt x="168" y="1684"/>
                    </a:lnTo>
                    <a:lnTo>
                      <a:pt x="170" y="1684"/>
                    </a:lnTo>
                    <a:lnTo>
                      <a:pt x="174" y="1682"/>
                    </a:lnTo>
                    <a:lnTo>
                      <a:pt x="180" y="1682"/>
                    </a:lnTo>
                    <a:lnTo>
                      <a:pt x="180" y="1682"/>
                    </a:lnTo>
                    <a:lnTo>
                      <a:pt x="182" y="1684"/>
                    </a:lnTo>
                    <a:lnTo>
                      <a:pt x="182" y="1684"/>
                    </a:lnTo>
                    <a:lnTo>
                      <a:pt x="182" y="1688"/>
                    </a:lnTo>
                    <a:lnTo>
                      <a:pt x="180" y="1692"/>
                    </a:lnTo>
                    <a:lnTo>
                      <a:pt x="180" y="1694"/>
                    </a:lnTo>
                    <a:lnTo>
                      <a:pt x="180" y="1694"/>
                    </a:lnTo>
                    <a:lnTo>
                      <a:pt x="182" y="1692"/>
                    </a:lnTo>
                    <a:lnTo>
                      <a:pt x="186" y="1688"/>
                    </a:lnTo>
                    <a:lnTo>
                      <a:pt x="192" y="1678"/>
                    </a:lnTo>
                    <a:lnTo>
                      <a:pt x="192" y="1678"/>
                    </a:lnTo>
                    <a:lnTo>
                      <a:pt x="192" y="1676"/>
                    </a:lnTo>
                    <a:lnTo>
                      <a:pt x="190" y="1676"/>
                    </a:lnTo>
                    <a:lnTo>
                      <a:pt x="184" y="1678"/>
                    </a:lnTo>
                    <a:lnTo>
                      <a:pt x="180" y="1676"/>
                    </a:lnTo>
                    <a:lnTo>
                      <a:pt x="180" y="1676"/>
                    </a:lnTo>
                    <a:lnTo>
                      <a:pt x="178" y="1674"/>
                    </a:lnTo>
                    <a:lnTo>
                      <a:pt x="176" y="1672"/>
                    </a:lnTo>
                    <a:lnTo>
                      <a:pt x="174" y="1662"/>
                    </a:lnTo>
                    <a:lnTo>
                      <a:pt x="172" y="1654"/>
                    </a:lnTo>
                    <a:lnTo>
                      <a:pt x="170" y="1652"/>
                    </a:lnTo>
                    <a:lnTo>
                      <a:pt x="168" y="1650"/>
                    </a:lnTo>
                    <a:lnTo>
                      <a:pt x="168" y="1650"/>
                    </a:lnTo>
                    <a:lnTo>
                      <a:pt x="166" y="1650"/>
                    </a:lnTo>
                    <a:lnTo>
                      <a:pt x="166" y="1652"/>
                    </a:lnTo>
                    <a:lnTo>
                      <a:pt x="166" y="1656"/>
                    </a:lnTo>
                    <a:lnTo>
                      <a:pt x="166" y="1662"/>
                    </a:lnTo>
                    <a:lnTo>
                      <a:pt x="166" y="1664"/>
                    </a:lnTo>
                    <a:lnTo>
                      <a:pt x="166" y="1664"/>
                    </a:lnTo>
                    <a:lnTo>
                      <a:pt x="162" y="1664"/>
                    </a:lnTo>
                    <a:lnTo>
                      <a:pt x="160" y="1660"/>
                    </a:lnTo>
                    <a:lnTo>
                      <a:pt x="158" y="1658"/>
                    </a:lnTo>
                    <a:lnTo>
                      <a:pt x="154" y="1656"/>
                    </a:lnTo>
                    <a:lnTo>
                      <a:pt x="154" y="1656"/>
                    </a:lnTo>
                    <a:lnTo>
                      <a:pt x="154" y="1658"/>
                    </a:lnTo>
                    <a:lnTo>
                      <a:pt x="154" y="1660"/>
                    </a:lnTo>
                    <a:lnTo>
                      <a:pt x="156" y="1664"/>
                    </a:lnTo>
                    <a:lnTo>
                      <a:pt x="156" y="1664"/>
                    </a:lnTo>
                    <a:lnTo>
                      <a:pt x="154" y="1666"/>
                    </a:lnTo>
                    <a:lnTo>
                      <a:pt x="150" y="1666"/>
                    </a:lnTo>
                    <a:lnTo>
                      <a:pt x="150" y="1668"/>
                    </a:lnTo>
                    <a:lnTo>
                      <a:pt x="154" y="1672"/>
                    </a:lnTo>
                    <a:lnTo>
                      <a:pt x="154" y="1672"/>
                    </a:lnTo>
                    <a:close/>
                    <a:moveTo>
                      <a:pt x="146" y="1346"/>
                    </a:moveTo>
                    <a:lnTo>
                      <a:pt x="146" y="1346"/>
                    </a:lnTo>
                    <a:lnTo>
                      <a:pt x="142" y="1346"/>
                    </a:lnTo>
                    <a:lnTo>
                      <a:pt x="144" y="1352"/>
                    </a:lnTo>
                    <a:lnTo>
                      <a:pt x="144" y="1352"/>
                    </a:lnTo>
                    <a:lnTo>
                      <a:pt x="148" y="1358"/>
                    </a:lnTo>
                    <a:lnTo>
                      <a:pt x="154" y="1362"/>
                    </a:lnTo>
                    <a:lnTo>
                      <a:pt x="154" y="1362"/>
                    </a:lnTo>
                    <a:lnTo>
                      <a:pt x="158" y="1364"/>
                    </a:lnTo>
                    <a:lnTo>
                      <a:pt x="160" y="1364"/>
                    </a:lnTo>
                    <a:lnTo>
                      <a:pt x="162" y="1362"/>
                    </a:lnTo>
                    <a:lnTo>
                      <a:pt x="160" y="1360"/>
                    </a:lnTo>
                    <a:lnTo>
                      <a:pt x="160" y="1360"/>
                    </a:lnTo>
                    <a:lnTo>
                      <a:pt x="158" y="1358"/>
                    </a:lnTo>
                    <a:lnTo>
                      <a:pt x="160" y="1358"/>
                    </a:lnTo>
                    <a:lnTo>
                      <a:pt x="160" y="1356"/>
                    </a:lnTo>
                    <a:lnTo>
                      <a:pt x="158" y="1356"/>
                    </a:lnTo>
                    <a:lnTo>
                      <a:pt x="158" y="1356"/>
                    </a:lnTo>
                    <a:lnTo>
                      <a:pt x="154" y="1354"/>
                    </a:lnTo>
                    <a:lnTo>
                      <a:pt x="154" y="1352"/>
                    </a:lnTo>
                    <a:lnTo>
                      <a:pt x="154" y="1350"/>
                    </a:lnTo>
                    <a:lnTo>
                      <a:pt x="152" y="1350"/>
                    </a:lnTo>
                    <a:lnTo>
                      <a:pt x="152" y="1350"/>
                    </a:lnTo>
                    <a:lnTo>
                      <a:pt x="148" y="1350"/>
                    </a:lnTo>
                    <a:lnTo>
                      <a:pt x="148" y="1348"/>
                    </a:lnTo>
                    <a:lnTo>
                      <a:pt x="148" y="1346"/>
                    </a:lnTo>
                    <a:lnTo>
                      <a:pt x="146" y="1346"/>
                    </a:lnTo>
                    <a:lnTo>
                      <a:pt x="146" y="1346"/>
                    </a:lnTo>
                    <a:close/>
                    <a:moveTo>
                      <a:pt x="166" y="1740"/>
                    </a:moveTo>
                    <a:lnTo>
                      <a:pt x="166" y="1740"/>
                    </a:lnTo>
                    <a:lnTo>
                      <a:pt x="166" y="1742"/>
                    </a:lnTo>
                    <a:lnTo>
                      <a:pt x="168" y="1742"/>
                    </a:lnTo>
                    <a:lnTo>
                      <a:pt x="174" y="1740"/>
                    </a:lnTo>
                    <a:lnTo>
                      <a:pt x="188" y="1736"/>
                    </a:lnTo>
                    <a:lnTo>
                      <a:pt x="188" y="1736"/>
                    </a:lnTo>
                    <a:lnTo>
                      <a:pt x="194" y="1734"/>
                    </a:lnTo>
                    <a:lnTo>
                      <a:pt x="192" y="1732"/>
                    </a:lnTo>
                    <a:lnTo>
                      <a:pt x="190" y="1728"/>
                    </a:lnTo>
                    <a:lnTo>
                      <a:pt x="184" y="1724"/>
                    </a:lnTo>
                    <a:lnTo>
                      <a:pt x="184" y="1724"/>
                    </a:lnTo>
                    <a:lnTo>
                      <a:pt x="178" y="1722"/>
                    </a:lnTo>
                    <a:lnTo>
                      <a:pt x="176" y="1718"/>
                    </a:lnTo>
                    <a:lnTo>
                      <a:pt x="174" y="1718"/>
                    </a:lnTo>
                    <a:lnTo>
                      <a:pt x="170" y="1720"/>
                    </a:lnTo>
                    <a:lnTo>
                      <a:pt x="170" y="1720"/>
                    </a:lnTo>
                    <a:lnTo>
                      <a:pt x="168" y="1722"/>
                    </a:lnTo>
                    <a:lnTo>
                      <a:pt x="166" y="1724"/>
                    </a:lnTo>
                    <a:lnTo>
                      <a:pt x="174" y="1728"/>
                    </a:lnTo>
                    <a:lnTo>
                      <a:pt x="174" y="1728"/>
                    </a:lnTo>
                    <a:lnTo>
                      <a:pt x="176" y="1730"/>
                    </a:lnTo>
                    <a:lnTo>
                      <a:pt x="174" y="1730"/>
                    </a:lnTo>
                    <a:lnTo>
                      <a:pt x="172" y="1732"/>
                    </a:lnTo>
                    <a:lnTo>
                      <a:pt x="172" y="1734"/>
                    </a:lnTo>
                    <a:lnTo>
                      <a:pt x="172" y="1734"/>
                    </a:lnTo>
                    <a:lnTo>
                      <a:pt x="172" y="1736"/>
                    </a:lnTo>
                    <a:lnTo>
                      <a:pt x="170" y="1736"/>
                    </a:lnTo>
                    <a:lnTo>
                      <a:pt x="168" y="1738"/>
                    </a:lnTo>
                    <a:lnTo>
                      <a:pt x="166" y="1740"/>
                    </a:lnTo>
                    <a:lnTo>
                      <a:pt x="166" y="1740"/>
                    </a:lnTo>
                    <a:close/>
                    <a:moveTo>
                      <a:pt x="362" y="2084"/>
                    </a:moveTo>
                    <a:lnTo>
                      <a:pt x="362" y="2084"/>
                    </a:lnTo>
                    <a:lnTo>
                      <a:pt x="370" y="2088"/>
                    </a:lnTo>
                    <a:lnTo>
                      <a:pt x="376" y="2088"/>
                    </a:lnTo>
                    <a:lnTo>
                      <a:pt x="380" y="2086"/>
                    </a:lnTo>
                    <a:lnTo>
                      <a:pt x="378" y="2082"/>
                    </a:lnTo>
                    <a:lnTo>
                      <a:pt x="378" y="2082"/>
                    </a:lnTo>
                    <a:lnTo>
                      <a:pt x="376" y="2080"/>
                    </a:lnTo>
                    <a:lnTo>
                      <a:pt x="372" y="2078"/>
                    </a:lnTo>
                    <a:lnTo>
                      <a:pt x="366" y="2080"/>
                    </a:lnTo>
                    <a:lnTo>
                      <a:pt x="362" y="2084"/>
                    </a:lnTo>
                    <a:lnTo>
                      <a:pt x="362" y="2084"/>
                    </a:lnTo>
                    <a:close/>
                    <a:moveTo>
                      <a:pt x="174" y="1354"/>
                    </a:moveTo>
                    <a:lnTo>
                      <a:pt x="174" y="1354"/>
                    </a:lnTo>
                    <a:lnTo>
                      <a:pt x="176" y="1352"/>
                    </a:lnTo>
                    <a:lnTo>
                      <a:pt x="176" y="1350"/>
                    </a:lnTo>
                    <a:lnTo>
                      <a:pt x="174" y="1348"/>
                    </a:lnTo>
                    <a:lnTo>
                      <a:pt x="174" y="1348"/>
                    </a:lnTo>
                    <a:lnTo>
                      <a:pt x="174" y="1350"/>
                    </a:lnTo>
                    <a:lnTo>
                      <a:pt x="172" y="1350"/>
                    </a:lnTo>
                    <a:lnTo>
                      <a:pt x="172" y="1352"/>
                    </a:lnTo>
                    <a:lnTo>
                      <a:pt x="174" y="1354"/>
                    </a:lnTo>
                    <a:lnTo>
                      <a:pt x="174" y="1354"/>
                    </a:lnTo>
                    <a:close/>
                    <a:moveTo>
                      <a:pt x="168" y="1784"/>
                    </a:moveTo>
                    <a:lnTo>
                      <a:pt x="168" y="1784"/>
                    </a:lnTo>
                    <a:lnTo>
                      <a:pt x="168" y="1784"/>
                    </a:lnTo>
                    <a:lnTo>
                      <a:pt x="170" y="1784"/>
                    </a:lnTo>
                    <a:lnTo>
                      <a:pt x="176" y="1780"/>
                    </a:lnTo>
                    <a:lnTo>
                      <a:pt x="176" y="1780"/>
                    </a:lnTo>
                    <a:lnTo>
                      <a:pt x="178" y="1776"/>
                    </a:lnTo>
                    <a:lnTo>
                      <a:pt x="178" y="1772"/>
                    </a:lnTo>
                    <a:lnTo>
                      <a:pt x="176" y="1768"/>
                    </a:lnTo>
                    <a:lnTo>
                      <a:pt x="176" y="1764"/>
                    </a:lnTo>
                    <a:lnTo>
                      <a:pt x="176" y="1764"/>
                    </a:lnTo>
                    <a:lnTo>
                      <a:pt x="176" y="1762"/>
                    </a:lnTo>
                    <a:lnTo>
                      <a:pt x="174" y="1762"/>
                    </a:lnTo>
                    <a:lnTo>
                      <a:pt x="172" y="1764"/>
                    </a:lnTo>
                    <a:lnTo>
                      <a:pt x="170" y="1766"/>
                    </a:lnTo>
                    <a:lnTo>
                      <a:pt x="168" y="1766"/>
                    </a:lnTo>
                    <a:lnTo>
                      <a:pt x="168" y="1766"/>
                    </a:lnTo>
                    <a:lnTo>
                      <a:pt x="168" y="1766"/>
                    </a:lnTo>
                    <a:lnTo>
                      <a:pt x="166" y="1764"/>
                    </a:lnTo>
                    <a:lnTo>
                      <a:pt x="166" y="1766"/>
                    </a:lnTo>
                    <a:lnTo>
                      <a:pt x="162" y="1768"/>
                    </a:lnTo>
                    <a:lnTo>
                      <a:pt x="158" y="1772"/>
                    </a:lnTo>
                    <a:lnTo>
                      <a:pt x="158" y="1774"/>
                    </a:lnTo>
                    <a:lnTo>
                      <a:pt x="160" y="1776"/>
                    </a:lnTo>
                    <a:lnTo>
                      <a:pt x="160" y="1776"/>
                    </a:lnTo>
                    <a:lnTo>
                      <a:pt x="162" y="1776"/>
                    </a:lnTo>
                    <a:lnTo>
                      <a:pt x="166" y="1774"/>
                    </a:lnTo>
                    <a:lnTo>
                      <a:pt x="168" y="1774"/>
                    </a:lnTo>
                    <a:lnTo>
                      <a:pt x="170" y="1776"/>
                    </a:lnTo>
                    <a:lnTo>
                      <a:pt x="170" y="1776"/>
                    </a:lnTo>
                    <a:lnTo>
                      <a:pt x="170" y="1778"/>
                    </a:lnTo>
                    <a:lnTo>
                      <a:pt x="168" y="1780"/>
                    </a:lnTo>
                    <a:lnTo>
                      <a:pt x="166" y="1782"/>
                    </a:lnTo>
                    <a:lnTo>
                      <a:pt x="168" y="1784"/>
                    </a:lnTo>
                    <a:lnTo>
                      <a:pt x="168" y="1784"/>
                    </a:lnTo>
                    <a:close/>
                    <a:moveTo>
                      <a:pt x="190" y="1748"/>
                    </a:moveTo>
                    <a:lnTo>
                      <a:pt x="190" y="1748"/>
                    </a:lnTo>
                    <a:lnTo>
                      <a:pt x="186" y="1752"/>
                    </a:lnTo>
                    <a:lnTo>
                      <a:pt x="182" y="1756"/>
                    </a:lnTo>
                    <a:lnTo>
                      <a:pt x="178" y="1762"/>
                    </a:lnTo>
                    <a:lnTo>
                      <a:pt x="178" y="1768"/>
                    </a:lnTo>
                    <a:lnTo>
                      <a:pt x="178" y="1768"/>
                    </a:lnTo>
                    <a:lnTo>
                      <a:pt x="180" y="1768"/>
                    </a:lnTo>
                    <a:lnTo>
                      <a:pt x="182" y="1766"/>
                    </a:lnTo>
                    <a:lnTo>
                      <a:pt x="188" y="1758"/>
                    </a:lnTo>
                    <a:lnTo>
                      <a:pt x="192" y="1750"/>
                    </a:lnTo>
                    <a:lnTo>
                      <a:pt x="192" y="1748"/>
                    </a:lnTo>
                    <a:lnTo>
                      <a:pt x="190" y="1748"/>
                    </a:lnTo>
                    <a:lnTo>
                      <a:pt x="190" y="1748"/>
                    </a:lnTo>
                    <a:close/>
                    <a:moveTo>
                      <a:pt x="700" y="1324"/>
                    </a:moveTo>
                    <a:lnTo>
                      <a:pt x="700" y="1324"/>
                    </a:lnTo>
                    <a:lnTo>
                      <a:pt x="698" y="1322"/>
                    </a:lnTo>
                    <a:lnTo>
                      <a:pt x="694" y="1322"/>
                    </a:lnTo>
                    <a:lnTo>
                      <a:pt x="690" y="1324"/>
                    </a:lnTo>
                    <a:lnTo>
                      <a:pt x="690" y="1326"/>
                    </a:lnTo>
                    <a:lnTo>
                      <a:pt x="690" y="1326"/>
                    </a:lnTo>
                    <a:lnTo>
                      <a:pt x="692" y="1326"/>
                    </a:lnTo>
                    <a:lnTo>
                      <a:pt x="696" y="1326"/>
                    </a:lnTo>
                    <a:lnTo>
                      <a:pt x="700" y="1326"/>
                    </a:lnTo>
                    <a:lnTo>
                      <a:pt x="700" y="1324"/>
                    </a:lnTo>
                    <a:lnTo>
                      <a:pt x="700" y="1324"/>
                    </a:lnTo>
                    <a:lnTo>
                      <a:pt x="700" y="1324"/>
                    </a:lnTo>
                    <a:close/>
                    <a:moveTo>
                      <a:pt x="494" y="1970"/>
                    </a:moveTo>
                    <a:lnTo>
                      <a:pt x="494" y="1970"/>
                    </a:lnTo>
                    <a:lnTo>
                      <a:pt x="492" y="1962"/>
                    </a:lnTo>
                    <a:lnTo>
                      <a:pt x="486" y="1954"/>
                    </a:lnTo>
                    <a:lnTo>
                      <a:pt x="478" y="1948"/>
                    </a:lnTo>
                    <a:lnTo>
                      <a:pt x="470" y="1944"/>
                    </a:lnTo>
                    <a:lnTo>
                      <a:pt x="460" y="1942"/>
                    </a:lnTo>
                    <a:lnTo>
                      <a:pt x="452" y="1942"/>
                    </a:lnTo>
                    <a:lnTo>
                      <a:pt x="446" y="1944"/>
                    </a:lnTo>
                    <a:lnTo>
                      <a:pt x="442" y="1948"/>
                    </a:lnTo>
                    <a:lnTo>
                      <a:pt x="442" y="1948"/>
                    </a:lnTo>
                    <a:lnTo>
                      <a:pt x="438" y="1954"/>
                    </a:lnTo>
                    <a:lnTo>
                      <a:pt x="434" y="1954"/>
                    </a:lnTo>
                    <a:lnTo>
                      <a:pt x="432" y="1952"/>
                    </a:lnTo>
                    <a:lnTo>
                      <a:pt x="428" y="1950"/>
                    </a:lnTo>
                    <a:lnTo>
                      <a:pt x="428" y="1950"/>
                    </a:lnTo>
                    <a:lnTo>
                      <a:pt x="424" y="1948"/>
                    </a:lnTo>
                    <a:lnTo>
                      <a:pt x="424" y="1946"/>
                    </a:lnTo>
                    <a:lnTo>
                      <a:pt x="428" y="1942"/>
                    </a:lnTo>
                    <a:lnTo>
                      <a:pt x="434" y="1938"/>
                    </a:lnTo>
                    <a:lnTo>
                      <a:pt x="434" y="1938"/>
                    </a:lnTo>
                    <a:lnTo>
                      <a:pt x="436" y="1936"/>
                    </a:lnTo>
                    <a:lnTo>
                      <a:pt x="438" y="1932"/>
                    </a:lnTo>
                    <a:lnTo>
                      <a:pt x="434" y="1924"/>
                    </a:lnTo>
                    <a:lnTo>
                      <a:pt x="428" y="1914"/>
                    </a:lnTo>
                    <a:lnTo>
                      <a:pt x="418" y="1906"/>
                    </a:lnTo>
                    <a:lnTo>
                      <a:pt x="418" y="1906"/>
                    </a:lnTo>
                    <a:lnTo>
                      <a:pt x="410" y="1902"/>
                    </a:lnTo>
                    <a:lnTo>
                      <a:pt x="408" y="1898"/>
                    </a:lnTo>
                    <a:lnTo>
                      <a:pt x="410" y="1898"/>
                    </a:lnTo>
                    <a:lnTo>
                      <a:pt x="418" y="1902"/>
                    </a:lnTo>
                    <a:lnTo>
                      <a:pt x="418" y="1902"/>
                    </a:lnTo>
                    <a:lnTo>
                      <a:pt x="424" y="1906"/>
                    </a:lnTo>
                    <a:lnTo>
                      <a:pt x="428" y="1906"/>
                    </a:lnTo>
                    <a:lnTo>
                      <a:pt x="430" y="1904"/>
                    </a:lnTo>
                    <a:lnTo>
                      <a:pt x="428" y="1902"/>
                    </a:lnTo>
                    <a:lnTo>
                      <a:pt x="422" y="1894"/>
                    </a:lnTo>
                    <a:lnTo>
                      <a:pt x="422" y="1894"/>
                    </a:lnTo>
                    <a:lnTo>
                      <a:pt x="418" y="1888"/>
                    </a:lnTo>
                    <a:lnTo>
                      <a:pt x="416" y="1884"/>
                    </a:lnTo>
                    <a:lnTo>
                      <a:pt x="416" y="1876"/>
                    </a:lnTo>
                    <a:lnTo>
                      <a:pt x="416" y="1872"/>
                    </a:lnTo>
                    <a:lnTo>
                      <a:pt x="416" y="1870"/>
                    </a:lnTo>
                    <a:lnTo>
                      <a:pt x="412" y="1868"/>
                    </a:lnTo>
                    <a:lnTo>
                      <a:pt x="412" y="1868"/>
                    </a:lnTo>
                    <a:lnTo>
                      <a:pt x="408" y="1866"/>
                    </a:lnTo>
                    <a:lnTo>
                      <a:pt x="406" y="1864"/>
                    </a:lnTo>
                    <a:lnTo>
                      <a:pt x="404" y="1858"/>
                    </a:lnTo>
                    <a:lnTo>
                      <a:pt x="400" y="1852"/>
                    </a:lnTo>
                    <a:lnTo>
                      <a:pt x="396" y="1850"/>
                    </a:lnTo>
                    <a:lnTo>
                      <a:pt x="390" y="1848"/>
                    </a:lnTo>
                    <a:lnTo>
                      <a:pt x="390" y="1848"/>
                    </a:lnTo>
                    <a:lnTo>
                      <a:pt x="380" y="1844"/>
                    </a:lnTo>
                    <a:lnTo>
                      <a:pt x="376" y="1842"/>
                    </a:lnTo>
                    <a:lnTo>
                      <a:pt x="372" y="1836"/>
                    </a:lnTo>
                    <a:lnTo>
                      <a:pt x="366" y="1822"/>
                    </a:lnTo>
                    <a:lnTo>
                      <a:pt x="366" y="1822"/>
                    </a:lnTo>
                    <a:lnTo>
                      <a:pt x="360" y="1806"/>
                    </a:lnTo>
                    <a:lnTo>
                      <a:pt x="358" y="1794"/>
                    </a:lnTo>
                    <a:lnTo>
                      <a:pt x="356" y="1786"/>
                    </a:lnTo>
                    <a:lnTo>
                      <a:pt x="354" y="1782"/>
                    </a:lnTo>
                    <a:lnTo>
                      <a:pt x="352" y="1780"/>
                    </a:lnTo>
                    <a:lnTo>
                      <a:pt x="352" y="1780"/>
                    </a:lnTo>
                    <a:lnTo>
                      <a:pt x="346" y="1774"/>
                    </a:lnTo>
                    <a:lnTo>
                      <a:pt x="342" y="1768"/>
                    </a:lnTo>
                    <a:lnTo>
                      <a:pt x="336" y="1762"/>
                    </a:lnTo>
                    <a:lnTo>
                      <a:pt x="322" y="1756"/>
                    </a:lnTo>
                    <a:lnTo>
                      <a:pt x="322" y="1756"/>
                    </a:lnTo>
                    <a:lnTo>
                      <a:pt x="314" y="1754"/>
                    </a:lnTo>
                    <a:lnTo>
                      <a:pt x="310" y="1754"/>
                    </a:lnTo>
                    <a:lnTo>
                      <a:pt x="308" y="1754"/>
                    </a:lnTo>
                    <a:lnTo>
                      <a:pt x="306" y="1756"/>
                    </a:lnTo>
                    <a:lnTo>
                      <a:pt x="302" y="1758"/>
                    </a:lnTo>
                    <a:lnTo>
                      <a:pt x="298" y="1760"/>
                    </a:lnTo>
                    <a:lnTo>
                      <a:pt x="290" y="1758"/>
                    </a:lnTo>
                    <a:lnTo>
                      <a:pt x="290" y="1758"/>
                    </a:lnTo>
                    <a:lnTo>
                      <a:pt x="286" y="1758"/>
                    </a:lnTo>
                    <a:lnTo>
                      <a:pt x="288" y="1756"/>
                    </a:lnTo>
                    <a:lnTo>
                      <a:pt x="294" y="1754"/>
                    </a:lnTo>
                    <a:lnTo>
                      <a:pt x="300" y="1748"/>
                    </a:lnTo>
                    <a:lnTo>
                      <a:pt x="300" y="1748"/>
                    </a:lnTo>
                    <a:lnTo>
                      <a:pt x="302" y="1746"/>
                    </a:lnTo>
                    <a:lnTo>
                      <a:pt x="304" y="1746"/>
                    </a:lnTo>
                    <a:lnTo>
                      <a:pt x="308" y="1746"/>
                    </a:lnTo>
                    <a:lnTo>
                      <a:pt x="316" y="1742"/>
                    </a:lnTo>
                    <a:lnTo>
                      <a:pt x="316" y="1742"/>
                    </a:lnTo>
                    <a:lnTo>
                      <a:pt x="318" y="1742"/>
                    </a:lnTo>
                    <a:lnTo>
                      <a:pt x="318" y="1740"/>
                    </a:lnTo>
                    <a:lnTo>
                      <a:pt x="316" y="1738"/>
                    </a:lnTo>
                    <a:lnTo>
                      <a:pt x="310" y="1736"/>
                    </a:lnTo>
                    <a:lnTo>
                      <a:pt x="308" y="1734"/>
                    </a:lnTo>
                    <a:lnTo>
                      <a:pt x="308" y="1734"/>
                    </a:lnTo>
                    <a:lnTo>
                      <a:pt x="308" y="1734"/>
                    </a:lnTo>
                    <a:lnTo>
                      <a:pt x="308" y="1730"/>
                    </a:lnTo>
                    <a:lnTo>
                      <a:pt x="304" y="1728"/>
                    </a:lnTo>
                    <a:lnTo>
                      <a:pt x="304" y="1726"/>
                    </a:lnTo>
                    <a:lnTo>
                      <a:pt x="306" y="1728"/>
                    </a:lnTo>
                    <a:lnTo>
                      <a:pt x="306" y="1728"/>
                    </a:lnTo>
                    <a:lnTo>
                      <a:pt x="312" y="1728"/>
                    </a:lnTo>
                    <a:lnTo>
                      <a:pt x="314" y="1728"/>
                    </a:lnTo>
                    <a:lnTo>
                      <a:pt x="318" y="1726"/>
                    </a:lnTo>
                    <a:lnTo>
                      <a:pt x="326" y="1716"/>
                    </a:lnTo>
                    <a:lnTo>
                      <a:pt x="334" y="1696"/>
                    </a:lnTo>
                    <a:lnTo>
                      <a:pt x="334" y="1696"/>
                    </a:lnTo>
                    <a:lnTo>
                      <a:pt x="342" y="1678"/>
                    </a:lnTo>
                    <a:lnTo>
                      <a:pt x="348" y="1668"/>
                    </a:lnTo>
                    <a:lnTo>
                      <a:pt x="350" y="1664"/>
                    </a:lnTo>
                    <a:lnTo>
                      <a:pt x="348" y="1656"/>
                    </a:lnTo>
                    <a:lnTo>
                      <a:pt x="348" y="1656"/>
                    </a:lnTo>
                    <a:lnTo>
                      <a:pt x="346" y="1652"/>
                    </a:lnTo>
                    <a:lnTo>
                      <a:pt x="342" y="1650"/>
                    </a:lnTo>
                    <a:lnTo>
                      <a:pt x="332" y="1650"/>
                    </a:lnTo>
                    <a:lnTo>
                      <a:pt x="320" y="1650"/>
                    </a:lnTo>
                    <a:lnTo>
                      <a:pt x="302" y="1650"/>
                    </a:lnTo>
                    <a:lnTo>
                      <a:pt x="302" y="1650"/>
                    </a:lnTo>
                    <a:lnTo>
                      <a:pt x="286" y="1650"/>
                    </a:lnTo>
                    <a:lnTo>
                      <a:pt x="274" y="1652"/>
                    </a:lnTo>
                    <a:lnTo>
                      <a:pt x="268" y="1656"/>
                    </a:lnTo>
                    <a:lnTo>
                      <a:pt x="262" y="1658"/>
                    </a:lnTo>
                    <a:lnTo>
                      <a:pt x="262" y="1658"/>
                    </a:lnTo>
                    <a:lnTo>
                      <a:pt x="258" y="1658"/>
                    </a:lnTo>
                    <a:lnTo>
                      <a:pt x="258" y="1654"/>
                    </a:lnTo>
                    <a:lnTo>
                      <a:pt x="268" y="1644"/>
                    </a:lnTo>
                    <a:lnTo>
                      <a:pt x="268" y="1644"/>
                    </a:lnTo>
                    <a:lnTo>
                      <a:pt x="270" y="1642"/>
                    </a:lnTo>
                    <a:lnTo>
                      <a:pt x="268" y="1642"/>
                    </a:lnTo>
                    <a:lnTo>
                      <a:pt x="264" y="1642"/>
                    </a:lnTo>
                    <a:lnTo>
                      <a:pt x="258" y="1642"/>
                    </a:lnTo>
                    <a:lnTo>
                      <a:pt x="258" y="1642"/>
                    </a:lnTo>
                    <a:lnTo>
                      <a:pt x="260" y="1640"/>
                    </a:lnTo>
                    <a:lnTo>
                      <a:pt x="260" y="1640"/>
                    </a:lnTo>
                    <a:lnTo>
                      <a:pt x="270" y="1632"/>
                    </a:lnTo>
                    <a:lnTo>
                      <a:pt x="284" y="1620"/>
                    </a:lnTo>
                    <a:lnTo>
                      <a:pt x="296" y="1608"/>
                    </a:lnTo>
                    <a:lnTo>
                      <a:pt x="300" y="1604"/>
                    </a:lnTo>
                    <a:lnTo>
                      <a:pt x="300" y="1600"/>
                    </a:lnTo>
                    <a:lnTo>
                      <a:pt x="300" y="1600"/>
                    </a:lnTo>
                    <a:lnTo>
                      <a:pt x="298" y="1598"/>
                    </a:lnTo>
                    <a:lnTo>
                      <a:pt x="298" y="1596"/>
                    </a:lnTo>
                    <a:lnTo>
                      <a:pt x="300" y="1592"/>
                    </a:lnTo>
                    <a:lnTo>
                      <a:pt x="300" y="1590"/>
                    </a:lnTo>
                    <a:lnTo>
                      <a:pt x="300" y="1590"/>
                    </a:lnTo>
                    <a:lnTo>
                      <a:pt x="292" y="1588"/>
                    </a:lnTo>
                    <a:lnTo>
                      <a:pt x="292" y="1588"/>
                    </a:lnTo>
                    <a:lnTo>
                      <a:pt x="286" y="1588"/>
                    </a:lnTo>
                    <a:lnTo>
                      <a:pt x="284" y="1590"/>
                    </a:lnTo>
                    <a:lnTo>
                      <a:pt x="284" y="1592"/>
                    </a:lnTo>
                    <a:lnTo>
                      <a:pt x="280" y="1592"/>
                    </a:lnTo>
                    <a:lnTo>
                      <a:pt x="280" y="1592"/>
                    </a:lnTo>
                    <a:lnTo>
                      <a:pt x="272" y="1592"/>
                    </a:lnTo>
                    <a:lnTo>
                      <a:pt x="262" y="1594"/>
                    </a:lnTo>
                    <a:lnTo>
                      <a:pt x="254" y="1596"/>
                    </a:lnTo>
                    <a:lnTo>
                      <a:pt x="246" y="1596"/>
                    </a:lnTo>
                    <a:lnTo>
                      <a:pt x="246" y="1596"/>
                    </a:lnTo>
                    <a:lnTo>
                      <a:pt x="242" y="1594"/>
                    </a:lnTo>
                    <a:lnTo>
                      <a:pt x="238" y="1596"/>
                    </a:lnTo>
                    <a:lnTo>
                      <a:pt x="236" y="1596"/>
                    </a:lnTo>
                    <a:lnTo>
                      <a:pt x="232" y="1594"/>
                    </a:lnTo>
                    <a:lnTo>
                      <a:pt x="232" y="1594"/>
                    </a:lnTo>
                    <a:lnTo>
                      <a:pt x="226" y="1592"/>
                    </a:lnTo>
                    <a:lnTo>
                      <a:pt x="222" y="1590"/>
                    </a:lnTo>
                    <a:lnTo>
                      <a:pt x="218" y="1594"/>
                    </a:lnTo>
                    <a:lnTo>
                      <a:pt x="218" y="1600"/>
                    </a:lnTo>
                    <a:lnTo>
                      <a:pt x="218" y="1600"/>
                    </a:lnTo>
                    <a:lnTo>
                      <a:pt x="218" y="1602"/>
                    </a:lnTo>
                    <a:lnTo>
                      <a:pt x="218" y="1604"/>
                    </a:lnTo>
                    <a:lnTo>
                      <a:pt x="214" y="1606"/>
                    </a:lnTo>
                    <a:lnTo>
                      <a:pt x="212" y="1606"/>
                    </a:lnTo>
                    <a:lnTo>
                      <a:pt x="216" y="1612"/>
                    </a:lnTo>
                    <a:lnTo>
                      <a:pt x="216" y="1612"/>
                    </a:lnTo>
                    <a:lnTo>
                      <a:pt x="218" y="1616"/>
                    </a:lnTo>
                    <a:lnTo>
                      <a:pt x="218" y="1616"/>
                    </a:lnTo>
                    <a:lnTo>
                      <a:pt x="212" y="1616"/>
                    </a:lnTo>
                    <a:lnTo>
                      <a:pt x="206" y="1614"/>
                    </a:lnTo>
                    <a:lnTo>
                      <a:pt x="206" y="1614"/>
                    </a:lnTo>
                    <a:lnTo>
                      <a:pt x="206" y="1618"/>
                    </a:lnTo>
                    <a:lnTo>
                      <a:pt x="206" y="1618"/>
                    </a:lnTo>
                    <a:lnTo>
                      <a:pt x="210" y="1622"/>
                    </a:lnTo>
                    <a:lnTo>
                      <a:pt x="210" y="1624"/>
                    </a:lnTo>
                    <a:lnTo>
                      <a:pt x="210" y="1626"/>
                    </a:lnTo>
                    <a:lnTo>
                      <a:pt x="208" y="1626"/>
                    </a:lnTo>
                    <a:lnTo>
                      <a:pt x="204" y="1626"/>
                    </a:lnTo>
                    <a:lnTo>
                      <a:pt x="202" y="1626"/>
                    </a:lnTo>
                    <a:lnTo>
                      <a:pt x="204" y="1628"/>
                    </a:lnTo>
                    <a:lnTo>
                      <a:pt x="204" y="1628"/>
                    </a:lnTo>
                    <a:lnTo>
                      <a:pt x="206" y="1632"/>
                    </a:lnTo>
                    <a:lnTo>
                      <a:pt x="206" y="1636"/>
                    </a:lnTo>
                    <a:lnTo>
                      <a:pt x="206" y="1638"/>
                    </a:lnTo>
                    <a:lnTo>
                      <a:pt x="202" y="1638"/>
                    </a:lnTo>
                    <a:lnTo>
                      <a:pt x="202" y="1638"/>
                    </a:lnTo>
                    <a:lnTo>
                      <a:pt x="190" y="1638"/>
                    </a:lnTo>
                    <a:lnTo>
                      <a:pt x="188" y="1640"/>
                    </a:lnTo>
                    <a:lnTo>
                      <a:pt x="188" y="1646"/>
                    </a:lnTo>
                    <a:lnTo>
                      <a:pt x="188" y="1646"/>
                    </a:lnTo>
                    <a:lnTo>
                      <a:pt x="190" y="1650"/>
                    </a:lnTo>
                    <a:lnTo>
                      <a:pt x="190" y="1654"/>
                    </a:lnTo>
                    <a:lnTo>
                      <a:pt x="188" y="1660"/>
                    </a:lnTo>
                    <a:lnTo>
                      <a:pt x="188" y="1668"/>
                    </a:lnTo>
                    <a:lnTo>
                      <a:pt x="188" y="1668"/>
                    </a:lnTo>
                    <a:lnTo>
                      <a:pt x="188" y="1672"/>
                    </a:lnTo>
                    <a:lnTo>
                      <a:pt x="190" y="1674"/>
                    </a:lnTo>
                    <a:lnTo>
                      <a:pt x="194" y="1674"/>
                    </a:lnTo>
                    <a:lnTo>
                      <a:pt x="196" y="1676"/>
                    </a:lnTo>
                    <a:lnTo>
                      <a:pt x="194" y="1682"/>
                    </a:lnTo>
                    <a:lnTo>
                      <a:pt x="194" y="1682"/>
                    </a:lnTo>
                    <a:lnTo>
                      <a:pt x="192" y="1686"/>
                    </a:lnTo>
                    <a:lnTo>
                      <a:pt x="190" y="1690"/>
                    </a:lnTo>
                    <a:lnTo>
                      <a:pt x="188" y="1690"/>
                    </a:lnTo>
                    <a:lnTo>
                      <a:pt x="190" y="1692"/>
                    </a:lnTo>
                    <a:lnTo>
                      <a:pt x="190" y="1692"/>
                    </a:lnTo>
                    <a:lnTo>
                      <a:pt x="190" y="1694"/>
                    </a:lnTo>
                    <a:lnTo>
                      <a:pt x="190" y="1696"/>
                    </a:lnTo>
                    <a:lnTo>
                      <a:pt x="186" y="1698"/>
                    </a:lnTo>
                    <a:lnTo>
                      <a:pt x="184" y="1700"/>
                    </a:lnTo>
                    <a:lnTo>
                      <a:pt x="188" y="1702"/>
                    </a:lnTo>
                    <a:lnTo>
                      <a:pt x="188" y="1702"/>
                    </a:lnTo>
                    <a:lnTo>
                      <a:pt x="188" y="1704"/>
                    </a:lnTo>
                    <a:lnTo>
                      <a:pt x="186" y="1706"/>
                    </a:lnTo>
                    <a:lnTo>
                      <a:pt x="182" y="1708"/>
                    </a:lnTo>
                    <a:lnTo>
                      <a:pt x="178" y="1708"/>
                    </a:lnTo>
                    <a:lnTo>
                      <a:pt x="178" y="1708"/>
                    </a:lnTo>
                    <a:lnTo>
                      <a:pt x="174" y="1708"/>
                    </a:lnTo>
                    <a:lnTo>
                      <a:pt x="172" y="1710"/>
                    </a:lnTo>
                    <a:lnTo>
                      <a:pt x="172" y="1712"/>
                    </a:lnTo>
                    <a:lnTo>
                      <a:pt x="174" y="1714"/>
                    </a:lnTo>
                    <a:lnTo>
                      <a:pt x="182" y="1714"/>
                    </a:lnTo>
                    <a:lnTo>
                      <a:pt x="182" y="1714"/>
                    </a:lnTo>
                    <a:lnTo>
                      <a:pt x="190" y="1712"/>
                    </a:lnTo>
                    <a:lnTo>
                      <a:pt x="192" y="1714"/>
                    </a:lnTo>
                    <a:lnTo>
                      <a:pt x="184" y="1716"/>
                    </a:lnTo>
                    <a:lnTo>
                      <a:pt x="184" y="1716"/>
                    </a:lnTo>
                    <a:lnTo>
                      <a:pt x="180" y="1718"/>
                    </a:lnTo>
                    <a:lnTo>
                      <a:pt x="180" y="1720"/>
                    </a:lnTo>
                    <a:lnTo>
                      <a:pt x="184" y="1722"/>
                    </a:lnTo>
                    <a:lnTo>
                      <a:pt x="188" y="1722"/>
                    </a:lnTo>
                    <a:lnTo>
                      <a:pt x="188" y="1722"/>
                    </a:lnTo>
                    <a:lnTo>
                      <a:pt x="190" y="1722"/>
                    </a:lnTo>
                    <a:lnTo>
                      <a:pt x="192" y="1724"/>
                    </a:lnTo>
                    <a:lnTo>
                      <a:pt x="196" y="1724"/>
                    </a:lnTo>
                    <a:lnTo>
                      <a:pt x="200" y="1720"/>
                    </a:lnTo>
                    <a:lnTo>
                      <a:pt x="200" y="1720"/>
                    </a:lnTo>
                    <a:lnTo>
                      <a:pt x="208" y="1714"/>
                    </a:lnTo>
                    <a:lnTo>
                      <a:pt x="206" y="1720"/>
                    </a:lnTo>
                    <a:lnTo>
                      <a:pt x="206" y="1720"/>
                    </a:lnTo>
                    <a:lnTo>
                      <a:pt x="202" y="1726"/>
                    </a:lnTo>
                    <a:lnTo>
                      <a:pt x="202" y="1730"/>
                    </a:lnTo>
                    <a:lnTo>
                      <a:pt x="202" y="1734"/>
                    </a:lnTo>
                    <a:lnTo>
                      <a:pt x="198" y="1738"/>
                    </a:lnTo>
                    <a:lnTo>
                      <a:pt x="198" y="1738"/>
                    </a:lnTo>
                    <a:lnTo>
                      <a:pt x="196" y="1740"/>
                    </a:lnTo>
                    <a:lnTo>
                      <a:pt x="196" y="1744"/>
                    </a:lnTo>
                    <a:lnTo>
                      <a:pt x="198" y="1748"/>
                    </a:lnTo>
                    <a:lnTo>
                      <a:pt x="194" y="1754"/>
                    </a:lnTo>
                    <a:lnTo>
                      <a:pt x="194" y="1754"/>
                    </a:lnTo>
                    <a:lnTo>
                      <a:pt x="192" y="1758"/>
                    </a:lnTo>
                    <a:lnTo>
                      <a:pt x="192" y="1762"/>
                    </a:lnTo>
                    <a:lnTo>
                      <a:pt x="194" y="1764"/>
                    </a:lnTo>
                    <a:lnTo>
                      <a:pt x="194" y="1768"/>
                    </a:lnTo>
                    <a:lnTo>
                      <a:pt x="194" y="1768"/>
                    </a:lnTo>
                    <a:lnTo>
                      <a:pt x="194" y="1772"/>
                    </a:lnTo>
                    <a:lnTo>
                      <a:pt x="194" y="1774"/>
                    </a:lnTo>
                    <a:lnTo>
                      <a:pt x="200" y="1770"/>
                    </a:lnTo>
                    <a:lnTo>
                      <a:pt x="200" y="1770"/>
                    </a:lnTo>
                    <a:lnTo>
                      <a:pt x="198" y="1774"/>
                    </a:lnTo>
                    <a:lnTo>
                      <a:pt x="194" y="1784"/>
                    </a:lnTo>
                    <a:lnTo>
                      <a:pt x="188" y="1794"/>
                    </a:lnTo>
                    <a:lnTo>
                      <a:pt x="188" y="1800"/>
                    </a:lnTo>
                    <a:lnTo>
                      <a:pt x="192" y="1802"/>
                    </a:lnTo>
                    <a:lnTo>
                      <a:pt x="192" y="1802"/>
                    </a:lnTo>
                    <a:lnTo>
                      <a:pt x="194" y="1802"/>
                    </a:lnTo>
                    <a:lnTo>
                      <a:pt x="196" y="1800"/>
                    </a:lnTo>
                    <a:lnTo>
                      <a:pt x="198" y="1792"/>
                    </a:lnTo>
                    <a:lnTo>
                      <a:pt x="202" y="1780"/>
                    </a:lnTo>
                    <a:lnTo>
                      <a:pt x="204" y="1776"/>
                    </a:lnTo>
                    <a:lnTo>
                      <a:pt x="206" y="1772"/>
                    </a:lnTo>
                    <a:lnTo>
                      <a:pt x="206" y="1772"/>
                    </a:lnTo>
                    <a:lnTo>
                      <a:pt x="208" y="1770"/>
                    </a:lnTo>
                    <a:lnTo>
                      <a:pt x="208" y="1768"/>
                    </a:lnTo>
                    <a:lnTo>
                      <a:pt x="204" y="1764"/>
                    </a:lnTo>
                    <a:lnTo>
                      <a:pt x="202" y="1760"/>
                    </a:lnTo>
                    <a:lnTo>
                      <a:pt x="204" y="1758"/>
                    </a:lnTo>
                    <a:lnTo>
                      <a:pt x="206" y="1756"/>
                    </a:lnTo>
                    <a:lnTo>
                      <a:pt x="206" y="1756"/>
                    </a:lnTo>
                    <a:lnTo>
                      <a:pt x="210" y="1754"/>
                    </a:lnTo>
                    <a:lnTo>
                      <a:pt x="208" y="1756"/>
                    </a:lnTo>
                    <a:lnTo>
                      <a:pt x="208" y="1762"/>
                    </a:lnTo>
                    <a:lnTo>
                      <a:pt x="208" y="1764"/>
                    </a:lnTo>
                    <a:lnTo>
                      <a:pt x="210" y="1766"/>
                    </a:lnTo>
                    <a:lnTo>
                      <a:pt x="210" y="1766"/>
                    </a:lnTo>
                    <a:lnTo>
                      <a:pt x="214" y="1766"/>
                    </a:lnTo>
                    <a:lnTo>
                      <a:pt x="216" y="1764"/>
                    </a:lnTo>
                    <a:lnTo>
                      <a:pt x="216" y="1762"/>
                    </a:lnTo>
                    <a:lnTo>
                      <a:pt x="220" y="1764"/>
                    </a:lnTo>
                    <a:lnTo>
                      <a:pt x="220" y="1764"/>
                    </a:lnTo>
                    <a:lnTo>
                      <a:pt x="222" y="1764"/>
                    </a:lnTo>
                    <a:lnTo>
                      <a:pt x="222" y="1764"/>
                    </a:lnTo>
                    <a:lnTo>
                      <a:pt x="224" y="1758"/>
                    </a:lnTo>
                    <a:lnTo>
                      <a:pt x="224" y="1756"/>
                    </a:lnTo>
                    <a:lnTo>
                      <a:pt x="228" y="1756"/>
                    </a:lnTo>
                    <a:lnTo>
                      <a:pt x="232" y="1758"/>
                    </a:lnTo>
                    <a:lnTo>
                      <a:pt x="238" y="1762"/>
                    </a:lnTo>
                    <a:lnTo>
                      <a:pt x="238" y="1762"/>
                    </a:lnTo>
                    <a:lnTo>
                      <a:pt x="230" y="1764"/>
                    </a:lnTo>
                    <a:lnTo>
                      <a:pt x="224" y="1766"/>
                    </a:lnTo>
                    <a:lnTo>
                      <a:pt x="224" y="1768"/>
                    </a:lnTo>
                    <a:lnTo>
                      <a:pt x="224" y="1772"/>
                    </a:lnTo>
                    <a:lnTo>
                      <a:pt x="230" y="1780"/>
                    </a:lnTo>
                    <a:lnTo>
                      <a:pt x="230" y="1780"/>
                    </a:lnTo>
                    <a:lnTo>
                      <a:pt x="234" y="1786"/>
                    </a:lnTo>
                    <a:lnTo>
                      <a:pt x="234" y="1790"/>
                    </a:lnTo>
                    <a:lnTo>
                      <a:pt x="234" y="1794"/>
                    </a:lnTo>
                    <a:lnTo>
                      <a:pt x="230" y="1798"/>
                    </a:lnTo>
                    <a:lnTo>
                      <a:pt x="224" y="1806"/>
                    </a:lnTo>
                    <a:lnTo>
                      <a:pt x="222" y="1810"/>
                    </a:lnTo>
                    <a:lnTo>
                      <a:pt x="220" y="1816"/>
                    </a:lnTo>
                    <a:lnTo>
                      <a:pt x="220" y="1816"/>
                    </a:lnTo>
                    <a:lnTo>
                      <a:pt x="222" y="1822"/>
                    </a:lnTo>
                    <a:lnTo>
                      <a:pt x="220" y="1822"/>
                    </a:lnTo>
                    <a:lnTo>
                      <a:pt x="216" y="1818"/>
                    </a:lnTo>
                    <a:lnTo>
                      <a:pt x="216" y="1818"/>
                    </a:lnTo>
                    <a:lnTo>
                      <a:pt x="214" y="1820"/>
                    </a:lnTo>
                    <a:lnTo>
                      <a:pt x="214" y="1820"/>
                    </a:lnTo>
                    <a:lnTo>
                      <a:pt x="214" y="1822"/>
                    </a:lnTo>
                    <a:lnTo>
                      <a:pt x="214" y="1826"/>
                    </a:lnTo>
                    <a:lnTo>
                      <a:pt x="220" y="1834"/>
                    </a:lnTo>
                    <a:lnTo>
                      <a:pt x="224" y="1840"/>
                    </a:lnTo>
                    <a:lnTo>
                      <a:pt x="224" y="1838"/>
                    </a:lnTo>
                    <a:lnTo>
                      <a:pt x="224" y="1836"/>
                    </a:lnTo>
                    <a:lnTo>
                      <a:pt x="224" y="1836"/>
                    </a:lnTo>
                    <a:lnTo>
                      <a:pt x="222" y="1830"/>
                    </a:lnTo>
                    <a:lnTo>
                      <a:pt x="224" y="1828"/>
                    </a:lnTo>
                    <a:lnTo>
                      <a:pt x="224" y="1828"/>
                    </a:lnTo>
                    <a:lnTo>
                      <a:pt x="228" y="1828"/>
                    </a:lnTo>
                    <a:lnTo>
                      <a:pt x="234" y="1832"/>
                    </a:lnTo>
                    <a:lnTo>
                      <a:pt x="240" y="1838"/>
                    </a:lnTo>
                    <a:lnTo>
                      <a:pt x="240" y="1838"/>
                    </a:lnTo>
                    <a:lnTo>
                      <a:pt x="244" y="1840"/>
                    </a:lnTo>
                    <a:lnTo>
                      <a:pt x="246" y="1838"/>
                    </a:lnTo>
                    <a:lnTo>
                      <a:pt x="246" y="1834"/>
                    </a:lnTo>
                    <a:lnTo>
                      <a:pt x="246" y="1828"/>
                    </a:lnTo>
                    <a:lnTo>
                      <a:pt x="246" y="1828"/>
                    </a:lnTo>
                    <a:lnTo>
                      <a:pt x="246" y="1826"/>
                    </a:lnTo>
                    <a:lnTo>
                      <a:pt x="246" y="1828"/>
                    </a:lnTo>
                    <a:lnTo>
                      <a:pt x="252" y="1830"/>
                    </a:lnTo>
                    <a:lnTo>
                      <a:pt x="260" y="1834"/>
                    </a:lnTo>
                    <a:lnTo>
                      <a:pt x="264" y="1834"/>
                    </a:lnTo>
                    <a:lnTo>
                      <a:pt x="266" y="1830"/>
                    </a:lnTo>
                    <a:lnTo>
                      <a:pt x="266" y="1830"/>
                    </a:lnTo>
                    <a:lnTo>
                      <a:pt x="270" y="1826"/>
                    </a:lnTo>
                    <a:lnTo>
                      <a:pt x="274" y="1826"/>
                    </a:lnTo>
                    <a:lnTo>
                      <a:pt x="276" y="1828"/>
                    </a:lnTo>
                    <a:lnTo>
                      <a:pt x="278" y="1824"/>
                    </a:lnTo>
                    <a:lnTo>
                      <a:pt x="278" y="1824"/>
                    </a:lnTo>
                    <a:lnTo>
                      <a:pt x="282" y="1822"/>
                    </a:lnTo>
                    <a:lnTo>
                      <a:pt x="286" y="1820"/>
                    </a:lnTo>
                    <a:lnTo>
                      <a:pt x="292" y="1820"/>
                    </a:lnTo>
                    <a:lnTo>
                      <a:pt x="292" y="1822"/>
                    </a:lnTo>
                    <a:lnTo>
                      <a:pt x="292" y="1822"/>
                    </a:lnTo>
                    <a:lnTo>
                      <a:pt x="292" y="1822"/>
                    </a:lnTo>
                    <a:lnTo>
                      <a:pt x="288" y="1826"/>
                    </a:lnTo>
                    <a:lnTo>
                      <a:pt x="280" y="1838"/>
                    </a:lnTo>
                    <a:lnTo>
                      <a:pt x="280" y="1838"/>
                    </a:lnTo>
                    <a:lnTo>
                      <a:pt x="276" y="1844"/>
                    </a:lnTo>
                    <a:lnTo>
                      <a:pt x="276" y="1850"/>
                    </a:lnTo>
                    <a:lnTo>
                      <a:pt x="276" y="1854"/>
                    </a:lnTo>
                    <a:lnTo>
                      <a:pt x="278" y="1858"/>
                    </a:lnTo>
                    <a:lnTo>
                      <a:pt x="286" y="1866"/>
                    </a:lnTo>
                    <a:lnTo>
                      <a:pt x="292" y="1872"/>
                    </a:lnTo>
                    <a:lnTo>
                      <a:pt x="292" y="1872"/>
                    </a:lnTo>
                    <a:lnTo>
                      <a:pt x="294" y="1876"/>
                    </a:lnTo>
                    <a:lnTo>
                      <a:pt x="296" y="1874"/>
                    </a:lnTo>
                    <a:lnTo>
                      <a:pt x="300" y="1872"/>
                    </a:lnTo>
                    <a:lnTo>
                      <a:pt x="302" y="1870"/>
                    </a:lnTo>
                    <a:lnTo>
                      <a:pt x="304" y="1870"/>
                    </a:lnTo>
                    <a:lnTo>
                      <a:pt x="304" y="1870"/>
                    </a:lnTo>
                    <a:lnTo>
                      <a:pt x="308" y="1870"/>
                    </a:lnTo>
                    <a:lnTo>
                      <a:pt x="308" y="1872"/>
                    </a:lnTo>
                    <a:lnTo>
                      <a:pt x="308" y="1874"/>
                    </a:lnTo>
                    <a:lnTo>
                      <a:pt x="306" y="1878"/>
                    </a:lnTo>
                    <a:lnTo>
                      <a:pt x="306" y="1880"/>
                    </a:lnTo>
                    <a:lnTo>
                      <a:pt x="306" y="1882"/>
                    </a:lnTo>
                    <a:lnTo>
                      <a:pt x="306" y="1882"/>
                    </a:lnTo>
                    <a:lnTo>
                      <a:pt x="308" y="1882"/>
                    </a:lnTo>
                    <a:lnTo>
                      <a:pt x="306" y="1884"/>
                    </a:lnTo>
                    <a:lnTo>
                      <a:pt x="300" y="1888"/>
                    </a:lnTo>
                    <a:lnTo>
                      <a:pt x="298" y="1890"/>
                    </a:lnTo>
                    <a:lnTo>
                      <a:pt x="298" y="1892"/>
                    </a:lnTo>
                    <a:lnTo>
                      <a:pt x="298" y="1894"/>
                    </a:lnTo>
                    <a:lnTo>
                      <a:pt x="302" y="1896"/>
                    </a:lnTo>
                    <a:lnTo>
                      <a:pt x="302" y="1896"/>
                    </a:lnTo>
                    <a:lnTo>
                      <a:pt x="304" y="1898"/>
                    </a:lnTo>
                    <a:lnTo>
                      <a:pt x="304" y="1898"/>
                    </a:lnTo>
                    <a:lnTo>
                      <a:pt x="302" y="1900"/>
                    </a:lnTo>
                    <a:lnTo>
                      <a:pt x="300" y="1902"/>
                    </a:lnTo>
                    <a:lnTo>
                      <a:pt x="300" y="1906"/>
                    </a:lnTo>
                    <a:lnTo>
                      <a:pt x="300" y="1910"/>
                    </a:lnTo>
                    <a:lnTo>
                      <a:pt x="302" y="1916"/>
                    </a:lnTo>
                    <a:lnTo>
                      <a:pt x="302" y="1916"/>
                    </a:lnTo>
                    <a:lnTo>
                      <a:pt x="308" y="1924"/>
                    </a:lnTo>
                    <a:lnTo>
                      <a:pt x="304" y="1922"/>
                    </a:lnTo>
                    <a:lnTo>
                      <a:pt x="304" y="1922"/>
                    </a:lnTo>
                    <a:lnTo>
                      <a:pt x="300" y="1918"/>
                    </a:lnTo>
                    <a:lnTo>
                      <a:pt x="296" y="1916"/>
                    </a:lnTo>
                    <a:lnTo>
                      <a:pt x="294" y="1918"/>
                    </a:lnTo>
                    <a:lnTo>
                      <a:pt x="296" y="1922"/>
                    </a:lnTo>
                    <a:lnTo>
                      <a:pt x="296" y="1922"/>
                    </a:lnTo>
                    <a:lnTo>
                      <a:pt x="298" y="1926"/>
                    </a:lnTo>
                    <a:lnTo>
                      <a:pt x="294" y="1924"/>
                    </a:lnTo>
                    <a:lnTo>
                      <a:pt x="290" y="1922"/>
                    </a:lnTo>
                    <a:lnTo>
                      <a:pt x="286" y="1922"/>
                    </a:lnTo>
                    <a:lnTo>
                      <a:pt x="282" y="1922"/>
                    </a:lnTo>
                    <a:lnTo>
                      <a:pt x="282" y="1922"/>
                    </a:lnTo>
                    <a:lnTo>
                      <a:pt x="276" y="1924"/>
                    </a:lnTo>
                    <a:lnTo>
                      <a:pt x="272" y="1924"/>
                    </a:lnTo>
                    <a:lnTo>
                      <a:pt x="270" y="1922"/>
                    </a:lnTo>
                    <a:lnTo>
                      <a:pt x="266" y="1924"/>
                    </a:lnTo>
                    <a:lnTo>
                      <a:pt x="266" y="1924"/>
                    </a:lnTo>
                    <a:lnTo>
                      <a:pt x="264" y="1926"/>
                    </a:lnTo>
                    <a:lnTo>
                      <a:pt x="260" y="1926"/>
                    </a:lnTo>
                    <a:lnTo>
                      <a:pt x="256" y="1928"/>
                    </a:lnTo>
                    <a:lnTo>
                      <a:pt x="252" y="1932"/>
                    </a:lnTo>
                    <a:lnTo>
                      <a:pt x="252" y="1932"/>
                    </a:lnTo>
                    <a:lnTo>
                      <a:pt x="246" y="1940"/>
                    </a:lnTo>
                    <a:lnTo>
                      <a:pt x="240" y="1944"/>
                    </a:lnTo>
                    <a:lnTo>
                      <a:pt x="236" y="1946"/>
                    </a:lnTo>
                    <a:lnTo>
                      <a:pt x="232" y="1950"/>
                    </a:lnTo>
                    <a:lnTo>
                      <a:pt x="232" y="1950"/>
                    </a:lnTo>
                    <a:lnTo>
                      <a:pt x="230" y="1956"/>
                    </a:lnTo>
                    <a:lnTo>
                      <a:pt x="230" y="1956"/>
                    </a:lnTo>
                    <a:lnTo>
                      <a:pt x="234" y="1954"/>
                    </a:lnTo>
                    <a:lnTo>
                      <a:pt x="238" y="1954"/>
                    </a:lnTo>
                    <a:lnTo>
                      <a:pt x="238" y="1954"/>
                    </a:lnTo>
                    <a:lnTo>
                      <a:pt x="240" y="1954"/>
                    </a:lnTo>
                    <a:lnTo>
                      <a:pt x="244" y="1952"/>
                    </a:lnTo>
                    <a:lnTo>
                      <a:pt x="252" y="1948"/>
                    </a:lnTo>
                    <a:lnTo>
                      <a:pt x="256" y="1946"/>
                    </a:lnTo>
                    <a:lnTo>
                      <a:pt x="258" y="1946"/>
                    </a:lnTo>
                    <a:lnTo>
                      <a:pt x="256" y="1948"/>
                    </a:lnTo>
                    <a:lnTo>
                      <a:pt x="256" y="1948"/>
                    </a:lnTo>
                    <a:lnTo>
                      <a:pt x="256" y="1954"/>
                    </a:lnTo>
                    <a:lnTo>
                      <a:pt x="258" y="1954"/>
                    </a:lnTo>
                    <a:lnTo>
                      <a:pt x="260" y="1956"/>
                    </a:lnTo>
                    <a:lnTo>
                      <a:pt x="258" y="1960"/>
                    </a:lnTo>
                    <a:lnTo>
                      <a:pt x="258" y="1960"/>
                    </a:lnTo>
                    <a:lnTo>
                      <a:pt x="256" y="1964"/>
                    </a:lnTo>
                    <a:lnTo>
                      <a:pt x="256" y="1968"/>
                    </a:lnTo>
                    <a:lnTo>
                      <a:pt x="258" y="1974"/>
                    </a:lnTo>
                    <a:lnTo>
                      <a:pt x="258" y="1978"/>
                    </a:lnTo>
                    <a:lnTo>
                      <a:pt x="256" y="1982"/>
                    </a:lnTo>
                    <a:lnTo>
                      <a:pt x="252" y="1986"/>
                    </a:lnTo>
                    <a:lnTo>
                      <a:pt x="246" y="1990"/>
                    </a:lnTo>
                    <a:lnTo>
                      <a:pt x="246" y="1990"/>
                    </a:lnTo>
                    <a:lnTo>
                      <a:pt x="232" y="1998"/>
                    </a:lnTo>
                    <a:lnTo>
                      <a:pt x="222" y="2000"/>
                    </a:lnTo>
                    <a:lnTo>
                      <a:pt x="216" y="2000"/>
                    </a:lnTo>
                    <a:lnTo>
                      <a:pt x="210" y="2006"/>
                    </a:lnTo>
                    <a:lnTo>
                      <a:pt x="210" y="2006"/>
                    </a:lnTo>
                    <a:lnTo>
                      <a:pt x="208" y="2008"/>
                    </a:lnTo>
                    <a:lnTo>
                      <a:pt x="208" y="2010"/>
                    </a:lnTo>
                    <a:lnTo>
                      <a:pt x="212" y="2012"/>
                    </a:lnTo>
                    <a:lnTo>
                      <a:pt x="216" y="2012"/>
                    </a:lnTo>
                    <a:lnTo>
                      <a:pt x="216" y="2014"/>
                    </a:lnTo>
                    <a:lnTo>
                      <a:pt x="214" y="2016"/>
                    </a:lnTo>
                    <a:lnTo>
                      <a:pt x="214" y="2016"/>
                    </a:lnTo>
                    <a:lnTo>
                      <a:pt x="214" y="2020"/>
                    </a:lnTo>
                    <a:lnTo>
                      <a:pt x="216" y="2024"/>
                    </a:lnTo>
                    <a:lnTo>
                      <a:pt x="224" y="2024"/>
                    </a:lnTo>
                    <a:lnTo>
                      <a:pt x="232" y="2022"/>
                    </a:lnTo>
                    <a:lnTo>
                      <a:pt x="232" y="2022"/>
                    </a:lnTo>
                    <a:lnTo>
                      <a:pt x="240" y="2018"/>
                    </a:lnTo>
                    <a:lnTo>
                      <a:pt x="246" y="2018"/>
                    </a:lnTo>
                    <a:lnTo>
                      <a:pt x="250" y="2022"/>
                    </a:lnTo>
                    <a:lnTo>
                      <a:pt x="250" y="2026"/>
                    </a:lnTo>
                    <a:lnTo>
                      <a:pt x="250" y="2026"/>
                    </a:lnTo>
                    <a:lnTo>
                      <a:pt x="248" y="2028"/>
                    </a:lnTo>
                    <a:lnTo>
                      <a:pt x="250" y="2030"/>
                    </a:lnTo>
                    <a:lnTo>
                      <a:pt x="256" y="2028"/>
                    </a:lnTo>
                    <a:lnTo>
                      <a:pt x="260" y="2028"/>
                    </a:lnTo>
                    <a:lnTo>
                      <a:pt x="264" y="2028"/>
                    </a:lnTo>
                    <a:lnTo>
                      <a:pt x="270" y="2030"/>
                    </a:lnTo>
                    <a:lnTo>
                      <a:pt x="274" y="2034"/>
                    </a:lnTo>
                    <a:lnTo>
                      <a:pt x="274" y="2034"/>
                    </a:lnTo>
                    <a:lnTo>
                      <a:pt x="280" y="2038"/>
                    </a:lnTo>
                    <a:lnTo>
                      <a:pt x="284" y="2040"/>
                    </a:lnTo>
                    <a:lnTo>
                      <a:pt x="288" y="2040"/>
                    </a:lnTo>
                    <a:lnTo>
                      <a:pt x="292" y="2038"/>
                    </a:lnTo>
                    <a:lnTo>
                      <a:pt x="298" y="2032"/>
                    </a:lnTo>
                    <a:lnTo>
                      <a:pt x="302" y="2030"/>
                    </a:lnTo>
                    <a:lnTo>
                      <a:pt x="304" y="2028"/>
                    </a:lnTo>
                    <a:lnTo>
                      <a:pt x="304" y="2028"/>
                    </a:lnTo>
                    <a:lnTo>
                      <a:pt x="310" y="2026"/>
                    </a:lnTo>
                    <a:lnTo>
                      <a:pt x="314" y="2024"/>
                    </a:lnTo>
                    <a:lnTo>
                      <a:pt x="320" y="2020"/>
                    </a:lnTo>
                    <a:lnTo>
                      <a:pt x="326" y="2016"/>
                    </a:lnTo>
                    <a:lnTo>
                      <a:pt x="326" y="2016"/>
                    </a:lnTo>
                    <a:lnTo>
                      <a:pt x="322" y="2022"/>
                    </a:lnTo>
                    <a:lnTo>
                      <a:pt x="318" y="2026"/>
                    </a:lnTo>
                    <a:lnTo>
                      <a:pt x="318" y="2026"/>
                    </a:lnTo>
                    <a:lnTo>
                      <a:pt x="312" y="2032"/>
                    </a:lnTo>
                    <a:lnTo>
                      <a:pt x="306" y="2036"/>
                    </a:lnTo>
                    <a:lnTo>
                      <a:pt x="304" y="2044"/>
                    </a:lnTo>
                    <a:lnTo>
                      <a:pt x="302" y="2048"/>
                    </a:lnTo>
                    <a:lnTo>
                      <a:pt x="294" y="2050"/>
                    </a:lnTo>
                    <a:lnTo>
                      <a:pt x="294" y="2050"/>
                    </a:lnTo>
                    <a:lnTo>
                      <a:pt x="284" y="2050"/>
                    </a:lnTo>
                    <a:lnTo>
                      <a:pt x="280" y="2050"/>
                    </a:lnTo>
                    <a:lnTo>
                      <a:pt x="274" y="2048"/>
                    </a:lnTo>
                    <a:lnTo>
                      <a:pt x="262" y="2048"/>
                    </a:lnTo>
                    <a:lnTo>
                      <a:pt x="262" y="2048"/>
                    </a:lnTo>
                    <a:lnTo>
                      <a:pt x="256" y="2048"/>
                    </a:lnTo>
                    <a:lnTo>
                      <a:pt x="252" y="2050"/>
                    </a:lnTo>
                    <a:lnTo>
                      <a:pt x="252" y="2052"/>
                    </a:lnTo>
                    <a:lnTo>
                      <a:pt x="252" y="2054"/>
                    </a:lnTo>
                    <a:lnTo>
                      <a:pt x="252" y="2058"/>
                    </a:lnTo>
                    <a:lnTo>
                      <a:pt x="250" y="2058"/>
                    </a:lnTo>
                    <a:lnTo>
                      <a:pt x="246" y="2060"/>
                    </a:lnTo>
                    <a:lnTo>
                      <a:pt x="246" y="2060"/>
                    </a:lnTo>
                    <a:lnTo>
                      <a:pt x="242" y="2060"/>
                    </a:lnTo>
                    <a:lnTo>
                      <a:pt x="238" y="2062"/>
                    </a:lnTo>
                    <a:lnTo>
                      <a:pt x="238" y="2066"/>
                    </a:lnTo>
                    <a:lnTo>
                      <a:pt x="238" y="2070"/>
                    </a:lnTo>
                    <a:lnTo>
                      <a:pt x="238" y="2074"/>
                    </a:lnTo>
                    <a:lnTo>
                      <a:pt x="236" y="2076"/>
                    </a:lnTo>
                    <a:lnTo>
                      <a:pt x="236" y="2076"/>
                    </a:lnTo>
                    <a:lnTo>
                      <a:pt x="232" y="2078"/>
                    </a:lnTo>
                    <a:lnTo>
                      <a:pt x="230" y="2082"/>
                    </a:lnTo>
                    <a:lnTo>
                      <a:pt x="230" y="2084"/>
                    </a:lnTo>
                    <a:lnTo>
                      <a:pt x="226" y="2086"/>
                    </a:lnTo>
                    <a:lnTo>
                      <a:pt x="226" y="2086"/>
                    </a:lnTo>
                    <a:lnTo>
                      <a:pt x="220" y="2092"/>
                    </a:lnTo>
                    <a:lnTo>
                      <a:pt x="214" y="2100"/>
                    </a:lnTo>
                    <a:lnTo>
                      <a:pt x="210" y="2106"/>
                    </a:lnTo>
                    <a:lnTo>
                      <a:pt x="206" y="2106"/>
                    </a:lnTo>
                    <a:lnTo>
                      <a:pt x="202" y="2108"/>
                    </a:lnTo>
                    <a:lnTo>
                      <a:pt x="202" y="2108"/>
                    </a:lnTo>
                    <a:lnTo>
                      <a:pt x="198" y="2108"/>
                    </a:lnTo>
                    <a:lnTo>
                      <a:pt x="194" y="2108"/>
                    </a:lnTo>
                    <a:lnTo>
                      <a:pt x="192" y="2112"/>
                    </a:lnTo>
                    <a:lnTo>
                      <a:pt x="192" y="2114"/>
                    </a:lnTo>
                    <a:lnTo>
                      <a:pt x="192" y="2118"/>
                    </a:lnTo>
                    <a:lnTo>
                      <a:pt x="194" y="2118"/>
                    </a:lnTo>
                    <a:lnTo>
                      <a:pt x="196" y="2118"/>
                    </a:lnTo>
                    <a:lnTo>
                      <a:pt x="196" y="2118"/>
                    </a:lnTo>
                    <a:lnTo>
                      <a:pt x="200" y="2116"/>
                    </a:lnTo>
                    <a:lnTo>
                      <a:pt x="202" y="2116"/>
                    </a:lnTo>
                    <a:lnTo>
                      <a:pt x="206" y="2118"/>
                    </a:lnTo>
                    <a:lnTo>
                      <a:pt x="210" y="2122"/>
                    </a:lnTo>
                    <a:lnTo>
                      <a:pt x="212" y="2122"/>
                    </a:lnTo>
                    <a:lnTo>
                      <a:pt x="214" y="2122"/>
                    </a:lnTo>
                    <a:lnTo>
                      <a:pt x="214" y="2122"/>
                    </a:lnTo>
                    <a:lnTo>
                      <a:pt x="216" y="2120"/>
                    </a:lnTo>
                    <a:lnTo>
                      <a:pt x="216" y="2118"/>
                    </a:lnTo>
                    <a:lnTo>
                      <a:pt x="218" y="2116"/>
                    </a:lnTo>
                    <a:lnTo>
                      <a:pt x="222" y="2112"/>
                    </a:lnTo>
                    <a:lnTo>
                      <a:pt x="222" y="2112"/>
                    </a:lnTo>
                    <a:lnTo>
                      <a:pt x="226" y="2110"/>
                    </a:lnTo>
                    <a:lnTo>
                      <a:pt x="230" y="2106"/>
                    </a:lnTo>
                    <a:lnTo>
                      <a:pt x="234" y="2102"/>
                    </a:lnTo>
                    <a:lnTo>
                      <a:pt x="244" y="2100"/>
                    </a:lnTo>
                    <a:lnTo>
                      <a:pt x="244" y="2100"/>
                    </a:lnTo>
                    <a:lnTo>
                      <a:pt x="252" y="2100"/>
                    </a:lnTo>
                    <a:lnTo>
                      <a:pt x="258" y="2102"/>
                    </a:lnTo>
                    <a:lnTo>
                      <a:pt x="270" y="2108"/>
                    </a:lnTo>
                    <a:lnTo>
                      <a:pt x="270" y="2108"/>
                    </a:lnTo>
                    <a:lnTo>
                      <a:pt x="274" y="2110"/>
                    </a:lnTo>
                    <a:lnTo>
                      <a:pt x="276" y="2108"/>
                    </a:lnTo>
                    <a:lnTo>
                      <a:pt x="280" y="2098"/>
                    </a:lnTo>
                    <a:lnTo>
                      <a:pt x="282" y="2088"/>
                    </a:lnTo>
                    <a:lnTo>
                      <a:pt x="284" y="2086"/>
                    </a:lnTo>
                    <a:lnTo>
                      <a:pt x="286" y="2084"/>
                    </a:lnTo>
                    <a:lnTo>
                      <a:pt x="286" y="2084"/>
                    </a:lnTo>
                    <a:lnTo>
                      <a:pt x="288" y="2086"/>
                    </a:lnTo>
                    <a:lnTo>
                      <a:pt x="290" y="2084"/>
                    </a:lnTo>
                    <a:lnTo>
                      <a:pt x="298" y="2080"/>
                    </a:lnTo>
                    <a:lnTo>
                      <a:pt x="302" y="2078"/>
                    </a:lnTo>
                    <a:lnTo>
                      <a:pt x="306" y="2078"/>
                    </a:lnTo>
                    <a:lnTo>
                      <a:pt x="312" y="2080"/>
                    </a:lnTo>
                    <a:lnTo>
                      <a:pt x="316" y="2084"/>
                    </a:lnTo>
                    <a:lnTo>
                      <a:pt x="316" y="2084"/>
                    </a:lnTo>
                    <a:lnTo>
                      <a:pt x="322" y="2088"/>
                    </a:lnTo>
                    <a:lnTo>
                      <a:pt x="324" y="2088"/>
                    </a:lnTo>
                    <a:lnTo>
                      <a:pt x="324" y="2088"/>
                    </a:lnTo>
                    <a:lnTo>
                      <a:pt x="328" y="2086"/>
                    </a:lnTo>
                    <a:lnTo>
                      <a:pt x="330" y="2086"/>
                    </a:lnTo>
                    <a:lnTo>
                      <a:pt x="334" y="2086"/>
                    </a:lnTo>
                    <a:lnTo>
                      <a:pt x="334" y="2086"/>
                    </a:lnTo>
                    <a:lnTo>
                      <a:pt x="342" y="2086"/>
                    </a:lnTo>
                    <a:lnTo>
                      <a:pt x="344" y="2084"/>
                    </a:lnTo>
                    <a:lnTo>
                      <a:pt x="346" y="2082"/>
                    </a:lnTo>
                    <a:lnTo>
                      <a:pt x="356" y="2078"/>
                    </a:lnTo>
                    <a:lnTo>
                      <a:pt x="356" y="2078"/>
                    </a:lnTo>
                    <a:lnTo>
                      <a:pt x="366" y="2076"/>
                    </a:lnTo>
                    <a:lnTo>
                      <a:pt x="368" y="2074"/>
                    </a:lnTo>
                    <a:lnTo>
                      <a:pt x="368" y="2072"/>
                    </a:lnTo>
                    <a:lnTo>
                      <a:pt x="374" y="2074"/>
                    </a:lnTo>
                    <a:lnTo>
                      <a:pt x="374" y="2074"/>
                    </a:lnTo>
                    <a:lnTo>
                      <a:pt x="380" y="2076"/>
                    </a:lnTo>
                    <a:lnTo>
                      <a:pt x="382" y="2076"/>
                    </a:lnTo>
                    <a:lnTo>
                      <a:pt x="384" y="2074"/>
                    </a:lnTo>
                    <a:lnTo>
                      <a:pt x="386" y="2076"/>
                    </a:lnTo>
                    <a:lnTo>
                      <a:pt x="386" y="2076"/>
                    </a:lnTo>
                    <a:lnTo>
                      <a:pt x="388" y="2078"/>
                    </a:lnTo>
                    <a:lnTo>
                      <a:pt x="392" y="2078"/>
                    </a:lnTo>
                    <a:lnTo>
                      <a:pt x="400" y="2074"/>
                    </a:lnTo>
                    <a:lnTo>
                      <a:pt x="410" y="2072"/>
                    </a:lnTo>
                    <a:lnTo>
                      <a:pt x="416" y="2074"/>
                    </a:lnTo>
                    <a:lnTo>
                      <a:pt x="422" y="2074"/>
                    </a:lnTo>
                    <a:lnTo>
                      <a:pt x="422" y="2074"/>
                    </a:lnTo>
                    <a:lnTo>
                      <a:pt x="428" y="2076"/>
                    </a:lnTo>
                    <a:lnTo>
                      <a:pt x="432" y="2076"/>
                    </a:lnTo>
                    <a:lnTo>
                      <a:pt x="440" y="2074"/>
                    </a:lnTo>
                    <a:lnTo>
                      <a:pt x="448" y="2070"/>
                    </a:lnTo>
                    <a:lnTo>
                      <a:pt x="456" y="2068"/>
                    </a:lnTo>
                    <a:lnTo>
                      <a:pt x="456" y="2068"/>
                    </a:lnTo>
                    <a:lnTo>
                      <a:pt x="460" y="2068"/>
                    </a:lnTo>
                    <a:lnTo>
                      <a:pt x="462" y="2064"/>
                    </a:lnTo>
                    <a:lnTo>
                      <a:pt x="464" y="2060"/>
                    </a:lnTo>
                    <a:lnTo>
                      <a:pt x="470" y="2056"/>
                    </a:lnTo>
                    <a:lnTo>
                      <a:pt x="470" y="2056"/>
                    </a:lnTo>
                    <a:lnTo>
                      <a:pt x="478" y="2052"/>
                    </a:lnTo>
                    <a:lnTo>
                      <a:pt x="480" y="2048"/>
                    </a:lnTo>
                    <a:lnTo>
                      <a:pt x="480" y="2044"/>
                    </a:lnTo>
                    <a:lnTo>
                      <a:pt x="480" y="2040"/>
                    </a:lnTo>
                    <a:lnTo>
                      <a:pt x="480" y="2040"/>
                    </a:lnTo>
                    <a:lnTo>
                      <a:pt x="480" y="2038"/>
                    </a:lnTo>
                    <a:lnTo>
                      <a:pt x="478" y="2038"/>
                    </a:lnTo>
                    <a:lnTo>
                      <a:pt x="472" y="2038"/>
                    </a:lnTo>
                    <a:lnTo>
                      <a:pt x="462" y="2040"/>
                    </a:lnTo>
                    <a:lnTo>
                      <a:pt x="456" y="2040"/>
                    </a:lnTo>
                    <a:lnTo>
                      <a:pt x="456" y="2040"/>
                    </a:lnTo>
                    <a:lnTo>
                      <a:pt x="450" y="2038"/>
                    </a:lnTo>
                    <a:lnTo>
                      <a:pt x="448" y="2036"/>
                    </a:lnTo>
                    <a:lnTo>
                      <a:pt x="450" y="2036"/>
                    </a:lnTo>
                    <a:lnTo>
                      <a:pt x="446" y="2034"/>
                    </a:lnTo>
                    <a:lnTo>
                      <a:pt x="446" y="2034"/>
                    </a:lnTo>
                    <a:lnTo>
                      <a:pt x="444" y="2032"/>
                    </a:lnTo>
                    <a:lnTo>
                      <a:pt x="444" y="2032"/>
                    </a:lnTo>
                    <a:lnTo>
                      <a:pt x="448" y="2030"/>
                    </a:lnTo>
                    <a:lnTo>
                      <a:pt x="456" y="2030"/>
                    </a:lnTo>
                    <a:lnTo>
                      <a:pt x="458" y="2028"/>
                    </a:lnTo>
                    <a:lnTo>
                      <a:pt x="460" y="2026"/>
                    </a:lnTo>
                    <a:lnTo>
                      <a:pt x="460" y="2026"/>
                    </a:lnTo>
                    <a:lnTo>
                      <a:pt x="460" y="2020"/>
                    </a:lnTo>
                    <a:lnTo>
                      <a:pt x="458" y="2020"/>
                    </a:lnTo>
                    <a:lnTo>
                      <a:pt x="456" y="2020"/>
                    </a:lnTo>
                    <a:lnTo>
                      <a:pt x="458" y="2016"/>
                    </a:lnTo>
                    <a:lnTo>
                      <a:pt x="458" y="2016"/>
                    </a:lnTo>
                    <a:lnTo>
                      <a:pt x="462" y="2014"/>
                    </a:lnTo>
                    <a:lnTo>
                      <a:pt x="464" y="2014"/>
                    </a:lnTo>
                    <a:lnTo>
                      <a:pt x="472" y="2014"/>
                    </a:lnTo>
                    <a:lnTo>
                      <a:pt x="476" y="2014"/>
                    </a:lnTo>
                    <a:lnTo>
                      <a:pt x="476" y="2012"/>
                    </a:lnTo>
                    <a:lnTo>
                      <a:pt x="474" y="2010"/>
                    </a:lnTo>
                    <a:lnTo>
                      <a:pt x="474" y="2010"/>
                    </a:lnTo>
                    <a:lnTo>
                      <a:pt x="474" y="2008"/>
                    </a:lnTo>
                    <a:lnTo>
                      <a:pt x="474" y="2006"/>
                    </a:lnTo>
                    <a:lnTo>
                      <a:pt x="482" y="2000"/>
                    </a:lnTo>
                    <a:lnTo>
                      <a:pt x="486" y="1996"/>
                    </a:lnTo>
                    <a:lnTo>
                      <a:pt x="490" y="1990"/>
                    </a:lnTo>
                    <a:lnTo>
                      <a:pt x="494" y="1982"/>
                    </a:lnTo>
                    <a:lnTo>
                      <a:pt x="494" y="1970"/>
                    </a:lnTo>
                    <a:lnTo>
                      <a:pt x="494" y="1970"/>
                    </a:lnTo>
                    <a:close/>
                    <a:moveTo>
                      <a:pt x="662" y="1344"/>
                    </a:moveTo>
                    <a:lnTo>
                      <a:pt x="662" y="1344"/>
                    </a:lnTo>
                    <a:lnTo>
                      <a:pt x="660" y="1344"/>
                    </a:lnTo>
                    <a:lnTo>
                      <a:pt x="656" y="1346"/>
                    </a:lnTo>
                    <a:lnTo>
                      <a:pt x="656" y="1350"/>
                    </a:lnTo>
                    <a:lnTo>
                      <a:pt x="656" y="1354"/>
                    </a:lnTo>
                    <a:lnTo>
                      <a:pt x="656" y="1354"/>
                    </a:lnTo>
                    <a:lnTo>
                      <a:pt x="660" y="1354"/>
                    </a:lnTo>
                    <a:lnTo>
                      <a:pt x="662" y="1352"/>
                    </a:lnTo>
                    <a:lnTo>
                      <a:pt x="664" y="1348"/>
                    </a:lnTo>
                    <a:lnTo>
                      <a:pt x="664" y="1346"/>
                    </a:lnTo>
                    <a:lnTo>
                      <a:pt x="662" y="1344"/>
                    </a:lnTo>
                    <a:lnTo>
                      <a:pt x="662" y="1344"/>
                    </a:lnTo>
                    <a:close/>
                    <a:moveTo>
                      <a:pt x="652" y="1354"/>
                    </a:moveTo>
                    <a:lnTo>
                      <a:pt x="652" y="1354"/>
                    </a:lnTo>
                    <a:lnTo>
                      <a:pt x="650" y="1352"/>
                    </a:lnTo>
                    <a:lnTo>
                      <a:pt x="648" y="1352"/>
                    </a:lnTo>
                    <a:lnTo>
                      <a:pt x="646" y="1352"/>
                    </a:lnTo>
                    <a:lnTo>
                      <a:pt x="644" y="1356"/>
                    </a:lnTo>
                    <a:lnTo>
                      <a:pt x="644" y="1356"/>
                    </a:lnTo>
                    <a:lnTo>
                      <a:pt x="646" y="1358"/>
                    </a:lnTo>
                    <a:lnTo>
                      <a:pt x="648" y="1358"/>
                    </a:lnTo>
                    <a:lnTo>
                      <a:pt x="652" y="1356"/>
                    </a:lnTo>
                    <a:lnTo>
                      <a:pt x="652" y="1354"/>
                    </a:lnTo>
                    <a:lnTo>
                      <a:pt x="652" y="1354"/>
                    </a:lnTo>
                    <a:close/>
                    <a:moveTo>
                      <a:pt x="150" y="1398"/>
                    </a:moveTo>
                    <a:lnTo>
                      <a:pt x="150" y="1398"/>
                    </a:lnTo>
                    <a:lnTo>
                      <a:pt x="148" y="1396"/>
                    </a:lnTo>
                    <a:lnTo>
                      <a:pt x="148" y="1396"/>
                    </a:lnTo>
                    <a:lnTo>
                      <a:pt x="146" y="1394"/>
                    </a:lnTo>
                    <a:lnTo>
                      <a:pt x="146" y="1396"/>
                    </a:lnTo>
                    <a:lnTo>
                      <a:pt x="146" y="1396"/>
                    </a:lnTo>
                    <a:lnTo>
                      <a:pt x="144" y="1398"/>
                    </a:lnTo>
                    <a:lnTo>
                      <a:pt x="146" y="1402"/>
                    </a:lnTo>
                    <a:lnTo>
                      <a:pt x="152" y="1410"/>
                    </a:lnTo>
                    <a:lnTo>
                      <a:pt x="152" y="1410"/>
                    </a:lnTo>
                    <a:lnTo>
                      <a:pt x="154" y="1412"/>
                    </a:lnTo>
                    <a:lnTo>
                      <a:pt x="156" y="1412"/>
                    </a:lnTo>
                    <a:lnTo>
                      <a:pt x="158" y="1412"/>
                    </a:lnTo>
                    <a:lnTo>
                      <a:pt x="156" y="1410"/>
                    </a:lnTo>
                    <a:lnTo>
                      <a:pt x="156" y="1410"/>
                    </a:lnTo>
                    <a:lnTo>
                      <a:pt x="154" y="1404"/>
                    </a:lnTo>
                    <a:lnTo>
                      <a:pt x="154" y="1400"/>
                    </a:lnTo>
                    <a:lnTo>
                      <a:pt x="150" y="1398"/>
                    </a:lnTo>
                    <a:lnTo>
                      <a:pt x="150" y="1398"/>
                    </a:lnTo>
                    <a:close/>
                    <a:moveTo>
                      <a:pt x="732" y="1304"/>
                    </a:moveTo>
                    <a:lnTo>
                      <a:pt x="732" y="1304"/>
                    </a:lnTo>
                    <a:lnTo>
                      <a:pt x="734" y="1302"/>
                    </a:lnTo>
                    <a:lnTo>
                      <a:pt x="732" y="1300"/>
                    </a:lnTo>
                    <a:lnTo>
                      <a:pt x="730" y="1298"/>
                    </a:lnTo>
                    <a:lnTo>
                      <a:pt x="728" y="1300"/>
                    </a:lnTo>
                    <a:lnTo>
                      <a:pt x="728" y="1300"/>
                    </a:lnTo>
                    <a:lnTo>
                      <a:pt x="726" y="1302"/>
                    </a:lnTo>
                    <a:lnTo>
                      <a:pt x="724" y="1302"/>
                    </a:lnTo>
                    <a:lnTo>
                      <a:pt x="722" y="1300"/>
                    </a:lnTo>
                    <a:lnTo>
                      <a:pt x="720" y="1302"/>
                    </a:lnTo>
                    <a:lnTo>
                      <a:pt x="720" y="1302"/>
                    </a:lnTo>
                    <a:lnTo>
                      <a:pt x="720" y="1304"/>
                    </a:lnTo>
                    <a:lnTo>
                      <a:pt x="720" y="1304"/>
                    </a:lnTo>
                    <a:lnTo>
                      <a:pt x="724" y="1306"/>
                    </a:lnTo>
                    <a:lnTo>
                      <a:pt x="732" y="1304"/>
                    </a:lnTo>
                    <a:lnTo>
                      <a:pt x="732" y="1304"/>
                    </a:lnTo>
                    <a:close/>
                    <a:moveTo>
                      <a:pt x="618" y="1384"/>
                    </a:moveTo>
                    <a:lnTo>
                      <a:pt x="618" y="1384"/>
                    </a:lnTo>
                    <a:lnTo>
                      <a:pt x="622" y="1384"/>
                    </a:lnTo>
                    <a:lnTo>
                      <a:pt x="626" y="1382"/>
                    </a:lnTo>
                    <a:lnTo>
                      <a:pt x="628" y="1380"/>
                    </a:lnTo>
                    <a:lnTo>
                      <a:pt x="628" y="1378"/>
                    </a:lnTo>
                    <a:lnTo>
                      <a:pt x="628" y="1378"/>
                    </a:lnTo>
                    <a:lnTo>
                      <a:pt x="622" y="1378"/>
                    </a:lnTo>
                    <a:lnTo>
                      <a:pt x="618" y="1378"/>
                    </a:lnTo>
                    <a:lnTo>
                      <a:pt x="616" y="1380"/>
                    </a:lnTo>
                    <a:lnTo>
                      <a:pt x="618" y="1384"/>
                    </a:lnTo>
                    <a:lnTo>
                      <a:pt x="618" y="1384"/>
                    </a:lnTo>
                    <a:close/>
                    <a:moveTo>
                      <a:pt x="620" y="1456"/>
                    </a:moveTo>
                    <a:lnTo>
                      <a:pt x="620" y="1456"/>
                    </a:lnTo>
                    <a:lnTo>
                      <a:pt x="616" y="1454"/>
                    </a:lnTo>
                    <a:lnTo>
                      <a:pt x="618" y="1456"/>
                    </a:lnTo>
                    <a:lnTo>
                      <a:pt x="622" y="1462"/>
                    </a:lnTo>
                    <a:lnTo>
                      <a:pt x="624" y="1462"/>
                    </a:lnTo>
                    <a:lnTo>
                      <a:pt x="624" y="1462"/>
                    </a:lnTo>
                    <a:lnTo>
                      <a:pt x="626" y="1464"/>
                    </a:lnTo>
                    <a:lnTo>
                      <a:pt x="624" y="1462"/>
                    </a:lnTo>
                    <a:lnTo>
                      <a:pt x="622" y="1458"/>
                    </a:lnTo>
                    <a:lnTo>
                      <a:pt x="620" y="1456"/>
                    </a:lnTo>
                    <a:lnTo>
                      <a:pt x="620" y="1456"/>
                    </a:lnTo>
                    <a:close/>
                    <a:moveTo>
                      <a:pt x="630" y="1474"/>
                    </a:moveTo>
                    <a:lnTo>
                      <a:pt x="630" y="1474"/>
                    </a:lnTo>
                    <a:lnTo>
                      <a:pt x="626" y="1468"/>
                    </a:lnTo>
                    <a:lnTo>
                      <a:pt x="622" y="1466"/>
                    </a:lnTo>
                    <a:lnTo>
                      <a:pt x="622" y="1466"/>
                    </a:lnTo>
                    <a:lnTo>
                      <a:pt x="622" y="1468"/>
                    </a:lnTo>
                    <a:lnTo>
                      <a:pt x="622" y="1468"/>
                    </a:lnTo>
                    <a:lnTo>
                      <a:pt x="626" y="1474"/>
                    </a:lnTo>
                    <a:lnTo>
                      <a:pt x="628" y="1476"/>
                    </a:lnTo>
                    <a:lnTo>
                      <a:pt x="630" y="1474"/>
                    </a:lnTo>
                    <a:lnTo>
                      <a:pt x="630" y="1474"/>
                    </a:lnTo>
                    <a:close/>
                    <a:moveTo>
                      <a:pt x="624" y="1490"/>
                    </a:moveTo>
                    <a:lnTo>
                      <a:pt x="624" y="1490"/>
                    </a:lnTo>
                    <a:lnTo>
                      <a:pt x="626" y="1490"/>
                    </a:lnTo>
                    <a:lnTo>
                      <a:pt x="626" y="1490"/>
                    </a:lnTo>
                    <a:lnTo>
                      <a:pt x="626" y="1486"/>
                    </a:lnTo>
                    <a:lnTo>
                      <a:pt x="624" y="1476"/>
                    </a:lnTo>
                    <a:lnTo>
                      <a:pt x="624" y="1476"/>
                    </a:lnTo>
                    <a:lnTo>
                      <a:pt x="622" y="1474"/>
                    </a:lnTo>
                    <a:lnTo>
                      <a:pt x="622" y="1476"/>
                    </a:lnTo>
                    <a:lnTo>
                      <a:pt x="622" y="1480"/>
                    </a:lnTo>
                    <a:lnTo>
                      <a:pt x="622" y="1486"/>
                    </a:lnTo>
                    <a:lnTo>
                      <a:pt x="622" y="1490"/>
                    </a:lnTo>
                    <a:lnTo>
                      <a:pt x="624" y="1490"/>
                    </a:lnTo>
                    <a:lnTo>
                      <a:pt x="624" y="1490"/>
                    </a:lnTo>
                    <a:close/>
                    <a:moveTo>
                      <a:pt x="302" y="1578"/>
                    </a:moveTo>
                    <a:lnTo>
                      <a:pt x="302" y="1578"/>
                    </a:lnTo>
                    <a:lnTo>
                      <a:pt x="300" y="1580"/>
                    </a:lnTo>
                    <a:lnTo>
                      <a:pt x="300" y="1582"/>
                    </a:lnTo>
                    <a:lnTo>
                      <a:pt x="302" y="1582"/>
                    </a:lnTo>
                    <a:lnTo>
                      <a:pt x="304" y="1584"/>
                    </a:lnTo>
                    <a:lnTo>
                      <a:pt x="304" y="1584"/>
                    </a:lnTo>
                    <a:lnTo>
                      <a:pt x="306" y="1582"/>
                    </a:lnTo>
                    <a:lnTo>
                      <a:pt x="306" y="1580"/>
                    </a:lnTo>
                    <a:lnTo>
                      <a:pt x="304" y="1578"/>
                    </a:lnTo>
                    <a:lnTo>
                      <a:pt x="302" y="1578"/>
                    </a:lnTo>
                    <a:lnTo>
                      <a:pt x="302" y="1578"/>
                    </a:lnTo>
                    <a:close/>
                    <a:moveTo>
                      <a:pt x="160" y="1386"/>
                    </a:moveTo>
                    <a:lnTo>
                      <a:pt x="160" y="1386"/>
                    </a:lnTo>
                    <a:lnTo>
                      <a:pt x="158" y="1382"/>
                    </a:lnTo>
                    <a:lnTo>
                      <a:pt x="154" y="1378"/>
                    </a:lnTo>
                    <a:lnTo>
                      <a:pt x="150" y="1378"/>
                    </a:lnTo>
                    <a:lnTo>
                      <a:pt x="148" y="1378"/>
                    </a:lnTo>
                    <a:lnTo>
                      <a:pt x="148" y="1380"/>
                    </a:lnTo>
                    <a:lnTo>
                      <a:pt x="148" y="1380"/>
                    </a:lnTo>
                    <a:lnTo>
                      <a:pt x="148" y="1382"/>
                    </a:lnTo>
                    <a:lnTo>
                      <a:pt x="152" y="1384"/>
                    </a:lnTo>
                    <a:lnTo>
                      <a:pt x="152" y="1384"/>
                    </a:lnTo>
                    <a:lnTo>
                      <a:pt x="156" y="1386"/>
                    </a:lnTo>
                    <a:lnTo>
                      <a:pt x="160" y="1386"/>
                    </a:lnTo>
                    <a:lnTo>
                      <a:pt x="160" y="1386"/>
                    </a:lnTo>
                    <a:close/>
                    <a:moveTo>
                      <a:pt x="320" y="1546"/>
                    </a:moveTo>
                    <a:lnTo>
                      <a:pt x="320" y="1546"/>
                    </a:lnTo>
                    <a:lnTo>
                      <a:pt x="318" y="1546"/>
                    </a:lnTo>
                    <a:lnTo>
                      <a:pt x="316" y="1546"/>
                    </a:lnTo>
                    <a:lnTo>
                      <a:pt x="314" y="1548"/>
                    </a:lnTo>
                    <a:lnTo>
                      <a:pt x="312" y="1552"/>
                    </a:lnTo>
                    <a:lnTo>
                      <a:pt x="312" y="1552"/>
                    </a:lnTo>
                    <a:lnTo>
                      <a:pt x="312" y="1552"/>
                    </a:lnTo>
                    <a:lnTo>
                      <a:pt x="314" y="1552"/>
                    </a:lnTo>
                    <a:lnTo>
                      <a:pt x="318" y="1552"/>
                    </a:lnTo>
                    <a:lnTo>
                      <a:pt x="318" y="1552"/>
                    </a:lnTo>
                    <a:lnTo>
                      <a:pt x="318" y="1550"/>
                    </a:lnTo>
                    <a:lnTo>
                      <a:pt x="320" y="1548"/>
                    </a:lnTo>
                    <a:lnTo>
                      <a:pt x="322" y="1546"/>
                    </a:lnTo>
                    <a:lnTo>
                      <a:pt x="320" y="1546"/>
                    </a:lnTo>
                    <a:lnTo>
                      <a:pt x="320" y="1546"/>
                    </a:lnTo>
                    <a:close/>
                    <a:moveTo>
                      <a:pt x="354" y="1486"/>
                    </a:moveTo>
                    <a:lnTo>
                      <a:pt x="354" y="1486"/>
                    </a:lnTo>
                    <a:lnTo>
                      <a:pt x="356" y="1488"/>
                    </a:lnTo>
                    <a:lnTo>
                      <a:pt x="356" y="1490"/>
                    </a:lnTo>
                    <a:lnTo>
                      <a:pt x="358" y="1488"/>
                    </a:lnTo>
                    <a:lnTo>
                      <a:pt x="362" y="1490"/>
                    </a:lnTo>
                    <a:lnTo>
                      <a:pt x="362" y="1490"/>
                    </a:lnTo>
                    <a:lnTo>
                      <a:pt x="364" y="1492"/>
                    </a:lnTo>
                    <a:lnTo>
                      <a:pt x="364" y="1490"/>
                    </a:lnTo>
                    <a:lnTo>
                      <a:pt x="366" y="1488"/>
                    </a:lnTo>
                    <a:lnTo>
                      <a:pt x="370" y="1490"/>
                    </a:lnTo>
                    <a:lnTo>
                      <a:pt x="370" y="1490"/>
                    </a:lnTo>
                    <a:lnTo>
                      <a:pt x="372" y="1492"/>
                    </a:lnTo>
                    <a:lnTo>
                      <a:pt x="372" y="1494"/>
                    </a:lnTo>
                    <a:lnTo>
                      <a:pt x="370" y="1500"/>
                    </a:lnTo>
                    <a:lnTo>
                      <a:pt x="368" y="1506"/>
                    </a:lnTo>
                    <a:lnTo>
                      <a:pt x="368" y="1508"/>
                    </a:lnTo>
                    <a:lnTo>
                      <a:pt x="370" y="1512"/>
                    </a:lnTo>
                    <a:lnTo>
                      <a:pt x="370" y="1512"/>
                    </a:lnTo>
                    <a:lnTo>
                      <a:pt x="372" y="1512"/>
                    </a:lnTo>
                    <a:lnTo>
                      <a:pt x="372" y="1510"/>
                    </a:lnTo>
                    <a:lnTo>
                      <a:pt x="374" y="1502"/>
                    </a:lnTo>
                    <a:lnTo>
                      <a:pt x="374" y="1502"/>
                    </a:lnTo>
                    <a:lnTo>
                      <a:pt x="376" y="1496"/>
                    </a:lnTo>
                    <a:lnTo>
                      <a:pt x="374" y="1490"/>
                    </a:lnTo>
                    <a:lnTo>
                      <a:pt x="374" y="1490"/>
                    </a:lnTo>
                    <a:lnTo>
                      <a:pt x="374" y="1488"/>
                    </a:lnTo>
                    <a:lnTo>
                      <a:pt x="376" y="1484"/>
                    </a:lnTo>
                    <a:lnTo>
                      <a:pt x="380" y="1476"/>
                    </a:lnTo>
                    <a:lnTo>
                      <a:pt x="380" y="1476"/>
                    </a:lnTo>
                    <a:lnTo>
                      <a:pt x="380" y="1472"/>
                    </a:lnTo>
                    <a:lnTo>
                      <a:pt x="378" y="1474"/>
                    </a:lnTo>
                    <a:lnTo>
                      <a:pt x="376" y="1476"/>
                    </a:lnTo>
                    <a:lnTo>
                      <a:pt x="376" y="1476"/>
                    </a:lnTo>
                    <a:lnTo>
                      <a:pt x="376" y="1474"/>
                    </a:lnTo>
                    <a:lnTo>
                      <a:pt x="376" y="1474"/>
                    </a:lnTo>
                    <a:lnTo>
                      <a:pt x="376" y="1472"/>
                    </a:lnTo>
                    <a:lnTo>
                      <a:pt x="374" y="1470"/>
                    </a:lnTo>
                    <a:lnTo>
                      <a:pt x="372" y="1470"/>
                    </a:lnTo>
                    <a:lnTo>
                      <a:pt x="372" y="1472"/>
                    </a:lnTo>
                    <a:lnTo>
                      <a:pt x="372" y="1472"/>
                    </a:lnTo>
                    <a:lnTo>
                      <a:pt x="370" y="1474"/>
                    </a:lnTo>
                    <a:lnTo>
                      <a:pt x="370" y="1472"/>
                    </a:lnTo>
                    <a:lnTo>
                      <a:pt x="370" y="1462"/>
                    </a:lnTo>
                    <a:lnTo>
                      <a:pt x="370" y="1462"/>
                    </a:lnTo>
                    <a:lnTo>
                      <a:pt x="370" y="1460"/>
                    </a:lnTo>
                    <a:lnTo>
                      <a:pt x="368" y="1460"/>
                    </a:lnTo>
                    <a:lnTo>
                      <a:pt x="364" y="1464"/>
                    </a:lnTo>
                    <a:lnTo>
                      <a:pt x="358" y="1468"/>
                    </a:lnTo>
                    <a:lnTo>
                      <a:pt x="358" y="1470"/>
                    </a:lnTo>
                    <a:lnTo>
                      <a:pt x="358" y="1470"/>
                    </a:lnTo>
                    <a:lnTo>
                      <a:pt x="358" y="1470"/>
                    </a:lnTo>
                    <a:lnTo>
                      <a:pt x="364" y="1474"/>
                    </a:lnTo>
                    <a:lnTo>
                      <a:pt x="368" y="1476"/>
                    </a:lnTo>
                    <a:lnTo>
                      <a:pt x="368" y="1480"/>
                    </a:lnTo>
                    <a:lnTo>
                      <a:pt x="368" y="1480"/>
                    </a:lnTo>
                    <a:lnTo>
                      <a:pt x="366" y="1482"/>
                    </a:lnTo>
                    <a:lnTo>
                      <a:pt x="360" y="1482"/>
                    </a:lnTo>
                    <a:lnTo>
                      <a:pt x="356" y="1482"/>
                    </a:lnTo>
                    <a:lnTo>
                      <a:pt x="356" y="1484"/>
                    </a:lnTo>
                    <a:lnTo>
                      <a:pt x="354" y="1486"/>
                    </a:lnTo>
                    <a:lnTo>
                      <a:pt x="354" y="1486"/>
                    </a:lnTo>
                    <a:close/>
                    <a:moveTo>
                      <a:pt x="312" y="1560"/>
                    </a:moveTo>
                    <a:lnTo>
                      <a:pt x="312" y="1560"/>
                    </a:lnTo>
                    <a:lnTo>
                      <a:pt x="312" y="1562"/>
                    </a:lnTo>
                    <a:lnTo>
                      <a:pt x="314" y="1562"/>
                    </a:lnTo>
                    <a:lnTo>
                      <a:pt x="318" y="1560"/>
                    </a:lnTo>
                    <a:lnTo>
                      <a:pt x="318" y="1560"/>
                    </a:lnTo>
                    <a:lnTo>
                      <a:pt x="316" y="1558"/>
                    </a:lnTo>
                    <a:lnTo>
                      <a:pt x="314" y="1556"/>
                    </a:lnTo>
                    <a:lnTo>
                      <a:pt x="312" y="1560"/>
                    </a:lnTo>
                    <a:lnTo>
                      <a:pt x="312" y="1560"/>
                    </a:lnTo>
                    <a:close/>
                    <a:moveTo>
                      <a:pt x="744" y="1294"/>
                    </a:moveTo>
                    <a:lnTo>
                      <a:pt x="744" y="1294"/>
                    </a:lnTo>
                    <a:lnTo>
                      <a:pt x="746" y="1296"/>
                    </a:lnTo>
                    <a:lnTo>
                      <a:pt x="748" y="1296"/>
                    </a:lnTo>
                    <a:lnTo>
                      <a:pt x="750" y="1294"/>
                    </a:lnTo>
                    <a:lnTo>
                      <a:pt x="752" y="1292"/>
                    </a:lnTo>
                    <a:lnTo>
                      <a:pt x="752" y="1292"/>
                    </a:lnTo>
                    <a:lnTo>
                      <a:pt x="748" y="1288"/>
                    </a:lnTo>
                    <a:lnTo>
                      <a:pt x="746" y="1288"/>
                    </a:lnTo>
                    <a:lnTo>
                      <a:pt x="744" y="1290"/>
                    </a:lnTo>
                    <a:lnTo>
                      <a:pt x="744" y="1294"/>
                    </a:lnTo>
                    <a:lnTo>
                      <a:pt x="744" y="1294"/>
                    </a:lnTo>
                    <a:close/>
                    <a:moveTo>
                      <a:pt x="380" y="1462"/>
                    </a:moveTo>
                    <a:lnTo>
                      <a:pt x="380" y="1462"/>
                    </a:lnTo>
                    <a:lnTo>
                      <a:pt x="382" y="1460"/>
                    </a:lnTo>
                    <a:lnTo>
                      <a:pt x="382" y="1456"/>
                    </a:lnTo>
                    <a:lnTo>
                      <a:pt x="382" y="1454"/>
                    </a:lnTo>
                    <a:lnTo>
                      <a:pt x="380" y="1454"/>
                    </a:lnTo>
                    <a:lnTo>
                      <a:pt x="380" y="1454"/>
                    </a:lnTo>
                    <a:lnTo>
                      <a:pt x="378" y="1454"/>
                    </a:lnTo>
                    <a:lnTo>
                      <a:pt x="378" y="1456"/>
                    </a:lnTo>
                    <a:lnTo>
                      <a:pt x="376" y="1460"/>
                    </a:lnTo>
                    <a:lnTo>
                      <a:pt x="376" y="1460"/>
                    </a:lnTo>
                    <a:lnTo>
                      <a:pt x="374" y="1462"/>
                    </a:lnTo>
                    <a:lnTo>
                      <a:pt x="376" y="1468"/>
                    </a:lnTo>
                    <a:lnTo>
                      <a:pt x="376" y="1468"/>
                    </a:lnTo>
                    <a:lnTo>
                      <a:pt x="378" y="1468"/>
                    </a:lnTo>
                    <a:lnTo>
                      <a:pt x="378" y="1466"/>
                    </a:lnTo>
                    <a:lnTo>
                      <a:pt x="380" y="1464"/>
                    </a:lnTo>
                    <a:lnTo>
                      <a:pt x="380" y="1462"/>
                    </a:lnTo>
                    <a:lnTo>
                      <a:pt x="380" y="1462"/>
                    </a:lnTo>
                    <a:close/>
                    <a:moveTo>
                      <a:pt x="134" y="1090"/>
                    </a:moveTo>
                    <a:lnTo>
                      <a:pt x="134" y="1090"/>
                    </a:lnTo>
                    <a:lnTo>
                      <a:pt x="148" y="1086"/>
                    </a:lnTo>
                    <a:lnTo>
                      <a:pt x="158" y="1086"/>
                    </a:lnTo>
                    <a:lnTo>
                      <a:pt x="190" y="1088"/>
                    </a:lnTo>
                    <a:lnTo>
                      <a:pt x="190" y="1088"/>
                    </a:lnTo>
                    <a:lnTo>
                      <a:pt x="200" y="1088"/>
                    </a:lnTo>
                    <a:lnTo>
                      <a:pt x="202" y="1090"/>
                    </a:lnTo>
                    <a:lnTo>
                      <a:pt x="202" y="1092"/>
                    </a:lnTo>
                    <a:lnTo>
                      <a:pt x="198" y="1094"/>
                    </a:lnTo>
                    <a:lnTo>
                      <a:pt x="186" y="1100"/>
                    </a:lnTo>
                    <a:lnTo>
                      <a:pt x="182" y="1104"/>
                    </a:lnTo>
                    <a:lnTo>
                      <a:pt x="180" y="1108"/>
                    </a:lnTo>
                    <a:lnTo>
                      <a:pt x="180" y="1108"/>
                    </a:lnTo>
                    <a:lnTo>
                      <a:pt x="182" y="1110"/>
                    </a:lnTo>
                    <a:lnTo>
                      <a:pt x="186" y="1112"/>
                    </a:lnTo>
                    <a:lnTo>
                      <a:pt x="196" y="1112"/>
                    </a:lnTo>
                    <a:lnTo>
                      <a:pt x="204" y="1114"/>
                    </a:lnTo>
                    <a:lnTo>
                      <a:pt x="204" y="1114"/>
                    </a:lnTo>
                    <a:lnTo>
                      <a:pt x="198" y="1118"/>
                    </a:lnTo>
                    <a:lnTo>
                      <a:pt x="198" y="1118"/>
                    </a:lnTo>
                    <a:lnTo>
                      <a:pt x="190" y="1120"/>
                    </a:lnTo>
                    <a:lnTo>
                      <a:pt x="182" y="1120"/>
                    </a:lnTo>
                    <a:lnTo>
                      <a:pt x="174" y="1118"/>
                    </a:lnTo>
                    <a:lnTo>
                      <a:pt x="166" y="1116"/>
                    </a:lnTo>
                    <a:lnTo>
                      <a:pt x="162" y="1116"/>
                    </a:lnTo>
                    <a:lnTo>
                      <a:pt x="156" y="1120"/>
                    </a:lnTo>
                    <a:lnTo>
                      <a:pt x="156" y="1120"/>
                    </a:lnTo>
                    <a:lnTo>
                      <a:pt x="150" y="1122"/>
                    </a:lnTo>
                    <a:lnTo>
                      <a:pt x="144" y="1124"/>
                    </a:lnTo>
                    <a:lnTo>
                      <a:pt x="132" y="1124"/>
                    </a:lnTo>
                    <a:lnTo>
                      <a:pt x="122" y="1126"/>
                    </a:lnTo>
                    <a:lnTo>
                      <a:pt x="120" y="1130"/>
                    </a:lnTo>
                    <a:lnTo>
                      <a:pt x="120" y="1132"/>
                    </a:lnTo>
                    <a:lnTo>
                      <a:pt x="120" y="1132"/>
                    </a:lnTo>
                    <a:lnTo>
                      <a:pt x="122" y="1136"/>
                    </a:lnTo>
                    <a:lnTo>
                      <a:pt x="124" y="1138"/>
                    </a:lnTo>
                    <a:lnTo>
                      <a:pt x="134" y="1136"/>
                    </a:lnTo>
                    <a:lnTo>
                      <a:pt x="152" y="1134"/>
                    </a:lnTo>
                    <a:lnTo>
                      <a:pt x="162" y="1134"/>
                    </a:lnTo>
                    <a:lnTo>
                      <a:pt x="174" y="1136"/>
                    </a:lnTo>
                    <a:lnTo>
                      <a:pt x="174" y="1136"/>
                    </a:lnTo>
                    <a:lnTo>
                      <a:pt x="180" y="1138"/>
                    </a:lnTo>
                    <a:lnTo>
                      <a:pt x="184" y="1140"/>
                    </a:lnTo>
                    <a:lnTo>
                      <a:pt x="186" y="1142"/>
                    </a:lnTo>
                    <a:lnTo>
                      <a:pt x="186" y="1146"/>
                    </a:lnTo>
                    <a:lnTo>
                      <a:pt x="186" y="1152"/>
                    </a:lnTo>
                    <a:lnTo>
                      <a:pt x="188" y="1154"/>
                    </a:lnTo>
                    <a:lnTo>
                      <a:pt x="190" y="1156"/>
                    </a:lnTo>
                    <a:lnTo>
                      <a:pt x="190" y="1156"/>
                    </a:lnTo>
                    <a:lnTo>
                      <a:pt x="198" y="1160"/>
                    </a:lnTo>
                    <a:lnTo>
                      <a:pt x="202" y="1166"/>
                    </a:lnTo>
                    <a:lnTo>
                      <a:pt x="202" y="1174"/>
                    </a:lnTo>
                    <a:lnTo>
                      <a:pt x="198" y="1184"/>
                    </a:lnTo>
                    <a:lnTo>
                      <a:pt x="198" y="1184"/>
                    </a:lnTo>
                    <a:lnTo>
                      <a:pt x="196" y="1186"/>
                    </a:lnTo>
                    <a:lnTo>
                      <a:pt x="190" y="1186"/>
                    </a:lnTo>
                    <a:lnTo>
                      <a:pt x="180" y="1184"/>
                    </a:lnTo>
                    <a:lnTo>
                      <a:pt x="172" y="1184"/>
                    </a:lnTo>
                    <a:lnTo>
                      <a:pt x="170" y="1186"/>
                    </a:lnTo>
                    <a:lnTo>
                      <a:pt x="170" y="1190"/>
                    </a:lnTo>
                    <a:lnTo>
                      <a:pt x="170" y="1190"/>
                    </a:lnTo>
                    <a:lnTo>
                      <a:pt x="172" y="1196"/>
                    </a:lnTo>
                    <a:lnTo>
                      <a:pt x="174" y="1198"/>
                    </a:lnTo>
                    <a:lnTo>
                      <a:pt x="176" y="1200"/>
                    </a:lnTo>
                    <a:lnTo>
                      <a:pt x="182" y="1202"/>
                    </a:lnTo>
                    <a:lnTo>
                      <a:pt x="196" y="1202"/>
                    </a:lnTo>
                    <a:lnTo>
                      <a:pt x="220" y="1200"/>
                    </a:lnTo>
                    <a:lnTo>
                      <a:pt x="220" y="1200"/>
                    </a:lnTo>
                    <a:lnTo>
                      <a:pt x="232" y="1200"/>
                    </a:lnTo>
                    <a:lnTo>
                      <a:pt x="242" y="1202"/>
                    </a:lnTo>
                    <a:lnTo>
                      <a:pt x="252" y="1206"/>
                    </a:lnTo>
                    <a:lnTo>
                      <a:pt x="260" y="1208"/>
                    </a:lnTo>
                    <a:lnTo>
                      <a:pt x="274" y="1216"/>
                    </a:lnTo>
                    <a:lnTo>
                      <a:pt x="282" y="1218"/>
                    </a:lnTo>
                    <a:lnTo>
                      <a:pt x="292" y="1220"/>
                    </a:lnTo>
                    <a:lnTo>
                      <a:pt x="292" y="1220"/>
                    </a:lnTo>
                    <a:lnTo>
                      <a:pt x="300" y="1220"/>
                    </a:lnTo>
                    <a:lnTo>
                      <a:pt x="308" y="1224"/>
                    </a:lnTo>
                    <a:lnTo>
                      <a:pt x="318" y="1228"/>
                    </a:lnTo>
                    <a:lnTo>
                      <a:pt x="322" y="1230"/>
                    </a:lnTo>
                    <a:lnTo>
                      <a:pt x="328" y="1232"/>
                    </a:lnTo>
                    <a:lnTo>
                      <a:pt x="336" y="1232"/>
                    </a:lnTo>
                    <a:lnTo>
                      <a:pt x="346" y="1230"/>
                    </a:lnTo>
                    <a:lnTo>
                      <a:pt x="346" y="1230"/>
                    </a:lnTo>
                    <a:lnTo>
                      <a:pt x="356" y="1226"/>
                    </a:lnTo>
                    <a:lnTo>
                      <a:pt x="362" y="1222"/>
                    </a:lnTo>
                    <a:lnTo>
                      <a:pt x="368" y="1214"/>
                    </a:lnTo>
                    <a:lnTo>
                      <a:pt x="370" y="1210"/>
                    </a:lnTo>
                    <a:lnTo>
                      <a:pt x="374" y="1206"/>
                    </a:lnTo>
                    <a:lnTo>
                      <a:pt x="380" y="1206"/>
                    </a:lnTo>
                    <a:lnTo>
                      <a:pt x="388" y="1206"/>
                    </a:lnTo>
                    <a:lnTo>
                      <a:pt x="388" y="1206"/>
                    </a:lnTo>
                    <a:lnTo>
                      <a:pt x="396" y="1204"/>
                    </a:lnTo>
                    <a:lnTo>
                      <a:pt x="404" y="1204"/>
                    </a:lnTo>
                    <a:lnTo>
                      <a:pt x="418" y="1198"/>
                    </a:lnTo>
                    <a:lnTo>
                      <a:pt x="452" y="1176"/>
                    </a:lnTo>
                    <a:lnTo>
                      <a:pt x="452" y="1176"/>
                    </a:lnTo>
                    <a:lnTo>
                      <a:pt x="462" y="1172"/>
                    </a:lnTo>
                    <a:lnTo>
                      <a:pt x="470" y="1170"/>
                    </a:lnTo>
                    <a:lnTo>
                      <a:pt x="484" y="1168"/>
                    </a:lnTo>
                    <a:lnTo>
                      <a:pt x="488" y="1166"/>
                    </a:lnTo>
                    <a:lnTo>
                      <a:pt x="494" y="1164"/>
                    </a:lnTo>
                    <a:lnTo>
                      <a:pt x="500" y="1160"/>
                    </a:lnTo>
                    <a:lnTo>
                      <a:pt x="504" y="1154"/>
                    </a:lnTo>
                    <a:lnTo>
                      <a:pt x="504" y="1154"/>
                    </a:lnTo>
                    <a:lnTo>
                      <a:pt x="514" y="1142"/>
                    </a:lnTo>
                    <a:lnTo>
                      <a:pt x="522" y="1136"/>
                    </a:lnTo>
                    <a:lnTo>
                      <a:pt x="528" y="1134"/>
                    </a:lnTo>
                    <a:lnTo>
                      <a:pt x="534" y="1126"/>
                    </a:lnTo>
                    <a:lnTo>
                      <a:pt x="534" y="1126"/>
                    </a:lnTo>
                    <a:lnTo>
                      <a:pt x="540" y="1112"/>
                    </a:lnTo>
                    <a:lnTo>
                      <a:pt x="542" y="1104"/>
                    </a:lnTo>
                    <a:lnTo>
                      <a:pt x="542" y="1098"/>
                    </a:lnTo>
                    <a:lnTo>
                      <a:pt x="542" y="1090"/>
                    </a:lnTo>
                    <a:lnTo>
                      <a:pt x="538" y="1086"/>
                    </a:lnTo>
                    <a:lnTo>
                      <a:pt x="532" y="1082"/>
                    </a:lnTo>
                    <a:lnTo>
                      <a:pt x="526" y="1080"/>
                    </a:lnTo>
                    <a:lnTo>
                      <a:pt x="526" y="1080"/>
                    </a:lnTo>
                    <a:lnTo>
                      <a:pt x="518" y="1078"/>
                    </a:lnTo>
                    <a:lnTo>
                      <a:pt x="514" y="1076"/>
                    </a:lnTo>
                    <a:lnTo>
                      <a:pt x="510" y="1072"/>
                    </a:lnTo>
                    <a:lnTo>
                      <a:pt x="506" y="1068"/>
                    </a:lnTo>
                    <a:lnTo>
                      <a:pt x="502" y="1066"/>
                    </a:lnTo>
                    <a:lnTo>
                      <a:pt x="496" y="1068"/>
                    </a:lnTo>
                    <a:lnTo>
                      <a:pt x="496" y="1068"/>
                    </a:lnTo>
                    <a:lnTo>
                      <a:pt x="494" y="1066"/>
                    </a:lnTo>
                    <a:lnTo>
                      <a:pt x="492" y="1064"/>
                    </a:lnTo>
                    <a:lnTo>
                      <a:pt x="496" y="1058"/>
                    </a:lnTo>
                    <a:lnTo>
                      <a:pt x="496" y="1058"/>
                    </a:lnTo>
                    <a:lnTo>
                      <a:pt x="500" y="1052"/>
                    </a:lnTo>
                    <a:lnTo>
                      <a:pt x="500" y="1048"/>
                    </a:lnTo>
                    <a:lnTo>
                      <a:pt x="496" y="1046"/>
                    </a:lnTo>
                    <a:lnTo>
                      <a:pt x="492" y="1046"/>
                    </a:lnTo>
                    <a:lnTo>
                      <a:pt x="486" y="1044"/>
                    </a:lnTo>
                    <a:lnTo>
                      <a:pt x="484" y="1044"/>
                    </a:lnTo>
                    <a:lnTo>
                      <a:pt x="484" y="1040"/>
                    </a:lnTo>
                    <a:lnTo>
                      <a:pt x="488" y="1036"/>
                    </a:lnTo>
                    <a:lnTo>
                      <a:pt x="488" y="1036"/>
                    </a:lnTo>
                    <a:lnTo>
                      <a:pt x="500" y="1028"/>
                    </a:lnTo>
                    <a:lnTo>
                      <a:pt x="500" y="1024"/>
                    </a:lnTo>
                    <a:lnTo>
                      <a:pt x="500" y="1022"/>
                    </a:lnTo>
                    <a:lnTo>
                      <a:pt x="494" y="1022"/>
                    </a:lnTo>
                    <a:lnTo>
                      <a:pt x="484" y="1026"/>
                    </a:lnTo>
                    <a:lnTo>
                      <a:pt x="484" y="1026"/>
                    </a:lnTo>
                    <a:lnTo>
                      <a:pt x="474" y="1032"/>
                    </a:lnTo>
                    <a:lnTo>
                      <a:pt x="466" y="1036"/>
                    </a:lnTo>
                    <a:lnTo>
                      <a:pt x="462" y="1036"/>
                    </a:lnTo>
                    <a:lnTo>
                      <a:pt x="460" y="1034"/>
                    </a:lnTo>
                    <a:lnTo>
                      <a:pt x="456" y="1028"/>
                    </a:lnTo>
                    <a:lnTo>
                      <a:pt x="450" y="1020"/>
                    </a:lnTo>
                    <a:lnTo>
                      <a:pt x="450" y="1020"/>
                    </a:lnTo>
                    <a:lnTo>
                      <a:pt x="446" y="1016"/>
                    </a:lnTo>
                    <a:lnTo>
                      <a:pt x="442" y="1012"/>
                    </a:lnTo>
                    <a:lnTo>
                      <a:pt x="436" y="1012"/>
                    </a:lnTo>
                    <a:lnTo>
                      <a:pt x="430" y="1012"/>
                    </a:lnTo>
                    <a:lnTo>
                      <a:pt x="424" y="1014"/>
                    </a:lnTo>
                    <a:lnTo>
                      <a:pt x="420" y="1018"/>
                    </a:lnTo>
                    <a:lnTo>
                      <a:pt x="418" y="1022"/>
                    </a:lnTo>
                    <a:lnTo>
                      <a:pt x="420" y="1026"/>
                    </a:lnTo>
                    <a:lnTo>
                      <a:pt x="420" y="1026"/>
                    </a:lnTo>
                    <a:lnTo>
                      <a:pt x="424" y="1034"/>
                    </a:lnTo>
                    <a:lnTo>
                      <a:pt x="424" y="1038"/>
                    </a:lnTo>
                    <a:lnTo>
                      <a:pt x="424" y="1040"/>
                    </a:lnTo>
                    <a:lnTo>
                      <a:pt x="420" y="1042"/>
                    </a:lnTo>
                    <a:lnTo>
                      <a:pt x="418" y="1042"/>
                    </a:lnTo>
                    <a:lnTo>
                      <a:pt x="406" y="1038"/>
                    </a:lnTo>
                    <a:lnTo>
                      <a:pt x="406" y="1038"/>
                    </a:lnTo>
                    <a:lnTo>
                      <a:pt x="402" y="1036"/>
                    </a:lnTo>
                    <a:lnTo>
                      <a:pt x="396" y="1038"/>
                    </a:lnTo>
                    <a:lnTo>
                      <a:pt x="390" y="1046"/>
                    </a:lnTo>
                    <a:lnTo>
                      <a:pt x="386" y="1050"/>
                    </a:lnTo>
                    <a:lnTo>
                      <a:pt x="382" y="1052"/>
                    </a:lnTo>
                    <a:lnTo>
                      <a:pt x="378" y="1052"/>
                    </a:lnTo>
                    <a:lnTo>
                      <a:pt x="374" y="1048"/>
                    </a:lnTo>
                    <a:lnTo>
                      <a:pt x="374" y="1048"/>
                    </a:lnTo>
                    <a:lnTo>
                      <a:pt x="362" y="1038"/>
                    </a:lnTo>
                    <a:lnTo>
                      <a:pt x="358" y="1038"/>
                    </a:lnTo>
                    <a:lnTo>
                      <a:pt x="356" y="1038"/>
                    </a:lnTo>
                    <a:lnTo>
                      <a:pt x="354" y="1038"/>
                    </a:lnTo>
                    <a:lnTo>
                      <a:pt x="352" y="1042"/>
                    </a:lnTo>
                    <a:lnTo>
                      <a:pt x="352" y="1052"/>
                    </a:lnTo>
                    <a:lnTo>
                      <a:pt x="352" y="1052"/>
                    </a:lnTo>
                    <a:lnTo>
                      <a:pt x="352" y="1056"/>
                    </a:lnTo>
                    <a:lnTo>
                      <a:pt x="350" y="1058"/>
                    </a:lnTo>
                    <a:lnTo>
                      <a:pt x="350" y="1060"/>
                    </a:lnTo>
                    <a:lnTo>
                      <a:pt x="346" y="1058"/>
                    </a:lnTo>
                    <a:lnTo>
                      <a:pt x="342" y="1052"/>
                    </a:lnTo>
                    <a:lnTo>
                      <a:pt x="338" y="1042"/>
                    </a:lnTo>
                    <a:lnTo>
                      <a:pt x="338" y="1042"/>
                    </a:lnTo>
                    <a:lnTo>
                      <a:pt x="336" y="1038"/>
                    </a:lnTo>
                    <a:lnTo>
                      <a:pt x="330" y="1036"/>
                    </a:lnTo>
                    <a:lnTo>
                      <a:pt x="326" y="1036"/>
                    </a:lnTo>
                    <a:lnTo>
                      <a:pt x="320" y="1038"/>
                    </a:lnTo>
                    <a:lnTo>
                      <a:pt x="314" y="1042"/>
                    </a:lnTo>
                    <a:lnTo>
                      <a:pt x="308" y="1048"/>
                    </a:lnTo>
                    <a:lnTo>
                      <a:pt x="306" y="1054"/>
                    </a:lnTo>
                    <a:lnTo>
                      <a:pt x="306" y="1060"/>
                    </a:lnTo>
                    <a:lnTo>
                      <a:pt x="306" y="1060"/>
                    </a:lnTo>
                    <a:lnTo>
                      <a:pt x="304" y="1070"/>
                    </a:lnTo>
                    <a:lnTo>
                      <a:pt x="304" y="1072"/>
                    </a:lnTo>
                    <a:lnTo>
                      <a:pt x="302" y="1072"/>
                    </a:lnTo>
                    <a:lnTo>
                      <a:pt x="294" y="1066"/>
                    </a:lnTo>
                    <a:lnTo>
                      <a:pt x="286" y="1052"/>
                    </a:lnTo>
                    <a:lnTo>
                      <a:pt x="286" y="1052"/>
                    </a:lnTo>
                    <a:lnTo>
                      <a:pt x="280" y="1044"/>
                    </a:lnTo>
                    <a:lnTo>
                      <a:pt x="276" y="1042"/>
                    </a:lnTo>
                    <a:lnTo>
                      <a:pt x="272" y="1040"/>
                    </a:lnTo>
                    <a:lnTo>
                      <a:pt x="268" y="1042"/>
                    </a:lnTo>
                    <a:lnTo>
                      <a:pt x="266" y="1046"/>
                    </a:lnTo>
                    <a:lnTo>
                      <a:pt x="266" y="1052"/>
                    </a:lnTo>
                    <a:lnTo>
                      <a:pt x="266" y="1056"/>
                    </a:lnTo>
                    <a:lnTo>
                      <a:pt x="268" y="1062"/>
                    </a:lnTo>
                    <a:lnTo>
                      <a:pt x="268" y="1062"/>
                    </a:lnTo>
                    <a:lnTo>
                      <a:pt x="270" y="1074"/>
                    </a:lnTo>
                    <a:lnTo>
                      <a:pt x="270" y="1078"/>
                    </a:lnTo>
                    <a:lnTo>
                      <a:pt x="270" y="1080"/>
                    </a:lnTo>
                    <a:lnTo>
                      <a:pt x="266" y="1082"/>
                    </a:lnTo>
                    <a:lnTo>
                      <a:pt x="264" y="1082"/>
                    </a:lnTo>
                    <a:lnTo>
                      <a:pt x="260" y="1080"/>
                    </a:lnTo>
                    <a:lnTo>
                      <a:pt x="256" y="1074"/>
                    </a:lnTo>
                    <a:lnTo>
                      <a:pt x="256" y="1074"/>
                    </a:lnTo>
                    <a:lnTo>
                      <a:pt x="252" y="1070"/>
                    </a:lnTo>
                    <a:lnTo>
                      <a:pt x="248" y="1072"/>
                    </a:lnTo>
                    <a:lnTo>
                      <a:pt x="246" y="1076"/>
                    </a:lnTo>
                    <a:lnTo>
                      <a:pt x="242" y="1082"/>
                    </a:lnTo>
                    <a:lnTo>
                      <a:pt x="240" y="1088"/>
                    </a:lnTo>
                    <a:lnTo>
                      <a:pt x="236" y="1090"/>
                    </a:lnTo>
                    <a:lnTo>
                      <a:pt x="234" y="1092"/>
                    </a:lnTo>
                    <a:lnTo>
                      <a:pt x="232" y="1090"/>
                    </a:lnTo>
                    <a:lnTo>
                      <a:pt x="228" y="1084"/>
                    </a:lnTo>
                    <a:lnTo>
                      <a:pt x="228" y="1084"/>
                    </a:lnTo>
                    <a:lnTo>
                      <a:pt x="226" y="1076"/>
                    </a:lnTo>
                    <a:lnTo>
                      <a:pt x="226" y="1070"/>
                    </a:lnTo>
                    <a:lnTo>
                      <a:pt x="228" y="1060"/>
                    </a:lnTo>
                    <a:lnTo>
                      <a:pt x="228" y="1058"/>
                    </a:lnTo>
                    <a:lnTo>
                      <a:pt x="228" y="1054"/>
                    </a:lnTo>
                    <a:lnTo>
                      <a:pt x="224" y="1050"/>
                    </a:lnTo>
                    <a:lnTo>
                      <a:pt x="216" y="1046"/>
                    </a:lnTo>
                    <a:lnTo>
                      <a:pt x="216" y="1046"/>
                    </a:lnTo>
                    <a:lnTo>
                      <a:pt x="204" y="1036"/>
                    </a:lnTo>
                    <a:lnTo>
                      <a:pt x="200" y="1030"/>
                    </a:lnTo>
                    <a:lnTo>
                      <a:pt x="194" y="1026"/>
                    </a:lnTo>
                    <a:lnTo>
                      <a:pt x="184" y="1020"/>
                    </a:lnTo>
                    <a:lnTo>
                      <a:pt x="184" y="1020"/>
                    </a:lnTo>
                    <a:lnTo>
                      <a:pt x="174" y="1018"/>
                    </a:lnTo>
                    <a:lnTo>
                      <a:pt x="168" y="1018"/>
                    </a:lnTo>
                    <a:lnTo>
                      <a:pt x="162" y="1018"/>
                    </a:lnTo>
                    <a:lnTo>
                      <a:pt x="158" y="1020"/>
                    </a:lnTo>
                    <a:lnTo>
                      <a:pt x="154" y="1024"/>
                    </a:lnTo>
                    <a:lnTo>
                      <a:pt x="152" y="1026"/>
                    </a:lnTo>
                    <a:lnTo>
                      <a:pt x="152" y="1030"/>
                    </a:lnTo>
                    <a:lnTo>
                      <a:pt x="154" y="1032"/>
                    </a:lnTo>
                    <a:lnTo>
                      <a:pt x="154" y="1032"/>
                    </a:lnTo>
                    <a:lnTo>
                      <a:pt x="162" y="1038"/>
                    </a:lnTo>
                    <a:lnTo>
                      <a:pt x="170" y="1042"/>
                    </a:lnTo>
                    <a:lnTo>
                      <a:pt x="180" y="1048"/>
                    </a:lnTo>
                    <a:lnTo>
                      <a:pt x="186" y="1054"/>
                    </a:lnTo>
                    <a:lnTo>
                      <a:pt x="186" y="1054"/>
                    </a:lnTo>
                    <a:lnTo>
                      <a:pt x="188" y="1058"/>
                    </a:lnTo>
                    <a:lnTo>
                      <a:pt x="186" y="1058"/>
                    </a:lnTo>
                    <a:lnTo>
                      <a:pt x="178" y="1056"/>
                    </a:lnTo>
                    <a:lnTo>
                      <a:pt x="166" y="1048"/>
                    </a:lnTo>
                    <a:lnTo>
                      <a:pt x="154" y="1040"/>
                    </a:lnTo>
                    <a:lnTo>
                      <a:pt x="154" y="1040"/>
                    </a:lnTo>
                    <a:lnTo>
                      <a:pt x="148" y="1038"/>
                    </a:lnTo>
                    <a:lnTo>
                      <a:pt x="144" y="1036"/>
                    </a:lnTo>
                    <a:lnTo>
                      <a:pt x="140" y="1038"/>
                    </a:lnTo>
                    <a:lnTo>
                      <a:pt x="136" y="1040"/>
                    </a:lnTo>
                    <a:lnTo>
                      <a:pt x="130" y="1048"/>
                    </a:lnTo>
                    <a:lnTo>
                      <a:pt x="128" y="1058"/>
                    </a:lnTo>
                    <a:lnTo>
                      <a:pt x="128" y="1058"/>
                    </a:lnTo>
                    <a:lnTo>
                      <a:pt x="128" y="1064"/>
                    </a:lnTo>
                    <a:lnTo>
                      <a:pt x="126" y="1066"/>
                    </a:lnTo>
                    <a:lnTo>
                      <a:pt x="122" y="1068"/>
                    </a:lnTo>
                    <a:lnTo>
                      <a:pt x="118" y="1068"/>
                    </a:lnTo>
                    <a:lnTo>
                      <a:pt x="116" y="1070"/>
                    </a:lnTo>
                    <a:lnTo>
                      <a:pt x="116" y="1074"/>
                    </a:lnTo>
                    <a:lnTo>
                      <a:pt x="116" y="1074"/>
                    </a:lnTo>
                    <a:lnTo>
                      <a:pt x="114" y="1080"/>
                    </a:lnTo>
                    <a:lnTo>
                      <a:pt x="112" y="1080"/>
                    </a:lnTo>
                    <a:lnTo>
                      <a:pt x="106" y="1078"/>
                    </a:lnTo>
                    <a:lnTo>
                      <a:pt x="102" y="1078"/>
                    </a:lnTo>
                    <a:lnTo>
                      <a:pt x="98" y="1080"/>
                    </a:lnTo>
                    <a:lnTo>
                      <a:pt x="98" y="1080"/>
                    </a:lnTo>
                    <a:lnTo>
                      <a:pt x="96" y="1082"/>
                    </a:lnTo>
                    <a:lnTo>
                      <a:pt x="96" y="1084"/>
                    </a:lnTo>
                    <a:lnTo>
                      <a:pt x="100" y="1086"/>
                    </a:lnTo>
                    <a:lnTo>
                      <a:pt x="104" y="1090"/>
                    </a:lnTo>
                    <a:lnTo>
                      <a:pt x="118" y="1092"/>
                    </a:lnTo>
                    <a:lnTo>
                      <a:pt x="126" y="1092"/>
                    </a:lnTo>
                    <a:lnTo>
                      <a:pt x="134" y="1090"/>
                    </a:lnTo>
                    <a:lnTo>
                      <a:pt x="134" y="1090"/>
                    </a:lnTo>
                    <a:close/>
                    <a:moveTo>
                      <a:pt x="306" y="1550"/>
                    </a:moveTo>
                    <a:lnTo>
                      <a:pt x="306" y="1550"/>
                    </a:lnTo>
                    <a:lnTo>
                      <a:pt x="304" y="1546"/>
                    </a:lnTo>
                    <a:lnTo>
                      <a:pt x="302" y="1544"/>
                    </a:lnTo>
                    <a:lnTo>
                      <a:pt x="300" y="1544"/>
                    </a:lnTo>
                    <a:lnTo>
                      <a:pt x="300" y="1544"/>
                    </a:lnTo>
                    <a:lnTo>
                      <a:pt x="300" y="1546"/>
                    </a:lnTo>
                    <a:lnTo>
                      <a:pt x="302" y="1548"/>
                    </a:lnTo>
                    <a:lnTo>
                      <a:pt x="306" y="1550"/>
                    </a:lnTo>
                    <a:lnTo>
                      <a:pt x="306" y="1550"/>
                    </a:lnTo>
                    <a:close/>
                    <a:moveTo>
                      <a:pt x="294" y="1582"/>
                    </a:moveTo>
                    <a:lnTo>
                      <a:pt x="294" y="1582"/>
                    </a:lnTo>
                    <a:lnTo>
                      <a:pt x="294" y="1582"/>
                    </a:lnTo>
                    <a:lnTo>
                      <a:pt x="296" y="1580"/>
                    </a:lnTo>
                    <a:lnTo>
                      <a:pt x="294" y="1576"/>
                    </a:lnTo>
                    <a:lnTo>
                      <a:pt x="290" y="1572"/>
                    </a:lnTo>
                    <a:lnTo>
                      <a:pt x="288" y="1572"/>
                    </a:lnTo>
                    <a:lnTo>
                      <a:pt x="288" y="1572"/>
                    </a:lnTo>
                    <a:lnTo>
                      <a:pt x="286" y="1574"/>
                    </a:lnTo>
                    <a:lnTo>
                      <a:pt x="286" y="1576"/>
                    </a:lnTo>
                    <a:lnTo>
                      <a:pt x="290" y="1580"/>
                    </a:lnTo>
                    <a:lnTo>
                      <a:pt x="294" y="1582"/>
                    </a:lnTo>
                    <a:lnTo>
                      <a:pt x="294" y="1582"/>
                    </a:lnTo>
                    <a:close/>
                    <a:moveTo>
                      <a:pt x="134" y="1350"/>
                    </a:moveTo>
                    <a:lnTo>
                      <a:pt x="134" y="1350"/>
                    </a:lnTo>
                    <a:lnTo>
                      <a:pt x="134" y="1354"/>
                    </a:lnTo>
                    <a:lnTo>
                      <a:pt x="134" y="1354"/>
                    </a:lnTo>
                    <a:lnTo>
                      <a:pt x="134" y="1356"/>
                    </a:lnTo>
                    <a:lnTo>
                      <a:pt x="138" y="1360"/>
                    </a:lnTo>
                    <a:lnTo>
                      <a:pt x="138" y="1360"/>
                    </a:lnTo>
                    <a:lnTo>
                      <a:pt x="140" y="1362"/>
                    </a:lnTo>
                    <a:lnTo>
                      <a:pt x="140" y="1362"/>
                    </a:lnTo>
                    <a:lnTo>
                      <a:pt x="144" y="1364"/>
                    </a:lnTo>
                    <a:lnTo>
                      <a:pt x="150" y="1372"/>
                    </a:lnTo>
                    <a:lnTo>
                      <a:pt x="150" y="1372"/>
                    </a:lnTo>
                    <a:lnTo>
                      <a:pt x="154" y="1374"/>
                    </a:lnTo>
                    <a:lnTo>
                      <a:pt x="154" y="1374"/>
                    </a:lnTo>
                    <a:lnTo>
                      <a:pt x="154" y="1370"/>
                    </a:lnTo>
                    <a:lnTo>
                      <a:pt x="152" y="1364"/>
                    </a:lnTo>
                    <a:lnTo>
                      <a:pt x="152" y="1364"/>
                    </a:lnTo>
                    <a:lnTo>
                      <a:pt x="148" y="1360"/>
                    </a:lnTo>
                    <a:lnTo>
                      <a:pt x="146" y="1358"/>
                    </a:lnTo>
                    <a:lnTo>
                      <a:pt x="144" y="1358"/>
                    </a:lnTo>
                    <a:lnTo>
                      <a:pt x="142" y="1354"/>
                    </a:lnTo>
                    <a:lnTo>
                      <a:pt x="142" y="1354"/>
                    </a:lnTo>
                    <a:lnTo>
                      <a:pt x="140" y="1350"/>
                    </a:lnTo>
                    <a:lnTo>
                      <a:pt x="136" y="1348"/>
                    </a:lnTo>
                    <a:lnTo>
                      <a:pt x="134" y="1348"/>
                    </a:lnTo>
                    <a:lnTo>
                      <a:pt x="134" y="1350"/>
                    </a:lnTo>
                    <a:lnTo>
                      <a:pt x="134" y="1350"/>
                    </a:lnTo>
                    <a:close/>
                    <a:moveTo>
                      <a:pt x="138" y="1658"/>
                    </a:moveTo>
                    <a:lnTo>
                      <a:pt x="138" y="1658"/>
                    </a:lnTo>
                    <a:lnTo>
                      <a:pt x="140" y="1652"/>
                    </a:lnTo>
                    <a:lnTo>
                      <a:pt x="138" y="1650"/>
                    </a:lnTo>
                    <a:lnTo>
                      <a:pt x="136" y="1650"/>
                    </a:lnTo>
                    <a:lnTo>
                      <a:pt x="132" y="1652"/>
                    </a:lnTo>
                    <a:lnTo>
                      <a:pt x="132" y="1652"/>
                    </a:lnTo>
                    <a:lnTo>
                      <a:pt x="128" y="1652"/>
                    </a:lnTo>
                    <a:lnTo>
                      <a:pt x="124" y="1652"/>
                    </a:lnTo>
                    <a:lnTo>
                      <a:pt x="122" y="1654"/>
                    </a:lnTo>
                    <a:lnTo>
                      <a:pt x="122" y="1654"/>
                    </a:lnTo>
                    <a:lnTo>
                      <a:pt x="120" y="1656"/>
                    </a:lnTo>
                    <a:lnTo>
                      <a:pt x="122" y="1656"/>
                    </a:lnTo>
                    <a:lnTo>
                      <a:pt x="126" y="1660"/>
                    </a:lnTo>
                    <a:lnTo>
                      <a:pt x="134" y="1660"/>
                    </a:lnTo>
                    <a:lnTo>
                      <a:pt x="136" y="1660"/>
                    </a:lnTo>
                    <a:lnTo>
                      <a:pt x="138" y="1658"/>
                    </a:lnTo>
                    <a:lnTo>
                      <a:pt x="138" y="1658"/>
                    </a:lnTo>
                    <a:close/>
                    <a:moveTo>
                      <a:pt x="124" y="1360"/>
                    </a:moveTo>
                    <a:lnTo>
                      <a:pt x="124" y="1360"/>
                    </a:lnTo>
                    <a:lnTo>
                      <a:pt x="122" y="1360"/>
                    </a:lnTo>
                    <a:lnTo>
                      <a:pt x="124" y="1362"/>
                    </a:lnTo>
                    <a:lnTo>
                      <a:pt x="132" y="1368"/>
                    </a:lnTo>
                    <a:lnTo>
                      <a:pt x="132" y="1368"/>
                    </a:lnTo>
                    <a:lnTo>
                      <a:pt x="134" y="1370"/>
                    </a:lnTo>
                    <a:lnTo>
                      <a:pt x="138" y="1368"/>
                    </a:lnTo>
                    <a:lnTo>
                      <a:pt x="138" y="1366"/>
                    </a:lnTo>
                    <a:lnTo>
                      <a:pt x="136" y="1362"/>
                    </a:lnTo>
                    <a:lnTo>
                      <a:pt x="136" y="1362"/>
                    </a:lnTo>
                    <a:lnTo>
                      <a:pt x="132" y="1358"/>
                    </a:lnTo>
                    <a:lnTo>
                      <a:pt x="130" y="1358"/>
                    </a:lnTo>
                    <a:lnTo>
                      <a:pt x="124" y="1360"/>
                    </a:lnTo>
                    <a:lnTo>
                      <a:pt x="124" y="1360"/>
                    </a:lnTo>
                    <a:close/>
                    <a:moveTo>
                      <a:pt x="162" y="1352"/>
                    </a:moveTo>
                    <a:lnTo>
                      <a:pt x="162" y="1352"/>
                    </a:lnTo>
                    <a:lnTo>
                      <a:pt x="162" y="1348"/>
                    </a:lnTo>
                    <a:lnTo>
                      <a:pt x="160" y="1344"/>
                    </a:lnTo>
                    <a:lnTo>
                      <a:pt x="160" y="1344"/>
                    </a:lnTo>
                    <a:lnTo>
                      <a:pt x="160" y="1350"/>
                    </a:lnTo>
                    <a:lnTo>
                      <a:pt x="160" y="1352"/>
                    </a:lnTo>
                    <a:lnTo>
                      <a:pt x="162" y="1352"/>
                    </a:lnTo>
                    <a:lnTo>
                      <a:pt x="162" y="1352"/>
                    </a:lnTo>
                    <a:close/>
                    <a:moveTo>
                      <a:pt x="128" y="1670"/>
                    </a:moveTo>
                    <a:lnTo>
                      <a:pt x="128" y="1670"/>
                    </a:lnTo>
                    <a:lnTo>
                      <a:pt x="126" y="1670"/>
                    </a:lnTo>
                    <a:lnTo>
                      <a:pt x="124" y="1672"/>
                    </a:lnTo>
                    <a:lnTo>
                      <a:pt x="122" y="1678"/>
                    </a:lnTo>
                    <a:lnTo>
                      <a:pt x="124" y="1686"/>
                    </a:lnTo>
                    <a:lnTo>
                      <a:pt x="126" y="1688"/>
                    </a:lnTo>
                    <a:lnTo>
                      <a:pt x="128" y="1688"/>
                    </a:lnTo>
                    <a:lnTo>
                      <a:pt x="128" y="1688"/>
                    </a:lnTo>
                    <a:lnTo>
                      <a:pt x="130" y="1688"/>
                    </a:lnTo>
                    <a:lnTo>
                      <a:pt x="130" y="1684"/>
                    </a:lnTo>
                    <a:lnTo>
                      <a:pt x="128" y="1682"/>
                    </a:lnTo>
                    <a:lnTo>
                      <a:pt x="128" y="1680"/>
                    </a:lnTo>
                    <a:lnTo>
                      <a:pt x="128" y="1680"/>
                    </a:lnTo>
                    <a:lnTo>
                      <a:pt x="130" y="1678"/>
                    </a:lnTo>
                    <a:lnTo>
                      <a:pt x="132" y="1674"/>
                    </a:lnTo>
                    <a:lnTo>
                      <a:pt x="130" y="1672"/>
                    </a:lnTo>
                    <a:lnTo>
                      <a:pt x="128" y="1670"/>
                    </a:lnTo>
                    <a:lnTo>
                      <a:pt x="128" y="1670"/>
                    </a:lnTo>
                    <a:close/>
                    <a:moveTo>
                      <a:pt x="238" y="1920"/>
                    </a:moveTo>
                    <a:lnTo>
                      <a:pt x="238" y="1920"/>
                    </a:lnTo>
                    <a:lnTo>
                      <a:pt x="236" y="1924"/>
                    </a:lnTo>
                    <a:lnTo>
                      <a:pt x="238" y="1926"/>
                    </a:lnTo>
                    <a:lnTo>
                      <a:pt x="240" y="1930"/>
                    </a:lnTo>
                    <a:lnTo>
                      <a:pt x="246" y="1930"/>
                    </a:lnTo>
                    <a:lnTo>
                      <a:pt x="248" y="1930"/>
                    </a:lnTo>
                    <a:lnTo>
                      <a:pt x="252" y="1926"/>
                    </a:lnTo>
                    <a:lnTo>
                      <a:pt x="252" y="1926"/>
                    </a:lnTo>
                    <a:lnTo>
                      <a:pt x="252" y="1924"/>
                    </a:lnTo>
                    <a:lnTo>
                      <a:pt x="254" y="1920"/>
                    </a:lnTo>
                    <a:lnTo>
                      <a:pt x="252" y="1918"/>
                    </a:lnTo>
                    <a:lnTo>
                      <a:pt x="250" y="1916"/>
                    </a:lnTo>
                    <a:lnTo>
                      <a:pt x="248" y="1914"/>
                    </a:lnTo>
                    <a:lnTo>
                      <a:pt x="244" y="1916"/>
                    </a:lnTo>
                    <a:lnTo>
                      <a:pt x="240" y="1916"/>
                    </a:lnTo>
                    <a:lnTo>
                      <a:pt x="238" y="1920"/>
                    </a:lnTo>
                    <a:lnTo>
                      <a:pt x="238" y="1920"/>
                    </a:lnTo>
                    <a:close/>
                    <a:moveTo>
                      <a:pt x="232" y="1878"/>
                    </a:moveTo>
                    <a:lnTo>
                      <a:pt x="232" y="1878"/>
                    </a:lnTo>
                    <a:lnTo>
                      <a:pt x="236" y="1878"/>
                    </a:lnTo>
                    <a:lnTo>
                      <a:pt x="240" y="1876"/>
                    </a:lnTo>
                    <a:lnTo>
                      <a:pt x="246" y="1870"/>
                    </a:lnTo>
                    <a:lnTo>
                      <a:pt x="248" y="1862"/>
                    </a:lnTo>
                    <a:lnTo>
                      <a:pt x="246" y="1858"/>
                    </a:lnTo>
                    <a:lnTo>
                      <a:pt x="244" y="1856"/>
                    </a:lnTo>
                    <a:lnTo>
                      <a:pt x="244" y="1856"/>
                    </a:lnTo>
                    <a:lnTo>
                      <a:pt x="240" y="1858"/>
                    </a:lnTo>
                    <a:lnTo>
                      <a:pt x="234" y="1866"/>
                    </a:lnTo>
                    <a:lnTo>
                      <a:pt x="230" y="1874"/>
                    </a:lnTo>
                    <a:lnTo>
                      <a:pt x="230" y="1876"/>
                    </a:lnTo>
                    <a:lnTo>
                      <a:pt x="232" y="1878"/>
                    </a:lnTo>
                    <a:lnTo>
                      <a:pt x="232" y="1878"/>
                    </a:lnTo>
                    <a:close/>
                    <a:moveTo>
                      <a:pt x="290" y="1568"/>
                    </a:moveTo>
                    <a:lnTo>
                      <a:pt x="290" y="1568"/>
                    </a:lnTo>
                    <a:lnTo>
                      <a:pt x="294" y="1572"/>
                    </a:lnTo>
                    <a:lnTo>
                      <a:pt x="298" y="1572"/>
                    </a:lnTo>
                    <a:lnTo>
                      <a:pt x="302" y="1572"/>
                    </a:lnTo>
                    <a:lnTo>
                      <a:pt x="304" y="1572"/>
                    </a:lnTo>
                    <a:lnTo>
                      <a:pt x="304" y="1572"/>
                    </a:lnTo>
                    <a:lnTo>
                      <a:pt x="306" y="1574"/>
                    </a:lnTo>
                    <a:lnTo>
                      <a:pt x="310" y="1574"/>
                    </a:lnTo>
                    <a:lnTo>
                      <a:pt x="312" y="1572"/>
                    </a:lnTo>
                    <a:lnTo>
                      <a:pt x="312" y="1570"/>
                    </a:lnTo>
                    <a:lnTo>
                      <a:pt x="312" y="1570"/>
                    </a:lnTo>
                    <a:lnTo>
                      <a:pt x="310" y="1568"/>
                    </a:lnTo>
                    <a:lnTo>
                      <a:pt x="310" y="1570"/>
                    </a:lnTo>
                    <a:lnTo>
                      <a:pt x="308" y="1570"/>
                    </a:lnTo>
                    <a:lnTo>
                      <a:pt x="308" y="1568"/>
                    </a:lnTo>
                    <a:lnTo>
                      <a:pt x="308" y="1568"/>
                    </a:lnTo>
                    <a:lnTo>
                      <a:pt x="304" y="1566"/>
                    </a:lnTo>
                    <a:lnTo>
                      <a:pt x="302" y="1566"/>
                    </a:lnTo>
                    <a:lnTo>
                      <a:pt x="300" y="1566"/>
                    </a:lnTo>
                    <a:lnTo>
                      <a:pt x="300" y="1564"/>
                    </a:lnTo>
                    <a:lnTo>
                      <a:pt x="300" y="1564"/>
                    </a:lnTo>
                    <a:lnTo>
                      <a:pt x="302" y="1560"/>
                    </a:lnTo>
                    <a:lnTo>
                      <a:pt x="300" y="1560"/>
                    </a:lnTo>
                    <a:lnTo>
                      <a:pt x="296" y="1556"/>
                    </a:lnTo>
                    <a:lnTo>
                      <a:pt x="296" y="1556"/>
                    </a:lnTo>
                    <a:lnTo>
                      <a:pt x="292" y="1556"/>
                    </a:lnTo>
                    <a:lnTo>
                      <a:pt x="290" y="1560"/>
                    </a:lnTo>
                    <a:lnTo>
                      <a:pt x="288" y="1564"/>
                    </a:lnTo>
                    <a:lnTo>
                      <a:pt x="290" y="1568"/>
                    </a:lnTo>
                    <a:lnTo>
                      <a:pt x="290" y="1568"/>
                    </a:lnTo>
                    <a:close/>
                    <a:moveTo>
                      <a:pt x="208" y="1778"/>
                    </a:moveTo>
                    <a:lnTo>
                      <a:pt x="208" y="1778"/>
                    </a:lnTo>
                    <a:lnTo>
                      <a:pt x="206" y="1784"/>
                    </a:lnTo>
                    <a:lnTo>
                      <a:pt x="206" y="1788"/>
                    </a:lnTo>
                    <a:lnTo>
                      <a:pt x="210" y="1792"/>
                    </a:lnTo>
                    <a:lnTo>
                      <a:pt x="214" y="1792"/>
                    </a:lnTo>
                    <a:lnTo>
                      <a:pt x="214" y="1792"/>
                    </a:lnTo>
                    <a:lnTo>
                      <a:pt x="216" y="1792"/>
                    </a:lnTo>
                    <a:lnTo>
                      <a:pt x="218" y="1788"/>
                    </a:lnTo>
                    <a:lnTo>
                      <a:pt x="216" y="1782"/>
                    </a:lnTo>
                    <a:lnTo>
                      <a:pt x="212" y="1776"/>
                    </a:lnTo>
                    <a:lnTo>
                      <a:pt x="210" y="1776"/>
                    </a:lnTo>
                    <a:lnTo>
                      <a:pt x="208" y="1778"/>
                    </a:lnTo>
                    <a:lnTo>
                      <a:pt x="208" y="1778"/>
                    </a:lnTo>
                    <a:close/>
                    <a:moveTo>
                      <a:pt x="618" y="1434"/>
                    </a:moveTo>
                    <a:lnTo>
                      <a:pt x="618" y="1434"/>
                    </a:lnTo>
                    <a:lnTo>
                      <a:pt x="620" y="1434"/>
                    </a:lnTo>
                    <a:lnTo>
                      <a:pt x="622" y="1430"/>
                    </a:lnTo>
                    <a:lnTo>
                      <a:pt x="622" y="1428"/>
                    </a:lnTo>
                    <a:lnTo>
                      <a:pt x="620" y="1426"/>
                    </a:lnTo>
                    <a:lnTo>
                      <a:pt x="620" y="1426"/>
                    </a:lnTo>
                    <a:lnTo>
                      <a:pt x="616" y="1430"/>
                    </a:lnTo>
                    <a:lnTo>
                      <a:pt x="616" y="1432"/>
                    </a:lnTo>
                    <a:lnTo>
                      <a:pt x="618" y="1434"/>
                    </a:lnTo>
                    <a:lnTo>
                      <a:pt x="618" y="1434"/>
                    </a:lnTo>
                    <a:close/>
                    <a:moveTo>
                      <a:pt x="882" y="1770"/>
                    </a:moveTo>
                    <a:lnTo>
                      <a:pt x="882" y="1770"/>
                    </a:lnTo>
                    <a:lnTo>
                      <a:pt x="876" y="1774"/>
                    </a:lnTo>
                    <a:lnTo>
                      <a:pt x="870" y="1774"/>
                    </a:lnTo>
                    <a:lnTo>
                      <a:pt x="866" y="1772"/>
                    </a:lnTo>
                    <a:lnTo>
                      <a:pt x="860" y="1774"/>
                    </a:lnTo>
                    <a:lnTo>
                      <a:pt x="860" y="1774"/>
                    </a:lnTo>
                    <a:lnTo>
                      <a:pt x="860" y="1774"/>
                    </a:lnTo>
                    <a:lnTo>
                      <a:pt x="860" y="1776"/>
                    </a:lnTo>
                    <a:lnTo>
                      <a:pt x="864" y="1778"/>
                    </a:lnTo>
                    <a:lnTo>
                      <a:pt x="870" y="1782"/>
                    </a:lnTo>
                    <a:lnTo>
                      <a:pt x="870" y="1784"/>
                    </a:lnTo>
                    <a:lnTo>
                      <a:pt x="870" y="1786"/>
                    </a:lnTo>
                    <a:lnTo>
                      <a:pt x="870" y="1786"/>
                    </a:lnTo>
                    <a:lnTo>
                      <a:pt x="870" y="1788"/>
                    </a:lnTo>
                    <a:lnTo>
                      <a:pt x="872" y="1790"/>
                    </a:lnTo>
                    <a:lnTo>
                      <a:pt x="874" y="1792"/>
                    </a:lnTo>
                    <a:lnTo>
                      <a:pt x="872" y="1796"/>
                    </a:lnTo>
                    <a:lnTo>
                      <a:pt x="872" y="1796"/>
                    </a:lnTo>
                    <a:lnTo>
                      <a:pt x="870" y="1798"/>
                    </a:lnTo>
                    <a:lnTo>
                      <a:pt x="872" y="1800"/>
                    </a:lnTo>
                    <a:lnTo>
                      <a:pt x="874" y="1800"/>
                    </a:lnTo>
                    <a:lnTo>
                      <a:pt x="876" y="1804"/>
                    </a:lnTo>
                    <a:lnTo>
                      <a:pt x="876" y="1804"/>
                    </a:lnTo>
                    <a:lnTo>
                      <a:pt x="876" y="1806"/>
                    </a:lnTo>
                    <a:lnTo>
                      <a:pt x="878" y="1806"/>
                    </a:lnTo>
                    <a:lnTo>
                      <a:pt x="882" y="1806"/>
                    </a:lnTo>
                    <a:lnTo>
                      <a:pt x="886" y="1806"/>
                    </a:lnTo>
                    <a:lnTo>
                      <a:pt x="886" y="1806"/>
                    </a:lnTo>
                    <a:lnTo>
                      <a:pt x="888" y="1808"/>
                    </a:lnTo>
                    <a:lnTo>
                      <a:pt x="892" y="1806"/>
                    </a:lnTo>
                    <a:lnTo>
                      <a:pt x="894" y="1808"/>
                    </a:lnTo>
                    <a:lnTo>
                      <a:pt x="896" y="1810"/>
                    </a:lnTo>
                    <a:lnTo>
                      <a:pt x="896" y="1810"/>
                    </a:lnTo>
                    <a:lnTo>
                      <a:pt x="896" y="1814"/>
                    </a:lnTo>
                    <a:lnTo>
                      <a:pt x="894" y="1814"/>
                    </a:lnTo>
                    <a:lnTo>
                      <a:pt x="892" y="1814"/>
                    </a:lnTo>
                    <a:lnTo>
                      <a:pt x="890" y="1816"/>
                    </a:lnTo>
                    <a:lnTo>
                      <a:pt x="890" y="1816"/>
                    </a:lnTo>
                    <a:lnTo>
                      <a:pt x="892" y="1816"/>
                    </a:lnTo>
                    <a:lnTo>
                      <a:pt x="894" y="1818"/>
                    </a:lnTo>
                    <a:lnTo>
                      <a:pt x="898" y="1820"/>
                    </a:lnTo>
                    <a:lnTo>
                      <a:pt x="898" y="1822"/>
                    </a:lnTo>
                    <a:lnTo>
                      <a:pt x="898" y="1822"/>
                    </a:lnTo>
                    <a:lnTo>
                      <a:pt x="896" y="1824"/>
                    </a:lnTo>
                    <a:lnTo>
                      <a:pt x="896" y="1826"/>
                    </a:lnTo>
                    <a:lnTo>
                      <a:pt x="900" y="1832"/>
                    </a:lnTo>
                    <a:lnTo>
                      <a:pt x="900" y="1832"/>
                    </a:lnTo>
                    <a:lnTo>
                      <a:pt x="902" y="1836"/>
                    </a:lnTo>
                    <a:lnTo>
                      <a:pt x="904" y="1840"/>
                    </a:lnTo>
                    <a:lnTo>
                      <a:pt x="904" y="1844"/>
                    </a:lnTo>
                    <a:lnTo>
                      <a:pt x="906" y="1846"/>
                    </a:lnTo>
                    <a:lnTo>
                      <a:pt x="906" y="1846"/>
                    </a:lnTo>
                    <a:lnTo>
                      <a:pt x="906" y="1848"/>
                    </a:lnTo>
                    <a:lnTo>
                      <a:pt x="908" y="1848"/>
                    </a:lnTo>
                    <a:lnTo>
                      <a:pt x="908" y="1844"/>
                    </a:lnTo>
                    <a:lnTo>
                      <a:pt x="908" y="1838"/>
                    </a:lnTo>
                    <a:lnTo>
                      <a:pt x="910" y="1834"/>
                    </a:lnTo>
                    <a:lnTo>
                      <a:pt x="910" y="1834"/>
                    </a:lnTo>
                    <a:lnTo>
                      <a:pt x="912" y="1832"/>
                    </a:lnTo>
                    <a:lnTo>
                      <a:pt x="912" y="1828"/>
                    </a:lnTo>
                    <a:lnTo>
                      <a:pt x="908" y="1824"/>
                    </a:lnTo>
                    <a:lnTo>
                      <a:pt x="908" y="1824"/>
                    </a:lnTo>
                    <a:lnTo>
                      <a:pt x="902" y="1822"/>
                    </a:lnTo>
                    <a:lnTo>
                      <a:pt x="904" y="1822"/>
                    </a:lnTo>
                    <a:lnTo>
                      <a:pt x="906" y="1820"/>
                    </a:lnTo>
                    <a:lnTo>
                      <a:pt x="906" y="1820"/>
                    </a:lnTo>
                    <a:lnTo>
                      <a:pt x="910" y="1820"/>
                    </a:lnTo>
                    <a:lnTo>
                      <a:pt x="912" y="1818"/>
                    </a:lnTo>
                    <a:lnTo>
                      <a:pt x="912" y="1816"/>
                    </a:lnTo>
                    <a:lnTo>
                      <a:pt x="912" y="1812"/>
                    </a:lnTo>
                    <a:lnTo>
                      <a:pt x="912" y="1812"/>
                    </a:lnTo>
                    <a:lnTo>
                      <a:pt x="912" y="1810"/>
                    </a:lnTo>
                    <a:lnTo>
                      <a:pt x="912" y="1808"/>
                    </a:lnTo>
                    <a:lnTo>
                      <a:pt x="918" y="1804"/>
                    </a:lnTo>
                    <a:lnTo>
                      <a:pt x="918" y="1804"/>
                    </a:lnTo>
                    <a:lnTo>
                      <a:pt x="924" y="1802"/>
                    </a:lnTo>
                    <a:lnTo>
                      <a:pt x="926" y="1800"/>
                    </a:lnTo>
                    <a:lnTo>
                      <a:pt x="924" y="1798"/>
                    </a:lnTo>
                    <a:lnTo>
                      <a:pt x="918" y="1794"/>
                    </a:lnTo>
                    <a:lnTo>
                      <a:pt x="918" y="1794"/>
                    </a:lnTo>
                    <a:lnTo>
                      <a:pt x="914" y="1790"/>
                    </a:lnTo>
                    <a:lnTo>
                      <a:pt x="914" y="1788"/>
                    </a:lnTo>
                    <a:lnTo>
                      <a:pt x="916" y="1784"/>
                    </a:lnTo>
                    <a:lnTo>
                      <a:pt x="922" y="1782"/>
                    </a:lnTo>
                    <a:lnTo>
                      <a:pt x="922" y="1782"/>
                    </a:lnTo>
                    <a:lnTo>
                      <a:pt x="926" y="1782"/>
                    </a:lnTo>
                    <a:lnTo>
                      <a:pt x="928" y="1778"/>
                    </a:lnTo>
                    <a:lnTo>
                      <a:pt x="928" y="1772"/>
                    </a:lnTo>
                    <a:lnTo>
                      <a:pt x="928" y="1764"/>
                    </a:lnTo>
                    <a:lnTo>
                      <a:pt x="930" y="1758"/>
                    </a:lnTo>
                    <a:lnTo>
                      <a:pt x="930" y="1758"/>
                    </a:lnTo>
                    <a:lnTo>
                      <a:pt x="932" y="1754"/>
                    </a:lnTo>
                    <a:lnTo>
                      <a:pt x="930" y="1752"/>
                    </a:lnTo>
                    <a:lnTo>
                      <a:pt x="920" y="1750"/>
                    </a:lnTo>
                    <a:lnTo>
                      <a:pt x="920" y="1750"/>
                    </a:lnTo>
                    <a:lnTo>
                      <a:pt x="914" y="1750"/>
                    </a:lnTo>
                    <a:lnTo>
                      <a:pt x="908" y="1752"/>
                    </a:lnTo>
                    <a:lnTo>
                      <a:pt x="904" y="1756"/>
                    </a:lnTo>
                    <a:lnTo>
                      <a:pt x="902" y="1760"/>
                    </a:lnTo>
                    <a:lnTo>
                      <a:pt x="902" y="1760"/>
                    </a:lnTo>
                    <a:lnTo>
                      <a:pt x="904" y="1762"/>
                    </a:lnTo>
                    <a:lnTo>
                      <a:pt x="904" y="1764"/>
                    </a:lnTo>
                    <a:lnTo>
                      <a:pt x="900" y="1772"/>
                    </a:lnTo>
                    <a:lnTo>
                      <a:pt x="900" y="1772"/>
                    </a:lnTo>
                    <a:lnTo>
                      <a:pt x="898" y="1776"/>
                    </a:lnTo>
                    <a:lnTo>
                      <a:pt x="898" y="1776"/>
                    </a:lnTo>
                    <a:lnTo>
                      <a:pt x="896" y="1774"/>
                    </a:lnTo>
                    <a:lnTo>
                      <a:pt x="896" y="1770"/>
                    </a:lnTo>
                    <a:lnTo>
                      <a:pt x="896" y="1770"/>
                    </a:lnTo>
                    <a:lnTo>
                      <a:pt x="898" y="1762"/>
                    </a:lnTo>
                    <a:lnTo>
                      <a:pt x="896" y="1760"/>
                    </a:lnTo>
                    <a:lnTo>
                      <a:pt x="894" y="1760"/>
                    </a:lnTo>
                    <a:lnTo>
                      <a:pt x="894" y="1760"/>
                    </a:lnTo>
                    <a:lnTo>
                      <a:pt x="890" y="1760"/>
                    </a:lnTo>
                    <a:lnTo>
                      <a:pt x="884" y="1758"/>
                    </a:lnTo>
                    <a:lnTo>
                      <a:pt x="880" y="1758"/>
                    </a:lnTo>
                    <a:lnTo>
                      <a:pt x="876" y="1758"/>
                    </a:lnTo>
                    <a:lnTo>
                      <a:pt x="876" y="1758"/>
                    </a:lnTo>
                    <a:lnTo>
                      <a:pt x="876" y="1758"/>
                    </a:lnTo>
                    <a:lnTo>
                      <a:pt x="878" y="1760"/>
                    </a:lnTo>
                    <a:lnTo>
                      <a:pt x="882" y="1762"/>
                    </a:lnTo>
                    <a:lnTo>
                      <a:pt x="886" y="1764"/>
                    </a:lnTo>
                    <a:lnTo>
                      <a:pt x="884" y="1768"/>
                    </a:lnTo>
                    <a:lnTo>
                      <a:pt x="882" y="1770"/>
                    </a:lnTo>
                    <a:lnTo>
                      <a:pt x="882" y="1770"/>
                    </a:lnTo>
                    <a:close/>
                    <a:moveTo>
                      <a:pt x="850" y="1762"/>
                    </a:moveTo>
                    <a:lnTo>
                      <a:pt x="850" y="1762"/>
                    </a:lnTo>
                    <a:lnTo>
                      <a:pt x="848" y="1760"/>
                    </a:lnTo>
                    <a:lnTo>
                      <a:pt x="848" y="1760"/>
                    </a:lnTo>
                    <a:lnTo>
                      <a:pt x="846" y="1764"/>
                    </a:lnTo>
                    <a:lnTo>
                      <a:pt x="848" y="1768"/>
                    </a:lnTo>
                    <a:lnTo>
                      <a:pt x="848" y="1772"/>
                    </a:lnTo>
                    <a:lnTo>
                      <a:pt x="848" y="1772"/>
                    </a:lnTo>
                    <a:lnTo>
                      <a:pt x="850" y="1772"/>
                    </a:lnTo>
                    <a:lnTo>
                      <a:pt x="850" y="1770"/>
                    </a:lnTo>
                    <a:lnTo>
                      <a:pt x="852" y="1766"/>
                    </a:lnTo>
                    <a:lnTo>
                      <a:pt x="850" y="1762"/>
                    </a:lnTo>
                    <a:lnTo>
                      <a:pt x="850" y="1762"/>
                    </a:lnTo>
                    <a:close/>
                    <a:moveTo>
                      <a:pt x="834" y="1814"/>
                    </a:moveTo>
                    <a:lnTo>
                      <a:pt x="834" y="1814"/>
                    </a:lnTo>
                    <a:lnTo>
                      <a:pt x="846" y="1816"/>
                    </a:lnTo>
                    <a:lnTo>
                      <a:pt x="852" y="1814"/>
                    </a:lnTo>
                    <a:lnTo>
                      <a:pt x="856" y="1812"/>
                    </a:lnTo>
                    <a:lnTo>
                      <a:pt x="856" y="1812"/>
                    </a:lnTo>
                    <a:lnTo>
                      <a:pt x="858" y="1808"/>
                    </a:lnTo>
                    <a:lnTo>
                      <a:pt x="858" y="1806"/>
                    </a:lnTo>
                    <a:lnTo>
                      <a:pt x="858" y="1800"/>
                    </a:lnTo>
                    <a:lnTo>
                      <a:pt x="856" y="1794"/>
                    </a:lnTo>
                    <a:lnTo>
                      <a:pt x="856" y="1790"/>
                    </a:lnTo>
                    <a:lnTo>
                      <a:pt x="856" y="1790"/>
                    </a:lnTo>
                    <a:lnTo>
                      <a:pt x="856" y="1788"/>
                    </a:lnTo>
                    <a:lnTo>
                      <a:pt x="852" y="1784"/>
                    </a:lnTo>
                    <a:lnTo>
                      <a:pt x="850" y="1782"/>
                    </a:lnTo>
                    <a:lnTo>
                      <a:pt x="850" y="1784"/>
                    </a:lnTo>
                    <a:lnTo>
                      <a:pt x="850" y="1784"/>
                    </a:lnTo>
                    <a:lnTo>
                      <a:pt x="848" y="1786"/>
                    </a:lnTo>
                    <a:lnTo>
                      <a:pt x="848" y="1786"/>
                    </a:lnTo>
                    <a:lnTo>
                      <a:pt x="840" y="1782"/>
                    </a:lnTo>
                    <a:lnTo>
                      <a:pt x="840" y="1782"/>
                    </a:lnTo>
                    <a:lnTo>
                      <a:pt x="836" y="1782"/>
                    </a:lnTo>
                    <a:lnTo>
                      <a:pt x="830" y="1784"/>
                    </a:lnTo>
                    <a:lnTo>
                      <a:pt x="824" y="1786"/>
                    </a:lnTo>
                    <a:lnTo>
                      <a:pt x="818" y="1786"/>
                    </a:lnTo>
                    <a:lnTo>
                      <a:pt x="818" y="1786"/>
                    </a:lnTo>
                    <a:lnTo>
                      <a:pt x="816" y="1786"/>
                    </a:lnTo>
                    <a:lnTo>
                      <a:pt x="814" y="1788"/>
                    </a:lnTo>
                    <a:lnTo>
                      <a:pt x="814" y="1790"/>
                    </a:lnTo>
                    <a:lnTo>
                      <a:pt x="816" y="1792"/>
                    </a:lnTo>
                    <a:lnTo>
                      <a:pt x="816" y="1792"/>
                    </a:lnTo>
                    <a:lnTo>
                      <a:pt x="820" y="1798"/>
                    </a:lnTo>
                    <a:lnTo>
                      <a:pt x="824" y="1806"/>
                    </a:lnTo>
                    <a:lnTo>
                      <a:pt x="824" y="1806"/>
                    </a:lnTo>
                    <a:lnTo>
                      <a:pt x="824" y="1810"/>
                    </a:lnTo>
                    <a:lnTo>
                      <a:pt x="826" y="1808"/>
                    </a:lnTo>
                    <a:lnTo>
                      <a:pt x="828" y="1808"/>
                    </a:lnTo>
                    <a:lnTo>
                      <a:pt x="830" y="1808"/>
                    </a:lnTo>
                    <a:lnTo>
                      <a:pt x="830" y="1808"/>
                    </a:lnTo>
                    <a:lnTo>
                      <a:pt x="830" y="1810"/>
                    </a:lnTo>
                    <a:lnTo>
                      <a:pt x="830" y="1812"/>
                    </a:lnTo>
                    <a:lnTo>
                      <a:pt x="830" y="1814"/>
                    </a:lnTo>
                    <a:lnTo>
                      <a:pt x="834" y="1814"/>
                    </a:lnTo>
                    <a:lnTo>
                      <a:pt x="834" y="1814"/>
                    </a:lnTo>
                    <a:close/>
                    <a:moveTo>
                      <a:pt x="898" y="1832"/>
                    </a:moveTo>
                    <a:lnTo>
                      <a:pt x="898" y="1832"/>
                    </a:lnTo>
                    <a:lnTo>
                      <a:pt x="894" y="1826"/>
                    </a:lnTo>
                    <a:lnTo>
                      <a:pt x="892" y="1826"/>
                    </a:lnTo>
                    <a:lnTo>
                      <a:pt x="890" y="1828"/>
                    </a:lnTo>
                    <a:lnTo>
                      <a:pt x="890" y="1828"/>
                    </a:lnTo>
                    <a:lnTo>
                      <a:pt x="890" y="1830"/>
                    </a:lnTo>
                    <a:lnTo>
                      <a:pt x="888" y="1830"/>
                    </a:lnTo>
                    <a:lnTo>
                      <a:pt x="878" y="1824"/>
                    </a:lnTo>
                    <a:lnTo>
                      <a:pt x="878" y="1824"/>
                    </a:lnTo>
                    <a:lnTo>
                      <a:pt x="872" y="1822"/>
                    </a:lnTo>
                    <a:lnTo>
                      <a:pt x="868" y="1822"/>
                    </a:lnTo>
                    <a:lnTo>
                      <a:pt x="866" y="1826"/>
                    </a:lnTo>
                    <a:lnTo>
                      <a:pt x="866" y="1830"/>
                    </a:lnTo>
                    <a:lnTo>
                      <a:pt x="866" y="1830"/>
                    </a:lnTo>
                    <a:lnTo>
                      <a:pt x="870" y="1834"/>
                    </a:lnTo>
                    <a:lnTo>
                      <a:pt x="876" y="1838"/>
                    </a:lnTo>
                    <a:lnTo>
                      <a:pt x="886" y="1840"/>
                    </a:lnTo>
                    <a:lnTo>
                      <a:pt x="894" y="1842"/>
                    </a:lnTo>
                    <a:lnTo>
                      <a:pt x="894" y="1842"/>
                    </a:lnTo>
                    <a:lnTo>
                      <a:pt x="898" y="1842"/>
                    </a:lnTo>
                    <a:lnTo>
                      <a:pt x="900" y="1840"/>
                    </a:lnTo>
                    <a:lnTo>
                      <a:pt x="898" y="1832"/>
                    </a:lnTo>
                    <a:lnTo>
                      <a:pt x="898" y="1832"/>
                    </a:lnTo>
                    <a:close/>
                    <a:moveTo>
                      <a:pt x="914" y="1822"/>
                    </a:moveTo>
                    <a:lnTo>
                      <a:pt x="914" y="1822"/>
                    </a:lnTo>
                    <a:lnTo>
                      <a:pt x="912" y="1824"/>
                    </a:lnTo>
                    <a:lnTo>
                      <a:pt x="914" y="1826"/>
                    </a:lnTo>
                    <a:lnTo>
                      <a:pt x="918" y="1824"/>
                    </a:lnTo>
                    <a:lnTo>
                      <a:pt x="924" y="1820"/>
                    </a:lnTo>
                    <a:lnTo>
                      <a:pt x="926" y="1820"/>
                    </a:lnTo>
                    <a:lnTo>
                      <a:pt x="926" y="1818"/>
                    </a:lnTo>
                    <a:lnTo>
                      <a:pt x="926" y="1818"/>
                    </a:lnTo>
                    <a:lnTo>
                      <a:pt x="922" y="1816"/>
                    </a:lnTo>
                    <a:lnTo>
                      <a:pt x="918" y="1816"/>
                    </a:lnTo>
                    <a:lnTo>
                      <a:pt x="914" y="1822"/>
                    </a:lnTo>
                    <a:lnTo>
                      <a:pt x="914" y="1822"/>
                    </a:lnTo>
                    <a:close/>
                    <a:moveTo>
                      <a:pt x="868" y="1848"/>
                    </a:moveTo>
                    <a:lnTo>
                      <a:pt x="868" y="1848"/>
                    </a:lnTo>
                    <a:lnTo>
                      <a:pt x="866" y="1850"/>
                    </a:lnTo>
                    <a:lnTo>
                      <a:pt x="868" y="1852"/>
                    </a:lnTo>
                    <a:lnTo>
                      <a:pt x="872" y="1854"/>
                    </a:lnTo>
                    <a:lnTo>
                      <a:pt x="876" y="1854"/>
                    </a:lnTo>
                    <a:lnTo>
                      <a:pt x="880" y="1854"/>
                    </a:lnTo>
                    <a:lnTo>
                      <a:pt x="880" y="1854"/>
                    </a:lnTo>
                    <a:lnTo>
                      <a:pt x="878" y="1852"/>
                    </a:lnTo>
                    <a:lnTo>
                      <a:pt x="876" y="1848"/>
                    </a:lnTo>
                    <a:lnTo>
                      <a:pt x="872" y="1848"/>
                    </a:lnTo>
                    <a:lnTo>
                      <a:pt x="868" y="1848"/>
                    </a:lnTo>
                    <a:lnTo>
                      <a:pt x="868" y="1848"/>
                    </a:lnTo>
                    <a:close/>
                    <a:moveTo>
                      <a:pt x="1030" y="1820"/>
                    </a:moveTo>
                    <a:lnTo>
                      <a:pt x="1030" y="1820"/>
                    </a:lnTo>
                    <a:lnTo>
                      <a:pt x="1032" y="1818"/>
                    </a:lnTo>
                    <a:lnTo>
                      <a:pt x="1034" y="1814"/>
                    </a:lnTo>
                    <a:lnTo>
                      <a:pt x="1032" y="1810"/>
                    </a:lnTo>
                    <a:lnTo>
                      <a:pt x="1030" y="1808"/>
                    </a:lnTo>
                    <a:lnTo>
                      <a:pt x="1022" y="1802"/>
                    </a:lnTo>
                    <a:lnTo>
                      <a:pt x="1018" y="1800"/>
                    </a:lnTo>
                    <a:lnTo>
                      <a:pt x="1016" y="1802"/>
                    </a:lnTo>
                    <a:lnTo>
                      <a:pt x="1016" y="1802"/>
                    </a:lnTo>
                    <a:lnTo>
                      <a:pt x="1014" y="1806"/>
                    </a:lnTo>
                    <a:lnTo>
                      <a:pt x="1016" y="1812"/>
                    </a:lnTo>
                    <a:lnTo>
                      <a:pt x="1022" y="1818"/>
                    </a:lnTo>
                    <a:lnTo>
                      <a:pt x="1026" y="1820"/>
                    </a:lnTo>
                    <a:lnTo>
                      <a:pt x="1030" y="1820"/>
                    </a:lnTo>
                    <a:lnTo>
                      <a:pt x="1030" y="1820"/>
                    </a:lnTo>
                    <a:close/>
                    <a:moveTo>
                      <a:pt x="952" y="1846"/>
                    </a:moveTo>
                    <a:lnTo>
                      <a:pt x="952" y="1846"/>
                    </a:lnTo>
                    <a:lnTo>
                      <a:pt x="952" y="1848"/>
                    </a:lnTo>
                    <a:lnTo>
                      <a:pt x="954" y="1850"/>
                    </a:lnTo>
                    <a:lnTo>
                      <a:pt x="954" y="1854"/>
                    </a:lnTo>
                    <a:lnTo>
                      <a:pt x="954" y="1856"/>
                    </a:lnTo>
                    <a:lnTo>
                      <a:pt x="954" y="1856"/>
                    </a:lnTo>
                    <a:lnTo>
                      <a:pt x="952" y="1858"/>
                    </a:lnTo>
                    <a:lnTo>
                      <a:pt x="952" y="1860"/>
                    </a:lnTo>
                    <a:lnTo>
                      <a:pt x="960" y="1866"/>
                    </a:lnTo>
                    <a:lnTo>
                      <a:pt x="960" y="1866"/>
                    </a:lnTo>
                    <a:lnTo>
                      <a:pt x="962" y="1866"/>
                    </a:lnTo>
                    <a:lnTo>
                      <a:pt x="964" y="1866"/>
                    </a:lnTo>
                    <a:lnTo>
                      <a:pt x="964" y="1866"/>
                    </a:lnTo>
                    <a:lnTo>
                      <a:pt x="964" y="1864"/>
                    </a:lnTo>
                    <a:lnTo>
                      <a:pt x="964" y="1864"/>
                    </a:lnTo>
                    <a:lnTo>
                      <a:pt x="964" y="1862"/>
                    </a:lnTo>
                    <a:lnTo>
                      <a:pt x="966" y="1860"/>
                    </a:lnTo>
                    <a:lnTo>
                      <a:pt x="968" y="1858"/>
                    </a:lnTo>
                    <a:lnTo>
                      <a:pt x="972" y="1862"/>
                    </a:lnTo>
                    <a:lnTo>
                      <a:pt x="972" y="1862"/>
                    </a:lnTo>
                    <a:lnTo>
                      <a:pt x="976" y="1864"/>
                    </a:lnTo>
                    <a:lnTo>
                      <a:pt x="976" y="1862"/>
                    </a:lnTo>
                    <a:lnTo>
                      <a:pt x="976" y="1860"/>
                    </a:lnTo>
                    <a:lnTo>
                      <a:pt x="972" y="1858"/>
                    </a:lnTo>
                    <a:lnTo>
                      <a:pt x="972" y="1858"/>
                    </a:lnTo>
                    <a:lnTo>
                      <a:pt x="972" y="1856"/>
                    </a:lnTo>
                    <a:lnTo>
                      <a:pt x="972" y="1854"/>
                    </a:lnTo>
                    <a:lnTo>
                      <a:pt x="974" y="1850"/>
                    </a:lnTo>
                    <a:lnTo>
                      <a:pt x="974" y="1846"/>
                    </a:lnTo>
                    <a:lnTo>
                      <a:pt x="972" y="1846"/>
                    </a:lnTo>
                    <a:lnTo>
                      <a:pt x="970" y="1844"/>
                    </a:lnTo>
                    <a:lnTo>
                      <a:pt x="970" y="1844"/>
                    </a:lnTo>
                    <a:lnTo>
                      <a:pt x="966" y="1842"/>
                    </a:lnTo>
                    <a:lnTo>
                      <a:pt x="964" y="1840"/>
                    </a:lnTo>
                    <a:lnTo>
                      <a:pt x="960" y="1838"/>
                    </a:lnTo>
                    <a:lnTo>
                      <a:pt x="956" y="1840"/>
                    </a:lnTo>
                    <a:lnTo>
                      <a:pt x="956" y="1840"/>
                    </a:lnTo>
                    <a:lnTo>
                      <a:pt x="954" y="1842"/>
                    </a:lnTo>
                    <a:lnTo>
                      <a:pt x="954" y="1842"/>
                    </a:lnTo>
                    <a:lnTo>
                      <a:pt x="958" y="1844"/>
                    </a:lnTo>
                    <a:lnTo>
                      <a:pt x="964" y="1846"/>
                    </a:lnTo>
                    <a:lnTo>
                      <a:pt x="966" y="1848"/>
                    </a:lnTo>
                    <a:lnTo>
                      <a:pt x="966" y="1848"/>
                    </a:lnTo>
                    <a:lnTo>
                      <a:pt x="964" y="1850"/>
                    </a:lnTo>
                    <a:lnTo>
                      <a:pt x="960" y="1850"/>
                    </a:lnTo>
                    <a:lnTo>
                      <a:pt x="952" y="1846"/>
                    </a:lnTo>
                    <a:lnTo>
                      <a:pt x="952" y="1846"/>
                    </a:lnTo>
                    <a:close/>
                    <a:moveTo>
                      <a:pt x="862" y="1678"/>
                    </a:moveTo>
                    <a:lnTo>
                      <a:pt x="862" y="1678"/>
                    </a:lnTo>
                    <a:lnTo>
                      <a:pt x="862" y="1678"/>
                    </a:lnTo>
                    <a:lnTo>
                      <a:pt x="864" y="1678"/>
                    </a:lnTo>
                    <a:lnTo>
                      <a:pt x="868" y="1678"/>
                    </a:lnTo>
                    <a:lnTo>
                      <a:pt x="872" y="1674"/>
                    </a:lnTo>
                    <a:lnTo>
                      <a:pt x="872" y="1674"/>
                    </a:lnTo>
                    <a:lnTo>
                      <a:pt x="872" y="1674"/>
                    </a:lnTo>
                    <a:lnTo>
                      <a:pt x="872" y="1672"/>
                    </a:lnTo>
                    <a:lnTo>
                      <a:pt x="868" y="1672"/>
                    </a:lnTo>
                    <a:lnTo>
                      <a:pt x="864" y="1674"/>
                    </a:lnTo>
                    <a:lnTo>
                      <a:pt x="862" y="1678"/>
                    </a:lnTo>
                    <a:lnTo>
                      <a:pt x="862" y="1678"/>
                    </a:lnTo>
                    <a:close/>
                    <a:moveTo>
                      <a:pt x="860" y="1816"/>
                    </a:moveTo>
                    <a:lnTo>
                      <a:pt x="860" y="1816"/>
                    </a:lnTo>
                    <a:lnTo>
                      <a:pt x="860" y="1814"/>
                    </a:lnTo>
                    <a:lnTo>
                      <a:pt x="860" y="1812"/>
                    </a:lnTo>
                    <a:lnTo>
                      <a:pt x="858" y="1814"/>
                    </a:lnTo>
                    <a:lnTo>
                      <a:pt x="856" y="1818"/>
                    </a:lnTo>
                    <a:lnTo>
                      <a:pt x="856" y="1818"/>
                    </a:lnTo>
                    <a:lnTo>
                      <a:pt x="850" y="1826"/>
                    </a:lnTo>
                    <a:lnTo>
                      <a:pt x="848" y="1830"/>
                    </a:lnTo>
                    <a:lnTo>
                      <a:pt x="848" y="1834"/>
                    </a:lnTo>
                    <a:lnTo>
                      <a:pt x="848" y="1834"/>
                    </a:lnTo>
                    <a:lnTo>
                      <a:pt x="850" y="1836"/>
                    </a:lnTo>
                    <a:lnTo>
                      <a:pt x="852" y="1836"/>
                    </a:lnTo>
                    <a:lnTo>
                      <a:pt x="854" y="1830"/>
                    </a:lnTo>
                    <a:lnTo>
                      <a:pt x="860" y="1816"/>
                    </a:lnTo>
                    <a:lnTo>
                      <a:pt x="860" y="1816"/>
                    </a:lnTo>
                    <a:close/>
                    <a:moveTo>
                      <a:pt x="1100" y="2508"/>
                    </a:moveTo>
                    <a:lnTo>
                      <a:pt x="1100" y="2508"/>
                    </a:lnTo>
                    <a:lnTo>
                      <a:pt x="1102" y="2508"/>
                    </a:lnTo>
                    <a:lnTo>
                      <a:pt x="1100" y="2506"/>
                    </a:lnTo>
                    <a:lnTo>
                      <a:pt x="1094" y="2504"/>
                    </a:lnTo>
                    <a:lnTo>
                      <a:pt x="1086" y="2504"/>
                    </a:lnTo>
                    <a:lnTo>
                      <a:pt x="1084" y="2504"/>
                    </a:lnTo>
                    <a:lnTo>
                      <a:pt x="1084" y="2506"/>
                    </a:lnTo>
                    <a:lnTo>
                      <a:pt x="1084" y="2506"/>
                    </a:lnTo>
                    <a:lnTo>
                      <a:pt x="1086" y="2508"/>
                    </a:lnTo>
                    <a:lnTo>
                      <a:pt x="1092" y="2510"/>
                    </a:lnTo>
                    <a:lnTo>
                      <a:pt x="1096" y="2510"/>
                    </a:lnTo>
                    <a:lnTo>
                      <a:pt x="1100" y="2508"/>
                    </a:lnTo>
                    <a:lnTo>
                      <a:pt x="1100" y="2508"/>
                    </a:lnTo>
                    <a:close/>
                    <a:moveTo>
                      <a:pt x="1092" y="2518"/>
                    </a:moveTo>
                    <a:lnTo>
                      <a:pt x="1092" y="2518"/>
                    </a:lnTo>
                    <a:lnTo>
                      <a:pt x="1108" y="2520"/>
                    </a:lnTo>
                    <a:lnTo>
                      <a:pt x="1110" y="2518"/>
                    </a:lnTo>
                    <a:lnTo>
                      <a:pt x="1108" y="2516"/>
                    </a:lnTo>
                    <a:lnTo>
                      <a:pt x="1108" y="2516"/>
                    </a:lnTo>
                    <a:lnTo>
                      <a:pt x="1100" y="2514"/>
                    </a:lnTo>
                    <a:lnTo>
                      <a:pt x="1086" y="2514"/>
                    </a:lnTo>
                    <a:lnTo>
                      <a:pt x="1086" y="2514"/>
                    </a:lnTo>
                    <a:lnTo>
                      <a:pt x="1084" y="2514"/>
                    </a:lnTo>
                    <a:lnTo>
                      <a:pt x="1082" y="2516"/>
                    </a:lnTo>
                    <a:lnTo>
                      <a:pt x="1092" y="2518"/>
                    </a:lnTo>
                    <a:lnTo>
                      <a:pt x="1092" y="2518"/>
                    </a:lnTo>
                    <a:close/>
                    <a:moveTo>
                      <a:pt x="1108" y="1672"/>
                    </a:moveTo>
                    <a:lnTo>
                      <a:pt x="1108" y="1672"/>
                    </a:lnTo>
                    <a:lnTo>
                      <a:pt x="1106" y="1672"/>
                    </a:lnTo>
                    <a:lnTo>
                      <a:pt x="1104" y="1674"/>
                    </a:lnTo>
                    <a:lnTo>
                      <a:pt x="1102" y="1682"/>
                    </a:lnTo>
                    <a:lnTo>
                      <a:pt x="1100" y="1692"/>
                    </a:lnTo>
                    <a:lnTo>
                      <a:pt x="1094" y="1700"/>
                    </a:lnTo>
                    <a:lnTo>
                      <a:pt x="1094" y="1700"/>
                    </a:lnTo>
                    <a:lnTo>
                      <a:pt x="1090" y="1710"/>
                    </a:lnTo>
                    <a:lnTo>
                      <a:pt x="1086" y="1722"/>
                    </a:lnTo>
                    <a:lnTo>
                      <a:pt x="1084" y="1734"/>
                    </a:lnTo>
                    <a:lnTo>
                      <a:pt x="1084" y="1740"/>
                    </a:lnTo>
                    <a:lnTo>
                      <a:pt x="1086" y="1744"/>
                    </a:lnTo>
                    <a:lnTo>
                      <a:pt x="1086" y="1744"/>
                    </a:lnTo>
                    <a:lnTo>
                      <a:pt x="1090" y="1734"/>
                    </a:lnTo>
                    <a:lnTo>
                      <a:pt x="1100" y="1708"/>
                    </a:lnTo>
                    <a:lnTo>
                      <a:pt x="1108" y="1684"/>
                    </a:lnTo>
                    <a:lnTo>
                      <a:pt x="1110" y="1676"/>
                    </a:lnTo>
                    <a:lnTo>
                      <a:pt x="1110" y="1674"/>
                    </a:lnTo>
                    <a:lnTo>
                      <a:pt x="1108" y="1672"/>
                    </a:lnTo>
                    <a:lnTo>
                      <a:pt x="1108" y="1672"/>
                    </a:lnTo>
                    <a:close/>
                    <a:moveTo>
                      <a:pt x="1804" y="2938"/>
                    </a:moveTo>
                    <a:lnTo>
                      <a:pt x="1804" y="2938"/>
                    </a:lnTo>
                    <a:lnTo>
                      <a:pt x="1810" y="2932"/>
                    </a:lnTo>
                    <a:lnTo>
                      <a:pt x="1812" y="2928"/>
                    </a:lnTo>
                    <a:lnTo>
                      <a:pt x="1812" y="2928"/>
                    </a:lnTo>
                    <a:lnTo>
                      <a:pt x="1808" y="2930"/>
                    </a:lnTo>
                    <a:lnTo>
                      <a:pt x="1808" y="2930"/>
                    </a:lnTo>
                    <a:lnTo>
                      <a:pt x="1800" y="2934"/>
                    </a:lnTo>
                    <a:lnTo>
                      <a:pt x="1790" y="2940"/>
                    </a:lnTo>
                    <a:lnTo>
                      <a:pt x="1776" y="2946"/>
                    </a:lnTo>
                    <a:lnTo>
                      <a:pt x="1768" y="2946"/>
                    </a:lnTo>
                    <a:lnTo>
                      <a:pt x="1760" y="2944"/>
                    </a:lnTo>
                    <a:lnTo>
                      <a:pt x="1760" y="2944"/>
                    </a:lnTo>
                    <a:lnTo>
                      <a:pt x="1754" y="2944"/>
                    </a:lnTo>
                    <a:lnTo>
                      <a:pt x="1750" y="2944"/>
                    </a:lnTo>
                    <a:lnTo>
                      <a:pt x="1748" y="2946"/>
                    </a:lnTo>
                    <a:lnTo>
                      <a:pt x="1748" y="2948"/>
                    </a:lnTo>
                    <a:lnTo>
                      <a:pt x="1748" y="2954"/>
                    </a:lnTo>
                    <a:lnTo>
                      <a:pt x="1746" y="2954"/>
                    </a:lnTo>
                    <a:lnTo>
                      <a:pt x="1742" y="2954"/>
                    </a:lnTo>
                    <a:lnTo>
                      <a:pt x="1742" y="2954"/>
                    </a:lnTo>
                    <a:lnTo>
                      <a:pt x="1736" y="2954"/>
                    </a:lnTo>
                    <a:lnTo>
                      <a:pt x="1732" y="2958"/>
                    </a:lnTo>
                    <a:lnTo>
                      <a:pt x="1730" y="2960"/>
                    </a:lnTo>
                    <a:lnTo>
                      <a:pt x="1726" y="2960"/>
                    </a:lnTo>
                    <a:lnTo>
                      <a:pt x="1726" y="2960"/>
                    </a:lnTo>
                    <a:lnTo>
                      <a:pt x="1722" y="2960"/>
                    </a:lnTo>
                    <a:lnTo>
                      <a:pt x="1722" y="2962"/>
                    </a:lnTo>
                    <a:lnTo>
                      <a:pt x="1726" y="2974"/>
                    </a:lnTo>
                    <a:lnTo>
                      <a:pt x="1726" y="2974"/>
                    </a:lnTo>
                    <a:lnTo>
                      <a:pt x="1728" y="2978"/>
                    </a:lnTo>
                    <a:lnTo>
                      <a:pt x="1732" y="2980"/>
                    </a:lnTo>
                    <a:lnTo>
                      <a:pt x="1736" y="2982"/>
                    </a:lnTo>
                    <a:lnTo>
                      <a:pt x="1742" y="2982"/>
                    </a:lnTo>
                    <a:lnTo>
                      <a:pt x="1742" y="2982"/>
                    </a:lnTo>
                    <a:lnTo>
                      <a:pt x="1748" y="2982"/>
                    </a:lnTo>
                    <a:lnTo>
                      <a:pt x="1750" y="2984"/>
                    </a:lnTo>
                    <a:lnTo>
                      <a:pt x="1752" y="2986"/>
                    </a:lnTo>
                    <a:lnTo>
                      <a:pt x="1754" y="2984"/>
                    </a:lnTo>
                    <a:lnTo>
                      <a:pt x="1754" y="2984"/>
                    </a:lnTo>
                    <a:lnTo>
                      <a:pt x="1754" y="2982"/>
                    </a:lnTo>
                    <a:lnTo>
                      <a:pt x="1756" y="2980"/>
                    </a:lnTo>
                    <a:lnTo>
                      <a:pt x="1764" y="2978"/>
                    </a:lnTo>
                    <a:lnTo>
                      <a:pt x="1770" y="2976"/>
                    </a:lnTo>
                    <a:lnTo>
                      <a:pt x="1774" y="2974"/>
                    </a:lnTo>
                    <a:lnTo>
                      <a:pt x="1776" y="2970"/>
                    </a:lnTo>
                    <a:lnTo>
                      <a:pt x="1776" y="2970"/>
                    </a:lnTo>
                    <a:lnTo>
                      <a:pt x="1780" y="2966"/>
                    </a:lnTo>
                    <a:lnTo>
                      <a:pt x="1782" y="2964"/>
                    </a:lnTo>
                    <a:lnTo>
                      <a:pt x="1790" y="2964"/>
                    </a:lnTo>
                    <a:lnTo>
                      <a:pt x="1794" y="2964"/>
                    </a:lnTo>
                    <a:lnTo>
                      <a:pt x="1796" y="2962"/>
                    </a:lnTo>
                    <a:lnTo>
                      <a:pt x="1794" y="2960"/>
                    </a:lnTo>
                    <a:lnTo>
                      <a:pt x="1794" y="2960"/>
                    </a:lnTo>
                    <a:lnTo>
                      <a:pt x="1790" y="2954"/>
                    </a:lnTo>
                    <a:lnTo>
                      <a:pt x="1790" y="2950"/>
                    </a:lnTo>
                    <a:lnTo>
                      <a:pt x="1796" y="2944"/>
                    </a:lnTo>
                    <a:lnTo>
                      <a:pt x="1804" y="2938"/>
                    </a:lnTo>
                    <a:lnTo>
                      <a:pt x="1804" y="2938"/>
                    </a:lnTo>
                    <a:close/>
                    <a:moveTo>
                      <a:pt x="1538" y="2902"/>
                    </a:moveTo>
                    <a:lnTo>
                      <a:pt x="1538" y="2902"/>
                    </a:lnTo>
                    <a:lnTo>
                      <a:pt x="1540" y="2906"/>
                    </a:lnTo>
                    <a:lnTo>
                      <a:pt x="1538" y="2910"/>
                    </a:lnTo>
                    <a:lnTo>
                      <a:pt x="1538" y="2914"/>
                    </a:lnTo>
                    <a:lnTo>
                      <a:pt x="1542" y="2918"/>
                    </a:lnTo>
                    <a:lnTo>
                      <a:pt x="1542" y="2918"/>
                    </a:lnTo>
                    <a:lnTo>
                      <a:pt x="1544" y="2918"/>
                    </a:lnTo>
                    <a:lnTo>
                      <a:pt x="1548" y="2914"/>
                    </a:lnTo>
                    <a:lnTo>
                      <a:pt x="1554" y="2904"/>
                    </a:lnTo>
                    <a:lnTo>
                      <a:pt x="1558" y="2894"/>
                    </a:lnTo>
                    <a:lnTo>
                      <a:pt x="1560" y="2888"/>
                    </a:lnTo>
                    <a:lnTo>
                      <a:pt x="1560" y="2886"/>
                    </a:lnTo>
                    <a:lnTo>
                      <a:pt x="1560" y="2886"/>
                    </a:lnTo>
                    <a:lnTo>
                      <a:pt x="1558" y="2886"/>
                    </a:lnTo>
                    <a:lnTo>
                      <a:pt x="1554" y="2886"/>
                    </a:lnTo>
                    <a:lnTo>
                      <a:pt x="1546" y="2892"/>
                    </a:lnTo>
                    <a:lnTo>
                      <a:pt x="1540" y="2898"/>
                    </a:lnTo>
                    <a:lnTo>
                      <a:pt x="1538" y="2900"/>
                    </a:lnTo>
                    <a:lnTo>
                      <a:pt x="1538" y="2902"/>
                    </a:lnTo>
                    <a:lnTo>
                      <a:pt x="1538" y="2902"/>
                    </a:lnTo>
                    <a:close/>
                    <a:moveTo>
                      <a:pt x="644" y="1508"/>
                    </a:moveTo>
                    <a:lnTo>
                      <a:pt x="644" y="1508"/>
                    </a:lnTo>
                    <a:lnTo>
                      <a:pt x="646" y="1510"/>
                    </a:lnTo>
                    <a:lnTo>
                      <a:pt x="648" y="1508"/>
                    </a:lnTo>
                    <a:lnTo>
                      <a:pt x="650" y="1500"/>
                    </a:lnTo>
                    <a:lnTo>
                      <a:pt x="650" y="1500"/>
                    </a:lnTo>
                    <a:lnTo>
                      <a:pt x="650" y="1498"/>
                    </a:lnTo>
                    <a:lnTo>
                      <a:pt x="650" y="1498"/>
                    </a:lnTo>
                    <a:lnTo>
                      <a:pt x="646" y="1498"/>
                    </a:lnTo>
                    <a:lnTo>
                      <a:pt x="640" y="1500"/>
                    </a:lnTo>
                    <a:lnTo>
                      <a:pt x="636" y="1504"/>
                    </a:lnTo>
                    <a:lnTo>
                      <a:pt x="636" y="1504"/>
                    </a:lnTo>
                    <a:lnTo>
                      <a:pt x="634" y="1510"/>
                    </a:lnTo>
                    <a:lnTo>
                      <a:pt x="636" y="1514"/>
                    </a:lnTo>
                    <a:lnTo>
                      <a:pt x="638" y="1516"/>
                    </a:lnTo>
                    <a:lnTo>
                      <a:pt x="642" y="1518"/>
                    </a:lnTo>
                    <a:lnTo>
                      <a:pt x="642" y="1518"/>
                    </a:lnTo>
                    <a:lnTo>
                      <a:pt x="644" y="1516"/>
                    </a:lnTo>
                    <a:lnTo>
                      <a:pt x="644" y="1514"/>
                    </a:lnTo>
                    <a:lnTo>
                      <a:pt x="642" y="1508"/>
                    </a:lnTo>
                    <a:lnTo>
                      <a:pt x="642" y="1508"/>
                    </a:lnTo>
                    <a:lnTo>
                      <a:pt x="640" y="1506"/>
                    </a:lnTo>
                    <a:lnTo>
                      <a:pt x="640" y="1506"/>
                    </a:lnTo>
                    <a:lnTo>
                      <a:pt x="644" y="1508"/>
                    </a:lnTo>
                    <a:lnTo>
                      <a:pt x="644" y="1508"/>
                    </a:lnTo>
                    <a:close/>
                    <a:moveTo>
                      <a:pt x="632" y="1558"/>
                    </a:moveTo>
                    <a:lnTo>
                      <a:pt x="632" y="1558"/>
                    </a:lnTo>
                    <a:lnTo>
                      <a:pt x="632" y="1558"/>
                    </a:lnTo>
                    <a:lnTo>
                      <a:pt x="634" y="1556"/>
                    </a:lnTo>
                    <a:lnTo>
                      <a:pt x="634" y="1554"/>
                    </a:lnTo>
                    <a:lnTo>
                      <a:pt x="634" y="1548"/>
                    </a:lnTo>
                    <a:lnTo>
                      <a:pt x="630" y="1544"/>
                    </a:lnTo>
                    <a:lnTo>
                      <a:pt x="630" y="1544"/>
                    </a:lnTo>
                    <a:lnTo>
                      <a:pt x="630" y="1546"/>
                    </a:lnTo>
                    <a:lnTo>
                      <a:pt x="630" y="1546"/>
                    </a:lnTo>
                    <a:lnTo>
                      <a:pt x="630" y="1554"/>
                    </a:lnTo>
                    <a:lnTo>
                      <a:pt x="630" y="1558"/>
                    </a:lnTo>
                    <a:lnTo>
                      <a:pt x="632" y="1558"/>
                    </a:lnTo>
                    <a:lnTo>
                      <a:pt x="632" y="1558"/>
                    </a:lnTo>
                    <a:close/>
                    <a:moveTo>
                      <a:pt x="628" y="1528"/>
                    </a:moveTo>
                    <a:lnTo>
                      <a:pt x="628" y="1528"/>
                    </a:lnTo>
                    <a:lnTo>
                      <a:pt x="628" y="1528"/>
                    </a:lnTo>
                    <a:lnTo>
                      <a:pt x="630" y="1528"/>
                    </a:lnTo>
                    <a:lnTo>
                      <a:pt x="630" y="1526"/>
                    </a:lnTo>
                    <a:lnTo>
                      <a:pt x="632" y="1522"/>
                    </a:lnTo>
                    <a:lnTo>
                      <a:pt x="632" y="1520"/>
                    </a:lnTo>
                    <a:lnTo>
                      <a:pt x="632" y="1520"/>
                    </a:lnTo>
                    <a:lnTo>
                      <a:pt x="634" y="1520"/>
                    </a:lnTo>
                    <a:lnTo>
                      <a:pt x="634" y="1522"/>
                    </a:lnTo>
                    <a:lnTo>
                      <a:pt x="636" y="1522"/>
                    </a:lnTo>
                    <a:lnTo>
                      <a:pt x="638" y="1522"/>
                    </a:lnTo>
                    <a:lnTo>
                      <a:pt x="638" y="1522"/>
                    </a:lnTo>
                    <a:lnTo>
                      <a:pt x="638" y="1520"/>
                    </a:lnTo>
                    <a:lnTo>
                      <a:pt x="636" y="1518"/>
                    </a:lnTo>
                    <a:lnTo>
                      <a:pt x="632" y="1514"/>
                    </a:lnTo>
                    <a:lnTo>
                      <a:pt x="632" y="1514"/>
                    </a:lnTo>
                    <a:lnTo>
                      <a:pt x="628" y="1512"/>
                    </a:lnTo>
                    <a:lnTo>
                      <a:pt x="628" y="1516"/>
                    </a:lnTo>
                    <a:lnTo>
                      <a:pt x="628" y="1528"/>
                    </a:lnTo>
                    <a:lnTo>
                      <a:pt x="628" y="1528"/>
                    </a:lnTo>
                    <a:close/>
                    <a:moveTo>
                      <a:pt x="1186" y="1636"/>
                    </a:moveTo>
                    <a:lnTo>
                      <a:pt x="1186" y="1636"/>
                    </a:lnTo>
                    <a:lnTo>
                      <a:pt x="1180" y="1640"/>
                    </a:lnTo>
                    <a:lnTo>
                      <a:pt x="1176" y="1638"/>
                    </a:lnTo>
                    <a:lnTo>
                      <a:pt x="1174" y="1638"/>
                    </a:lnTo>
                    <a:lnTo>
                      <a:pt x="1164" y="1646"/>
                    </a:lnTo>
                    <a:lnTo>
                      <a:pt x="1164" y="1646"/>
                    </a:lnTo>
                    <a:lnTo>
                      <a:pt x="1156" y="1656"/>
                    </a:lnTo>
                    <a:lnTo>
                      <a:pt x="1150" y="1666"/>
                    </a:lnTo>
                    <a:lnTo>
                      <a:pt x="1150" y="1676"/>
                    </a:lnTo>
                    <a:lnTo>
                      <a:pt x="1154" y="1682"/>
                    </a:lnTo>
                    <a:lnTo>
                      <a:pt x="1154" y="1682"/>
                    </a:lnTo>
                    <a:lnTo>
                      <a:pt x="1154" y="1686"/>
                    </a:lnTo>
                    <a:lnTo>
                      <a:pt x="1154" y="1690"/>
                    </a:lnTo>
                    <a:lnTo>
                      <a:pt x="1154" y="1696"/>
                    </a:lnTo>
                    <a:lnTo>
                      <a:pt x="1154" y="1700"/>
                    </a:lnTo>
                    <a:lnTo>
                      <a:pt x="1154" y="1700"/>
                    </a:lnTo>
                    <a:lnTo>
                      <a:pt x="1158" y="1700"/>
                    </a:lnTo>
                    <a:lnTo>
                      <a:pt x="1158" y="1700"/>
                    </a:lnTo>
                    <a:lnTo>
                      <a:pt x="1162" y="1696"/>
                    </a:lnTo>
                    <a:lnTo>
                      <a:pt x="1166" y="1690"/>
                    </a:lnTo>
                    <a:lnTo>
                      <a:pt x="1170" y="1682"/>
                    </a:lnTo>
                    <a:lnTo>
                      <a:pt x="1178" y="1674"/>
                    </a:lnTo>
                    <a:lnTo>
                      <a:pt x="1178" y="1674"/>
                    </a:lnTo>
                    <a:lnTo>
                      <a:pt x="1182" y="1670"/>
                    </a:lnTo>
                    <a:lnTo>
                      <a:pt x="1184" y="1666"/>
                    </a:lnTo>
                    <a:lnTo>
                      <a:pt x="1182" y="1662"/>
                    </a:lnTo>
                    <a:lnTo>
                      <a:pt x="1180" y="1658"/>
                    </a:lnTo>
                    <a:lnTo>
                      <a:pt x="1180" y="1656"/>
                    </a:lnTo>
                    <a:lnTo>
                      <a:pt x="1182" y="1652"/>
                    </a:lnTo>
                    <a:lnTo>
                      <a:pt x="1186" y="1646"/>
                    </a:lnTo>
                    <a:lnTo>
                      <a:pt x="1186" y="1646"/>
                    </a:lnTo>
                    <a:lnTo>
                      <a:pt x="1194" y="1638"/>
                    </a:lnTo>
                    <a:lnTo>
                      <a:pt x="1198" y="1632"/>
                    </a:lnTo>
                    <a:lnTo>
                      <a:pt x="1196" y="1630"/>
                    </a:lnTo>
                    <a:lnTo>
                      <a:pt x="1194" y="1632"/>
                    </a:lnTo>
                    <a:lnTo>
                      <a:pt x="1186" y="1636"/>
                    </a:lnTo>
                    <a:lnTo>
                      <a:pt x="1186" y="1636"/>
                    </a:lnTo>
                    <a:close/>
                    <a:moveTo>
                      <a:pt x="1058" y="962"/>
                    </a:moveTo>
                    <a:lnTo>
                      <a:pt x="1058" y="962"/>
                    </a:lnTo>
                    <a:lnTo>
                      <a:pt x="1050" y="960"/>
                    </a:lnTo>
                    <a:lnTo>
                      <a:pt x="1048" y="962"/>
                    </a:lnTo>
                    <a:lnTo>
                      <a:pt x="1046" y="964"/>
                    </a:lnTo>
                    <a:lnTo>
                      <a:pt x="1046" y="964"/>
                    </a:lnTo>
                    <a:lnTo>
                      <a:pt x="1048" y="964"/>
                    </a:lnTo>
                    <a:lnTo>
                      <a:pt x="1054" y="964"/>
                    </a:lnTo>
                    <a:lnTo>
                      <a:pt x="1058" y="962"/>
                    </a:lnTo>
                    <a:lnTo>
                      <a:pt x="1058" y="962"/>
                    </a:lnTo>
                    <a:lnTo>
                      <a:pt x="1058" y="962"/>
                    </a:lnTo>
                    <a:lnTo>
                      <a:pt x="1058" y="962"/>
                    </a:lnTo>
                    <a:close/>
                    <a:moveTo>
                      <a:pt x="1366" y="1568"/>
                    </a:moveTo>
                    <a:lnTo>
                      <a:pt x="1366" y="1568"/>
                    </a:lnTo>
                    <a:lnTo>
                      <a:pt x="1364" y="1566"/>
                    </a:lnTo>
                    <a:lnTo>
                      <a:pt x="1360" y="1564"/>
                    </a:lnTo>
                    <a:lnTo>
                      <a:pt x="1356" y="1564"/>
                    </a:lnTo>
                    <a:lnTo>
                      <a:pt x="1354" y="1566"/>
                    </a:lnTo>
                    <a:lnTo>
                      <a:pt x="1354" y="1566"/>
                    </a:lnTo>
                    <a:lnTo>
                      <a:pt x="1356" y="1568"/>
                    </a:lnTo>
                    <a:lnTo>
                      <a:pt x="1360" y="1570"/>
                    </a:lnTo>
                    <a:lnTo>
                      <a:pt x="1364" y="1570"/>
                    </a:lnTo>
                    <a:lnTo>
                      <a:pt x="1366" y="1568"/>
                    </a:lnTo>
                    <a:lnTo>
                      <a:pt x="1366" y="1568"/>
                    </a:lnTo>
                    <a:close/>
                    <a:moveTo>
                      <a:pt x="1332" y="1588"/>
                    </a:moveTo>
                    <a:lnTo>
                      <a:pt x="1332" y="1588"/>
                    </a:lnTo>
                    <a:lnTo>
                      <a:pt x="1336" y="1586"/>
                    </a:lnTo>
                    <a:lnTo>
                      <a:pt x="1338" y="1584"/>
                    </a:lnTo>
                    <a:lnTo>
                      <a:pt x="1338" y="1582"/>
                    </a:lnTo>
                    <a:lnTo>
                      <a:pt x="1342" y="1580"/>
                    </a:lnTo>
                    <a:lnTo>
                      <a:pt x="1342" y="1580"/>
                    </a:lnTo>
                    <a:lnTo>
                      <a:pt x="1344" y="1582"/>
                    </a:lnTo>
                    <a:lnTo>
                      <a:pt x="1346" y="1580"/>
                    </a:lnTo>
                    <a:lnTo>
                      <a:pt x="1346" y="1578"/>
                    </a:lnTo>
                    <a:lnTo>
                      <a:pt x="1348" y="1578"/>
                    </a:lnTo>
                    <a:lnTo>
                      <a:pt x="1348" y="1578"/>
                    </a:lnTo>
                    <a:lnTo>
                      <a:pt x="1350" y="1578"/>
                    </a:lnTo>
                    <a:lnTo>
                      <a:pt x="1352" y="1576"/>
                    </a:lnTo>
                    <a:lnTo>
                      <a:pt x="1350" y="1574"/>
                    </a:lnTo>
                    <a:lnTo>
                      <a:pt x="1346" y="1570"/>
                    </a:lnTo>
                    <a:lnTo>
                      <a:pt x="1346" y="1570"/>
                    </a:lnTo>
                    <a:lnTo>
                      <a:pt x="1336" y="1562"/>
                    </a:lnTo>
                    <a:lnTo>
                      <a:pt x="1334" y="1562"/>
                    </a:lnTo>
                    <a:lnTo>
                      <a:pt x="1330" y="1566"/>
                    </a:lnTo>
                    <a:lnTo>
                      <a:pt x="1330" y="1566"/>
                    </a:lnTo>
                    <a:lnTo>
                      <a:pt x="1326" y="1568"/>
                    </a:lnTo>
                    <a:lnTo>
                      <a:pt x="1320" y="1570"/>
                    </a:lnTo>
                    <a:lnTo>
                      <a:pt x="1316" y="1570"/>
                    </a:lnTo>
                    <a:lnTo>
                      <a:pt x="1312" y="1570"/>
                    </a:lnTo>
                    <a:lnTo>
                      <a:pt x="1312" y="1570"/>
                    </a:lnTo>
                    <a:lnTo>
                      <a:pt x="1310" y="1572"/>
                    </a:lnTo>
                    <a:lnTo>
                      <a:pt x="1312" y="1574"/>
                    </a:lnTo>
                    <a:lnTo>
                      <a:pt x="1322" y="1574"/>
                    </a:lnTo>
                    <a:lnTo>
                      <a:pt x="1322" y="1574"/>
                    </a:lnTo>
                    <a:lnTo>
                      <a:pt x="1324" y="1574"/>
                    </a:lnTo>
                    <a:lnTo>
                      <a:pt x="1326" y="1576"/>
                    </a:lnTo>
                    <a:lnTo>
                      <a:pt x="1326" y="1580"/>
                    </a:lnTo>
                    <a:lnTo>
                      <a:pt x="1328" y="1584"/>
                    </a:lnTo>
                    <a:lnTo>
                      <a:pt x="1330" y="1586"/>
                    </a:lnTo>
                    <a:lnTo>
                      <a:pt x="1332" y="1588"/>
                    </a:lnTo>
                    <a:lnTo>
                      <a:pt x="1332" y="1588"/>
                    </a:lnTo>
                    <a:close/>
                    <a:moveTo>
                      <a:pt x="1306" y="1608"/>
                    </a:moveTo>
                    <a:lnTo>
                      <a:pt x="1306" y="1608"/>
                    </a:lnTo>
                    <a:lnTo>
                      <a:pt x="1304" y="1610"/>
                    </a:lnTo>
                    <a:lnTo>
                      <a:pt x="1302" y="1612"/>
                    </a:lnTo>
                    <a:lnTo>
                      <a:pt x="1304" y="1616"/>
                    </a:lnTo>
                    <a:lnTo>
                      <a:pt x="1310" y="1618"/>
                    </a:lnTo>
                    <a:lnTo>
                      <a:pt x="1310" y="1618"/>
                    </a:lnTo>
                    <a:lnTo>
                      <a:pt x="1316" y="1622"/>
                    </a:lnTo>
                    <a:lnTo>
                      <a:pt x="1316" y="1624"/>
                    </a:lnTo>
                    <a:lnTo>
                      <a:pt x="1312" y="1628"/>
                    </a:lnTo>
                    <a:lnTo>
                      <a:pt x="1312" y="1628"/>
                    </a:lnTo>
                    <a:lnTo>
                      <a:pt x="1308" y="1630"/>
                    </a:lnTo>
                    <a:lnTo>
                      <a:pt x="1308" y="1634"/>
                    </a:lnTo>
                    <a:lnTo>
                      <a:pt x="1308" y="1636"/>
                    </a:lnTo>
                    <a:lnTo>
                      <a:pt x="1314" y="1636"/>
                    </a:lnTo>
                    <a:lnTo>
                      <a:pt x="1314" y="1636"/>
                    </a:lnTo>
                    <a:lnTo>
                      <a:pt x="1316" y="1634"/>
                    </a:lnTo>
                    <a:lnTo>
                      <a:pt x="1318" y="1630"/>
                    </a:lnTo>
                    <a:lnTo>
                      <a:pt x="1318" y="1630"/>
                    </a:lnTo>
                    <a:lnTo>
                      <a:pt x="1322" y="1620"/>
                    </a:lnTo>
                    <a:lnTo>
                      <a:pt x="1326" y="1618"/>
                    </a:lnTo>
                    <a:lnTo>
                      <a:pt x="1328" y="1616"/>
                    </a:lnTo>
                    <a:lnTo>
                      <a:pt x="1330" y="1616"/>
                    </a:lnTo>
                    <a:lnTo>
                      <a:pt x="1330" y="1616"/>
                    </a:lnTo>
                    <a:lnTo>
                      <a:pt x="1334" y="1618"/>
                    </a:lnTo>
                    <a:lnTo>
                      <a:pt x="1340" y="1614"/>
                    </a:lnTo>
                    <a:lnTo>
                      <a:pt x="1348" y="1610"/>
                    </a:lnTo>
                    <a:lnTo>
                      <a:pt x="1352" y="1604"/>
                    </a:lnTo>
                    <a:lnTo>
                      <a:pt x="1352" y="1604"/>
                    </a:lnTo>
                    <a:lnTo>
                      <a:pt x="1356" y="1602"/>
                    </a:lnTo>
                    <a:lnTo>
                      <a:pt x="1358" y="1602"/>
                    </a:lnTo>
                    <a:lnTo>
                      <a:pt x="1358" y="1604"/>
                    </a:lnTo>
                    <a:lnTo>
                      <a:pt x="1362" y="1604"/>
                    </a:lnTo>
                    <a:lnTo>
                      <a:pt x="1362" y="1604"/>
                    </a:lnTo>
                    <a:lnTo>
                      <a:pt x="1364" y="1602"/>
                    </a:lnTo>
                    <a:lnTo>
                      <a:pt x="1362" y="1602"/>
                    </a:lnTo>
                    <a:lnTo>
                      <a:pt x="1354" y="1596"/>
                    </a:lnTo>
                    <a:lnTo>
                      <a:pt x="1354" y="1596"/>
                    </a:lnTo>
                    <a:lnTo>
                      <a:pt x="1348" y="1594"/>
                    </a:lnTo>
                    <a:lnTo>
                      <a:pt x="1342" y="1594"/>
                    </a:lnTo>
                    <a:lnTo>
                      <a:pt x="1338" y="1594"/>
                    </a:lnTo>
                    <a:lnTo>
                      <a:pt x="1334" y="1592"/>
                    </a:lnTo>
                    <a:lnTo>
                      <a:pt x="1334" y="1592"/>
                    </a:lnTo>
                    <a:lnTo>
                      <a:pt x="1330" y="1590"/>
                    </a:lnTo>
                    <a:lnTo>
                      <a:pt x="1324" y="1592"/>
                    </a:lnTo>
                    <a:lnTo>
                      <a:pt x="1318" y="1594"/>
                    </a:lnTo>
                    <a:lnTo>
                      <a:pt x="1314" y="1600"/>
                    </a:lnTo>
                    <a:lnTo>
                      <a:pt x="1314" y="1600"/>
                    </a:lnTo>
                    <a:lnTo>
                      <a:pt x="1312" y="1602"/>
                    </a:lnTo>
                    <a:lnTo>
                      <a:pt x="1310" y="1602"/>
                    </a:lnTo>
                    <a:lnTo>
                      <a:pt x="1308" y="1598"/>
                    </a:lnTo>
                    <a:lnTo>
                      <a:pt x="1304" y="1598"/>
                    </a:lnTo>
                    <a:lnTo>
                      <a:pt x="1304" y="1598"/>
                    </a:lnTo>
                    <a:lnTo>
                      <a:pt x="1304" y="1598"/>
                    </a:lnTo>
                    <a:lnTo>
                      <a:pt x="1304" y="1600"/>
                    </a:lnTo>
                    <a:lnTo>
                      <a:pt x="1306" y="1604"/>
                    </a:lnTo>
                    <a:lnTo>
                      <a:pt x="1308" y="1606"/>
                    </a:lnTo>
                    <a:lnTo>
                      <a:pt x="1308" y="1608"/>
                    </a:lnTo>
                    <a:lnTo>
                      <a:pt x="1306" y="1608"/>
                    </a:lnTo>
                    <a:lnTo>
                      <a:pt x="1306" y="1608"/>
                    </a:lnTo>
                    <a:close/>
                    <a:moveTo>
                      <a:pt x="1364" y="1596"/>
                    </a:moveTo>
                    <a:lnTo>
                      <a:pt x="1364" y="1596"/>
                    </a:lnTo>
                    <a:lnTo>
                      <a:pt x="1364" y="1592"/>
                    </a:lnTo>
                    <a:lnTo>
                      <a:pt x="1360" y="1590"/>
                    </a:lnTo>
                    <a:lnTo>
                      <a:pt x="1356" y="1588"/>
                    </a:lnTo>
                    <a:lnTo>
                      <a:pt x="1354" y="1588"/>
                    </a:lnTo>
                    <a:lnTo>
                      <a:pt x="1354" y="1588"/>
                    </a:lnTo>
                    <a:lnTo>
                      <a:pt x="1354" y="1592"/>
                    </a:lnTo>
                    <a:lnTo>
                      <a:pt x="1356" y="1596"/>
                    </a:lnTo>
                    <a:lnTo>
                      <a:pt x="1360" y="1598"/>
                    </a:lnTo>
                    <a:lnTo>
                      <a:pt x="1364" y="1596"/>
                    </a:lnTo>
                    <a:lnTo>
                      <a:pt x="1364" y="1596"/>
                    </a:lnTo>
                    <a:close/>
                    <a:moveTo>
                      <a:pt x="1102" y="2532"/>
                    </a:moveTo>
                    <a:lnTo>
                      <a:pt x="1102" y="2532"/>
                    </a:lnTo>
                    <a:lnTo>
                      <a:pt x="1110" y="2530"/>
                    </a:lnTo>
                    <a:lnTo>
                      <a:pt x="1112" y="2530"/>
                    </a:lnTo>
                    <a:lnTo>
                      <a:pt x="1110" y="2528"/>
                    </a:lnTo>
                    <a:lnTo>
                      <a:pt x="1110" y="2528"/>
                    </a:lnTo>
                    <a:lnTo>
                      <a:pt x="1098" y="2526"/>
                    </a:lnTo>
                    <a:lnTo>
                      <a:pt x="1092" y="2528"/>
                    </a:lnTo>
                    <a:lnTo>
                      <a:pt x="1092" y="2528"/>
                    </a:lnTo>
                    <a:lnTo>
                      <a:pt x="1094" y="2530"/>
                    </a:lnTo>
                    <a:lnTo>
                      <a:pt x="1094" y="2530"/>
                    </a:lnTo>
                    <a:lnTo>
                      <a:pt x="1096" y="2532"/>
                    </a:lnTo>
                    <a:lnTo>
                      <a:pt x="1102" y="2532"/>
                    </a:lnTo>
                    <a:lnTo>
                      <a:pt x="1102" y="2532"/>
                    </a:lnTo>
                    <a:close/>
                    <a:moveTo>
                      <a:pt x="470" y="2754"/>
                    </a:moveTo>
                    <a:lnTo>
                      <a:pt x="470" y="2754"/>
                    </a:lnTo>
                    <a:lnTo>
                      <a:pt x="472" y="2756"/>
                    </a:lnTo>
                    <a:lnTo>
                      <a:pt x="476" y="2756"/>
                    </a:lnTo>
                    <a:lnTo>
                      <a:pt x="482" y="2752"/>
                    </a:lnTo>
                    <a:lnTo>
                      <a:pt x="486" y="2746"/>
                    </a:lnTo>
                    <a:lnTo>
                      <a:pt x="486" y="2744"/>
                    </a:lnTo>
                    <a:lnTo>
                      <a:pt x="484" y="2740"/>
                    </a:lnTo>
                    <a:lnTo>
                      <a:pt x="484" y="2740"/>
                    </a:lnTo>
                    <a:lnTo>
                      <a:pt x="482" y="2740"/>
                    </a:lnTo>
                    <a:lnTo>
                      <a:pt x="480" y="2740"/>
                    </a:lnTo>
                    <a:lnTo>
                      <a:pt x="474" y="2744"/>
                    </a:lnTo>
                    <a:lnTo>
                      <a:pt x="470" y="2750"/>
                    </a:lnTo>
                    <a:lnTo>
                      <a:pt x="470" y="2752"/>
                    </a:lnTo>
                    <a:lnTo>
                      <a:pt x="470" y="2754"/>
                    </a:lnTo>
                    <a:lnTo>
                      <a:pt x="470" y="2754"/>
                    </a:lnTo>
                    <a:close/>
                    <a:moveTo>
                      <a:pt x="808" y="2632"/>
                    </a:moveTo>
                    <a:lnTo>
                      <a:pt x="808" y="2632"/>
                    </a:lnTo>
                    <a:lnTo>
                      <a:pt x="804" y="2628"/>
                    </a:lnTo>
                    <a:lnTo>
                      <a:pt x="802" y="2626"/>
                    </a:lnTo>
                    <a:lnTo>
                      <a:pt x="798" y="2624"/>
                    </a:lnTo>
                    <a:lnTo>
                      <a:pt x="794" y="2626"/>
                    </a:lnTo>
                    <a:lnTo>
                      <a:pt x="790" y="2628"/>
                    </a:lnTo>
                    <a:lnTo>
                      <a:pt x="776" y="2638"/>
                    </a:lnTo>
                    <a:lnTo>
                      <a:pt x="776" y="2638"/>
                    </a:lnTo>
                    <a:lnTo>
                      <a:pt x="768" y="2644"/>
                    </a:lnTo>
                    <a:lnTo>
                      <a:pt x="762" y="2646"/>
                    </a:lnTo>
                    <a:lnTo>
                      <a:pt x="758" y="2644"/>
                    </a:lnTo>
                    <a:lnTo>
                      <a:pt x="756" y="2642"/>
                    </a:lnTo>
                    <a:lnTo>
                      <a:pt x="752" y="2640"/>
                    </a:lnTo>
                    <a:lnTo>
                      <a:pt x="752" y="2640"/>
                    </a:lnTo>
                    <a:lnTo>
                      <a:pt x="750" y="2650"/>
                    </a:lnTo>
                    <a:lnTo>
                      <a:pt x="750" y="2650"/>
                    </a:lnTo>
                    <a:lnTo>
                      <a:pt x="752" y="2654"/>
                    </a:lnTo>
                    <a:lnTo>
                      <a:pt x="752" y="2658"/>
                    </a:lnTo>
                    <a:lnTo>
                      <a:pt x="756" y="2664"/>
                    </a:lnTo>
                    <a:lnTo>
                      <a:pt x="760" y="2672"/>
                    </a:lnTo>
                    <a:lnTo>
                      <a:pt x="762" y="2678"/>
                    </a:lnTo>
                    <a:lnTo>
                      <a:pt x="762" y="2686"/>
                    </a:lnTo>
                    <a:lnTo>
                      <a:pt x="762" y="2686"/>
                    </a:lnTo>
                    <a:lnTo>
                      <a:pt x="762" y="2694"/>
                    </a:lnTo>
                    <a:lnTo>
                      <a:pt x="764" y="2698"/>
                    </a:lnTo>
                    <a:lnTo>
                      <a:pt x="764" y="2702"/>
                    </a:lnTo>
                    <a:lnTo>
                      <a:pt x="762" y="2714"/>
                    </a:lnTo>
                    <a:lnTo>
                      <a:pt x="762" y="2714"/>
                    </a:lnTo>
                    <a:lnTo>
                      <a:pt x="760" y="2728"/>
                    </a:lnTo>
                    <a:lnTo>
                      <a:pt x="764" y="2742"/>
                    </a:lnTo>
                    <a:lnTo>
                      <a:pt x="766" y="2746"/>
                    </a:lnTo>
                    <a:lnTo>
                      <a:pt x="770" y="2750"/>
                    </a:lnTo>
                    <a:lnTo>
                      <a:pt x="774" y="2752"/>
                    </a:lnTo>
                    <a:lnTo>
                      <a:pt x="778" y="2752"/>
                    </a:lnTo>
                    <a:lnTo>
                      <a:pt x="778" y="2752"/>
                    </a:lnTo>
                    <a:lnTo>
                      <a:pt x="782" y="2752"/>
                    </a:lnTo>
                    <a:lnTo>
                      <a:pt x="784" y="2748"/>
                    </a:lnTo>
                    <a:lnTo>
                      <a:pt x="788" y="2742"/>
                    </a:lnTo>
                    <a:lnTo>
                      <a:pt x="790" y="2738"/>
                    </a:lnTo>
                    <a:lnTo>
                      <a:pt x="792" y="2736"/>
                    </a:lnTo>
                    <a:lnTo>
                      <a:pt x="796" y="2738"/>
                    </a:lnTo>
                    <a:lnTo>
                      <a:pt x="796" y="2738"/>
                    </a:lnTo>
                    <a:lnTo>
                      <a:pt x="802" y="2740"/>
                    </a:lnTo>
                    <a:lnTo>
                      <a:pt x="806" y="2740"/>
                    </a:lnTo>
                    <a:lnTo>
                      <a:pt x="808" y="2736"/>
                    </a:lnTo>
                    <a:lnTo>
                      <a:pt x="810" y="2726"/>
                    </a:lnTo>
                    <a:lnTo>
                      <a:pt x="814" y="2708"/>
                    </a:lnTo>
                    <a:lnTo>
                      <a:pt x="814" y="2708"/>
                    </a:lnTo>
                    <a:lnTo>
                      <a:pt x="816" y="2698"/>
                    </a:lnTo>
                    <a:lnTo>
                      <a:pt x="814" y="2690"/>
                    </a:lnTo>
                    <a:lnTo>
                      <a:pt x="812" y="2682"/>
                    </a:lnTo>
                    <a:lnTo>
                      <a:pt x="810" y="2678"/>
                    </a:lnTo>
                    <a:lnTo>
                      <a:pt x="814" y="2672"/>
                    </a:lnTo>
                    <a:lnTo>
                      <a:pt x="814" y="2672"/>
                    </a:lnTo>
                    <a:lnTo>
                      <a:pt x="818" y="2668"/>
                    </a:lnTo>
                    <a:lnTo>
                      <a:pt x="818" y="2662"/>
                    </a:lnTo>
                    <a:lnTo>
                      <a:pt x="818" y="2652"/>
                    </a:lnTo>
                    <a:lnTo>
                      <a:pt x="814" y="2642"/>
                    </a:lnTo>
                    <a:lnTo>
                      <a:pt x="808" y="2632"/>
                    </a:lnTo>
                    <a:lnTo>
                      <a:pt x="808" y="2632"/>
                    </a:lnTo>
                    <a:close/>
                    <a:moveTo>
                      <a:pt x="576" y="2694"/>
                    </a:moveTo>
                    <a:lnTo>
                      <a:pt x="576" y="2694"/>
                    </a:lnTo>
                    <a:lnTo>
                      <a:pt x="578" y="2696"/>
                    </a:lnTo>
                    <a:lnTo>
                      <a:pt x="580" y="2696"/>
                    </a:lnTo>
                    <a:lnTo>
                      <a:pt x="584" y="2696"/>
                    </a:lnTo>
                    <a:lnTo>
                      <a:pt x="588" y="2698"/>
                    </a:lnTo>
                    <a:lnTo>
                      <a:pt x="588" y="2698"/>
                    </a:lnTo>
                    <a:lnTo>
                      <a:pt x="592" y="2702"/>
                    </a:lnTo>
                    <a:lnTo>
                      <a:pt x="594" y="2700"/>
                    </a:lnTo>
                    <a:lnTo>
                      <a:pt x="596" y="2698"/>
                    </a:lnTo>
                    <a:lnTo>
                      <a:pt x="594" y="2692"/>
                    </a:lnTo>
                    <a:lnTo>
                      <a:pt x="594" y="2692"/>
                    </a:lnTo>
                    <a:lnTo>
                      <a:pt x="594" y="2690"/>
                    </a:lnTo>
                    <a:lnTo>
                      <a:pt x="590" y="2688"/>
                    </a:lnTo>
                    <a:lnTo>
                      <a:pt x="584" y="2686"/>
                    </a:lnTo>
                    <a:lnTo>
                      <a:pt x="578" y="2688"/>
                    </a:lnTo>
                    <a:lnTo>
                      <a:pt x="576" y="2690"/>
                    </a:lnTo>
                    <a:lnTo>
                      <a:pt x="576" y="2694"/>
                    </a:lnTo>
                    <a:lnTo>
                      <a:pt x="576" y="2694"/>
                    </a:lnTo>
                    <a:close/>
                    <a:moveTo>
                      <a:pt x="1022" y="2792"/>
                    </a:moveTo>
                    <a:lnTo>
                      <a:pt x="1022" y="2792"/>
                    </a:lnTo>
                    <a:lnTo>
                      <a:pt x="1016" y="2792"/>
                    </a:lnTo>
                    <a:lnTo>
                      <a:pt x="1010" y="2794"/>
                    </a:lnTo>
                    <a:lnTo>
                      <a:pt x="998" y="2800"/>
                    </a:lnTo>
                    <a:lnTo>
                      <a:pt x="990" y="2802"/>
                    </a:lnTo>
                    <a:lnTo>
                      <a:pt x="982" y="2802"/>
                    </a:lnTo>
                    <a:lnTo>
                      <a:pt x="974" y="2800"/>
                    </a:lnTo>
                    <a:lnTo>
                      <a:pt x="966" y="2796"/>
                    </a:lnTo>
                    <a:lnTo>
                      <a:pt x="966" y="2796"/>
                    </a:lnTo>
                    <a:lnTo>
                      <a:pt x="960" y="2790"/>
                    </a:lnTo>
                    <a:lnTo>
                      <a:pt x="954" y="2790"/>
                    </a:lnTo>
                    <a:lnTo>
                      <a:pt x="950" y="2792"/>
                    </a:lnTo>
                    <a:lnTo>
                      <a:pt x="948" y="2794"/>
                    </a:lnTo>
                    <a:lnTo>
                      <a:pt x="944" y="2800"/>
                    </a:lnTo>
                    <a:lnTo>
                      <a:pt x="942" y="2800"/>
                    </a:lnTo>
                    <a:lnTo>
                      <a:pt x="938" y="2794"/>
                    </a:lnTo>
                    <a:lnTo>
                      <a:pt x="938" y="2794"/>
                    </a:lnTo>
                    <a:lnTo>
                      <a:pt x="936" y="2794"/>
                    </a:lnTo>
                    <a:lnTo>
                      <a:pt x="934" y="2792"/>
                    </a:lnTo>
                    <a:lnTo>
                      <a:pt x="930" y="2796"/>
                    </a:lnTo>
                    <a:lnTo>
                      <a:pt x="926" y="2802"/>
                    </a:lnTo>
                    <a:lnTo>
                      <a:pt x="924" y="2814"/>
                    </a:lnTo>
                    <a:lnTo>
                      <a:pt x="924" y="2814"/>
                    </a:lnTo>
                    <a:lnTo>
                      <a:pt x="926" y="2820"/>
                    </a:lnTo>
                    <a:lnTo>
                      <a:pt x="930" y="2822"/>
                    </a:lnTo>
                    <a:lnTo>
                      <a:pt x="944" y="2828"/>
                    </a:lnTo>
                    <a:lnTo>
                      <a:pt x="944" y="2828"/>
                    </a:lnTo>
                    <a:lnTo>
                      <a:pt x="954" y="2832"/>
                    </a:lnTo>
                    <a:lnTo>
                      <a:pt x="966" y="2840"/>
                    </a:lnTo>
                    <a:lnTo>
                      <a:pt x="976" y="2848"/>
                    </a:lnTo>
                    <a:lnTo>
                      <a:pt x="982" y="2850"/>
                    </a:lnTo>
                    <a:lnTo>
                      <a:pt x="986" y="2850"/>
                    </a:lnTo>
                    <a:lnTo>
                      <a:pt x="986" y="2850"/>
                    </a:lnTo>
                    <a:lnTo>
                      <a:pt x="994" y="2852"/>
                    </a:lnTo>
                    <a:lnTo>
                      <a:pt x="1000" y="2858"/>
                    </a:lnTo>
                    <a:lnTo>
                      <a:pt x="1008" y="2864"/>
                    </a:lnTo>
                    <a:lnTo>
                      <a:pt x="1016" y="2870"/>
                    </a:lnTo>
                    <a:lnTo>
                      <a:pt x="1016" y="2870"/>
                    </a:lnTo>
                    <a:lnTo>
                      <a:pt x="1030" y="2874"/>
                    </a:lnTo>
                    <a:lnTo>
                      <a:pt x="1032" y="2874"/>
                    </a:lnTo>
                    <a:lnTo>
                      <a:pt x="1032" y="2870"/>
                    </a:lnTo>
                    <a:lnTo>
                      <a:pt x="1032" y="2870"/>
                    </a:lnTo>
                    <a:lnTo>
                      <a:pt x="1034" y="2862"/>
                    </a:lnTo>
                    <a:lnTo>
                      <a:pt x="1036" y="2852"/>
                    </a:lnTo>
                    <a:lnTo>
                      <a:pt x="1036" y="2844"/>
                    </a:lnTo>
                    <a:lnTo>
                      <a:pt x="1034" y="2840"/>
                    </a:lnTo>
                    <a:lnTo>
                      <a:pt x="1032" y="2838"/>
                    </a:lnTo>
                    <a:lnTo>
                      <a:pt x="1032" y="2838"/>
                    </a:lnTo>
                    <a:lnTo>
                      <a:pt x="1030" y="2834"/>
                    </a:lnTo>
                    <a:lnTo>
                      <a:pt x="1030" y="2828"/>
                    </a:lnTo>
                    <a:lnTo>
                      <a:pt x="1036" y="2814"/>
                    </a:lnTo>
                    <a:lnTo>
                      <a:pt x="1050" y="2788"/>
                    </a:lnTo>
                    <a:lnTo>
                      <a:pt x="1050" y="2788"/>
                    </a:lnTo>
                    <a:lnTo>
                      <a:pt x="1052" y="2786"/>
                    </a:lnTo>
                    <a:lnTo>
                      <a:pt x="1050" y="2784"/>
                    </a:lnTo>
                    <a:lnTo>
                      <a:pt x="1042" y="2788"/>
                    </a:lnTo>
                    <a:lnTo>
                      <a:pt x="1032" y="2792"/>
                    </a:lnTo>
                    <a:lnTo>
                      <a:pt x="1026" y="2792"/>
                    </a:lnTo>
                    <a:lnTo>
                      <a:pt x="1022" y="2792"/>
                    </a:lnTo>
                    <a:lnTo>
                      <a:pt x="1022" y="2792"/>
                    </a:lnTo>
                    <a:close/>
                    <a:moveTo>
                      <a:pt x="802" y="2526"/>
                    </a:moveTo>
                    <a:lnTo>
                      <a:pt x="802" y="2526"/>
                    </a:lnTo>
                    <a:lnTo>
                      <a:pt x="800" y="2524"/>
                    </a:lnTo>
                    <a:lnTo>
                      <a:pt x="800" y="2526"/>
                    </a:lnTo>
                    <a:lnTo>
                      <a:pt x="798" y="2534"/>
                    </a:lnTo>
                    <a:lnTo>
                      <a:pt x="798" y="2540"/>
                    </a:lnTo>
                    <a:lnTo>
                      <a:pt x="798" y="2542"/>
                    </a:lnTo>
                    <a:lnTo>
                      <a:pt x="794" y="2542"/>
                    </a:lnTo>
                    <a:lnTo>
                      <a:pt x="794" y="2542"/>
                    </a:lnTo>
                    <a:lnTo>
                      <a:pt x="790" y="2542"/>
                    </a:lnTo>
                    <a:lnTo>
                      <a:pt x="788" y="2542"/>
                    </a:lnTo>
                    <a:lnTo>
                      <a:pt x="782" y="2546"/>
                    </a:lnTo>
                    <a:lnTo>
                      <a:pt x="778" y="2548"/>
                    </a:lnTo>
                    <a:lnTo>
                      <a:pt x="774" y="2550"/>
                    </a:lnTo>
                    <a:lnTo>
                      <a:pt x="774" y="2550"/>
                    </a:lnTo>
                    <a:lnTo>
                      <a:pt x="772" y="2550"/>
                    </a:lnTo>
                    <a:lnTo>
                      <a:pt x="772" y="2554"/>
                    </a:lnTo>
                    <a:lnTo>
                      <a:pt x="770" y="2568"/>
                    </a:lnTo>
                    <a:lnTo>
                      <a:pt x="770" y="2580"/>
                    </a:lnTo>
                    <a:lnTo>
                      <a:pt x="770" y="2584"/>
                    </a:lnTo>
                    <a:lnTo>
                      <a:pt x="772" y="2586"/>
                    </a:lnTo>
                    <a:lnTo>
                      <a:pt x="772" y="2586"/>
                    </a:lnTo>
                    <a:lnTo>
                      <a:pt x="776" y="2586"/>
                    </a:lnTo>
                    <a:lnTo>
                      <a:pt x="776" y="2588"/>
                    </a:lnTo>
                    <a:lnTo>
                      <a:pt x="774" y="2592"/>
                    </a:lnTo>
                    <a:lnTo>
                      <a:pt x="774" y="2592"/>
                    </a:lnTo>
                    <a:lnTo>
                      <a:pt x="772" y="2594"/>
                    </a:lnTo>
                    <a:lnTo>
                      <a:pt x="772" y="2596"/>
                    </a:lnTo>
                    <a:lnTo>
                      <a:pt x="778" y="2596"/>
                    </a:lnTo>
                    <a:lnTo>
                      <a:pt x="778" y="2596"/>
                    </a:lnTo>
                    <a:lnTo>
                      <a:pt x="780" y="2598"/>
                    </a:lnTo>
                    <a:lnTo>
                      <a:pt x="780" y="2598"/>
                    </a:lnTo>
                    <a:lnTo>
                      <a:pt x="778" y="2602"/>
                    </a:lnTo>
                    <a:lnTo>
                      <a:pt x="776" y="2604"/>
                    </a:lnTo>
                    <a:lnTo>
                      <a:pt x="776" y="2606"/>
                    </a:lnTo>
                    <a:lnTo>
                      <a:pt x="778" y="2608"/>
                    </a:lnTo>
                    <a:lnTo>
                      <a:pt x="778" y="2608"/>
                    </a:lnTo>
                    <a:lnTo>
                      <a:pt x="786" y="2612"/>
                    </a:lnTo>
                    <a:lnTo>
                      <a:pt x="788" y="2614"/>
                    </a:lnTo>
                    <a:lnTo>
                      <a:pt x="790" y="2616"/>
                    </a:lnTo>
                    <a:lnTo>
                      <a:pt x="792" y="2616"/>
                    </a:lnTo>
                    <a:lnTo>
                      <a:pt x="792" y="2616"/>
                    </a:lnTo>
                    <a:lnTo>
                      <a:pt x="794" y="2616"/>
                    </a:lnTo>
                    <a:lnTo>
                      <a:pt x="794" y="2612"/>
                    </a:lnTo>
                    <a:lnTo>
                      <a:pt x="794" y="2610"/>
                    </a:lnTo>
                    <a:lnTo>
                      <a:pt x="796" y="2606"/>
                    </a:lnTo>
                    <a:lnTo>
                      <a:pt x="796" y="2606"/>
                    </a:lnTo>
                    <a:lnTo>
                      <a:pt x="800" y="2604"/>
                    </a:lnTo>
                    <a:lnTo>
                      <a:pt x="800" y="2600"/>
                    </a:lnTo>
                    <a:lnTo>
                      <a:pt x="802" y="2588"/>
                    </a:lnTo>
                    <a:lnTo>
                      <a:pt x="802" y="2588"/>
                    </a:lnTo>
                    <a:lnTo>
                      <a:pt x="802" y="2582"/>
                    </a:lnTo>
                    <a:lnTo>
                      <a:pt x="804" y="2578"/>
                    </a:lnTo>
                    <a:lnTo>
                      <a:pt x="808" y="2574"/>
                    </a:lnTo>
                    <a:lnTo>
                      <a:pt x="808" y="2562"/>
                    </a:lnTo>
                    <a:lnTo>
                      <a:pt x="808" y="2562"/>
                    </a:lnTo>
                    <a:lnTo>
                      <a:pt x="806" y="2552"/>
                    </a:lnTo>
                    <a:lnTo>
                      <a:pt x="804" y="2546"/>
                    </a:lnTo>
                    <a:lnTo>
                      <a:pt x="804" y="2544"/>
                    </a:lnTo>
                    <a:lnTo>
                      <a:pt x="804" y="2540"/>
                    </a:lnTo>
                    <a:lnTo>
                      <a:pt x="804" y="2540"/>
                    </a:lnTo>
                    <a:lnTo>
                      <a:pt x="804" y="2530"/>
                    </a:lnTo>
                    <a:lnTo>
                      <a:pt x="804" y="2528"/>
                    </a:lnTo>
                    <a:lnTo>
                      <a:pt x="802" y="2526"/>
                    </a:lnTo>
                    <a:lnTo>
                      <a:pt x="802" y="2526"/>
                    </a:lnTo>
                    <a:close/>
                    <a:moveTo>
                      <a:pt x="550" y="2700"/>
                    </a:moveTo>
                    <a:lnTo>
                      <a:pt x="550" y="2700"/>
                    </a:lnTo>
                    <a:lnTo>
                      <a:pt x="548" y="2696"/>
                    </a:lnTo>
                    <a:lnTo>
                      <a:pt x="544" y="2696"/>
                    </a:lnTo>
                    <a:lnTo>
                      <a:pt x="538" y="2698"/>
                    </a:lnTo>
                    <a:lnTo>
                      <a:pt x="532" y="2702"/>
                    </a:lnTo>
                    <a:lnTo>
                      <a:pt x="520" y="2712"/>
                    </a:lnTo>
                    <a:lnTo>
                      <a:pt x="518" y="2716"/>
                    </a:lnTo>
                    <a:lnTo>
                      <a:pt x="520" y="2718"/>
                    </a:lnTo>
                    <a:lnTo>
                      <a:pt x="520" y="2718"/>
                    </a:lnTo>
                    <a:lnTo>
                      <a:pt x="520" y="2720"/>
                    </a:lnTo>
                    <a:lnTo>
                      <a:pt x="526" y="2718"/>
                    </a:lnTo>
                    <a:lnTo>
                      <a:pt x="526" y="2718"/>
                    </a:lnTo>
                    <a:lnTo>
                      <a:pt x="530" y="2718"/>
                    </a:lnTo>
                    <a:lnTo>
                      <a:pt x="532" y="2720"/>
                    </a:lnTo>
                    <a:lnTo>
                      <a:pt x="536" y="2726"/>
                    </a:lnTo>
                    <a:lnTo>
                      <a:pt x="542" y="2730"/>
                    </a:lnTo>
                    <a:lnTo>
                      <a:pt x="542" y="2730"/>
                    </a:lnTo>
                    <a:lnTo>
                      <a:pt x="546" y="2732"/>
                    </a:lnTo>
                    <a:lnTo>
                      <a:pt x="548" y="2732"/>
                    </a:lnTo>
                    <a:lnTo>
                      <a:pt x="554" y="2726"/>
                    </a:lnTo>
                    <a:lnTo>
                      <a:pt x="562" y="2708"/>
                    </a:lnTo>
                    <a:lnTo>
                      <a:pt x="562" y="2708"/>
                    </a:lnTo>
                    <a:lnTo>
                      <a:pt x="564" y="2706"/>
                    </a:lnTo>
                    <a:lnTo>
                      <a:pt x="564" y="2704"/>
                    </a:lnTo>
                    <a:lnTo>
                      <a:pt x="558" y="2704"/>
                    </a:lnTo>
                    <a:lnTo>
                      <a:pt x="552" y="2706"/>
                    </a:lnTo>
                    <a:lnTo>
                      <a:pt x="550" y="2704"/>
                    </a:lnTo>
                    <a:lnTo>
                      <a:pt x="550" y="2700"/>
                    </a:lnTo>
                    <a:lnTo>
                      <a:pt x="550" y="2700"/>
                    </a:lnTo>
                    <a:close/>
                    <a:moveTo>
                      <a:pt x="1254" y="2806"/>
                    </a:moveTo>
                    <a:lnTo>
                      <a:pt x="1254" y="2806"/>
                    </a:lnTo>
                    <a:lnTo>
                      <a:pt x="1252" y="2810"/>
                    </a:lnTo>
                    <a:lnTo>
                      <a:pt x="1254" y="2814"/>
                    </a:lnTo>
                    <a:lnTo>
                      <a:pt x="1260" y="2818"/>
                    </a:lnTo>
                    <a:lnTo>
                      <a:pt x="1264" y="2820"/>
                    </a:lnTo>
                    <a:lnTo>
                      <a:pt x="1264" y="2820"/>
                    </a:lnTo>
                    <a:lnTo>
                      <a:pt x="1266" y="2818"/>
                    </a:lnTo>
                    <a:lnTo>
                      <a:pt x="1266" y="2816"/>
                    </a:lnTo>
                    <a:lnTo>
                      <a:pt x="1264" y="2812"/>
                    </a:lnTo>
                    <a:lnTo>
                      <a:pt x="1258" y="2808"/>
                    </a:lnTo>
                    <a:lnTo>
                      <a:pt x="1254" y="2806"/>
                    </a:lnTo>
                    <a:lnTo>
                      <a:pt x="1254" y="2806"/>
                    </a:lnTo>
                    <a:close/>
                    <a:moveTo>
                      <a:pt x="1410" y="2874"/>
                    </a:moveTo>
                    <a:lnTo>
                      <a:pt x="1410" y="2874"/>
                    </a:lnTo>
                    <a:lnTo>
                      <a:pt x="1412" y="2870"/>
                    </a:lnTo>
                    <a:lnTo>
                      <a:pt x="1410" y="2868"/>
                    </a:lnTo>
                    <a:lnTo>
                      <a:pt x="1408" y="2868"/>
                    </a:lnTo>
                    <a:lnTo>
                      <a:pt x="1402" y="2870"/>
                    </a:lnTo>
                    <a:lnTo>
                      <a:pt x="1402" y="2872"/>
                    </a:lnTo>
                    <a:lnTo>
                      <a:pt x="1402" y="2872"/>
                    </a:lnTo>
                    <a:lnTo>
                      <a:pt x="1400" y="2874"/>
                    </a:lnTo>
                    <a:lnTo>
                      <a:pt x="1402" y="2876"/>
                    </a:lnTo>
                    <a:lnTo>
                      <a:pt x="1406" y="2876"/>
                    </a:lnTo>
                    <a:lnTo>
                      <a:pt x="1410" y="2874"/>
                    </a:lnTo>
                    <a:lnTo>
                      <a:pt x="1410" y="2874"/>
                    </a:lnTo>
                    <a:close/>
                    <a:moveTo>
                      <a:pt x="1214" y="2706"/>
                    </a:moveTo>
                    <a:lnTo>
                      <a:pt x="1214" y="2706"/>
                    </a:lnTo>
                    <a:lnTo>
                      <a:pt x="1214" y="2712"/>
                    </a:lnTo>
                    <a:lnTo>
                      <a:pt x="1218" y="2718"/>
                    </a:lnTo>
                    <a:lnTo>
                      <a:pt x="1224" y="2722"/>
                    </a:lnTo>
                    <a:lnTo>
                      <a:pt x="1230" y="2726"/>
                    </a:lnTo>
                    <a:lnTo>
                      <a:pt x="1230" y="2726"/>
                    </a:lnTo>
                    <a:lnTo>
                      <a:pt x="1232" y="2726"/>
                    </a:lnTo>
                    <a:lnTo>
                      <a:pt x="1230" y="2724"/>
                    </a:lnTo>
                    <a:lnTo>
                      <a:pt x="1228" y="2720"/>
                    </a:lnTo>
                    <a:lnTo>
                      <a:pt x="1224" y="2714"/>
                    </a:lnTo>
                    <a:lnTo>
                      <a:pt x="1222" y="2708"/>
                    </a:lnTo>
                    <a:lnTo>
                      <a:pt x="1222" y="2708"/>
                    </a:lnTo>
                    <a:lnTo>
                      <a:pt x="1222" y="2704"/>
                    </a:lnTo>
                    <a:lnTo>
                      <a:pt x="1218" y="2702"/>
                    </a:lnTo>
                    <a:lnTo>
                      <a:pt x="1216" y="2702"/>
                    </a:lnTo>
                    <a:lnTo>
                      <a:pt x="1214" y="2706"/>
                    </a:lnTo>
                    <a:lnTo>
                      <a:pt x="1214" y="2706"/>
                    </a:lnTo>
                    <a:close/>
                    <a:moveTo>
                      <a:pt x="1468" y="2954"/>
                    </a:moveTo>
                    <a:lnTo>
                      <a:pt x="1468" y="2954"/>
                    </a:lnTo>
                    <a:lnTo>
                      <a:pt x="1464" y="2956"/>
                    </a:lnTo>
                    <a:lnTo>
                      <a:pt x="1462" y="2956"/>
                    </a:lnTo>
                    <a:lnTo>
                      <a:pt x="1460" y="2952"/>
                    </a:lnTo>
                    <a:lnTo>
                      <a:pt x="1460" y="2948"/>
                    </a:lnTo>
                    <a:lnTo>
                      <a:pt x="1456" y="2946"/>
                    </a:lnTo>
                    <a:lnTo>
                      <a:pt x="1452" y="2946"/>
                    </a:lnTo>
                    <a:lnTo>
                      <a:pt x="1452" y="2946"/>
                    </a:lnTo>
                    <a:lnTo>
                      <a:pt x="1446" y="2948"/>
                    </a:lnTo>
                    <a:lnTo>
                      <a:pt x="1442" y="2946"/>
                    </a:lnTo>
                    <a:lnTo>
                      <a:pt x="1434" y="2944"/>
                    </a:lnTo>
                    <a:lnTo>
                      <a:pt x="1424" y="2942"/>
                    </a:lnTo>
                    <a:lnTo>
                      <a:pt x="1418" y="2942"/>
                    </a:lnTo>
                    <a:lnTo>
                      <a:pt x="1410" y="2944"/>
                    </a:lnTo>
                    <a:lnTo>
                      <a:pt x="1410" y="2944"/>
                    </a:lnTo>
                    <a:lnTo>
                      <a:pt x="1406" y="2944"/>
                    </a:lnTo>
                    <a:lnTo>
                      <a:pt x="1402" y="2942"/>
                    </a:lnTo>
                    <a:lnTo>
                      <a:pt x="1398" y="2938"/>
                    </a:lnTo>
                    <a:lnTo>
                      <a:pt x="1396" y="2934"/>
                    </a:lnTo>
                    <a:lnTo>
                      <a:pt x="1394" y="2932"/>
                    </a:lnTo>
                    <a:lnTo>
                      <a:pt x="1392" y="2934"/>
                    </a:lnTo>
                    <a:lnTo>
                      <a:pt x="1392" y="2934"/>
                    </a:lnTo>
                    <a:lnTo>
                      <a:pt x="1390" y="2934"/>
                    </a:lnTo>
                    <a:lnTo>
                      <a:pt x="1386" y="2934"/>
                    </a:lnTo>
                    <a:lnTo>
                      <a:pt x="1382" y="2932"/>
                    </a:lnTo>
                    <a:lnTo>
                      <a:pt x="1380" y="2928"/>
                    </a:lnTo>
                    <a:lnTo>
                      <a:pt x="1378" y="2928"/>
                    </a:lnTo>
                    <a:lnTo>
                      <a:pt x="1378" y="2930"/>
                    </a:lnTo>
                    <a:lnTo>
                      <a:pt x="1378" y="2930"/>
                    </a:lnTo>
                    <a:lnTo>
                      <a:pt x="1376" y="2934"/>
                    </a:lnTo>
                    <a:lnTo>
                      <a:pt x="1374" y="2936"/>
                    </a:lnTo>
                    <a:lnTo>
                      <a:pt x="1372" y="2938"/>
                    </a:lnTo>
                    <a:lnTo>
                      <a:pt x="1372" y="2946"/>
                    </a:lnTo>
                    <a:lnTo>
                      <a:pt x="1372" y="2946"/>
                    </a:lnTo>
                    <a:lnTo>
                      <a:pt x="1372" y="2950"/>
                    </a:lnTo>
                    <a:lnTo>
                      <a:pt x="1376" y="2952"/>
                    </a:lnTo>
                    <a:lnTo>
                      <a:pt x="1388" y="2952"/>
                    </a:lnTo>
                    <a:lnTo>
                      <a:pt x="1402" y="2954"/>
                    </a:lnTo>
                    <a:lnTo>
                      <a:pt x="1410" y="2958"/>
                    </a:lnTo>
                    <a:lnTo>
                      <a:pt x="1418" y="2962"/>
                    </a:lnTo>
                    <a:lnTo>
                      <a:pt x="1418" y="2962"/>
                    </a:lnTo>
                    <a:lnTo>
                      <a:pt x="1422" y="2964"/>
                    </a:lnTo>
                    <a:lnTo>
                      <a:pt x="1428" y="2966"/>
                    </a:lnTo>
                    <a:lnTo>
                      <a:pt x="1440" y="2966"/>
                    </a:lnTo>
                    <a:lnTo>
                      <a:pt x="1452" y="2964"/>
                    </a:lnTo>
                    <a:lnTo>
                      <a:pt x="1468" y="2964"/>
                    </a:lnTo>
                    <a:lnTo>
                      <a:pt x="1468" y="2964"/>
                    </a:lnTo>
                    <a:lnTo>
                      <a:pt x="1476" y="2962"/>
                    </a:lnTo>
                    <a:lnTo>
                      <a:pt x="1480" y="2960"/>
                    </a:lnTo>
                    <a:lnTo>
                      <a:pt x="1482" y="2958"/>
                    </a:lnTo>
                    <a:lnTo>
                      <a:pt x="1484" y="2954"/>
                    </a:lnTo>
                    <a:lnTo>
                      <a:pt x="1482" y="2952"/>
                    </a:lnTo>
                    <a:lnTo>
                      <a:pt x="1478" y="2950"/>
                    </a:lnTo>
                    <a:lnTo>
                      <a:pt x="1474" y="2950"/>
                    </a:lnTo>
                    <a:lnTo>
                      <a:pt x="1468" y="2954"/>
                    </a:lnTo>
                    <a:lnTo>
                      <a:pt x="1468" y="2954"/>
                    </a:lnTo>
                    <a:close/>
                    <a:moveTo>
                      <a:pt x="1518" y="2942"/>
                    </a:moveTo>
                    <a:lnTo>
                      <a:pt x="1518" y="2942"/>
                    </a:lnTo>
                    <a:lnTo>
                      <a:pt x="1520" y="2940"/>
                    </a:lnTo>
                    <a:lnTo>
                      <a:pt x="1520" y="2938"/>
                    </a:lnTo>
                    <a:lnTo>
                      <a:pt x="1518" y="2926"/>
                    </a:lnTo>
                    <a:lnTo>
                      <a:pt x="1518" y="2926"/>
                    </a:lnTo>
                    <a:lnTo>
                      <a:pt x="1516" y="2924"/>
                    </a:lnTo>
                    <a:lnTo>
                      <a:pt x="1516" y="2926"/>
                    </a:lnTo>
                    <a:lnTo>
                      <a:pt x="1514" y="2932"/>
                    </a:lnTo>
                    <a:lnTo>
                      <a:pt x="1514" y="2938"/>
                    </a:lnTo>
                    <a:lnTo>
                      <a:pt x="1516" y="2940"/>
                    </a:lnTo>
                    <a:lnTo>
                      <a:pt x="1518" y="2942"/>
                    </a:lnTo>
                    <a:lnTo>
                      <a:pt x="1518" y="2942"/>
                    </a:lnTo>
                    <a:close/>
                    <a:moveTo>
                      <a:pt x="1252" y="2768"/>
                    </a:moveTo>
                    <a:lnTo>
                      <a:pt x="1252" y="2768"/>
                    </a:lnTo>
                    <a:lnTo>
                      <a:pt x="1254" y="2768"/>
                    </a:lnTo>
                    <a:lnTo>
                      <a:pt x="1256" y="2766"/>
                    </a:lnTo>
                    <a:lnTo>
                      <a:pt x="1256" y="2764"/>
                    </a:lnTo>
                    <a:lnTo>
                      <a:pt x="1254" y="2760"/>
                    </a:lnTo>
                    <a:lnTo>
                      <a:pt x="1254" y="2760"/>
                    </a:lnTo>
                    <a:lnTo>
                      <a:pt x="1254" y="2758"/>
                    </a:lnTo>
                    <a:lnTo>
                      <a:pt x="1252" y="2758"/>
                    </a:lnTo>
                    <a:lnTo>
                      <a:pt x="1250" y="2762"/>
                    </a:lnTo>
                    <a:lnTo>
                      <a:pt x="1248" y="2766"/>
                    </a:lnTo>
                    <a:lnTo>
                      <a:pt x="1250" y="2768"/>
                    </a:lnTo>
                    <a:lnTo>
                      <a:pt x="1252" y="2768"/>
                    </a:lnTo>
                    <a:lnTo>
                      <a:pt x="1252" y="2768"/>
                    </a:lnTo>
                    <a:close/>
                    <a:moveTo>
                      <a:pt x="1256" y="2790"/>
                    </a:moveTo>
                    <a:lnTo>
                      <a:pt x="1256" y="2790"/>
                    </a:lnTo>
                    <a:lnTo>
                      <a:pt x="1254" y="2786"/>
                    </a:lnTo>
                    <a:lnTo>
                      <a:pt x="1252" y="2782"/>
                    </a:lnTo>
                    <a:lnTo>
                      <a:pt x="1252" y="2780"/>
                    </a:lnTo>
                    <a:lnTo>
                      <a:pt x="1250" y="2780"/>
                    </a:lnTo>
                    <a:lnTo>
                      <a:pt x="1250" y="2780"/>
                    </a:lnTo>
                    <a:lnTo>
                      <a:pt x="1248" y="2782"/>
                    </a:lnTo>
                    <a:lnTo>
                      <a:pt x="1244" y="2782"/>
                    </a:lnTo>
                    <a:lnTo>
                      <a:pt x="1242" y="2784"/>
                    </a:lnTo>
                    <a:lnTo>
                      <a:pt x="1242" y="2790"/>
                    </a:lnTo>
                    <a:lnTo>
                      <a:pt x="1242" y="2790"/>
                    </a:lnTo>
                    <a:lnTo>
                      <a:pt x="1244" y="2794"/>
                    </a:lnTo>
                    <a:lnTo>
                      <a:pt x="1246" y="2794"/>
                    </a:lnTo>
                    <a:lnTo>
                      <a:pt x="1250" y="2794"/>
                    </a:lnTo>
                    <a:lnTo>
                      <a:pt x="1256" y="2796"/>
                    </a:lnTo>
                    <a:lnTo>
                      <a:pt x="1256" y="2796"/>
                    </a:lnTo>
                    <a:lnTo>
                      <a:pt x="1260" y="2798"/>
                    </a:lnTo>
                    <a:lnTo>
                      <a:pt x="1260" y="2798"/>
                    </a:lnTo>
                    <a:lnTo>
                      <a:pt x="1260" y="2794"/>
                    </a:lnTo>
                    <a:lnTo>
                      <a:pt x="1256" y="2790"/>
                    </a:lnTo>
                    <a:lnTo>
                      <a:pt x="1256" y="2790"/>
                    </a:lnTo>
                    <a:close/>
                    <a:moveTo>
                      <a:pt x="1348" y="2902"/>
                    </a:moveTo>
                    <a:lnTo>
                      <a:pt x="1348" y="2902"/>
                    </a:lnTo>
                    <a:lnTo>
                      <a:pt x="1352" y="2904"/>
                    </a:lnTo>
                    <a:lnTo>
                      <a:pt x="1352" y="2902"/>
                    </a:lnTo>
                    <a:lnTo>
                      <a:pt x="1352" y="2898"/>
                    </a:lnTo>
                    <a:lnTo>
                      <a:pt x="1350" y="2892"/>
                    </a:lnTo>
                    <a:lnTo>
                      <a:pt x="1350" y="2892"/>
                    </a:lnTo>
                    <a:lnTo>
                      <a:pt x="1346" y="2890"/>
                    </a:lnTo>
                    <a:lnTo>
                      <a:pt x="1344" y="2892"/>
                    </a:lnTo>
                    <a:lnTo>
                      <a:pt x="1346" y="2896"/>
                    </a:lnTo>
                    <a:lnTo>
                      <a:pt x="1348" y="2902"/>
                    </a:lnTo>
                    <a:lnTo>
                      <a:pt x="1348" y="2902"/>
                    </a:lnTo>
                    <a:close/>
                    <a:moveTo>
                      <a:pt x="1448" y="2860"/>
                    </a:moveTo>
                    <a:lnTo>
                      <a:pt x="1448" y="2860"/>
                    </a:lnTo>
                    <a:lnTo>
                      <a:pt x="1450" y="2860"/>
                    </a:lnTo>
                    <a:lnTo>
                      <a:pt x="1452" y="2860"/>
                    </a:lnTo>
                    <a:lnTo>
                      <a:pt x="1454" y="2854"/>
                    </a:lnTo>
                    <a:lnTo>
                      <a:pt x="1452" y="2848"/>
                    </a:lnTo>
                    <a:lnTo>
                      <a:pt x="1452" y="2846"/>
                    </a:lnTo>
                    <a:lnTo>
                      <a:pt x="1448" y="2846"/>
                    </a:lnTo>
                    <a:lnTo>
                      <a:pt x="1448" y="2846"/>
                    </a:lnTo>
                    <a:lnTo>
                      <a:pt x="1446" y="2850"/>
                    </a:lnTo>
                    <a:lnTo>
                      <a:pt x="1444" y="2852"/>
                    </a:lnTo>
                    <a:lnTo>
                      <a:pt x="1446" y="2856"/>
                    </a:lnTo>
                    <a:lnTo>
                      <a:pt x="1448" y="2860"/>
                    </a:lnTo>
                    <a:lnTo>
                      <a:pt x="1448" y="2860"/>
                    </a:lnTo>
                    <a:close/>
                    <a:moveTo>
                      <a:pt x="1440" y="2848"/>
                    </a:moveTo>
                    <a:lnTo>
                      <a:pt x="1440" y="2848"/>
                    </a:lnTo>
                    <a:lnTo>
                      <a:pt x="1438" y="2848"/>
                    </a:lnTo>
                    <a:lnTo>
                      <a:pt x="1434" y="2850"/>
                    </a:lnTo>
                    <a:lnTo>
                      <a:pt x="1434" y="2854"/>
                    </a:lnTo>
                    <a:lnTo>
                      <a:pt x="1436" y="2856"/>
                    </a:lnTo>
                    <a:lnTo>
                      <a:pt x="1436" y="2856"/>
                    </a:lnTo>
                    <a:lnTo>
                      <a:pt x="1438" y="2856"/>
                    </a:lnTo>
                    <a:lnTo>
                      <a:pt x="1440" y="2854"/>
                    </a:lnTo>
                    <a:lnTo>
                      <a:pt x="1440" y="2850"/>
                    </a:lnTo>
                    <a:lnTo>
                      <a:pt x="1440" y="2848"/>
                    </a:lnTo>
                    <a:lnTo>
                      <a:pt x="1440" y="2848"/>
                    </a:lnTo>
                    <a:close/>
                    <a:moveTo>
                      <a:pt x="2822" y="3608"/>
                    </a:moveTo>
                    <a:lnTo>
                      <a:pt x="2822" y="3608"/>
                    </a:lnTo>
                    <a:lnTo>
                      <a:pt x="2818" y="3606"/>
                    </a:lnTo>
                    <a:lnTo>
                      <a:pt x="2814" y="3598"/>
                    </a:lnTo>
                    <a:lnTo>
                      <a:pt x="2802" y="3578"/>
                    </a:lnTo>
                    <a:lnTo>
                      <a:pt x="2798" y="3570"/>
                    </a:lnTo>
                    <a:lnTo>
                      <a:pt x="2792" y="3562"/>
                    </a:lnTo>
                    <a:lnTo>
                      <a:pt x="2786" y="3558"/>
                    </a:lnTo>
                    <a:lnTo>
                      <a:pt x="2782" y="3556"/>
                    </a:lnTo>
                    <a:lnTo>
                      <a:pt x="2780" y="3558"/>
                    </a:lnTo>
                    <a:lnTo>
                      <a:pt x="2780" y="3558"/>
                    </a:lnTo>
                    <a:lnTo>
                      <a:pt x="2776" y="3558"/>
                    </a:lnTo>
                    <a:lnTo>
                      <a:pt x="2774" y="3558"/>
                    </a:lnTo>
                    <a:lnTo>
                      <a:pt x="2768" y="3554"/>
                    </a:lnTo>
                    <a:lnTo>
                      <a:pt x="2762" y="3550"/>
                    </a:lnTo>
                    <a:lnTo>
                      <a:pt x="2756" y="3548"/>
                    </a:lnTo>
                    <a:lnTo>
                      <a:pt x="2746" y="3546"/>
                    </a:lnTo>
                    <a:lnTo>
                      <a:pt x="2746" y="3546"/>
                    </a:lnTo>
                    <a:lnTo>
                      <a:pt x="2738" y="3544"/>
                    </a:lnTo>
                    <a:lnTo>
                      <a:pt x="2728" y="3540"/>
                    </a:lnTo>
                    <a:lnTo>
                      <a:pt x="2720" y="3532"/>
                    </a:lnTo>
                    <a:lnTo>
                      <a:pt x="2712" y="3524"/>
                    </a:lnTo>
                    <a:lnTo>
                      <a:pt x="2706" y="3516"/>
                    </a:lnTo>
                    <a:lnTo>
                      <a:pt x="2700" y="3506"/>
                    </a:lnTo>
                    <a:lnTo>
                      <a:pt x="2696" y="3496"/>
                    </a:lnTo>
                    <a:lnTo>
                      <a:pt x="2694" y="3488"/>
                    </a:lnTo>
                    <a:lnTo>
                      <a:pt x="2694" y="3488"/>
                    </a:lnTo>
                    <a:lnTo>
                      <a:pt x="2694" y="3464"/>
                    </a:lnTo>
                    <a:lnTo>
                      <a:pt x="2694" y="3458"/>
                    </a:lnTo>
                    <a:lnTo>
                      <a:pt x="2692" y="3454"/>
                    </a:lnTo>
                    <a:lnTo>
                      <a:pt x="2692" y="3454"/>
                    </a:lnTo>
                    <a:lnTo>
                      <a:pt x="2692" y="3448"/>
                    </a:lnTo>
                    <a:lnTo>
                      <a:pt x="2694" y="3442"/>
                    </a:lnTo>
                    <a:lnTo>
                      <a:pt x="2696" y="3438"/>
                    </a:lnTo>
                    <a:lnTo>
                      <a:pt x="2696" y="3434"/>
                    </a:lnTo>
                    <a:lnTo>
                      <a:pt x="2696" y="3434"/>
                    </a:lnTo>
                    <a:lnTo>
                      <a:pt x="2696" y="3430"/>
                    </a:lnTo>
                    <a:lnTo>
                      <a:pt x="2698" y="3422"/>
                    </a:lnTo>
                    <a:lnTo>
                      <a:pt x="2700" y="3418"/>
                    </a:lnTo>
                    <a:lnTo>
                      <a:pt x="2698" y="3416"/>
                    </a:lnTo>
                    <a:lnTo>
                      <a:pt x="2696" y="3414"/>
                    </a:lnTo>
                    <a:lnTo>
                      <a:pt x="2696" y="3414"/>
                    </a:lnTo>
                    <a:lnTo>
                      <a:pt x="2694" y="3416"/>
                    </a:lnTo>
                    <a:lnTo>
                      <a:pt x="2692" y="3416"/>
                    </a:lnTo>
                    <a:lnTo>
                      <a:pt x="2692" y="3420"/>
                    </a:lnTo>
                    <a:lnTo>
                      <a:pt x="2694" y="3424"/>
                    </a:lnTo>
                    <a:lnTo>
                      <a:pt x="2692" y="3424"/>
                    </a:lnTo>
                    <a:lnTo>
                      <a:pt x="2692" y="3424"/>
                    </a:lnTo>
                    <a:lnTo>
                      <a:pt x="2692" y="3424"/>
                    </a:lnTo>
                    <a:lnTo>
                      <a:pt x="2688" y="3422"/>
                    </a:lnTo>
                    <a:lnTo>
                      <a:pt x="2686" y="3422"/>
                    </a:lnTo>
                    <a:lnTo>
                      <a:pt x="2684" y="3432"/>
                    </a:lnTo>
                    <a:lnTo>
                      <a:pt x="2684" y="3432"/>
                    </a:lnTo>
                    <a:lnTo>
                      <a:pt x="2680" y="3444"/>
                    </a:lnTo>
                    <a:lnTo>
                      <a:pt x="2678" y="3444"/>
                    </a:lnTo>
                    <a:lnTo>
                      <a:pt x="2678" y="3444"/>
                    </a:lnTo>
                    <a:lnTo>
                      <a:pt x="2676" y="3444"/>
                    </a:lnTo>
                    <a:lnTo>
                      <a:pt x="2674" y="3444"/>
                    </a:lnTo>
                    <a:lnTo>
                      <a:pt x="2670" y="3452"/>
                    </a:lnTo>
                    <a:lnTo>
                      <a:pt x="2670" y="3452"/>
                    </a:lnTo>
                    <a:lnTo>
                      <a:pt x="2666" y="3458"/>
                    </a:lnTo>
                    <a:lnTo>
                      <a:pt x="2660" y="3462"/>
                    </a:lnTo>
                    <a:lnTo>
                      <a:pt x="2654" y="3468"/>
                    </a:lnTo>
                    <a:lnTo>
                      <a:pt x="2646" y="3476"/>
                    </a:lnTo>
                    <a:lnTo>
                      <a:pt x="2646" y="3476"/>
                    </a:lnTo>
                    <a:lnTo>
                      <a:pt x="2638" y="3488"/>
                    </a:lnTo>
                    <a:lnTo>
                      <a:pt x="2628" y="3496"/>
                    </a:lnTo>
                    <a:lnTo>
                      <a:pt x="2614" y="3508"/>
                    </a:lnTo>
                    <a:lnTo>
                      <a:pt x="2614" y="3508"/>
                    </a:lnTo>
                    <a:lnTo>
                      <a:pt x="2616" y="3510"/>
                    </a:lnTo>
                    <a:lnTo>
                      <a:pt x="2618" y="3512"/>
                    </a:lnTo>
                    <a:lnTo>
                      <a:pt x="2618" y="3516"/>
                    </a:lnTo>
                    <a:lnTo>
                      <a:pt x="2614" y="3524"/>
                    </a:lnTo>
                    <a:lnTo>
                      <a:pt x="2614" y="3524"/>
                    </a:lnTo>
                    <a:lnTo>
                      <a:pt x="2606" y="3530"/>
                    </a:lnTo>
                    <a:lnTo>
                      <a:pt x="2598" y="3532"/>
                    </a:lnTo>
                    <a:lnTo>
                      <a:pt x="2588" y="3534"/>
                    </a:lnTo>
                    <a:lnTo>
                      <a:pt x="2578" y="3532"/>
                    </a:lnTo>
                    <a:lnTo>
                      <a:pt x="2558" y="3528"/>
                    </a:lnTo>
                    <a:lnTo>
                      <a:pt x="2546" y="3528"/>
                    </a:lnTo>
                    <a:lnTo>
                      <a:pt x="2538" y="3532"/>
                    </a:lnTo>
                    <a:lnTo>
                      <a:pt x="2538" y="3532"/>
                    </a:lnTo>
                    <a:lnTo>
                      <a:pt x="2522" y="3538"/>
                    </a:lnTo>
                    <a:lnTo>
                      <a:pt x="2514" y="3538"/>
                    </a:lnTo>
                    <a:lnTo>
                      <a:pt x="2512" y="3538"/>
                    </a:lnTo>
                    <a:lnTo>
                      <a:pt x="2510" y="3536"/>
                    </a:lnTo>
                    <a:lnTo>
                      <a:pt x="2510" y="3528"/>
                    </a:lnTo>
                    <a:lnTo>
                      <a:pt x="2510" y="3528"/>
                    </a:lnTo>
                    <a:lnTo>
                      <a:pt x="2510" y="3522"/>
                    </a:lnTo>
                    <a:lnTo>
                      <a:pt x="2506" y="3522"/>
                    </a:lnTo>
                    <a:lnTo>
                      <a:pt x="2502" y="3522"/>
                    </a:lnTo>
                    <a:lnTo>
                      <a:pt x="2496" y="3522"/>
                    </a:lnTo>
                    <a:lnTo>
                      <a:pt x="2496" y="3522"/>
                    </a:lnTo>
                    <a:lnTo>
                      <a:pt x="2492" y="3520"/>
                    </a:lnTo>
                    <a:lnTo>
                      <a:pt x="2490" y="3518"/>
                    </a:lnTo>
                    <a:lnTo>
                      <a:pt x="2492" y="3514"/>
                    </a:lnTo>
                    <a:lnTo>
                      <a:pt x="2496" y="3510"/>
                    </a:lnTo>
                    <a:lnTo>
                      <a:pt x="2496" y="3506"/>
                    </a:lnTo>
                    <a:lnTo>
                      <a:pt x="2496" y="3506"/>
                    </a:lnTo>
                    <a:lnTo>
                      <a:pt x="2496" y="3506"/>
                    </a:lnTo>
                    <a:lnTo>
                      <a:pt x="2492" y="3508"/>
                    </a:lnTo>
                    <a:lnTo>
                      <a:pt x="2490" y="3508"/>
                    </a:lnTo>
                    <a:lnTo>
                      <a:pt x="2488" y="3508"/>
                    </a:lnTo>
                    <a:lnTo>
                      <a:pt x="2488" y="3508"/>
                    </a:lnTo>
                    <a:lnTo>
                      <a:pt x="2486" y="3506"/>
                    </a:lnTo>
                    <a:lnTo>
                      <a:pt x="2488" y="3504"/>
                    </a:lnTo>
                    <a:lnTo>
                      <a:pt x="2490" y="3504"/>
                    </a:lnTo>
                    <a:lnTo>
                      <a:pt x="2490" y="3504"/>
                    </a:lnTo>
                    <a:lnTo>
                      <a:pt x="2494" y="3504"/>
                    </a:lnTo>
                    <a:lnTo>
                      <a:pt x="2496" y="3502"/>
                    </a:lnTo>
                    <a:lnTo>
                      <a:pt x="2498" y="3496"/>
                    </a:lnTo>
                    <a:lnTo>
                      <a:pt x="2502" y="3480"/>
                    </a:lnTo>
                    <a:lnTo>
                      <a:pt x="2502" y="3480"/>
                    </a:lnTo>
                    <a:lnTo>
                      <a:pt x="2502" y="3474"/>
                    </a:lnTo>
                    <a:lnTo>
                      <a:pt x="2500" y="3468"/>
                    </a:lnTo>
                    <a:lnTo>
                      <a:pt x="2496" y="3462"/>
                    </a:lnTo>
                    <a:lnTo>
                      <a:pt x="2496" y="3458"/>
                    </a:lnTo>
                    <a:lnTo>
                      <a:pt x="2498" y="3454"/>
                    </a:lnTo>
                    <a:lnTo>
                      <a:pt x="2498" y="3454"/>
                    </a:lnTo>
                    <a:lnTo>
                      <a:pt x="2500" y="3448"/>
                    </a:lnTo>
                    <a:lnTo>
                      <a:pt x="2498" y="3440"/>
                    </a:lnTo>
                    <a:lnTo>
                      <a:pt x="2494" y="3434"/>
                    </a:lnTo>
                    <a:lnTo>
                      <a:pt x="2490" y="3428"/>
                    </a:lnTo>
                    <a:lnTo>
                      <a:pt x="2490" y="3428"/>
                    </a:lnTo>
                    <a:lnTo>
                      <a:pt x="2486" y="3426"/>
                    </a:lnTo>
                    <a:lnTo>
                      <a:pt x="2484" y="3426"/>
                    </a:lnTo>
                    <a:lnTo>
                      <a:pt x="2480" y="3430"/>
                    </a:lnTo>
                    <a:lnTo>
                      <a:pt x="2476" y="3444"/>
                    </a:lnTo>
                    <a:lnTo>
                      <a:pt x="2476" y="3444"/>
                    </a:lnTo>
                    <a:lnTo>
                      <a:pt x="2470" y="3456"/>
                    </a:lnTo>
                    <a:lnTo>
                      <a:pt x="2470" y="3466"/>
                    </a:lnTo>
                    <a:lnTo>
                      <a:pt x="2468" y="3498"/>
                    </a:lnTo>
                    <a:lnTo>
                      <a:pt x="2468" y="3498"/>
                    </a:lnTo>
                    <a:lnTo>
                      <a:pt x="2464" y="3486"/>
                    </a:lnTo>
                    <a:lnTo>
                      <a:pt x="2460" y="3478"/>
                    </a:lnTo>
                    <a:lnTo>
                      <a:pt x="2458" y="3468"/>
                    </a:lnTo>
                    <a:lnTo>
                      <a:pt x="2452" y="3462"/>
                    </a:lnTo>
                    <a:lnTo>
                      <a:pt x="2452" y="3462"/>
                    </a:lnTo>
                    <a:lnTo>
                      <a:pt x="2448" y="3456"/>
                    </a:lnTo>
                    <a:lnTo>
                      <a:pt x="2448" y="3454"/>
                    </a:lnTo>
                    <a:lnTo>
                      <a:pt x="2448" y="3450"/>
                    </a:lnTo>
                    <a:lnTo>
                      <a:pt x="2444" y="3444"/>
                    </a:lnTo>
                    <a:lnTo>
                      <a:pt x="2444" y="3444"/>
                    </a:lnTo>
                    <a:lnTo>
                      <a:pt x="2442" y="3438"/>
                    </a:lnTo>
                    <a:lnTo>
                      <a:pt x="2442" y="3434"/>
                    </a:lnTo>
                    <a:lnTo>
                      <a:pt x="2442" y="3428"/>
                    </a:lnTo>
                    <a:lnTo>
                      <a:pt x="2444" y="3420"/>
                    </a:lnTo>
                    <a:lnTo>
                      <a:pt x="2442" y="3414"/>
                    </a:lnTo>
                    <a:lnTo>
                      <a:pt x="2440" y="3408"/>
                    </a:lnTo>
                    <a:lnTo>
                      <a:pt x="2440" y="3408"/>
                    </a:lnTo>
                    <a:lnTo>
                      <a:pt x="2438" y="3402"/>
                    </a:lnTo>
                    <a:lnTo>
                      <a:pt x="2438" y="3400"/>
                    </a:lnTo>
                    <a:lnTo>
                      <a:pt x="2442" y="3400"/>
                    </a:lnTo>
                    <a:lnTo>
                      <a:pt x="2442" y="3400"/>
                    </a:lnTo>
                    <a:lnTo>
                      <a:pt x="2444" y="3404"/>
                    </a:lnTo>
                    <a:lnTo>
                      <a:pt x="2444" y="3404"/>
                    </a:lnTo>
                    <a:lnTo>
                      <a:pt x="2444" y="3404"/>
                    </a:lnTo>
                    <a:lnTo>
                      <a:pt x="2448" y="3404"/>
                    </a:lnTo>
                    <a:lnTo>
                      <a:pt x="2448" y="3406"/>
                    </a:lnTo>
                    <a:lnTo>
                      <a:pt x="2446" y="3408"/>
                    </a:lnTo>
                    <a:lnTo>
                      <a:pt x="2446" y="3408"/>
                    </a:lnTo>
                    <a:lnTo>
                      <a:pt x="2444" y="3410"/>
                    </a:lnTo>
                    <a:lnTo>
                      <a:pt x="2448" y="3410"/>
                    </a:lnTo>
                    <a:lnTo>
                      <a:pt x="2448" y="3410"/>
                    </a:lnTo>
                    <a:lnTo>
                      <a:pt x="2450" y="3412"/>
                    </a:lnTo>
                    <a:lnTo>
                      <a:pt x="2448" y="3414"/>
                    </a:lnTo>
                    <a:lnTo>
                      <a:pt x="2448" y="3414"/>
                    </a:lnTo>
                    <a:lnTo>
                      <a:pt x="2450" y="3416"/>
                    </a:lnTo>
                    <a:lnTo>
                      <a:pt x="2450" y="3416"/>
                    </a:lnTo>
                    <a:lnTo>
                      <a:pt x="2454" y="3420"/>
                    </a:lnTo>
                    <a:lnTo>
                      <a:pt x="2456" y="3422"/>
                    </a:lnTo>
                    <a:lnTo>
                      <a:pt x="2458" y="3422"/>
                    </a:lnTo>
                    <a:lnTo>
                      <a:pt x="2458" y="3422"/>
                    </a:lnTo>
                    <a:lnTo>
                      <a:pt x="2458" y="3422"/>
                    </a:lnTo>
                    <a:lnTo>
                      <a:pt x="2460" y="3422"/>
                    </a:lnTo>
                    <a:lnTo>
                      <a:pt x="2460" y="3420"/>
                    </a:lnTo>
                    <a:lnTo>
                      <a:pt x="2460" y="3418"/>
                    </a:lnTo>
                    <a:lnTo>
                      <a:pt x="2462" y="3416"/>
                    </a:lnTo>
                    <a:lnTo>
                      <a:pt x="2462" y="3416"/>
                    </a:lnTo>
                    <a:lnTo>
                      <a:pt x="2464" y="3412"/>
                    </a:lnTo>
                    <a:lnTo>
                      <a:pt x="2466" y="3406"/>
                    </a:lnTo>
                    <a:lnTo>
                      <a:pt x="2466" y="3406"/>
                    </a:lnTo>
                    <a:lnTo>
                      <a:pt x="2466" y="3402"/>
                    </a:lnTo>
                    <a:lnTo>
                      <a:pt x="2468" y="3400"/>
                    </a:lnTo>
                    <a:lnTo>
                      <a:pt x="2468" y="3400"/>
                    </a:lnTo>
                    <a:lnTo>
                      <a:pt x="2468" y="3402"/>
                    </a:lnTo>
                    <a:lnTo>
                      <a:pt x="2468" y="3402"/>
                    </a:lnTo>
                    <a:lnTo>
                      <a:pt x="2474" y="3404"/>
                    </a:lnTo>
                    <a:lnTo>
                      <a:pt x="2476" y="3404"/>
                    </a:lnTo>
                    <a:lnTo>
                      <a:pt x="2476" y="3404"/>
                    </a:lnTo>
                    <a:lnTo>
                      <a:pt x="2476" y="3402"/>
                    </a:lnTo>
                    <a:lnTo>
                      <a:pt x="2478" y="3402"/>
                    </a:lnTo>
                    <a:lnTo>
                      <a:pt x="2478" y="3402"/>
                    </a:lnTo>
                    <a:lnTo>
                      <a:pt x="2480" y="3400"/>
                    </a:lnTo>
                    <a:lnTo>
                      <a:pt x="2480" y="3398"/>
                    </a:lnTo>
                    <a:lnTo>
                      <a:pt x="2480" y="3398"/>
                    </a:lnTo>
                    <a:lnTo>
                      <a:pt x="2482" y="3396"/>
                    </a:lnTo>
                    <a:lnTo>
                      <a:pt x="2482" y="3394"/>
                    </a:lnTo>
                    <a:lnTo>
                      <a:pt x="2482" y="3392"/>
                    </a:lnTo>
                    <a:lnTo>
                      <a:pt x="2482" y="3392"/>
                    </a:lnTo>
                    <a:lnTo>
                      <a:pt x="2482" y="3388"/>
                    </a:lnTo>
                    <a:lnTo>
                      <a:pt x="2480" y="3386"/>
                    </a:lnTo>
                    <a:lnTo>
                      <a:pt x="2480" y="3386"/>
                    </a:lnTo>
                    <a:lnTo>
                      <a:pt x="2482" y="3384"/>
                    </a:lnTo>
                    <a:lnTo>
                      <a:pt x="2480" y="3384"/>
                    </a:lnTo>
                    <a:lnTo>
                      <a:pt x="2480" y="3384"/>
                    </a:lnTo>
                    <a:lnTo>
                      <a:pt x="2478" y="3384"/>
                    </a:lnTo>
                    <a:lnTo>
                      <a:pt x="2478" y="3386"/>
                    </a:lnTo>
                    <a:lnTo>
                      <a:pt x="2478" y="3386"/>
                    </a:lnTo>
                    <a:lnTo>
                      <a:pt x="2476" y="3388"/>
                    </a:lnTo>
                    <a:lnTo>
                      <a:pt x="2476" y="3388"/>
                    </a:lnTo>
                    <a:lnTo>
                      <a:pt x="2472" y="3388"/>
                    </a:lnTo>
                    <a:lnTo>
                      <a:pt x="2470" y="3388"/>
                    </a:lnTo>
                    <a:lnTo>
                      <a:pt x="2470" y="3388"/>
                    </a:lnTo>
                    <a:lnTo>
                      <a:pt x="2468" y="3382"/>
                    </a:lnTo>
                    <a:lnTo>
                      <a:pt x="2466" y="3378"/>
                    </a:lnTo>
                    <a:lnTo>
                      <a:pt x="2466" y="3378"/>
                    </a:lnTo>
                    <a:lnTo>
                      <a:pt x="2468" y="3374"/>
                    </a:lnTo>
                    <a:lnTo>
                      <a:pt x="2468" y="3372"/>
                    </a:lnTo>
                    <a:lnTo>
                      <a:pt x="2466" y="3370"/>
                    </a:lnTo>
                    <a:lnTo>
                      <a:pt x="2466" y="3370"/>
                    </a:lnTo>
                    <a:lnTo>
                      <a:pt x="2464" y="3370"/>
                    </a:lnTo>
                    <a:lnTo>
                      <a:pt x="2464" y="3370"/>
                    </a:lnTo>
                    <a:lnTo>
                      <a:pt x="2464" y="3374"/>
                    </a:lnTo>
                    <a:lnTo>
                      <a:pt x="2462" y="3378"/>
                    </a:lnTo>
                    <a:lnTo>
                      <a:pt x="2462" y="3380"/>
                    </a:lnTo>
                    <a:lnTo>
                      <a:pt x="2460" y="3380"/>
                    </a:lnTo>
                    <a:lnTo>
                      <a:pt x="2460" y="3380"/>
                    </a:lnTo>
                    <a:lnTo>
                      <a:pt x="2456" y="3380"/>
                    </a:lnTo>
                    <a:lnTo>
                      <a:pt x="2452" y="3382"/>
                    </a:lnTo>
                    <a:lnTo>
                      <a:pt x="2450" y="3384"/>
                    </a:lnTo>
                    <a:lnTo>
                      <a:pt x="2446" y="3384"/>
                    </a:lnTo>
                    <a:lnTo>
                      <a:pt x="2446" y="3384"/>
                    </a:lnTo>
                    <a:lnTo>
                      <a:pt x="2444" y="3384"/>
                    </a:lnTo>
                    <a:lnTo>
                      <a:pt x="2444" y="3388"/>
                    </a:lnTo>
                    <a:lnTo>
                      <a:pt x="2442" y="3394"/>
                    </a:lnTo>
                    <a:lnTo>
                      <a:pt x="2442" y="3394"/>
                    </a:lnTo>
                    <a:lnTo>
                      <a:pt x="2434" y="3388"/>
                    </a:lnTo>
                    <a:lnTo>
                      <a:pt x="2422" y="3378"/>
                    </a:lnTo>
                    <a:lnTo>
                      <a:pt x="2414" y="3368"/>
                    </a:lnTo>
                    <a:lnTo>
                      <a:pt x="2410" y="3364"/>
                    </a:lnTo>
                    <a:lnTo>
                      <a:pt x="2410" y="3358"/>
                    </a:lnTo>
                    <a:lnTo>
                      <a:pt x="2410" y="3358"/>
                    </a:lnTo>
                    <a:lnTo>
                      <a:pt x="2410" y="3354"/>
                    </a:lnTo>
                    <a:lnTo>
                      <a:pt x="2408" y="3352"/>
                    </a:lnTo>
                    <a:lnTo>
                      <a:pt x="2402" y="3350"/>
                    </a:lnTo>
                    <a:lnTo>
                      <a:pt x="2394" y="3350"/>
                    </a:lnTo>
                    <a:lnTo>
                      <a:pt x="2392" y="3348"/>
                    </a:lnTo>
                    <a:lnTo>
                      <a:pt x="2392" y="3344"/>
                    </a:lnTo>
                    <a:lnTo>
                      <a:pt x="2392" y="3344"/>
                    </a:lnTo>
                    <a:lnTo>
                      <a:pt x="2390" y="3338"/>
                    </a:lnTo>
                    <a:lnTo>
                      <a:pt x="2386" y="3330"/>
                    </a:lnTo>
                    <a:lnTo>
                      <a:pt x="2382" y="3320"/>
                    </a:lnTo>
                    <a:lnTo>
                      <a:pt x="2376" y="3302"/>
                    </a:lnTo>
                    <a:lnTo>
                      <a:pt x="2376" y="3302"/>
                    </a:lnTo>
                    <a:lnTo>
                      <a:pt x="2370" y="3290"/>
                    </a:lnTo>
                    <a:lnTo>
                      <a:pt x="2366" y="3284"/>
                    </a:lnTo>
                    <a:lnTo>
                      <a:pt x="2364" y="3280"/>
                    </a:lnTo>
                    <a:lnTo>
                      <a:pt x="2362" y="3270"/>
                    </a:lnTo>
                    <a:lnTo>
                      <a:pt x="2362" y="3270"/>
                    </a:lnTo>
                    <a:lnTo>
                      <a:pt x="2360" y="3266"/>
                    </a:lnTo>
                    <a:lnTo>
                      <a:pt x="2358" y="3264"/>
                    </a:lnTo>
                    <a:lnTo>
                      <a:pt x="2352" y="3262"/>
                    </a:lnTo>
                    <a:lnTo>
                      <a:pt x="2346" y="3260"/>
                    </a:lnTo>
                    <a:lnTo>
                      <a:pt x="2346" y="3258"/>
                    </a:lnTo>
                    <a:lnTo>
                      <a:pt x="2346" y="3254"/>
                    </a:lnTo>
                    <a:lnTo>
                      <a:pt x="2346" y="3254"/>
                    </a:lnTo>
                    <a:lnTo>
                      <a:pt x="2350" y="3250"/>
                    </a:lnTo>
                    <a:lnTo>
                      <a:pt x="2354" y="3248"/>
                    </a:lnTo>
                    <a:lnTo>
                      <a:pt x="2360" y="3250"/>
                    </a:lnTo>
                    <a:lnTo>
                      <a:pt x="2362" y="3248"/>
                    </a:lnTo>
                    <a:lnTo>
                      <a:pt x="2362" y="3246"/>
                    </a:lnTo>
                    <a:lnTo>
                      <a:pt x="2354" y="3228"/>
                    </a:lnTo>
                    <a:lnTo>
                      <a:pt x="2354" y="3228"/>
                    </a:lnTo>
                    <a:lnTo>
                      <a:pt x="2354" y="3224"/>
                    </a:lnTo>
                    <a:lnTo>
                      <a:pt x="2356" y="3224"/>
                    </a:lnTo>
                    <a:lnTo>
                      <a:pt x="2364" y="3226"/>
                    </a:lnTo>
                    <a:lnTo>
                      <a:pt x="2372" y="3230"/>
                    </a:lnTo>
                    <a:lnTo>
                      <a:pt x="2376" y="3232"/>
                    </a:lnTo>
                    <a:lnTo>
                      <a:pt x="2378" y="3230"/>
                    </a:lnTo>
                    <a:lnTo>
                      <a:pt x="2378" y="3230"/>
                    </a:lnTo>
                    <a:lnTo>
                      <a:pt x="2384" y="3226"/>
                    </a:lnTo>
                    <a:lnTo>
                      <a:pt x="2390" y="3226"/>
                    </a:lnTo>
                    <a:lnTo>
                      <a:pt x="2392" y="3224"/>
                    </a:lnTo>
                    <a:lnTo>
                      <a:pt x="2394" y="3216"/>
                    </a:lnTo>
                    <a:lnTo>
                      <a:pt x="2394" y="3216"/>
                    </a:lnTo>
                    <a:lnTo>
                      <a:pt x="2396" y="3212"/>
                    </a:lnTo>
                    <a:lnTo>
                      <a:pt x="2398" y="3212"/>
                    </a:lnTo>
                    <a:lnTo>
                      <a:pt x="2406" y="3218"/>
                    </a:lnTo>
                    <a:lnTo>
                      <a:pt x="2412" y="3222"/>
                    </a:lnTo>
                    <a:lnTo>
                      <a:pt x="2416" y="3224"/>
                    </a:lnTo>
                    <a:lnTo>
                      <a:pt x="2424" y="3224"/>
                    </a:lnTo>
                    <a:lnTo>
                      <a:pt x="2430" y="3222"/>
                    </a:lnTo>
                    <a:lnTo>
                      <a:pt x="2430" y="3222"/>
                    </a:lnTo>
                    <a:lnTo>
                      <a:pt x="2436" y="3218"/>
                    </a:lnTo>
                    <a:lnTo>
                      <a:pt x="2438" y="3218"/>
                    </a:lnTo>
                    <a:lnTo>
                      <a:pt x="2440" y="3220"/>
                    </a:lnTo>
                    <a:lnTo>
                      <a:pt x="2442" y="3222"/>
                    </a:lnTo>
                    <a:lnTo>
                      <a:pt x="2444" y="3232"/>
                    </a:lnTo>
                    <a:lnTo>
                      <a:pt x="2448" y="3238"/>
                    </a:lnTo>
                    <a:lnTo>
                      <a:pt x="2452" y="3244"/>
                    </a:lnTo>
                    <a:lnTo>
                      <a:pt x="2452" y="3220"/>
                    </a:lnTo>
                    <a:lnTo>
                      <a:pt x="2414" y="3146"/>
                    </a:lnTo>
                    <a:lnTo>
                      <a:pt x="2378" y="3050"/>
                    </a:lnTo>
                    <a:lnTo>
                      <a:pt x="2372" y="3006"/>
                    </a:lnTo>
                    <a:lnTo>
                      <a:pt x="2378" y="2910"/>
                    </a:lnTo>
                    <a:lnTo>
                      <a:pt x="2378" y="2868"/>
                    </a:lnTo>
                    <a:lnTo>
                      <a:pt x="2392" y="2778"/>
                    </a:lnTo>
                    <a:lnTo>
                      <a:pt x="2392" y="2778"/>
                    </a:lnTo>
                    <a:lnTo>
                      <a:pt x="2386" y="2780"/>
                    </a:lnTo>
                    <a:lnTo>
                      <a:pt x="2382" y="2780"/>
                    </a:lnTo>
                    <a:lnTo>
                      <a:pt x="2380" y="2778"/>
                    </a:lnTo>
                    <a:lnTo>
                      <a:pt x="2380" y="2776"/>
                    </a:lnTo>
                    <a:lnTo>
                      <a:pt x="2378" y="2770"/>
                    </a:lnTo>
                    <a:lnTo>
                      <a:pt x="2376" y="2768"/>
                    </a:lnTo>
                    <a:lnTo>
                      <a:pt x="2374" y="2768"/>
                    </a:lnTo>
                    <a:lnTo>
                      <a:pt x="2374" y="2768"/>
                    </a:lnTo>
                    <a:lnTo>
                      <a:pt x="2376" y="2768"/>
                    </a:lnTo>
                    <a:lnTo>
                      <a:pt x="2378" y="2770"/>
                    </a:lnTo>
                    <a:lnTo>
                      <a:pt x="2380" y="2776"/>
                    </a:lnTo>
                    <a:lnTo>
                      <a:pt x="2380" y="2778"/>
                    </a:lnTo>
                    <a:lnTo>
                      <a:pt x="2382" y="2780"/>
                    </a:lnTo>
                    <a:lnTo>
                      <a:pt x="2386" y="2780"/>
                    </a:lnTo>
                    <a:lnTo>
                      <a:pt x="2392" y="2778"/>
                    </a:lnTo>
                    <a:lnTo>
                      <a:pt x="2392" y="2778"/>
                    </a:lnTo>
                    <a:lnTo>
                      <a:pt x="2390" y="2764"/>
                    </a:lnTo>
                    <a:lnTo>
                      <a:pt x="2394" y="2746"/>
                    </a:lnTo>
                    <a:lnTo>
                      <a:pt x="2390" y="2726"/>
                    </a:lnTo>
                    <a:lnTo>
                      <a:pt x="2386" y="2674"/>
                    </a:lnTo>
                    <a:lnTo>
                      <a:pt x="2384" y="2658"/>
                    </a:lnTo>
                    <a:lnTo>
                      <a:pt x="2386" y="2626"/>
                    </a:lnTo>
                    <a:lnTo>
                      <a:pt x="2360" y="2586"/>
                    </a:lnTo>
                    <a:lnTo>
                      <a:pt x="2336" y="2534"/>
                    </a:lnTo>
                    <a:lnTo>
                      <a:pt x="2284" y="2470"/>
                    </a:lnTo>
                    <a:lnTo>
                      <a:pt x="2274" y="2434"/>
                    </a:lnTo>
                    <a:lnTo>
                      <a:pt x="2302" y="2390"/>
                    </a:lnTo>
                    <a:lnTo>
                      <a:pt x="2334" y="2368"/>
                    </a:lnTo>
                    <a:lnTo>
                      <a:pt x="2352" y="2336"/>
                    </a:lnTo>
                    <a:lnTo>
                      <a:pt x="2346" y="2304"/>
                    </a:lnTo>
                    <a:lnTo>
                      <a:pt x="2318" y="2270"/>
                    </a:lnTo>
                    <a:lnTo>
                      <a:pt x="2280" y="2246"/>
                    </a:lnTo>
                    <a:lnTo>
                      <a:pt x="2264" y="2186"/>
                    </a:lnTo>
                    <a:lnTo>
                      <a:pt x="2274" y="2140"/>
                    </a:lnTo>
                    <a:lnTo>
                      <a:pt x="2274" y="2140"/>
                    </a:lnTo>
                    <a:lnTo>
                      <a:pt x="2288" y="2090"/>
                    </a:lnTo>
                    <a:lnTo>
                      <a:pt x="2288" y="2090"/>
                    </a:lnTo>
                    <a:lnTo>
                      <a:pt x="2290" y="2086"/>
                    </a:lnTo>
                    <a:lnTo>
                      <a:pt x="2296" y="2086"/>
                    </a:lnTo>
                    <a:lnTo>
                      <a:pt x="2308" y="2088"/>
                    </a:lnTo>
                    <a:lnTo>
                      <a:pt x="2328" y="2096"/>
                    </a:lnTo>
                    <a:lnTo>
                      <a:pt x="2370" y="2082"/>
                    </a:lnTo>
                    <a:lnTo>
                      <a:pt x="2376" y="2058"/>
                    </a:lnTo>
                    <a:lnTo>
                      <a:pt x="2440" y="2024"/>
                    </a:lnTo>
                    <a:lnTo>
                      <a:pt x="2384" y="1780"/>
                    </a:lnTo>
                    <a:lnTo>
                      <a:pt x="2264" y="1588"/>
                    </a:lnTo>
                    <a:lnTo>
                      <a:pt x="2204" y="1444"/>
                    </a:lnTo>
                    <a:lnTo>
                      <a:pt x="2204" y="1264"/>
                    </a:lnTo>
                    <a:lnTo>
                      <a:pt x="2204" y="1264"/>
                    </a:lnTo>
                    <a:lnTo>
                      <a:pt x="2212" y="1228"/>
                    </a:lnTo>
                    <a:lnTo>
                      <a:pt x="2224" y="1194"/>
                    </a:lnTo>
                    <a:lnTo>
                      <a:pt x="2232" y="1174"/>
                    </a:lnTo>
                    <a:lnTo>
                      <a:pt x="2240" y="1156"/>
                    </a:lnTo>
                    <a:lnTo>
                      <a:pt x="2240" y="1156"/>
                    </a:lnTo>
                    <a:lnTo>
                      <a:pt x="2248" y="1138"/>
                    </a:lnTo>
                    <a:lnTo>
                      <a:pt x="2258" y="1112"/>
                    </a:lnTo>
                    <a:lnTo>
                      <a:pt x="2282" y="1046"/>
                    </a:lnTo>
                    <a:lnTo>
                      <a:pt x="2282" y="1046"/>
                    </a:lnTo>
                    <a:lnTo>
                      <a:pt x="2276" y="1048"/>
                    </a:lnTo>
                    <a:lnTo>
                      <a:pt x="2274" y="1046"/>
                    </a:lnTo>
                    <a:lnTo>
                      <a:pt x="2270" y="1038"/>
                    </a:lnTo>
                    <a:lnTo>
                      <a:pt x="2266" y="1032"/>
                    </a:lnTo>
                    <a:lnTo>
                      <a:pt x="2262" y="1026"/>
                    </a:lnTo>
                    <a:lnTo>
                      <a:pt x="2256" y="1018"/>
                    </a:lnTo>
                    <a:lnTo>
                      <a:pt x="2246" y="1014"/>
                    </a:lnTo>
                    <a:lnTo>
                      <a:pt x="2246" y="1014"/>
                    </a:lnTo>
                    <a:lnTo>
                      <a:pt x="2236" y="1006"/>
                    </a:lnTo>
                    <a:lnTo>
                      <a:pt x="2234" y="1004"/>
                    </a:lnTo>
                    <a:lnTo>
                      <a:pt x="2232" y="1000"/>
                    </a:lnTo>
                    <a:lnTo>
                      <a:pt x="2234" y="998"/>
                    </a:lnTo>
                    <a:lnTo>
                      <a:pt x="2234" y="994"/>
                    </a:lnTo>
                    <a:lnTo>
                      <a:pt x="2242" y="988"/>
                    </a:lnTo>
                    <a:lnTo>
                      <a:pt x="2250" y="982"/>
                    </a:lnTo>
                    <a:lnTo>
                      <a:pt x="2262" y="978"/>
                    </a:lnTo>
                    <a:lnTo>
                      <a:pt x="2274" y="974"/>
                    </a:lnTo>
                    <a:lnTo>
                      <a:pt x="2286" y="974"/>
                    </a:lnTo>
                    <a:lnTo>
                      <a:pt x="2286" y="974"/>
                    </a:lnTo>
                    <a:lnTo>
                      <a:pt x="2292" y="974"/>
                    </a:lnTo>
                    <a:lnTo>
                      <a:pt x="2296" y="972"/>
                    </a:lnTo>
                    <a:lnTo>
                      <a:pt x="2298" y="968"/>
                    </a:lnTo>
                    <a:lnTo>
                      <a:pt x="2300" y="966"/>
                    </a:lnTo>
                    <a:lnTo>
                      <a:pt x="2298" y="956"/>
                    </a:lnTo>
                    <a:lnTo>
                      <a:pt x="2294" y="946"/>
                    </a:lnTo>
                    <a:lnTo>
                      <a:pt x="2284" y="936"/>
                    </a:lnTo>
                    <a:lnTo>
                      <a:pt x="2272" y="928"/>
                    </a:lnTo>
                    <a:lnTo>
                      <a:pt x="2258" y="922"/>
                    </a:lnTo>
                    <a:lnTo>
                      <a:pt x="2250" y="922"/>
                    </a:lnTo>
                    <a:lnTo>
                      <a:pt x="2242" y="920"/>
                    </a:lnTo>
                    <a:lnTo>
                      <a:pt x="2242" y="920"/>
                    </a:lnTo>
                    <a:lnTo>
                      <a:pt x="2224" y="920"/>
                    </a:lnTo>
                    <a:lnTo>
                      <a:pt x="2208" y="918"/>
                    </a:lnTo>
                    <a:lnTo>
                      <a:pt x="2182" y="912"/>
                    </a:lnTo>
                    <a:lnTo>
                      <a:pt x="2174" y="912"/>
                    </a:lnTo>
                    <a:lnTo>
                      <a:pt x="2172" y="912"/>
                    </a:lnTo>
                    <a:lnTo>
                      <a:pt x="2172" y="914"/>
                    </a:lnTo>
                    <a:lnTo>
                      <a:pt x="2174" y="918"/>
                    </a:lnTo>
                    <a:lnTo>
                      <a:pt x="2186" y="928"/>
                    </a:lnTo>
                    <a:lnTo>
                      <a:pt x="2186" y="928"/>
                    </a:lnTo>
                    <a:lnTo>
                      <a:pt x="2192" y="934"/>
                    </a:lnTo>
                    <a:lnTo>
                      <a:pt x="2196" y="942"/>
                    </a:lnTo>
                    <a:lnTo>
                      <a:pt x="2198" y="948"/>
                    </a:lnTo>
                    <a:lnTo>
                      <a:pt x="2200" y="954"/>
                    </a:lnTo>
                    <a:lnTo>
                      <a:pt x="2196" y="966"/>
                    </a:lnTo>
                    <a:lnTo>
                      <a:pt x="2192" y="978"/>
                    </a:lnTo>
                    <a:lnTo>
                      <a:pt x="2188" y="990"/>
                    </a:lnTo>
                    <a:lnTo>
                      <a:pt x="2186" y="1000"/>
                    </a:lnTo>
                    <a:lnTo>
                      <a:pt x="2186" y="1006"/>
                    </a:lnTo>
                    <a:lnTo>
                      <a:pt x="2188" y="1012"/>
                    </a:lnTo>
                    <a:lnTo>
                      <a:pt x="2194" y="1016"/>
                    </a:lnTo>
                    <a:lnTo>
                      <a:pt x="2200" y="1022"/>
                    </a:lnTo>
                    <a:lnTo>
                      <a:pt x="2200" y="1022"/>
                    </a:lnTo>
                    <a:lnTo>
                      <a:pt x="2212" y="1032"/>
                    </a:lnTo>
                    <a:lnTo>
                      <a:pt x="2216" y="1036"/>
                    </a:lnTo>
                    <a:lnTo>
                      <a:pt x="2218" y="1040"/>
                    </a:lnTo>
                    <a:lnTo>
                      <a:pt x="2216" y="1046"/>
                    </a:lnTo>
                    <a:lnTo>
                      <a:pt x="2214" y="1054"/>
                    </a:lnTo>
                    <a:lnTo>
                      <a:pt x="2208" y="1062"/>
                    </a:lnTo>
                    <a:lnTo>
                      <a:pt x="2204" y="1072"/>
                    </a:lnTo>
                    <a:lnTo>
                      <a:pt x="2200" y="1084"/>
                    </a:lnTo>
                    <a:lnTo>
                      <a:pt x="2202" y="1098"/>
                    </a:lnTo>
                    <a:lnTo>
                      <a:pt x="2202" y="1098"/>
                    </a:lnTo>
                    <a:lnTo>
                      <a:pt x="2202" y="1106"/>
                    </a:lnTo>
                    <a:lnTo>
                      <a:pt x="2202" y="1106"/>
                    </a:lnTo>
                    <a:lnTo>
                      <a:pt x="2200" y="1104"/>
                    </a:lnTo>
                    <a:lnTo>
                      <a:pt x="2192" y="1096"/>
                    </a:lnTo>
                    <a:lnTo>
                      <a:pt x="2180" y="1084"/>
                    </a:lnTo>
                    <a:lnTo>
                      <a:pt x="2166" y="1072"/>
                    </a:lnTo>
                    <a:lnTo>
                      <a:pt x="2156" y="1068"/>
                    </a:lnTo>
                    <a:lnTo>
                      <a:pt x="2148" y="1066"/>
                    </a:lnTo>
                    <a:lnTo>
                      <a:pt x="2136" y="1064"/>
                    </a:lnTo>
                    <a:lnTo>
                      <a:pt x="2126" y="1066"/>
                    </a:lnTo>
                    <a:lnTo>
                      <a:pt x="2114" y="1070"/>
                    </a:lnTo>
                    <a:lnTo>
                      <a:pt x="2102" y="1076"/>
                    </a:lnTo>
                    <a:lnTo>
                      <a:pt x="2102" y="1076"/>
                    </a:lnTo>
                    <a:lnTo>
                      <a:pt x="2078" y="1092"/>
                    </a:lnTo>
                    <a:lnTo>
                      <a:pt x="2056" y="1104"/>
                    </a:lnTo>
                    <a:lnTo>
                      <a:pt x="2040" y="1114"/>
                    </a:lnTo>
                    <a:lnTo>
                      <a:pt x="2028" y="1122"/>
                    </a:lnTo>
                    <a:lnTo>
                      <a:pt x="2022" y="1130"/>
                    </a:lnTo>
                    <a:lnTo>
                      <a:pt x="2020" y="1134"/>
                    </a:lnTo>
                    <a:lnTo>
                      <a:pt x="2022" y="1140"/>
                    </a:lnTo>
                    <a:lnTo>
                      <a:pt x="2026" y="1150"/>
                    </a:lnTo>
                    <a:lnTo>
                      <a:pt x="2040" y="1166"/>
                    </a:lnTo>
                    <a:lnTo>
                      <a:pt x="2040" y="1166"/>
                    </a:lnTo>
                    <a:lnTo>
                      <a:pt x="2052" y="1180"/>
                    </a:lnTo>
                    <a:lnTo>
                      <a:pt x="2054" y="1186"/>
                    </a:lnTo>
                    <a:lnTo>
                      <a:pt x="2054" y="1192"/>
                    </a:lnTo>
                    <a:lnTo>
                      <a:pt x="2054" y="1196"/>
                    </a:lnTo>
                    <a:lnTo>
                      <a:pt x="2050" y="1198"/>
                    </a:lnTo>
                    <a:lnTo>
                      <a:pt x="2046" y="1200"/>
                    </a:lnTo>
                    <a:lnTo>
                      <a:pt x="2040" y="1202"/>
                    </a:lnTo>
                    <a:lnTo>
                      <a:pt x="2026" y="1202"/>
                    </a:lnTo>
                    <a:lnTo>
                      <a:pt x="2006" y="1198"/>
                    </a:lnTo>
                    <a:lnTo>
                      <a:pt x="1984" y="1190"/>
                    </a:lnTo>
                    <a:lnTo>
                      <a:pt x="1958" y="1180"/>
                    </a:lnTo>
                    <a:lnTo>
                      <a:pt x="1958" y="1180"/>
                    </a:lnTo>
                    <a:lnTo>
                      <a:pt x="1934" y="1170"/>
                    </a:lnTo>
                    <a:lnTo>
                      <a:pt x="1916" y="1164"/>
                    </a:lnTo>
                    <a:lnTo>
                      <a:pt x="1900" y="1162"/>
                    </a:lnTo>
                    <a:lnTo>
                      <a:pt x="1892" y="1164"/>
                    </a:lnTo>
                    <a:lnTo>
                      <a:pt x="1888" y="1166"/>
                    </a:lnTo>
                    <a:lnTo>
                      <a:pt x="1886" y="1170"/>
                    </a:lnTo>
                    <a:lnTo>
                      <a:pt x="1886" y="1176"/>
                    </a:lnTo>
                    <a:lnTo>
                      <a:pt x="1892" y="1186"/>
                    </a:lnTo>
                    <a:lnTo>
                      <a:pt x="1900" y="1196"/>
                    </a:lnTo>
                    <a:lnTo>
                      <a:pt x="1900" y="1196"/>
                    </a:lnTo>
                    <a:lnTo>
                      <a:pt x="1912" y="1206"/>
                    </a:lnTo>
                    <a:lnTo>
                      <a:pt x="1924" y="1214"/>
                    </a:lnTo>
                    <a:lnTo>
                      <a:pt x="1946" y="1222"/>
                    </a:lnTo>
                    <a:lnTo>
                      <a:pt x="1954" y="1226"/>
                    </a:lnTo>
                    <a:lnTo>
                      <a:pt x="1956" y="1228"/>
                    </a:lnTo>
                    <a:lnTo>
                      <a:pt x="1956" y="1232"/>
                    </a:lnTo>
                    <a:lnTo>
                      <a:pt x="1952" y="1238"/>
                    </a:lnTo>
                    <a:lnTo>
                      <a:pt x="1940" y="1246"/>
                    </a:lnTo>
                    <a:lnTo>
                      <a:pt x="1940" y="1246"/>
                    </a:lnTo>
                    <a:lnTo>
                      <a:pt x="1926" y="1252"/>
                    </a:lnTo>
                    <a:lnTo>
                      <a:pt x="1920" y="1252"/>
                    </a:lnTo>
                    <a:lnTo>
                      <a:pt x="1916" y="1252"/>
                    </a:lnTo>
                    <a:lnTo>
                      <a:pt x="1908" y="1248"/>
                    </a:lnTo>
                    <a:lnTo>
                      <a:pt x="1902" y="1240"/>
                    </a:lnTo>
                    <a:lnTo>
                      <a:pt x="1894" y="1232"/>
                    </a:lnTo>
                    <a:lnTo>
                      <a:pt x="1886" y="1224"/>
                    </a:lnTo>
                    <a:lnTo>
                      <a:pt x="1874" y="1216"/>
                    </a:lnTo>
                    <a:lnTo>
                      <a:pt x="1868" y="1212"/>
                    </a:lnTo>
                    <a:lnTo>
                      <a:pt x="1858" y="1210"/>
                    </a:lnTo>
                    <a:lnTo>
                      <a:pt x="1858" y="1210"/>
                    </a:lnTo>
                    <a:lnTo>
                      <a:pt x="1844" y="1206"/>
                    </a:lnTo>
                    <a:lnTo>
                      <a:pt x="1836" y="1202"/>
                    </a:lnTo>
                    <a:lnTo>
                      <a:pt x="1832" y="1196"/>
                    </a:lnTo>
                    <a:lnTo>
                      <a:pt x="1832" y="1188"/>
                    </a:lnTo>
                    <a:lnTo>
                      <a:pt x="1832" y="1182"/>
                    </a:lnTo>
                    <a:lnTo>
                      <a:pt x="1830" y="1174"/>
                    </a:lnTo>
                    <a:lnTo>
                      <a:pt x="1826" y="1164"/>
                    </a:lnTo>
                    <a:lnTo>
                      <a:pt x="1818" y="1156"/>
                    </a:lnTo>
                    <a:lnTo>
                      <a:pt x="1818" y="1156"/>
                    </a:lnTo>
                    <a:lnTo>
                      <a:pt x="1814" y="1152"/>
                    </a:lnTo>
                    <a:lnTo>
                      <a:pt x="1812" y="1148"/>
                    </a:lnTo>
                    <a:lnTo>
                      <a:pt x="1812" y="1144"/>
                    </a:lnTo>
                    <a:lnTo>
                      <a:pt x="1812" y="1140"/>
                    </a:lnTo>
                    <a:lnTo>
                      <a:pt x="1816" y="1134"/>
                    </a:lnTo>
                    <a:lnTo>
                      <a:pt x="1822" y="1128"/>
                    </a:lnTo>
                    <a:lnTo>
                      <a:pt x="1826" y="1122"/>
                    </a:lnTo>
                    <a:lnTo>
                      <a:pt x="1830" y="1114"/>
                    </a:lnTo>
                    <a:lnTo>
                      <a:pt x="1828" y="1110"/>
                    </a:lnTo>
                    <a:lnTo>
                      <a:pt x="1826" y="1106"/>
                    </a:lnTo>
                    <a:lnTo>
                      <a:pt x="1822" y="1100"/>
                    </a:lnTo>
                    <a:lnTo>
                      <a:pt x="1816" y="1096"/>
                    </a:lnTo>
                    <a:lnTo>
                      <a:pt x="1816" y="1096"/>
                    </a:lnTo>
                    <a:lnTo>
                      <a:pt x="1800" y="1084"/>
                    </a:lnTo>
                    <a:lnTo>
                      <a:pt x="1784" y="1076"/>
                    </a:lnTo>
                    <a:lnTo>
                      <a:pt x="1758" y="1060"/>
                    </a:lnTo>
                    <a:lnTo>
                      <a:pt x="1746" y="1054"/>
                    </a:lnTo>
                    <a:lnTo>
                      <a:pt x="1738" y="1046"/>
                    </a:lnTo>
                    <a:lnTo>
                      <a:pt x="1730" y="1036"/>
                    </a:lnTo>
                    <a:lnTo>
                      <a:pt x="1726" y="1026"/>
                    </a:lnTo>
                    <a:lnTo>
                      <a:pt x="1726" y="1026"/>
                    </a:lnTo>
                    <a:lnTo>
                      <a:pt x="1724" y="1018"/>
                    </a:lnTo>
                    <a:lnTo>
                      <a:pt x="1726" y="1016"/>
                    </a:lnTo>
                    <a:lnTo>
                      <a:pt x="1736" y="1026"/>
                    </a:lnTo>
                    <a:lnTo>
                      <a:pt x="1746" y="1036"/>
                    </a:lnTo>
                    <a:lnTo>
                      <a:pt x="1762" y="1044"/>
                    </a:lnTo>
                    <a:lnTo>
                      <a:pt x="1782" y="1054"/>
                    </a:lnTo>
                    <a:lnTo>
                      <a:pt x="1808" y="1060"/>
                    </a:lnTo>
                    <a:lnTo>
                      <a:pt x="1808" y="1060"/>
                    </a:lnTo>
                    <a:lnTo>
                      <a:pt x="1836" y="1066"/>
                    </a:lnTo>
                    <a:lnTo>
                      <a:pt x="1864" y="1074"/>
                    </a:lnTo>
                    <a:lnTo>
                      <a:pt x="1920" y="1092"/>
                    </a:lnTo>
                    <a:lnTo>
                      <a:pt x="1948" y="1098"/>
                    </a:lnTo>
                    <a:lnTo>
                      <a:pt x="1962" y="1100"/>
                    </a:lnTo>
                    <a:lnTo>
                      <a:pt x="1976" y="1100"/>
                    </a:lnTo>
                    <a:lnTo>
                      <a:pt x="1990" y="1098"/>
                    </a:lnTo>
                    <a:lnTo>
                      <a:pt x="2002" y="1096"/>
                    </a:lnTo>
                    <a:lnTo>
                      <a:pt x="2016" y="1092"/>
                    </a:lnTo>
                    <a:lnTo>
                      <a:pt x="2030" y="1084"/>
                    </a:lnTo>
                    <a:lnTo>
                      <a:pt x="2030" y="1084"/>
                    </a:lnTo>
                    <a:lnTo>
                      <a:pt x="2052" y="1070"/>
                    </a:lnTo>
                    <a:lnTo>
                      <a:pt x="2072" y="1056"/>
                    </a:lnTo>
                    <a:lnTo>
                      <a:pt x="2084" y="1042"/>
                    </a:lnTo>
                    <a:lnTo>
                      <a:pt x="2090" y="1036"/>
                    </a:lnTo>
                    <a:lnTo>
                      <a:pt x="2092" y="1030"/>
                    </a:lnTo>
                    <a:lnTo>
                      <a:pt x="2094" y="1022"/>
                    </a:lnTo>
                    <a:lnTo>
                      <a:pt x="2092" y="1016"/>
                    </a:lnTo>
                    <a:lnTo>
                      <a:pt x="2090" y="1010"/>
                    </a:lnTo>
                    <a:lnTo>
                      <a:pt x="2086" y="1002"/>
                    </a:lnTo>
                    <a:lnTo>
                      <a:pt x="2080" y="994"/>
                    </a:lnTo>
                    <a:lnTo>
                      <a:pt x="2072" y="988"/>
                    </a:lnTo>
                    <a:lnTo>
                      <a:pt x="2050" y="970"/>
                    </a:lnTo>
                    <a:lnTo>
                      <a:pt x="2050" y="970"/>
                    </a:lnTo>
                    <a:lnTo>
                      <a:pt x="2010" y="946"/>
                    </a:lnTo>
                    <a:lnTo>
                      <a:pt x="1982" y="934"/>
                    </a:lnTo>
                    <a:lnTo>
                      <a:pt x="1954" y="920"/>
                    </a:lnTo>
                    <a:lnTo>
                      <a:pt x="1910" y="896"/>
                    </a:lnTo>
                    <a:lnTo>
                      <a:pt x="1910" y="896"/>
                    </a:lnTo>
                    <a:lnTo>
                      <a:pt x="1884" y="882"/>
                    </a:lnTo>
                    <a:lnTo>
                      <a:pt x="1868" y="874"/>
                    </a:lnTo>
                    <a:lnTo>
                      <a:pt x="1854" y="870"/>
                    </a:lnTo>
                    <a:lnTo>
                      <a:pt x="1844" y="870"/>
                    </a:lnTo>
                    <a:lnTo>
                      <a:pt x="1834" y="872"/>
                    </a:lnTo>
                    <a:lnTo>
                      <a:pt x="1822" y="872"/>
                    </a:lnTo>
                    <a:lnTo>
                      <a:pt x="1808" y="870"/>
                    </a:lnTo>
                    <a:lnTo>
                      <a:pt x="1786" y="866"/>
                    </a:lnTo>
                    <a:lnTo>
                      <a:pt x="1786" y="866"/>
                    </a:lnTo>
                    <a:lnTo>
                      <a:pt x="1768" y="858"/>
                    </a:lnTo>
                    <a:lnTo>
                      <a:pt x="1758" y="852"/>
                    </a:lnTo>
                    <a:lnTo>
                      <a:pt x="1756" y="850"/>
                    </a:lnTo>
                    <a:lnTo>
                      <a:pt x="1756" y="846"/>
                    </a:lnTo>
                    <a:lnTo>
                      <a:pt x="1758" y="844"/>
                    </a:lnTo>
                    <a:lnTo>
                      <a:pt x="1758" y="840"/>
                    </a:lnTo>
                    <a:lnTo>
                      <a:pt x="1752" y="834"/>
                    </a:lnTo>
                    <a:lnTo>
                      <a:pt x="1740" y="828"/>
                    </a:lnTo>
                    <a:lnTo>
                      <a:pt x="1740" y="828"/>
                    </a:lnTo>
                    <a:lnTo>
                      <a:pt x="1726" y="824"/>
                    </a:lnTo>
                    <a:lnTo>
                      <a:pt x="1718" y="824"/>
                    </a:lnTo>
                    <a:lnTo>
                      <a:pt x="1712" y="826"/>
                    </a:lnTo>
                    <a:lnTo>
                      <a:pt x="1710" y="830"/>
                    </a:lnTo>
                    <a:lnTo>
                      <a:pt x="1706" y="834"/>
                    </a:lnTo>
                    <a:lnTo>
                      <a:pt x="1698" y="838"/>
                    </a:lnTo>
                    <a:lnTo>
                      <a:pt x="1686" y="838"/>
                    </a:lnTo>
                    <a:lnTo>
                      <a:pt x="1666" y="834"/>
                    </a:lnTo>
                    <a:lnTo>
                      <a:pt x="1666" y="834"/>
                    </a:lnTo>
                    <a:lnTo>
                      <a:pt x="1658" y="832"/>
                    </a:lnTo>
                    <a:lnTo>
                      <a:pt x="1652" y="832"/>
                    </a:lnTo>
                    <a:lnTo>
                      <a:pt x="1648" y="832"/>
                    </a:lnTo>
                    <a:lnTo>
                      <a:pt x="1644" y="828"/>
                    </a:lnTo>
                    <a:lnTo>
                      <a:pt x="1644" y="828"/>
                    </a:lnTo>
                    <a:lnTo>
                      <a:pt x="1640" y="828"/>
                    </a:lnTo>
                    <a:lnTo>
                      <a:pt x="1638" y="830"/>
                    </a:lnTo>
                    <a:lnTo>
                      <a:pt x="1636" y="834"/>
                    </a:lnTo>
                    <a:lnTo>
                      <a:pt x="1630" y="836"/>
                    </a:lnTo>
                    <a:lnTo>
                      <a:pt x="1630" y="836"/>
                    </a:lnTo>
                    <a:lnTo>
                      <a:pt x="1620" y="838"/>
                    </a:lnTo>
                    <a:lnTo>
                      <a:pt x="1618" y="838"/>
                    </a:lnTo>
                    <a:lnTo>
                      <a:pt x="1618" y="834"/>
                    </a:lnTo>
                    <a:lnTo>
                      <a:pt x="1618" y="834"/>
                    </a:lnTo>
                    <a:lnTo>
                      <a:pt x="1622" y="830"/>
                    </a:lnTo>
                    <a:lnTo>
                      <a:pt x="1622" y="826"/>
                    </a:lnTo>
                    <a:lnTo>
                      <a:pt x="1620" y="822"/>
                    </a:lnTo>
                    <a:lnTo>
                      <a:pt x="1618" y="820"/>
                    </a:lnTo>
                    <a:lnTo>
                      <a:pt x="1614" y="818"/>
                    </a:lnTo>
                    <a:lnTo>
                      <a:pt x="1608" y="818"/>
                    </a:lnTo>
                    <a:lnTo>
                      <a:pt x="1608" y="818"/>
                    </a:lnTo>
                    <a:lnTo>
                      <a:pt x="1598" y="816"/>
                    </a:lnTo>
                    <a:lnTo>
                      <a:pt x="1590" y="814"/>
                    </a:lnTo>
                    <a:lnTo>
                      <a:pt x="1586" y="812"/>
                    </a:lnTo>
                    <a:lnTo>
                      <a:pt x="1580" y="810"/>
                    </a:lnTo>
                    <a:lnTo>
                      <a:pt x="1580" y="810"/>
                    </a:lnTo>
                    <a:lnTo>
                      <a:pt x="1576" y="810"/>
                    </a:lnTo>
                    <a:lnTo>
                      <a:pt x="1580" y="808"/>
                    </a:lnTo>
                    <a:lnTo>
                      <a:pt x="1592" y="808"/>
                    </a:lnTo>
                    <a:lnTo>
                      <a:pt x="1612" y="812"/>
                    </a:lnTo>
                    <a:lnTo>
                      <a:pt x="1612" y="812"/>
                    </a:lnTo>
                    <a:lnTo>
                      <a:pt x="1624" y="812"/>
                    </a:lnTo>
                    <a:lnTo>
                      <a:pt x="1634" y="812"/>
                    </a:lnTo>
                    <a:lnTo>
                      <a:pt x="1640" y="810"/>
                    </a:lnTo>
                    <a:lnTo>
                      <a:pt x="1646" y="808"/>
                    </a:lnTo>
                    <a:lnTo>
                      <a:pt x="1654" y="800"/>
                    </a:lnTo>
                    <a:lnTo>
                      <a:pt x="1658" y="800"/>
                    </a:lnTo>
                    <a:lnTo>
                      <a:pt x="1662" y="800"/>
                    </a:lnTo>
                    <a:lnTo>
                      <a:pt x="1662" y="800"/>
                    </a:lnTo>
                    <a:lnTo>
                      <a:pt x="1668" y="800"/>
                    </a:lnTo>
                    <a:lnTo>
                      <a:pt x="1672" y="798"/>
                    </a:lnTo>
                    <a:lnTo>
                      <a:pt x="1674" y="796"/>
                    </a:lnTo>
                    <a:lnTo>
                      <a:pt x="1676" y="794"/>
                    </a:lnTo>
                    <a:lnTo>
                      <a:pt x="1676" y="790"/>
                    </a:lnTo>
                    <a:lnTo>
                      <a:pt x="1674" y="788"/>
                    </a:lnTo>
                    <a:lnTo>
                      <a:pt x="1672" y="786"/>
                    </a:lnTo>
                    <a:lnTo>
                      <a:pt x="1668" y="786"/>
                    </a:lnTo>
                    <a:lnTo>
                      <a:pt x="1668" y="786"/>
                    </a:lnTo>
                    <a:lnTo>
                      <a:pt x="1660" y="786"/>
                    </a:lnTo>
                    <a:lnTo>
                      <a:pt x="1658" y="782"/>
                    </a:lnTo>
                    <a:lnTo>
                      <a:pt x="1656" y="780"/>
                    </a:lnTo>
                    <a:lnTo>
                      <a:pt x="1650" y="778"/>
                    </a:lnTo>
                    <a:lnTo>
                      <a:pt x="1650" y="778"/>
                    </a:lnTo>
                    <a:lnTo>
                      <a:pt x="1648" y="776"/>
                    </a:lnTo>
                    <a:lnTo>
                      <a:pt x="1644" y="774"/>
                    </a:lnTo>
                    <a:lnTo>
                      <a:pt x="1640" y="770"/>
                    </a:lnTo>
                    <a:lnTo>
                      <a:pt x="1636" y="766"/>
                    </a:lnTo>
                    <a:lnTo>
                      <a:pt x="1634" y="766"/>
                    </a:lnTo>
                    <a:lnTo>
                      <a:pt x="1630" y="768"/>
                    </a:lnTo>
                    <a:lnTo>
                      <a:pt x="1630" y="768"/>
                    </a:lnTo>
                    <a:lnTo>
                      <a:pt x="1624" y="768"/>
                    </a:lnTo>
                    <a:lnTo>
                      <a:pt x="1624" y="766"/>
                    </a:lnTo>
                    <a:lnTo>
                      <a:pt x="1620" y="764"/>
                    </a:lnTo>
                    <a:lnTo>
                      <a:pt x="1614" y="766"/>
                    </a:lnTo>
                    <a:lnTo>
                      <a:pt x="1614" y="766"/>
                    </a:lnTo>
                    <a:lnTo>
                      <a:pt x="1606" y="768"/>
                    </a:lnTo>
                    <a:lnTo>
                      <a:pt x="1606" y="764"/>
                    </a:lnTo>
                    <a:lnTo>
                      <a:pt x="1606" y="762"/>
                    </a:lnTo>
                    <a:lnTo>
                      <a:pt x="1606" y="760"/>
                    </a:lnTo>
                    <a:lnTo>
                      <a:pt x="1602" y="758"/>
                    </a:lnTo>
                    <a:lnTo>
                      <a:pt x="1596" y="756"/>
                    </a:lnTo>
                    <a:lnTo>
                      <a:pt x="1596" y="756"/>
                    </a:lnTo>
                    <a:lnTo>
                      <a:pt x="1588" y="754"/>
                    </a:lnTo>
                    <a:lnTo>
                      <a:pt x="1582" y="754"/>
                    </a:lnTo>
                    <a:lnTo>
                      <a:pt x="1578" y="758"/>
                    </a:lnTo>
                    <a:lnTo>
                      <a:pt x="1574" y="760"/>
                    </a:lnTo>
                    <a:lnTo>
                      <a:pt x="1572" y="766"/>
                    </a:lnTo>
                    <a:lnTo>
                      <a:pt x="1570" y="770"/>
                    </a:lnTo>
                    <a:lnTo>
                      <a:pt x="1570" y="780"/>
                    </a:lnTo>
                    <a:lnTo>
                      <a:pt x="1570" y="780"/>
                    </a:lnTo>
                    <a:lnTo>
                      <a:pt x="1572" y="786"/>
                    </a:lnTo>
                    <a:lnTo>
                      <a:pt x="1568" y="786"/>
                    </a:lnTo>
                    <a:lnTo>
                      <a:pt x="1564" y="782"/>
                    </a:lnTo>
                    <a:lnTo>
                      <a:pt x="1560" y="782"/>
                    </a:lnTo>
                    <a:lnTo>
                      <a:pt x="1558" y="782"/>
                    </a:lnTo>
                    <a:lnTo>
                      <a:pt x="1558" y="782"/>
                    </a:lnTo>
                    <a:lnTo>
                      <a:pt x="1550" y="784"/>
                    </a:lnTo>
                    <a:lnTo>
                      <a:pt x="1548" y="784"/>
                    </a:lnTo>
                    <a:lnTo>
                      <a:pt x="1548" y="782"/>
                    </a:lnTo>
                    <a:lnTo>
                      <a:pt x="1554" y="778"/>
                    </a:lnTo>
                    <a:lnTo>
                      <a:pt x="1554" y="778"/>
                    </a:lnTo>
                    <a:lnTo>
                      <a:pt x="1560" y="772"/>
                    </a:lnTo>
                    <a:lnTo>
                      <a:pt x="1564" y="768"/>
                    </a:lnTo>
                    <a:lnTo>
                      <a:pt x="1564" y="766"/>
                    </a:lnTo>
                    <a:lnTo>
                      <a:pt x="1562" y="766"/>
                    </a:lnTo>
                    <a:lnTo>
                      <a:pt x="1562" y="766"/>
                    </a:lnTo>
                    <a:lnTo>
                      <a:pt x="1556" y="766"/>
                    </a:lnTo>
                    <a:lnTo>
                      <a:pt x="1554" y="766"/>
                    </a:lnTo>
                    <a:lnTo>
                      <a:pt x="1554" y="762"/>
                    </a:lnTo>
                    <a:lnTo>
                      <a:pt x="1554" y="762"/>
                    </a:lnTo>
                    <a:lnTo>
                      <a:pt x="1558" y="758"/>
                    </a:lnTo>
                    <a:lnTo>
                      <a:pt x="1564" y="756"/>
                    </a:lnTo>
                    <a:lnTo>
                      <a:pt x="1572" y="752"/>
                    </a:lnTo>
                    <a:lnTo>
                      <a:pt x="1574" y="750"/>
                    </a:lnTo>
                    <a:lnTo>
                      <a:pt x="1574" y="748"/>
                    </a:lnTo>
                    <a:lnTo>
                      <a:pt x="1574" y="748"/>
                    </a:lnTo>
                    <a:lnTo>
                      <a:pt x="1572" y="746"/>
                    </a:lnTo>
                    <a:lnTo>
                      <a:pt x="1570" y="746"/>
                    </a:lnTo>
                    <a:lnTo>
                      <a:pt x="1566" y="746"/>
                    </a:lnTo>
                    <a:lnTo>
                      <a:pt x="1562" y="746"/>
                    </a:lnTo>
                    <a:lnTo>
                      <a:pt x="1560" y="746"/>
                    </a:lnTo>
                    <a:lnTo>
                      <a:pt x="1560" y="742"/>
                    </a:lnTo>
                    <a:lnTo>
                      <a:pt x="1560" y="742"/>
                    </a:lnTo>
                    <a:lnTo>
                      <a:pt x="1560" y="740"/>
                    </a:lnTo>
                    <a:lnTo>
                      <a:pt x="1558" y="740"/>
                    </a:lnTo>
                    <a:lnTo>
                      <a:pt x="1554" y="740"/>
                    </a:lnTo>
                    <a:lnTo>
                      <a:pt x="1548" y="742"/>
                    </a:lnTo>
                    <a:lnTo>
                      <a:pt x="1544" y="742"/>
                    </a:lnTo>
                    <a:lnTo>
                      <a:pt x="1540" y="740"/>
                    </a:lnTo>
                    <a:lnTo>
                      <a:pt x="1540" y="740"/>
                    </a:lnTo>
                    <a:lnTo>
                      <a:pt x="1538" y="738"/>
                    </a:lnTo>
                    <a:lnTo>
                      <a:pt x="1536" y="738"/>
                    </a:lnTo>
                    <a:lnTo>
                      <a:pt x="1534" y="740"/>
                    </a:lnTo>
                    <a:lnTo>
                      <a:pt x="1532" y="744"/>
                    </a:lnTo>
                    <a:lnTo>
                      <a:pt x="1530" y="744"/>
                    </a:lnTo>
                    <a:lnTo>
                      <a:pt x="1528" y="744"/>
                    </a:lnTo>
                    <a:lnTo>
                      <a:pt x="1528" y="744"/>
                    </a:lnTo>
                    <a:lnTo>
                      <a:pt x="1524" y="742"/>
                    </a:lnTo>
                    <a:lnTo>
                      <a:pt x="1522" y="744"/>
                    </a:lnTo>
                    <a:lnTo>
                      <a:pt x="1518" y="746"/>
                    </a:lnTo>
                    <a:lnTo>
                      <a:pt x="1518" y="750"/>
                    </a:lnTo>
                    <a:lnTo>
                      <a:pt x="1518" y="752"/>
                    </a:lnTo>
                    <a:lnTo>
                      <a:pt x="1520" y="752"/>
                    </a:lnTo>
                    <a:lnTo>
                      <a:pt x="1524" y="754"/>
                    </a:lnTo>
                    <a:lnTo>
                      <a:pt x="1524" y="754"/>
                    </a:lnTo>
                    <a:lnTo>
                      <a:pt x="1530" y="754"/>
                    </a:lnTo>
                    <a:lnTo>
                      <a:pt x="1528" y="756"/>
                    </a:lnTo>
                    <a:lnTo>
                      <a:pt x="1522" y="760"/>
                    </a:lnTo>
                    <a:lnTo>
                      <a:pt x="1522" y="760"/>
                    </a:lnTo>
                    <a:lnTo>
                      <a:pt x="1522" y="762"/>
                    </a:lnTo>
                    <a:lnTo>
                      <a:pt x="1520" y="764"/>
                    </a:lnTo>
                    <a:lnTo>
                      <a:pt x="1516" y="766"/>
                    </a:lnTo>
                    <a:lnTo>
                      <a:pt x="1516" y="768"/>
                    </a:lnTo>
                    <a:lnTo>
                      <a:pt x="1516" y="768"/>
                    </a:lnTo>
                    <a:lnTo>
                      <a:pt x="1514" y="772"/>
                    </a:lnTo>
                    <a:lnTo>
                      <a:pt x="1512" y="772"/>
                    </a:lnTo>
                    <a:lnTo>
                      <a:pt x="1510" y="774"/>
                    </a:lnTo>
                    <a:lnTo>
                      <a:pt x="1510" y="780"/>
                    </a:lnTo>
                    <a:lnTo>
                      <a:pt x="1510" y="780"/>
                    </a:lnTo>
                    <a:lnTo>
                      <a:pt x="1510" y="782"/>
                    </a:lnTo>
                    <a:lnTo>
                      <a:pt x="1510" y="784"/>
                    </a:lnTo>
                    <a:lnTo>
                      <a:pt x="1504" y="786"/>
                    </a:lnTo>
                    <a:lnTo>
                      <a:pt x="1496" y="790"/>
                    </a:lnTo>
                    <a:lnTo>
                      <a:pt x="1496" y="790"/>
                    </a:lnTo>
                    <a:lnTo>
                      <a:pt x="1492" y="792"/>
                    </a:lnTo>
                    <a:lnTo>
                      <a:pt x="1490" y="790"/>
                    </a:lnTo>
                    <a:lnTo>
                      <a:pt x="1492" y="784"/>
                    </a:lnTo>
                    <a:lnTo>
                      <a:pt x="1494" y="776"/>
                    </a:lnTo>
                    <a:lnTo>
                      <a:pt x="1496" y="770"/>
                    </a:lnTo>
                    <a:lnTo>
                      <a:pt x="1496" y="770"/>
                    </a:lnTo>
                    <a:lnTo>
                      <a:pt x="1496" y="766"/>
                    </a:lnTo>
                    <a:lnTo>
                      <a:pt x="1498" y="760"/>
                    </a:lnTo>
                    <a:lnTo>
                      <a:pt x="1500" y="754"/>
                    </a:lnTo>
                    <a:lnTo>
                      <a:pt x="1498" y="750"/>
                    </a:lnTo>
                    <a:lnTo>
                      <a:pt x="1498" y="750"/>
                    </a:lnTo>
                    <a:lnTo>
                      <a:pt x="1498" y="750"/>
                    </a:lnTo>
                    <a:lnTo>
                      <a:pt x="1494" y="750"/>
                    </a:lnTo>
                    <a:lnTo>
                      <a:pt x="1490" y="752"/>
                    </a:lnTo>
                    <a:lnTo>
                      <a:pt x="1480" y="762"/>
                    </a:lnTo>
                    <a:lnTo>
                      <a:pt x="1456" y="784"/>
                    </a:lnTo>
                    <a:lnTo>
                      <a:pt x="1456" y="784"/>
                    </a:lnTo>
                    <a:lnTo>
                      <a:pt x="1450" y="790"/>
                    </a:lnTo>
                    <a:lnTo>
                      <a:pt x="1450" y="794"/>
                    </a:lnTo>
                    <a:lnTo>
                      <a:pt x="1450" y="798"/>
                    </a:lnTo>
                    <a:lnTo>
                      <a:pt x="1446" y="804"/>
                    </a:lnTo>
                    <a:lnTo>
                      <a:pt x="1446" y="804"/>
                    </a:lnTo>
                    <a:lnTo>
                      <a:pt x="1440" y="810"/>
                    </a:lnTo>
                    <a:lnTo>
                      <a:pt x="1436" y="810"/>
                    </a:lnTo>
                    <a:lnTo>
                      <a:pt x="1434" y="810"/>
                    </a:lnTo>
                    <a:lnTo>
                      <a:pt x="1432" y="810"/>
                    </a:lnTo>
                    <a:lnTo>
                      <a:pt x="1432" y="810"/>
                    </a:lnTo>
                    <a:lnTo>
                      <a:pt x="1428" y="812"/>
                    </a:lnTo>
                    <a:lnTo>
                      <a:pt x="1426" y="812"/>
                    </a:lnTo>
                    <a:lnTo>
                      <a:pt x="1428" y="808"/>
                    </a:lnTo>
                    <a:lnTo>
                      <a:pt x="1432" y="802"/>
                    </a:lnTo>
                    <a:lnTo>
                      <a:pt x="1432" y="802"/>
                    </a:lnTo>
                    <a:lnTo>
                      <a:pt x="1436" y="798"/>
                    </a:lnTo>
                    <a:lnTo>
                      <a:pt x="1436" y="794"/>
                    </a:lnTo>
                    <a:lnTo>
                      <a:pt x="1436" y="792"/>
                    </a:lnTo>
                    <a:lnTo>
                      <a:pt x="1438" y="790"/>
                    </a:lnTo>
                    <a:lnTo>
                      <a:pt x="1438" y="790"/>
                    </a:lnTo>
                    <a:lnTo>
                      <a:pt x="1442" y="784"/>
                    </a:lnTo>
                    <a:lnTo>
                      <a:pt x="1440" y="782"/>
                    </a:lnTo>
                    <a:lnTo>
                      <a:pt x="1440" y="782"/>
                    </a:lnTo>
                    <a:lnTo>
                      <a:pt x="1440" y="778"/>
                    </a:lnTo>
                    <a:lnTo>
                      <a:pt x="1448" y="770"/>
                    </a:lnTo>
                    <a:lnTo>
                      <a:pt x="1448" y="770"/>
                    </a:lnTo>
                    <a:lnTo>
                      <a:pt x="1466" y="756"/>
                    </a:lnTo>
                    <a:lnTo>
                      <a:pt x="1466" y="754"/>
                    </a:lnTo>
                    <a:lnTo>
                      <a:pt x="1466" y="754"/>
                    </a:lnTo>
                    <a:lnTo>
                      <a:pt x="1458" y="754"/>
                    </a:lnTo>
                    <a:lnTo>
                      <a:pt x="1458" y="754"/>
                    </a:lnTo>
                    <a:lnTo>
                      <a:pt x="1454" y="752"/>
                    </a:lnTo>
                    <a:lnTo>
                      <a:pt x="1450" y="752"/>
                    </a:lnTo>
                    <a:lnTo>
                      <a:pt x="1446" y="748"/>
                    </a:lnTo>
                    <a:lnTo>
                      <a:pt x="1446" y="746"/>
                    </a:lnTo>
                    <a:lnTo>
                      <a:pt x="1444" y="752"/>
                    </a:lnTo>
                    <a:lnTo>
                      <a:pt x="1444" y="752"/>
                    </a:lnTo>
                    <a:lnTo>
                      <a:pt x="1442" y="758"/>
                    </a:lnTo>
                    <a:lnTo>
                      <a:pt x="1442" y="760"/>
                    </a:lnTo>
                    <a:lnTo>
                      <a:pt x="1440" y="758"/>
                    </a:lnTo>
                    <a:lnTo>
                      <a:pt x="1438" y="754"/>
                    </a:lnTo>
                    <a:lnTo>
                      <a:pt x="1434" y="750"/>
                    </a:lnTo>
                    <a:lnTo>
                      <a:pt x="1434" y="750"/>
                    </a:lnTo>
                    <a:lnTo>
                      <a:pt x="1430" y="748"/>
                    </a:lnTo>
                    <a:lnTo>
                      <a:pt x="1426" y="750"/>
                    </a:lnTo>
                    <a:lnTo>
                      <a:pt x="1424" y="750"/>
                    </a:lnTo>
                    <a:lnTo>
                      <a:pt x="1420" y="748"/>
                    </a:lnTo>
                    <a:lnTo>
                      <a:pt x="1420" y="748"/>
                    </a:lnTo>
                    <a:lnTo>
                      <a:pt x="1418" y="746"/>
                    </a:lnTo>
                    <a:lnTo>
                      <a:pt x="1414" y="746"/>
                    </a:lnTo>
                    <a:lnTo>
                      <a:pt x="1412" y="748"/>
                    </a:lnTo>
                    <a:lnTo>
                      <a:pt x="1414" y="752"/>
                    </a:lnTo>
                    <a:lnTo>
                      <a:pt x="1414" y="752"/>
                    </a:lnTo>
                    <a:lnTo>
                      <a:pt x="1416" y="754"/>
                    </a:lnTo>
                    <a:lnTo>
                      <a:pt x="1416" y="758"/>
                    </a:lnTo>
                    <a:lnTo>
                      <a:pt x="1414" y="760"/>
                    </a:lnTo>
                    <a:lnTo>
                      <a:pt x="1408" y="758"/>
                    </a:lnTo>
                    <a:lnTo>
                      <a:pt x="1408" y="758"/>
                    </a:lnTo>
                    <a:lnTo>
                      <a:pt x="1402" y="754"/>
                    </a:lnTo>
                    <a:lnTo>
                      <a:pt x="1400" y="756"/>
                    </a:lnTo>
                    <a:lnTo>
                      <a:pt x="1402" y="760"/>
                    </a:lnTo>
                    <a:lnTo>
                      <a:pt x="1410" y="764"/>
                    </a:lnTo>
                    <a:lnTo>
                      <a:pt x="1410" y="764"/>
                    </a:lnTo>
                    <a:lnTo>
                      <a:pt x="1418" y="768"/>
                    </a:lnTo>
                    <a:lnTo>
                      <a:pt x="1422" y="770"/>
                    </a:lnTo>
                    <a:lnTo>
                      <a:pt x="1418" y="772"/>
                    </a:lnTo>
                    <a:lnTo>
                      <a:pt x="1410" y="770"/>
                    </a:lnTo>
                    <a:lnTo>
                      <a:pt x="1410" y="770"/>
                    </a:lnTo>
                    <a:lnTo>
                      <a:pt x="1404" y="768"/>
                    </a:lnTo>
                    <a:lnTo>
                      <a:pt x="1402" y="768"/>
                    </a:lnTo>
                    <a:lnTo>
                      <a:pt x="1402" y="770"/>
                    </a:lnTo>
                    <a:lnTo>
                      <a:pt x="1400" y="774"/>
                    </a:lnTo>
                    <a:lnTo>
                      <a:pt x="1396" y="778"/>
                    </a:lnTo>
                    <a:lnTo>
                      <a:pt x="1388" y="782"/>
                    </a:lnTo>
                    <a:lnTo>
                      <a:pt x="1388" y="782"/>
                    </a:lnTo>
                    <a:lnTo>
                      <a:pt x="1376" y="790"/>
                    </a:lnTo>
                    <a:lnTo>
                      <a:pt x="1372" y="792"/>
                    </a:lnTo>
                    <a:lnTo>
                      <a:pt x="1372" y="794"/>
                    </a:lnTo>
                    <a:lnTo>
                      <a:pt x="1366" y="798"/>
                    </a:lnTo>
                    <a:lnTo>
                      <a:pt x="1366" y="798"/>
                    </a:lnTo>
                    <a:lnTo>
                      <a:pt x="1362" y="800"/>
                    </a:lnTo>
                    <a:lnTo>
                      <a:pt x="1360" y="802"/>
                    </a:lnTo>
                    <a:lnTo>
                      <a:pt x="1360" y="804"/>
                    </a:lnTo>
                    <a:lnTo>
                      <a:pt x="1360" y="804"/>
                    </a:lnTo>
                    <a:lnTo>
                      <a:pt x="1362" y="808"/>
                    </a:lnTo>
                    <a:lnTo>
                      <a:pt x="1362" y="808"/>
                    </a:lnTo>
                    <a:lnTo>
                      <a:pt x="1360" y="810"/>
                    </a:lnTo>
                    <a:lnTo>
                      <a:pt x="1360" y="810"/>
                    </a:lnTo>
                    <a:lnTo>
                      <a:pt x="1358" y="810"/>
                    </a:lnTo>
                    <a:lnTo>
                      <a:pt x="1358" y="812"/>
                    </a:lnTo>
                    <a:lnTo>
                      <a:pt x="1362" y="816"/>
                    </a:lnTo>
                    <a:lnTo>
                      <a:pt x="1368" y="818"/>
                    </a:lnTo>
                    <a:lnTo>
                      <a:pt x="1370" y="818"/>
                    </a:lnTo>
                    <a:lnTo>
                      <a:pt x="1368" y="818"/>
                    </a:lnTo>
                    <a:lnTo>
                      <a:pt x="1368" y="818"/>
                    </a:lnTo>
                    <a:lnTo>
                      <a:pt x="1362" y="818"/>
                    </a:lnTo>
                    <a:lnTo>
                      <a:pt x="1356" y="818"/>
                    </a:lnTo>
                    <a:lnTo>
                      <a:pt x="1350" y="816"/>
                    </a:lnTo>
                    <a:lnTo>
                      <a:pt x="1350" y="814"/>
                    </a:lnTo>
                    <a:lnTo>
                      <a:pt x="1350" y="810"/>
                    </a:lnTo>
                    <a:lnTo>
                      <a:pt x="1350" y="810"/>
                    </a:lnTo>
                    <a:lnTo>
                      <a:pt x="1350" y="806"/>
                    </a:lnTo>
                    <a:lnTo>
                      <a:pt x="1350" y="804"/>
                    </a:lnTo>
                    <a:lnTo>
                      <a:pt x="1342" y="802"/>
                    </a:lnTo>
                    <a:lnTo>
                      <a:pt x="1334" y="800"/>
                    </a:lnTo>
                    <a:lnTo>
                      <a:pt x="1326" y="800"/>
                    </a:lnTo>
                    <a:lnTo>
                      <a:pt x="1326" y="800"/>
                    </a:lnTo>
                    <a:lnTo>
                      <a:pt x="1324" y="798"/>
                    </a:lnTo>
                    <a:lnTo>
                      <a:pt x="1322" y="798"/>
                    </a:lnTo>
                    <a:lnTo>
                      <a:pt x="1320" y="796"/>
                    </a:lnTo>
                    <a:lnTo>
                      <a:pt x="1318" y="798"/>
                    </a:lnTo>
                    <a:lnTo>
                      <a:pt x="1318" y="798"/>
                    </a:lnTo>
                    <a:lnTo>
                      <a:pt x="1312" y="796"/>
                    </a:lnTo>
                    <a:lnTo>
                      <a:pt x="1308" y="794"/>
                    </a:lnTo>
                    <a:lnTo>
                      <a:pt x="1306" y="794"/>
                    </a:lnTo>
                    <a:lnTo>
                      <a:pt x="1306" y="796"/>
                    </a:lnTo>
                    <a:lnTo>
                      <a:pt x="1304" y="802"/>
                    </a:lnTo>
                    <a:lnTo>
                      <a:pt x="1304" y="802"/>
                    </a:lnTo>
                    <a:lnTo>
                      <a:pt x="1302" y="808"/>
                    </a:lnTo>
                    <a:lnTo>
                      <a:pt x="1300" y="802"/>
                    </a:lnTo>
                    <a:lnTo>
                      <a:pt x="1298" y="800"/>
                    </a:lnTo>
                    <a:lnTo>
                      <a:pt x="1294" y="796"/>
                    </a:lnTo>
                    <a:lnTo>
                      <a:pt x="1290" y="796"/>
                    </a:lnTo>
                    <a:lnTo>
                      <a:pt x="1284" y="798"/>
                    </a:lnTo>
                    <a:lnTo>
                      <a:pt x="1284" y="798"/>
                    </a:lnTo>
                    <a:lnTo>
                      <a:pt x="1278" y="802"/>
                    </a:lnTo>
                    <a:lnTo>
                      <a:pt x="1280" y="804"/>
                    </a:lnTo>
                    <a:lnTo>
                      <a:pt x="1280" y="804"/>
                    </a:lnTo>
                    <a:lnTo>
                      <a:pt x="1286" y="806"/>
                    </a:lnTo>
                    <a:lnTo>
                      <a:pt x="1288" y="808"/>
                    </a:lnTo>
                    <a:lnTo>
                      <a:pt x="1288" y="808"/>
                    </a:lnTo>
                    <a:lnTo>
                      <a:pt x="1288" y="808"/>
                    </a:lnTo>
                    <a:lnTo>
                      <a:pt x="1290" y="810"/>
                    </a:lnTo>
                    <a:lnTo>
                      <a:pt x="1294" y="812"/>
                    </a:lnTo>
                    <a:lnTo>
                      <a:pt x="1298" y="812"/>
                    </a:lnTo>
                    <a:lnTo>
                      <a:pt x="1302" y="814"/>
                    </a:lnTo>
                    <a:lnTo>
                      <a:pt x="1302" y="814"/>
                    </a:lnTo>
                    <a:lnTo>
                      <a:pt x="1304" y="816"/>
                    </a:lnTo>
                    <a:lnTo>
                      <a:pt x="1308" y="816"/>
                    </a:lnTo>
                    <a:lnTo>
                      <a:pt x="1310" y="818"/>
                    </a:lnTo>
                    <a:lnTo>
                      <a:pt x="1308" y="820"/>
                    </a:lnTo>
                    <a:lnTo>
                      <a:pt x="1308" y="820"/>
                    </a:lnTo>
                    <a:lnTo>
                      <a:pt x="1306" y="822"/>
                    </a:lnTo>
                    <a:lnTo>
                      <a:pt x="1306" y="824"/>
                    </a:lnTo>
                    <a:lnTo>
                      <a:pt x="1312" y="832"/>
                    </a:lnTo>
                    <a:lnTo>
                      <a:pt x="1312" y="832"/>
                    </a:lnTo>
                    <a:lnTo>
                      <a:pt x="1314" y="836"/>
                    </a:lnTo>
                    <a:lnTo>
                      <a:pt x="1312" y="836"/>
                    </a:lnTo>
                    <a:lnTo>
                      <a:pt x="1296" y="824"/>
                    </a:lnTo>
                    <a:lnTo>
                      <a:pt x="1296" y="824"/>
                    </a:lnTo>
                    <a:lnTo>
                      <a:pt x="1286" y="818"/>
                    </a:lnTo>
                    <a:lnTo>
                      <a:pt x="1280" y="816"/>
                    </a:lnTo>
                    <a:lnTo>
                      <a:pt x="1278" y="818"/>
                    </a:lnTo>
                    <a:lnTo>
                      <a:pt x="1278" y="822"/>
                    </a:lnTo>
                    <a:lnTo>
                      <a:pt x="1278" y="822"/>
                    </a:lnTo>
                    <a:lnTo>
                      <a:pt x="1280" y="822"/>
                    </a:lnTo>
                    <a:lnTo>
                      <a:pt x="1280" y="824"/>
                    </a:lnTo>
                    <a:lnTo>
                      <a:pt x="1276" y="826"/>
                    </a:lnTo>
                    <a:lnTo>
                      <a:pt x="1274" y="826"/>
                    </a:lnTo>
                    <a:lnTo>
                      <a:pt x="1272" y="826"/>
                    </a:lnTo>
                    <a:lnTo>
                      <a:pt x="1272" y="824"/>
                    </a:lnTo>
                    <a:lnTo>
                      <a:pt x="1272" y="824"/>
                    </a:lnTo>
                    <a:lnTo>
                      <a:pt x="1274" y="822"/>
                    </a:lnTo>
                    <a:lnTo>
                      <a:pt x="1272" y="822"/>
                    </a:lnTo>
                    <a:lnTo>
                      <a:pt x="1266" y="824"/>
                    </a:lnTo>
                    <a:lnTo>
                      <a:pt x="1252" y="834"/>
                    </a:lnTo>
                    <a:lnTo>
                      <a:pt x="1252" y="834"/>
                    </a:lnTo>
                    <a:lnTo>
                      <a:pt x="1252" y="836"/>
                    </a:lnTo>
                    <a:lnTo>
                      <a:pt x="1250" y="838"/>
                    </a:lnTo>
                    <a:lnTo>
                      <a:pt x="1248" y="846"/>
                    </a:lnTo>
                    <a:lnTo>
                      <a:pt x="1246" y="850"/>
                    </a:lnTo>
                    <a:lnTo>
                      <a:pt x="1244" y="856"/>
                    </a:lnTo>
                    <a:lnTo>
                      <a:pt x="1238" y="862"/>
                    </a:lnTo>
                    <a:lnTo>
                      <a:pt x="1228" y="868"/>
                    </a:lnTo>
                    <a:lnTo>
                      <a:pt x="1228" y="868"/>
                    </a:lnTo>
                    <a:lnTo>
                      <a:pt x="1238" y="856"/>
                    </a:lnTo>
                    <a:lnTo>
                      <a:pt x="1242" y="844"/>
                    </a:lnTo>
                    <a:lnTo>
                      <a:pt x="1244" y="832"/>
                    </a:lnTo>
                    <a:lnTo>
                      <a:pt x="1244" y="824"/>
                    </a:lnTo>
                    <a:lnTo>
                      <a:pt x="1244" y="824"/>
                    </a:lnTo>
                    <a:lnTo>
                      <a:pt x="1242" y="820"/>
                    </a:lnTo>
                    <a:lnTo>
                      <a:pt x="1240" y="822"/>
                    </a:lnTo>
                    <a:lnTo>
                      <a:pt x="1238" y="824"/>
                    </a:lnTo>
                    <a:lnTo>
                      <a:pt x="1236" y="826"/>
                    </a:lnTo>
                    <a:lnTo>
                      <a:pt x="1236" y="824"/>
                    </a:lnTo>
                    <a:lnTo>
                      <a:pt x="1236" y="824"/>
                    </a:lnTo>
                    <a:lnTo>
                      <a:pt x="1232" y="822"/>
                    </a:lnTo>
                    <a:lnTo>
                      <a:pt x="1230" y="822"/>
                    </a:lnTo>
                    <a:lnTo>
                      <a:pt x="1224" y="834"/>
                    </a:lnTo>
                    <a:lnTo>
                      <a:pt x="1224" y="834"/>
                    </a:lnTo>
                    <a:lnTo>
                      <a:pt x="1222" y="840"/>
                    </a:lnTo>
                    <a:lnTo>
                      <a:pt x="1222" y="842"/>
                    </a:lnTo>
                    <a:lnTo>
                      <a:pt x="1222" y="844"/>
                    </a:lnTo>
                    <a:lnTo>
                      <a:pt x="1220" y="846"/>
                    </a:lnTo>
                    <a:lnTo>
                      <a:pt x="1220" y="846"/>
                    </a:lnTo>
                    <a:lnTo>
                      <a:pt x="1216" y="848"/>
                    </a:lnTo>
                    <a:lnTo>
                      <a:pt x="1214" y="848"/>
                    </a:lnTo>
                    <a:lnTo>
                      <a:pt x="1214" y="846"/>
                    </a:lnTo>
                    <a:lnTo>
                      <a:pt x="1216" y="840"/>
                    </a:lnTo>
                    <a:lnTo>
                      <a:pt x="1216" y="840"/>
                    </a:lnTo>
                    <a:lnTo>
                      <a:pt x="1218" y="836"/>
                    </a:lnTo>
                    <a:lnTo>
                      <a:pt x="1216" y="832"/>
                    </a:lnTo>
                    <a:lnTo>
                      <a:pt x="1214" y="830"/>
                    </a:lnTo>
                    <a:lnTo>
                      <a:pt x="1212" y="830"/>
                    </a:lnTo>
                    <a:lnTo>
                      <a:pt x="1204" y="832"/>
                    </a:lnTo>
                    <a:lnTo>
                      <a:pt x="1198" y="836"/>
                    </a:lnTo>
                    <a:lnTo>
                      <a:pt x="1198" y="836"/>
                    </a:lnTo>
                    <a:lnTo>
                      <a:pt x="1186" y="844"/>
                    </a:lnTo>
                    <a:lnTo>
                      <a:pt x="1184" y="846"/>
                    </a:lnTo>
                    <a:lnTo>
                      <a:pt x="1184" y="846"/>
                    </a:lnTo>
                    <a:lnTo>
                      <a:pt x="1188" y="848"/>
                    </a:lnTo>
                    <a:lnTo>
                      <a:pt x="1188" y="850"/>
                    </a:lnTo>
                    <a:lnTo>
                      <a:pt x="1188" y="854"/>
                    </a:lnTo>
                    <a:lnTo>
                      <a:pt x="1188" y="854"/>
                    </a:lnTo>
                    <a:lnTo>
                      <a:pt x="1188" y="856"/>
                    </a:lnTo>
                    <a:lnTo>
                      <a:pt x="1190" y="858"/>
                    </a:lnTo>
                    <a:lnTo>
                      <a:pt x="1196" y="860"/>
                    </a:lnTo>
                    <a:lnTo>
                      <a:pt x="1200" y="862"/>
                    </a:lnTo>
                    <a:lnTo>
                      <a:pt x="1204" y="864"/>
                    </a:lnTo>
                    <a:lnTo>
                      <a:pt x="1208" y="868"/>
                    </a:lnTo>
                    <a:lnTo>
                      <a:pt x="1210" y="876"/>
                    </a:lnTo>
                    <a:lnTo>
                      <a:pt x="1210" y="876"/>
                    </a:lnTo>
                    <a:lnTo>
                      <a:pt x="1200" y="872"/>
                    </a:lnTo>
                    <a:lnTo>
                      <a:pt x="1198" y="870"/>
                    </a:lnTo>
                    <a:lnTo>
                      <a:pt x="1200" y="868"/>
                    </a:lnTo>
                    <a:lnTo>
                      <a:pt x="1202" y="868"/>
                    </a:lnTo>
                    <a:lnTo>
                      <a:pt x="1196" y="864"/>
                    </a:lnTo>
                    <a:lnTo>
                      <a:pt x="1196" y="864"/>
                    </a:lnTo>
                    <a:lnTo>
                      <a:pt x="1190" y="862"/>
                    </a:lnTo>
                    <a:lnTo>
                      <a:pt x="1186" y="860"/>
                    </a:lnTo>
                    <a:lnTo>
                      <a:pt x="1182" y="854"/>
                    </a:lnTo>
                    <a:lnTo>
                      <a:pt x="1180" y="852"/>
                    </a:lnTo>
                    <a:lnTo>
                      <a:pt x="1174" y="852"/>
                    </a:lnTo>
                    <a:lnTo>
                      <a:pt x="1174" y="852"/>
                    </a:lnTo>
                    <a:lnTo>
                      <a:pt x="1166" y="854"/>
                    </a:lnTo>
                    <a:lnTo>
                      <a:pt x="1166" y="854"/>
                    </a:lnTo>
                    <a:lnTo>
                      <a:pt x="1166" y="856"/>
                    </a:lnTo>
                    <a:lnTo>
                      <a:pt x="1174" y="862"/>
                    </a:lnTo>
                    <a:lnTo>
                      <a:pt x="1174" y="862"/>
                    </a:lnTo>
                    <a:lnTo>
                      <a:pt x="1178" y="866"/>
                    </a:lnTo>
                    <a:lnTo>
                      <a:pt x="1176" y="868"/>
                    </a:lnTo>
                    <a:lnTo>
                      <a:pt x="1172" y="868"/>
                    </a:lnTo>
                    <a:lnTo>
                      <a:pt x="1168" y="862"/>
                    </a:lnTo>
                    <a:lnTo>
                      <a:pt x="1168" y="862"/>
                    </a:lnTo>
                    <a:lnTo>
                      <a:pt x="1158" y="854"/>
                    </a:lnTo>
                    <a:lnTo>
                      <a:pt x="1154" y="854"/>
                    </a:lnTo>
                    <a:lnTo>
                      <a:pt x="1154" y="854"/>
                    </a:lnTo>
                    <a:lnTo>
                      <a:pt x="1154" y="858"/>
                    </a:lnTo>
                    <a:lnTo>
                      <a:pt x="1154" y="858"/>
                    </a:lnTo>
                    <a:lnTo>
                      <a:pt x="1154" y="860"/>
                    </a:lnTo>
                    <a:lnTo>
                      <a:pt x="1154" y="862"/>
                    </a:lnTo>
                    <a:lnTo>
                      <a:pt x="1152" y="864"/>
                    </a:lnTo>
                    <a:lnTo>
                      <a:pt x="1150" y="868"/>
                    </a:lnTo>
                    <a:lnTo>
                      <a:pt x="1150" y="872"/>
                    </a:lnTo>
                    <a:lnTo>
                      <a:pt x="1150" y="872"/>
                    </a:lnTo>
                    <a:lnTo>
                      <a:pt x="1152" y="876"/>
                    </a:lnTo>
                    <a:lnTo>
                      <a:pt x="1152" y="878"/>
                    </a:lnTo>
                    <a:lnTo>
                      <a:pt x="1146" y="880"/>
                    </a:lnTo>
                    <a:lnTo>
                      <a:pt x="1138" y="884"/>
                    </a:lnTo>
                    <a:lnTo>
                      <a:pt x="1134" y="886"/>
                    </a:lnTo>
                    <a:lnTo>
                      <a:pt x="1130" y="888"/>
                    </a:lnTo>
                    <a:lnTo>
                      <a:pt x="1130" y="888"/>
                    </a:lnTo>
                    <a:lnTo>
                      <a:pt x="1128" y="892"/>
                    </a:lnTo>
                    <a:lnTo>
                      <a:pt x="1128" y="894"/>
                    </a:lnTo>
                    <a:lnTo>
                      <a:pt x="1134" y="896"/>
                    </a:lnTo>
                    <a:lnTo>
                      <a:pt x="1138" y="898"/>
                    </a:lnTo>
                    <a:lnTo>
                      <a:pt x="1132" y="900"/>
                    </a:lnTo>
                    <a:lnTo>
                      <a:pt x="1132" y="900"/>
                    </a:lnTo>
                    <a:lnTo>
                      <a:pt x="1122" y="902"/>
                    </a:lnTo>
                    <a:lnTo>
                      <a:pt x="1120" y="906"/>
                    </a:lnTo>
                    <a:lnTo>
                      <a:pt x="1118" y="908"/>
                    </a:lnTo>
                    <a:lnTo>
                      <a:pt x="1114" y="912"/>
                    </a:lnTo>
                    <a:lnTo>
                      <a:pt x="1114" y="912"/>
                    </a:lnTo>
                    <a:lnTo>
                      <a:pt x="1108" y="912"/>
                    </a:lnTo>
                    <a:lnTo>
                      <a:pt x="1102" y="912"/>
                    </a:lnTo>
                    <a:lnTo>
                      <a:pt x="1096" y="916"/>
                    </a:lnTo>
                    <a:lnTo>
                      <a:pt x="1090" y="924"/>
                    </a:lnTo>
                    <a:lnTo>
                      <a:pt x="1090" y="924"/>
                    </a:lnTo>
                    <a:lnTo>
                      <a:pt x="1088" y="928"/>
                    </a:lnTo>
                    <a:lnTo>
                      <a:pt x="1088" y="930"/>
                    </a:lnTo>
                    <a:lnTo>
                      <a:pt x="1092" y="930"/>
                    </a:lnTo>
                    <a:lnTo>
                      <a:pt x="1096" y="928"/>
                    </a:lnTo>
                    <a:lnTo>
                      <a:pt x="1106" y="926"/>
                    </a:lnTo>
                    <a:lnTo>
                      <a:pt x="1108" y="926"/>
                    </a:lnTo>
                    <a:lnTo>
                      <a:pt x="1108" y="926"/>
                    </a:lnTo>
                    <a:lnTo>
                      <a:pt x="1108" y="926"/>
                    </a:lnTo>
                    <a:lnTo>
                      <a:pt x="1108" y="930"/>
                    </a:lnTo>
                    <a:lnTo>
                      <a:pt x="1112" y="930"/>
                    </a:lnTo>
                    <a:lnTo>
                      <a:pt x="1124" y="924"/>
                    </a:lnTo>
                    <a:lnTo>
                      <a:pt x="1124" y="924"/>
                    </a:lnTo>
                    <a:lnTo>
                      <a:pt x="1128" y="924"/>
                    </a:lnTo>
                    <a:lnTo>
                      <a:pt x="1130" y="924"/>
                    </a:lnTo>
                    <a:lnTo>
                      <a:pt x="1128" y="928"/>
                    </a:lnTo>
                    <a:lnTo>
                      <a:pt x="1120" y="932"/>
                    </a:lnTo>
                    <a:lnTo>
                      <a:pt x="1110" y="936"/>
                    </a:lnTo>
                    <a:lnTo>
                      <a:pt x="1110" y="936"/>
                    </a:lnTo>
                    <a:lnTo>
                      <a:pt x="1102" y="936"/>
                    </a:lnTo>
                    <a:lnTo>
                      <a:pt x="1100" y="936"/>
                    </a:lnTo>
                    <a:lnTo>
                      <a:pt x="1096" y="934"/>
                    </a:lnTo>
                    <a:lnTo>
                      <a:pt x="1088" y="934"/>
                    </a:lnTo>
                    <a:lnTo>
                      <a:pt x="1088" y="934"/>
                    </a:lnTo>
                    <a:lnTo>
                      <a:pt x="1078" y="936"/>
                    </a:lnTo>
                    <a:lnTo>
                      <a:pt x="1072" y="938"/>
                    </a:lnTo>
                    <a:lnTo>
                      <a:pt x="1070" y="940"/>
                    </a:lnTo>
                    <a:lnTo>
                      <a:pt x="1074" y="942"/>
                    </a:lnTo>
                    <a:lnTo>
                      <a:pt x="1074" y="942"/>
                    </a:lnTo>
                    <a:lnTo>
                      <a:pt x="1076" y="944"/>
                    </a:lnTo>
                    <a:lnTo>
                      <a:pt x="1076" y="946"/>
                    </a:lnTo>
                    <a:lnTo>
                      <a:pt x="1076" y="946"/>
                    </a:lnTo>
                    <a:lnTo>
                      <a:pt x="1080" y="948"/>
                    </a:lnTo>
                    <a:lnTo>
                      <a:pt x="1080" y="948"/>
                    </a:lnTo>
                    <a:lnTo>
                      <a:pt x="1086" y="948"/>
                    </a:lnTo>
                    <a:lnTo>
                      <a:pt x="1084" y="952"/>
                    </a:lnTo>
                    <a:lnTo>
                      <a:pt x="1080" y="958"/>
                    </a:lnTo>
                    <a:lnTo>
                      <a:pt x="1078" y="960"/>
                    </a:lnTo>
                    <a:lnTo>
                      <a:pt x="1076" y="964"/>
                    </a:lnTo>
                    <a:lnTo>
                      <a:pt x="1076" y="964"/>
                    </a:lnTo>
                    <a:lnTo>
                      <a:pt x="1076" y="968"/>
                    </a:lnTo>
                    <a:lnTo>
                      <a:pt x="1074" y="966"/>
                    </a:lnTo>
                    <a:lnTo>
                      <a:pt x="1070" y="960"/>
                    </a:lnTo>
                    <a:lnTo>
                      <a:pt x="1070" y="954"/>
                    </a:lnTo>
                    <a:lnTo>
                      <a:pt x="1070" y="954"/>
                    </a:lnTo>
                    <a:lnTo>
                      <a:pt x="1070" y="948"/>
                    </a:lnTo>
                    <a:lnTo>
                      <a:pt x="1068" y="944"/>
                    </a:lnTo>
                    <a:lnTo>
                      <a:pt x="1066" y="944"/>
                    </a:lnTo>
                    <a:lnTo>
                      <a:pt x="1064" y="948"/>
                    </a:lnTo>
                    <a:lnTo>
                      <a:pt x="1064" y="948"/>
                    </a:lnTo>
                    <a:lnTo>
                      <a:pt x="1060" y="954"/>
                    </a:lnTo>
                    <a:lnTo>
                      <a:pt x="1058" y="954"/>
                    </a:lnTo>
                    <a:lnTo>
                      <a:pt x="1056" y="954"/>
                    </a:lnTo>
                    <a:lnTo>
                      <a:pt x="1056" y="952"/>
                    </a:lnTo>
                    <a:lnTo>
                      <a:pt x="1056" y="952"/>
                    </a:lnTo>
                    <a:lnTo>
                      <a:pt x="1052" y="950"/>
                    </a:lnTo>
                    <a:lnTo>
                      <a:pt x="1046" y="952"/>
                    </a:lnTo>
                    <a:lnTo>
                      <a:pt x="1042" y="956"/>
                    </a:lnTo>
                    <a:lnTo>
                      <a:pt x="1040" y="956"/>
                    </a:lnTo>
                    <a:lnTo>
                      <a:pt x="1040" y="958"/>
                    </a:lnTo>
                    <a:lnTo>
                      <a:pt x="1040" y="958"/>
                    </a:lnTo>
                    <a:lnTo>
                      <a:pt x="1042" y="960"/>
                    </a:lnTo>
                    <a:lnTo>
                      <a:pt x="1044" y="960"/>
                    </a:lnTo>
                    <a:lnTo>
                      <a:pt x="1048" y="958"/>
                    </a:lnTo>
                    <a:lnTo>
                      <a:pt x="1054" y="958"/>
                    </a:lnTo>
                    <a:lnTo>
                      <a:pt x="1054" y="958"/>
                    </a:lnTo>
                    <a:lnTo>
                      <a:pt x="1062" y="960"/>
                    </a:lnTo>
                    <a:lnTo>
                      <a:pt x="1064" y="962"/>
                    </a:lnTo>
                    <a:lnTo>
                      <a:pt x="1064" y="964"/>
                    </a:lnTo>
                    <a:lnTo>
                      <a:pt x="1060" y="966"/>
                    </a:lnTo>
                    <a:lnTo>
                      <a:pt x="1060" y="966"/>
                    </a:lnTo>
                    <a:lnTo>
                      <a:pt x="1050" y="966"/>
                    </a:lnTo>
                    <a:lnTo>
                      <a:pt x="1032" y="970"/>
                    </a:lnTo>
                    <a:lnTo>
                      <a:pt x="1020" y="974"/>
                    </a:lnTo>
                    <a:lnTo>
                      <a:pt x="1018" y="976"/>
                    </a:lnTo>
                    <a:lnTo>
                      <a:pt x="1020" y="978"/>
                    </a:lnTo>
                    <a:lnTo>
                      <a:pt x="1020" y="978"/>
                    </a:lnTo>
                    <a:lnTo>
                      <a:pt x="1022" y="980"/>
                    </a:lnTo>
                    <a:lnTo>
                      <a:pt x="1022" y="980"/>
                    </a:lnTo>
                    <a:lnTo>
                      <a:pt x="1018" y="984"/>
                    </a:lnTo>
                    <a:lnTo>
                      <a:pt x="1016" y="986"/>
                    </a:lnTo>
                    <a:lnTo>
                      <a:pt x="1020" y="988"/>
                    </a:lnTo>
                    <a:lnTo>
                      <a:pt x="1020" y="988"/>
                    </a:lnTo>
                    <a:lnTo>
                      <a:pt x="1026" y="988"/>
                    </a:lnTo>
                    <a:lnTo>
                      <a:pt x="1030" y="986"/>
                    </a:lnTo>
                    <a:lnTo>
                      <a:pt x="1036" y="980"/>
                    </a:lnTo>
                    <a:lnTo>
                      <a:pt x="1042" y="976"/>
                    </a:lnTo>
                    <a:lnTo>
                      <a:pt x="1046" y="976"/>
                    </a:lnTo>
                    <a:lnTo>
                      <a:pt x="1052" y="976"/>
                    </a:lnTo>
                    <a:lnTo>
                      <a:pt x="1052" y="976"/>
                    </a:lnTo>
                    <a:lnTo>
                      <a:pt x="1060" y="980"/>
                    </a:lnTo>
                    <a:lnTo>
                      <a:pt x="1058" y="980"/>
                    </a:lnTo>
                    <a:lnTo>
                      <a:pt x="1050" y="980"/>
                    </a:lnTo>
                    <a:lnTo>
                      <a:pt x="1040" y="982"/>
                    </a:lnTo>
                    <a:lnTo>
                      <a:pt x="1040" y="982"/>
                    </a:lnTo>
                    <a:lnTo>
                      <a:pt x="1034" y="986"/>
                    </a:lnTo>
                    <a:lnTo>
                      <a:pt x="1034" y="988"/>
                    </a:lnTo>
                    <a:lnTo>
                      <a:pt x="1036" y="990"/>
                    </a:lnTo>
                    <a:lnTo>
                      <a:pt x="1034" y="990"/>
                    </a:lnTo>
                    <a:lnTo>
                      <a:pt x="1026" y="992"/>
                    </a:lnTo>
                    <a:lnTo>
                      <a:pt x="1026" y="992"/>
                    </a:lnTo>
                    <a:lnTo>
                      <a:pt x="1016" y="996"/>
                    </a:lnTo>
                    <a:lnTo>
                      <a:pt x="1016" y="996"/>
                    </a:lnTo>
                    <a:lnTo>
                      <a:pt x="1016" y="998"/>
                    </a:lnTo>
                    <a:lnTo>
                      <a:pt x="1020" y="1002"/>
                    </a:lnTo>
                    <a:lnTo>
                      <a:pt x="1022" y="1002"/>
                    </a:lnTo>
                    <a:lnTo>
                      <a:pt x="1022" y="1004"/>
                    </a:lnTo>
                    <a:lnTo>
                      <a:pt x="1022" y="1004"/>
                    </a:lnTo>
                    <a:lnTo>
                      <a:pt x="1020" y="1006"/>
                    </a:lnTo>
                    <a:lnTo>
                      <a:pt x="1016" y="1004"/>
                    </a:lnTo>
                    <a:lnTo>
                      <a:pt x="1014" y="1002"/>
                    </a:lnTo>
                    <a:lnTo>
                      <a:pt x="1010" y="1004"/>
                    </a:lnTo>
                    <a:lnTo>
                      <a:pt x="1010" y="1004"/>
                    </a:lnTo>
                    <a:lnTo>
                      <a:pt x="1004" y="1012"/>
                    </a:lnTo>
                    <a:lnTo>
                      <a:pt x="1004" y="1012"/>
                    </a:lnTo>
                    <a:lnTo>
                      <a:pt x="1008" y="1014"/>
                    </a:lnTo>
                    <a:lnTo>
                      <a:pt x="1008" y="1014"/>
                    </a:lnTo>
                    <a:lnTo>
                      <a:pt x="1012" y="1014"/>
                    </a:lnTo>
                    <a:lnTo>
                      <a:pt x="1016" y="1012"/>
                    </a:lnTo>
                    <a:lnTo>
                      <a:pt x="1024" y="1012"/>
                    </a:lnTo>
                    <a:lnTo>
                      <a:pt x="1036" y="1012"/>
                    </a:lnTo>
                    <a:lnTo>
                      <a:pt x="1036" y="1012"/>
                    </a:lnTo>
                    <a:lnTo>
                      <a:pt x="1050" y="1016"/>
                    </a:lnTo>
                    <a:lnTo>
                      <a:pt x="1048" y="1016"/>
                    </a:lnTo>
                    <a:lnTo>
                      <a:pt x="1046" y="1018"/>
                    </a:lnTo>
                    <a:lnTo>
                      <a:pt x="1046" y="1022"/>
                    </a:lnTo>
                    <a:lnTo>
                      <a:pt x="1046" y="1022"/>
                    </a:lnTo>
                    <a:lnTo>
                      <a:pt x="1046" y="1024"/>
                    </a:lnTo>
                    <a:lnTo>
                      <a:pt x="1044" y="1022"/>
                    </a:lnTo>
                    <a:lnTo>
                      <a:pt x="1038" y="1018"/>
                    </a:lnTo>
                    <a:lnTo>
                      <a:pt x="1034" y="1016"/>
                    </a:lnTo>
                    <a:lnTo>
                      <a:pt x="1028" y="1016"/>
                    </a:lnTo>
                    <a:lnTo>
                      <a:pt x="1028" y="1016"/>
                    </a:lnTo>
                    <a:lnTo>
                      <a:pt x="1020" y="1016"/>
                    </a:lnTo>
                    <a:lnTo>
                      <a:pt x="1014" y="1018"/>
                    </a:lnTo>
                    <a:lnTo>
                      <a:pt x="1008" y="1020"/>
                    </a:lnTo>
                    <a:lnTo>
                      <a:pt x="1002" y="1020"/>
                    </a:lnTo>
                    <a:lnTo>
                      <a:pt x="1002" y="1020"/>
                    </a:lnTo>
                    <a:lnTo>
                      <a:pt x="998" y="1020"/>
                    </a:lnTo>
                    <a:lnTo>
                      <a:pt x="996" y="1020"/>
                    </a:lnTo>
                    <a:lnTo>
                      <a:pt x="994" y="1022"/>
                    </a:lnTo>
                    <a:lnTo>
                      <a:pt x="990" y="1022"/>
                    </a:lnTo>
                    <a:lnTo>
                      <a:pt x="990" y="1022"/>
                    </a:lnTo>
                    <a:lnTo>
                      <a:pt x="988" y="1024"/>
                    </a:lnTo>
                    <a:lnTo>
                      <a:pt x="988" y="1026"/>
                    </a:lnTo>
                    <a:lnTo>
                      <a:pt x="988" y="1028"/>
                    </a:lnTo>
                    <a:lnTo>
                      <a:pt x="988" y="1030"/>
                    </a:lnTo>
                    <a:lnTo>
                      <a:pt x="986" y="1032"/>
                    </a:lnTo>
                    <a:lnTo>
                      <a:pt x="982" y="1034"/>
                    </a:lnTo>
                    <a:lnTo>
                      <a:pt x="976" y="1034"/>
                    </a:lnTo>
                    <a:lnTo>
                      <a:pt x="976" y="1034"/>
                    </a:lnTo>
                    <a:lnTo>
                      <a:pt x="968" y="1036"/>
                    </a:lnTo>
                    <a:lnTo>
                      <a:pt x="970" y="1038"/>
                    </a:lnTo>
                    <a:lnTo>
                      <a:pt x="974" y="1042"/>
                    </a:lnTo>
                    <a:lnTo>
                      <a:pt x="974" y="1044"/>
                    </a:lnTo>
                    <a:lnTo>
                      <a:pt x="972" y="1046"/>
                    </a:lnTo>
                    <a:lnTo>
                      <a:pt x="972" y="1046"/>
                    </a:lnTo>
                    <a:lnTo>
                      <a:pt x="966" y="1050"/>
                    </a:lnTo>
                    <a:lnTo>
                      <a:pt x="964" y="1050"/>
                    </a:lnTo>
                    <a:lnTo>
                      <a:pt x="962" y="1050"/>
                    </a:lnTo>
                    <a:lnTo>
                      <a:pt x="956" y="1052"/>
                    </a:lnTo>
                    <a:lnTo>
                      <a:pt x="956" y="1052"/>
                    </a:lnTo>
                    <a:lnTo>
                      <a:pt x="954" y="1056"/>
                    </a:lnTo>
                    <a:lnTo>
                      <a:pt x="956" y="1058"/>
                    </a:lnTo>
                    <a:lnTo>
                      <a:pt x="958" y="1058"/>
                    </a:lnTo>
                    <a:lnTo>
                      <a:pt x="958" y="1060"/>
                    </a:lnTo>
                    <a:lnTo>
                      <a:pt x="958" y="1060"/>
                    </a:lnTo>
                    <a:lnTo>
                      <a:pt x="954" y="1062"/>
                    </a:lnTo>
                    <a:lnTo>
                      <a:pt x="954" y="1064"/>
                    </a:lnTo>
                    <a:lnTo>
                      <a:pt x="956" y="1066"/>
                    </a:lnTo>
                    <a:lnTo>
                      <a:pt x="954" y="1064"/>
                    </a:lnTo>
                    <a:lnTo>
                      <a:pt x="954" y="1064"/>
                    </a:lnTo>
                    <a:lnTo>
                      <a:pt x="950" y="1064"/>
                    </a:lnTo>
                    <a:lnTo>
                      <a:pt x="946" y="1064"/>
                    </a:lnTo>
                    <a:lnTo>
                      <a:pt x="946" y="1066"/>
                    </a:lnTo>
                    <a:lnTo>
                      <a:pt x="948" y="1068"/>
                    </a:lnTo>
                    <a:lnTo>
                      <a:pt x="948" y="1068"/>
                    </a:lnTo>
                    <a:lnTo>
                      <a:pt x="950" y="1070"/>
                    </a:lnTo>
                    <a:lnTo>
                      <a:pt x="950" y="1072"/>
                    </a:lnTo>
                    <a:lnTo>
                      <a:pt x="948" y="1076"/>
                    </a:lnTo>
                    <a:lnTo>
                      <a:pt x="948" y="1080"/>
                    </a:lnTo>
                    <a:lnTo>
                      <a:pt x="954" y="1080"/>
                    </a:lnTo>
                    <a:lnTo>
                      <a:pt x="954" y="1080"/>
                    </a:lnTo>
                    <a:lnTo>
                      <a:pt x="958" y="1080"/>
                    </a:lnTo>
                    <a:lnTo>
                      <a:pt x="954" y="1082"/>
                    </a:lnTo>
                    <a:lnTo>
                      <a:pt x="948" y="1084"/>
                    </a:lnTo>
                    <a:lnTo>
                      <a:pt x="946" y="1086"/>
                    </a:lnTo>
                    <a:lnTo>
                      <a:pt x="946" y="1086"/>
                    </a:lnTo>
                    <a:lnTo>
                      <a:pt x="946" y="1086"/>
                    </a:lnTo>
                    <a:lnTo>
                      <a:pt x="954" y="1086"/>
                    </a:lnTo>
                    <a:lnTo>
                      <a:pt x="964" y="1084"/>
                    </a:lnTo>
                    <a:lnTo>
                      <a:pt x="988" y="1078"/>
                    </a:lnTo>
                    <a:lnTo>
                      <a:pt x="988" y="1078"/>
                    </a:lnTo>
                    <a:lnTo>
                      <a:pt x="994" y="1078"/>
                    </a:lnTo>
                    <a:lnTo>
                      <a:pt x="990" y="1080"/>
                    </a:lnTo>
                    <a:lnTo>
                      <a:pt x="982" y="1084"/>
                    </a:lnTo>
                    <a:lnTo>
                      <a:pt x="972" y="1086"/>
                    </a:lnTo>
                    <a:lnTo>
                      <a:pt x="972" y="1086"/>
                    </a:lnTo>
                    <a:lnTo>
                      <a:pt x="954" y="1090"/>
                    </a:lnTo>
                    <a:lnTo>
                      <a:pt x="946" y="1092"/>
                    </a:lnTo>
                    <a:lnTo>
                      <a:pt x="936" y="1094"/>
                    </a:lnTo>
                    <a:lnTo>
                      <a:pt x="936" y="1094"/>
                    </a:lnTo>
                    <a:lnTo>
                      <a:pt x="932" y="1096"/>
                    </a:lnTo>
                    <a:lnTo>
                      <a:pt x="936" y="1096"/>
                    </a:lnTo>
                    <a:lnTo>
                      <a:pt x="942" y="1098"/>
                    </a:lnTo>
                    <a:lnTo>
                      <a:pt x="944" y="1098"/>
                    </a:lnTo>
                    <a:lnTo>
                      <a:pt x="946" y="1100"/>
                    </a:lnTo>
                    <a:lnTo>
                      <a:pt x="946" y="1100"/>
                    </a:lnTo>
                    <a:lnTo>
                      <a:pt x="944" y="1104"/>
                    </a:lnTo>
                    <a:lnTo>
                      <a:pt x="940" y="1106"/>
                    </a:lnTo>
                    <a:lnTo>
                      <a:pt x="934" y="1108"/>
                    </a:lnTo>
                    <a:lnTo>
                      <a:pt x="932" y="1114"/>
                    </a:lnTo>
                    <a:lnTo>
                      <a:pt x="932" y="1114"/>
                    </a:lnTo>
                    <a:lnTo>
                      <a:pt x="930" y="1118"/>
                    </a:lnTo>
                    <a:lnTo>
                      <a:pt x="928" y="1120"/>
                    </a:lnTo>
                    <a:lnTo>
                      <a:pt x="924" y="1122"/>
                    </a:lnTo>
                    <a:lnTo>
                      <a:pt x="920" y="1122"/>
                    </a:lnTo>
                    <a:lnTo>
                      <a:pt x="920" y="1128"/>
                    </a:lnTo>
                    <a:lnTo>
                      <a:pt x="920" y="1128"/>
                    </a:lnTo>
                    <a:lnTo>
                      <a:pt x="922" y="1132"/>
                    </a:lnTo>
                    <a:lnTo>
                      <a:pt x="924" y="1134"/>
                    </a:lnTo>
                    <a:lnTo>
                      <a:pt x="926" y="1134"/>
                    </a:lnTo>
                    <a:lnTo>
                      <a:pt x="928" y="1138"/>
                    </a:lnTo>
                    <a:lnTo>
                      <a:pt x="928" y="1138"/>
                    </a:lnTo>
                    <a:lnTo>
                      <a:pt x="928" y="1140"/>
                    </a:lnTo>
                    <a:lnTo>
                      <a:pt x="928" y="1142"/>
                    </a:lnTo>
                    <a:lnTo>
                      <a:pt x="922" y="1146"/>
                    </a:lnTo>
                    <a:lnTo>
                      <a:pt x="918" y="1150"/>
                    </a:lnTo>
                    <a:lnTo>
                      <a:pt x="918" y="1152"/>
                    </a:lnTo>
                    <a:lnTo>
                      <a:pt x="920" y="1152"/>
                    </a:lnTo>
                    <a:lnTo>
                      <a:pt x="920" y="1152"/>
                    </a:lnTo>
                    <a:lnTo>
                      <a:pt x="922" y="1156"/>
                    </a:lnTo>
                    <a:lnTo>
                      <a:pt x="922" y="1160"/>
                    </a:lnTo>
                    <a:lnTo>
                      <a:pt x="918" y="1164"/>
                    </a:lnTo>
                    <a:lnTo>
                      <a:pt x="910" y="1166"/>
                    </a:lnTo>
                    <a:lnTo>
                      <a:pt x="910" y="1166"/>
                    </a:lnTo>
                    <a:lnTo>
                      <a:pt x="904" y="1168"/>
                    </a:lnTo>
                    <a:lnTo>
                      <a:pt x="900" y="1168"/>
                    </a:lnTo>
                    <a:lnTo>
                      <a:pt x="898" y="1170"/>
                    </a:lnTo>
                    <a:lnTo>
                      <a:pt x="892" y="1172"/>
                    </a:lnTo>
                    <a:lnTo>
                      <a:pt x="892" y="1172"/>
                    </a:lnTo>
                    <a:lnTo>
                      <a:pt x="888" y="1174"/>
                    </a:lnTo>
                    <a:lnTo>
                      <a:pt x="884" y="1174"/>
                    </a:lnTo>
                    <a:lnTo>
                      <a:pt x="880" y="1176"/>
                    </a:lnTo>
                    <a:lnTo>
                      <a:pt x="876" y="1176"/>
                    </a:lnTo>
                    <a:lnTo>
                      <a:pt x="876" y="1176"/>
                    </a:lnTo>
                    <a:lnTo>
                      <a:pt x="866" y="1176"/>
                    </a:lnTo>
                    <a:lnTo>
                      <a:pt x="862" y="1176"/>
                    </a:lnTo>
                    <a:lnTo>
                      <a:pt x="860" y="1178"/>
                    </a:lnTo>
                    <a:lnTo>
                      <a:pt x="860" y="1178"/>
                    </a:lnTo>
                    <a:lnTo>
                      <a:pt x="860" y="1180"/>
                    </a:lnTo>
                    <a:lnTo>
                      <a:pt x="864" y="1180"/>
                    </a:lnTo>
                    <a:lnTo>
                      <a:pt x="868" y="1180"/>
                    </a:lnTo>
                    <a:lnTo>
                      <a:pt x="876" y="1180"/>
                    </a:lnTo>
                    <a:lnTo>
                      <a:pt x="876" y="1180"/>
                    </a:lnTo>
                    <a:lnTo>
                      <a:pt x="878" y="1182"/>
                    </a:lnTo>
                    <a:lnTo>
                      <a:pt x="880" y="1184"/>
                    </a:lnTo>
                    <a:lnTo>
                      <a:pt x="878" y="1186"/>
                    </a:lnTo>
                    <a:lnTo>
                      <a:pt x="878" y="1188"/>
                    </a:lnTo>
                    <a:lnTo>
                      <a:pt x="878" y="1188"/>
                    </a:lnTo>
                    <a:lnTo>
                      <a:pt x="886" y="1184"/>
                    </a:lnTo>
                    <a:lnTo>
                      <a:pt x="886" y="1184"/>
                    </a:lnTo>
                    <a:lnTo>
                      <a:pt x="892" y="1182"/>
                    </a:lnTo>
                    <a:lnTo>
                      <a:pt x="892" y="1184"/>
                    </a:lnTo>
                    <a:lnTo>
                      <a:pt x="890" y="1186"/>
                    </a:lnTo>
                    <a:lnTo>
                      <a:pt x="886" y="1190"/>
                    </a:lnTo>
                    <a:lnTo>
                      <a:pt x="886" y="1190"/>
                    </a:lnTo>
                    <a:lnTo>
                      <a:pt x="884" y="1190"/>
                    </a:lnTo>
                    <a:lnTo>
                      <a:pt x="882" y="1192"/>
                    </a:lnTo>
                    <a:lnTo>
                      <a:pt x="886" y="1194"/>
                    </a:lnTo>
                    <a:lnTo>
                      <a:pt x="890" y="1196"/>
                    </a:lnTo>
                    <a:lnTo>
                      <a:pt x="890" y="1198"/>
                    </a:lnTo>
                    <a:lnTo>
                      <a:pt x="890" y="1200"/>
                    </a:lnTo>
                    <a:lnTo>
                      <a:pt x="890" y="1200"/>
                    </a:lnTo>
                    <a:lnTo>
                      <a:pt x="886" y="1204"/>
                    </a:lnTo>
                    <a:lnTo>
                      <a:pt x="886" y="1206"/>
                    </a:lnTo>
                    <a:lnTo>
                      <a:pt x="884" y="1208"/>
                    </a:lnTo>
                    <a:lnTo>
                      <a:pt x="878" y="1208"/>
                    </a:lnTo>
                    <a:lnTo>
                      <a:pt x="878" y="1208"/>
                    </a:lnTo>
                    <a:lnTo>
                      <a:pt x="874" y="1208"/>
                    </a:lnTo>
                    <a:lnTo>
                      <a:pt x="872" y="1208"/>
                    </a:lnTo>
                    <a:lnTo>
                      <a:pt x="870" y="1204"/>
                    </a:lnTo>
                    <a:lnTo>
                      <a:pt x="868" y="1198"/>
                    </a:lnTo>
                    <a:lnTo>
                      <a:pt x="866" y="1198"/>
                    </a:lnTo>
                    <a:lnTo>
                      <a:pt x="864" y="1198"/>
                    </a:lnTo>
                    <a:lnTo>
                      <a:pt x="864" y="1198"/>
                    </a:lnTo>
                    <a:lnTo>
                      <a:pt x="862" y="1198"/>
                    </a:lnTo>
                    <a:lnTo>
                      <a:pt x="862" y="1200"/>
                    </a:lnTo>
                    <a:lnTo>
                      <a:pt x="862" y="1202"/>
                    </a:lnTo>
                    <a:lnTo>
                      <a:pt x="860" y="1204"/>
                    </a:lnTo>
                    <a:lnTo>
                      <a:pt x="860" y="1204"/>
                    </a:lnTo>
                    <a:lnTo>
                      <a:pt x="852" y="1204"/>
                    </a:lnTo>
                    <a:lnTo>
                      <a:pt x="848" y="1208"/>
                    </a:lnTo>
                    <a:lnTo>
                      <a:pt x="846" y="1210"/>
                    </a:lnTo>
                    <a:lnTo>
                      <a:pt x="846" y="1214"/>
                    </a:lnTo>
                    <a:lnTo>
                      <a:pt x="846" y="1214"/>
                    </a:lnTo>
                    <a:lnTo>
                      <a:pt x="846" y="1216"/>
                    </a:lnTo>
                    <a:lnTo>
                      <a:pt x="844" y="1218"/>
                    </a:lnTo>
                    <a:lnTo>
                      <a:pt x="840" y="1220"/>
                    </a:lnTo>
                    <a:lnTo>
                      <a:pt x="834" y="1222"/>
                    </a:lnTo>
                    <a:lnTo>
                      <a:pt x="832" y="1224"/>
                    </a:lnTo>
                    <a:lnTo>
                      <a:pt x="830" y="1228"/>
                    </a:lnTo>
                    <a:lnTo>
                      <a:pt x="830" y="1228"/>
                    </a:lnTo>
                    <a:lnTo>
                      <a:pt x="828" y="1234"/>
                    </a:lnTo>
                    <a:lnTo>
                      <a:pt x="824" y="1240"/>
                    </a:lnTo>
                    <a:lnTo>
                      <a:pt x="818" y="1246"/>
                    </a:lnTo>
                    <a:lnTo>
                      <a:pt x="812" y="1250"/>
                    </a:lnTo>
                    <a:lnTo>
                      <a:pt x="808" y="1252"/>
                    </a:lnTo>
                    <a:lnTo>
                      <a:pt x="806" y="1256"/>
                    </a:lnTo>
                    <a:lnTo>
                      <a:pt x="806" y="1256"/>
                    </a:lnTo>
                    <a:lnTo>
                      <a:pt x="806" y="1258"/>
                    </a:lnTo>
                    <a:lnTo>
                      <a:pt x="806" y="1260"/>
                    </a:lnTo>
                    <a:lnTo>
                      <a:pt x="810" y="1260"/>
                    </a:lnTo>
                    <a:lnTo>
                      <a:pt x="816" y="1258"/>
                    </a:lnTo>
                    <a:lnTo>
                      <a:pt x="816" y="1258"/>
                    </a:lnTo>
                    <a:lnTo>
                      <a:pt x="818" y="1258"/>
                    </a:lnTo>
                    <a:lnTo>
                      <a:pt x="818" y="1258"/>
                    </a:lnTo>
                    <a:lnTo>
                      <a:pt x="818" y="1262"/>
                    </a:lnTo>
                    <a:lnTo>
                      <a:pt x="820" y="1262"/>
                    </a:lnTo>
                    <a:lnTo>
                      <a:pt x="822" y="1264"/>
                    </a:lnTo>
                    <a:lnTo>
                      <a:pt x="822" y="1268"/>
                    </a:lnTo>
                    <a:lnTo>
                      <a:pt x="822" y="1268"/>
                    </a:lnTo>
                    <a:lnTo>
                      <a:pt x="824" y="1270"/>
                    </a:lnTo>
                    <a:lnTo>
                      <a:pt x="826" y="1270"/>
                    </a:lnTo>
                    <a:lnTo>
                      <a:pt x="834" y="1270"/>
                    </a:lnTo>
                    <a:lnTo>
                      <a:pt x="848" y="1264"/>
                    </a:lnTo>
                    <a:lnTo>
                      <a:pt x="862" y="1254"/>
                    </a:lnTo>
                    <a:lnTo>
                      <a:pt x="862" y="1254"/>
                    </a:lnTo>
                    <a:lnTo>
                      <a:pt x="868" y="1250"/>
                    </a:lnTo>
                    <a:lnTo>
                      <a:pt x="868" y="1246"/>
                    </a:lnTo>
                    <a:lnTo>
                      <a:pt x="868" y="1246"/>
                    </a:lnTo>
                    <a:lnTo>
                      <a:pt x="864" y="1244"/>
                    </a:lnTo>
                    <a:lnTo>
                      <a:pt x="858" y="1244"/>
                    </a:lnTo>
                    <a:lnTo>
                      <a:pt x="858" y="1244"/>
                    </a:lnTo>
                    <a:lnTo>
                      <a:pt x="862" y="1242"/>
                    </a:lnTo>
                    <a:lnTo>
                      <a:pt x="862" y="1242"/>
                    </a:lnTo>
                    <a:lnTo>
                      <a:pt x="870" y="1238"/>
                    </a:lnTo>
                    <a:lnTo>
                      <a:pt x="874" y="1236"/>
                    </a:lnTo>
                    <a:lnTo>
                      <a:pt x="876" y="1234"/>
                    </a:lnTo>
                    <a:lnTo>
                      <a:pt x="880" y="1236"/>
                    </a:lnTo>
                    <a:lnTo>
                      <a:pt x="880" y="1236"/>
                    </a:lnTo>
                    <a:lnTo>
                      <a:pt x="884" y="1236"/>
                    </a:lnTo>
                    <a:lnTo>
                      <a:pt x="884" y="1238"/>
                    </a:lnTo>
                    <a:lnTo>
                      <a:pt x="878" y="1240"/>
                    </a:lnTo>
                    <a:lnTo>
                      <a:pt x="874" y="1242"/>
                    </a:lnTo>
                    <a:lnTo>
                      <a:pt x="872" y="1244"/>
                    </a:lnTo>
                    <a:lnTo>
                      <a:pt x="874" y="1246"/>
                    </a:lnTo>
                    <a:lnTo>
                      <a:pt x="880" y="1248"/>
                    </a:lnTo>
                    <a:lnTo>
                      <a:pt x="880" y="1248"/>
                    </a:lnTo>
                    <a:lnTo>
                      <a:pt x="884" y="1250"/>
                    </a:lnTo>
                    <a:lnTo>
                      <a:pt x="880" y="1254"/>
                    </a:lnTo>
                    <a:lnTo>
                      <a:pt x="860" y="1262"/>
                    </a:lnTo>
                    <a:lnTo>
                      <a:pt x="860" y="1262"/>
                    </a:lnTo>
                    <a:lnTo>
                      <a:pt x="854" y="1266"/>
                    </a:lnTo>
                    <a:lnTo>
                      <a:pt x="854" y="1266"/>
                    </a:lnTo>
                    <a:lnTo>
                      <a:pt x="854" y="1266"/>
                    </a:lnTo>
                    <a:lnTo>
                      <a:pt x="858" y="1268"/>
                    </a:lnTo>
                    <a:lnTo>
                      <a:pt x="858" y="1268"/>
                    </a:lnTo>
                    <a:lnTo>
                      <a:pt x="856" y="1268"/>
                    </a:lnTo>
                    <a:lnTo>
                      <a:pt x="856" y="1268"/>
                    </a:lnTo>
                    <a:lnTo>
                      <a:pt x="856" y="1270"/>
                    </a:lnTo>
                    <a:lnTo>
                      <a:pt x="856" y="1272"/>
                    </a:lnTo>
                    <a:lnTo>
                      <a:pt x="858" y="1272"/>
                    </a:lnTo>
                    <a:lnTo>
                      <a:pt x="862" y="1274"/>
                    </a:lnTo>
                    <a:lnTo>
                      <a:pt x="860" y="1276"/>
                    </a:lnTo>
                    <a:lnTo>
                      <a:pt x="860" y="1276"/>
                    </a:lnTo>
                    <a:lnTo>
                      <a:pt x="856" y="1276"/>
                    </a:lnTo>
                    <a:lnTo>
                      <a:pt x="852" y="1276"/>
                    </a:lnTo>
                    <a:lnTo>
                      <a:pt x="844" y="1276"/>
                    </a:lnTo>
                    <a:lnTo>
                      <a:pt x="836" y="1276"/>
                    </a:lnTo>
                    <a:lnTo>
                      <a:pt x="830" y="1276"/>
                    </a:lnTo>
                    <a:lnTo>
                      <a:pt x="826" y="1280"/>
                    </a:lnTo>
                    <a:lnTo>
                      <a:pt x="826" y="1280"/>
                    </a:lnTo>
                    <a:lnTo>
                      <a:pt x="822" y="1282"/>
                    </a:lnTo>
                    <a:lnTo>
                      <a:pt x="822" y="1282"/>
                    </a:lnTo>
                    <a:lnTo>
                      <a:pt x="822" y="1276"/>
                    </a:lnTo>
                    <a:lnTo>
                      <a:pt x="818" y="1268"/>
                    </a:lnTo>
                    <a:lnTo>
                      <a:pt x="818" y="1268"/>
                    </a:lnTo>
                    <a:lnTo>
                      <a:pt x="814" y="1262"/>
                    </a:lnTo>
                    <a:lnTo>
                      <a:pt x="810" y="1262"/>
                    </a:lnTo>
                    <a:lnTo>
                      <a:pt x="806" y="1266"/>
                    </a:lnTo>
                    <a:lnTo>
                      <a:pt x="798" y="1268"/>
                    </a:lnTo>
                    <a:lnTo>
                      <a:pt x="798" y="1268"/>
                    </a:lnTo>
                    <a:lnTo>
                      <a:pt x="796" y="1268"/>
                    </a:lnTo>
                    <a:lnTo>
                      <a:pt x="794" y="1270"/>
                    </a:lnTo>
                    <a:lnTo>
                      <a:pt x="792" y="1274"/>
                    </a:lnTo>
                    <a:lnTo>
                      <a:pt x="792" y="1276"/>
                    </a:lnTo>
                    <a:lnTo>
                      <a:pt x="790" y="1274"/>
                    </a:lnTo>
                    <a:lnTo>
                      <a:pt x="790" y="1274"/>
                    </a:lnTo>
                    <a:lnTo>
                      <a:pt x="784" y="1274"/>
                    </a:lnTo>
                    <a:lnTo>
                      <a:pt x="778" y="1274"/>
                    </a:lnTo>
                    <a:lnTo>
                      <a:pt x="762" y="1280"/>
                    </a:lnTo>
                    <a:lnTo>
                      <a:pt x="762" y="1280"/>
                    </a:lnTo>
                    <a:lnTo>
                      <a:pt x="760" y="1282"/>
                    </a:lnTo>
                    <a:lnTo>
                      <a:pt x="760" y="1284"/>
                    </a:lnTo>
                    <a:lnTo>
                      <a:pt x="766" y="1288"/>
                    </a:lnTo>
                    <a:lnTo>
                      <a:pt x="768" y="1290"/>
                    </a:lnTo>
                    <a:lnTo>
                      <a:pt x="768" y="1292"/>
                    </a:lnTo>
                    <a:lnTo>
                      <a:pt x="766" y="1294"/>
                    </a:lnTo>
                    <a:lnTo>
                      <a:pt x="760" y="1294"/>
                    </a:lnTo>
                    <a:lnTo>
                      <a:pt x="760" y="1294"/>
                    </a:lnTo>
                    <a:lnTo>
                      <a:pt x="754" y="1296"/>
                    </a:lnTo>
                    <a:lnTo>
                      <a:pt x="752" y="1298"/>
                    </a:lnTo>
                    <a:lnTo>
                      <a:pt x="752" y="1298"/>
                    </a:lnTo>
                    <a:lnTo>
                      <a:pt x="752" y="1300"/>
                    </a:lnTo>
                    <a:lnTo>
                      <a:pt x="756" y="1302"/>
                    </a:lnTo>
                    <a:lnTo>
                      <a:pt x="746" y="1300"/>
                    </a:lnTo>
                    <a:lnTo>
                      <a:pt x="746" y="1300"/>
                    </a:lnTo>
                    <a:lnTo>
                      <a:pt x="738" y="1298"/>
                    </a:lnTo>
                    <a:lnTo>
                      <a:pt x="742" y="1300"/>
                    </a:lnTo>
                    <a:lnTo>
                      <a:pt x="744" y="1304"/>
                    </a:lnTo>
                    <a:lnTo>
                      <a:pt x="744" y="1306"/>
                    </a:lnTo>
                    <a:lnTo>
                      <a:pt x="740" y="1308"/>
                    </a:lnTo>
                    <a:lnTo>
                      <a:pt x="740" y="1308"/>
                    </a:lnTo>
                    <a:lnTo>
                      <a:pt x="728" y="1308"/>
                    </a:lnTo>
                    <a:lnTo>
                      <a:pt x="716" y="1308"/>
                    </a:lnTo>
                    <a:lnTo>
                      <a:pt x="708" y="1306"/>
                    </a:lnTo>
                    <a:lnTo>
                      <a:pt x="704" y="1308"/>
                    </a:lnTo>
                    <a:lnTo>
                      <a:pt x="704" y="1308"/>
                    </a:lnTo>
                    <a:lnTo>
                      <a:pt x="702" y="1310"/>
                    </a:lnTo>
                    <a:lnTo>
                      <a:pt x="702" y="1316"/>
                    </a:lnTo>
                    <a:lnTo>
                      <a:pt x="704" y="1318"/>
                    </a:lnTo>
                    <a:lnTo>
                      <a:pt x="708" y="1320"/>
                    </a:lnTo>
                    <a:lnTo>
                      <a:pt x="712" y="1320"/>
                    </a:lnTo>
                    <a:lnTo>
                      <a:pt x="718" y="1320"/>
                    </a:lnTo>
                    <a:lnTo>
                      <a:pt x="718" y="1320"/>
                    </a:lnTo>
                    <a:lnTo>
                      <a:pt x="726" y="1318"/>
                    </a:lnTo>
                    <a:lnTo>
                      <a:pt x="724" y="1320"/>
                    </a:lnTo>
                    <a:lnTo>
                      <a:pt x="720" y="1324"/>
                    </a:lnTo>
                    <a:lnTo>
                      <a:pt x="720" y="1328"/>
                    </a:lnTo>
                    <a:lnTo>
                      <a:pt x="722" y="1332"/>
                    </a:lnTo>
                    <a:lnTo>
                      <a:pt x="722" y="1332"/>
                    </a:lnTo>
                    <a:lnTo>
                      <a:pt x="724" y="1334"/>
                    </a:lnTo>
                    <a:lnTo>
                      <a:pt x="718" y="1332"/>
                    </a:lnTo>
                    <a:lnTo>
                      <a:pt x="704" y="1328"/>
                    </a:lnTo>
                    <a:lnTo>
                      <a:pt x="696" y="1328"/>
                    </a:lnTo>
                    <a:lnTo>
                      <a:pt x="686" y="1330"/>
                    </a:lnTo>
                    <a:lnTo>
                      <a:pt x="686" y="1330"/>
                    </a:lnTo>
                    <a:lnTo>
                      <a:pt x="678" y="1334"/>
                    </a:lnTo>
                    <a:lnTo>
                      <a:pt x="676" y="1336"/>
                    </a:lnTo>
                    <a:lnTo>
                      <a:pt x="678" y="1336"/>
                    </a:lnTo>
                    <a:lnTo>
                      <a:pt x="682" y="1338"/>
                    </a:lnTo>
                    <a:lnTo>
                      <a:pt x="694" y="1340"/>
                    </a:lnTo>
                    <a:lnTo>
                      <a:pt x="698" y="1342"/>
                    </a:lnTo>
                    <a:lnTo>
                      <a:pt x="702" y="1344"/>
                    </a:lnTo>
                    <a:lnTo>
                      <a:pt x="702" y="1344"/>
                    </a:lnTo>
                    <a:lnTo>
                      <a:pt x="704" y="1348"/>
                    </a:lnTo>
                    <a:lnTo>
                      <a:pt x="700" y="1346"/>
                    </a:lnTo>
                    <a:lnTo>
                      <a:pt x="696" y="1344"/>
                    </a:lnTo>
                    <a:lnTo>
                      <a:pt x="692" y="1344"/>
                    </a:lnTo>
                    <a:lnTo>
                      <a:pt x="684" y="1344"/>
                    </a:lnTo>
                    <a:lnTo>
                      <a:pt x="676" y="1346"/>
                    </a:lnTo>
                    <a:lnTo>
                      <a:pt x="676" y="1346"/>
                    </a:lnTo>
                    <a:lnTo>
                      <a:pt x="668" y="1350"/>
                    </a:lnTo>
                    <a:lnTo>
                      <a:pt x="664" y="1354"/>
                    </a:lnTo>
                    <a:lnTo>
                      <a:pt x="662" y="1356"/>
                    </a:lnTo>
                    <a:lnTo>
                      <a:pt x="662" y="1358"/>
                    </a:lnTo>
                    <a:lnTo>
                      <a:pt x="664" y="1358"/>
                    </a:lnTo>
                    <a:lnTo>
                      <a:pt x="658" y="1358"/>
                    </a:lnTo>
                    <a:lnTo>
                      <a:pt x="658" y="1358"/>
                    </a:lnTo>
                    <a:lnTo>
                      <a:pt x="654" y="1358"/>
                    </a:lnTo>
                    <a:lnTo>
                      <a:pt x="652" y="1358"/>
                    </a:lnTo>
                    <a:lnTo>
                      <a:pt x="652" y="1360"/>
                    </a:lnTo>
                    <a:lnTo>
                      <a:pt x="654" y="1362"/>
                    </a:lnTo>
                    <a:lnTo>
                      <a:pt x="652" y="1364"/>
                    </a:lnTo>
                    <a:lnTo>
                      <a:pt x="646" y="1362"/>
                    </a:lnTo>
                    <a:lnTo>
                      <a:pt x="646" y="1362"/>
                    </a:lnTo>
                    <a:lnTo>
                      <a:pt x="628" y="1360"/>
                    </a:lnTo>
                    <a:lnTo>
                      <a:pt x="628" y="1360"/>
                    </a:lnTo>
                    <a:lnTo>
                      <a:pt x="628" y="1362"/>
                    </a:lnTo>
                    <a:lnTo>
                      <a:pt x="632" y="1366"/>
                    </a:lnTo>
                    <a:lnTo>
                      <a:pt x="632" y="1366"/>
                    </a:lnTo>
                    <a:lnTo>
                      <a:pt x="632" y="1368"/>
                    </a:lnTo>
                    <a:lnTo>
                      <a:pt x="632" y="1368"/>
                    </a:lnTo>
                    <a:lnTo>
                      <a:pt x="626" y="1370"/>
                    </a:lnTo>
                    <a:lnTo>
                      <a:pt x="622" y="1370"/>
                    </a:lnTo>
                    <a:lnTo>
                      <a:pt x="622" y="1370"/>
                    </a:lnTo>
                    <a:lnTo>
                      <a:pt x="624" y="1372"/>
                    </a:lnTo>
                    <a:lnTo>
                      <a:pt x="624" y="1372"/>
                    </a:lnTo>
                    <a:lnTo>
                      <a:pt x="628" y="1374"/>
                    </a:lnTo>
                    <a:lnTo>
                      <a:pt x="632" y="1376"/>
                    </a:lnTo>
                    <a:lnTo>
                      <a:pt x="644" y="1376"/>
                    </a:lnTo>
                    <a:lnTo>
                      <a:pt x="660" y="1378"/>
                    </a:lnTo>
                    <a:lnTo>
                      <a:pt x="666" y="1378"/>
                    </a:lnTo>
                    <a:lnTo>
                      <a:pt x="674" y="1382"/>
                    </a:lnTo>
                    <a:lnTo>
                      <a:pt x="674" y="1382"/>
                    </a:lnTo>
                    <a:lnTo>
                      <a:pt x="682" y="1386"/>
                    </a:lnTo>
                    <a:lnTo>
                      <a:pt x="680" y="1386"/>
                    </a:lnTo>
                    <a:lnTo>
                      <a:pt x="672" y="1384"/>
                    </a:lnTo>
                    <a:lnTo>
                      <a:pt x="668" y="1384"/>
                    </a:lnTo>
                    <a:lnTo>
                      <a:pt x="664" y="1386"/>
                    </a:lnTo>
                    <a:lnTo>
                      <a:pt x="664" y="1386"/>
                    </a:lnTo>
                    <a:lnTo>
                      <a:pt x="662" y="1386"/>
                    </a:lnTo>
                    <a:lnTo>
                      <a:pt x="660" y="1386"/>
                    </a:lnTo>
                    <a:lnTo>
                      <a:pt x="654" y="1382"/>
                    </a:lnTo>
                    <a:lnTo>
                      <a:pt x="648" y="1380"/>
                    </a:lnTo>
                    <a:lnTo>
                      <a:pt x="644" y="1378"/>
                    </a:lnTo>
                    <a:lnTo>
                      <a:pt x="638" y="1380"/>
                    </a:lnTo>
                    <a:lnTo>
                      <a:pt x="630" y="1384"/>
                    </a:lnTo>
                    <a:lnTo>
                      <a:pt x="630" y="1384"/>
                    </a:lnTo>
                    <a:lnTo>
                      <a:pt x="624" y="1390"/>
                    </a:lnTo>
                    <a:lnTo>
                      <a:pt x="622" y="1394"/>
                    </a:lnTo>
                    <a:lnTo>
                      <a:pt x="624" y="1396"/>
                    </a:lnTo>
                    <a:lnTo>
                      <a:pt x="626" y="1398"/>
                    </a:lnTo>
                    <a:lnTo>
                      <a:pt x="632" y="1404"/>
                    </a:lnTo>
                    <a:lnTo>
                      <a:pt x="632" y="1404"/>
                    </a:lnTo>
                    <a:lnTo>
                      <a:pt x="628" y="1406"/>
                    </a:lnTo>
                    <a:lnTo>
                      <a:pt x="628" y="1406"/>
                    </a:lnTo>
                    <a:lnTo>
                      <a:pt x="622" y="1410"/>
                    </a:lnTo>
                    <a:lnTo>
                      <a:pt x="622" y="1412"/>
                    </a:lnTo>
                    <a:lnTo>
                      <a:pt x="624" y="1412"/>
                    </a:lnTo>
                    <a:lnTo>
                      <a:pt x="628" y="1416"/>
                    </a:lnTo>
                    <a:lnTo>
                      <a:pt x="628" y="1416"/>
                    </a:lnTo>
                    <a:lnTo>
                      <a:pt x="626" y="1418"/>
                    </a:lnTo>
                    <a:lnTo>
                      <a:pt x="626" y="1418"/>
                    </a:lnTo>
                    <a:lnTo>
                      <a:pt x="626" y="1420"/>
                    </a:lnTo>
                    <a:lnTo>
                      <a:pt x="624" y="1424"/>
                    </a:lnTo>
                    <a:lnTo>
                      <a:pt x="626" y="1426"/>
                    </a:lnTo>
                    <a:lnTo>
                      <a:pt x="628" y="1428"/>
                    </a:lnTo>
                    <a:lnTo>
                      <a:pt x="632" y="1430"/>
                    </a:lnTo>
                    <a:lnTo>
                      <a:pt x="636" y="1430"/>
                    </a:lnTo>
                    <a:lnTo>
                      <a:pt x="642" y="1430"/>
                    </a:lnTo>
                    <a:lnTo>
                      <a:pt x="648" y="1428"/>
                    </a:lnTo>
                    <a:lnTo>
                      <a:pt x="648" y="1428"/>
                    </a:lnTo>
                    <a:lnTo>
                      <a:pt x="654" y="1424"/>
                    </a:lnTo>
                    <a:lnTo>
                      <a:pt x="660" y="1424"/>
                    </a:lnTo>
                    <a:lnTo>
                      <a:pt x="670" y="1426"/>
                    </a:lnTo>
                    <a:lnTo>
                      <a:pt x="678" y="1428"/>
                    </a:lnTo>
                    <a:lnTo>
                      <a:pt x="680" y="1426"/>
                    </a:lnTo>
                    <a:lnTo>
                      <a:pt x="684" y="1422"/>
                    </a:lnTo>
                    <a:lnTo>
                      <a:pt x="684" y="1422"/>
                    </a:lnTo>
                    <a:lnTo>
                      <a:pt x="686" y="1420"/>
                    </a:lnTo>
                    <a:lnTo>
                      <a:pt x="688" y="1418"/>
                    </a:lnTo>
                    <a:lnTo>
                      <a:pt x="692" y="1420"/>
                    </a:lnTo>
                    <a:lnTo>
                      <a:pt x="700" y="1424"/>
                    </a:lnTo>
                    <a:lnTo>
                      <a:pt x="704" y="1426"/>
                    </a:lnTo>
                    <a:lnTo>
                      <a:pt x="710" y="1426"/>
                    </a:lnTo>
                    <a:lnTo>
                      <a:pt x="710" y="1426"/>
                    </a:lnTo>
                    <a:lnTo>
                      <a:pt x="720" y="1424"/>
                    </a:lnTo>
                    <a:lnTo>
                      <a:pt x="726" y="1424"/>
                    </a:lnTo>
                    <a:lnTo>
                      <a:pt x="726" y="1426"/>
                    </a:lnTo>
                    <a:lnTo>
                      <a:pt x="724" y="1426"/>
                    </a:lnTo>
                    <a:lnTo>
                      <a:pt x="716" y="1430"/>
                    </a:lnTo>
                    <a:lnTo>
                      <a:pt x="716" y="1430"/>
                    </a:lnTo>
                    <a:lnTo>
                      <a:pt x="710" y="1432"/>
                    </a:lnTo>
                    <a:lnTo>
                      <a:pt x="708" y="1434"/>
                    </a:lnTo>
                    <a:lnTo>
                      <a:pt x="708" y="1436"/>
                    </a:lnTo>
                    <a:lnTo>
                      <a:pt x="708" y="1438"/>
                    </a:lnTo>
                    <a:lnTo>
                      <a:pt x="708" y="1440"/>
                    </a:lnTo>
                    <a:lnTo>
                      <a:pt x="700" y="1434"/>
                    </a:lnTo>
                    <a:lnTo>
                      <a:pt x="700" y="1434"/>
                    </a:lnTo>
                    <a:lnTo>
                      <a:pt x="694" y="1428"/>
                    </a:lnTo>
                    <a:lnTo>
                      <a:pt x="690" y="1428"/>
                    </a:lnTo>
                    <a:lnTo>
                      <a:pt x="688" y="1428"/>
                    </a:lnTo>
                    <a:lnTo>
                      <a:pt x="686" y="1430"/>
                    </a:lnTo>
                    <a:lnTo>
                      <a:pt x="682" y="1434"/>
                    </a:lnTo>
                    <a:lnTo>
                      <a:pt x="680" y="1434"/>
                    </a:lnTo>
                    <a:lnTo>
                      <a:pt x="676" y="1432"/>
                    </a:lnTo>
                    <a:lnTo>
                      <a:pt x="676" y="1432"/>
                    </a:lnTo>
                    <a:lnTo>
                      <a:pt x="672" y="1430"/>
                    </a:lnTo>
                    <a:lnTo>
                      <a:pt x="666" y="1430"/>
                    </a:lnTo>
                    <a:lnTo>
                      <a:pt x="656" y="1432"/>
                    </a:lnTo>
                    <a:lnTo>
                      <a:pt x="646" y="1436"/>
                    </a:lnTo>
                    <a:lnTo>
                      <a:pt x="640" y="1436"/>
                    </a:lnTo>
                    <a:lnTo>
                      <a:pt x="636" y="1436"/>
                    </a:lnTo>
                    <a:lnTo>
                      <a:pt x="636" y="1436"/>
                    </a:lnTo>
                    <a:lnTo>
                      <a:pt x="626" y="1434"/>
                    </a:lnTo>
                    <a:lnTo>
                      <a:pt x="624" y="1436"/>
                    </a:lnTo>
                    <a:lnTo>
                      <a:pt x="626" y="1442"/>
                    </a:lnTo>
                    <a:lnTo>
                      <a:pt x="626" y="1442"/>
                    </a:lnTo>
                    <a:lnTo>
                      <a:pt x="626" y="1446"/>
                    </a:lnTo>
                    <a:lnTo>
                      <a:pt x="626" y="1448"/>
                    </a:lnTo>
                    <a:lnTo>
                      <a:pt x="632" y="1448"/>
                    </a:lnTo>
                    <a:lnTo>
                      <a:pt x="636" y="1448"/>
                    </a:lnTo>
                    <a:lnTo>
                      <a:pt x="636" y="1450"/>
                    </a:lnTo>
                    <a:lnTo>
                      <a:pt x="638" y="1454"/>
                    </a:lnTo>
                    <a:lnTo>
                      <a:pt x="638" y="1454"/>
                    </a:lnTo>
                    <a:lnTo>
                      <a:pt x="636" y="1456"/>
                    </a:lnTo>
                    <a:lnTo>
                      <a:pt x="636" y="1456"/>
                    </a:lnTo>
                    <a:lnTo>
                      <a:pt x="630" y="1454"/>
                    </a:lnTo>
                    <a:lnTo>
                      <a:pt x="626" y="1454"/>
                    </a:lnTo>
                    <a:lnTo>
                      <a:pt x="624" y="1454"/>
                    </a:lnTo>
                    <a:lnTo>
                      <a:pt x="626" y="1458"/>
                    </a:lnTo>
                    <a:lnTo>
                      <a:pt x="626" y="1458"/>
                    </a:lnTo>
                    <a:lnTo>
                      <a:pt x="628" y="1460"/>
                    </a:lnTo>
                    <a:lnTo>
                      <a:pt x="630" y="1462"/>
                    </a:lnTo>
                    <a:lnTo>
                      <a:pt x="634" y="1462"/>
                    </a:lnTo>
                    <a:lnTo>
                      <a:pt x="638" y="1462"/>
                    </a:lnTo>
                    <a:lnTo>
                      <a:pt x="640" y="1464"/>
                    </a:lnTo>
                    <a:lnTo>
                      <a:pt x="638" y="1468"/>
                    </a:lnTo>
                    <a:lnTo>
                      <a:pt x="638" y="1468"/>
                    </a:lnTo>
                    <a:lnTo>
                      <a:pt x="638" y="1472"/>
                    </a:lnTo>
                    <a:lnTo>
                      <a:pt x="636" y="1476"/>
                    </a:lnTo>
                    <a:lnTo>
                      <a:pt x="630" y="1478"/>
                    </a:lnTo>
                    <a:lnTo>
                      <a:pt x="626" y="1480"/>
                    </a:lnTo>
                    <a:lnTo>
                      <a:pt x="626" y="1480"/>
                    </a:lnTo>
                    <a:lnTo>
                      <a:pt x="626" y="1482"/>
                    </a:lnTo>
                    <a:lnTo>
                      <a:pt x="626" y="1482"/>
                    </a:lnTo>
                    <a:lnTo>
                      <a:pt x="636" y="1490"/>
                    </a:lnTo>
                    <a:lnTo>
                      <a:pt x="638" y="1492"/>
                    </a:lnTo>
                    <a:lnTo>
                      <a:pt x="642" y="1490"/>
                    </a:lnTo>
                    <a:lnTo>
                      <a:pt x="642" y="1490"/>
                    </a:lnTo>
                    <a:lnTo>
                      <a:pt x="646" y="1488"/>
                    </a:lnTo>
                    <a:lnTo>
                      <a:pt x="646" y="1488"/>
                    </a:lnTo>
                    <a:lnTo>
                      <a:pt x="648" y="1490"/>
                    </a:lnTo>
                    <a:lnTo>
                      <a:pt x="650" y="1494"/>
                    </a:lnTo>
                    <a:lnTo>
                      <a:pt x="650" y="1494"/>
                    </a:lnTo>
                    <a:lnTo>
                      <a:pt x="652" y="1492"/>
                    </a:lnTo>
                    <a:lnTo>
                      <a:pt x="652" y="1492"/>
                    </a:lnTo>
                    <a:lnTo>
                      <a:pt x="654" y="1492"/>
                    </a:lnTo>
                    <a:lnTo>
                      <a:pt x="654" y="1492"/>
                    </a:lnTo>
                    <a:lnTo>
                      <a:pt x="654" y="1496"/>
                    </a:lnTo>
                    <a:lnTo>
                      <a:pt x="654" y="1500"/>
                    </a:lnTo>
                    <a:lnTo>
                      <a:pt x="654" y="1502"/>
                    </a:lnTo>
                    <a:lnTo>
                      <a:pt x="656" y="1502"/>
                    </a:lnTo>
                    <a:lnTo>
                      <a:pt x="656" y="1502"/>
                    </a:lnTo>
                    <a:lnTo>
                      <a:pt x="658" y="1502"/>
                    </a:lnTo>
                    <a:lnTo>
                      <a:pt x="658" y="1500"/>
                    </a:lnTo>
                    <a:lnTo>
                      <a:pt x="660" y="1494"/>
                    </a:lnTo>
                    <a:lnTo>
                      <a:pt x="662" y="1488"/>
                    </a:lnTo>
                    <a:lnTo>
                      <a:pt x="662" y="1486"/>
                    </a:lnTo>
                    <a:lnTo>
                      <a:pt x="666" y="1486"/>
                    </a:lnTo>
                    <a:lnTo>
                      <a:pt x="666" y="1486"/>
                    </a:lnTo>
                    <a:lnTo>
                      <a:pt x="668" y="1486"/>
                    </a:lnTo>
                    <a:lnTo>
                      <a:pt x="670" y="1488"/>
                    </a:lnTo>
                    <a:lnTo>
                      <a:pt x="666" y="1496"/>
                    </a:lnTo>
                    <a:lnTo>
                      <a:pt x="660" y="1504"/>
                    </a:lnTo>
                    <a:lnTo>
                      <a:pt x="654" y="1508"/>
                    </a:lnTo>
                    <a:lnTo>
                      <a:pt x="654" y="1508"/>
                    </a:lnTo>
                    <a:lnTo>
                      <a:pt x="652" y="1510"/>
                    </a:lnTo>
                    <a:lnTo>
                      <a:pt x="650" y="1512"/>
                    </a:lnTo>
                    <a:lnTo>
                      <a:pt x="654" y="1514"/>
                    </a:lnTo>
                    <a:lnTo>
                      <a:pt x="658" y="1518"/>
                    </a:lnTo>
                    <a:lnTo>
                      <a:pt x="658" y="1520"/>
                    </a:lnTo>
                    <a:lnTo>
                      <a:pt x="656" y="1522"/>
                    </a:lnTo>
                    <a:lnTo>
                      <a:pt x="656" y="1522"/>
                    </a:lnTo>
                    <a:lnTo>
                      <a:pt x="650" y="1524"/>
                    </a:lnTo>
                    <a:lnTo>
                      <a:pt x="648" y="1522"/>
                    </a:lnTo>
                    <a:lnTo>
                      <a:pt x="644" y="1522"/>
                    </a:lnTo>
                    <a:lnTo>
                      <a:pt x="636" y="1526"/>
                    </a:lnTo>
                    <a:lnTo>
                      <a:pt x="636" y="1526"/>
                    </a:lnTo>
                    <a:lnTo>
                      <a:pt x="632" y="1530"/>
                    </a:lnTo>
                    <a:lnTo>
                      <a:pt x="632" y="1536"/>
                    </a:lnTo>
                    <a:lnTo>
                      <a:pt x="632" y="1540"/>
                    </a:lnTo>
                    <a:lnTo>
                      <a:pt x="634" y="1544"/>
                    </a:lnTo>
                    <a:lnTo>
                      <a:pt x="640" y="1548"/>
                    </a:lnTo>
                    <a:lnTo>
                      <a:pt x="644" y="1548"/>
                    </a:lnTo>
                    <a:lnTo>
                      <a:pt x="646" y="1548"/>
                    </a:lnTo>
                    <a:lnTo>
                      <a:pt x="646" y="1548"/>
                    </a:lnTo>
                    <a:lnTo>
                      <a:pt x="646" y="1546"/>
                    </a:lnTo>
                    <a:lnTo>
                      <a:pt x="648" y="1546"/>
                    </a:lnTo>
                    <a:lnTo>
                      <a:pt x="650" y="1546"/>
                    </a:lnTo>
                    <a:lnTo>
                      <a:pt x="654" y="1548"/>
                    </a:lnTo>
                    <a:lnTo>
                      <a:pt x="656" y="1544"/>
                    </a:lnTo>
                    <a:lnTo>
                      <a:pt x="656" y="1544"/>
                    </a:lnTo>
                    <a:lnTo>
                      <a:pt x="658" y="1542"/>
                    </a:lnTo>
                    <a:lnTo>
                      <a:pt x="660" y="1540"/>
                    </a:lnTo>
                    <a:lnTo>
                      <a:pt x="664" y="1542"/>
                    </a:lnTo>
                    <a:lnTo>
                      <a:pt x="666" y="1544"/>
                    </a:lnTo>
                    <a:lnTo>
                      <a:pt x="664" y="1548"/>
                    </a:lnTo>
                    <a:lnTo>
                      <a:pt x="662" y="1548"/>
                    </a:lnTo>
                    <a:lnTo>
                      <a:pt x="662" y="1548"/>
                    </a:lnTo>
                    <a:lnTo>
                      <a:pt x="660" y="1550"/>
                    </a:lnTo>
                    <a:lnTo>
                      <a:pt x="660" y="1552"/>
                    </a:lnTo>
                    <a:lnTo>
                      <a:pt x="662" y="1554"/>
                    </a:lnTo>
                    <a:lnTo>
                      <a:pt x="664" y="1556"/>
                    </a:lnTo>
                    <a:lnTo>
                      <a:pt x="662" y="1558"/>
                    </a:lnTo>
                    <a:lnTo>
                      <a:pt x="662" y="1558"/>
                    </a:lnTo>
                    <a:lnTo>
                      <a:pt x="660" y="1560"/>
                    </a:lnTo>
                    <a:lnTo>
                      <a:pt x="660" y="1562"/>
                    </a:lnTo>
                    <a:lnTo>
                      <a:pt x="662" y="1564"/>
                    </a:lnTo>
                    <a:lnTo>
                      <a:pt x="662" y="1568"/>
                    </a:lnTo>
                    <a:lnTo>
                      <a:pt x="662" y="1568"/>
                    </a:lnTo>
                    <a:lnTo>
                      <a:pt x="658" y="1570"/>
                    </a:lnTo>
                    <a:lnTo>
                      <a:pt x="658" y="1570"/>
                    </a:lnTo>
                    <a:lnTo>
                      <a:pt x="654" y="1572"/>
                    </a:lnTo>
                    <a:lnTo>
                      <a:pt x="652" y="1570"/>
                    </a:lnTo>
                    <a:lnTo>
                      <a:pt x="648" y="1568"/>
                    </a:lnTo>
                    <a:lnTo>
                      <a:pt x="646" y="1566"/>
                    </a:lnTo>
                    <a:lnTo>
                      <a:pt x="646" y="1566"/>
                    </a:lnTo>
                    <a:lnTo>
                      <a:pt x="644" y="1576"/>
                    </a:lnTo>
                    <a:lnTo>
                      <a:pt x="644" y="1576"/>
                    </a:lnTo>
                    <a:lnTo>
                      <a:pt x="642" y="1586"/>
                    </a:lnTo>
                    <a:lnTo>
                      <a:pt x="646" y="1592"/>
                    </a:lnTo>
                    <a:lnTo>
                      <a:pt x="646" y="1592"/>
                    </a:lnTo>
                    <a:lnTo>
                      <a:pt x="652" y="1598"/>
                    </a:lnTo>
                    <a:lnTo>
                      <a:pt x="658" y="1600"/>
                    </a:lnTo>
                    <a:lnTo>
                      <a:pt x="662" y="1600"/>
                    </a:lnTo>
                    <a:lnTo>
                      <a:pt x="664" y="1604"/>
                    </a:lnTo>
                    <a:lnTo>
                      <a:pt x="664" y="1604"/>
                    </a:lnTo>
                    <a:lnTo>
                      <a:pt x="668" y="1608"/>
                    </a:lnTo>
                    <a:lnTo>
                      <a:pt x="674" y="1612"/>
                    </a:lnTo>
                    <a:lnTo>
                      <a:pt x="688" y="1616"/>
                    </a:lnTo>
                    <a:lnTo>
                      <a:pt x="688" y="1616"/>
                    </a:lnTo>
                    <a:lnTo>
                      <a:pt x="690" y="1618"/>
                    </a:lnTo>
                    <a:lnTo>
                      <a:pt x="688" y="1620"/>
                    </a:lnTo>
                    <a:lnTo>
                      <a:pt x="688" y="1624"/>
                    </a:lnTo>
                    <a:lnTo>
                      <a:pt x="688" y="1624"/>
                    </a:lnTo>
                    <a:lnTo>
                      <a:pt x="690" y="1626"/>
                    </a:lnTo>
                    <a:lnTo>
                      <a:pt x="690" y="1626"/>
                    </a:lnTo>
                    <a:lnTo>
                      <a:pt x="692" y="1628"/>
                    </a:lnTo>
                    <a:lnTo>
                      <a:pt x="694" y="1628"/>
                    </a:lnTo>
                    <a:lnTo>
                      <a:pt x="696" y="1626"/>
                    </a:lnTo>
                    <a:lnTo>
                      <a:pt x="700" y="1626"/>
                    </a:lnTo>
                    <a:lnTo>
                      <a:pt x="700" y="1626"/>
                    </a:lnTo>
                    <a:lnTo>
                      <a:pt x="704" y="1630"/>
                    </a:lnTo>
                    <a:lnTo>
                      <a:pt x="706" y="1632"/>
                    </a:lnTo>
                    <a:lnTo>
                      <a:pt x="706" y="1632"/>
                    </a:lnTo>
                    <a:lnTo>
                      <a:pt x="710" y="1630"/>
                    </a:lnTo>
                    <a:lnTo>
                      <a:pt x="710" y="1630"/>
                    </a:lnTo>
                    <a:lnTo>
                      <a:pt x="720" y="1628"/>
                    </a:lnTo>
                    <a:lnTo>
                      <a:pt x="734" y="1628"/>
                    </a:lnTo>
                    <a:lnTo>
                      <a:pt x="746" y="1626"/>
                    </a:lnTo>
                    <a:lnTo>
                      <a:pt x="752" y="1624"/>
                    </a:lnTo>
                    <a:lnTo>
                      <a:pt x="756" y="1620"/>
                    </a:lnTo>
                    <a:lnTo>
                      <a:pt x="756" y="1620"/>
                    </a:lnTo>
                    <a:lnTo>
                      <a:pt x="760" y="1618"/>
                    </a:lnTo>
                    <a:lnTo>
                      <a:pt x="766" y="1614"/>
                    </a:lnTo>
                    <a:lnTo>
                      <a:pt x="774" y="1608"/>
                    </a:lnTo>
                    <a:lnTo>
                      <a:pt x="780" y="1600"/>
                    </a:lnTo>
                    <a:lnTo>
                      <a:pt x="780" y="1600"/>
                    </a:lnTo>
                    <a:lnTo>
                      <a:pt x="782" y="1596"/>
                    </a:lnTo>
                    <a:lnTo>
                      <a:pt x="784" y="1594"/>
                    </a:lnTo>
                    <a:lnTo>
                      <a:pt x="790" y="1592"/>
                    </a:lnTo>
                    <a:lnTo>
                      <a:pt x="792" y="1592"/>
                    </a:lnTo>
                    <a:lnTo>
                      <a:pt x="794" y="1588"/>
                    </a:lnTo>
                    <a:lnTo>
                      <a:pt x="794" y="1588"/>
                    </a:lnTo>
                    <a:lnTo>
                      <a:pt x="794" y="1586"/>
                    </a:lnTo>
                    <a:lnTo>
                      <a:pt x="796" y="1586"/>
                    </a:lnTo>
                    <a:lnTo>
                      <a:pt x="800" y="1584"/>
                    </a:lnTo>
                    <a:lnTo>
                      <a:pt x="804" y="1582"/>
                    </a:lnTo>
                    <a:lnTo>
                      <a:pt x="804" y="1582"/>
                    </a:lnTo>
                    <a:lnTo>
                      <a:pt x="800" y="1578"/>
                    </a:lnTo>
                    <a:lnTo>
                      <a:pt x="800" y="1578"/>
                    </a:lnTo>
                    <a:lnTo>
                      <a:pt x="798" y="1576"/>
                    </a:lnTo>
                    <a:lnTo>
                      <a:pt x="798" y="1576"/>
                    </a:lnTo>
                    <a:lnTo>
                      <a:pt x="802" y="1574"/>
                    </a:lnTo>
                    <a:lnTo>
                      <a:pt x="810" y="1572"/>
                    </a:lnTo>
                    <a:lnTo>
                      <a:pt x="812" y="1570"/>
                    </a:lnTo>
                    <a:lnTo>
                      <a:pt x="812" y="1566"/>
                    </a:lnTo>
                    <a:lnTo>
                      <a:pt x="812" y="1566"/>
                    </a:lnTo>
                    <a:lnTo>
                      <a:pt x="812" y="1562"/>
                    </a:lnTo>
                    <a:lnTo>
                      <a:pt x="816" y="1564"/>
                    </a:lnTo>
                    <a:lnTo>
                      <a:pt x="820" y="1568"/>
                    </a:lnTo>
                    <a:lnTo>
                      <a:pt x="822" y="1570"/>
                    </a:lnTo>
                    <a:lnTo>
                      <a:pt x="824" y="1568"/>
                    </a:lnTo>
                    <a:lnTo>
                      <a:pt x="824" y="1568"/>
                    </a:lnTo>
                    <a:lnTo>
                      <a:pt x="828" y="1566"/>
                    </a:lnTo>
                    <a:lnTo>
                      <a:pt x="834" y="1566"/>
                    </a:lnTo>
                    <a:lnTo>
                      <a:pt x="838" y="1564"/>
                    </a:lnTo>
                    <a:lnTo>
                      <a:pt x="838" y="1558"/>
                    </a:lnTo>
                    <a:lnTo>
                      <a:pt x="838" y="1558"/>
                    </a:lnTo>
                    <a:lnTo>
                      <a:pt x="838" y="1554"/>
                    </a:lnTo>
                    <a:lnTo>
                      <a:pt x="840" y="1552"/>
                    </a:lnTo>
                    <a:lnTo>
                      <a:pt x="844" y="1550"/>
                    </a:lnTo>
                    <a:lnTo>
                      <a:pt x="846" y="1548"/>
                    </a:lnTo>
                    <a:lnTo>
                      <a:pt x="846" y="1548"/>
                    </a:lnTo>
                    <a:lnTo>
                      <a:pt x="842" y="1540"/>
                    </a:lnTo>
                    <a:lnTo>
                      <a:pt x="842" y="1540"/>
                    </a:lnTo>
                    <a:lnTo>
                      <a:pt x="840" y="1536"/>
                    </a:lnTo>
                    <a:lnTo>
                      <a:pt x="838" y="1532"/>
                    </a:lnTo>
                    <a:lnTo>
                      <a:pt x="840" y="1528"/>
                    </a:lnTo>
                    <a:lnTo>
                      <a:pt x="844" y="1532"/>
                    </a:lnTo>
                    <a:lnTo>
                      <a:pt x="844" y="1532"/>
                    </a:lnTo>
                    <a:lnTo>
                      <a:pt x="846" y="1534"/>
                    </a:lnTo>
                    <a:lnTo>
                      <a:pt x="848" y="1534"/>
                    </a:lnTo>
                    <a:lnTo>
                      <a:pt x="850" y="1530"/>
                    </a:lnTo>
                    <a:lnTo>
                      <a:pt x="850" y="1528"/>
                    </a:lnTo>
                    <a:lnTo>
                      <a:pt x="852" y="1530"/>
                    </a:lnTo>
                    <a:lnTo>
                      <a:pt x="852" y="1530"/>
                    </a:lnTo>
                    <a:lnTo>
                      <a:pt x="852" y="1536"/>
                    </a:lnTo>
                    <a:lnTo>
                      <a:pt x="850" y="1538"/>
                    </a:lnTo>
                    <a:lnTo>
                      <a:pt x="850" y="1540"/>
                    </a:lnTo>
                    <a:lnTo>
                      <a:pt x="852" y="1542"/>
                    </a:lnTo>
                    <a:lnTo>
                      <a:pt x="852" y="1542"/>
                    </a:lnTo>
                    <a:lnTo>
                      <a:pt x="854" y="1548"/>
                    </a:lnTo>
                    <a:lnTo>
                      <a:pt x="854" y="1552"/>
                    </a:lnTo>
                    <a:lnTo>
                      <a:pt x="856" y="1554"/>
                    </a:lnTo>
                    <a:lnTo>
                      <a:pt x="862" y="1556"/>
                    </a:lnTo>
                    <a:lnTo>
                      <a:pt x="862" y="1556"/>
                    </a:lnTo>
                    <a:lnTo>
                      <a:pt x="866" y="1556"/>
                    </a:lnTo>
                    <a:lnTo>
                      <a:pt x="866" y="1558"/>
                    </a:lnTo>
                    <a:lnTo>
                      <a:pt x="868" y="1558"/>
                    </a:lnTo>
                    <a:lnTo>
                      <a:pt x="876" y="1560"/>
                    </a:lnTo>
                    <a:lnTo>
                      <a:pt x="876" y="1560"/>
                    </a:lnTo>
                    <a:lnTo>
                      <a:pt x="874" y="1564"/>
                    </a:lnTo>
                    <a:lnTo>
                      <a:pt x="872" y="1566"/>
                    </a:lnTo>
                    <a:lnTo>
                      <a:pt x="872" y="1570"/>
                    </a:lnTo>
                    <a:lnTo>
                      <a:pt x="874" y="1576"/>
                    </a:lnTo>
                    <a:lnTo>
                      <a:pt x="874" y="1576"/>
                    </a:lnTo>
                    <a:lnTo>
                      <a:pt x="876" y="1584"/>
                    </a:lnTo>
                    <a:lnTo>
                      <a:pt x="876" y="1594"/>
                    </a:lnTo>
                    <a:lnTo>
                      <a:pt x="876" y="1602"/>
                    </a:lnTo>
                    <a:lnTo>
                      <a:pt x="876" y="1608"/>
                    </a:lnTo>
                    <a:lnTo>
                      <a:pt x="878" y="1612"/>
                    </a:lnTo>
                    <a:lnTo>
                      <a:pt x="878" y="1612"/>
                    </a:lnTo>
                    <a:lnTo>
                      <a:pt x="882" y="1616"/>
                    </a:lnTo>
                    <a:lnTo>
                      <a:pt x="886" y="1616"/>
                    </a:lnTo>
                    <a:lnTo>
                      <a:pt x="890" y="1614"/>
                    </a:lnTo>
                    <a:lnTo>
                      <a:pt x="896" y="1610"/>
                    </a:lnTo>
                    <a:lnTo>
                      <a:pt x="898" y="1612"/>
                    </a:lnTo>
                    <a:lnTo>
                      <a:pt x="900" y="1614"/>
                    </a:lnTo>
                    <a:lnTo>
                      <a:pt x="900" y="1614"/>
                    </a:lnTo>
                    <a:lnTo>
                      <a:pt x="902" y="1618"/>
                    </a:lnTo>
                    <a:lnTo>
                      <a:pt x="902" y="1622"/>
                    </a:lnTo>
                    <a:lnTo>
                      <a:pt x="900" y="1628"/>
                    </a:lnTo>
                    <a:lnTo>
                      <a:pt x="896" y="1638"/>
                    </a:lnTo>
                    <a:lnTo>
                      <a:pt x="898" y="1644"/>
                    </a:lnTo>
                    <a:lnTo>
                      <a:pt x="900" y="1652"/>
                    </a:lnTo>
                    <a:lnTo>
                      <a:pt x="900" y="1652"/>
                    </a:lnTo>
                    <a:lnTo>
                      <a:pt x="906" y="1672"/>
                    </a:lnTo>
                    <a:lnTo>
                      <a:pt x="916" y="1694"/>
                    </a:lnTo>
                    <a:lnTo>
                      <a:pt x="928" y="1710"/>
                    </a:lnTo>
                    <a:lnTo>
                      <a:pt x="932" y="1716"/>
                    </a:lnTo>
                    <a:lnTo>
                      <a:pt x="936" y="1716"/>
                    </a:lnTo>
                    <a:lnTo>
                      <a:pt x="936" y="1716"/>
                    </a:lnTo>
                    <a:lnTo>
                      <a:pt x="942" y="1716"/>
                    </a:lnTo>
                    <a:lnTo>
                      <a:pt x="944" y="1718"/>
                    </a:lnTo>
                    <a:lnTo>
                      <a:pt x="944" y="1720"/>
                    </a:lnTo>
                    <a:lnTo>
                      <a:pt x="942" y="1726"/>
                    </a:lnTo>
                    <a:lnTo>
                      <a:pt x="934" y="1728"/>
                    </a:lnTo>
                    <a:lnTo>
                      <a:pt x="934" y="1728"/>
                    </a:lnTo>
                    <a:lnTo>
                      <a:pt x="932" y="1730"/>
                    </a:lnTo>
                    <a:lnTo>
                      <a:pt x="934" y="1732"/>
                    </a:lnTo>
                    <a:lnTo>
                      <a:pt x="936" y="1738"/>
                    </a:lnTo>
                    <a:lnTo>
                      <a:pt x="938" y="1742"/>
                    </a:lnTo>
                    <a:lnTo>
                      <a:pt x="932" y="1740"/>
                    </a:lnTo>
                    <a:lnTo>
                      <a:pt x="932" y="1740"/>
                    </a:lnTo>
                    <a:lnTo>
                      <a:pt x="926" y="1740"/>
                    </a:lnTo>
                    <a:lnTo>
                      <a:pt x="926" y="1740"/>
                    </a:lnTo>
                    <a:lnTo>
                      <a:pt x="934" y="1752"/>
                    </a:lnTo>
                    <a:lnTo>
                      <a:pt x="940" y="1760"/>
                    </a:lnTo>
                    <a:lnTo>
                      <a:pt x="944" y="1768"/>
                    </a:lnTo>
                    <a:lnTo>
                      <a:pt x="946" y="1778"/>
                    </a:lnTo>
                    <a:lnTo>
                      <a:pt x="946" y="1782"/>
                    </a:lnTo>
                    <a:lnTo>
                      <a:pt x="944" y="1786"/>
                    </a:lnTo>
                    <a:lnTo>
                      <a:pt x="944" y="1786"/>
                    </a:lnTo>
                    <a:lnTo>
                      <a:pt x="940" y="1792"/>
                    </a:lnTo>
                    <a:lnTo>
                      <a:pt x="942" y="1796"/>
                    </a:lnTo>
                    <a:lnTo>
                      <a:pt x="946" y="1798"/>
                    </a:lnTo>
                    <a:lnTo>
                      <a:pt x="954" y="1798"/>
                    </a:lnTo>
                    <a:lnTo>
                      <a:pt x="972" y="1796"/>
                    </a:lnTo>
                    <a:lnTo>
                      <a:pt x="982" y="1794"/>
                    </a:lnTo>
                    <a:lnTo>
                      <a:pt x="990" y="1794"/>
                    </a:lnTo>
                    <a:lnTo>
                      <a:pt x="990" y="1794"/>
                    </a:lnTo>
                    <a:lnTo>
                      <a:pt x="996" y="1794"/>
                    </a:lnTo>
                    <a:lnTo>
                      <a:pt x="998" y="1788"/>
                    </a:lnTo>
                    <a:lnTo>
                      <a:pt x="1000" y="1774"/>
                    </a:lnTo>
                    <a:lnTo>
                      <a:pt x="1000" y="1768"/>
                    </a:lnTo>
                    <a:lnTo>
                      <a:pt x="1002" y="1760"/>
                    </a:lnTo>
                    <a:lnTo>
                      <a:pt x="1004" y="1756"/>
                    </a:lnTo>
                    <a:lnTo>
                      <a:pt x="1010" y="1756"/>
                    </a:lnTo>
                    <a:lnTo>
                      <a:pt x="1010" y="1756"/>
                    </a:lnTo>
                    <a:lnTo>
                      <a:pt x="1018" y="1756"/>
                    </a:lnTo>
                    <a:lnTo>
                      <a:pt x="1018" y="1754"/>
                    </a:lnTo>
                    <a:lnTo>
                      <a:pt x="1018" y="1752"/>
                    </a:lnTo>
                    <a:lnTo>
                      <a:pt x="1020" y="1750"/>
                    </a:lnTo>
                    <a:lnTo>
                      <a:pt x="1024" y="1748"/>
                    </a:lnTo>
                    <a:lnTo>
                      <a:pt x="1034" y="1746"/>
                    </a:lnTo>
                    <a:lnTo>
                      <a:pt x="1034" y="1746"/>
                    </a:lnTo>
                    <a:lnTo>
                      <a:pt x="1042" y="1746"/>
                    </a:lnTo>
                    <a:lnTo>
                      <a:pt x="1050" y="1746"/>
                    </a:lnTo>
                    <a:lnTo>
                      <a:pt x="1058" y="1750"/>
                    </a:lnTo>
                    <a:lnTo>
                      <a:pt x="1062" y="1750"/>
                    </a:lnTo>
                    <a:lnTo>
                      <a:pt x="1064" y="1750"/>
                    </a:lnTo>
                    <a:lnTo>
                      <a:pt x="1070" y="1736"/>
                    </a:lnTo>
                    <a:lnTo>
                      <a:pt x="1070" y="1736"/>
                    </a:lnTo>
                    <a:lnTo>
                      <a:pt x="1076" y="1720"/>
                    </a:lnTo>
                    <a:lnTo>
                      <a:pt x="1082" y="1708"/>
                    </a:lnTo>
                    <a:lnTo>
                      <a:pt x="1086" y="1700"/>
                    </a:lnTo>
                    <a:lnTo>
                      <a:pt x="1088" y="1692"/>
                    </a:lnTo>
                    <a:lnTo>
                      <a:pt x="1088" y="1692"/>
                    </a:lnTo>
                    <a:lnTo>
                      <a:pt x="1088" y="1684"/>
                    </a:lnTo>
                    <a:lnTo>
                      <a:pt x="1090" y="1676"/>
                    </a:lnTo>
                    <a:lnTo>
                      <a:pt x="1092" y="1666"/>
                    </a:lnTo>
                    <a:lnTo>
                      <a:pt x="1092" y="1658"/>
                    </a:lnTo>
                    <a:lnTo>
                      <a:pt x="1092" y="1658"/>
                    </a:lnTo>
                    <a:lnTo>
                      <a:pt x="1090" y="1654"/>
                    </a:lnTo>
                    <a:lnTo>
                      <a:pt x="1092" y="1650"/>
                    </a:lnTo>
                    <a:lnTo>
                      <a:pt x="1094" y="1644"/>
                    </a:lnTo>
                    <a:lnTo>
                      <a:pt x="1098" y="1638"/>
                    </a:lnTo>
                    <a:lnTo>
                      <a:pt x="1098" y="1634"/>
                    </a:lnTo>
                    <a:lnTo>
                      <a:pt x="1098" y="1632"/>
                    </a:lnTo>
                    <a:lnTo>
                      <a:pt x="1098" y="1632"/>
                    </a:lnTo>
                    <a:lnTo>
                      <a:pt x="1096" y="1626"/>
                    </a:lnTo>
                    <a:lnTo>
                      <a:pt x="1098" y="1622"/>
                    </a:lnTo>
                    <a:lnTo>
                      <a:pt x="1100" y="1618"/>
                    </a:lnTo>
                    <a:lnTo>
                      <a:pt x="1098" y="1610"/>
                    </a:lnTo>
                    <a:lnTo>
                      <a:pt x="1098" y="1610"/>
                    </a:lnTo>
                    <a:lnTo>
                      <a:pt x="1096" y="1606"/>
                    </a:lnTo>
                    <a:lnTo>
                      <a:pt x="1096" y="1604"/>
                    </a:lnTo>
                    <a:lnTo>
                      <a:pt x="1098" y="1604"/>
                    </a:lnTo>
                    <a:lnTo>
                      <a:pt x="1100" y="1602"/>
                    </a:lnTo>
                    <a:lnTo>
                      <a:pt x="1102" y="1600"/>
                    </a:lnTo>
                    <a:lnTo>
                      <a:pt x="1100" y="1598"/>
                    </a:lnTo>
                    <a:lnTo>
                      <a:pt x="1100" y="1598"/>
                    </a:lnTo>
                    <a:lnTo>
                      <a:pt x="1100" y="1596"/>
                    </a:lnTo>
                    <a:lnTo>
                      <a:pt x="1102" y="1592"/>
                    </a:lnTo>
                    <a:lnTo>
                      <a:pt x="1112" y="1588"/>
                    </a:lnTo>
                    <a:lnTo>
                      <a:pt x="1124" y="1582"/>
                    </a:lnTo>
                    <a:lnTo>
                      <a:pt x="1130" y="1578"/>
                    </a:lnTo>
                    <a:lnTo>
                      <a:pt x="1132" y="1574"/>
                    </a:lnTo>
                    <a:lnTo>
                      <a:pt x="1132" y="1574"/>
                    </a:lnTo>
                    <a:lnTo>
                      <a:pt x="1134" y="1570"/>
                    </a:lnTo>
                    <a:lnTo>
                      <a:pt x="1134" y="1568"/>
                    </a:lnTo>
                    <a:lnTo>
                      <a:pt x="1138" y="1572"/>
                    </a:lnTo>
                    <a:lnTo>
                      <a:pt x="1142" y="1576"/>
                    </a:lnTo>
                    <a:lnTo>
                      <a:pt x="1144" y="1574"/>
                    </a:lnTo>
                    <a:lnTo>
                      <a:pt x="1146" y="1572"/>
                    </a:lnTo>
                    <a:lnTo>
                      <a:pt x="1146" y="1572"/>
                    </a:lnTo>
                    <a:lnTo>
                      <a:pt x="1152" y="1566"/>
                    </a:lnTo>
                    <a:lnTo>
                      <a:pt x="1158" y="1562"/>
                    </a:lnTo>
                    <a:lnTo>
                      <a:pt x="1164" y="1560"/>
                    </a:lnTo>
                    <a:lnTo>
                      <a:pt x="1164" y="1558"/>
                    </a:lnTo>
                    <a:lnTo>
                      <a:pt x="1164" y="1556"/>
                    </a:lnTo>
                    <a:lnTo>
                      <a:pt x="1164" y="1556"/>
                    </a:lnTo>
                    <a:lnTo>
                      <a:pt x="1164" y="1556"/>
                    </a:lnTo>
                    <a:lnTo>
                      <a:pt x="1166" y="1554"/>
                    </a:lnTo>
                    <a:lnTo>
                      <a:pt x="1170" y="1552"/>
                    </a:lnTo>
                    <a:lnTo>
                      <a:pt x="1172" y="1550"/>
                    </a:lnTo>
                    <a:lnTo>
                      <a:pt x="1172" y="1548"/>
                    </a:lnTo>
                    <a:lnTo>
                      <a:pt x="1172" y="1546"/>
                    </a:lnTo>
                    <a:lnTo>
                      <a:pt x="1170" y="1542"/>
                    </a:lnTo>
                    <a:lnTo>
                      <a:pt x="1170" y="1542"/>
                    </a:lnTo>
                    <a:lnTo>
                      <a:pt x="1168" y="1540"/>
                    </a:lnTo>
                    <a:lnTo>
                      <a:pt x="1164" y="1540"/>
                    </a:lnTo>
                    <a:lnTo>
                      <a:pt x="1152" y="1546"/>
                    </a:lnTo>
                    <a:lnTo>
                      <a:pt x="1144" y="1550"/>
                    </a:lnTo>
                    <a:lnTo>
                      <a:pt x="1136" y="1550"/>
                    </a:lnTo>
                    <a:lnTo>
                      <a:pt x="1128" y="1550"/>
                    </a:lnTo>
                    <a:lnTo>
                      <a:pt x="1122" y="1546"/>
                    </a:lnTo>
                    <a:lnTo>
                      <a:pt x="1122" y="1546"/>
                    </a:lnTo>
                    <a:lnTo>
                      <a:pt x="1112" y="1540"/>
                    </a:lnTo>
                    <a:lnTo>
                      <a:pt x="1104" y="1538"/>
                    </a:lnTo>
                    <a:lnTo>
                      <a:pt x="1094" y="1538"/>
                    </a:lnTo>
                    <a:lnTo>
                      <a:pt x="1086" y="1538"/>
                    </a:lnTo>
                    <a:lnTo>
                      <a:pt x="1076" y="1538"/>
                    </a:lnTo>
                    <a:lnTo>
                      <a:pt x="1084" y="1534"/>
                    </a:lnTo>
                    <a:lnTo>
                      <a:pt x="1084" y="1534"/>
                    </a:lnTo>
                    <a:lnTo>
                      <a:pt x="1092" y="1530"/>
                    </a:lnTo>
                    <a:lnTo>
                      <a:pt x="1098" y="1530"/>
                    </a:lnTo>
                    <a:lnTo>
                      <a:pt x="1110" y="1530"/>
                    </a:lnTo>
                    <a:lnTo>
                      <a:pt x="1118" y="1534"/>
                    </a:lnTo>
                    <a:lnTo>
                      <a:pt x="1122" y="1534"/>
                    </a:lnTo>
                    <a:lnTo>
                      <a:pt x="1124" y="1532"/>
                    </a:lnTo>
                    <a:lnTo>
                      <a:pt x="1124" y="1532"/>
                    </a:lnTo>
                    <a:lnTo>
                      <a:pt x="1126" y="1532"/>
                    </a:lnTo>
                    <a:lnTo>
                      <a:pt x="1128" y="1532"/>
                    </a:lnTo>
                    <a:lnTo>
                      <a:pt x="1134" y="1538"/>
                    </a:lnTo>
                    <a:lnTo>
                      <a:pt x="1142" y="1544"/>
                    </a:lnTo>
                    <a:lnTo>
                      <a:pt x="1146" y="1544"/>
                    </a:lnTo>
                    <a:lnTo>
                      <a:pt x="1150" y="1542"/>
                    </a:lnTo>
                    <a:lnTo>
                      <a:pt x="1150" y="1542"/>
                    </a:lnTo>
                    <a:lnTo>
                      <a:pt x="1178" y="1528"/>
                    </a:lnTo>
                    <a:lnTo>
                      <a:pt x="1190" y="1518"/>
                    </a:lnTo>
                    <a:lnTo>
                      <a:pt x="1192" y="1516"/>
                    </a:lnTo>
                    <a:lnTo>
                      <a:pt x="1192" y="1512"/>
                    </a:lnTo>
                    <a:lnTo>
                      <a:pt x="1192" y="1512"/>
                    </a:lnTo>
                    <a:lnTo>
                      <a:pt x="1184" y="1500"/>
                    </a:lnTo>
                    <a:lnTo>
                      <a:pt x="1178" y="1496"/>
                    </a:lnTo>
                    <a:lnTo>
                      <a:pt x="1172" y="1496"/>
                    </a:lnTo>
                    <a:lnTo>
                      <a:pt x="1172" y="1496"/>
                    </a:lnTo>
                    <a:lnTo>
                      <a:pt x="1168" y="1496"/>
                    </a:lnTo>
                    <a:lnTo>
                      <a:pt x="1168" y="1494"/>
                    </a:lnTo>
                    <a:lnTo>
                      <a:pt x="1168" y="1490"/>
                    </a:lnTo>
                    <a:lnTo>
                      <a:pt x="1170" y="1484"/>
                    </a:lnTo>
                    <a:lnTo>
                      <a:pt x="1168" y="1482"/>
                    </a:lnTo>
                    <a:lnTo>
                      <a:pt x="1164" y="1480"/>
                    </a:lnTo>
                    <a:lnTo>
                      <a:pt x="1164" y="1480"/>
                    </a:lnTo>
                    <a:lnTo>
                      <a:pt x="1158" y="1476"/>
                    </a:lnTo>
                    <a:lnTo>
                      <a:pt x="1154" y="1472"/>
                    </a:lnTo>
                    <a:lnTo>
                      <a:pt x="1148" y="1468"/>
                    </a:lnTo>
                    <a:lnTo>
                      <a:pt x="1144" y="1466"/>
                    </a:lnTo>
                    <a:lnTo>
                      <a:pt x="1138" y="1468"/>
                    </a:lnTo>
                    <a:lnTo>
                      <a:pt x="1138" y="1468"/>
                    </a:lnTo>
                    <a:lnTo>
                      <a:pt x="1132" y="1468"/>
                    </a:lnTo>
                    <a:lnTo>
                      <a:pt x="1132" y="1466"/>
                    </a:lnTo>
                    <a:lnTo>
                      <a:pt x="1132" y="1462"/>
                    </a:lnTo>
                    <a:lnTo>
                      <a:pt x="1130" y="1462"/>
                    </a:lnTo>
                    <a:lnTo>
                      <a:pt x="1126" y="1460"/>
                    </a:lnTo>
                    <a:lnTo>
                      <a:pt x="1126" y="1460"/>
                    </a:lnTo>
                    <a:lnTo>
                      <a:pt x="1124" y="1460"/>
                    </a:lnTo>
                    <a:lnTo>
                      <a:pt x="1122" y="1458"/>
                    </a:lnTo>
                    <a:lnTo>
                      <a:pt x="1118" y="1450"/>
                    </a:lnTo>
                    <a:lnTo>
                      <a:pt x="1116" y="1440"/>
                    </a:lnTo>
                    <a:lnTo>
                      <a:pt x="1116" y="1428"/>
                    </a:lnTo>
                    <a:lnTo>
                      <a:pt x="1116" y="1416"/>
                    </a:lnTo>
                    <a:lnTo>
                      <a:pt x="1116" y="1406"/>
                    </a:lnTo>
                    <a:lnTo>
                      <a:pt x="1120" y="1398"/>
                    </a:lnTo>
                    <a:lnTo>
                      <a:pt x="1120" y="1396"/>
                    </a:lnTo>
                    <a:lnTo>
                      <a:pt x="1124" y="1396"/>
                    </a:lnTo>
                    <a:lnTo>
                      <a:pt x="1124" y="1396"/>
                    </a:lnTo>
                    <a:lnTo>
                      <a:pt x="1126" y="1394"/>
                    </a:lnTo>
                    <a:lnTo>
                      <a:pt x="1128" y="1392"/>
                    </a:lnTo>
                    <a:lnTo>
                      <a:pt x="1126" y="1386"/>
                    </a:lnTo>
                    <a:lnTo>
                      <a:pt x="1126" y="1374"/>
                    </a:lnTo>
                    <a:lnTo>
                      <a:pt x="1126" y="1368"/>
                    </a:lnTo>
                    <a:lnTo>
                      <a:pt x="1128" y="1360"/>
                    </a:lnTo>
                    <a:lnTo>
                      <a:pt x="1128" y="1360"/>
                    </a:lnTo>
                    <a:lnTo>
                      <a:pt x="1132" y="1356"/>
                    </a:lnTo>
                    <a:lnTo>
                      <a:pt x="1132" y="1352"/>
                    </a:lnTo>
                    <a:lnTo>
                      <a:pt x="1130" y="1352"/>
                    </a:lnTo>
                    <a:lnTo>
                      <a:pt x="1128" y="1350"/>
                    </a:lnTo>
                    <a:lnTo>
                      <a:pt x="1124" y="1350"/>
                    </a:lnTo>
                    <a:lnTo>
                      <a:pt x="1122" y="1348"/>
                    </a:lnTo>
                    <a:lnTo>
                      <a:pt x="1122" y="1342"/>
                    </a:lnTo>
                    <a:lnTo>
                      <a:pt x="1122" y="1342"/>
                    </a:lnTo>
                    <a:lnTo>
                      <a:pt x="1122" y="1336"/>
                    </a:lnTo>
                    <a:lnTo>
                      <a:pt x="1124" y="1338"/>
                    </a:lnTo>
                    <a:lnTo>
                      <a:pt x="1130" y="1340"/>
                    </a:lnTo>
                    <a:lnTo>
                      <a:pt x="1136" y="1340"/>
                    </a:lnTo>
                    <a:lnTo>
                      <a:pt x="1142" y="1338"/>
                    </a:lnTo>
                    <a:lnTo>
                      <a:pt x="1142" y="1338"/>
                    </a:lnTo>
                    <a:lnTo>
                      <a:pt x="1148" y="1334"/>
                    </a:lnTo>
                    <a:lnTo>
                      <a:pt x="1148" y="1332"/>
                    </a:lnTo>
                    <a:lnTo>
                      <a:pt x="1148" y="1330"/>
                    </a:lnTo>
                    <a:lnTo>
                      <a:pt x="1146" y="1326"/>
                    </a:lnTo>
                    <a:lnTo>
                      <a:pt x="1144" y="1324"/>
                    </a:lnTo>
                    <a:lnTo>
                      <a:pt x="1142" y="1322"/>
                    </a:lnTo>
                    <a:lnTo>
                      <a:pt x="1144" y="1322"/>
                    </a:lnTo>
                    <a:lnTo>
                      <a:pt x="1152" y="1320"/>
                    </a:lnTo>
                    <a:lnTo>
                      <a:pt x="1152" y="1320"/>
                    </a:lnTo>
                    <a:lnTo>
                      <a:pt x="1160" y="1318"/>
                    </a:lnTo>
                    <a:lnTo>
                      <a:pt x="1166" y="1312"/>
                    </a:lnTo>
                    <a:lnTo>
                      <a:pt x="1170" y="1308"/>
                    </a:lnTo>
                    <a:lnTo>
                      <a:pt x="1172" y="1302"/>
                    </a:lnTo>
                    <a:lnTo>
                      <a:pt x="1178" y="1294"/>
                    </a:lnTo>
                    <a:lnTo>
                      <a:pt x="1180" y="1292"/>
                    </a:lnTo>
                    <a:lnTo>
                      <a:pt x="1186" y="1292"/>
                    </a:lnTo>
                    <a:lnTo>
                      <a:pt x="1186" y="1292"/>
                    </a:lnTo>
                    <a:lnTo>
                      <a:pt x="1190" y="1294"/>
                    </a:lnTo>
                    <a:lnTo>
                      <a:pt x="1194" y="1292"/>
                    </a:lnTo>
                    <a:lnTo>
                      <a:pt x="1196" y="1286"/>
                    </a:lnTo>
                    <a:lnTo>
                      <a:pt x="1200" y="1278"/>
                    </a:lnTo>
                    <a:lnTo>
                      <a:pt x="1204" y="1274"/>
                    </a:lnTo>
                    <a:lnTo>
                      <a:pt x="1208" y="1274"/>
                    </a:lnTo>
                    <a:lnTo>
                      <a:pt x="1208" y="1274"/>
                    </a:lnTo>
                    <a:lnTo>
                      <a:pt x="1214" y="1274"/>
                    </a:lnTo>
                    <a:lnTo>
                      <a:pt x="1218" y="1274"/>
                    </a:lnTo>
                    <a:lnTo>
                      <a:pt x="1222" y="1268"/>
                    </a:lnTo>
                    <a:lnTo>
                      <a:pt x="1226" y="1264"/>
                    </a:lnTo>
                    <a:lnTo>
                      <a:pt x="1228" y="1264"/>
                    </a:lnTo>
                    <a:lnTo>
                      <a:pt x="1232" y="1264"/>
                    </a:lnTo>
                    <a:lnTo>
                      <a:pt x="1232" y="1264"/>
                    </a:lnTo>
                    <a:lnTo>
                      <a:pt x="1236" y="1264"/>
                    </a:lnTo>
                    <a:lnTo>
                      <a:pt x="1238" y="1264"/>
                    </a:lnTo>
                    <a:lnTo>
                      <a:pt x="1240" y="1260"/>
                    </a:lnTo>
                    <a:lnTo>
                      <a:pt x="1244" y="1254"/>
                    </a:lnTo>
                    <a:lnTo>
                      <a:pt x="1246" y="1254"/>
                    </a:lnTo>
                    <a:lnTo>
                      <a:pt x="1250" y="1254"/>
                    </a:lnTo>
                    <a:lnTo>
                      <a:pt x="1250" y="1254"/>
                    </a:lnTo>
                    <a:lnTo>
                      <a:pt x="1254" y="1252"/>
                    </a:lnTo>
                    <a:lnTo>
                      <a:pt x="1258" y="1250"/>
                    </a:lnTo>
                    <a:lnTo>
                      <a:pt x="1262" y="1240"/>
                    </a:lnTo>
                    <a:lnTo>
                      <a:pt x="1268" y="1226"/>
                    </a:lnTo>
                    <a:lnTo>
                      <a:pt x="1274" y="1220"/>
                    </a:lnTo>
                    <a:lnTo>
                      <a:pt x="1284" y="1214"/>
                    </a:lnTo>
                    <a:lnTo>
                      <a:pt x="1284" y="1214"/>
                    </a:lnTo>
                    <a:lnTo>
                      <a:pt x="1290" y="1208"/>
                    </a:lnTo>
                    <a:lnTo>
                      <a:pt x="1292" y="1206"/>
                    </a:lnTo>
                    <a:lnTo>
                      <a:pt x="1292" y="1204"/>
                    </a:lnTo>
                    <a:lnTo>
                      <a:pt x="1290" y="1202"/>
                    </a:lnTo>
                    <a:lnTo>
                      <a:pt x="1284" y="1198"/>
                    </a:lnTo>
                    <a:lnTo>
                      <a:pt x="1280" y="1194"/>
                    </a:lnTo>
                    <a:lnTo>
                      <a:pt x="1276" y="1190"/>
                    </a:lnTo>
                    <a:lnTo>
                      <a:pt x="1276" y="1190"/>
                    </a:lnTo>
                    <a:lnTo>
                      <a:pt x="1276" y="1184"/>
                    </a:lnTo>
                    <a:lnTo>
                      <a:pt x="1276" y="1180"/>
                    </a:lnTo>
                    <a:lnTo>
                      <a:pt x="1282" y="1174"/>
                    </a:lnTo>
                    <a:lnTo>
                      <a:pt x="1288" y="1168"/>
                    </a:lnTo>
                    <a:lnTo>
                      <a:pt x="1290" y="1164"/>
                    </a:lnTo>
                    <a:lnTo>
                      <a:pt x="1292" y="1156"/>
                    </a:lnTo>
                    <a:lnTo>
                      <a:pt x="1292" y="1156"/>
                    </a:lnTo>
                    <a:lnTo>
                      <a:pt x="1292" y="1150"/>
                    </a:lnTo>
                    <a:lnTo>
                      <a:pt x="1294" y="1146"/>
                    </a:lnTo>
                    <a:lnTo>
                      <a:pt x="1298" y="1144"/>
                    </a:lnTo>
                    <a:lnTo>
                      <a:pt x="1300" y="1144"/>
                    </a:lnTo>
                    <a:lnTo>
                      <a:pt x="1306" y="1142"/>
                    </a:lnTo>
                    <a:lnTo>
                      <a:pt x="1310" y="1140"/>
                    </a:lnTo>
                    <a:lnTo>
                      <a:pt x="1310" y="1138"/>
                    </a:lnTo>
                    <a:lnTo>
                      <a:pt x="1310" y="1138"/>
                    </a:lnTo>
                    <a:lnTo>
                      <a:pt x="1314" y="1132"/>
                    </a:lnTo>
                    <a:lnTo>
                      <a:pt x="1320" y="1126"/>
                    </a:lnTo>
                    <a:lnTo>
                      <a:pt x="1338" y="1114"/>
                    </a:lnTo>
                    <a:lnTo>
                      <a:pt x="1338" y="1114"/>
                    </a:lnTo>
                    <a:lnTo>
                      <a:pt x="1340" y="1112"/>
                    </a:lnTo>
                    <a:lnTo>
                      <a:pt x="1344" y="1112"/>
                    </a:lnTo>
                    <a:lnTo>
                      <a:pt x="1346" y="1116"/>
                    </a:lnTo>
                    <a:lnTo>
                      <a:pt x="1348" y="1118"/>
                    </a:lnTo>
                    <a:lnTo>
                      <a:pt x="1350" y="1120"/>
                    </a:lnTo>
                    <a:lnTo>
                      <a:pt x="1354" y="1120"/>
                    </a:lnTo>
                    <a:lnTo>
                      <a:pt x="1358" y="1118"/>
                    </a:lnTo>
                    <a:lnTo>
                      <a:pt x="1358" y="1118"/>
                    </a:lnTo>
                    <a:lnTo>
                      <a:pt x="1364" y="1116"/>
                    </a:lnTo>
                    <a:lnTo>
                      <a:pt x="1368" y="1116"/>
                    </a:lnTo>
                    <a:lnTo>
                      <a:pt x="1378" y="1116"/>
                    </a:lnTo>
                    <a:lnTo>
                      <a:pt x="1386" y="1116"/>
                    </a:lnTo>
                    <a:lnTo>
                      <a:pt x="1392" y="1116"/>
                    </a:lnTo>
                    <a:lnTo>
                      <a:pt x="1396" y="1114"/>
                    </a:lnTo>
                    <a:lnTo>
                      <a:pt x="1396" y="1114"/>
                    </a:lnTo>
                    <a:lnTo>
                      <a:pt x="1408" y="1116"/>
                    </a:lnTo>
                    <a:lnTo>
                      <a:pt x="1414" y="1120"/>
                    </a:lnTo>
                    <a:lnTo>
                      <a:pt x="1418" y="1124"/>
                    </a:lnTo>
                    <a:lnTo>
                      <a:pt x="1428" y="1126"/>
                    </a:lnTo>
                    <a:lnTo>
                      <a:pt x="1428" y="1126"/>
                    </a:lnTo>
                    <a:lnTo>
                      <a:pt x="1438" y="1130"/>
                    </a:lnTo>
                    <a:lnTo>
                      <a:pt x="1440" y="1134"/>
                    </a:lnTo>
                    <a:lnTo>
                      <a:pt x="1442" y="1136"/>
                    </a:lnTo>
                    <a:lnTo>
                      <a:pt x="1442" y="1144"/>
                    </a:lnTo>
                    <a:lnTo>
                      <a:pt x="1440" y="1154"/>
                    </a:lnTo>
                    <a:lnTo>
                      <a:pt x="1440" y="1154"/>
                    </a:lnTo>
                    <a:lnTo>
                      <a:pt x="1440" y="1162"/>
                    </a:lnTo>
                    <a:lnTo>
                      <a:pt x="1442" y="1166"/>
                    </a:lnTo>
                    <a:lnTo>
                      <a:pt x="1446" y="1168"/>
                    </a:lnTo>
                    <a:lnTo>
                      <a:pt x="1444" y="1174"/>
                    </a:lnTo>
                    <a:lnTo>
                      <a:pt x="1444" y="1174"/>
                    </a:lnTo>
                    <a:lnTo>
                      <a:pt x="1442" y="1176"/>
                    </a:lnTo>
                    <a:lnTo>
                      <a:pt x="1440" y="1176"/>
                    </a:lnTo>
                    <a:lnTo>
                      <a:pt x="1434" y="1176"/>
                    </a:lnTo>
                    <a:lnTo>
                      <a:pt x="1422" y="1178"/>
                    </a:lnTo>
                    <a:lnTo>
                      <a:pt x="1422" y="1178"/>
                    </a:lnTo>
                    <a:lnTo>
                      <a:pt x="1416" y="1180"/>
                    </a:lnTo>
                    <a:lnTo>
                      <a:pt x="1412" y="1184"/>
                    </a:lnTo>
                    <a:lnTo>
                      <a:pt x="1406" y="1196"/>
                    </a:lnTo>
                    <a:lnTo>
                      <a:pt x="1398" y="1208"/>
                    </a:lnTo>
                    <a:lnTo>
                      <a:pt x="1390" y="1216"/>
                    </a:lnTo>
                    <a:lnTo>
                      <a:pt x="1382" y="1222"/>
                    </a:lnTo>
                    <a:lnTo>
                      <a:pt x="1382" y="1222"/>
                    </a:lnTo>
                    <a:lnTo>
                      <a:pt x="1372" y="1228"/>
                    </a:lnTo>
                    <a:lnTo>
                      <a:pt x="1368" y="1232"/>
                    </a:lnTo>
                    <a:lnTo>
                      <a:pt x="1366" y="1236"/>
                    </a:lnTo>
                    <a:lnTo>
                      <a:pt x="1366" y="1238"/>
                    </a:lnTo>
                    <a:lnTo>
                      <a:pt x="1366" y="1242"/>
                    </a:lnTo>
                    <a:lnTo>
                      <a:pt x="1358" y="1244"/>
                    </a:lnTo>
                    <a:lnTo>
                      <a:pt x="1358" y="1244"/>
                    </a:lnTo>
                    <a:lnTo>
                      <a:pt x="1354" y="1246"/>
                    </a:lnTo>
                    <a:lnTo>
                      <a:pt x="1350" y="1248"/>
                    </a:lnTo>
                    <a:lnTo>
                      <a:pt x="1346" y="1254"/>
                    </a:lnTo>
                    <a:lnTo>
                      <a:pt x="1344" y="1258"/>
                    </a:lnTo>
                    <a:lnTo>
                      <a:pt x="1342" y="1260"/>
                    </a:lnTo>
                    <a:lnTo>
                      <a:pt x="1338" y="1260"/>
                    </a:lnTo>
                    <a:lnTo>
                      <a:pt x="1338" y="1260"/>
                    </a:lnTo>
                    <a:lnTo>
                      <a:pt x="1334" y="1260"/>
                    </a:lnTo>
                    <a:lnTo>
                      <a:pt x="1332" y="1260"/>
                    </a:lnTo>
                    <a:lnTo>
                      <a:pt x="1328" y="1264"/>
                    </a:lnTo>
                    <a:lnTo>
                      <a:pt x="1326" y="1268"/>
                    </a:lnTo>
                    <a:lnTo>
                      <a:pt x="1324" y="1270"/>
                    </a:lnTo>
                    <a:lnTo>
                      <a:pt x="1322" y="1270"/>
                    </a:lnTo>
                    <a:lnTo>
                      <a:pt x="1322" y="1270"/>
                    </a:lnTo>
                    <a:lnTo>
                      <a:pt x="1320" y="1272"/>
                    </a:lnTo>
                    <a:lnTo>
                      <a:pt x="1318" y="1272"/>
                    </a:lnTo>
                    <a:lnTo>
                      <a:pt x="1318" y="1278"/>
                    </a:lnTo>
                    <a:lnTo>
                      <a:pt x="1318" y="1286"/>
                    </a:lnTo>
                    <a:lnTo>
                      <a:pt x="1318" y="1288"/>
                    </a:lnTo>
                    <a:lnTo>
                      <a:pt x="1314" y="1292"/>
                    </a:lnTo>
                    <a:lnTo>
                      <a:pt x="1314" y="1292"/>
                    </a:lnTo>
                    <a:lnTo>
                      <a:pt x="1310" y="1294"/>
                    </a:lnTo>
                    <a:lnTo>
                      <a:pt x="1308" y="1294"/>
                    </a:lnTo>
                    <a:lnTo>
                      <a:pt x="1300" y="1292"/>
                    </a:lnTo>
                    <a:lnTo>
                      <a:pt x="1294" y="1290"/>
                    </a:lnTo>
                    <a:lnTo>
                      <a:pt x="1292" y="1292"/>
                    </a:lnTo>
                    <a:lnTo>
                      <a:pt x="1290" y="1296"/>
                    </a:lnTo>
                    <a:lnTo>
                      <a:pt x="1290" y="1296"/>
                    </a:lnTo>
                    <a:lnTo>
                      <a:pt x="1290" y="1300"/>
                    </a:lnTo>
                    <a:lnTo>
                      <a:pt x="1286" y="1304"/>
                    </a:lnTo>
                    <a:lnTo>
                      <a:pt x="1278" y="1314"/>
                    </a:lnTo>
                    <a:lnTo>
                      <a:pt x="1276" y="1322"/>
                    </a:lnTo>
                    <a:lnTo>
                      <a:pt x="1274" y="1328"/>
                    </a:lnTo>
                    <a:lnTo>
                      <a:pt x="1274" y="1338"/>
                    </a:lnTo>
                    <a:lnTo>
                      <a:pt x="1278" y="1346"/>
                    </a:lnTo>
                    <a:lnTo>
                      <a:pt x="1278" y="1346"/>
                    </a:lnTo>
                    <a:lnTo>
                      <a:pt x="1282" y="1354"/>
                    </a:lnTo>
                    <a:lnTo>
                      <a:pt x="1282" y="1360"/>
                    </a:lnTo>
                    <a:lnTo>
                      <a:pt x="1282" y="1364"/>
                    </a:lnTo>
                    <a:lnTo>
                      <a:pt x="1280" y="1366"/>
                    </a:lnTo>
                    <a:lnTo>
                      <a:pt x="1278" y="1368"/>
                    </a:lnTo>
                    <a:lnTo>
                      <a:pt x="1278" y="1372"/>
                    </a:lnTo>
                    <a:lnTo>
                      <a:pt x="1280" y="1378"/>
                    </a:lnTo>
                    <a:lnTo>
                      <a:pt x="1288" y="1388"/>
                    </a:lnTo>
                    <a:lnTo>
                      <a:pt x="1288" y="1388"/>
                    </a:lnTo>
                    <a:lnTo>
                      <a:pt x="1292" y="1394"/>
                    </a:lnTo>
                    <a:lnTo>
                      <a:pt x="1294" y="1396"/>
                    </a:lnTo>
                    <a:lnTo>
                      <a:pt x="1294" y="1398"/>
                    </a:lnTo>
                    <a:lnTo>
                      <a:pt x="1292" y="1400"/>
                    </a:lnTo>
                    <a:lnTo>
                      <a:pt x="1288" y="1402"/>
                    </a:lnTo>
                    <a:lnTo>
                      <a:pt x="1286" y="1404"/>
                    </a:lnTo>
                    <a:lnTo>
                      <a:pt x="1286" y="1406"/>
                    </a:lnTo>
                    <a:lnTo>
                      <a:pt x="1286" y="1406"/>
                    </a:lnTo>
                    <a:lnTo>
                      <a:pt x="1288" y="1416"/>
                    </a:lnTo>
                    <a:lnTo>
                      <a:pt x="1288" y="1424"/>
                    </a:lnTo>
                    <a:lnTo>
                      <a:pt x="1282" y="1444"/>
                    </a:lnTo>
                    <a:lnTo>
                      <a:pt x="1282" y="1444"/>
                    </a:lnTo>
                    <a:lnTo>
                      <a:pt x="1280" y="1456"/>
                    </a:lnTo>
                    <a:lnTo>
                      <a:pt x="1280" y="1462"/>
                    </a:lnTo>
                    <a:lnTo>
                      <a:pt x="1282" y="1464"/>
                    </a:lnTo>
                    <a:lnTo>
                      <a:pt x="1286" y="1466"/>
                    </a:lnTo>
                    <a:lnTo>
                      <a:pt x="1298" y="1470"/>
                    </a:lnTo>
                    <a:lnTo>
                      <a:pt x="1298" y="1470"/>
                    </a:lnTo>
                    <a:lnTo>
                      <a:pt x="1322" y="1476"/>
                    </a:lnTo>
                    <a:lnTo>
                      <a:pt x="1328" y="1478"/>
                    </a:lnTo>
                    <a:lnTo>
                      <a:pt x="1330" y="1480"/>
                    </a:lnTo>
                    <a:lnTo>
                      <a:pt x="1328" y="1484"/>
                    </a:lnTo>
                    <a:lnTo>
                      <a:pt x="1328" y="1484"/>
                    </a:lnTo>
                    <a:lnTo>
                      <a:pt x="1328" y="1492"/>
                    </a:lnTo>
                    <a:lnTo>
                      <a:pt x="1328" y="1500"/>
                    </a:lnTo>
                    <a:lnTo>
                      <a:pt x="1330" y="1504"/>
                    </a:lnTo>
                    <a:lnTo>
                      <a:pt x="1334" y="1504"/>
                    </a:lnTo>
                    <a:lnTo>
                      <a:pt x="1336" y="1504"/>
                    </a:lnTo>
                    <a:lnTo>
                      <a:pt x="1340" y="1500"/>
                    </a:lnTo>
                    <a:lnTo>
                      <a:pt x="1340" y="1500"/>
                    </a:lnTo>
                    <a:lnTo>
                      <a:pt x="1346" y="1494"/>
                    </a:lnTo>
                    <a:lnTo>
                      <a:pt x="1352" y="1494"/>
                    </a:lnTo>
                    <a:lnTo>
                      <a:pt x="1354" y="1496"/>
                    </a:lnTo>
                    <a:lnTo>
                      <a:pt x="1354" y="1498"/>
                    </a:lnTo>
                    <a:lnTo>
                      <a:pt x="1354" y="1500"/>
                    </a:lnTo>
                    <a:lnTo>
                      <a:pt x="1352" y="1506"/>
                    </a:lnTo>
                    <a:lnTo>
                      <a:pt x="1352" y="1506"/>
                    </a:lnTo>
                    <a:lnTo>
                      <a:pt x="1346" y="1512"/>
                    </a:lnTo>
                    <a:lnTo>
                      <a:pt x="1346" y="1516"/>
                    </a:lnTo>
                    <a:lnTo>
                      <a:pt x="1352" y="1514"/>
                    </a:lnTo>
                    <a:lnTo>
                      <a:pt x="1366" y="1508"/>
                    </a:lnTo>
                    <a:lnTo>
                      <a:pt x="1366" y="1508"/>
                    </a:lnTo>
                    <a:lnTo>
                      <a:pt x="1376" y="1504"/>
                    </a:lnTo>
                    <a:lnTo>
                      <a:pt x="1390" y="1504"/>
                    </a:lnTo>
                    <a:lnTo>
                      <a:pt x="1408" y="1500"/>
                    </a:lnTo>
                    <a:lnTo>
                      <a:pt x="1436" y="1488"/>
                    </a:lnTo>
                    <a:lnTo>
                      <a:pt x="1436" y="1488"/>
                    </a:lnTo>
                    <a:lnTo>
                      <a:pt x="1448" y="1484"/>
                    </a:lnTo>
                    <a:lnTo>
                      <a:pt x="1454" y="1484"/>
                    </a:lnTo>
                    <a:lnTo>
                      <a:pt x="1458" y="1484"/>
                    </a:lnTo>
                    <a:lnTo>
                      <a:pt x="1462" y="1484"/>
                    </a:lnTo>
                    <a:lnTo>
                      <a:pt x="1466" y="1486"/>
                    </a:lnTo>
                    <a:lnTo>
                      <a:pt x="1470" y="1482"/>
                    </a:lnTo>
                    <a:lnTo>
                      <a:pt x="1470" y="1482"/>
                    </a:lnTo>
                    <a:lnTo>
                      <a:pt x="1476" y="1476"/>
                    </a:lnTo>
                    <a:lnTo>
                      <a:pt x="1478" y="1476"/>
                    </a:lnTo>
                    <a:lnTo>
                      <a:pt x="1484" y="1478"/>
                    </a:lnTo>
                    <a:lnTo>
                      <a:pt x="1490" y="1476"/>
                    </a:lnTo>
                    <a:lnTo>
                      <a:pt x="1498" y="1474"/>
                    </a:lnTo>
                    <a:lnTo>
                      <a:pt x="1498" y="1474"/>
                    </a:lnTo>
                    <a:lnTo>
                      <a:pt x="1506" y="1472"/>
                    </a:lnTo>
                    <a:lnTo>
                      <a:pt x="1512" y="1470"/>
                    </a:lnTo>
                    <a:lnTo>
                      <a:pt x="1522" y="1470"/>
                    </a:lnTo>
                    <a:lnTo>
                      <a:pt x="1532" y="1470"/>
                    </a:lnTo>
                    <a:lnTo>
                      <a:pt x="1538" y="1470"/>
                    </a:lnTo>
                    <a:lnTo>
                      <a:pt x="1546" y="1466"/>
                    </a:lnTo>
                    <a:lnTo>
                      <a:pt x="1546" y="1466"/>
                    </a:lnTo>
                    <a:lnTo>
                      <a:pt x="1550" y="1468"/>
                    </a:lnTo>
                    <a:lnTo>
                      <a:pt x="1556" y="1468"/>
                    </a:lnTo>
                    <a:lnTo>
                      <a:pt x="1566" y="1462"/>
                    </a:lnTo>
                    <a:lnTo>
                      <a:pt x="1574" y="1456"/>
                    </a:lnTo>
                    <a:lnTo>
                      <a:pt x="1578" y="1454"/>
                    </a:lnTo>
                    <a:lnTo>
                      <a:pt x="1580" y="1456"/>
                    </a:lnTo>
                    <a:lnTo>
                      <a:pt x="1580" y="1456"/>
                    </a:lnTo>
                    <a:lnTo>
                      <a:pt x="1582" y="1458"/>
                    </a:lnTo>
                    <a:lnTo>
                      <a:pt x="1578" y="1458"/>
                    </a:lnTo>
                    <a:lnTo>
                      <a:pt x="1576" y="1462"/>
                    </a:lnTo>
                    <a:lnTo>
                      <a:pt x="1578" y="1466"/>
                    </a:lnTo>
                    <a:lnTo>
                      <a:pt x="1578" y="1466"/>
                    </a:lnTo>
                    <a:lnTo>
                      <a:pt x="1580" y="1470"/>
                    </a:lnTo>
                    <a:lnTo>
                      <a:pt x="1578" y="1472"/>
                    </a:lnTo>
                    <a:lnTo>
                      <a:pt x="1572" y="1470"/>
                    </a:lnTo>
                    <a:lnTo>
                      <a:pt x="1568" y="1468"/>
                    </a:lnTo>
                    <a:lnTo>
                      <a:pt x="1572" y="1474"/>
                    </a:lnTo>
                    <a:lnTo>
                      <a:pt x="1572" y="1474"/>
                    </a:lnTo>
                    <a:lnTo>
                      <a:pt x="1578" y="1480"/>
                    </a:lnTo>
                    <a:lnTo>
                      <a:pt x="1582" y="1480"/>
                    </a:lnTo>
                    <a:lnTo>
                      <a:pt x="1584" y="1482"/>
                    </a:lnTo>
                    <a:lnTo>
                      <a:pt x="1588" y="1486"/>
                    </a:lnTo>
                    <a:lnTo>
                      <a:pt x="1588" y="1486"/>
                    </a:lnTo>
                    <a:lnTo>
                      <a:pt x="1592" y="1490"/>
                    </a:lnTo>
                    <a:lnTo>
                      <a:pt x="1596" y="1490"/>
                    </a:lnTo>
                    <a:lnTo>
                      <a:pt x="1608" y="1490"/>
                    </a:lnTo>
                    <a:lnTo>
                      <a:pt x="1618" y="1490"/>
                    </a:lnTo>
                    <a:lnTo>
                      <a:pt x="1622" y="1492"/>
                    </a:lnTo>
                    <a:lnTo>
                      <a:pt x="1626" y="1494"/>
                    </a:lnTo>
                    <a:lnTo>
                      <a:pt x="1626" y="1494"/>
                    </a:lnTo>
                    <a:lnTo>
                      <a:pt x="1628" y="1498"/>
                    </a:lnTo>
                    <a:lnTo>
                      <a:pt x="1632" y="1500"/>
                    </a:lnTo>
                    <a:lnTo>
                      <a:pt x="1638" y="1502"/>
                    </a:lnTo>
                    <a:lnTo>
                      <a:pt x="1642" y="1504"/>
                    </a:lnTo>
                    <a:lnTo>
                      <a:pt x="1642" y="1504"/>
                    </a:lnTo>
                    <a:lnTo>
                      <a:pt x="1642" y="1508"/>
                    </a:lnTo>
                    <a:lnTo>
                      <a:pt x="1642" y="1508"/>
                    </a:lnTo>
                    <a:lnTo>
                      <a:pt x="1638" y="1510"/>
                    </a:lnTo>
                    <a:lnTo>
                      <a:pt x="1634" y="1510"/>
                    </a:lnTo>
                    <a:lnTo>
                      <a:pt x="1610" y="1504"/>
                    </a:lnTo>
                    <a:lnTo>
                      <a:pt x="1610" y="1504"/>
                    </a:lnTo>
                    <a:lnTo>
                      <a:pt x="1602" y="1502"/>
                    </a:lnTo>
                    <a:lnTo>
                      <a:pt x="1596" y="1504"/>
                    </a:lnTo>
                    <a:lnTo>
                      <a:pt x="1594" y="1506"/>
                    </a:lnTo>
                    <a:lnTo>
                      <a:pt x="1592" y="1510"/>
                    </a:lnTo>
                    <a:lnTo>
                      <a:pt x="1590" y="1512"/>
                    </a:lnTo>
                    <a:lnTo>
                      <a:pt x="1588" y="1516"/>
                    </a:lnTo>
                    <a:lnTo>
                      <a:pt x="1584" y="1516"/>
                    </a:lnTo>
                    <a:lnTo>
                      <a:pt x="1578" y="1514"/>
                    </a:lnTo>
                    <a:lnTo>
                      <a:pt x="1578" y="1514"/>
                    </a:lnTo>
                    <a:lnTo>
                      <a:pt x="1574" y="1512"/>
                    </a:lnTo>
                    <a:lnTo>
                      <a:pt x="1570" y="1514"/>
                    </a:lnTo>
                    <a:lnTo>
                      <a:pt x="1568" y="1516"/>
                    </a:lnTo>
                    <a:lnTo>
                      <a:pt x="1568" y="1518"/>
                    </a:lnTo>
                    <a:lnTo>
                      <a:pt x="1568" y="1522"/>
                    </a:lnTo>
                    <a:lnTo>
                      <a:pt x="1568" y="1524"/>
                    </a:lnTo>
                    <a:lnTo>
                      <a:pt x="1564" y="1524"/>
                    </a:lnTo>
                    <a:lnTo>
                      <a:pt x="1560" y="1520"/>
                    </a:lnTo>
                    <a:lnTo>
                      <a:pt x="1560" y="1520"/>
                    </a:lnTo>
                    <a:lnTo>
                      <a:pt x="1556" y="1518"/>
                    </a:lnTo>
                    <a:lnTo>
                      <a:pt x="1552" y="1516"/>
                    </a:lnTo>
                    <a:lnTo>
                      <a:pt x="1552" y="1518"/>
                    </a:lnTo>
                    <a:lnTo>
                      <a:pt x="1552" y="1520"/>
                    </a:lnTo>
                    <a:lnTo>
                      <a:pt x="1554" y="1530"/>
                    </a:lnTo>
                    <a:lnTo>
                      <a:pt x="1554" y="1534"/>
                    </a:lnTo>
                    <a:lnTo>
                      <a:pt x="1552" y="1536"/>
                    </a:lnTo>
                    <a:lnTo>
                      <a:pt x="1552" y="1536"/>
                    </a:lnTo>
                    <a:lnTo>
                      <a:pt x="1540" y="1540"/>
                    </a:lnTo>
                    <a:lnTo>
                      <a:pt x="1530" y="1542"/>
                    </a:lnTo>
                    <a:lnTo>
                      <a:pt x="1518" y="1540"/>
                    </a:lnTo>
                    <a:lnTo>
                      <a:pt x="1508" y="1536"/>
                    </a:lnTo>
                    <a:lnTo>
                      <a:pt x="1508" y="1536"/>
                    </a:lnTo>
                    <a:lnTo>
                      <a:pt x="1498" y="1532"/>
                    </a:lnTo>
                    <a:lnTo>
                      <a:pt x="1488" y="1530"/>
                    </a:lnTo>
                    <a:lnTo>
                      <a:pt x="1476" y="1528"/>
                    </a:lnTo>
                    <a:lnTo>
                      <a:pt x="1460" y="1526"/>
                    </a:lnTo>
                    <a:lnTo>
                      <a:pt x="1460" y="1526"/>
                    </a:lnTo>
                    <a:lnTo>
                      <a:pt x="1454" y="1524"/>
                    </a:lnTo>
                    <a:lnTo>
                      <a:pt x="1450" y="1524"/>
                    </a:lnTo>
                    <a:lnTo>
                      <a:pt x="1448" y="1526"/>
                    </a:lnTo>
                    <a:lnTo>
                      <a:pt x="1448" y="1528"/>
                    </a:lnTo>
                    <a:lnTo>
                      <a:pt x="1446" y="1532"/>
                    </a:lnTo>
                    <a:lnTo>
                      <a:pt x="1442" y="1534"/>
                    </a:lnTo>
                    <a:lnTo>
                      <a:pt x="1436" y="1534"/>
                    </a:lnTo>
                    <a:lnTo>
                      <a:pt x="1436" y="1534"/>
                    </a:lnTo>
                    <a:lnTo>
                      <a:pt x="1422" y="1534"/>
                    </a:lnTo>
                    <a:lnTo>
                      <a:pt x="1408" y="1534"/>
                    </a:lnTo>
                    <a:lnTo>
                      <a:pt x="1398" y="1538"/>
                    </a:lnTo>
                    <a:lnTo>
                      <a:pt x="1394" y="1542"/>
                    </a:lnTo>
                    <a:lnTo>
                      <a:pt x="1392" y="1544"/>
                    </a:lnTo>
                    <a:lnTo>
                      <a:pt x="1392" y="1544"/>
                    </a:lnTo>
                    <a:lnTo>
                      <a:pt x="1390" y="1548"/>
                    </a:lnTo>
                    <a:lnTo>
                      <a:pt x="1388" y="1550"/>
                    </a:lnTo>
                    <a:lnTo>
                      <a:pt x="1380" y="1552"/>
                    </a:lnTo>
                    <a:lnTo>
                      <a:pt x="1374" y="1554"/>
                    </a:lnTo>
                    <a:lnTo>
                      <a:pt x="1372" y="1558"/>
                    </a:lnTo>
                    <a:lnTo>
                      <a:pt x="1370" y="1562"/>
                    </a:lnTo>
                    <a:lnTo>
                      <a:pt x="1370" y="1562"/>
                    </a:lnTo>
                    <a:lnTo>
                      <a:pt x="1368" y="1572"/>
                    </a:lnTo>
                    <a:lnTo>
                      <a:pt x="1368" y="1580"/>
                    </a:lnTo>
                    <a:lnTo>
                      <a:pt x="1370" y="1588"/>
                    </a:lnTo>
                    <a:lnTo>
                      <a:pt x="1372" y="1594"/>
                    </a:lnTo>
                    <a:lnTo>
                      <a:pt x="1372" y="1594"/>
                    </a:lnTo>
                    <a:lnTo>
                      <a:pt x="1378" y="1604"/>
                    </a:lnTo>
                    <a:lnTo>
                      <a:pt x="1382" y="1610"/>
                    </a:lnTo>
                    <a:lnTo>
                      <a:pt x="1386" y="1614"/>
                    </a:lnTo>
                    <a:lnTo>
                      <a:pt x="1390" y="1614"/>
                    </a:lnTo>
                    <a:lnTo>
                      <a:pt x="1396" y="1614"/>
                    </a:lnTo>
                    <a:lnTo>
                      <a:pt x="1402" y="1610"/>
                    </a:lnTo>
                    <a:lnTo>
                      <a:pt x="1402" y="1610"/>
                    </a:lnTo>
                    <a:lnTo>
                      <a:pt x="1410" y="1606"/>
                    </a:lnTo>
                    <a:lnTo>
                      <a:pt x="1410" y="1608"/>
                    </a:lnTo>
                    <a:lnTo>
                      <a:pt x="1410" y="1610"/>
                    </a:lnTo>
                    <a:lnTo>
                      <a:pt x="1402" y="1640"/>
                    </a:lnTo>
                    <a:lnTo>
                      <a:pt x="1402" y="1640"/>
                    </a:lnTo>
                    <a:lnTo>
                      <a:pt x="1402" y="1646"/>
                    </a:lnTo>
                    <a:lnTo>
                      <a:pt x="1404" y="1654"/>
                    </a:lnTo>
                    <a:lnTo>
                      <a:pt x="1406" y="1668"/>
                    </a:lnTo>
                    <a:lnTo>
                      <a:pt x="1408" y="1676"/>
                    </a:lnTo>
                    <a:lnTo>
                      <a:pt x="1406" y="1682"/>
                    </a:lnTo>
                    <a:lnTo>
                      <a:pt x="1402" y="1686"/>
                    </a:lnTo>
                    <a:lnTo>
                      <a:pt x="1392" y="1692"/>
                    </a:lnTo>
                    <a:lnTo>
                      <a:pt x="1392" y="1692"/>
                    </a:lnTo>
                    <a:lnTo>
                      <a:pt x="1380" y="1694"/>
                    </a:lnTo>
                    <a:lnTo>
                      <a:pt x="1370" y="1694"/>
                    </a:lnTo>
                    <a:lnTo>
                      <a:pt x="1364" y="1690"/>
                    </a:lnTo>
                    <a:lnTo>
                      <a:pt x="1360" y="1684"/>
                    </a:lnTo>
                    <a:lnTo>
                      <a:pt x="1354" y="1672"/>
                    </a:lnTo>
                    <a:lnTo>
                      <a:pt x="1348" y="1666"/>
                    </a:lnTo>
                    <a:lnTo>
                      <a:pt x="1342" y="1662"/>
                    </a:lnTo>
                    <a:lnTo>
                      <a:pt x="1342" y="1662"/>
                    </a:lnTo>
                    <a:lnTo>
                      <a:pt x="1336" y="1660"/>
                    </a:lnTo>
                    <a:lnTo>
                      <a:pt x="1334" y="1656"/>
                    </a:lnTo>
                    <a:lnTo>
                      <a:pt x="1332" y="1652"/>
                    </a:lnTo>
                    <a:lnTo>
                      <a:pt x="1332" y="1650"/>
                    </a:lnTo>
                    <a:lnTo>
                      <a:pt x="1332" y="1648"/>
                    </a:lnTo>
                    <a:lnTo>
                      <a:pt x="1332" y="1648"/>
                    </a:lnTo>
                    <a:lnTo>
                      <a:pt x="1324" y="1648"/>
                    </a:lnTo>
                    <a:lnTo>
                      <a:pt x="1324" y="1648"/>
                    </a:lnTo>
                    <a:lnTo>
                      <a:pt x="1302" y="1656"/>
                    </a:lnTo>
                    <a:lnTo>
                      <a:pt x="1294" y="1660"/>
                    </a:lnTo>
                    <a:lnTo>
                      <a:pt x="1292" y="1664"/>
                    </a:lnTo>
                    <a:lnTo>
                      <a:pt x="1292" y="1664"/>
                    </a:lnTo>
                    <a:lnTo>
                      <a:pt x="1286" y="1674"/>
                    </a:lnTo>
                    <a:lnTo>
                      <a:pt x="1284" y="1678"/>
                    </a:lnTo>
                    <a:lnTo>
                      <a:pt x="1286" y="1684"/>
                    </a:lnTo>
                    <a:lnTo>
                      <a:pt x="1286" y="1684"/>
                    </a:lnTo>
                    <a:lnTo>
                      <a:pt x="1286" y="1688"/>
                    </a:lnTo>
                    <a:lnTo>
                      <a:pt x="1286" y="1690"/>
                    </a:lnTo>
                    <a:lnTo>
                      <a:pt x="1280" y="1694"/>
                    </a:lnTo>
                    <a:lnTo>
                      <a:pt x="1274" y="1700"/>
                    </a:lnTo>
                    <a:lnTo>
                      <a:pt x="1272" y="1704"/>
                    </a:lnTo>
                    <a:lnTo>
                      <a:pt x="1270" y="1710"/>
                    </a:lnTo>
                    <a:lnTo>
                      <a:pt x="1270" y="1710"/>
                    </a:lnTo>
                    <a:lnTo>
                      <a:pt x="1266" y="1720"/>
                    </a:lnTo>
                    <a:lnTo>
                      <a:pt x="1266" y="1732"/>
                    </a:lnTo>
                    <a:lnTo>
                      <a:pt x="1268" y="1752"/>
                    </a:lnTo>
                    <a:lnTo>
                      <a:pt x="1268" y="1752"/>
                    </a:lnTo>
                    <a:lnTo>
                      <a:pt x="1268" y="1766"/>
                    </a:lnTo>
                    <a:lnTo>
                      <a:pt x="1270" y="1772"/>
                    </a:lnTo>
                    <a:lnTo>
                      <a:pt x="1274" y="1776"/>
                    </a:lnTo>
                    <a:lnTo>
                      <a:pt x="1274" y="1776"/>
                    </a:lnTo>
                    <a:lnTo>
                      <a:pt x="1278" y="1782"/>
                    </a:lnTo>
                    <a:lnTo>
                      <a:pt x="1280" y="1790"/>
                    </a:lnTo>
                    <a:lnTo>
                      <a:pt x="1280" y="1804"/>
                    </a:lnTo>
                    <a:lnTo>
                      <a:pt x="1280" y="1804"/>
                    </a:lnTo>
                    <a:lnTo>
                      <a:pt x="1278" y="1806"/>
                    </a:lnTo>
                    <a:lnTo>
                      <a:pt x="1278" y="1806"/>
                    </a:lnTo>
                    <a:lnTo>
                      <a:pt x="1276" y="1808"/>
                    </a:lnTo>
                    <a:lnTo>
                      <a:pt x="1276" y="1816"/>
                    </a:lnTo>
                    <a:lnTo>
                      <a:pt x="1276" y="1816"/>
                    </a:lnTo>
                    <a:lnTo>
                      <a:pt x="1278" y="1818"/>
                    </a:lnTo>
                    <a:lnTo>
                      <a:pt x="1276" y="1822"/>
                    </a:lnTo>
                    <a:lnTo>
                      <a:pt x="1270" y="1824"/>
                    </a:lnTo>
                    <a:lnTo>
                      <a:pt x="1264" y="1826"/>
                    </a:lnTo>
                    <a:lnTo>
                      <a:pt x="1258" y="1824"/>
                    </a:lnTo>
                    <a:lnTo>
                      <a:pt x="1258" y="1824"/>
                    </a:lnTo>
                    <a:lnTo>
                      <a:pt x="1256" y="1824"/>
                    </a:lnTo>
                    <a:lnTo>
                      <a:pt x="1256" y="1822"/>
                    </a:lnTo>
                    <a:lnTo>
                      <a:pt x="1258" y="1816"/>
                    </a:lnTo>
                    <a:lnTo>
                      <a:pt x="1268" y="1804"/>
                    </a:lnTo>
                    <a:lnTo>
                      <a:pt x="1268" y="1804"/>
                    </a:lnTo>
                    <a:lnTo>
                      <a:pt x="1270" y="1800"/>
                    </a:lnTo>
                    <a:lnTo>
                      <a:pt x="1268" y="1800"/>
                    </a:lnTo>
                    <a:lnTo>
                      <a:pt x="1256" y="1814"/>
                    </a:lnTo>
                    <a:lnTo>
                      <a:pt x="1256" y="1814"/>
                    </a:lnTo>
                    <a:lnTo>
                      <a:pt x="1248" y="1820"/>
                    </a:lnTo>
                    <a:lnTo>
                      <a:pt x="1246" y="1822"/>
                    </a:lnTo>
                    <a:lnTo>
                      <a:pt x="1240" y="1820"/>
                    </a:lnTo>
                    <a:lnTo>
                      <a:pt x="1232" y="1820"/>
                    </a:lnTo>
                    <a:lnTo>
                      <a:pt x="1232" y="1820"/>
                    </a:lnTo>
                    <a:lnTo>
                      <a:pt x="1226" y="1822"/>
                    </a:lnTo>
                    <a:lnTo>
                      <a:pt x="1224" y="1824"/>
                    </a:lnTo>
                    <a:lnTo>
                      <a:pt x="1224" y="1830"/>
                    </a:lnTo>
                    <a:lnTo>
                      <a:pt x="1224" y="1836"/>
                    </a:lnTo>
                    <a:lnTo>
                      <a:pt x="1224" y="1840"/>
                    </a:lnTo>
                    <a:lnTo>
                      <a:pt x="1220" y="1846"/>
                    </a:lnTo>
                    <a:lnTo>
                      <a:pt x="1214" y="1852"/>
                    </a:lnTo>
                    <a:lnTo>
                      <a:pt x="1214" y="1852"/>
                    </a:lnTo>
                    <a:lnTo>
                      <a:pt x="1202" y="1858"/>
                    </a:lnTo>
                    <a:lnTo>
                      <a:pt x="1188" y="1860"/>
                    </a:lnTo>
                    <a:lnTo>
                      <a:pt x="1182" y="1858"/>
                    </a:lnTo>
                    <a:lnTo>
                      <a:pt x="1176" y="1856"/>
                    </a:lnTo>
                    <a:lnTo>
                      <a:pt x="1172" y="1854"/>
                    </a:lnTo>
                    <a:lnTo>
                      <a:pt x="1170" y="1848"/>
                    </a:lnTo>
                    <a:lnTo>
                      <a:pt x="1170" y="1848"/>
                    </a:lnTo>
                    <a:lnTo>
                      <a:pt x="1166" y="1836"/>
                    </a:lnTo>
                    <a:lnTo>
                      <a:pt x="1166" y="1836"/>
                    </a:lnTo>
                    <a:lnTo>
                      <a:pt x="1172" y="1840"/>
                    </a:lnTo>
                    <a:lnTo>
                      <a:pt x="1172" y="1840"/>
                    </a:lnTo>
                    <a:lnTo>
                      <a:pt x="1180" y="1844"/>
                    </a:lnTo>
                    <a:lnTo>
                      <a:pt x="1184" y="1844"/>
                    </a:lnTo>
                    <a:lnTo>
                      <a:pt x="1184" y="1842"/>
                    </a:lnTo>
                    <a:lnTo>
                      <a:pt x="1180" y="1840"/>
                    </a:lnTo>
                    <a:lnTo>
                      <a:pt x="1180" y="1840"/>
                    </a:lnTo>
                    <a:lnTo>
                      <a:pt x="1168" y="1832"/>
                    </a:lnTo>
                    <a:lnTo>
                      <a:pt x="1160" y="1828"/>
                    </a:lnTo>
                    <a:lnTo>
                      <a:pt x="1152" y="1828"/>
                    </a:lnTo>
                    <a:lnTo>
                      <a:pt x="1136" y="1832"/>
                    </a:lnTo>
                    <a:lnTo>
                      <a:pt x="1136" y="1832"/>
                    </a:lnTo>
                    <a:lnTo>
                      <a:pt x="1118" y="1836"/>
                    </a:lnTo>
                    <a:lnTo>
                      <a:pt x="1112" y="1838"/>
                    </a:lnTo>
                    <a:lnTo>
                      <a:pt x="1110" y="1840"/>
                    </a:lnTo>
                    <a:lnTo>
                      <a:pt x="1098" y="1844"/>
                    </a:lnTo>
                    <a:lnTo>
                      <a:pt x="1098" y="1844"/>
                    </a:lnTo>
                    <a:lnTo>
                      <a:pt x="1090" y="1848"/>
                    </a:lnTo>
                    <a:lnTo>
                      <a:pt x="1086" y="1850"/>
                    </a:lnTo>
                    <a:lnTo>
                      <a:pt x="1082" y="1856"/>
                    </a:lnTo>
                    <a:lnTo>
                      <a:pt x="1080" y="1858"/>
                    </a:lnTo>
                    <a:lnTo>
                      <a:pt x="1074" y="1862"/>
                    </a:lnTo>
                    <a:lnTo>
                      <a:pt x="1066" y="1864"/>
                    </a:lnTo>
                    <a:lnTo>
                      <a:pt x="1054" y="1868"/>
                    </a:lnTo>
                    <a:lnTo>
                      <a:pt x="1054" y="1868"/>
                    </a:lnTo>
                    <a:lnTo>
                      <a:pt x="1034" y="1874"/>
                    </a:lnTo>
                    <a:lnTo>
                      <a:pt x="1020" y="1880"/>
                    </a:lnTo>
                    <a:lnTo>
                      <a:pt x="1008" y="1884"/>
                    </a:lnTo>
                    <a:lnTo>
                      <a:pt x="1002" y="1884"/>
                    </a:lnTo>
                    <a:lnTo>
                      <a:pt x="996" y="1884"/>
                    </a:lnTo>
                    <a:lnTo>
                      <a:pt x="996" y="1884"/>
                    </a:lnTo>
                    <a:lnTo>
                      <a:pt x="992" y="1882"/>
                    </a:lnTo>
                    <a:lnTo>
                      <a:pt x="986" y="1878"/>
                    </a:lnTo>
                    <a:lnTo>
                      <a:pt x="980" y="1870"/>
                    </a:lnTo>
                    <a:lnTo>
                      <a:pt x="980" y="1870"/>
                    </a:lnTo>
                    <a:lnTo>
                      <a:pt x="978" y="1870"/>
                    </a:lnTo>
                    <a:lnTo>
                      <a:pt x="978" y="1870"/>
                    </a:lnTo>
                    <a:lnTo>
                      <a:pt x="980" y="1874"/>
                    </a:lnTo>
                    <a:lnTo>
                      <a:pt x="984" y="1884"/>
                    </a:lnTo>
                    <a:lnTo>
                      <a:pt x="984" y="1884"/>
                    </a:lnTo>
                    <a:lnTo>
                      <a:pt x="984" y="1886"/>
                    </a:lnTo>
                    <a:lnTo>
                      <a:pt x="984" y="1888"/>
                    </a:lnTo>
                    <a:lnTo>
                      <a:pt x="982" y="1888"/>
                    </a:lnTo>
                    <a:lnTo>
                      <a:pt x="982" y="1890"/>
                    </a:lnTo>
                    <a:lnTo>
                      <a:pt x="982" y="1890"/>
                    </a:lnTo>
                    <a:lnTo>
                      <a:pt x="984" y="1890"/>
                    </a:lnTo>
                    <a:lnTo>
                      <a:pt x="988" y="1890"/>
                    </a:lnTo>
                    <a:lnTo>
                      <a:pt x="992" y="1888"/>
                    </a:lnTo>
                    <a:lnTo>
                      <a:pt x="996" y="1890"/>
                    </a:lnTo>
                    <a:lnTo>
                      <a:pt x="996" y="1890"/>
                    </a:lnTo>
                    <a:lnTo>
                      <a:pt x="998" y="1892"/>
                    </a:lnTo>
                    <a:lnTo>
                      <a:pt x="1002" y="1892"/>
                    </a:lnTo>
                    <a:lnTo>
                      <a:pt x="1004" y="1890"/>
                    </a:lnTo>
                    <a:lnTo>
                      <a:pt x="1008" y="1890"/>
                    </a:lnTo>
                    <a:lnTo>
                      <a:pt x="1008" y="1890"/>
                    </a:lnTo>
                    <a:lnTo>
                      <a:pt x="1010" y="1894"/>
                    </a:lnTo>
                    <a:lnTo>
                      <a:pt x="1010" y="1900"/>
                    </a:lnTo>
                    <a:lnTo>
                      <a:pt x="1010" y="1900"/>
                    </a:lnTo>
                    <a:lnTo>
                      <a:pt x="1010" y="1902"/>
                    </a:lnTo>
                    <a:lnTo>
                      <a:pt x="1008" y="1902"/>
                    </a:lnTo>
                    <a:lnTo>
                      <a:pt x="1004" y="1900"/>
                    </a:lnTo>
                    <a:lnTo>
                      <a:pt x="998" y="1898"/>
                    </a:lnTo>
                    <a:lnTo>
                      <a:pt x="998" y="1898"/>
                    </a:lnTo>
                    <a:lnTo>
                      <a:pt x="996" y="1898"/>
                    </a:lnTo>
                    <a:lnTo>
                      <a:pt x="996" y="1898"/>
                    </a:lnTo>
                    <a:lnTo>
                      <a:pt x="986" y="1896"/>
                    </a:lnTo>
                    <a:lnTo>
                      <a:pt x="980" y="1892"/>
                    </a:lnTo>
                    <a:lnTo>
                      <a:pt x="980" y="1890"/>
                    </a:lnTo>
                    <a:lnTo>
                      <a:pt x="980" y="1886"/>
                    </a:lnTo>
                    <a:lnTo>
                      <a:pt x="980" y="1886"/>
                    </a:lnTo>
                    <a:lnTo>
                      <a:pt x="980" y="1884"/>
                    </a:lnTo>
                    <a:lnTo>
                      <a:pt x="978" y="1882"/>
                    </a:lnTo>
                    <a:lnTo>
                      <a:pt x="976" y="1878"/>
                    </a:lnTo>
                    <a:lnTo>
                      <a:pt x="976" y="1872"/>
                    </a:lnTo>
                    <a:lnTo>
                      <a:pt x="976" y="1872"/>
                    </a:lnTo>
                    <a:lnTo>
                      <a:pt x="976" y="1870"/>
                    </a:lnTo>
                    <a:lnTo>
                      <a:pt x="974" y="1870"/>
                    </a:lnTo>
                    <a:lnTo>
                      <a:pt x="970" y="1872"/>
                    </a:lnTo>
                    <a:lnTo>
                      <a:pt x="962" y="1872"/>
                    </a:lnTo>
                    <a:lnTo>
                      <a:pt x="958" y="1870"/>
                    </a:lnTo>
                    <a:lnTo>
                      <a:pt x="954" y="1868"/>
                    </a:lnTo>
                    <a:lnTo>
                      <a:pt x="954" y="1868"/>
                    </a:lnTo>
                    <a:lnTo>
                      <a:pt x="950" y="1860"/>
                    </a:lnTo>
                    <a:lnTo>
                      <a:pt x="948" y="1856"/>
                    </a:lnTo>
                    <a:lnTo>
                      <a:pt x="946" y="1854"/>
                    </a:lnTo>
                    <a:lnTo>
                      <a:pt x="944" y="1854"/>
                    </a:lnTo>
                    <a:lnTo>
                      <a:pt x="944" y="1854"/>
                    </a:lnTo>
                    <a:lnTo>
                      <a:pt x="938" y="1854"/>
                    </a:lnTo>
                    <a:lnTo>
                      <a:pt x="932" y="1852"/>
                    </a:lnTo>
                    <a:lnTo>
                      <a:pt x="930" y="1850"/>
                    </a:lnTo>
                    <a:lnTo>
                      <a:pt x="926" y="1850"/>
                    </a:lnTo>
                    <a:lnTo>
                      <a:pt x="926" y="1850"/>
                    </a:lnTo>
                    <a:lnTo>
                      <a:pt x="924" y="1854"/>
                    </a:lnTo>
                    <a:lnTo>
                      <a:pt x="920" y="1862"/>
                    </a:lnTo>
                    <a:lnTo>
                      <a:pt x="912" y="1868"/>
                    </a:lnTo>
                    <a:lnTo>
                      <a:pt x="908" y="1870"/>
                    </a:lnTo>
                    <a:lnTo>
                      <a:pt x="900" y="1870"/>
                    </a:lnTo>
                    <a:lnTo>
                      <a:pt x="900" y="1870"/>
                    </a:lnTo>
                    <a:lnTo>
                      <a:pt x="894" y="1872"/>
                    </a:lnTo>
                    <a:lnTo>
                      <a:pt x="890" y="1874"/>
                    </a:lnTo>
                    <a:lnTo>
                      <a:pt x="886" y="1880"/>
                    </a:lnTo>
                    <a:lnTo>
                      <a:pt x="884" y="1884"/>
                    </a:lnTo>
                    <a:lnTo>
                      <a:pt x="882" y="1884"/>
                    </a:lnTo>
                    <a:lnTo>
                      <a:pt x="878" y="1882"/>
                    </a:lnTo>
                    <a:lnTo>
                      <a:pt x="878" y="1882"/>
                    </a:lnTo>
                    <a:lnTo>
                      <a:pt x="874" y="1880"/>
                    </a:lnTo>
                    <a:lnTo>
                      <a:pt x="870" y="1880"/>
                    </a:lnTo>
                    <a:lnTo>
                      <a:pt x="864" y="1882"/>
                    </a:lnTo>
                    <a:lnTo>
                      <a:pt x="860" y="1882"/>
                    </a:lnTo>
                    <a:lnTo>
                      <a:pt x="858" y="1882"/>
                    </a:lnTo>
                    <a:lnTo>
                      <a:pt x="856" y="1880"/>
                    </a:lnTo>
                    <a:lnTo>
                      <a:pt x="856" y="1880"/>
                    </a:lnTo>
                    <a:lnTo>
                      <a:pt x="856" y="1878"/>
                    </a:lnTo>
                    <a:lnTo>
                      <a:pt x="858" y="1876"/>
                    </a:lnTo>
                    <a:lnTo>
                      <a:pt x="864" y="1872"/>
                    </a:lnTo>
                    <a:lnTo>
                      <a:pt x="870" y="1870"/>
                    </a:lnTo>
                    <a:lnTo>
                      <a:pt x="870" y="1868"/>
                    </a:lnTo>
                    <a:lnTo>
                      <a:pt x="870" y="1864"/>
                    </a:lnTo>
                    <a:lnTo>
                      <a:pt x="870" y="1864"/>
                    </a:lnTo>
                    <a:lnTo>
                      <a:pt x="870" y="1862"/>
                    </a:lnTo>
                    <a:lnTo>
                      <a:pt x="870" y="1858"/>
                    </a:lnTo>
                    <a:lnTo>
                      <a:pt x="870" y="1856"/>
                    </a:lnTo>
                    <a:lnTo>
                      <a:pt x="870" y="1856"/>
                    </a:lnTo>
                    <a:lnTo>
                      <a:pt x="862" y="1858"/>
                    </a:lnTo>
                    <a:lnTo>
                      <a:pt x="862" y="1858"/>
                    </a:lnTo>
                    <a:lnTo>
                      <a:pt x="856" y="1860"/>
                    </a:lnTo>
                    <a:lnTo>
                      <a:pt x="852" y="1860"/>
                    </a:lnTo>
                    <a:lnTo>
                      <a:pt x="848" y="1860"/>
                    </a:lnTo>
                    <a:lnTo>
                      <a:pt x="846" y="1858"/>
                    </a:lnTo>
                    <a:lnTo>
                      <a:pt x="842" y="1854"/>
                    </a:lnTo>
                    <a:lnTo>
                      <a:pt x="840" y="1854"/>
                    </a:lnTo>
                    <a:lnTo>
                      <a:pt x="838" y="1854"/>
                    </a:lnTo>
                    <a:lnTo>
                      <a:pt x="838" y="1854"/>
                    </a:lnTo>
                    <a:lnTo>
                      <a:pt x="834" y="1856"/>
                    </a:lnTo>
                    <a:lnTo>
                      <a:pt x="832" y="1854"/>
                    </a:lnTo>
                    <a:lnTo>
                      <a:pt x="830" y="1852"/>
                    </a:lnTo>
                    <a:lnTo>
                      <a:pt x="826" y="1850"/>
                    </a:lnTo>
                    <a:lnTo>
                      <a:pt x="826" y="1850"/>
                    </a:lnTo>
                    <a:lnTo>
                      <a:pt x="822" y="1850"/>
                    </a:lnTo>
                    <a:lnTo>
                      <a:pt x="824" y="1848"/>
                    </a:lnTo>
                    <a:lnTo>
                      <a:pt x="826" y="1844"/>
                    </a:lnTo>
                    <a:lnTo>
                      <a:pt x="828" y="1842"/>
                    </a:lnTo>
                    <a:lnTo>
                      <a:pt x="826" y="1838"/>
                    </a:lnTo>
                    <a:lnTo>
                      <a:pt x="826" y="1838"/>
                    </a:lnTo>
                    <a:lnTo>
                      <a:pt x="824" y="1834"/>
                    </a:lnTo>
                    <a:lnTo>
                      <a:pt x="822" y="1832"/>
                    </a:lnTo>
                    <a:lnTo>
                      <a:pt x="820" y="1834"/>
                    </a:lnTo>
                    <a:lnTo>
                      <a:pt x="816" y="1832"/>
                    </a:lnTo>
                    <a:lnTo>
                      <a:pt x="816" y="1832"/>
                    </a:lnTo>
                    <a:lnTo>
                      <a:pt x="812" y="1830"/>
                    </a:lnTo>
                    <a:lnTo>
                      <a:pt x="808" y="1830"/>
                    </a:lnTo>
                    <a:lnTo>
                      <a:pt x="806" y="1832"/>
                    </a:lnTo>
                    <a:lnTo>
                      <a:pt x="802" y="1830"/>
                    </a:lnTo>
                    <a:lnTo>
                      <a:pt x="802" y="1830"/>
                    </a:lnTo>
                    <a:lnTo>
                      <a:pt x="808" y="1826"/>
                    </a:lnTo>
                    <a:lnTo>
                      <a:pt x="810" y="1824"/>
                    </a:lnTo>
                    <a:lnTo>
                      <a:pt x="810" y="1826"/>
                    </a:lnTo>
                    <a:lnTo>
                      <a:pt x="812" y="1828"/>
                    </a:lnTo>
                    <a:lnTo>
                      <a:pt x="812" y="1828"/>
                    </a:lnTo>
                    <a:lnTo>
                      <a:pt x="816" y="1828"/>
                    </a:lnTo>
                    <a:lnTo>
                      <a:pt x="818" y="1826"/>
                    </a:lnTo>
                    <a:lnTo>
                      <a:pt x="820" y="1826"/>
                    </a:lnTo>
                    <a:lnTo>
                      <a:pt x="820" y="1826"/>
                    </a:lnTo>
                    <a:lnTo>
                      <a:pt x="820" y="1826"/>
                    </a:lnTo>
                    <a:lnTo>
                      <a:pt x="824" y="1828"/>
                    </a:lnTo>
                    <a:lnTo>
                      <a:pt x="826" y="1826"/>
                    </a:lnTo>
                    <a:lnTo>
                      <a:pt x="828" y="1824"/>
                    </a:lnTo>
                    <a:lnTo>
                      <a:pt x="828" y="1822"/>
                    </a:lnTo>
                    <a:lnTo>
                      <a:pt x="822" y="1818"/>
                    </a:lnTo>
                    <a:lnTo>
                      <a:pt x="822" y="1818"/>
                    </a:lnTo>
                    <a:lnTo>
                      <a:pt x="816" y="1814"/>
                    </a:lnTo>
                    <a:lnTo>
                      <a:pt x="812" y="1816"/>
                    </a:lnTo>
                    <a:lnTo>
                      <a:pt x="810" y="1818"/>
                    </a:lnTo>
                    <a:lnTo>
                      <a:pt x="806" y="1814"/>
                    </a:lnTo>
                    <a:lnTo>
                      <a:pt x="806" y="1814"/>
                    </a:lnTo>
                    <a:lnTo>
                      <a:pt x="806" y="1812"/>
                    </a:lnTo>
                    <a:lnTo>
                      <a:pt x="806" y="1810"/>
                    </a:lnTo>
                    <a:lnTo>
                      <a:pt x="810" y="1808"/>
                    </a:lnTo>
                    <a:lnTo>
                      <a:pt x="812" y="1804"/>
                    </a:lnTo>
                    <a:lnTo>
                      <a:pt x="814" y="1804"/>
                    </a:lnTo>
                    <a:lnTo>
                      <a:pt x="812" y="1802"/>
                    </a:lnTo>
                    <a:lnTo>
                      <a:pt x="812" y="1802"/>
                    </a:lnTo>
                    <a:lnTo>
                      <a:pt x="810" y="1798"/>
                    </a:lnTo>
                    <a:lnTo>
                      <a:pt x="810" y="1794"/>
                    </a:lnTo>
                    <a:lnTo>
                      <a:pt x="810" y="1792"/>
                    </a:lnTo>
                    <a:lnTo>
                      <a:pt x="808" y="1790"/>
                    </a:lnTo>
                    <a:lnTo>
                      <a:pt x="808" y="1790"/>
                    </a:lnTo>
                    <a:lnTo>
                      <a:pt x="808" y="1788"/>
                    </a:lnTo>
                    <a:lnTo>
                      <a:pt x="808" y="1786"/>
                    </a:lnTo>
                    <a:lnTo>
                      <a:pt x="814" y="1784"/>
                    </a:lnTo>
                    <a:lnTo>
                      <a:pt x="818" y="1782"/>
                    </a:lnTo>
                    <a:lnTo>
                      <a:pt x="818" y="1780"/>
                    </a:lnTo>
                    <a:lnTo>
                      <a:pt x="818" y="1780"/>
                    </a:lnTo>
                    <a:lnTo>
                      <a:pt x="818" y="1780"/>
                    </a:lnTo>
                    <a:lnTo>
                      <a:pt x="818" y="1778"/>
                    </a:lnTo>
                    <a:lnTo>
                      <a:pt x="818" y="1776"/>
                    </a:lnTo>
                    <a:lnTo>
                      <a:pt x="822" y="1776"/>
                    </a:lnTo>
                    <a:lnTo>
                      <a:pt x="826" y="1774"/>
                    </a:lnTo>
                    <a:lnTo>
                      <a:pt x="826" y="1772"/>
                    </a:lnTo>
                    <a:lnTo>
                      <a:pt x="824" y="1768"/>
                    </a:lnTo>
                    <a:lnTo>
                      <a:pt x="824" y="1768"/>
                    </a:lnTo>
                    <a:lnTo>
                      <a:pt x="820" y="1764"/>
                    </a:lnTo>
                    <a:lnTo>
                      <a:pt x="824" y="1766"/>
                    </a:lnTo>
                    <a:lnTo>
                      <a:pt x="828" y="1768"/>
                    </a:lnTo>
                    <a:lnTo>
                      <a:pt x="832" y="1768"/>
                    </a:lnTo>
                    <a:lnTo>
                      <a:pt x="834" y="1766"/>
                    </a:lnTo>
                    <a:lnTo>
                      <a:pt x="834" y="1766"/>
                    </a:lnTo>
                    <a:lnTo>
                      <a:pt x="834" y="1764"/>
                    </a:lnTo>
                    <a:lnTo>
                      <a:pt x="834" y="1760"/>
                    </a:lnTo>
                    <a:lnTo>
                      <a:pt x="834" y="1750"/>
                    </a:lnTo>
                    <a:lnTo>
                      <a:pt x="836" y="1742"/>
                    </a:lnTo>
                    <a:lnTo>
                      <a:pt x="836" y="1740"/>
                    </a:lnTo>
                    <a:lnTo>
                      <a:pt x="840" y="1738"/>
                    </a:lnTo>
                    <a:lnTo>
                      <a:pt x="840" y="1738"/>
                    </a:lnTo>
                    <a:lnTo>
                      <a:pt x="844" y="1738"/>
                    </a:lnTo>
                    <a:lnTo>
                      <a:pt x="844" y="1742"/>
                    </a:lnTo>
                    <a:lnTo>
                      <a:pt x="842" y="1744"/>
                    </a:lnTo>
                    <a:lnTo>
                      <a:pt x="842" y="1746"/>
                    </a:lnTo>
                    <a:lnTo>
                      <a:pt x="844" y="1748"/>
                    </a:lnTo>
                    <a:lnTo>
                      <a:pt x="844" y="1748"/>
                    </a:lnTo>
                    <a:lnTo>
                      <a:pt x="848" y="1750"/>
                    </a:lnTo>
                    <a:lnTo>
                      <a:pt x="848" y="1748"/>
                    </a:lnTo>
                    <a:lnTo>
                      <a:pt x="850" y="1746"/>
                    </a:lnTo>
                    <a:lnTo>
                      <a:pt x="852" y="1746"/>
                    </a:lnTo>
                    <a:lnTo>
                      <a:pt x="852" y="1746"/>
                    </a:lnTo>
                    <a:lnTo>
                      <a:pt x="854" y="1748"/>
                    </a:lnTo>
                    <a:lnTo>
                      <a:pt x="856" y="1746"/>
                    </a:lnTo>
                    <a:lnTo>
                      <a:pt x="858" y="1744"/>
                    </a:lnTo>
                    <a:lnTo>
                      <a:pt x="864" y="1732"/>
                    </a:lnTo>
                    <a:lnTo>
                      <a:pt x="864" y="1732"/>
                    </a:lnTo>
                    <a:lnTo>
                      <a:pt x="864" y="1730"/>
                    </a:lnTo>
                    <a:lnTo>
                      <a:pt x="864" y="1728"/>
                    </a:lnTo>
                    <a:lnTo>
                      <a:pt x="858" y="1726"/>
                    </a:lnTo>
                    <a:lnTo>
                      <a:pt x="844" y="1724"/>
                    </a:lnTo>
                    <a:lnTo>
                      <a:pt x="844" y="1724"/>
                    </a:lnTo>
                    <a:lnTo>
                      <a:pt x="840" y="1722"/>
                    </a:lnTo>
                    <a:lnTo>
                      <a:pt x="838" y="1722"/>
                    </a:lnTo>
                    <a:lnTo>
                      <a:pt x="838" y="1722"/>
                    </a:lnTo>
                    <a:lnTo>
                      <a:pt x="840" y="1718"/>
                    </a:lnTo>
                    <a:lnTo>
                      <a:pt x="840" y="1718"/>
                    </a:lnTo>
                    <a:lnTo>
                      <a:pt x="842" y="1714"/>
                    </a:lnTo>
                    <a:lnTo>
                      <a:pt x="840" y="1710"/>
                    </a:lnTo>
                    <a:lnTo>
                      <a:pt x="838" y="1706"/>
                    </a:lnTo>
                    <a:lnTo>
                      <a:pt x="838" y="1700"/>
                    </a:lnTo>
                    <a:lnTo>
                      <a:pt x="838" y="1700"/>
                    </a:lnTo>
                    <a:lnTo>
                      <a:pt x="840" y="1690"/>
                    </a:lnTo>
                    <a:lnTo>
                      <a:pt x="842" y="1686"/>
                    </a:lnTo>
                    <a:lnTo>
                      <a:pt x="844" y="1684"/>
                    </a:lnTo>
                    <a:lnTo>
                      <a:pt x="844" y="1684"/>
                    </a:lnTo>
                    <a:lnTo>
                      <a:pt x="846" y="1680"/>
                    </a:lnTo>
                    <a:lnTo>
                      <a:pt x="848" y="1676"/>
                    </a:lnTo>
                    <a:lnTo>
                      <a:pt x="848" y="1670"/>
                    </a:lnTo>
                    <a:lnTo>
                      <a:pt x="846" y="1662"/>
                    </a:lnTo>
                    <a:lnTo>
                      <a:pt x="846" y="1662"/>
                    </a:lnTo>
                    <a:lnTo>
                      <a:pt x="844" y="1658"/>
                    </a:lnTo>
                    <a:lnTo>
                      <a:pt x="844" y="1656"/>
                    </a:lnTo>
                    <a:lnTo>
                      <a:pt x="846" y="1652"/>
                    </a:lnTo>
                    <a:lnTo>
                      <a:pt x="850" y="1648"/>
                    </a:lnTo>
                    <a:lnTo>
                      <a:pt x="850" y="1648"/>
                    </a:lnTo>
                    <a:lnTo>
                      <a:pt x="850" y="1646"/>
                    </a:lnTo>
                    <a:lnTo>
                      <a:pt x="850" y="1646"/>
                    </a:lnTo>
                    <a:lnTo>
                      <a:pt x="846" y="1646"/>
                    </a:lnTo>
                    <a:lnTo>
                      <a:pt x="844" y="1650"/>
                    </a:lnTo>
                    <a:lnTo>
                      <a:pt x="838" y="1654"/>
                    </a:lnTo>
                    <a:lnTo>
                      <a:pt x="830" y="1656"/>
                    </a:lnTo>
                    <a:lnTo>
                      <a:pt x="830" y="1656"/>
                    </a:lnTo>
                    <a:lnTo>
                      <a:pt x="824" y="1658"/>
                    </a:lnTo>
                    <a:lnTo>
                      <a:pt x="822" y="1660"/>
                    </a:lnTo>
                    <a:lnTo>
                      <a:pt x="814" y="1672"/>
                    </a:lnTo>
                    <a:lnTo>
                      <a:pt x="810" y="1676"/>
                    </a:lnTo>
                    <a:lnTo>
                      <a:pt x="804" y="1680"/>
                    </a:lnTo>
                    <a:lnTo>
                      <a:pt x="796" y="1684"/>
                    </a:lnTo>
                    <a:lnTo>
                      <a:pt x="786" y="1686"/>
                    </a:lnTo>
                    <a:lnTo>
                      <a:pt x="786" y="1686"/>
                    </a:lnTo>
                    <a:lnTo>
                      <a:pt x="776" y="1686"/>
                    </a:lnTo>
                    <a:lnTo>
                      <a:pt x="768" y="1690"/>
                    </a:lnTo>
                    <a:lnTo>
                      <a:pt x="762" y="1694"/>
                    </a:lnTo>
                    <a:lnTo>
                      <a:pt x="758" y="1700"/>
                    </a:lnTo>
                    <a:lnTo>
                      <a:pt x="754" y="1708"/>
                    </a:lnTo>
                    <a:lnTo>
                      <a:pt x="752" y="1718"/>
                    </a:lnTo>
                    <a:lnTo>
                      <a:pt x="748" y="1736"/>
                    </a:lnTo>
                    <a:lnTo>
                      <a:pt x="748" y="1736"/>
                    </a:lnTo>
                    <a:lnTo>
                      <a:pt x="748" y="1752"/>
                    </a:lnTo>
                    <a:lnTo>
                      <a:pt x="750" y="1762"/>
                    </a:lnTo>
                    <a:lnTo>
                      <a:pt x="752" y="1770"/>
                    </a:lnTo>
                    <a:lnTo>
                      <a:pt x="750" y="1778"/>
                    </a:lnTo>
                    <a:lnTo>
                      <a:pt x="750" y="1778"/>
                    </a:lnTo>
                    <a:lnTo>
                      <a:pt x="746" y="1784"/>
                    </a:lnTo>
                    <a:lnTo>
                      <a:pt x="748" y="1786"/>
                    </a:lnTo>
                    <a:lnTo>
                      <a:pt x="750" y="1786"/>
                    </a:lnTo>
                    <a:lnTo>
                      <a:pt x="754" y="1790"/>
                    </a:lnTo>
                    <a:lnTo>
                      <a:pt x="754" y="1790"/>
                    </a:lnTo>
                    <a:lnTo>
                      <a:pt x="758" y="1792"/>
                    </a:lnTo>
                    <a:lnTo>
                      <a:pt x="758" y="1790"/>
                    </a:lnTo>
                    <a:lnTo>
                      <a:pt x="758" y="1788"/>
                    </a:lnTo>
                    <a:lnTo>
                      <a:pt x="762" y="1790"/>
                    </a:lnTo>
                    <a:lnTo>
                      <a:pt x="762" y="1790"/>
                    </a:lnTo>
                    <a:lnTo>
                      <a:pt x="764" y="1792"/>
                    </a:lnTo>
                    <a:lnTo>
                      <a:pt x="768" y="1792"/>
                    </a:lnTo>
                    <a:lnTo>
                      <a:pt x="772" y="1796"/>
                    </a:lnTo>
                    <a:lnTo>
                      <a:pt x="772" y="1804"/>
                    </a:lnTo>
                    <a:lnTo>
                      <a:pt x="772" y="1804"/>
                    </a:lnTo>
                    <a:lnTo>
                      <a:pt x="770" y="1810"/>
                    </a:lnTo>
                    <a:lnTo>
                      <a:pt x="768" y="1808"/>
                    </a:lnTo>
                    <a:lnTo>
                      <a:pt x="766" y="1806"/>
                    </a:lnTo>
                    <a:lnTo>
                      <a:pt x="764" y="1806"/>
                    </a:lnTo>
                    <a:lnTo>
                      <a:pt x="764" y="1810"/>
                    </a:lnTo>
                    <a:lnTo>
                      <a:pt x="764" y="1810"/>
                    </a:lnTo>
                    <a:lnTo>
                      <a:pt x="764" y="1814"/>
                    </a:lnTo>
                    <a:lnTo>
                      <a:pt x="764" y="1814"/>
                    </a:lnTo>
                    <a:lnTo>
                      <a:pt x="768" y="1812"/>
                    </a:lnTo>
                    <a:lnTo>
                      <a:pt x="770" y="1812"/>
                    </a:lnTo>
                    <a:lnTo>
                      <a:pt x="770" y="1814"/>
                    </a:lnTo>
                    <a:lnTo>
                      <a:pt x="770" y="1826"/>
                    </a:lnTo>
                    <a:lnTo>
                      <a:pt x="770" y="1826"/>
                    </a:lnTo>
                    <a:lnTo>
                      <a:pt x="770" y="1830"/>
                    </a:lnTo>
                    <a:lnTo>
                      <a:pt x="774" y="1836"/>
                    </a:lnTo>
                    <a:lnTo>
                      <a:pt x="784" y="1848"/>
                    </a:lnTo>
                    <a:lnTo>
                      <a:pt x="784" y="1848"/>
                    </a:lnTo>
                    <a:lnTo>
                      <a:pt x="786" y="1850"/>
                    </a:lnTo>
                    <a:lnTo>
                      <a:pt x="786" y="1852"/>
                    </a:lnTo>
                    <a:lnTo>
                      <a:pt x="782" y="1854"/>
                    </a:lnTo>
                    <a:lnTo>
                      <a:pt x="774" y="1856"/>
                    </a:lnTo>
                    <a:lnTo>
                      <a:pt x="772" y="1858"/>
                    </a:lnTo>
                    <a:lnTo>
                      <a:pt x="770" y="1860"/>
                    </a:lnTo>
                    <a:lnTo>
                      <a:pt x="770" y="1860"/>
                    </a:lnTo>
                    <a:lnTo>
                      <a:pt x="770" y="1864"/>
                    </a:lnTo>
                    <a:lnTo>
                      <a:pt x="770" y="1864"/>
                    </a:lnTo>
                    <a:lnTo>
                      <a:pt x="776" y="1864"/>
                    </a:lnTo>
                    <a:lnTo>
                      <a:pt x="780" y="1862"/>
                    </a:lnTo>
                    <a:lnTo>
                      <a:pt x="780" y="1864"/>
                    </a:lnTo>
                    <a:lnTo>
                      <a:pt x="778" y="1866"/>
                    </a:lnTo>
                    <a:lnTo>
                      <a:pt x="778" y="1866"/>
                    </a:lnTo>
                    <a:lnTo>
                      <a:pt x="778" y="1870"/>
                    </a:lnTo>
                    <a:lnTo>
                      <a:pt x="778" y="1872"/>
                    </a:lnTo>
                    <a:lnTo>
                      <a:pt x="782" y="1874"/>
                    </a:lnTo>
                    <a:lnTo>
                      <a:pt x="786" y="1876"/>
                    </a:lnTo>
                    <a:lnTo>
                      <a:pt x="786" y="1876"/>
                    </a:lnTo>
                    <a:lnTo>
                      <a:pt x="784" y="1878"/>
                    </a:lnTo>
                    <a:lnTo>
                      <a:pt x="784" y="1878"/>
                    </a:lnTo>
                    <a:lnTo>
                      <a:pt x="780" y="1880"/>
                    </a:lnTo>
                    <a:lnTo>
                      <a:pt x="780" y="1882"/>
                    </a:lnTo>
                    <a:lnTo>
                      <a:pt x="782" y="1886"/>
                    </a:lnTo>
                    <a:lnTo>
                      <a:pt x="790" y="1886"/>
                    </a:lnTo>
                    <a:lnTo>
                      <a:pt x="790" y="1886"/>
                    </a:lnTo>
                    <a:lnTo>
                      <a:pt x="798" y="1890"/>
                    </a:lnTo>
                    <a:lnTo>
                      <a:pt x="804" y="1894"/>
                    </a:lnTo>
                    <a:lnTo>
                      <a:pt x="804" y="1898"/>
                    </a:lnTo>
                    <a:lnTo>
                      <a:pt x="800" y="1896"/>
                    </a:lnTo>
                    <a:lnTo>
                      <a:pt x="800" y="1896"/>
                    </a:lnTo>
                    <a:lnTo>
                      <a:pt x="794" y="1892"/>
                    </a:lnTo>
                    <a:lnTo>
                      <a:pt x="786" y="1890"/>
                    </a:lnTo>
                    <a:lnTo>
                      <a:pt x="780" y="1890"/>
                    </a:lnTo>
                    <a:lnTo>
                      <a:pt x="772" y="1888"/>
                    </a:lnTo>
                    <a:lnTo>
                      <a:pt x="772" y="1888"/>
                    </a:lnTo>
                    <a:lnTo>
                      <a:pt x="770" y="1888"/>
                    </a:lnTo>
                    <a:lnTo>
                      <a:pt x="768" y="1890"/>
                    </a:lnTo>
                    <a:lnTo>
                      <a:pt x="768" y="1900"/>
                    </a:lnTo>
                    <a:lnTo>
                      <a:pt x="770" y="1910"/>
                    </a:lnTo>
                    <a:lnTo>
                      <a:pt x="768" y="1916"/>
                    </a:lnTo>
                    <a:lnTo>
                      <a:pt x="766" y="1918"/>
                    </a:lnTo>
                    <a:lnTo>
                      <a:pt x="766" y="1918"/>
                    </a:lnTo>
                    <a:lnTo>
                      <a:pt x="764" y="1920"/>
                    </a:lnTo>
                    <a:lnTo>
                      <a:pt x="764" y="1918"/>
                    </a:lnTo>
                    <a:lnTo>
                      <a:pt x="764" y="1914"/>
                    </a:lnTo>
                    <a:lnTo>
                      <a:pt x="764" y="1908"/>
                    </a:lnTo>
                    <a:lnTo>
                      <a:pt x="764" y="1906"/>
                    </a:lnTo>
                    <a:lnTo>
                      <a:pt x="762" y="1904"/>
                    </a:lnTo>
                    <a:lnTo>
                      <a:pt x="762" y="1904"/>
                    </a:lnTo>
                    <a:lnTo>
                      <a:pt x="758" y="1904"/>
                    </a:lnTo>
                    <a:lnTo>
                      <a:pt x="756" y="1906"/>
                    </a:lnTo>
                    <a:lnTo>
                      <a:pt x="756" y="1912"/>
                    </a:lnTo>
                    <a:lnTo>
                      <a:pt x="754" y="1916"/>
                    </a:lnTo>
                    <a:lnTo>
                      <a:pt x="754" y="1916"/>
                    </a:lnTo>
                    <a:lnTo>
                      <a:pt x="750" y="1914"/>
                    </a:lnTo>
                    <a:lnTo>
                      <a:pt x="750" y="1914"/>
                    </a:lnTo>
                    <a:lnTo>
                      <a:pt x="748" y="1912"/>
                    </a:lnTo>
                    <a:lnTo>
                      <a:pt x="748" y="1910"/>
                    </a:lnTo>
                    <a:lnTo>
                      <a:pt x="750" y="1904"/>
                    </a:lnTo>
                    <a:lnTo>
                      <a:pt x="748" y="1902"/>
                    </a:lnTo>
                    <a:lnTo>
                      <a:pt x="746" y="1900"/>
                    </a:lnTo>
                    <a:lnTo>
                      <a:pt x="742" y="1898"/>
                    </a:lnTo>
                    <a:lnTo>
                      <a:pt x="734" y="1898"/>
                    </a:lnTo>
                    <a:lnTo>
                      <a:pt x="734" y="1898"/>
                    </a:lnTo>
                    <a:lnTo>
                      <a:pt x="720" y="1898"/>
                    </a:lnTo>
                    <a:lnTo>
                      <a:pt x="714" y="1900"/>
                    </a:lnTo>
                    <a:lnTo>
                      <a:pt x="710" y="1906"/>
                    </a:lnTo>
                    <a:lnTo>
                      <a:pt x="708" y="1914"/>
                    </a:lnTo>
                    <a:lnTo>
                      <a:pt x="708" y="1914"/>
                    </a:lnTo>
                    <a:lnTo>
                      <a:pt x="706" y="1916"/>
                    </a:lnTo>
                    <a:lnTo>
                      <a:pt x="706" y="1920"/>
                    </a:lnTo>
                    <a:lnTo>
                      <a:pt x="710" y="1922"/>
                    </a:lnTo>
                    <a:lnTo>
                      <a:pt x="714" y="1922"/>
                    </a:lnTo>
                    <a:lnTo>
                      <a:pt x="714" y="1924"/>
                    </a:lnTo>
                    <a:lnTo>
                      <a:pt x="712" y="1926"/>
                    </a:lnTo>
                    <a:lnTo>
                      <a:pt x="712" y="1926"/>
                    </a:lnTo>
                    <a:lnTo>
                      <a:pt x="708" y="1926"/>
                    </a:lnTo>
                    <a:lnTo>
                      <a:pt x="706" y="1926"/>
                    </a:lnTo>
                    <a:lnTo>
                      <a:pt x="700" y="1918"/>
                    </a:lnTo>
                    <a:lnTo>
                      <a:pt x="700" y="1918"/>
                    </a:lnTo>
                    <a:lnTo>
                      <a:pt x="696" y="1914"/>
                    </a:lnTo>
                    <a:lnTo>
                      <a:pt x="688" y="1914"/>
                    </a:lnTo>
                    <a:lnTo>
                      <a:pt x="664" y="1918"/>
                    </a:lnTo>
                    <a:lnTo>
                      <a:pt x="664" y="1918"/>
                    </a:lnTo>
                    <a:lnTo>
                      <a:pt x="654" y="1920"/>
                    </a:lnTo>
                    <a:lnTo>
                      <a:pt x="646" y="1924"/>
                    </a:lnTo>
                    <a:lnTo>
                      <a:pt x="640" y="1926"/>
                    </a:lnTo>
                    <a:lnTo>
                      <a:pt x="636" y="1930"/>
                    </a:lnTo>
                    <a:lnTo>
                      <a:pt x="634" y="1934"/>
                    </a:lnTo>
                    <a:lnTo>
                      <a:pt x="634" y="1938"/>
                    </a:lnTo>
                    <a:lnTo>
                      <a:pt x="634" y="1940"/>
                    </a:lnTo>
                    <a:lnTo>
                      <a:pt x="636" y="1940"/>
                    </a:lnTo>
                    <a:lnTo>
                      <a:pt x="636" y="1940"/>
                    </a:lnTo>
                    <a:lnTo>
                      <a:pt x="638" y="1940"/>
                    </a:lnTo>
                    <a:lnTo>
                      <a:pt x="640" y="1942"/>
                    </a:lnTo>
                    <a:lnTo>
                      <a:pt x="640" y="1946"/>
                    </a:lnTo>
                    <a:lnTo>
                      <a:pt x="640" y="1950"/>
                    </a:lnTo>
                    <a:lnTo>
                      <a:pt x="642" y="1950"/>
                    </a:lnTo>
                    <a:lnTo>
                      <a:pt x="644" y="1952"/>
                    </a:lnTo>
                    <a:lnTo>
                      <a:pt x="644" y="1952"/>
                    </a:lnTo>
                    <a:lnTo>
                      <a:pt x="646" y="1952"/>
                    </a:lnTo>
                    <a:lnTo>
                      <a:pt x="646" y="1954"/>
                    </a:lnTo>
                    <a:lnTo>
                      <a:pt x="646" y="1958"/>
                    </a:lnTo>
                    <a:lnTo>
                      <a:pt x="646" y="1962"/>
                    </a:lnTo>
                    <a:lnTo>
                      <a:pt x="648" y="1964"/>
                    </a:lnTo>
                    <a:lnTo>
                      <a:pt x="650" y="1966"/>
                    </a:lnTo>
                    <a:lnTo>
                      <a:pt x="650" y="1966"/>
                    </a:lnTo>
                    <a:lnTo>
                      <a:pt x="654" y="1968"/>
                    </a:lnTo>
                    <a:lnTo>
                      <a:pt x="656" y="1972"/>
                    </a:lnTo>
                    <a:lnTo>
                      <a:pt x="654" y="1976"/>
                    </a:lnTo>
                    <a:lnTo>
                      <a:pt x="652" y="1980"/>
                    </a:lnTo>
                    <a:lnTo>
                      <a:pt x="648" y="1984"/>
                    </a:lnTo>
                    <a:lnTo>
                      <a:pt x="644" y="1986"/>
                    </a:lnTo>
                    <a:lnTo>
                      <a:pt x="638" y="1988"/>
                    </a:lnTo>
                    <a:lnTo>
                      <a:pt x="634" y="1986"/>
                    </a:lnTo>
                    <a:lnTo>
                      <a:pt x="634" y="1986"/>
                    </a:lnTo>
                    <a:lnTo>
                      <a:pt x="628" y="1980"/>
                    </a:lnTo>
                    <a:lnTo>
                      <a:pt x="624" y="1974"/>
                    </a:lnTo>
                    <a:lnTo>
                      <a:pt x="624" y="1970"/>
                    </a:lnTo>
                    <a:lnTo>
                      <a:pt x="624" y="1968"/>
                    </a:lnTo>
                    <a:lnTo>
                      <a:pt x="626" y="1966"/>
                    </a:lnTo>
                    <a:lnTo>
                      <a:pt x="630" y="1964"/>
                    </a:lnTo>
                    <a:lnTo>
                      <a:pt x="630" y="1964"/>
                    </a:lnTo>
                    <a:lnTo>
                      <a:pt x="634" y="1960"/>
                    </a:lnTo>
                    <a:lnTo>
                      <a:pt x="632" y="1958"/>
                    </a:lnTo>
                    <a:lnTo>
                      <a:pt x="628" y="1956"/>
                    </a:lnTo>
                    <a:lnTo>
                      <a:pt x="626" y="1952"/>
                    </a:lnTo>
                    <a:lnTo>
                      <a:pt x="626" y="1952"/>
                    </a:lnTo>
                    <a:lnTo>
                      <a:pt x="626" y="1946"/>
                    </a:lnTo>
                    <a:lnTo>
                      <a:pt x="630" y="1942"/>
                    </a:lnTo>
                    <a:lnTo>
                      <a:pt x="630" y="1940"/>
                    </a:lnTo>
                    <a:lnTo>
                      <a:pt x="628" y="1940"/>
                    </a:lnTo>
                    <a:lnTo>
                      <a:pt x="618" y="1946"/>
                    </a:lnTo>
                    <a:lnTo>
                      <a:pt x="618" y="1946"/>
                    </a:lnTo>
                    <a:lnTo>
                      <a:pt x="614" y="1944"/>
                    </a:lnTo>
                    <a:lnTo>
                      <a:pt x="612" y="1946"/>
                    </a:lnTo>
                    <a:lnTo>
                      <a:pt x="610" y="1954"/>
                    </a:lnTo>
                    <a:lnTo>
                      <a:pt x="606" y="1968"/>
                    </a:lnTo>
                    <a:lnTo>
                      <a:pt x="604" y="1978"/>
                    </a:lnTo>
                    <a:lnTo>
                      <a:pt x="600" y="1986"/>
                    </a:lnTo>
                    <a:lnTo>
                      <a:pt x="600" y="1986"/>
                    </a:lnTo>
                    <a:lnTo>
                      <a:pt x="592" y="2000"/>
                    </a:lnTo>
                    <a:lnTo>
                      <a:pt x="588" y="2004"/>
                    </a:lnTo>
                    <a:lnTo>
                      <a:pt x="586" y="2004"/>
                    </a:lnTo>
                    <a:lnTo>
                      <a:pt x="586" y="2008"/>
                    </a:lnTo>
                    <a:lnTo>
                      <a:pt x="586" y="2008"/>
                    </a:lnTo>
                    <a:lnTo>
                      <a:pt x="586" y="2010"/>
                    </a:lnTo>
                    <a:lnTo>
                      <a:pt x="584" y="2012"/>
                    </a:lnTo>
                    <a:lnTo>
                      <a:pt x="578" y="2014"/>
                    </a:lnTo>
                    <a:lnTo>
                      <a:pt x="572" y="2016"/>
                    </a:lnTo>
                    <a:lnTo>
                      <a:pt x="570" y="2018"/>
                    </a:lnTo>
                    <a:lnTo>
                      <a:pt x="572" y="2020"/>
                    </a:lnTo>
                    <a:lnTo>
                      <a:pt x="572" y="2020"/>
                    </a:lnTo>
                    <a:lnTo>
                      <a:pt x="578" y="2024"/>
                    </a:lnTo>
                    <a:lnTo>
                      <a:pt x="586" y="2024"/>
                    </a:lnTo>
                    <a:lnTo>
                      <a:pt x="590" y="2026"/>
                    </a:lnTo>
                    <a:lnTo>
                      <a:pt x="584" y="2030"/>
                    </a:lnTo>
                    <a:lnTo>
                      <a:pt x="584" y="2030"/>
                    </a:lnTo>
                    <a:lnTo>
                      <a:pt x="570" y="2026"/>
                    </a:lnTo>
                    <a:lnTo>
                      <a:pt x="564" y="2026"/>
                    </a:lnTo>
                    <a:lnTo>
                      <a:pt x="562" y="2028"/>
                    </a:lnTo>
                    <a:lnTo>
                      <a:pt x="562" y="2028"/>
                    </a:lnTo>
                    <a:lnTo>
                      <a:pt x="562" y="2030"/>
                    </a:lnTo>
                    <a:lnTo>
                      <a:pt x="562" y="2032"/>
                    </a:lnTo>
                    <a:lnTo>
                      <a:pt x="568" y="2034"/>
                    </a:lnTo>
                    <a:lnTo>
                      <a:pt x="574" y="2036"/>
                    </a:lnTo>
                    <a:lnTo>
                      <a:pt x="580" y="2036"/>
                    </a:lnTo>
                    <a:lnTo>
                      <a:pt x="580" y="2036"/>
                    </a:lnTo>
                    <a:lnTo>
                      <a:pt x="586" y="2036"/>
                    </a:lnTo>
                    <a:lnTo>
                      <a:pt x="588" y="2036"/>
                    </a:lnTo>
                    <a:lnTo>
                      <a:pt x="588" y="2038"/>
                    </a:lnTo>
                    <a:lnTo>
                      <a:pt x="588" y="2040"/>
                    </a:lnTo>
                    <a:lnTo>
                      <a:pt x="588" y="2040"/>
                    </a:lnTo>
                    <a:lnTo>
                      <a:pt x="580" y="2042"/>
                    </a:lnTo>
                    <a:lnTo>
                      <a:pt x="576" y="2042"/>
                    </a:lnTo>
                    <a:lnTo>
                      <a:pt x="572" y="2042"/>
                    </a:lnTo>
                    <a:lnTo>
                      <a:pt x="572" y="2042"/>
                    </a:lnTo>
                    <a:lnTo>
                      <a:pt x="566" y="2038"/>
                    </a:lnTo>
                    <a:lnTo>
                      <a:pt x="564" y="2038"/>
                    </a:lnTo>
                    <a:lnTo>
                      <a:pt x="558" y="2040"/>
                    </a:lnTo>
                    <a:lnTo>
                      <a:pt x="558" y="2040"/>
                    </a:lnTo>
                    <a:lnTo>
                      <a:pt x="550" y="2044"/>
                    </a:lnTo>
                    <a:lnTo>
                      <a:pt x="540" y="2048"/>
                    </a:lnTo>
                    <a:lnTo>
                      <a:pt x="532" y="2054"/>
                    </a:lnTo>
                    <a:lnTo>
                      <a:pt x="524" y="2058"/>
                    </a:lnTo>
                    <a:lnTo>
                      <a:pt x="524" y="2058"/>
                    </a:lnTo>
                    <a:lnTo>
                      <a:pt x="504" y="2060"/>
                    </a:lnTo>
                    <a:lnTo>
                      <a:pt x="492" y="2064"/>
                    </a:lnTo>
                    <a:lnTo>
                      <a:pt x="488" y="2068"/>
                    </a:lnTo>
                    <a:lnTo>
                      <a:pt x="486" y="2070"/>
                    </a:lnTo>
                    <a:lnTo>
                      <a:pt x="484" y="2074"/>
                    </a:lnTo>
                    <a:lnTo>
                      <a:pt x="484" y="2078"/>
                    </a:lnTo>
                    <a:lnTo>
                      <a:pt x="484" y="2078"/>
                    </a:lnTo>
                    <a:lnTo>
                      <a:pt x="486" y="2086"/>
                    </a:lnTo>
                    <a:lnTo>
                      <a:pt x="484" y="2090"/>
                    </a:lnTo>
                    <a:lnTo>
                      <a:pt x="484" y="2094"/>
                    </a:lnTo>
                    <a:lnTo>
                      <a:pt x="486" y="2098"/>
                    </a:lnTo>
                    <a:lnTo>
                      <a:pt x="486" y="2098"/>
                    </a:lnTo>
                    <a:lnTo>
                      <a:pt x="486" y="2100"/>
                    </a:lnTo>
                    <a:lnTo>
                      <a:pt x="484" y="2100"/>
                    </a:lnTo>
                    <a:lnTo>
                      <a:pt x="484" y="2102"/>
                    </a:lnTo>
                    <a:lnTo>
                      <a:pt x="486" y="2106"/>
                    </a:lnTo>
                    <a:lnTo>
                      <a:pt x="486" y="2106"/>
                    </a:lnTo>
                    <a:lnTo>
                      <a:pt x="488" y="2108"/>
                    </a:lnTo>
                    <a:lnTo>
                      <a:pt x="486" y="2110"/>
                    </a:lnTo>
                    <a:lnTo>
                      <a:pt x="482" y="2112"/>
                    </a:lnTo>
                    <a:lnTo>
                      <a:pt x="480" y="2114"/>
                    </a:lnTo>
                    <a:lnTo>
                      <a:pt x="480" y="2114"/>
                    </a:lnTo>
                    <a:lnTo>
                      <a:pt x="478" y="2118"/>
                    </a:lnTo>
                    <a:lnTo>
                      <a:pt x="472" y="2120"/>
                    </a:lnTo>
                    <a:lnTo>
                      <a:pt x="444" y="2132"/>
                    </a:lnTo>
                    <a:lnTo>
                      <a:pt x="444" y="2132"/>
                    </a:lnTo>
                    <a:lnTo>
                      <a:pt x="434" y="2136"/>
                    </a:lnTo>
                    <a:lnTo>
                      <a:pt x="428" y="2140"/>
                    </a:lnTo>
                    <a:lnTo>
                      <a:pt x="426" y="2144"/>
                    </a:lnTo>
                    <a:lnTo>
                      <a:pt x="426" y="2146"/>
                    </a:lnTo>
                    <a:lnTo>
                      <a:pt x="426" y="2150"/>
                    </a:lnTo>
                    <a:lnTo>
                      <a:pt x="428" y="2152"/>
                    </a:lnTo>
                    <a:lnTo>
                      <a:pt x="432" y="2154"/>
                    </a:lnTo>
                    <a:lnTo>
                      <a:pt x="432" y="2154"/>
                    </a:lnTo>
                    <a:lnTo>
                      <a:pt x="434" y="2154"/>
                    </a:lnTo>
                    <a:lnTo>
                      <a:pt x="432" y="2156"/>
                    </a:lnTo>
                    <a:lnTo>
                      <a:pt x="420" y="2162"/>
                    </a:lnTo>
                    <a:lnTo>
                      <a:pt x="420" y="2162"/>
                    </a:lnTo>
                    <a:lnTo>
                      <a:pt x="416" y="2164"/>
                    </a:lnTo>
                    <a:lnTo>
                      <a:pt x="412" y="2164"/>
                    </a:lnTo>
                    <a:lnTo>
                      <a:pt x="402" y="2162"/>
                    </a:lnTo>
                    <a:lnTo>
                      <a:pt x="392" y="2158"/>
                    </a:lnTo>
                    <a:lnTo>
                      <a:pt x="384" y="2158"/>
                    </a:lnTo>
                    <a:lnTo>
                      <a:pt x="376" y="2160"/>
                    </a:lnTo>
                    <a:lnTo>
                      <a:pt x="376" y="2160"/>
                    </a:lnTo>
                    <a:lnTo>
                      <a:pt x="374" y="2160"/>
                    </a:lnTo>
                    <a:lnTo>
                      <a:pt x="372" y="2156"/>
                    </a:lnTo>
                    <a:lnTo>
                      <a:pt x="372" y="2148"/>
                    </a:lnTo>
                    <a:lnTo>
                      <a:pt x="370" y="2142"/>
                    </a:lnTo>
                    <a:lnTo>
                      <a:pt x="368" y="2140"/>
                    </a:lnTo>
                    <a:lnTo>
                      <a:pt x="364" y="2140"/>
                    </a:lnTo>
                    <a:lnTo>
                      <a:pt x="364" y="2140"/>
                    </a:lnTo>
                    <a:lnTo>
                      <a:pt x="356" y="2140"/>
                    </a:lnTo>
                    <a:lnTo>
                      <a:pt x="348" y="2140"/>
                    </a:lnTo>
                    <a:lnTo>
                      <a:pt x="346" y="2138"/>
                    </a:lnTo>
                    <a:lnTo>
                      <a:pt x="346" y="2142"/>
                    </a:lnTo>
                    <a:lnTo>
                      <a:pt x="346" y="2142"/>
                    </a:lnTo>
                    <a:lnTo>
                      <a:pt x="348" y="2148"/>
                    </a:lnTo>
                    <a:lnTo>
                      <a:pt x="348" y="2152"/>
                    </a:lnTo>
                    <a:lnTo>
                      <a:pt x="348" y="2156"/>
                    </a:lnTo>
                    <a:lnTo>
                      <a:pt x="352" y="2160"/>
                    </a:lnTo>
                    <a:lnTo>
                      <a:pt x="352" y="2160"/>
                    </a:lnTo>
                    <a:lnTo>
                      <a:pt x="356" y="2164"/>
                    </a:lnTo>
                    <a:lnTo>
                      <a:pt x="358" y="2172"/>
                    </a:lnTo>
                    <a:lnTo>
                      <a:pt x="360" y="2180"/>
                    </a:lnTo>
                    <a:lnTo>
                      <a:pt x="360" y="2188"/>
                    </a:lnTo>
                    <a:lnTo>
                      <a:pt x="360" y="2188"/>
                    </a:lnTo>
                    <a:lnTo>
                      <a:pt x="360" y="2192"/>
                    </a:lnTo>
                    <a:lnTo>
                      <a:pt x="360" y="2194"/>
                    </a:lnTo>
                    <a:lnTo>
                      <a:pt x="362" y="2200"/>
                    </a:lnTo>
                    <a:lnTo>
                      <a:pt x="364" y="2202"/>
                    </a:lnTo>
                    <a:lnTo>
                      <a:pt x="358" y="2204"/>
                    </a:lnTo>
                    <a:lnTo>
                      <a:pt x="358" y="2204"/>
                    </a:lnTo>
                    <a:lnTo>
                      <a:pt x="352" y="2204"/>
                    </a:lnTo>
                    <a:lnTo>
                      <a:pt x="350" y="2202"/>
                    </a:lnTo>
                    <a:lnTo>
                      <a:pt x="348" y="2198"/>
                    </a:lnTo>
                    <a:lnTo>
                      <a:pt x="346" y="2198"/>
                    </a:lnTo>
                    <a:lnTo>
                      <a:pt x="346" y="2198"/>
                    </a:lnTo>
                    <a:lnTo>
                      <a:pt x="344" y="2198"/>
                    </a:lnTo>
                    <a:lnTo>
                      <a:pt x="344" y="2200"/>
                    </a:lnTo>
                    <a:lnTo>
                      <a:pt x="342" y="2202"/>
                    </a:lnTo>
                    <a:lnTo>
                      <a:pt x="338" y="2202"/>
                    </a:lnTo>
                    <a:lnTo>
                      <a:pt x="338" y="2202"/>
                    </a:lnTo>
                    <a:lnTo>
                      <a:pt x="334" y="2202"/>
                    </a:lnTo>
                    <a:lnTo>
                      <a:pt x="332" y="2200"/>
                    </a:lnTo>
                    <a:lnTo>
                      <a:pt x="330" y="2198"/>
                    </a:lnTo>
                    <a:lnTo>
                      <a:pt x="326" y="2200"/>
                    </a:lnTo>
                    <a:lnTo>
                      <a:pt x="326" y="2200"/>
                    </a:lnTo>
                    <a:lnTo>
                      <a:pt x="318" y="2206"/>
                    </a:lnTo>
                    <a:lnTo>
                      <a:pt x="314" y="2208"/>
                    </a:lnTo>
                    <a:lnTo>
                      <a:pt x="310" y="2206"/>
                    </a:lnTo>
                    <a:lnTo>
                      <a:pt x="310" y="2206"/>
                    </a:lnTo>
                    <a:lnTo>
                      <a:pt x="302" y="2192"/>
                    </a:lnTo>
                    <a:lnTo>
                      <a:pt x="298" y="2186"/>
                    </a:lnTo>
                    <a:lnTo>
                      <a:pt x="296" y="2186"/>
                    </a:lnTo>
                    <a:lnTo>
                      <a:pt x="292" y="2188"/>
                    </a:lnTo>
                    <a:lnTo>
                      <a:pt x="292" y="2188"/>
                    </a:lnTo>
                    <a:lnTo>
                      <a:pt x="286" y="2190"/>
                    </a:lnTo>
                    <a:lnTo>
                      <a:pt x="282" y="2190"/>
                    </a:lnTo>
                    <a:lnTo>
                      <a:pt x="280" y="2190"/>
                    </a:lnTo>
                    <a:lnTo>
                      <a:pt x="278" y="2194"/>
                    </a:lnTo>
                    <a:lnTo>
                      <a:pt x="278" y="2194"/>
                    </a:lnTo>
                    <a:lnTo>
                      <a:pt x="278" y="2198"/>
                    </a:lnTo>
                    <a:lnTo>
                      <a:pt x="276" y="2200"/>
                    </a:lnTo>
                    <a:lnTo>
                      <a:pt x="270" y="2200"/>
                    </a:lnTo>
                    <a:lnTo>
                      <a:pt x="264" y="2198"/>
                    </a:lnTo>
                    <a:lnTo>
                      <a:pt x="264" y="2198"/>
                    </a:lnTo>
                    <a:lnTo>
                      <a:pt x="260" y="2196"/>
                    </a:lnTo>
                    <a:lnTo>
                      <a:pt x="260" y="2196"/>
                    </a:lnTo>
                    <a:lnTo>
                      <a:pt x="258" y="2198"/>
                    </a:lnTo>
                    <a:lnTo>
                      <a:pt x="250" y="2200"/>
                    </a:lnTo>
                    <a:lnTo>
                      <a:pt x="250" y="2200"/>
                    </a:lnTo>
                    <a:lnTo>
                      <a:pt x="240" y="2202"/>
                    </a:lnTo>
                    <a:lnTo>
                      <a:pt x="234" y="2206"/>
                    </a:lnTo>
                    <a:lnTo>
                      <a:pt x="230" y="2212"/>
                    </a:lnTo>
                    <a:lnTo>
                      <a:pt x="230" y="2216"/>
                    </a:lnTo>
                    <a:lnTo>
                      <a:pt x="230" y="2216"/>
                    </a:lnTo>
                    <a:lnTo>
                      <a:pt x="232" y="2218"/>
                    </a:lnTo>
                    <a:lnTo>
                      <a:pt x="236" y="2218"/>
                    </a:lnTo>
                    <a:lnTo>
                      <a:pt x="240" y="2218"/>
                    </a:lnTo>
                    <a:lnTo>
                      <a:pt x="244" y="2218"/>
                    </a:lnTo>
                    <a:lnTo>
                      <a:pt x="244" y="2218"/>
                    </a:lnTo>
                    <a:lnTo>
                      <a:pt x="246" y="2220"/>
                    </a:lnTo>
                    <a:lnTo>
                      <a:pt x="242" y="2220"/>
                    </a:lnTo>
                    <a:lnTo>
                      <a:pt x="238" y="2222"/>
                    </a:lnTo>
                    <a:lnTo>
                      <a:pt x="238" y="2224"/>
                    </a:lnTo>
                    <a:lnTo>
                      <a:pt x="236" y="2226"/>
                    </a:lnTo>
                    <a:lnTo>
                      <a:pt x="236" y="2226"/>
                    </a:lnTo>
                    <a:lnTo>
                      <a:pt x="238" y="2228"/>
                    </a:lnTo>
                    <a:lnTo>
                      <a:pt x="242" y="2228"/>
                    </a:lnTo>
                    <a:lnTo>
                      <a:pt x="246" y="2228"/>
                    </a:lnTo>
                    <a:lnTo>
                      <a:pt x="250" y="2230"/>
                    </a:lnTo>
                    <a:lnTo>
                      <a:pt x="250" y="2230"/>
                    </a:lnTo>
                    <a:lnTo>
                      <a:pt x="250" y="2230"/>
                    </a:lnTo>
                    <a:lnTo>
                      <a:pt x="246" y="2232"/>
                    </a:lnTo>
                    <a:lnTo>
                      <a:pt x="240" y="2234"/>
                    </a:lnTo>
                    <a:lnTo>
                      <a:pt x="234" y="2234"/>
                    </a:lnTo>
                    <a:lnTo>
                      <a:pt x="234" y="2236"/>
                    </a:lnTo>
                    <a:lnTo>
                      <a:pt x="236" y="2238"/>
                    </a:lnTo>
                    <a:lnTo>
                      <a:pt x="236" y="2238"/>
                    </a:lnTo>
                    <a:lnTo>
                      <a:pt x="242" y="2244"/>
                    </a:lnTo>
                    <a:lnTo>
                      <a:pt x="244" y="2248"/>
                    </a:lnTo>
                    <a:lnTo>
                      <a:pt x="248" y="2250"/>
                    </a:lnTo>
                    <a:lnTo>
                      <a:pt x="252" y="2250"/>
                    </a:lnTo>
                    <a:lnTo>
                      <a:pt x="252" y="2250"/>
                    </a:lnTo>
                    <a:lnTo>
                      <a:pt x="258" y="2248"/>
                    </a:lnTo>
                    <a:lnTo>
                      <a:pt x="264" y="2248"/>
                    </a:lnTo>
                    <a:lnTo>
                      <a:pt x="280" y="2254"/>
                    </a:lnTo>
                    <a:lnTo>
                      <a:pt x="280" y="2254"/>
                    </a:lnTo>
                    <a:lnTo>
                      <a:pt x="286" y="2258"/>
                    </a:lnTo>
                    <a:lnTo>
                      <a:pt x="292" y="2260"/>
                    </a:lnTo>
                    <a:lnTo>
                      <a:pt x="296" y="2262"/>
                    </a:lnTo>
                    <a:lnTo>
                      <a:pt x="302" y="2262"/>
                    </a:lnTo>
                    <a:lnTo>
                      <a:pt x="302" y="2262"/>
                    </a:lnTo>
                    <a:lnTo>
                      <a:pt x="306" y="2262"/>
                    </a:lnTo>
                    <a:lnTo>
                      <a:pt x="306" y="2266"/>
                    </a:lnTo>
                    <a:lnTo>
                      <a:pt x="306" y="2268"/>
                    </a:lnTo>
                    <a:lnTo>
                      <a:pt x="314" y="2268"/>
                    </a:lnTo>
                    <a:lnTo>
                      <a:pt x="314" y="2268"/>
                    </a:lnTo>
                    <a:lnTo>
                      <a:pt x="318" y="2268"/>
                    </a:lnTo>
                    <a:lnTo>
                      <a:pt x="322" y="2268"/>
                    </a:lnTo>
                    <a:lnTo>
                      <a:pt x="324" y="2270"/>
                    </a:lnTo>
                    <a:lnTo>
                      <a:pt x="322" y="2272"/>
                    </a:lnTo>
                    <a:lnTo>
                      <a:pt x="322" y="2272"/>
                    </a:lnTo>
                    <a:lnTo>
                      <a:pt x="320" y="2276"/>
                    </a:lnTo>
                    <a:lnTo>
                      <a:pt x="320" y="2280"/>
                    </a:lnTo>
                    <a:lnTo>
                      <a:pt x="322" y="2282"/>
                    </a:lnTo>
                    <a:lnTo>
                      <a:pt x="330" y="2282"/>
                    </a:lnTo>
                    <a:lnTo>
                      <a:pt x="330" y="2282"/>
                    </a:lnTo>
                    <a:lnTo>
                      <a:pt x="334" y="2282"/>
                    </a:lnTo>
                    <a:lnTo>
                      <a:pt x="334" y="2286"/>
                    </a:lnTo>
                    <a:lnTo>
                      <a:pt x="332" y="2290"/>
                    </a:lnTo>
                    <a:lnTo>
                      <a:pt x="334" y="2290"/>
                    </a:lnTo>
                    <a:lnTo>
                      <a:pt x="336" y="2292"/>
                    </a:lnTo>
                    <a:lnTo>
                      <a:pt x="336" y="2292"/>
                    </a:lnTo>
                    <a:lnTo>
                      <a:pt x="340" y="2292"/>
                    </a:lnTo>
                    <a:lnTo>
                      <a:pt x="342" y="2294"/>
                    </a:lnTo>
                    <a:lnTo>
                      <a:pt x="342" y="2298"/>
                    </a:lnTo>
                    <a:lnTo>
                      <a:pt x="338" y="2300"/>
                    </a:lnTo>
                    <a:lnTo>
                      <a:pt x="338" y="2300"/>
                    </a:lnTo>
                    <a:lnTo>
                      <a:pt x="336" y="2302"/>
                    </a:lnTo>
                    <a:lnTo>
                      <a:pt x="336" y="2306"/>
                    </a:lnTo>
                    <a:lnTo>
                      <a:pt x="340" y="2314"/>
                    </a:lnTo>
                    <a:lnTo>
                      <a:pt x="348" y="2324"/>
                    </a:lnTo>
                    <a:lnTo>
                      <a:pt x="358" y="2332"/>
                    </a:lnTo>
                    <a:lnTo>
                      <a:pt x="358" y="2332"/>
                    </a:lnTo>
                    <a:lnTo>
                      <a:pt x="368" y="2336"/>
                    </a:lnTo>
                    <a:lnTo>
                      <a:pt x="374" y="2338"/>
                    </a:lnTo>
                    <a:lnTo>
                      <a:pt x="376" y="2338"/>
                    </a:lnTo>
                    <a:lnTo>
                      <a:pt x="374" y="2342"/>
                    </a:lnTo>
                    <a:lnTo>
                      <a:pt x="374" y="2342"/>
                    </a:lnTo>
                    <a:lnTo>
                      <a:pt x="374" y="2346"/>
                    </a:lnTo>
                    <a:lnTo>
                      <a:pt x="376" y="2348"/>
                    </a:lnTo>
                    <a:lnTo>
                      <a:pt x="378" y="2352"/>
                    </a:lnTo>
                    <a:lnTo>
                      <a:pt x="378" y="2360"/>
                    </a:lnTo>
                    <a:lnTo>
                      <a:pt x="378" y="2360"/>
                    </a:lnTo>
                    <a:lnTo>
                      <a:pt x="376" y="2364"/>
                    </a:lnTo>
                    <a:lnTo>
                      <a:pt x="374" y="2366"/>
                    </a:lnTo>
                    <a:lnTo>
                      <a:pt x="370" y="2368"/>
                    </a:lnTo>
                    <a:lnTo>
                      <a:pt x="370" y="2370"/>
                    </a:lnTo>
                    <a:lnTo>
                      <a:pt x="370" y="2370"/>
                    </a:lnTo>
                    <a:lnTo>
                      <a:pt x="378" y="2376"/>
                    </a:lnTo>
                    <a:lnTo>
                      <a:pt x="378" y="2376"/>
                    </a:lnTo>
                    <a:lnTo>
                      <a:pt x="388" y="2382"/>
                    </a:lnTo>
                    <a:lnTo>
                      <a:pt x="392" y="2388"/>
                    </a:lnTo>
                    <a:lnTo>
                      <a:pt x="394" y="2396"/>
                    </a:lnTo>
                    <a:lnTo>
                      <a:pt x="394" y="2402"/>
                    </a:lnTo>
                    <a:lnTo>
                      <a:pt x="394" y="2402"/>
                    </a:lnTo>
                    <a:lnTo>
                      <a:pt x="394" y="2404"/>
                    </a:lnTo>
                    <a:lnTo>
                      <a:pt x="392" y="2398"/>
                    </a:lnTo>
                    <a:lnTo>
                      <a:pt x="388" y="2388"/>
                    </a:lnTo>
                    <a:lnTo>
                      <a:pt x="384" y="2384"/>
                    </a:lnTo>
                    <a:lnTo>
                      <a:pt x="380" y="2382"/>
                    </a:lnTo>
                    <a:lnTo>
                      <a:pt x="380" y="2382"/>
                    </a:lnTo>
                    <a:lnTo>
                      <a:pt x="378" y="2390"/>
                    </a:lnTo>
                    <a:lnTo>
                      <a:pt x="372" y="2410"/>
                    </a:lnTo>
                    <a:lnTo>
                      <a:pt x="372" y="2410"/>
                    </a:lnTo>
                    <a:lnTo>
                      <a:pt x="370" y="2426"/>
                    </a:lnTo>
                    <a:lnTo>
                      <a:pt x="372" y="2428"/>
                    </a:lnTo>
                    <a:lnTo>
                      <a:pt x="374" y="2426"/>
                    </a:lnTo>
                    <a:lnTo>
                      <a:pt x="374" y="2426"/>
                    </a:lnTo>
                    <a:lnTo>
                      <a:pt x="376" y="2426"/>
                    </a:lnTo>
                    <a:lnTo>
                      <a:pt x="378" y="2426"/>
                    </a:lnTo>
                    <a:lnTo>
                      <a:pt x="378" y="2430"/>
                    </a:lnTo>
                    <a:lnTo>
                      <a:pt x="376" y="2432"/>
                    </a:lnTo>
                    <a:lnTo>
                      <a:pt x="376" y="2432"/>
                    </a:lnTo>
                    <a:lnTo>
                      <a:pt x="374" y="2432"/>
                    </a:lnTo>
                    <a:lnTo>
                      <a:pt x="372" y="2436"/>
                    </a:lnTo>
                    <a:lnTo>
                      <a:pt x="370" y="2460"/>
                    </a:lnTo>
                    <a:lnTo>
                      <a:pt x="370" y="2460"/>
                    </a:lnTo>
                    <a:lnTo>
                      <a:pt x="366" y="2480"/>
                    </a:lnTo>
                    <a:lnTo>
                      <a:pt x="362" y="2492"/>
                    </a:lnTo>
                    <a:lnTo>
                      <a:pt x="358" y="2500"/>
                    </a:lnTo>
                    <a:lnTo>
                      <a:pt x="352" y="2502"/>
                    </a:lnTo>
                    <a:lnTo>
                      <a:pt x="352" y="2502"/>
                    </a:lnTo>
                    <a:lnTo>
                      <a:pt x="342" y="2506"/>
                    </a:lnTo>
                    <a:lnTo>
                      <a:pt x="334" y="2506"/>
                    </a:lnTo>
                    <a:lnTo>
                      <a:pt x="326" y="2504"/>
                    </a:lnTo>
                    <a:lnTo>
                      <a:pt x="326" y="2504"/>
                    </a:lnTo>
                    <a:lnTo>
                      <a:pt x="314" y="2500"/>
                    </a:lnTo>
                    <a:lnTo>
                      <a:pt x="308" y="2500"/>
                    </a:lnTo>
                    <a:lnTo>
                      <a:pt x="300" y="2502"/>
                    </a:lnTo>
                    <a:lnTo>
                      <a:pt x="286" y="2498"/>
                    </a:lnTo>
                    <a:lnTo>
                      <a:pt x="286" y="2498"/>
                    </a:lnTo>
                    <a:lnTo>
                      <a:pt x="278" y="2496"/>
                    </a:lnTo>
                    <a:lnTo>
                      <a:pt x="270" y="2496"/>
                    </a:lnTo>
                    <a:lnTo>
                      <a:pt x="252" y="2498"/>
                    </a:lnTo>
                    <a:lnTo>
                      <a:pt x="232" y="2498"/>
                    </a:lnTo>
                    <a:lnTo>
                      <a:pt x="220" y="2498"/>
                    </a:lnTo>
                    <a:lnTo>
                      <a:pt x="206" y="2494"/>
                    </a:lnTo>
                    <a:lnTo>
                      <a:pt x="206" y="2494"/>
                    </a:lnTo>
                    <a:lnTo>
                      <a:pt x="192" y="2490"/>
                    </a:lnTo>
                    <a:lnTo>
                      <a:pt x="182" y="2490"/>
                    </a:lnTo>
                    <a:lnTo>
                      <a:pt x="172" y="2492"/>
                    </a:lnTo>
                    <a:lnTo>
                      <a:pt x="154" y="2492"/>
                    </a:lnTo>
                    <a:lnTo>
                      <a:pt x="154" y="2492"/>
                    </a:lnTo>
                    <a:lnTo>
                      <a:pt x="142" y="2492"/>
                    </a:lnTo>
                    <a:lnTo>
                      <a:pt x="134" y="2490"/>
                    </a:lnTo>
                    <a:lnTo>
                      <a:pt x="120" y="2486"/>
                    </a:lnTo>
                    <a:lnTo>
                      <a:pt x="110" y="2482"/>
                    </a:lnTo>
                    <a:lnTo>
                      <a:pt x="104" y="2484"/>
                    </a:lnTo>
                    <a:lnTo>
                      <a:pt x="98" y="2486"/>
                    </a:lnTo>
                    <a:lnTo>
                      <a:pt x="98" y="2486"/>
                    </a:lnTo>
                    <a:lnTo>
                      <a:pt x="92" y="2490"/>
                    </a:lnTo>
                    <a:lnTo>
                      <a:pt x="88" y="2492"/>
                    </a:lnTo>
                    <a:lnTo>
                      <a:pt x="86" y="2500"/>
                    </a:lnTo>
                    <a:lnTo>
                      <a:pt x="86" y="2504"/>
                    </a:lnTo>
                    <a:lnTo>
                      <a:pt x="82" y="2506"/>
                    </a:lnTo>
                    <a:lnTo>
                      <a:pt x="78" y="2506"/>
                    </a:lnTo>
                    <a:lnTo>
                      <a:pt x="78" y="2506"/>
                    </a:lnTo>
                    <a:lnTo>
                      <a:pt x="72" y="2506"/>
                    </a:lnTo>
                    <a:lnTo>
                      <a:pt x="66" y="2508"/>
                    </a:lnTo>
                    <a:lnTo>
                      <a:pt x="54" y="2516"/>
                    </a:lnTo>
                    <a:lnTo>
                      <a:pt x="50" y="2520"/>
                    </a:lnTo>
                    <a:lnTo>
                      <a:pt x="48" y="2524"/>
                    </a:lnTo>
                    <a:lnTo>
                      <a:pt x="48" y="2528"/>
                    </a:lnTo>
                    <a:lnTo>
                      <a:pt x="50" y="2530"/>
                    </a:lnTo>
                    <a:lnTo>
                      <a:pt x="50" y="2530"/>
                    </a:lnTo>
                    <a:lnTo>
                      <a:pt x="54" y="2534"/>
                    </a:lnTo>
                    <a:lnTo>
                      <a:pt x="56" y="2540"/>
                    </a:lnTo>
                    <a:lnTo>
                      <a:pt x="58" y="2546"/>
                    </a:lnTo>
                    <a:lnTo>
                      <a:pt x="60" y="2552"/>
                    </a:lnTo>
                    <a:lnTo>
                      <a:pt x="60" y="2552"/>
                    </a:lnTo>
                    <a:lnTo>
                      <a:pt x="64" y="2560"/>
                    </a:lnTo>
                    <a:lnTo>
                      <a:pt x="64" y="2570"/>
                    </a:lnTo>
                    <a:lnTo>
                      <a:pt x="64" y="2578"/>
                    </a:lnTo>
                    <a:lnTo>
                      <a:pt x="66" y="2588"/>
                    </a:lnTo>
                    <a:lnTo>
                      <a:pt x="66" y="2588"/>
                    </a:lnTo>
                    <a:lnTo>
                      <a:pt x="64" y="2594"/>
                    </a:lnTo>
                    <a:lnTo>
                      <a:pt x="66" y="2596"/>
                    </a:lnTo>
                    <a:lnTo>
                      <a:pt x="68" y="2600"/>
                    </a:lnTo>
                    <a:lnTo>
                      <a:pt x="66" y="2602"/>
                    </a:lnTo>
                    <a:lnTo>
                      <a:pt x="66" y="2602"/>
                    </a:lnTo>
                    <a:lnTo>
                      <a:pt x="66" y="2606"/>
                    </a:lnTo>
                    <a:lnTo>
                      <a:pt x="66" y="2612"/>
                    </a:lnTo>
                    <a:lnTo>
                      <a:pt x="74" y="2628"/>
                    </a:lnTo>
                    <a:lnTo>
                      <a:pt x="74" y="2628"/>
                    </a:lnTo>
                    <a:lnTo>
                      <a:pt x="74" y="2632"/>
                    </a:lnTo>
                    <a:lnTo>
                      <a:pt x="74" y="2640"/>
                    </a:lnTo>
                    <a:lnTo>
                      <a:pt x="70" y="2654"/>
                    </a:lnTo>
                    <a:lnTo>
                      <a:pt x="66" y="2670"/>
                    </a:lnTo>
                    <a:lnTo>
                      <a:pt x="64" y="2680"/>
                    </a:lnTo>
                    <a:lnTo>
                      <a:pt x="64" y="2680"/>
                    </a:lnTo>
                    <a:lnTo>
                      <a:pt x="66" y="2684"/>
                    </a:lnTo>
                    <a:lnTo>
                      <a:pt x="64" y="2688"/>
                    </a:lnTo>
                    <a:lnTo>
                      <a:pt x="60" y="2694"/>
                    </a:lnTo>
                    <a:lnTo>
                      <a:pt x="56" y="2708"/>
                    </a:lnTo>
                    <a:lnTo>
                      <a:pt x="56" y="2708"/>
                    </a:lnTo>
                    <a:lnTo>
                      <a:pt x="54" y="2716"/>
                    </a:lnTo>
                    <a:lnTo>
                      <a:pt x="50" y="2720"/>
                    </a:lnTo>
                    <a:lnTo>
                      <a:pt x="46" y="2724"/>
                    </a:lnTo>
                    <a:lnTo>
                      <a:pt x="44" y="2726"/>
                    </a:lnTo>
                    <a:lnTo>
                      <a:pt x="44" y="2730"/>
                    </a:lnTo>
                    <a:lnTo>
                      <a:pt x="44" y="2730"/>
                    </a:lnTo>
                    <a:lnTo>
                      <a:pt x="44" y="2734"/>
                    </a:lnTo>
                    <a:lnTo>
                      <a:pt x="44" y="2740"/>
                    </a:lnTo>
                    <a:lnTo>
                      <a:pt x="40" y="2750"/>
                    </a:lnTo>
                    <a:lnTo>
                      <a:pt x="38" y="2756"/>
                    </a:lnTo>
                    <a:lnTo>
                      <a:pt x="38" y="2760"/>
                    </a:lnTo>
                    <a:lnTo>
                      <a:pt x="40" y="2762"/>
                    </a:lnTo>
                    <a:lnTo>
                      <a:pt x="44" y="2764"/>
                    </a:lnTo>
                    <a:lnTo>
                      <a:pt x="44" y="2764"/>
                    </a:lnTo>
                    <a:lnTo>
                      <a:pt x="52" y="2764"/>
                    </a:lnTo>
                    <a:lnTo>
                      <a:pt x="52" y="2764"/>
                    </a:lnTo>
                    <a:lnTo>
                      <a:pt x="52" y="2764"/>
                    </a:lnTo>
                    <a:lnTo>
                      <a:pt x="50" y="2766"/>
                    </a:lnTo>
                    <a:lnTo>
                      <a:pt x="50" y="2770"/>
                    </a:lnTo>
                    <a:lnTo>
                      <a:pt x="50" y="2770"/>
                    </a:lnTo>
                    <a:lnTo>
                      <a:pt x="50" y="2772"/>
                    </a:lnTo>
                    <a:lnTo>
                      <a:pt x="50" y="2776"/>
                    </a:lnTo>
                    <a:lnTo>
                      <a:pt x="50" y="2778"/>
                    </a:lnTo>
                    <a:lnTo>
                      <a:pt x="52" y="2778"/>
                    </a:lnTo>
                    <a:lnTo>
                      <a:pt x="52" y="2778"/>
                    </a:lnTo>
                    <a:lnTo>
                      <a:pt x="58" y="2776"/>
                    </a:lnTo>
                    <a:lnTo>
                      <a:pt x="64" y="2778"/>
                    </a:lnTo>
                    <a:lnTo>
                      <a:pt x="66" y="2780"/>
                    </a:lnTo>
                    <a:lnTo>
                      <a:pt x="66" y="2782"/>
                    </a:lnTo>
                    <a:lnTo>
                      <a:pt x="68" y="2788"/>
                    </a:lnTo>
                    <a:lnTo>
                      <a:pt x="66" y="2794"/>
                    </a:lnTo>
                    <a:lnTo>
                      <a:pt x="66" y="2794"/>
                    </a:lnTo>
                    <a:lnTo>
                      <a:pt x="64" y="2804"/>
                    </a:lnTo>
                    <a:lnTo>
                      <a:pt x="66" y="2810"/>
                    </a:lnTo>
                    <a:lnTo>
                      <a:pt x="66" y="2820"/>
                    </a:lnTo>
                    <a:lnTo>
                      <a:pt x="62" y="2842"/>
                    </a:lnTo>
                    <a:lnTo>
                      <a:pt x="62" y="2842"/>
                    </a:lnTo>
                    <a:lnTo>
                      <a:pt x="60" y="2856"/>
                    </a:lnTo>
                    <a:lnTo>
                      <a:pt x="62" y="2856"/>
                    </a:lnTo>
                    <a:lnTo>
                      <a:pt x="64" y="2856"/>
                    </a:lnTo>
                    <a:lnTo>
                      <a:pt x="64" y="2856"/>
                    </a:lnTo>
                    <a:lnTo>
                      <a:pt x="68" y="2852"/>
                    </a:lnTo>
                    <a:lnTo>
                      <a:pt x="72" y="2850"/>
                    </a:lnTo>
                    <a:lnTo>
                      <a:pt x="80" y="2850"/>
                    </a:lnTo>
                    <a:lnTo>
                      <a:pt x="92" y="2854"/>
                    </a:lnTo>
                    <a:lnTo>
                      <a:pt x="92" y="2854"/>
                    </a:lnTo>
                    <a:lnTo>
                      <a:pt x="104" y="2858"/>
                    </a:lnTo>
                    <a:lnTo>
                      <a:pt x="110" y="2856"/>
                    </a:lnTo>
                    <a:lnTo>
                      <a:pt x="114" y="2852"/>
                    </a:lnTo>
                    <a:lnTo>
                      <a:pt x="124" y="2846"/>
                    </a:lnTo>
                    <a:lnTo>
                      <a:pt x="124" y="2846"/>
                    </a:lnTo>
                    <a:lnTo>
                      <a:pt x="130" y="2844"/>
                    </a:lnTo>
                    <a:lnTo>
                      <a:pt x="136" y="2844"/>
                    </a:lnTo>
                    <a:lnTo>
                      <a:pt x="142" y="2846"/>
                    </a:lnTo>
                    <a:lnTo>
                      <a:pt x="148" y="2850"/>
                    </a:lnTo>
                    <a:lnTo>
                      <a:pt x="158" y="2858"/>
                    </a:lnTo>
                    <a:lnTo>
                      <a:pt x="160" y="2862"/>
                    </a:lnTo>
                    <a:lnTo>
                      <a:pt x="162" y="2866"/>
                    </a:lnTo>
                    <a:lnTo>
                      <a:pt x="162" y="2866"/>
                    </a:lnTo>
                    <a:lnTo>
                      <a:pt x="162" y="2874"/>
                    </a:lnTo>
                    <a:lnTo>
                      <a:pt x="166" y="2882"/>
                    </a:lnTo>
                    <a:lnTo>
                      <a:pt x="174" y="2892"/>
                    </a:lnTo>
                    <a:lnTo>
                      <a:pt x="182" y="2902"/>
                    </a:lnTo>
                    <a:lnTo>
                      <a:pt x="182" y="2902"/>
                    </a:lnTo>
                    <a:lnTo>
                      <a:pt x="190" y="2908"/>
                    </a:lnTo>
                    <a:lnTo>
                      <a:pt x="196" y="2910"/>
                    </a:lnTo>
                    <a:lnTo>
                      <a:pt x="198" y="2910"/>
                    </a:lnTo>
                    <a:lnTo>
                      <a:pt x="202" y="2906"/>
                    </a:lnTo>
                    <a:lnTo>
                      <a:pt x="202" y="2906"/>
                    </a:lnTo>
                    <a:lnTo>
                      <a:pt x="206" y="2902"/>
                    </a:lnTo>
                    <a:lnTo>
                      <a:pt x="208" y="2898"/>
                    </a:lnTo>
                    <a:lnTo>
                      <a:pt x="212" y="2892"/>
                    </a:lnTo>
                    <a:lnTo>
                      <a:pt x="212" y="2892"/>
                    </a:lnTo>
                    <a:lnTo>
                      <a:pt x="214" y="2888"/>
                    </a:lnTo>
                    <a:lnTo>
                      <a:pt x="218" y="2886"/>
                    </a:lnTo>
                    <a:lnTo>
                      <a:pt x="228" y="2884"/>
                    </a:lnTo>
                    <a:lnTo>
                      <a:pt x="236" y="2884"/>
                    </a:lnTo>
                    <a:lnTo>
                      <a:pt x="238" y="2882"/>
                    </a:lnTo>
                    <a:lnTo>
                      <a:pt x="240" y="2880"/>
                    </a:lnTo>
                    <a:lnTo>
                      <a:pt x="240" y="2880"/>
                    </a:lnTo>
                    <a:lnTo>
                      <a:pt x="246" y="2874"/>
                    </a:lnTo>
                    <a:lnTo>
                      <a:pt x="254" y="2868"/>
                    </a:lnTo>
                    <a:lnTo>
                      <a:pt x="264" y="2868"/>
                    </a:lnTo>
                    <a:lnTo>
                      <a:pt x="270" y="2868"/>
                    </a:lnTo>
                    <a:lnTo>
                      <a:pt x="276" y="2870"/>
                    </a:lnTo>
                    <a:lnTo>
                      <a:pt x="276" y="2870"/>
                    </a:lnTo>
                    <a:lnTo>
                      <a:pt x="284" y="2872"/>
                    </a:lnTo>
                    <a:lnTo>
                      <a:pt x="292" y="2874"/>
                    </a:lnTo>
                    <a:lnTo>
                      <a:pt x="310" y="2870"/>
                    </a:lnTo>
                    <a:lnTo>
                      <a:pt x="322" y="2868"/>
                    </a:lnTo>
                    <a:lnTo>
                      <a:pt x="328" y="2866"/>
                    </a:lnTo>
                    <a:lnTo>
                      <a:pt x="332" y="2868"/>
                    </a:lnTo>
                    <a:lnTo>
                      <a:pt x="332" y="2868"/>
                    </a:lnTo>
                    <a:lnTo>
                      <a:pt x="336" y="2870"/>
                    </a:lnTo>
                    <a:lnTo>
                      <a:pt x="340" y="2866"/>
                    </a:lnTo>
                    <a:lnTo>
                      <a:pt x="346" y="2852"/>
                    </a:lnTo>
                    <a:lnTo>
                      <a:pt x="350" y="2844"/>
                    </a:lnTo>
                    <a:lnTo>
                      <a:pt x="356" y="2836"/>
                    </a:lnTo>
                    <a:lnTo>
                      <a:pt x="364" y="2830"/>
                    </a:lnTo>
                    <a:lnTo>
                      <a:pt x="374" y="2828"/>
                    </a:lnTo>
                    <a:lnTo>
                      <a:pt x="374" y="2828"/>
                    </a:lnTo>
                    <a:lnTo>
                      <a:pt x="390" y="2826"/>
                    </a:lnTo>
                    <a:lnTo>
                      <a:pt x="392" y="2824"/>
                    </a:lnTo>
                    <a:lnTo>
                      <a:pt x="390" y="2818"/>
                    </a:lnTo>
                    <a:lnTo>
                      <a:pt x="390" y="2818"/>
                    </a:lnTo>
                    <a:lnTo>
                      <a:pt x="392" y="2808"/>
                    </a:lnTo>
                    <a:lnTo>
                      <a:pt x="396" y="2798"/>
                    </a:lnTo>
                    <a:lnTo>
                      <a:pt x="402" y="2788"/>
                    </a:lnTo>
                    <a:lnTo>
                      <a:pt x="410" y="2780"/>
                    </a:lnTo>
                    <a:lnTo>
                      <a:pt x="424" y="2768"/>
                    </a:lnTo>
                    <a:lnTo>
                      <a:pt x="428" y="2764"/>
                    </a:lnTo>
                    <a:lnTo>
                      <a:pt x="430" y="2760"/>
                    </a:lnTo>
                    <a:lnTo>
                      <a:pt x="430" y="2760"/>
                    </a:lnTo>
                    <a:lnTo>
                      <a:pt x="428" y="2756"/>
                    </a:lnTo>
                    <a:lnTo>
                      <a:pt x="422" y="2752"/>
                    </a:lnTo>
                    <a:lnTo>
                      <a:pt x="416" y="2746"/>
                    </a:lnTo>
                    <a:lnTo>
                      <a:pt x="412" y="2740"/>
                    </a:lnTo>
                    <a:lnTo>
                      <a:pt x="410" y="2734"/>
                    </a:lnTo>
                    <a:lnTo>
                      <a:pt x="410" y="2734"/>
                    </a:lnTo>
                    <a:lnTo>
                      <a:pt x="410" y="2724"/>
                    </a:lnTo>
                    <a:lnTo>
                      <a:pt x="412" y="2714"/>
                    </a:lnTo>
                    <a:lnTo>
                      <a:pt x="418" y="2702"/>
                    </a:lnTo>
                    <a:lnTo>
                      <a:pt x="424" y="2690"/>
                    </a:lnTo>
                    <a:lnTo>
                      <a:pt x="438" y="2670"/>
                    </a:lnTo>
                    <a:lnTo>
                      <a:pt x="446" y="2664"/>
                    </a:lnTo>
                    <a:lnTo>
                      <a:pt x="450" y="2660"/>
                    </a:lnTo>
                    <a:lnTo>
                      <a:pt x="450" y="2660"/>
                    </a:lnTo>
                    <a:lnTo>
                      <a:pt x="460" y="2656"/>
                    </a:lnTo>
                    <a:lnTo>
                      <a:pt x="460" y="2654"/>
                    </a:lnTo>
                    <a:lnTo>
                      <a:pt x="460" y="2652"/>
                    </a:lnTo>
                    <a:lnTo>
                      <a:pt x="454" y="2648"/>
                    </a:lnTo>
                    <a:lnTo>
                      <a:pt x="454" y="2646"/>
                    </a:lnTo>
                    <a:lnTo>
                      <a:pt x="454" y="2642"/>
                    </a:lnTo>
                    <a:lnTo>
                      <a:pt x="454" y="2642"/>
                    </a:lnTo>
                    <a:lnTo>
                      <a:pt x="458" y="2638"/>
                    </a:lnTo>
                    <a:lnTo>
                      <a:pt x="466" y="2634"/>
                    </a:lnTo>
                    <a:lnTo>
                      <a:pt x="484" y="2628"/>
                    </a:lnTo>
                    <a:lnTo>
                      <a:pt x="502" y="2624"/>
                    </a:lnTo>
                    <a:lnTo>
                      <a:pt x="508" y="2620"/>
                    </a:lnTo>
                    <a:lnTo>
                      <a:pt x="510" y="2616"/>
                    </a:lnTo>
                    <a:lnTo>
                      <a:pt x="510" y="2616"/>
                    </a:lnTo>
                    <a:lnTo>
                      <a:pt x="514" y="2612"/>
                    </a:lnTo>
                    <a:lnTo>
                      <a:pt x="520" y="2608"/>
                    </a:lnTo>
                    <a:lnTo>
                      <a:pt x="536" y="2600"/>
                    </a:lnTo>
                    <a:lnTo>
                      <a:pt x="544" y="2596"/>
                    </a:lnTo>
                    <a:lnTo>
                      <a:pt x="550" y="2590"/>
                    </a:lnTo>
                    <a:lnTo>
                      <a:pt x="552" y="2584"/>
                    </a:lnTo>
                    <a:lnTo>
                      <a:pt x="552" y="2580"/>
                    </a:lnTo>
                    <a:lnTo>
                      <a:pt x="550" y="2576"/>
                    </a:lnTo>
                    <a:lnTo>
                      <a:pt x="550" y="2576"/>
                    </a:lnTo>
                    <a:lnTo>
                      <a:pt x="550" y="2572"/>
                    </a:lnTo>
                    <a:lnTo>
                      <a:pt x="550" y="2570"/>
                    </a:lnTo>
                    <a:lnTo>
                      <a:pt x="554" y="2566"/>
                    </a:lnTo>
                    <a:lnTo>
                      <a:pt x="556" y="2566"/>
                    </a:lnTo>
                    <a:lnTo>
                      <a:pt x="556" y="2562"/>
                    </a:lnTo>
                    <a:lnTo>
                      <a:pt x="554" y="2560"/>
                    </a:lnTo>
                    <a:lnTo>
                      <a:pt x="548" y="2554"/>
                    </a:lnTo>
                    <a:lnTo>
                      <a:pt x="548" y="2554"/>
                    </a:lnTo>
                    <a:lnTo>
                      <a:pt x="548" y="2542"/>
                    </a:lnTo>
                    <a:lnTo>
                      <a:pt x="548" y="2536"/>
                    </a:lnTo>
                    <a:lnTo>
                      <a:pt x="548" y="2532"/>
                    </a:lnTo>
                    <a:lnTo>
                      <a:pt x="548" y="2524"/>
                    </a:lnTo>
                    <a:lnTo>
                      <a:pt x="548" y="2524"/>
                    </a:lnTo>
                    <a:lnTo>
                      <a:pt x="548" y="2518"/>
                    </a:lnTo>
                    <a:lnTo>
                      <a:pt x="550" y="2514"/>
                    </a:lnTo>
                    <a:lnTo>
                      <a:pt x="556" y="2510"/>
                    </a:lnTo>
                    <a:lnTo>
                      <a:pt x="564" y="2508"/>
                    </a:lnTo>
                    <a:lnTo>
                      <a:pt x="572" y="2502"/>
                    </a:lnTo>
                    <a:lnTo>
                      <a:pt x="572" y="2502"/>
                    </a:lnTo>
                    <a:lnTo>
                      <a:pt x="584" y="2494"/>
                    </a:lnTo>
                    <a:lnTo>
                      <a:pt x="586" y="2494"/>
                    </a:lnTo>
                    <a:lnTo>
                      <a:pt x="588" y="2494"/>
                    </a:lnTo>
                    <a:lnTo>
                      <a:pt x="590" y="2498"/>
                    </a:lnTo>
                    <a:lnTo>
                      <a:pt x="592" y="2500"/>
                    </a:lnTo>
                    <a:lnTo>
                      <a:pt x="598" y="2502"/>
                    </a:lnTo>
                    <a:lnTo>
                      <a:pt x="598" y="2502"/>
                    </a:lnTo>
                    <a:lnTo>
                      <a:pt x="604" y="2502"/>
                    </a:lnTo>
                    <a:lnTo>
                      <a:pt x="608" y="2504"/>
                    </a:lnTo>
                    <a:lnTo>
                      <a:pt x="610" y="2506"/>
                    </a:lnTo>
                    <a:lnTo>
                      <a:pt x="616" y="2506"/>
                    </a:lnTo>
                    <a:lnTo>
                      <a:pt x="616" y="2506"/>
                    </a:lnTo>
                    <a:lnTo>
                      <a:pt x="626" y="2504"/>
                    </a:lnTo>
                    <a:lnTo>
                      <a:pt x="630" y="2504"/>
                    </a:lnTo>
                    <a:lnTo>
                      <a:pt x="634" y="2506"/>
                    </a:lnTo>
                    <a:lnTo>
                      <a:pt x="640" y="2512"/>
                    </a:lnTo>
                    <a:lnTo>
                      <a:pt x="640" y="2512"/>
                    </a:lnTo>
                    <a:lnTo>
                      <a:pt x="644" y="2516"/>
                    </a:lnTo>
                    <a:lnTo>
                      <a:pt x="646" y="2516"/>
                    </a:lnTo>
                    <a:lnTo>
                      <a:pt x="650" y="2514"/>
                    </a:lnTo>
                    <a:lnTo>
                      <a:pt x="654" y="2516"/>
                    </a:lnTo>
                    <a:lnTo>
                      <a:pt x="656" y="2518"/>
                    </a:lnTo>
                    <a:lnTo>
                      <a:pt x="656" y="2518"/>
                    </a:lnTo>
                    <a:lnTo>
                      <a:pt x="660" y="2520"/>
                    </a:lnTo>
                    <a:lnTo>
                      <a:pt x="664" y="2520"/>
                    </a:lnTo>
                    <a:lnTo>
                      <a:pt x="678" y="2518"/>
                    </a:lnTo>
                    <a:lnTo>
                      <a:pt x="690" y="2512"/>
                    </a:lnTo>
                    <a:lnTo>
                      <a:pt x="692" y="2508"/>
                    </a:lnTo>
                    <a:lnTo>
                      <a:pt x="694" y="2506"/>
                    </a:lnTo>
                    <a:lnTo>
                      <a:pt x="694" y="2506"/>
                    </a:lnTo>
                    <a:lnTo>
                      <a:pt x="694" y="2502"/>
                    </a:lnTo>
                    <a:lnTo>
                      <a:pt x="696" y="2500"/>
                    </a:lnTo>
                    <a:lnTo>
                      <a:pt x="704" y="2494"/>
                    </a:lnTo>
                    <a:lnTo>
                      <a:pt x="726" y="2482"/>
                    </a:lnTo>
                    <a:lnTo>
                      <a:pt x="726" y="2482"/>
                    </a:lnTo>
                    <a:lnTo>
                      <a:pt x="738" y="2476"/>
                    </a:lnTo>
                    <a:lnTo>
                      <a:pt x="748" y="2472"/>
                    </a:lnTo>
                    <a:lnTo>
                      <a:pt x="754" y="2466"/>
                    </a:lnTo>
                    <a:lnTo>
                      <a:pt x="758" y="2462"/>
                    </a:lnTo>
                    <a:lnTo>
                      <a:pt x="762" y="2452"/>
                    </a:lnTo>
                    <a:lnTo>
                      <a:pt x="766" y="2448"/>
                    </a:lnTo>
                    <a:lnTo>
                      <a:pt x="774" y="2444"/>
                    </a:lnTo>
                    <a:lnTo>
                      <a:pt x="774" y="2444"/>
                    </a:lnTo>
                    <a:lnTo>
                      <a:pt x="780" y="2444"/>
                    </a:lnTo>
                    <a:lnTo>
                      <a:pt x="786" y="2444"/>
                    </a:lnTo>
                    <a:lnTo>
                      <a:pt x="792" y="2448"/>
                    </a:lnTo>
                    <a:lnTo>
                      <a:pt x="798" y="2454"/>
                    </a:lnTo>
                    <a:lnTo>
                      <a:pt x="808" y="2462"/>
                    </a:lnTo>
                    <a:lnTo>
                      <a:pt x="814" y="2466"/>
                    </a:lnTo>
                    <a:lnTo>
                      <a:pt x="820" y="2466"/>
                    </a:lnTo>
                    <a:lnTo>
                      <a:pt x="820" y="2466"/>
                    </a:lnTo>
                    <a:lnTo>
                      <a:pt x="826" y="2466"/>
                    </a:lnTo>
                    <a:lnTo>
                      <a:pt x="830" y="2468"/>
                    </a:lnTo>
                    <a:lnTo>
                      <a:pt x="832" y="2474"/>
                    </a:lnTo>
                    <a:lnTo>
                      <a:pt x="834" y="2480"/>
                    </a:lnTo>
                    <a:lnTo>
                      <a:pt x="836" y="2494"/>
                    </a:lnTo>
                    <a:lnTo>
                      <a:pt x="838" y="2500"/>
                    </a:lnTo>
                    <a:lnTo>
                      <a:pt x="842" y="2504"/>
                    </a:lnTo>
                    <a:lnTo>
                      <a:pt x="842" y="2504"/>
                    </a:lnTo>
                    <a:lnTo>
                      <a:pt x="844" y="2508"/>
                    </a:lnTo>
                    <a:lnTo>
                      <a:pt x="846" y="2512"/>
                    </a:lnTo>
                    <a:lnTo>
                      <a:pt x="846" y="2518"/>
                    </a:lnTo>
                    <a:lnTo>
                      <a:pt x="846" y="2522"/>
                    </a:lnTo>
                    <a:lnTo>
                      <a:pt x="846" y="2526"/>
                    </a:lnTo>
                    <a:lnTo>
                      <a:pt x="848" y="2530"/>
                    </a:lnTo>
                    <a:lnTo>
                      <a:pt x="854" y="2536"/>
                    </a:lnTo>
                    <a:lnTo>
                      <a:pt x="854" y="2536"/>
                    </a:lnTo>
                    <a:lnTo>
                      <a:pt x="870" y="2546"/>
                    </a:lnTo>
                    <a:lnTo>
                      <a:pt x="872" y="2550"/>
                    </a:lnTo>
                    <a:lnTo>
                      <a:pt x="872" y="2556"/>
                    </a:lnTo>
                    <a:lnTo>
                      <a:pt x="872" y="2556"/>
                    </a:lnTo>
                    <a:lnTo>
                      <a:pt x="872" y="2560"/>
                    </a:lnTo>
                    <a:lnTo>
                      <a:pt x="874" y="2562"/>
                    </a:lnTo>
                    <a:lnTo>
                      <a:pt x="882" y="2564"/>
                    </a:lnTo>
                    <a:lnTo>
                      <a:pt x="890" y="2566"/>
                    </a:lnTo>
                    <a:lnTo>
                      <a:pt x="894" y="2570"/>
                    </a:lnTo>
                    <a:lnTo>
                      <a:pt x="898" y="2576"/>
                    </a:lnTo>
                    <a:lnTo>
                      <a:pt x="898" y="2576"/>
                    </a:lnTo>
                    <a:lnTo>
                      <a:pt x="902" y="2584"/>
                    </a:lnTo>
                    <a:lnTo>
                      <a:pt x="906" y="2586"/>
                    </a:lnTo>
                    <a:lnTo>
                      <a:pt x="910" y="2588"/>
                    </a:lnTo>
                    <a:lnTo>
                      <a:pt x="920" y="2598"/>
                    </a:lnTo>
                    <a:lnTo>
                      <a:pt x="920" y="2598"/>
                    </a:lnTo>
                    <a:lnTo>
                      <a:pt x="932" y="2612"/>
                    </a:lnTo>
                    <a:lnTo>
                      <a:pt x="944" y="2620"/>
                    </a:lnTo>
                    <a:lnTo>
                      <a:pt x="956" y="2624"/>
                    </a:lnTo>
                    <a:lnTo>
                      <a:pt x="970" y="2624"/>
                    </a:lnTo>
                    <a:lnTo>
                      <a:pt x="970" y="2624"/>
                    </a:lnTo>
                    <a:lnTo>
                      <a:pt x="974" y="2626"/>
                    </a:lnTo>
                    <a:lnTo>
                      <a:pt x="978" y="2628"/>
                    </a:lnTo>
                    <a:lnTo>
                      <a:pt x="982" y="2638"/>
                    </a:lnTo>
                    <a:lnTo>
                      <a:pt x="988" y="2646"/>
                    </a:lnTo>
                    <a:lnTo>
                      <a:pt x="990" y="2650"/>
                    </a:lnTo>
                    <a:lnTo>
                      <a:pt x="996" y="2650"/>
                    </a:lnTo>
                    <a:lnTo>
                      <a:pt x="996" y="2650"/>
                    </a:lnTo>
                    <a:lnTo>
                      <a:pt x="1002" y="2650"/>
                    </a:lnTo>
                    <a:lnTo>
                      <a:pt x="1004" y="2650"/>
                    </a:lnTo>
                    <a:lnTo>
                      <a:pt x="1004" y="2656"/>
                    </a:lnTo>
                    <a:lnTo>
                      <a:pt x="1002" y="2658"/>
                    </a:lnTo>
                    <a:lnTo>
                      <a:pt x="1004" y="2658"/>
                    </a:lnTo>
                    <a:lnTo>
                      <a:pt x="1006" y="2660"/>
                    </a:lnTo>
                    <a:lnTo>
                      <a:pt x="1012" y="2658"/>
                    </a:lnTo>
                    <a:lnTo>
                      <a:pt x="1012" y="2658"/>
                    </a:lnTo>
                    <a:lnTo>
                      <a:pt x="1018" y="2658"/>
                    </a:lnTo>
                    <a:lnTo>
                      <a:pt x="1020" y="2660"/>
                    </a:lnTo>
                    <a:lnTo>
                      <a:pt x="1022" y="2662"/>
                    </a:lnTo>
                    <a:lnTo>
                      <a:pt x="1022" y="2666"/>
                    </a:lnTo>
                    <a:lnTo>
                      <a:pt x="1022" y="2674"/>
                    </a:lnTo>
                    <a:lnTo>
                      <a:pt x="1024" y="2680"/>
                    </a:lnTo>
                    <a:lnTo>
                      <a:pt x="1030" y="2684"/>
                    </a:lnTo>
                    <a:lnTo>
                      <a:pt x="1030" y="2684"/>
                    </a:lnTo>
                    <a:lnTo>
                      <a:pt x="1040" y="2690"/>
                    </a:lnTo>
                    <a:lnTo>
                      <a:pt x="1050" y="2694"/>
                    </a:lnTo>
                    <a:lnTo>
                      <a:pt x="1054" y="2698"/>
                    </a:lnTo>
                    <a:lnTo>
                      <a:pt x="1058" y="2702"/>
                    </a:lnTo>
                    <a:lnTo>
                      <a:pt x="1062" y="2710"/>
                    </a:lnTo>
                    <a:lnTo>
                      <a:pt x="1066" y="2720"/>
                    </a:lnTo>
                    <a:lnTo>
                      <a:pt x="1066" y="2720"/>
                    </a:lnTo>
                    <a:lnTo>
                      <a:pt x="1070" y="2740"/>
                    </a:lnTo>
                    <a:lnTo>
                      <a:pt x="1072" y="2752"/>
                    </a:lnTo>
                    <a:lnTo>
                      <a:pt x="1072" y="2758"/>
                    </a:lnTo>
                    <a:lnTo>
                      <a:pt x="1066" y="2762"/>
                    </a:lnTo>
                    <a:lnTo>
                      <a:pt x="1066" y="2762"/>
                    </a:lnTo>
                    <a:lnTo>
                      <a:pt x="1064" y="2768"/>
                    </a:lnTo>
                    <a:lnTo>
                      <a:pt x="1064" y="2772"/>
                    </a:lnTo>
                    <a:lnTo>
                      <a:pt x="1062" y="2776"/>
                    </a:lnTo>
                    <a:lnTo>
                      <a:pt x="1060" y="2784"/>
                    </a:lnTo>
                    <a:lnTo>
                      <a:pt x="1060" y="2784"/>
                    </a:lnTo>
                    <a:lnTo>
                      <a:pt x="1054" y="2790"/>
                    </a:lnTo>
                    <a:lnTo>
                      <a:pt x="1052" y="2796"/>
                    </a:lnTo>
                    <a:lnTo>
                      <a:pt x="1054" y="2802"/>
                    </a:lnTo>
                    <a:lnTo>
                      <a:pt x="1058" y="2806"/>
                    </a:lnTo>
                    <a:lnTo>
                      <a:pt x="1058" y="2806"/>
                    </a:lnTo>
                    <a:lnTo>
                      <a:pt x="1064" y="2808"/>
                    </a:lnTo>
                    <a:lnTo>
                      <a:pt x="1068" y="2808"/>
                    </a:lnTo>
                    <a:lnTo>
                      <a:pt x="1070" y="2806"/>
                    </a:lnTo>
                    <a:lnTo>
                      <a:pt x="1072" y="2804"/>
                    </a:lnTo>
                    <a:lnTo>
                      <a:pt x="1076" y="2794"/>
                    </a:lnTo>
                    <a:lnTo>
                      <a:pt x="1084" y="2784"/>
                    </a:lnTo>
                    <a:lnTo>
                      <a:pt x="1084" y="2784"/>
                    </a:lnTo>
                    <a:lnTo>
                      <a:pt x="1088" y="2780"/>
                    </a:lnTo>
                    <a:lnTo>
                      <a:pt x="1090" y="2776"/>
                    </a:lnTo>
                    <a:lnTo>
                      <a:pt x="1092" y="2768"/>
                    </a:lnTo>
                    <a:lnTo>
                      <a:pt x="1096" y="2760"/>
                    </a:lnTo>
                    <a:lnTo>
                      <a:pt x="1098" y="2756"/>
                    </a:lnTo>
                    <a:lnTo>
                      <a:pt x="1104" y="2752"/>
                    </a:lnTo>
                    <a:lnTo>
                      <a:pt x="1104" y="2752"/>
                    </a:lnTo>
                    <a:lnTo>
                      <a:pt x="1110" y="2748"/>
                    </a:lnTo>
                    <a:lnTo>
                      <a:pt x="1114" y="2742"/>
                    </a:lnTo>
                    <a:lnTo>
                      <a:pt x="1116" y="2738"/>
                    </a:lnTo>
                    <a:lnTo>
                      <a:pt x="1114" y="2732"/>
                    </a:lnTo>
                    <a:lnTo>
                      <a:pt x="1112" y="2726"/>
                    </a:lnTo>
                    <a:lnTo>
                      <a:pt x="1108" y="2722"/>
                    </a:lnTo>
                    <a:lnTo>
                      <a:pt x="1104" y="2718"/>
                    </a:lnTo>
                    <a:lnTo>
                      <a:pt x="1098" y="2716"/>
                    </a:lnTo>
                    <a:lnTo>
                      <a:pt x="1098" y="2716"/>
                    </a:lnTo>
                    <a:lnTo>
                      <a:pt x="1090" y="2712"/>
                    </a:lnTo>
                    <a:lnTo>
                      <a:pt x="1086" y="2708"/>
                    </a:lnTo>
                    <a:lnTo>
                      <a:pt x="1086" y="2704"/>
                    </a:lnTo>
                    <a:lnTo>
                      <a:pt x="1090" y="2698"/>
                    </a:lnTo>
                    <a:lnTo>
                      <a:pt x="1090" y="2698"/>
                    </a:lnTo>
                    <a:lnTo>
                      <a:pt x="1092" y="2692"/>
                    </a:lnTo>
                    <a:lnTo>
                      <a:pt x="1094" y="2684"/>
                    </a:lnTo>
                    <a:lnTo>
                      <a:pt x="1096" y="2676"/>
                    </a:lnTo>
                    <a:lnTo>
                      <a:pt x="1100" y="2672"/>
                    </a:lnTo>
                    <a:lnTo>
                      <a:pt x="1104" y="2670"/>
                    </a:lnTo>
                    <a:lnTo>
                      <a:pt x="1104" y="2670"/>
                    </a:lnTo>
                    <a:lnTo>
                      <a:pt x="1112" y="2666"/>
                    </a:lnTo>
                    <a:lnTo>
                      <a:pt x="1116" y="2668"/>
                    </a:lnTo>
                    <a:lnTo>
                      <a:pt x="1124" y="2670"/>
                    </a:lnTo>
                    <a:lnTo>
                      <a:pt x="1134" y="2672"/>
                    </a:lnTo>
                    <a:lnTo>
                      <a:pt x="1134" y="2672"/>
                    </a:lnTo>
                    <a:lnTo>
                      <a:pt x="1140" y="2674"/>
                    </a:lnTo>
                    <a:lnTo>
                      <a:pt x="1144" y="2678"/>
                    </a:lnTo>
                    <a:lnTo>
                      <a:pt x="1148" y="2688"/>
                    </a:lnTo>
                    <a:lnTo>
                      <a:pt x="1150" y="2696"/>
                    </a:lnTo>
                    <a:lnTo>
                      <a:pt x="1154" y="2700"/>
                    </a:lnTo>
                    <a:lnTo>
                      <a:pt x="1158" y="2702"/>
                    </a:lnTo>
                    <a:lnTo>
                      <a:pt x="1158" y="2702"/>
                    </a:lnTo>
                    <a:lnTo>
                      <a:pt x="1166" y="2702"/>
                    </a:lnTo>
                    <a:lnTo>
                      <a:pt x="1166" y="2702"/>
                    </a:lnTo>
                    <a:lnTo>
                      <a:pt x="1166" y="2700"/>
                    </a:lnTo>
                    <a:lnTo>
                      <a:pt x="1166" y="2696"/>
                    </a:lnTo>
                    <a:lnTo>
                      <a:pt x="1168" y="2688"/>
                    </a:lnTo>
                    <a:lnTo>
                      <a:pt x="1168" y="2688"/>
                    </a:lnTo>
                    <a:lnTo>
                      <a:pt x="1168" y="2684"/>
                    </a:lnTo>
                    <a:lnTo>
                      <a:pt x="1168" y="2678"/>
                    </a:lnTo>
                    <a:lnTo>
                      <a:pt x="1166" y="2674"/>
                    </a:lnTo>
                    <a:lnTo>
                      <a:pt x="1162" y="2670"/>
                    </a:lnTo>
                    <a:lnTo>
                      <a:pt x="1152" y="2662"/>
                    </a:lnTo>
                    <a:lnTo>
                      <a:pt x="1142" y="2654"/>
                    </a:lnTo>
                    <a:lnTo>
                      <a:pt x="1142" y="2654"/>
                    </a:lnTo>
                    <a:lnTo>
                      <a:pt x="1126" y="2646"/>
                    </a:lnTo>
                    <a:lnTo>
                      <a:pt x="1120" y="2642"/>
                    </a:lnTo>
                    <a:lnTo>
                      <a:pt x="1114" y="2636"/>
                    </a:lnTo>
                    <a:lnTo>
                      <a:pt x="1114" y="2636"/>
                    </a:lnTo>
                    <a:lnTo>
                      <a:pt x="1110" y="2632"/>
                    </a:lnTo>
                    <a:lnTo>
                      <a:pt x="1102" y="2628"/>
                    </a:lnTo>
                    <a:lnTo>
                      <a:pt x="1082" y="2620"/>
                    </a:lnTo>
                    <a:lnTo>
                      <a:pt x="1074" y="2616"/>
                    </a:lnTo>
                    <a:lnTo>
                      <a:pt x="1068" y="2610"/>
                    </a:lnTo>
                    <a:lnTo>
                      <a:pt x="1066" y="2606"/>
                    </a:lnTo>
                    <a:lnTo>
                      <a:pt x="1066" y="2602"/>
                    </a:lnTo>
                    <a:lnTo>
                      <a:pt x="1070" y="2600"/>
                    </a:lnTo>
                    <a:lnTo>
                      <a:pt x="1070" y="2600"/>
                    </a:lnTo>
                    <a:lnTo>
                      <a:pt x="1074" y="2594"/>
                    </a:lnTo>
                    <a:lnTo>
                      <a:pt x="1076" y="2592"/>
                    </a:lnTo>
                    <a:lnTo>
                      <a:pt x="1074" y="2590"/>
                    </a:lnTo>
                    <a:lnTo>
                      <a:pt x="1068" y="2588"/>
                    </a:lnTo>
                    <a:lnTo>
                      <a:pt x="1060" y="2586"/>
                    </a:lnTo>
                    <a:lnTo>
                      <a:pt x="1036" y="2584"/>
                    </a:lnTo>
                    <a:lnTo>
                      <a:pt x="1026" y="2580"/>
                    </a:lnTo>
                    <a:lnTo>
                      <a:pt x="1016" y="2576"/>
                    </a:lnTo>
                    <a:lnTo>
                      <a:pt x="1016" y="2576"/>
                    </a:lnTo>
                    <a:lnTo>
                      <a:pt x="1002" y="2560"/>
                    </a:lnTo>
                    <a:lnTo>
                      <a:pt x="990" y="2544"/>
                    </a:lnTo>
                    <a:lnTo>
                      <a:pt x="984" y="2530"/>
                    </a:lnTo>
                    <a:lnTo>
                      <a:pt x="978" y="2518"/>
                    </a:lnTo>
                    <a:lnTo>
                      <a:pt x="974" y="2498"/>
                    </a:lnTo>
                    <a:lnTo>
                      <a:pt x="970" y="2492"/>
                    </a:lnTo>
                    <a:lnTo>
                      <a:pt x="966" y="2490"/>
                    </a:lnTo>
                    <a:lnTo>
                      <a:pt x="966" y="2490"/>
                    </a:lnTo>
                    <a:lnTo>
                      <a:pt x="958" y="2488"/>
                    </a:lnTo>
                    <a:lnTo>
                      <a:pt x="950" y="2484"/>
                    </a:lnTo>
                    <a:lnTo>
                      <a:pt x="944" y="2476"/>
                    </a:lnTo>
                    <a:lnTo>
                      <a:pt x="934" y="2468"/>
                    </a:lnTo>
                    <a:lnTo>
                      <a:pt x="934" y="2468"/>
                    </a:lnTo>
                    <a:lnTo>
                      <a:pt x="928" y="2462"/>
                    </a:lnTo>
                    <a:lnTo>
                      <a:pt x="922" y="2456"/>
                    </a:lnTo>
                    <a:lnTo>
                      <a:pt x="920" y="2448"/>
                    </a:lnTo>
                    <a:lnTo>
                      <a:pt x="918" y="2442"/>
                    </a:lnTo>
                    <a:lnTo>
                      <a:pt x="916" y="2434"/>
                    </a:lnTo>
                    <a:lnTo>
                      <a:pt x="918" y="2428"/>
                    </a:lnTo>
                    <a:lnTo>
                      <a:pt x="920" y="2424"/>
                    </a:lnTo>
                    <a:lnTo>
                      <a:pt x="922" y="2422"/>
                    </a:lnTo>
                    <a:lnTo>
                      <a:pt x="922" y="2422"/>
                    </a:lnTo>
                    <a:lnTo>
                      <a:pt x="926" y="2420"/>
                    </a:lnTo>
                    <a:lnTo>
                      <a:pt x="928" y="2418"/>
                    </a:lnTo>
                    <a:lnTo>
                      <a:pt x="926" y="2414"/>
                    </a:lnTo>
                    <a:lnTo>
                      <a:pt x="918" y="2400"/>
                    </a:lnTo>
                    <a:lnTo>
                      <a:pt x="918" y="2400"/>
                    </a:lnTo>
                    <a:lnTo>
                      <a:pt x="914" y="2394"/>
                    </a:lnTo>
                    <a:lnTo>
                      <a:pt x="916" y="2388"/>
                    </a:lnTo>
                    <a:lnTo>
                      <a:pt x="920" y="2384"/>
                    </a:lnTo>
                    <a:lnTo>
                      <a:pt x="924" y="2386"/>
                    </a:lnTo>
                    <a:lnTo>
                      <a:pt x="924" y="2386"/>
                    </a:lnTo>
                    <a:lnTo>
                      <a:pt x="926" y="2388"/>
                    </a:lnTo>
                    <a:lnTo>
                      <a:pt x="930" y="2388"/>
                    </a:lnTo>
                    <a:lnTo>
                      <a:pt x="934" y="2384"/>
                    </a:lnTo>
                    <a:lnTo>
                      <a:pt x="940" y="2378"/>
                    </a:lnTo>
                    <a:lnTo>
                      <a:pt x="950" y="2372"/>
                    </a:lnTo>
                    <a:lnTo>
                      <a:pt x="950" y="2372"/>
                    </a:lnTo>
                    <a:lnTo>
                      <a:pt x="956" y="2370"/>
                    </a:lnTo>
                    <a:lnTo>
                      <a:pt x="958" y="2372"/>
                    </a:lnTo>
                    <a:lnTo>
                      <a:pt x="960" y="2374"/>
                    </a:lnTo>
                    <a:lnTo>
                      <a:pt x="966" y="2374"/>
                    </a:lnTo>
                    <a:lnTo>
                      <a:pt x="966" y="2374"/>
                    </a:lnTo>
                    <a:lnTo>
                      <a:pt x="972" y="2372"/>
                    </a:lnTo>
                    <a:lnTo>
                      <a:pt x="974" y="2374"/>
                    </a:lnTo>
                    <a:lnTo>
                      <a:pt x="974" y="2378"/>
                    </a:lnTo>
                    <a:lnTo>
                      <a:pt x="974" y="2378"/>
                    </a:lnTo>
                    <a:lnTo>
                      <a:pt x="974" y="2380"/>
                    </a:lnTo>
                    <a:lnTo>
                      <a:pt x="972" y="2382"/>
                    </a:lnTo>
                    <a:lnTo>
                      <a:pt x="970" y="2382"/>
                    </a:lnTo>
                    <a:lnTo>
                      <a:pt x="968" y="2384"/>
                    </a:lnTo>
                    <a:lnTo>
                      <a:pt x="968" y="2384"/>
                    </a:lnTo>
                    <a:lnTo>
                      <a:pt x="968" y="2386"/>
                    </a:lnTo>
                    <a:lnTo>
                      <a:pt x="968" y="2386"/>
                    </a:lnTo>
                    <a:lnTo>
                      <a:pt x="970" y="2398"/>
                    </a:lnTo>
                    <a:lnTo>
                      <a:pt x="976" y="2414"/>
                    </a:lnTo>
                    <a:lnTo>
                      <a:pt x="982" y="2426"/>
                    </a:lnTo>
                    <a:lnTo>
                      <a:pt x="986" y="2428"/>
                    </a:lnTo>
                    <a:lnTo>
                      <a:pt x="988" y="2424"/>
                    </a:lnTo>
                    <a:lnTo>
                      <a:pt x="988" y="2424"/>
                    </a:lnTo>
                    <a:lnTo>
                      <a:pt x="994" y="2402"/>
                    </a:lnTo>
                    <a:lnTo>
                      <a:pt x="996" y="2398"/>
                    </a:lnTo>
                    <a:lnTo>
                      <a:pt x="1000" y="2394"/>
                    </a:lnTo>
                    <a:lnTo>
                      <a:pt x="1004" y="2394"/>
                    </a:lnTo>
                    <a:lnTo>
                      <a:pt x="1008" y="2398"/>
                    </a:lnTo>
                    <a:lnTo>
                      <a:pt x="1008" y="2398"/>
                    </a:lnTo>
                    <a:lnTo>
                      <a:pt x="1016" y="2404"/>
                    </a:lnTo>
                    <a:lnTo>
                      <a:pt x="1020" y="2410"/>
                    </a:lnTo>
                    <a:lnTo>
                      <a:pt x="1022" y="2414"/>
                    </a:lnTo>
                    <a:lnTo>
                      <a:pt x="1022" y="2420"/>
                    </a:lnTo>
                    <a:lnTo>
                      <a:pt x="1024" y="2428"/>
                    </a:lnTo>
                    <a:lnTo>
                      <a:pt x="1026" y="2434"/>
                    </a:lnTo>
                    <a:lnTo>
                      <a:pt x="1030" y="2440"/>
                    </a:lnTo>
                    <a:lnTo>
                      <a:pt x="1030" y="2440"/>
                    </a:lnTo>
                    <a:lnTo>
                      <a:pt x="1034" y="2446"/>
                    </a:lnTo>
                    <a:lnTo>
                      <a:pt x="1036" y="2450"/>
                    </a:lnTo>
                    <a:lnTo>
                      <a:pt x="1036" y="2452"/>
                    </a:lnTo>
                    <a:lnTo>
                      <a:pt x="1034" y="2454"/>
                    </a:lnTo>
                    <a:lnTo>
                      <a:pt x="1034" y="2456"/>
                    </a:lnTo>
                    <a:lnTo>
                      <a:pt x="1034" y="2460"/>
                    </a:lnTo>
                    <a:lnTo>
                      <a:pt x="1038" y="2464"/>
                    </a:lnTo>
                    <a:lnTo>
                      <a:pt x="1046" y="2472"/>
                    </a:lnTo>
                    <a:lnTo>
                      <a:pt x="1046" y="2472"/>
                    </a:lnTo>
                    <a:lnTo>
                      <a:pt x="1056" y="2480"/>
                    </a:lnTo>
                    <a:lnTo>
                      <a:pt x="1062" y="2486"/>
                    </a:lnTo>
                    <a:lnTo>
                      <a:pt x="1066" y="2494"/>
                    </a:lnTo>
                    <a:lnTo>
                      <a:pt x="1066" y="2496"/>
                    </a:lnTo>
                    <a:lnTo>
                      <a:pt x="1068" y="2496"/>
                    </a:lnTo>
                    <a:lnTo>
                      <a:pt x="1076" y="2496"/>
                    </a:lnTo>
                    <a:lnTo>
                      <a:pt x="1076" y="2496"/>
                    </a:lnTo>
                    <a:lnTo>
                      <a:pt x="1084" y="2496"/>
                    </a:lnTo>
                    <a:lnTo>
                      <a:pt x="1090" y="2498"/>
                    </a:lnTo>
                    <a:lnTo>
                      <a:pt x="1102" y="2504"/>
                    </a:lnTo>
                    <a:lnTo>
                      <a:pt x="1114" y="2516"/>
                    </a:lnTo>
                    <a:lnTo>
                      <a:pt x="1128" y="2528"/>
                    </a:lnTo>
                    <a:lnTo>
                      <a:pt x="1128" y="2528"/>
                    </a:lnTo>
                    <a:lnTo>
                      <a:pt x="1114" y="2524"/>
                    </a:lnTo>
                    <a:lnTo>
                      <a:pt x="1110" y="2524"/>
                    </a:lnTo>
                    <a:lnTo>
                      <a:pt x="1110" y="2526"/>
                    </a:lnTo>
                    <a:lnTo>
                      <a:pt x="1116" y="2530"/>
                    </a:lnTo>
                    <a:lnTo>
                      <a:pt x="1134" y="2536"/>
                    </a:lnTo>
                    <a:lnTo>
                      <a:pt x="1134" y="2536"/>
                    </a:lnTo>
                    <a:lnTo>
                      <a:pt x="1144" y="2540"/>
                    </a:lnTo>
                    <a:lnTo>
                      <a:pt x="1152" y="2544"/>
                    </a:lnTo>
                    <a:lnTo>
                      <a:pt x="1160" y="2552"/>
                    </a:lnTo>
                    <a:lnTo>
                      <a:pt x="1162" y="2558"/>
                    </a:lnTo>
                    <a:lnTo>
                      <a:pt x="1164" y="2560"/>
                    </a:lnTo>
                    <a:lnTo>
                      <a:pt x="1166" y="2560"/>
                    </a:lnTo>
                    <a:lnTo>
                      <a:pt x="1166" y="2560"/>
                    </a:lnTo>
                    <a:lnTo>
                      <a:pt x="1174" y="2560"/>
                    </a:lnTo>
                    <a:lnTo>
                      <a:pt x="1176" y="2562"/>
                    </a:lnTo>
                    <a:lnTo>
                      <a:pt x="1176" y="2562"/>
                    </a:lnTo>
                    <a:lnTo>
                      <a:pt x="1184" y="2566"/>
                    </a:lnTo>
                    <a:lnTo>
                      <a:pt x="1188" y="2568"/>
                    </a:lnTo>
                    <a:lnTo>
                      <a:pt x="1190" y="2574"/>
                    </a:lnTo>
                    <a:lnTo>
                      <a:pt x="1190" y="2574"/>
                    </a:lnTo>
                    <a:lnTo>
                      <a:pt x="1190" y="2582"/>
                    </a:lnTo>
                    <a:lnTo>
                      <a:pt x="1192" y="2584"/>
                    </a:lnTo>
                    <a:lnTo>
                      <a:pt x="1196" y="2586"/>
                    </a:lnTo>
                    <a:lnTo>
                      <a:pt x="1204" y="2588"/>
                    </a:lnTo>
                    <a:lnTo>
                      <a:pt x="1204" y="2588"/>
                    </a:lnTo>
                    <a:lnTo>
                      <a:pt x="1208" y="2590"/>
                    </a:lnTo>
                    <a:lnTo>
                      <a:pt x="1208" y="2596"/>
                    </a:lnTo>
                    <a:lnTo>
                      <a:pt x="1208" y="2610"/>
                    </a:lnTo>
                    <a:lnTo>
                      <a:pt x="1206" y="2626"/>
                    </a:lnTo>
                    <a:lnTo>
                      <a:pt x="1206" y="2632"/>
                    </a:lnTo>
                    <a:lnTo>
                      <a:pt x="1206" y="2636"/>
                    </a:lnTo>
                    <a:lnTo>
                      <a:pt x="1206" y="2636"/>
                    </a:lnTo>
                    <a:lnTo>
                      <a:pt x="1206" y="2638"/>
                    </a:lnTo>
                    <a:lnTo>
                      <a:pt x="1206" y="2640"/>
                    </a:lnTo>
                    <a:lnTo>
                      <a:pt x="1204" y="2646"/>
                    </a:lnTo>
                    <a:lnTo>
                      <a:pt x="1200" y="2652"/>
                    </a:lnTo>
                    <a:lnTo>
                      <a:pt x="1200" y="2656"/>
                    </a:lnTo>
                    <a:lnTo>
                      <a:pt x="1202" y="2662"/>
                    </a:lnTo>
                    <a:lnTo>
                      <a:pt x="1202" y="2662"/>
                    </a:lnTo>
                    <a:lnTo>
                      <a:pt x="1202" y="2666"/>
                    </a:lnTo>
                    <a:lnTo>
                      <a:pt x="1202" y="2670"/>
                    </a:lnTo>
                    <a:lnTo>
                      <a:pt x="1202" y="2672"/>
                    </a:lnTo>
                    <a:lnTo>
                      <a:pt x="1200" y="2674"/>
                    </a:lnTo>
                    <a:lnTo>
                      <a:pt x="1202" y="2674"/>
                    </a:lnTo>
                    <a:lnTo>
                      <a:pt x="1208" y="2680"/>
                    </a:lnTo>
                    <a:lnTo>
                      <a:pt x="1208" y="2680"/>
                    </a:lnTo>
                    <a:lnTo>
                      <a:pt x="1216" y="2686"/>
                    </a:lnTo>
                    <a:lnTo>
                      <a:pt x="1222" y="2690"/>
                    </a:lnTo>
                    <a:lnTo>
                      <a:pt x="1224" y="2696"/>
                    </a:lnTo>
                    <a:lnTo>
                      <a:pt x="1224" y="2700"/>
                    </a:lnTo>
                    <a:lnTo>
                      <a:pt x="1226" y="2706"/>
                    </a:lnTo>
                    <a:lnTo>
                      <a:pt x="1228" y="2708"/>
                    </a:lnTo>
                    <a:lnTo>
                      <a:pt x="1230" y="2710"/>
                    </a:lnTo>
                    <a:lnTo>
                      <a:pt x="1230" y="2710"/>
                    </a:lnTo>
                    <a:lnTo>
                      <a:pt x="1240" y="2726"/>
                    </a:lnTo>
                    <a:lnTo>
                      <a:pt x="1246" y="2736"/>
                    </a:lnTo>
                    <a:lnTo>
                      <a:pt x="1250" y="2740"/>
                    </a:lnTo>
                    <a:lnTo>
                      <a:pt x="1254" y="2744"/>
                    </a:lnTo>
                    <a:lnTo>
                      <a:pt x="1254" y="2744"/>
                    </a:lnTo>
                    <a:lnTo>
                      <a:pt x="1258" y="2748"/>
                    </a:lnTo>
                    <a:lnTo>
                      <a:pt x="1260" y="2748"/>
                    </a:lnTo>
                    <a:lnTo>
                      <a:pt x="1260" y="2746"/>
                    </a:lnTo>
                    <a:lnTo>
                      <a:pt x="1262" y="2746"/>
                    </a:lnTo>
                    <a:lnTo>
                      <a:pt x="1266" y="2746"/>
                    </a:lnTo>
                    <a:lnTo>
                      <a:pt x="1272" y="2750"/>
                    </a:lnTo>
                    <a:lnTo>
                      <a:pt x="1272" y="2750"/>
                    </a:lnTo>
                    <a:lnTo>
                      <a:pt x="1274" y="2752"/>
                    </a:lnTo>
                    <a:lnTo>
                      <a:pt x="1274" y="2752"/>
                    </a:lnTo>
                    <a:lnTo>
                      <a:pt x="1266" y="2754"/>
                    </a:lnTo>
                    <a:lnTo>
                      <a:pt x="1258" y="2754"/>
                    </a:lnTo>
                    <a:lnTo>
                      <a:pt x="1258" y="2758"/>
                    </a:lnTo>
                    <a:lnTo>
                      <a:pt x="1260" y="2762"/>
                    </a:lnTo>
                    <a:lnTo>
                      <a:pt x="1260" y="2762"/>
                    </a:lnTo>
                    <a:lnTo>
                      <a:pt x="1268" y="2772"/>
                    </a:lnTo>
                    <a:lnTo>
                      <a:pt x="1272" y="2780"/>
                    </a:lnTo>
                    <a:lnTo>
                      <a:pt x="1274" y="2786"/>
                    </a:lnTo>
                    <a:lnTo>
                      <a:pt x="1276" y="2786"/>
                    </a:lnTo>
                    <a:lnTo>
                      <a:pt x="1280" y="2784"/>
                    </a:lnTo>
                    <a:lnTo>
                      <a:pt x="1280" y="2784"/>
                    </a:lnTo>
                    <a:lnTo>
                      <a:pt x="1284" y="2780"/>
                    </a:lnTo>
                    <a:lnTo>
                      <a:pt x="1286" y="2782"/>
                    </a:lnTo>
                    <a:lnTo>
                      <a:pt x="1290" y="2782"/>
                    </a:lnTo>
                    <a:lnTo>
                      <a:pt x="1300" y="2782"/>
                    </a:lnTo>
                    <a:lnTo>
                      <a:pt x="1300" y="2782"/>
                    </a:lnTo>
                    <a:lnTo>
                      <a:pt x="1312" y="2780"/>
                    </a:lnTo>
                    <a:lnTo>
                      <a:pt x="1316" y="2782"/>
                    </a:lnTo>
                    <a:lnTo>
                      <a:pt x="1318" y="2784"/>
                    </a:lnTo>
                    <a:lnTo>
                      <a:pt x="1324" y="2784"/>
                    </a:lnTo>
                    <a:lnTo>
                      <a:pt x="1324" y="2784"/>
                    </a:lnTo>
                    <a:lnTo>
                      <a:pt x="1330" y="2782"/>
                    </a:lnTo>
                    <a:lnTo>
                      <a:pt x="1336" y="2786"/>
                    </a:lnTo>
                    <a:lnTo>
                      <a:pt x="1342" y="2790"/>
                    </a:lnTo>
                    <a:lnTo>
                      <a:pt x="1348" y="2790"/>
                    </a:lnTo>
                    <a:lnTo>
                      <a:pt x="1348" y="2790"/>
                    </a:lnTo>
                    <a:lnTo>
                      <a:pt x="1354" y="2790"/>
                    </a:lnTo>
                    <a:lnTo>
                      <a:pt x="1358" y="2792"/>
                    </a:lnTo>
                    <a:lnTo>
                      <a:pt x="1358" y="2794"/>
                    </a:lnTo>
                    <a:lnTo>
                      <a:pt x="1358" y="2796"/>
                    </a:lnTo>
                    <a:lnTo>
                      <a:pt x="1350" y="2800"/>
                    </a:lnTo>
                    <a:lnTo>
                      <a:pt x="1350" y="2800"/>
                    </a:lnTo>
                    <a:lnTo>
                      <a:pt x="1342" y="2802"/>
                    </a:lnTo>
                    <a:lnTo>
                      <a:pt x="1336" y="2800"/>
                    </a:lnTo>
                    <a:lnTo>
                      <a:pt x="1322" y="2792"/>
                    </a:lnTo>
                    <a:lnTo>
                      <a:pt x="1322" y="2792"/>
                    </a:lnTo>
                    <a:lnTo>
                      <a:pt x="1312" y="2788"/>
                    </a:lnTo>
                    <a:lnTo>
                      <a:pt x="1306" y="2786"/>
                    </a:lnTo>
                    <a:lnTo>
                      <a:pt x="1302" y="2786"/>
                    </a:lnTo>
                    <a:lnTo>
                      <a:pt x="1298" y="2792"/>
                    </a:lnTo>
                    <a:lnTo>
                      <a:pt x="1298" y="2792"/>
                    </a:lnTo>
                    <a:lnTo>
                      <a:pt x="1296" y="2794"/>
                    </a:lnTo>
                    <a:lnTo>
                      <a:pt x="1292" y="2794"/>
                    </a:lnTo>
                    <a:lnTo>
                      <a:pt x="1288" y="2792"/>
                    </a:lnTo>
                    <a:lnTo>
                      <a:pt x="1282" y="2792"/>
                    </a:lnTo>
                    <a:lnTo>
                      <a:pt x="1282" y="2794"/>
                    </a:lnTo>
                    <a:lnTo>
                      <a:pt x="1280" y="2798"/>
                    </a:lnTo>
                    <a:lnTo>
                      <a:pt x="1280" y="2798"/>
                    </a:lnTo>
                    <a:lnTo>
                      <a:pt x="1280" y="2802"/>
                    </a:lnTo>
                    <a:lnTo>
                      <a:pt x="1278" y="2804"/>
                    </a:lnTo>
                    <a:lnTo>
                      <a:pt x="1274" y="2808"/>
                    </a:lnTo>
                    <a:lnTo>
                      <a:pt x="1272" y="2808"/>
                    </a:lnTo>
                    <a:lnTo>
                      <a:pt x="1276" y="2812"/>
                    </a:lnTo>
                    <a:lnTo>
                      <a:pt x="1276" y="2812"/>
                    </a:lnTo>
                    <a:lnTo>
                      <a:pt x="1280" y="2816"/>
                    </a:lnTo>
                    <a:lnTo>
                      <a:pt x="1280" y="2820"/>
                    </a:lnTo>
                    <a:lnTo>
                      <a:pt x="1280" y="2824"/>
                    </a:lnTo>
                    <a:lnTo>
                      <a:pt x="1286" y="2824"/>
                    </a:lnTo>
                    <a:lnTo>
                      <a:pt x="1286" y="2824"/>
                    </a:lnTo>
                    <a:lnTo>
                      <a:pt x="1288" y="2824"/>
                    </a:lnTo>
                    <a:lnTo>
                      <a:pt x="1292" y="2826"/>
                    </a:lnTo>
                    <a:lnTo>
                      <a:pt x="1294" y="2832"/>
                    </a:lnTo>
                    <a:lnTo>
                      <a:pt x="1294" y="2838"/>
                    </a:lnTo>
                    <a:lnTo>
                      <a:pt x="1292" y="2844"/>
                    </a:lnTo>
                    <a:lnTo>
                      <a:pt x="1292" y="2844"/>
                    </a:lnTo>
                    <a:lnTo>
                      <a:pt x="1292" y="2848"/>
                    </a:lnTo>
                    <a:lnTo>
                      <a:pt x="1292" y="2854"/>
                    </a:lnTo>
                    <a:lnTo>
                      <a:pt x="1298" y="2864"/>
                    </a:lnTo>
                    <a:lnTo>
                      <a:pt x="1300" y="2866"/>
                    </a:lnTo>
                    <a:lnTo>
                      <a:pt x="1304" y="2868"/>
                    </a:lnTo>
                    <a:lnTo>
                      <a:pt x="1306" y="2866"/>
                    </a:lnTo>
                    <a:lnTo>
                      <a:pt x="1308" y="2862"/>
                    </a:lnTo>
                    <a:lnTo>
                      <a:pt x="1308" y="2862"/>
                    </a:lnTo>
                    <a:lnTo>
                      <a:pt x="1308" y="2856"/>
                    </a:lnTo>
                    <a:lnTo>
                      <a:pt x="1310" y="2854"/>
                    </a:lnTo>
                    <a:lnTo>
                      <a:pt x="1314" y="2854"/>
                    </a:lnTo>
                    <a:lnTo>
                      <a:pt x="1316" y="2856"/>
                    </a:lnTo>
                    <a:lnTo>
                      <a:pt x="1320" y="2866"/>
                    </a:lnTo>
                    <a:lnTo>
                      <a:pt x="1322" y="2880"/>
                    </a:lnTo>
                    <a:lnTo>
                      <a:pt x="1322" y="2880"/>
                    </a:lnTo>
                    <a:lnTo>
                      <a:pt x="1324" y="2888"/>
                    </a:lnTo>
                    <a:lnTo>
                      <a:pt x="1326" y="2888"/>
                    </a:lnTo>
                    <a:lnTo>
                      <a:pt x="1328" y="2888"/>
                    </a:lnTo>
                    <a:lnTo>
                      <a:pt x="1330" y="2882"/>
                    </a:lnTo>
                    <a:lnTo>
                      <a:pt x="1332" y="2874"/>
                    </a:lnTo>
                    <a:lnTo>
                      <a:pt x="1332" y="2874"/>
                    </a:lnTo>
                    <a:lnTo>
                      <a:pt x="1334" y="2866"/>
                    </a:lnTo>
                    <a:lnTo>
                      <a:pt x="1336" y="2866"/>
                    </a:lnTo>
                    <a:lnTo>
                      <a:pt x="1338" y="2868"/>
                    </a:lnTo>
                    <a:lnTo>
                      <a:pt x="1342" y="2872"/>
                    </a:lnTo>
                    <a:lnTo>
                      <a:pt x="1348" y="2882"/>
                    </a:lnTo>
                    <a:lnTo>
                      <a:pt x="1350" y="2886"/>
                    </a:lnTo>
                    <a:lnTo>
                      <a:pt x="1354" y="2888"/>
                    </a:lnTo>
                    <a:lnTo>
                      <a:pt x="1354" y="2888"/>
                    </a:lnTo>
                    <a:lnTo>
                      <a:pt x="1356" y="2886"/>
                    </a:lnTo>
                    <a:lnTo>
                      <a:pt x="1356" y="2884"/>
                    </a:lnTo>
                    <a:lnTo>
                      <a:pt x="1356" y="2876"/>
                    </a:lnTo>
                    <a:lnTo>
                      <a:pt x="1348" y="2854"/>
                    </a:lnTo>
                    <a:lnTo>
                      <a:pt x="1340" y="2834"/>
                    </a:lnTo>
                    <a:lnTo>
                      <a:pt x="1338" y="2828"/>
                    </a:lnTo>
                    <a:lnTo>
                      <a:pt x="1338" y="2826"/>
                    </a:lnTo>
                    <a:lnTo>
                      <a:pt x="1340" y="2824"/>
                    </a:lnTo>
                    <a:lnTo>
                      <a:pt x="1340" y="2824"/>
                    </a:lnTo>
                    <a:lnTo>
                      <a:pt x="1346" y="2826"/>
                    </a:lnTo>
                    <a:lnTo>
                      <a:pt x="1350" y="2828"/>
                    </a:lnTo>
                    <a:lnTo>
                      <a:pt x="1352" y="2832"/>
                    </a:lnTo>
                    <a:lnTo>
                      <a:pt x="1354" y="2838"/>
                    </a:lnTo>
                    <a:lnTo>
                      <a:pt x="1354" y="2838"/>
                    </a:lnTo>
                    <a:lnTo>
                      <a:pt x="1356" y="2840"/>
                    </a:lnTo>
                    <a:lnTo>
                      <a:pt x="1358" y="2840"/>
                    </a:lnTo>
                    <a:lnTo>
                      <a:pt x="1368" y="2836"/>
                    </a:lnTo>
                    <a:lnTo>
                      <a:pt x="1368" y="2836"/>
                    </a:lnTo>
                    <a:lnTo>
                      <a:pt x="1370" y="2834"/>
                    </a:lnTo>
                    <a:lnTo>
                      <a:pt x="1372" y="2832"/>
                    </a:lnTo>
                    <a:lnTo>
                      <a:pt x="1370" y="2828"/>
                    </a:lnTo>
                    <a:lnTo>
                      <a:pt x="1366" y="2824"/>
                    </a:lnTo>
                    <a:lnTo>
                      <a:pt x="1360" y="2822"/>
                    </a:lnTo>
                    <a:lnTo>
                      <a:pt x="1360" y="2822"/>
                    </a:lnTo>
                    <a:lnTo>
                      <a:pt x="1356" y="2822"/>
                    </a:lnTo>
                    <a:lnTo>
                      <a:pt x="1356" y="2820"/>
                    </a:lnTo>
                    <a:lnTo>
                      <a:pt x="1356" y="2816"/>
                    </a:lnTo>
                    <a:lnTo>
                      <a:pt x="1354" y="2812"/>
                    </a:lnTo>
                    <a:lnTo>
                      <a:pt x="1354" y="2812"/>
                    </a:lnTo>
                    <a:lnTo>
                      <a:pt x="1352" y="2810"/>
                    </a:lnTo>
                    <a:lnTo>
                      <a:pt x="1354" y="2808"/>
                    </a:lnTo>
                    <a:lnTo>
                      <a:pt x="1360" y="2802"/>
                    </a:lnTo>
                    <a:lnTo>
                      <a:pt x="1368" y="2800"/>
                    </a:lnTo>
                    <a:lnTo>
                      <a:pt x="1370" y="2800"/>
                    </a:lnTo>
                    <a:lnTo>
                      <a:pt x="1374" y="2802"/>
                    </a:lnTo>
                    <a:lnTo>
                      <a:pt x="1374" y="2802"/>
                    </a:lnTo>
                    <a:lnTo>
                      <a:pt x="1382" y="2816"/>
                    </a:lnTo>
                    <a:lnTo>
                      <a:pt x="1388" y="2820"/>
                    </a:lnTo>
                    <a:lnTo>
                      <a:pt x="1390" y="2820"/>
                    </a:lnTo>
                    <a:lnTo>
                      <a:pt x="1392" y="2820"/>
                    </a:lnTo>
                    <a:lnTo>
                      <a:pt x="1392" y="2820"/>
                    </a:lnTo>
                    <a:lnTo>
                      <a:pt x="1394" y="2818"/>
                    </a:lnTo>
                    <a:lnTo>
                      <a:pt x="1394" y="2816"/>
                    </a:lnTo>
                    <a:lnTo>
                      <a:pt x="1394" y="2810"/>
                    </a:lnTo>
                    <a:lnTo>
                      <a:pt x="1392" y="2804"/>
                    </a:lnTo>
                    <a:lnTo>
                      <a:pt x="1392" y="2796"/>
                    </a:lnTo>
                    <a:lnTo>
                      <a:pt x="1392" y="2796"/>
                    </a:lnTo>
                    <a:lnTo>
                      <a:pt x="1392" y="2794"/>
                    </a:lnTo>
                    <a:lnTo>
                      <a:pt x="1390" y="2790"/>
                    </a:lnTo>
                    <a:lnTo>
                      <a:pt x="1386" y="2788"/>
                    </a:lnTo>
                    <a:lnTo>
                      <a:pt x="1378" y="2784"/>
                    </a:lnTo>
                    <a:lnTo>
                      <a:pt x="1376" y="2782"/>
                    </a:lnTo>
                    <a:lnTo>
                      <a:pt x="1374" y="2780"/>
                    </a:lnTo>
                    <a:lnTo>
                      <a:pt x="1374" y="2780"/>
                    </a:lnTo>
                    <a:lnTo>
                      <a:pt x="1370" y="2774"/>
                    </a:lnTo>
                    <a:lnTo>
                      <a:pt x="1366" y="2774"/>
                    </a:lnTo>
                    <a:lnTo>
                      <a:pt x="1364" y="2772"/>
                    </a:lnTo>
                    <a:lnTo>
                      <a:pt x="1360" y="2768"/>
                    </a:lnTo>
                    <a:lnTo>
                      <a:pt x="1360" y="2768"/>
                    </a:lnTo>
                    <a:lnTo>
                      <a:pt x="1358" y="2764"/>
                    </a:lnTo>
                    <a:lnTo>
                      <a:pt x="1352" y="2762"/>
                    </a:lnTo>
                    <a:lnTo>
                      <a:pt x="1340" y="2758"/>
                    </a:lnTo>
                    <a:lnTo>
                      <a:pt x="1332" y="2754"/>
                    </a:lnTo>
                    <a:lnTo>
                      <a:pt x="1332" y="2752"/>
                    </a:lnTo>
                    <a:lnTo>
                      <a:pt x="1338" y="2752"/>
                    </a:lnTo>
                    <a:lnTo>
                      <a:pt x="1338" y="2752"/>
                    </a:lnTo>
                    <a:lnTo>
                      <a:pt x="1346" y="2750"/>
                    </a:lnTo>
                    <a:lnTo>
                      <a:pt x="1348" y="2746"/>
                    </a:lnTo>
                    <a:lnTo>
                      <a:pt x="1348" y="2744"/>
                    </a:lnTo>
                    <a:lnTo>
                      <a:pt x="1346" y="2740"/>
                    </a:lnTo>
                    <a:lnTo>
                      <a:pt x="1344" y="2732"/>
                    </a:lnTo>
                    <a:lnTo>
                      <a:pt x="1344" y="2730"/>
                    </a:lnTo>
                    <a:lnTo>
                      <a:pt x="1348" y="2730"/>
                    </a:lnTo>
                    <a:lnTo>
                      <a:pt x="1348" y="2730"/>
                    </a:lnTo>
                    <a:lnTo>
                      <a:pt x="1352" y="2730"/>
                    </a:lnTo>
                    <a:lnTo>
                      <a:pt x="1354" y="2732"/>
                    </a:lnTo>
                    <a:lnTo>
                      <a:pt x="1354" y="2738"/>
                    </a:lnTo>
                    <a:lnTo>
                      <a:pt x="1354" y="2742"/>
                    </a:lnTo>
                    <a:lnTo>
                      <a:pt x="1356" y="2742"/>
                    </a:lnTo>
                    <a:lnTo>
                      <a:pt x="1358" y="2742"/>
                    </a:lnTo>
                    <a:lnTo>
                      <a:pt x="1358" y="2742"/>
                    </a:lnTo>
                    <a:lnTo>
                      <a:pt x="1360" y="2738"/>
                    </a:lnTo>
                    <a:lnTo>
                      <a:pt x="1360" y="2736"/>
                    </a:lnTo>
                    <a:lnTo>
                      <a:pt x="1360" y="2728"/>
                    </a:lnTo>
                    <a:lnTo>
                      <a:pt x="1354" y="2720"/>
                    </a:lnTo>
                    <a:lnTo>
                      <a:pt x="1348" y="2710"/>
                    </a:lnTo>
                    <a:lnTo>
                      <a:pt x="1340" y="2702"/>
                    </a:lnTo>
                    <a:lnTo>
                      <a:pt x="1334" y="2692"/>
                    </a:lnTo>
                    <a:lnTo>
                      <a:pt x="1330" y="2682"/>
                    </a:lnTo>
                    <a:lnTo>
                      <a:pt x="1330" y="2678"/>
                    </a:lnTo>
                    <a:lnTo>
                      <a:pt x="1332" y="2674"/>
                    </a:lnTo>
                    <a:lnTo>
                      <a:pt x="1332" y="2674"/>
                    </a:lnTo>
                    <a:lnTo>
                      <a:pt x="1336" y="2666"/>
                    </a:lnTo>
                    <a:lnTo>
                      <a:pt x="1340" y="2660"/>
                    </a:lnTo>
                    <a:lnTo>
                      <a:pt x="1344" y="2660"/>
                    </a:lnTo>
                    <a:lnTo>
                      <a:pt x="1346" y="2660"/>
                    </a:lnTo>
                    <a:lnTo>
                      <a:pt x="1346" y="2662"/>
                    </a:lnTo>
                    <a:lnTo>
                      <a:pt x="1346" y="2668"/>
                    </a:lnTo>
                    <a:lnTo>
                      <a:pt x="1346" y="2668"/>
                    </a:lnTo>
                    <a:lnTo>
                      <a:pt x="1346" y="2670"/>
                    </a:lnTo>
                    <a:lnTo>
                      <a:pt x="1346" y="2672"/>
                    </a:lnTo>
                    <a:lnTo>
                      <a:pt x="1352" y="2674"/>
                    </a:lnTo>
                    <a:lnTo>
                      <a:pt x="1358" y="2676"/>
                    </a:lnTo>
                    <a:lnTo>
                      <a:pt x="1360" y="2680"/>
                    </a:lnTo>
                    <a:lnTo>
                      <a:pt x="1362" y="2686"/>
                    </a:lnTo>
                    <a:lnTo>
                      <a:pt x="1362" y="2686"/>
                    </a:lnTo>
                    <a:lnTo>
                      <a:pt x="1362" y="2690"/>
                    </a:lnTo>
                    <a:lnTo>
                      <a:pt x="1366" y="2694"/>
                    </a:lnTo>
                    <a:lnTo>
                      <a:pt x="1372" y="2696"/>
                    </a:lnTo>
                    <a:lnTo>
                      <a:pt x="1374" y="2696"/>
                    </a:lnTo>
                    <a:lnTo>
                      <a:pt x="1376" y="2696"/>
                    </a:lnTo>
                    <a:lnTo>
                      <a:pt x="1376" y="2694"/>
                    </a:lnTo>
                    <a:lnTo>
                      <a:pt x="1374" y="2690"/>
                    </a:lnTo>
                    <a:lnTo>
                      <a:pt x="1374" y="2690"/>
                    </a:lnTo>
                    <a:lnTo>
                      <a:pt x="1368" y="2684"/>
                    </a:lnTo>
                    <a:lnTo>
                      <a:pt x="1368" y="2678"/>
                    </a:lnTo>
                    <a:lnTo>
                      <a:pt x="1368" y="2678"/>
                    </a:lnTo>
                    <a:lnTo>
                      <a:pt x="1370" y="2678"/>
                    </a:lnTo>
                    <a:lnTo>
                      <a:pt x="1378" y="2684"/>
                    </a:lnTo>
                    <a:lnTo>
                      <a:pt x="1378" y="2684"/>
                    </a:lnTo>
                    <a:lnTo>
                      <a:pt x="1386" y="2692"/>
                    </a:lnTo>
                    <a:lnTo>
                      <a:pt x="1390" y="2694"/>
                    </a:lnTo>
                    <a:lnTo>
                      <a:pt x="1392" y="2694"/>
                    </a:lnTo>
                    <a:lnTo>
                      <a:pt x="1390" y="2692"/>
                    </a:lnTo>
                    <a:lnTo>
                      <a:pt x="1386" y="2684"/>
                    </a:lnTo>
                    <a:lnTo>
                      <a:pt x="1386" y="2684"/>
                    </a:lnTo>
                    <a:lnTo>
                      <a:pt x="1380" y="2676"/>
                    </a:lnTo>
                    <a:lnTo>
                      <a:pt x="1380" y="2674"/>
                    </a:lnTo>
                    <a:lnTo>
                      <a:pt x="1382" y="2674"/>
                    </a:lnTo>
                    <a:lnTo>
                      <a:pt x="1394" y="2680"/>
                    </a:lnTo>
                    <a:lnTo>
                      <a:pt x="1394" y="2680"/>
                    </a:lnTo>
                    <a:lnTo>
                      <a:pt x="1402" y="2684"/>
                    </a:lnTo>
                    <a:lnTo>
                      <a:pt x="1406" y="2684"/>
                    </a:lnTo>
                    <a:lnTo>
                      <a:pt x="1404" y="2682"/>
                    </a:lnTo>
                    <a:lnTo>
                      <a:pt x="1400" y="2676"/>
                    </a:lnTo>
                    <a:lnTo>
                      <a:pt x="1400" y="2676"/>
                    </a:lnTo>
                    <a:lnTo>
                      <a:pt x="1392" y="2670"/>
                    </a:lnTo>
                    <a:lnTo>
                      <a:pt x="1386" y="2668"/>
                    </a:lnTo>
                    <a:lnTo>
                      <a:pt x="1384" y="2668"/>
                    </a:lnTo>
                    <a:lnTo>
                      <a:pt x="1384" y="2664"/>
                    </a:lnTo>
                    <a:lnTo>
                      <a:pt x="1384" y="2664"/>
                    </a:lnTo>
                    <a:lnTo>
                      <a:pt x="1384" y="2662"/>
                    </a:lnTo>
                    <a:lnTo>
                      <a:pt x="1384" y="2660"/>
                    </a:lnTo>
                    <a:lnTo>
                      <a:pt x="1380" y="2656"/>
                    </a:lnTo>
                    <a:lnTo>
                      <a:pt x="1380" y="2656"/>
                    </a:lnTo>
                    <a:lnTo>
                      <a:pt x="1380" y="2654"/>
                    </a:lnTo>
                    <a:lnTo>
                      <a:pt x="1388" y="2652"/>
                    </a:lnTo>
                    <a:lnTo>
                      <a:pt x="1388" y="2652"/>
                    </a:lnTo>
                    <a:lnTo>
                      <a:pt x="1392" y="2652"/>
                    </a:lnTo>
                    <a:lnTo>
                      <a:pt x="1398" y="2650"/>
                    </a:lnTo>
                    <a:lnTo>
                      <a:pt x="1404" y="2644"/>
                    </a:lnTo>
                    <a:lnTo>
                      <a:pt x="1408" y="2642"/>
                    </a:lnTo>
                    <a:lnTo>
                      <a:pt x="1412" y="2640"/>
                    </a:lnTo>
                    <a:lnTo>
                      <a:pt x="1418" y="2642"/>
                    </a:lnTo>
                    <a:lnTo>
                      <a:pt x="1418" y="2642"/>
                    </a:lnTo>
                    <a:lnTo>
                      <a:pt x="1422" y="2644"/>
                    </a:lnTo>
                    <a:lnTo>
                      <a:pt x="1426" y="2644"/>
                    </a:lnTo>
                    <a:lnTo>
                      <a:pt x="1430" y="2640"/>
                    </a:lnTo>
                    <a:lnTo>
                      <a:pt x="1436" y="2638"/>
                    </a:lnTo>
                    <a:lnTo>
                      <a:pt x="1438" y="2638"/>
                    </a:lnTo>
                    <a:lnTo>
                      <a:pt x="1444" y="2640"/>
                    </a:lnTo>
                    <a:lnTo>
                      <a:pt x="1444" y="2640"/>
                    </a:lnTo>
                    <a:lnTo>
                      <a:pt x="1450" y="2644"/>
                    </a:lnTo>
                    <a:lnTo>
                      <a:pt x="1454" y="2644"/>
                    </a:lnTo>
                    <a:lnTo>
                      <a:pt x="1464" y="2644"/>
                    </a:lnTo>
                    <a:lnTo>
                      <a:pt x="1470" y="2644"/>
                    </a:lnTo>
                    <a:lnTo>
                      <a:pt x="1472" y="2646"/>
                    </a:lnTo>
                    <a:lnTo>
                      <a:pt x="1472" y="2650"/>
                    </a:lnTo>
                    <a:lnTo>
                      <a:pt x="1472" y="2650"/>
                    </a:lnTo>
                    <a:lnTo>
                      <a:pt x="1474" y="2656"/>
                    </a:lnTo>
                    <a:lnTo>
                      <a:pt x="1480" y="2660"/>
                    </a:lnTo>
                    <a:lnTo>
                      <a:pt x="1486" y="2660"/>
                    </a:lnTo>
                    <a:lnTo>
                      <a:pt x="1492" y="2658"/>
                    </a:lnTo>
                    <a:lnTo>
                      <a:pt x="1504" y="2656"/>
                    </a:lnTo>
                    <a:lnTo>
                      <a:pt x="1504" y="2658"/>
                    </a:lnTo>
                    <a:lnTo>
                      <a:pt x="1502" y="2660"/>
                    </a:lnTo>
                    <a:lnTo>
                      <a:pt x="1502" y="2660"/>
                    </a:lnTo>
                    <a:lnTo>
                      <a:pt x="1484" y="2668"/>
                    </a:lnTo>
                    <a:lnTo>
                      <a:pt x="1480" y="2672"/>
                    </a:lnTo>
                    <a:lnTo>
                      <a:pt x="1478" y="2680"/>
                    </a:lnTo>
                    <a:lnTo>
                      <a:pt x="1478" y="2680"/>
                    </a:lnTo>
                    <a:lnTo>
                      <a:pt x="1480" y="2684"/>
                    </a:lnTo>
                    <a:lnTo>
                      <a:pt x="1482" y="2682"/>
                    </a:lnTo>
                    <a:lnTo>
                      <a:pt x="1494" y="2670"/>
                    </a:lnTo>
                    <a:lnTo>
                      <a:pt x="1494" y="2670"/>
                    </a:lnTo>
                    <a:lnTo>
                      <a:pt x="1506" y="2662"/>
                    </a:lnTo>
                    <a:lnTo>
                      <a:pt x="1514" y="2658"/>
                    </a:lnTo>
                    <a:lnTo>
                      <a:pt x="1522" y="2654"/>
                    </a:lnTo>
                    <a:lnTo>
                      <a:pt x="1528" y="2646"/>
                    </a:lnTo>
                    <a:lnTo>
                      <a:pt x="1528" y="2646"/>
                    </a:lnTo>
                    <a:lnTo>
                      <a:pt x="1532" y="2638"/>
                    </a:lnTo>
                    <a:lnTo>
                      <a:pt x="1536" y="2636"/>
                    </a:lnTo>
                    <a:lnTo>
                      <a:pt x="1538" y="2634"/>
                    </a:lnTo>
                    <a:lnTo>
                      <a:pt x="1540" y="2636"/>
                    </a:lnTo>
                    <a:lnTo>
                      <a:pt x="1544" y="2640"/>
                    </a:lnTo>
                    <a:lnTo>
                      <a:pt x="1548" y="2640"/>
                    </a:lnTo>
                    <a:lnTo>
                      <a:pt x="1552" y="2638"/>
                    </a:lnTo>
                    <a:lnTo>
                      <a:pt x="1552" y="2638"/>
                    </a:lnTo>
                    <a:lnTo>
                      <a:pt x="1556" y="2634"/>
                    </a:lnTo>
                    <a:lnTo>
                      <a:pt x="1562" y="2634"/>
                    </a:lnTo>
                    <a:lnTo>
                      <a:pt x="1572" y="2638"/>
                    </a:lnTo>
                    <a:lnTo>
                      <a:pt x="1580" y="2638"/>
                    </a:lnTo>
                    <a:lnTo>
                      <a:pt x="1586" y="2638"/>
                    </a:lnTo>
                    <a:lnTo>
                      <a:pt x="1590" y="2634"/>
                    </a:lnTo>
                    <a:lnTo>
                      <a:pt x="1590" y="2634"/>
                    </a:lnTo>
                    <a:lnTo>
                      <a:pt x="1594" y="2626"/>
                    </a:lnTo>
                    <a:lnTo>
                      <a:pt x="1594" y="2624"/>
                    </a:lnTo>
                    <a:lnTo>
                      <a:pt x="1592" y="2624"/>
                    </a:lnTo>
                    <a:lnTo>
                      <a:pt x="1584" y="2622"/>
                    </a:lnTo>
                    <a:lnTo>
                      <a:pt x="1572" y="2616"/>
                    </a:lnTo>
                    <a:lnTo>
                      <a:pt x="1572" y="2616"/>
                    </a:lnTo>
                    <a:lnTo>
                      <a:pt x="1560" y="2608"/>
                    </a:lnTo>
                    <a:lnTo>
                      <a:pt x="1554" y="2600"/>
                    </a:lnTo>
                    <a:lnTo>
                      <a:pt x="1552" y="2592"/>
                    </a:lnTo>
                    <a:lnTo>
                      <a:pt x="1552" y="2582"/>
                    </a:lnTo>
                    <a:lnTo>
                      <a:pt x="1552" y="2582"/>
                    </a:lnTo>
                    <a:lnTo>
                      <a:pt x="1552" y="2578"/>
                    </a:lnTo>
                    <a:lnTo>
                      <a:pt x="1550" y="2576"/>
                    </a:lnTo>
                    <a:lnTo>
                      <a:pt x="1546" y="2572"/>
                    </a:lnTo>
                    <a:lnTo>
                      <a:pt x="1542" y="2570"/>
                    </a:lnTo>
                    <a:lnTo>
                      <a:pt x="1540" y="2568"/>
                    </a:lnTo>
                    <a:lnTo>
                      <a:pt x="1540" y="2564"/>
                    </a:lnTo>
                    <a:lnTo>
                      <a:pt x="1540" y="2564"/>
                    </a:lnTo>
                    <a:lnTo>
                      <a:pt x="1540" y="2560"/>
                    </a:lnTo>
                    <a:lnTo>
                      <a:pt x="1538" y="2558"/>
                    </a:lnTo>
                    <a:lnTo>
                      <a:pt x="1530" y="2556"/>
                    </a:lnTo>
                    <a:lnTo>
                      <a:pt x="1528" y="2556"/>
                    </a:lnTo>
                    <a:lnTo>
                      <a:pt x="1528" y="2554"/>
                    </a:lnTo>
                    <a:lnTo>
                      <a:pt x="1536" y="2546"/>
                    </a:lnTo>
                    <a:lnTo>
                      <a:pt x="1536" y="2546"/>
                    </a:lnTo>
                    <a:lnTo>
                      <a:pt x="1542" y="2542"/>
                    </a:lnTo>
                    <a:lnTo>
                      <a:pt x="1546" y="2538"/>
                    </a:lnTo>
                    <a:lnTo>
                      <a:pt x="1546" y="2534"/>
                    </a:lnTo>
                    <a:lnTo>
                      <a:pt x="1546" y="2530"/>
                    </a:lnTo>
                    <a:lnTo>
                      <a:pt x="1546" y="2522"/>
                    </a:lnTo>
                    <a:lnTo>
                      <a:pt x="1546" y="2516"/>
                    </a:lnTo>
                    <a:lnTo>
                      <a:pt x="1550" y="2510"/>
                    </a:lnTo>
                    <a:lnTo>
                      <a:pt x="1550" y="2510"/>
                    </a:lnTo>
                    <a:lnTo>
                      <a:pt x="1554" y="2504"/>
                    </a:lnTo>
                    <a:lnTo>
                      <a:pt x="1560" y="2502"/>
                    </a:lnTo>
                    <a:lnTo>
                      <a:pt x="1566" y="2504"/>
                    </a:lnTo>
                    <a:lnTo>
                      <a:pt x="1570" y="2504"/>
                    </a:lnTo>
                    <a:lnTo>
                      <a:pt x="1572" y="2502"/>
                    </a:lnTo>
                    <a:lnTo>
                      <a:pt x="1574" y="2496"/>
                    </a:lnTo>
                    <a:lnTo>
                      <a:pt x="1574" y="2484"/>
                    </a:lnTo>
                    <a:lnTo>
                      <a:pt x="1574" y="2484"/>
                    </a:lnTo>
                    <a:lnTo>
                      <a:pt x="1578" y="2458"/>
                    </a:lnTo>
                    <a:lnTo>
                      <a:pt x="1580" y="2448"/>
                    </a:lnTo>
                    <a:lnTo>
                      <a:pt x="1584" y="2440"/>
                    </a:lnTo>
                    <a:lnTo>
                      <a:pt x="1588" y="2434"/>
                    </a:lnTo>
                    <a:lnTo>
                      <a:pt x="1594" y="2428"/>
                    </a:lnTo>
                    <a:lnTo>
                      <a:pt x="1600" y="2426"/>
                    </a:lnTo>
                    <a:lnTo>
                      <a:pt x="1608" y="2422"/>
                    </a:lnTo>
                    <a:lnTo>
                      <a:pt x="1608" y="2422"/>
                    </a:lnTo>
                    <a:lnTo>
                      <a:pt x="1614" y="2418"/>
                    </a:lnTo>
                    <a:lnTo>
                      <a:pt x="1618" y="2414"/>
                    </a:lnTo>
                    <a:lnTo>
                      <a:pt x="1620" y="2406"/>
                    </a:lnTo>
                    <a:lnTo>
                      <a:pt x="1620" y="2398"/>
                    </a:lnTo>
                    <a:lnTo>
                      <a:pt x="1620" y="2398"/>
                    </a:lnTo>
                    <a:lnTo>
                      <a:pt x="1620" y="2390"/>
                    </a:lnTo>
                    <a:lnTo>
                      <a:pt x="1620" y="2386"/>
                    </a:lnTo>
                    <a:lnTo>
                      <a:pt x="1618" y="2384"/>
                    </a:lnTo>
                    <a:lnTo>
                      <a:pt x="1616" y="2378"/>
                    </a:lnTo>
                    <a:lnTo>
                      <a:pt x="1616" y="2378"/>
                    </a:lnTo>
                    <a:lnTo>
                      <a:pt x="1616" y="2372"/>
                    </a:lnTo>
                    <a:lnTo>
                      <a:pt x="1620" y="2372"/>
                    </a:lnTo>
                    <a:lnTo>
                      <a:pt x="1626" y="2372"/>
                    </a:lnTo>
                    <a:lnTo>
                      <a:pt x="1630" y="2370"/>
                    </a:lnTo>
                    <a:lnTo>
                      <a:pt x="1636" y="2366"/>
                    </a:lnTo>
                    <a:lnTo>
                      <a:pt x="1636" y="2366"/>
                    </a:lnTo>
                    <a:lnTo>
                      <a:pt x="1646" y="2358"/>
                    </a:lnTo>
                    <a:lnTo>
                      <a:pt x="1654" y="2348"/>
                    </a:lnTo>
                    <a:lnTo>
                      <a:pt x="1660" y="2340"/>
                    </a:lnTo>
                    <a:lnTo>
                      <a:pt x="1662" y="2330"/>
                    </a:lnTo>
                    <a:lnTo>
                      <a:pt x="1662" y="2330"/>
                    </a:lnTo>
                    <a:lnTo>
                      <a:pt x="1662" y="2326"/>
                    </a:lnTo>
                    <a:lnTo>
                      <a:pt x="1664" y="2324"/>
                    </a:lnTo>
                    <a:lnTo>
                      <a:pt x="1668" y="2322"/>
                    </a:lnTo>
                    <a:lnTo>
                      <a:pt x="1672" y="2320"/>
                    </a:lnTo>
                    <a:lnTo>
                      <a:pt x="1682" y="2320"/>
                    </a:lnTo>
                    <a:lnTo>
                      <a:pt x="1690" y="2318"/>
                    </a:lnTo>
                    <a:lnTo>
                      <a:pt x="1690" y="2318"/>
                    </a:lnTo>
                    <a:lnTo>
                      <a:pt x="1698" y="2318"/>
                    </a:lnTo>
                    <a:lnTo>
                      <a:pt x="1702" y="2318"/>
                    </a:lnTo>
                    <a:lnTo>
                      <a:pt x="1704" y="2318"/>
                    </a:lnTo>
                    <a:lnTo>
                      <a:pt x="1706" y="2312"/>
                    </a:lnTo>
                    <a:lnTo>
                      <a:pt x="1706" y="2312"/>
                    </a:lnTo>
                    <a:lnTo>
                      <a:pt x="1708" y="2296"/>
                    </a:lnTo>
                    <a:lnTo>
                      <a:pt x="1708" y="2294"/>
                    </a:lnTo>
                    <a:lnTo>
                      <a:pt x="1710" y="2298"/>
                    </a:lnTo>
                    <a:lnTo>
                      <a:pt x="1710" y="2298"/>
                    </a:lnTo>
                    <a:lnTo>
                      <a:pt x="1712" y="2308"/>
                    </a:lnTo>
                    <a:lnTo>
                      <a:pt x="1712" y="2316"/>
                    </a:lnTo>
                    <a:lnTo>
                      <a:pt x="1714" y="2320"/>
                    </a:lnTo>
                    <a:lnTo>
                      <a:pt x="1718" y="2322"/>
                    </a:lnTo>
                    <a:lnTo>
                      <a:pt x="1724" y="2322"/>
                    </a:lnTo>
                    <a:lnTo>
                      <a:pt x="1732" y="2322"/>
                    </a:lnTo>
                    <a:lnTo>
                      <a:pt x="1732" y="2322"/>
                    </a:lnTo>
                    <a:lnTo>
                      <a:pt x="1726" y="2324"/>
                    </a:lnTo>
                    <a:lnTo>
                      <a:pt x="1720" y="2326"/>
                    </a:lnTo>
                    <a:lnTo>
                      <a:pt x="1708" y="2324"/>
                    </a:lnTo>
                    <a:lnTo>
                      <a:pt x="1700" y="2322"/>
                    </a:lnTo>
                    <a:lnTo>
                      <a:pt x="1696" y="2322"/>
                    </a:lnTo>
                    <a:lnTo>
                      <a:pt x="1696" y="2324"/>
                    </a:lnTo>
                    <a:lnTo>
                      <a:pt x="1696" y="2324"/>
                    </a:lnTo>
                    <a:lnTo>
                      <a:pt x="1696" y="2326"/>
                    </a:lnTo>
                    <a:lnTo>
                      <a:pt x="1700" y="2330"/>
                    </a:lnTo>
                    <a:lnTo>
                      <a:pt x="1708" y="2336"/>
                    </a:lnTo>
                    <a:lnTo>
                      <a:pt x="1718" y="2342"/>
                    </a:lnTo>
                    <a:lnTo>
                      <a:pt x="1722" y="2346"/>
                    </a:lnTo>
                    <a:lnTo>
                      <a:pt x="1722" y="2348"/>
                    </a:lnTo>
                    <a:lnTo>
                      <a:pt x="1722" y="2348"/>
                    </a:lnTo>
                    <a:lnTo>
                      <a:pt x="1724" y="2350"/>
                    </a:lnTo>
                    <a:lnTo>
                      <a:pt x="1728" y="2350"/>
                    </a:lnTo>
                    <a:lnTo>
                      <a:pt x="1740" y="2350"/>
                    </a:lnTo>
                    <a:lnTo>
                      <a:pt x="1754" y="2348"/>
                    </a:lnTo>
                    <a:lnTo>
                      <a:pt x="1760" y="2348"/>
                    </a:lnTo>
                    <a:lnTo>
                      <a:pt x="1764" y="2350"/>
                    </a:lnTo>
                    <a:lnTo>
                      <a:pt x="1764" y="2350"/>
                    </a:lnTo>
                    <a:lnTo>
                      <a:pt x="1766" y="2352"/>
                    </a:lnTo>
                    <a:lnTo>
                      <a:pt x="1768" y="2352"/>
                    </a:lnTo>
                    <a:lnTo>
                      <a:pt x="1772" y="2350"/>
                    </a:lnTo>
                    <a:lnTo>
                      <a:pt x="1776" y="2350"/>
                    </a:lnTo>
                    <a:lnTo>
                      <a:pt x="1780" y="2356"/>
                    </a:lnTo>
                    <a:lnTo>
                      <a:pt x="1780" y="2356"/>
                    </a:lnTo>
                    <a:lnTo>
                      <a:pt x="1780" y="2358"/>
                    </a:lnTo>
                    <a:lnTo>
                      <a:pt x="1778" y="2360"/>
                    </a:lnTo>
                    <a:lnTo>
                      <a:pt x="1774" y="2364"/>
                    </a:lnTo>
                    <a:lnTo>
                      <a:pt x="1756" y="2374"/>
                    </a:lnTo>
                    <a:lnTo>
                      <a:pt x="1738" y="2382"/>
                    </a:lnTo>
                    <a:lnTo>
                      <a:pt x="1732" y="2386"/>
                    </a:lnTo>
                    <a:lnTo>
                      <a:pt x="1732" y="2388"/>
                    </a:lnTo>
                    <a:lnTo>
                      <a:pt x="1732" y="2390"/>
                    </a:lnTo>
                    <a:lnTo>
                      <a:pt x="1732" y="2390"/>
                    </a:lnTo>
                    <a:lnTo>
                      <a:pt x="1736" y="2392"/>
                    </a:lnTo>
                    <a:lnTo>
                      <a:pt x="1742" y="2394"/>
                    </a:lnTo>
                    <a:lnTo>
                      <a:pt x="1756" y="2398"/>
                    </a:lnTo>
                    <a:lnTo>
                      <a:pt x="1762" y="2400"/>
                    </a:lnTo>
                    <a:lnTo>
                      <a:pt x="1768" y="2404"/>
                    </a:lnTo>
                    <a:lnTo>
                      <a:pt x="1772" y="2410"/>
                    </a:lnTo>
                    <a:lnTo>
                      <a:pt x="1774" y="2416"/>
                    </a:lnTo>
                    <a:lnTo>
                      <a:pt x="1774" y="2416"/>
                    </a:lnTo>
                    <a:lnTo>
                      <a:pt x="1774" y="2424"/>
                    </a:lnTo>
                    <a:lnTo>
                      <a:pt x="1772" y="2428"/>
                    </a:lnTo>
                    <a:lnTo>
                      <a:pt x="1768" y="2432"/>
                    </a:lnTo>
                    <a:lnTo>
                      <a:pt x="1766" y="2434"/>
                    </a:lnTo>
                    <a:lnTo>
                      <a:pt x="1768" y="2434"/>
                    </a:lnTo>
                    <a:lnTo>
                      <a:pt x="1774" y="2442"/>
                    </a:lnTo>
                    <a:lnTo>
                      <a:pt x="1774" y="2442"/>
                    </a:lnTo>
                    <a:lnTo>
                      <a:pt x="1780" y="2446"/>
                    </a:lnTo>
                    <a:lnTo>
                      <a:pt x="1788" y="2448"/>
                    </a:lnTo>
                    <a:lnTo>
                      <a:pt x="1794" y="2446"/>
                    </a:lnTo>
                    <a:lnTo>
                      <a:pt x="1800" y="2442"/>
                    </a:lnTo>
                    <a:lnTo>
                      <a:pt x="1810" y="2432"/>
                    </a:lnTo>
                    <a:lnTo>
                      <a:pt x="1822" y="2422"/>
                    </a:lnTo>
                    <a:lnTo>
                      <a:pt x="1822" y="2422"/>
                    </a:lnTo>
                    <a:lnTo>
                      <a:pt x="1826" y="2420"/>
                    </a:lnTo>
                    <a:lnTo>
                      <a:pt x="1830" y="2420"/>
                    </a:lnTo>
                    <a:lnTo>
                      <a:pt x="1832" y="2422"/>
                    </a:lnTo>
                    <a:lnTo>
                      <a:pt x="1836" y="2422"/>
                    </a:lnTo>
                    <a:lnTo>
                      <a:pt x="1844" y="2416"/>
                    </a:lnTo>
                    <a:lnTo>
                      <a:pt x="1844" y="2416"/>
                    </a:lnTo>
                    <a:lnTo>
                      <a:pt x="1850" y="2410"/>
                    </a:lnTo>
                    <a:lnTo>
                      <a:pt x="1856" y="2408"/>
                    </a:lnTo>
                    <a:lnTo>
                      <a:pt x="1860" y="2408"/>
                    </a:lnTo>
                    <a:lnTo>
                      <a:pt x="1862" y="2408"/>
                    </a:lnTo>
                    <a:lnTo>
                      <a:pt x="1870" y="2412"/>
                    </a:lnTo>
                    <a:lnTo>
                      <a:pt x="1876" y="2414"/>
                    </a:lnTo>
                    <a:lnTo>
                      <a:pt x="1882" y="2412"/>
                    </a:lnTo>
                    <a:lnTo>
                      <a:pt x="1882" y="2412"/>
                    </a:lnTo>
                    <a:lnTo>
                      <a:pt x="1892" y="2408"/>
                    </a:lnTo>
                    <a:lnTo>
                      <a:pt x="1894" y="2406"/>
                    </a:lnTo>
                    <a:lnTo>
                      <a:pt x="1892" y="2404"/>
                    </a:lnTo>
                    <a:lnTo>
                      <a:pt x="1892" y="2400"/>
                    </a:lnTo>
                    <a:lnTo>
                      <a:pt x="1892" y="2398"/>
                    </a:lnTo>
                    <a:lnTo>
                      <a:pt x="1894" y="2394"/>
                    </a:lnTo>
                    <a:lnTo>
                      <a:pt x="1894" y="2394"/>
                    </a:lnTo>
                    <a:lnTo>
                      <a:pt x="1896" y="2390"/>
                    </a:lnTo>
                    <a:lnTo>
                      <a:pt x="1894" y="2386"/>
                    </a:lnTo>
                    <a:lnTo>
                      <a:pt x="1886" y="2384"/>
                    </a:lnTo>
                    <a:lnTo>
                      <a:pt x="1874" y="2386"/>
                    </a:lnTo>
                    <a:lnTo>
                      <a:pt x="1874" y="2386"/>
                    </a:lnTo>
                    <a:lnTo>
                      <a:pt x="1868" y="2388"/>
                    </a:lnTo>
                    <a:lnTo>
                      <a:pt x="1862" y="2392"/>
                    </a:lnTo>
                    <a:lnTo>
                      <a:pt x="1854" y="2396"/>
                    </a:lnTo>
                    <a:lnTo>
                      <a:pt x="1852" y="2396"/>
                    </a:lnTo>
                    <a:lnTo>
                      <a:pt x="1848" y="2392"/>
                    </a:lnTo>
                    <a:lnTo>
                      <a:pt x="1842" y="2386"/>
                    </a:lnTo>
                    <a:lnTo>
                      <a:pt x="1836" y="2376"/>
                    </a:lnTo>
                    <a:lnTo>
                      <a:pt x="1836" y="2376"/>
                    </a:lnTo>
                    <a:lnTo>
                      <a:pt x="1826" y="2358"/>
                    </a:lnTo>
                    <a:lnTo>
                      <a:pt x="1824" y="2348"/>
                    </a:lnTo>
                    <a:lnTo>
                      <a:pt x="1824" y="2346"/>
                    </a:lnTo>
                    <a:lnTo>
                      <a:pt x="1824" y="2344"/>
                    </a:lnTo>
                    <a:lnTo>
                      <a:pt x="1830" y="2342"/>
                    </a:lnTo>
                    <a:lnTo>
                      <a:pt x="1830" y="2342"/>
                    </a:lnTo>
                    <a:lnTo>
                      <a:pt x="1836" y="2340"/>
                    </a:lnTo>
                    <a:lnTo>
                      <a:pt x="1838" y="2340"/>
                    </a:lnTo>
                    <a:lnTo>
                      <a:pt x="1838" y="2342"/>
                    </a:lnTo>
                    <a:lnTo>
                      <a:pt x="1838" y="2344"/>
                    </a:lnTo>
                    <a:lnTo>
                      <a:pt x="1838" y="2348"/>
                    </a:lnTo>
                    <a:lnTo>
                      <a:pt x="1838" y="2348"/>
                    </a:lnTo>
                    <a:lnTo>
                      <a:pt x="1842" y="2346"/>
                    </a:lnTo>
                    <a:lnTo>
                      <a:pt x="1842" y="2346"/>
                    </a:lnTo>
                    <a:lnTo>
                      <a:pt x="1852" y="2336"/>
                    </a:lnTo>
                    <a:lnTo>
                      <a:pt x="1862" y="2326"/>
                    </a:lnTo>
                    <a:lnTo>
                      <a:pt x="1872" y="2318"/>
                    </a:lnTo>
                    <a:lnTo>
                      <a:pt x="1876" y="2316"/>
                    </a:lnTo>
                    <a:lnTo>
                      <a:pt x="1880" y="2316"/>
                    </a:lnTo>
                    <a:lnTo>
                      <a:pt x="1880" y="2316"/>
                    </a:lnTo>
                    <a:lnTo>
                      <a:pt x="1886" y="2318"/>
                    </a:lnTo>
                    <a:lnTo>
                      <a:pt x="1896" y="2316"/>
                    </a:lnTo>
                    <a:lnTo>
                      <a:pt x="1906" y="2312"/>
                    </a:lnTo>
                    <a:lnTo>
                      <a:pt x="1916" y="2308"/>
                    </a:lnTo>
                    <a:lnTo>
                      <a:pt x="1934" y="2296"/>
                    </a:lnTo>
                    <a:lnTo>
                      <a:pt x="1944" y="2292"/>
                    </a:lnTo>
                    <a:lnTo>
                      <a:pt x="1944" y="2292"/>
                    </a:lnTo>
                    <a:lnTo>
                      <a:pt x="1952" y="2292"/>
                    </a:lnTo>
                    <a:lnTo>
                      <a:pt x="1956" y="2294"/>
                    </a:lnTo>
                    <a:lnTo>
                      <a:pt x="1960" y="2296"/>
                    </a:lnTo>
                    <a:lnTo>
                      <a:pt x="1964" y="2294"/>
                    </a:lnTo>
                    <a:lnTo>
                      <a:pt x="1964" y="2294"/>
                    </a:lnTo>
                    <a:lnTo>
                      <a:pt x="1972" y="2288"/>
                    </a:lnTo>
                    <a:lnTo>
                      <a:pt x="1976" y="2288"/>
                    </a:lnTo>
                    <a:lnTo>
                      <a:pt x="1976" y="2288"/>
                    </a:lnTo>
                    <a:lnTo>
                      <a:pt x="1980" y="2290"/>
                    </a:lnTo>
                    <a:lnTo>
                      <a:pt x="1986" y="2288"/>
                    </a:lnTo>
                    <a:lnTo>
                      <a:pt x="1992" y="2286"/>
                    </a:lnTo>
                    <a:lnTo>
                      <a:pt x="1992" y="2286"/>
                    </a:lnTo>
                    <a:lnTo>
                      <a:pt x="1998" y="2284"/>
                    </a:lnTo>
                    <a:lnTo>
                      <a:pt x="2002" y="2284"/>
                    </a:lnTo>
                    <a:lnTo>
                      <a:pt x="2004" y="2286"/>
                    </a:lnTo>
                    <a:lnTo>
                      <a:pt x="2004" y="2288"/>
                    </a:lnTo>
                    <a:lnTo>
                      <a:pt x="2004" y="2290"/>
                    </a:lnTo>
                    <a:lnTo>
                      <a:pt x="2000" y="2294"/>
                    </a:lnTo>
                    <a:lnTo>
                      <a:pt x="1996" y="2298"/>
                    </a:lnTo>
                    <a:lnTo>
                      <a:pt x="1988" y="2300"/>
                    </a:lnTo>
                    <a:lnTo>
                      <a:pt x="1988" y="2300"/>
                    </a:lnTo>
                    <a:lnTo>
                      <a:pt x="1980" y="2302"/>
                    </a:lnTo>
                    <a:lnTo>
                      <a:pt x="1974" y="2306"/>
                    </a:lnTo>
                    <a:lnTo>
                      <a:pt x="1968" y="2312"/>
                    </a:lnTo>
                    <a:lnTo>
                      <a:pt x="1962" y="2316"/>
                    </a:lnTo>
                    <a:lnTo>
                      <a:pt x="1948" y="2318"/>
                    </a:lnTo>
                    <a:lnTo>
                      <a:pt x="1948" y="2318"/>
                    </a:lnTo>
                    <a:lnTo>
                      <a:pt x="1944" y="2318"/>
                    </a:lnTo>
                    <a:lnTo>
                      <a:pt x="1944" y="2320"/>
                    </a:lnTo>
                    <a:lnTo>
                      <a:pt x="1944" y="2324"/>
                    </a:lnTo>
                    <a:lnTo>
                      <a:pt x="1946" y="2326"/>
                    </a:lnTo>
                    <a:lnTo>
                      <a:pt x="1952" y="2332"/>
                    </a:lnTo>
                    <a:lnTo>
                      <a:pt x="1956" y="2334"/>
                    </a:lnTo>
                    <a:lnTo>
                      <a:pt x="1958" y="2334"/>
                    </a:lnTo>
                    <a:lnTo>
                      <a:pt x="1958" y="2334"/>
                    </a:lnTo>
                    <a:lnTo>
                      <a:pt x="1962" y="2334"/>
                    </a:lnTo>
                    <a:lnTo>
                      <a:pt x="1968" y="2338"/>
                    </a:lnTo>
                    <a:lnTo>
                      <a:pt x="1974" y="2344"/>
                    </a:lnTo>
                    <a:lnTo>
                      <a:pt x="1978" y="2352"/>
                    </a:lnTo>
                    <a:lnTo>
                      <a:pt x="1976" y="2354"/>
                    </a:lnTo>
                    <a:lnTo>
                      <a:pt x="1972" y="2352"/>
                    </a:lnTo>
                    <a:lnTo>
                      <a:pt x="1972" y="2352"/>
                    </a:lnTo>
                    <a:lnTo>
                      <a:pt x="1964" y="2350"/>
                    </a:lnTo>
                    <a:lnTo>
                      <a:pt x="1958" y="2350"/>
                    </a:lnTo>
                    <a:lnTo>
                      <a:pt x="1952" y="2354"/>
                    </a:lnTo>
                    <a:lnTo>
                      <a:pt x="1948" y="2362"/>
                    </a:lnTo>
                    <a:lnTo>
                      <a:pt x="1948" y="2362"/>
                    </a:lnTo>
                    <a:lnTo>
                      <a:pt x="1942" y="2376"/>
                    </a:lnTo>
                    <a:lnTo>
                      <a:pt x="1940" y="2382"/>
                    </a:lnTo>
                    <a:lnTo>
                      <a:pt x="1942" y="2388"/>
                    </a:lnTo>
                    <a:lnTo>
                      <a:pt x="1942" y="2388"/>
                    </a:lnTo>
                    <a:lnTo>
                      <a:pt x="1944" y="2396"/>
                    </a:lnTo>
                    <a:lnTo>
                      <a:pt x="1942" y="2396"/>
                    </a:lnTo>
                    <a:lnTo>
                      <a:pt x="1940" y="2396"/>
                    </a:lnTo>
                    <a:lnTo>
                      <a:pt x="1934" y="2394"/>
                    </a:lnTo>
                    <a:lnTo>
                      <a:pt x="1930" y="2392"/>
                    </a:lnTo>
                    <a:lnTo>
                      <a:pt x="1926" y="2394"/>
                    </a:lnTo>
                    <a:lnTo>
                      <a:pt x="1926" y="2394"/>
                    </a:lnTo>
                    <a:lnTo>
                      <a:pt x="1922" y="2394"/>
                    </a:lnTo>
                    <a:lnTo>
                      <a:pt x="1918" y="2392"/>
                    </a:lnTo>
                    <a:lnTo>
                      <a:pt x="1910" y="2390"/>
                    </a:lnTo>
                    <a:lnTo>
                      <a:pt x="1904" y="2388"/>
                    </a:lnTo>
                    <a:lnTo>
                      <a:pt x="1904" y="2390"/>
                    </a:lnTo>
                    <a:lnTo>
                      <a:pt x="1904" y="2392"/>
                    </a:lnTo>
                    <a:lnTo>
                      <a:pt x="1904" y="2392"/>
                    </a:lnTo>
                    <a:lnTo>
                      <a:pt x="1904" y="2396"/>
                    </a:lnTo>
                    <a:lnTo>
                      <a:pt x="1904" y="2398"/>
                    </a:lnTo>
                    <a:lnTo>
                      <a:pt x="1900" y="2402"/>
                    </a:lnTo>
                    <a:lnTo>
                      <a:pt x="1900" y="2404"/>
                    </a:lnTo>
                    <a:lnTo>
                      <a:pt x="1900" y="2404"/>
                    </a:lnTo>
                    <a:lnTo>
                      <a:pt x="1912" y="2410"/>
                    </a:lnTo>
                    <a:lnTo>
                      <a:pt x="1912" y="2410"/>
                    </a:lnTo>
                    <a:lnTo>
                      <a:pt x="1918" y="2414"/>
                    </a:lnTo>
                    <a:lnTo>
                      <a:pt x="1924" y="2418"/>
                    </a:lnTo>
                    <a:lnTo>
                      <a:pt x="1928" y="2424"/>
                    </a:lnTo>
                    <a:lnTo>
                      <a:pt x="1934" y="2430"/>
                    </a:lnTo>
                    <a:lnTo>
                      <a:pt x="1938" y="2432"/>
                    </a:lnTo>
                    <a:lnTo>
                      <a:pt x="1944" y="2434"/>
                    </a:lnTo>
                    <a:lnTo>
                      <a:pt x="1944" y="2434"/>
                    </a:lnTo>
                    <a:lnTo>
                      <a:pt x="1950" y="2434"/>
                    </a:lnTo>
                    <a:lnTo>
                      <a:pt x="1954" y="2436"/>
                    </a:lnTo>
                    <a:lnTo>
                      <a:pt x="1956" y="2440"/>
                    </a:lnTo>
                    <a:lnTo>
                      <a:pt x="1958" y="2442"/>
                    </a:lnTo>
                    <a:lnTo>
                      <a:pt x="1960" y="2446"/>
                    </a:lnTo>
                    <a:lnTo>
                      <a:pt x="1966" y="2448"/>
                    </a:lnTo>
                    <a:lnTo>
                      <a:pt x="1976" y="2452"/>
                    </a:lnTo>
                    <a:lnTo>
                      <a:pt x="1976" y="2452"/>
                    </a:lnTo>
                    <a:lnTo>
                      <a:pt x="1990" y="2456"/>
                    </a:lnTo>
                    <a:lnTo>
                      <a:pt x="1994" y="2458"/>
                    </a:lnTo>
                    <a:lnTo>
                      <a:pt x="1996" y="2462"/>
                    </a:lnTo>
                    <a:lnTo>
                      <a:pt x="2006" y="2474"/>
                    </a:lnTo>
                    <a:lnTo>
                      <a:pt x="2034" y="2504"/>
                    </a:lnTo>
                    <a:lnTo>
                      <a:pt x="2034" y="2504"/>
                    </a:lnTo>
                    <a:lnTo>
                      <a:pt x="2042" y="2510"/>
                    </a:lnTo>
                    <a:lnTo>
                      <a:pt x="2050" y="2516"/>
                    </a:lnTo>
                    <a:lnTo>
                      <a:pt x="2062" y="2520"/>
                    </a:lnTo>
                    <a:lnTo>
                      <a:pt x="2070" y="2522"/>
                    </a:lnTo>
                    <a:lnTo>
                      <a:pt x="2074" y="2526"/>
                    </a:lnTo>
                    <a:lnTo>
                      <a:pt x="2076" y="2530"/>
                    </a:lnTo>
                    <a:lnTo>
                      <a:pt x="2076" y="2530"/>
                    </a:lnTo>
                    <a:lnTo>
                      <a:pt x="2080" y="2534"/>
                    </a:lnTo>
                    <a:lnTo>
                      <a:pt x="2082" y="2538"/>
                    </a:lnTo>
                    <a:lnTo>
                      <a:pt x="2088" y="2538"/>
                    </a:lnTo>
                    <a:lnTo>
                      <a:pt x="2092" y="2540"/>
                    </a:lnTo>
                    <a:lnTo>
                      <a:pt x="2094" y="2544"/>
                    </a:lnTo>
                    <a:lnTo>
                      <a:pt x="2098" y="2552"/>
                    </a:lnTo>
                    <a:lnTo>
                      <a:pt x="2100" y="2562"/>
                    </a:lnTo>
                    <a:lnTo>
                      <a:pt x="2100" y="2562"/>
                    </a:lnTo>
                    <a:lnTo>
                      <a:pt x="2104" y="2584"/>
                    </a:lnTo>
                    <a:lnTo>
                      <a:pt x="2104" y="2598"/>
                    </a:lnTo>
                    <a:lnTo>
                      <a:pt x="2100" y="2606"/>
                    </a:lnTo>
                    <a:lnTo>
                      <a:pt x="2096" y="2610"/>
                    </a:lnTo>
                    <a:lnTo>
                      <a:pt x="2096" y="2610"/>
                    </a:lnTo>
                    <a:lnTo>
                      <a:pt x="2086" y="2618"/>
                    </a:lnTo>
                    <a:lnTo>
                      <a:pt x="2066" y="2630"/>
                    </a:lnTo>
                    <a:lnTo>
                      <a:pt x="2054" y="2636"/>
                    </a:lnTo>
                    <a:lnTo>
                      <a:pt x="2044" y="2640"/>
                    </a:lnTo>
                    <a:lnTo>
                      <a:pt x="2032" y="2638"/>
                    </a:lnTo>
                    <a:lnTo>
                      <a:pt x="2028" y="2638"/>
                    </a:lnTo>
                    <a:lnTo>
                      <a:pt x="2024" y="2634"/>
                    </a:lnTo>
                    <a:lnTo>
                      <a:pt x="2024" y="2634"/>
                    </a:lnTo>
                    <a:lnTo>
                      <a:pt x="2014" y="2630"/>
                    </a:lnTo>
                    <a:lnTo>
                      <a:pt x="2006" y="2630"/>
                    </a:lnTo>
                    <a:lnTo>
                      <a:pt x="1996" y="2632"/>
                    </a:lnTo>
                    <a:lnTo>
                      <a:pt x="1986" y="2636"/>
                    </a:lnTo>
                    <a:lnTo>
                      <a:pt x="1976" y="2640"/>
                    </a:lnTo>
                    <a:lnTo>
                      <a:pt x="1968" y="2642"/>
                    </a:lnTo>
                    <a:lnTo>
                      <a:pt x="1960" y="2642"/>
                    </a:lnTo>
                    <a:lnTo>
                      <a:pt x="1956" y="2640"/>
                    </a:lnTo>
                    <a:lnTo>
                      <a:pt x="1952" y="2636"/>
                    </a:lnTo>
                    <a:lnTo>
                      <a:pt x="1952" y="2636"/>
                    </a:lnTo>
                    <a:lnTo>
                      <a:pt x="1942" y="2630"/>
                    </a:lnTo>
                    <a:lnTo>
                      <a:pt x="1940" y="2630"/>
                    </a:lnTo>
                    <a:lnTo>
                      <a:pt x="1940" y="2630"/>
                    </a:lnTo>
                    <a:lnTo>
                      <a:pt x="1938" y="2632"/>
                    </a:lnTo>
                    <a:lnTo>
                      <a:pt x="1936" y="2634"/>
                    </a:lnTo>
                    <a:lnTo>
                      <a:pt x="1932" y="2634"/>
                    </a:lnTo>
                    <a:lnTo>
                      <a:pt x="1924" y="2630"/>
                    </a:lnTo>
                    <a:lnTo>
                      <a:pt x="1924" y="2630"/>
                    </a:lnTo>
                    <a:lnTo>
                      <a:pt x="1918" y="2626"/>
                    </a:lnTo>
                    <a:lnTo>
                      <a:pt x="1914" y="2622"/>
                    </a:lnTo>
                    <a:lnTo>
                      <a:pt x="1910" y="2618"/>
                    </a:lnTo>
                    <a:lnTo>
                      <a:pt x="1908" y="2616"/>
                    </a:lnTo>
                    <a:lnTo>
                      <a:pt x="1906" y="2616"/>
                    </a:lnTo>
                    <a:lnTo>
                      <a:pt x="1896" y="2620"/>
                    </a:lnTo>
                    <a:lnTo>
                      <a:pt x="1896" y="2620"/>
                    </a:lnTo>
                    <a:lnTo>
                      <a:pt x="1890" y="2620"/>
                    </a:lnTo>
                    <a:lnTo>
                      <a:pt x="1886" y="2618"/>
                    </a:lnTo>
                    <a:lnTo>
                      <a:pt x="1884" y="2614"/>
                    </a:lnTo>
                    <a:lnTo>
                      <a:pt x="1882" y="2608"/>
                    </a:lnTo>
                    <a:lnTo>
                      <a:pt x="1880" y="2602"/>
                    </a:lnTo>
                    <a:lnTo>
                      <a:pt x="1876" y="2598"/>
                    </a:lnTo>
                    <a:lnTo>
                      <a:pt x="1870" y="2596"/>
                    </a:lnTo>
                    <a:lnTo>
                      <a:pt x="1860" y="2598"/>
                    </a:lnTo>
                    <a:lnTo>
                      <a:pt x="1860" y="2598"/>
                    </a:lnTo>
                    <a:lnTo>
                      <a:pt x="1850" y="2600"/>
                    </a:lnTo>
                    <a:lnTo>
                      <a:pt x="1844" y="2596"/>
                    </a:lnTo>
                    <a:lnTo>
                      <a:pt x="1842" y="2592"/>
                    </a:lnTo>
                    <a:lnTo>
                      <a:pt x="1840" y="2586"/>
                    </a:lnTo>
                    <a:lnTo>
                      <a:pt x="1840" y="2582"/>
                    </a:lnTo>
                    <a:lnTo>
                      <a:pt x="1838" y="2578"/>
                    </a:lnTo>
                    <a:lnTo>
                      <a:pt x="1836" y="2576"/>
                    </a:lnTo>
                    <a:lnTo>
                      <a:pt x="1830" y="2580"/>
                    </a:lnTo>
                    <a:lnTo>
                      <a:pt x="1830" y="2580"/>
                    </a:lnTo>
                    <a:lnTo>
                      <a:pt x="1822" y="2582"/>
                    </a:lnTo>
                    <a:lnTo>
                      <a:pt x="1814" y="2584"/>
                    </a:lnTo>
                    <a:lnTo>
                      <a:pt x="1798" y="2582"/>
                    </a:lnTo>
                    <a:lnTo>
                      <a:pt x="1788" y="2580"/>
                    </a:lnTo>
                    <a:lnTo>
                      <a:pt x="1778" y="2580"/>
                    </a:lnTo>
                    <a:lnTo>
                      <a:pt x="1766" y="2582"/>
                    </a:lnTo>
                    <a:lnTo>
                      <a:pt x="1752" y="2586"/>
                    </a:lnTo>
                    <a:lnTo>
                      <a:pt x="1752" y="2586"/>
                    </a:lnTo>
                    <a:lnTo>
                      <a:pt x="1724" y="2596"/>
                    </a:lnTo>
                    <a:lnTo>
                      <a:pt x="1706" y="2608"/>
                    </a:lnTo>
                    <a:lnTo>
                      <a:pt x="1694" y="2618"/>
                    </a:lnTo>
                    <a:lnTo>
                      <a:pt x="1688" y="2624"/>
                    </a:lnTo>
                    <a:lnTo>
                      <a:pt x="1688" y="2624"/>
                    </a:lnTo>
                    <a:lnTo>
                      <a:pt x="1684" y="2630"/>
                    </a:lnTo>
                    <a:lnTo>
                      <a:pt x="1678" y="2632"/>
                    </a:lnTo>
                    <a:lnTo>
                      <a:pt x="1668" y="2632"/>
                    </a:lnTo>
                    <a:lnTo>
                      <a:pt x="1656" y="2628"/>
                    </a:lnTo>
                    <a:lnTo>
                      <a:pt x="1656" y="2628"/>
                    </a:lnTo>
                    <a:lnTo>
                      <a:pt x="1646" y="2626"/>
                    </a:lnTo>
                    <a:lnTo>
                      <a:pt x="1638" y="2626"/>
                    </a:lnTo>
                    <a:lnTo>
                      <a:pt x="1630" y="2628"/>
                    </a:lnTo>
                    <a:lnTo>
                      <a:pt x="1618" y="2628"/>
                    </a:lnTo>
                    <a:lnTo>
                      <a:pt x="1618" y="2628"/>
                    </a:lnTo>
                    <a:lnTo>
                      <a:pt x="1608" y="2624"/>
                    </a:lnTo>
                    <a:lnTo>
                      <a:pt x="1602" y="2626"/>
                    </a:lnTo>
                    <a:lnTo>
                      <a:pt x="1598" y="2628"/>
                    </a:lnTo>
                    <a:lnTo>
                      <a:pt x="1596" y="2634"/>
                    </a:lnTo>
                    <a:lnTo>
                      <a:pt x="1596" y="2634"/>
                    </a:lnTo>
                    <a:lnTo>
                      <a:pt x="1594" y="2638"/>
                    </a:lnTo>
                    <a:lnTo>
                      <a:pt x="1596" y="2640"/>
                    </a:lnTo>
                    <a:lnTo>
                      <a:pt x="1600" y="2642"/>
                    </a:lnTo>
                    <a:lnTo>
                      <a:pt x="1604" y="2646"/>
                    </a:lnTo>
                    <a:lnTo>
                      <a:pt x="1604" y="2646"/>
                    </a:lnTo>
                    <a:lnTo>
                      <a:pt x="1608" y="2650"/>
                    </a:lnTo>
                    <a:lnTo>
                      <a:pt x="1612" y="2650"/>
                    </a:lnTo>
                    <a:lnTo>
                      <a:pt x="1620" y="2652"/>
                    </a:lnTo>
                    <a:lnTo>
                      <a:pt x="1622" y="2652"/>
                    </a:lnTo>
                    <a:lnTo>
                      <a:pt x="1620" y="2652"/>
                    </a:lnTo>
                    <a:lnTo>
                      <a:pt x="1606" y="2656"/>
                    </a:lnTo>
                    <a:lnTo>
                      <a:pt x="1606" y="2656"/>
                    </a:lnTo>
                    <a:lnTo>
                      <a:pt x="1584" y="2660"/>
                    </a:lnTo>
                    <a:lnTo>
                      <a:pt x="1584" y="2662"/>
                    </a:lnTo>
                    <a:lnTo>
                      <a:pt x="1584" y="2664"/>
                    </a:lnTo>
                    <a:lnTo>
                      <a:pt x="1592" y="2666"/>
                    </a:lnTo>
                    <a:lnTo>
                      <a:pt x="1594" y="2668"/>
                    </a:lnTo>
                    <a:lnTo>
                      <a:pt x="1594" y="2672"/>
                    </a:lnTo>
                    <a:lnTo>
                      <a:pt x="1594" y="2672"/>
                    </a:lnTo>
                    <a:lnTo>
                      <a:pt x="1586" y="2674"/>
                    </a:lnTo>
                    <a:lnTo>
                      <a:pt x="1570" y="2674"/>
                    </a:lnTo>
                    <a:lnTo>
                      <a:pt x="1558" y="2672"/>
                    </a:lnTo>
                    <a:lnTo>
                      <a:pt x="1554" y="2670"/>
                    </a:lnTo>
                    <a:lnTo>
                      <a:pt x="1552" y="2666"/>
                    </a:lnTo>
                    <a:lnTo>
                      <a:pt x="1552" y="2666"/>
                    </a:lnTo>
                    <a:lnTo>
                      <a:pt x="1552" y="2664"/>
                    </a:lnTo>
                    <a:lnTo>
                      <a:pt x="1550" y="2662"/>
                    </a:lnTo>
                    <a:lnTo>
                      <a:pt x="1544" y="2662"/>
                    </a:lnTo>
                    <a:lnTo>
                      <a:pt x="1538" y="2666"/>
                    </a:lnTo>
                    <a:lnTo>
                      <a:pt x="1536" y="2668"/>
                    </a:lnTo>
                    <a:lnTo>
                      <a:pt x="1538" y="2670"/>
                    </a:lnTo>
                    <a:lnTo>
                      <a:pt x="1538" y="2670"/>
                    </a:lnTo>
                    <a:lnTo>
                      <a:pt x="1540" y="2672"/>
                    </a:lnTo>
                    <a:lnTo>
                      <a:pt x="1540" y="2674"/>
                    </a:lnTo>
                    <a:lnTo>
                      <a:pt x="1536" y="2676"/>
                    </a:lnTo>
                    <a:lnTo>
                      <a:pt x="1530" y="2676"/>
                    </a:lnTo>
                    <a:lnTo>
                      <a:pt x="1528" y="2674"/>
                    </a:lnTo>
                    <a:lnTo>
                      <a:pt x="1526" y="2672"/>
                    </a:lnTo>
                    <a:lnTo>
                      <a:pt x="1526" y="2672"/>
                    </a:lnTo>
                    <a:lnTo>
                      <a:pt x="1524" y="2670"/>
                    </a:lnTo>
                    <a:lnTo>
                      <a:pt x="1520" y="2668"/>
                    </a:lnTo>
                    <a:lnTo>
                      <a:pt x="1516" y="2666"/>
                    </a:lnTo>
                    <a:lnTo>
                      <a:pt x="1510" y="2668"/>
                    </a:lnTo>
                    <a:lnTo>
                      <a:pt x="1506" y="2670"/>
                    </a:lnTo>
                    <a:lnTo>
                      <a:pt x="1500" y="2672"/>
                    </a:lnTo>
                    <a:lnTo>
                      <a:pt x="1494" y="2678"/>
                    </a:lnTo>
                    <a:lnTo>
                      <a:pt x="1488" y="2686"/>
                    </a:lnTo>
                    <a:lnTo>
                      <a:pt x="1488" y="2686"/>
                    </a:lnTo>
                    <a:lnTo>
                      <a:pt x="1482" y="2692"/>
                    </a:lnTo>
                    <a:lnTo>
                      <a:pt x="1480" y="2694"/>
                    </a:lnTo>
                    <a:lnTo>
                      <a:pt x="1478" y="2696"/>
                    </a:lnTo>
                    <a:lnTo>
                      <a:pt x="1476" y="2706"/>
                    </a:lnTo>
                    <a:lnTo>
                      <a:pt x="1476" y="2706"/>
                    </a:lnTo>
                    <a:lnTo>
                      <a:pt x="1474" y="2716"/>
                    </a:lnTo>
                    <a:lnTo>
                      <a:pt x="1474" y="2718"/>
                    </a:lnTo>
                    <a:lnTo>
                      <a:pt x="1476" y="2720"/>
                    </a:lnTo>
                    <a:lnTo>
                      <a:pt x="1482" y="2720"/>
                    </a:lnTo>
                    <a:lnTo>
                      <a:pt x="1496" y="2716"/>
                    </a:lnTo>
                    <a:lnTo>
                      <a:pt x="1496" y="2716"/>
                    </a:lnTo>
                    <a:lnTo>
                      <a:pt x="1504" y="2716"/>
                    </a:lnTo>
                    <a:lnTo>
                      <a:pt x="1506" y="2716"/>
                    </a:lnTo>
                    <a:lnTo>
                      <a:pt x="1506" y="2718"/>
                    </a:lnTo>
                    <a:lnTo>
                      <a:pt x="1504" y="2720"/>
                    </a:lnTo>
                    <a:lnTo>
                      <a:pt x="1500" y="2728"/>
                    </a:lnTo>
                    <a:lnTo>
                      <a:pt x="1498" y="2732"/>
                    </a:lnTo>
                    <a:lnTo>
                      <a:pt x="1502" y="2734"/>
                    </a:lnTo>
                    <a:lnTo>
                      <a:pt x="1502" y="2734"/>
                    </a:lnTo>
                    <a:lnTo>
                      <a:pt x="1504" y="2738"/>
                    </a:lnTo>
                    <a:lnTo>
                      <a:pt x="1504" y="2740"/>
                    </a:lnTo>
                    <a:lnTo>
                      <a:pt x="1502" y="2746"/>
                    </a:lnTo>
                    <a:lnTo>
                      <a:pt x="1502" y="2750"/>
                    </a:lnTo>
                    <a:lnTo>
                      <a:pt x="1504" y="2752"/>
                    </a:lnTo>
                    <a:lnTo>
                      <a:pt x="1506" y="2752"/>
                    </a:lnTo>
                    <a:lnTo>
                      <a:pt x="1506" y="2752"/>
                    </a:lnTo>
                    <a:lnTo>
                      <a:pt x="1510" y="2754"/>
                    </a:lnTo>
                    <a:lnTo>
                      <a:pt x="1510" y="2756"/>
                    </a:lnTo>
                    <a:lnTo>
                      <a:pt x="1504" y="2760"/>
                    </a:lnTo>
                    <a:lnTo>
                      <a:pt x="1498" y="2766"/>
                    </a:lnTo>
                    <a:lnTo>
                      <a:pt x="1498" y="2768"/>
                    </a:lnTo>
                    <a:lnTo>
                      <a:pt x="1502" y="2770"/>
                    </a:lnTo>
                    <a:lnTo>
                      <a:pt x="1502" y="2770"/>
                    </a:lnTo>
                    <a:lnTo>
                      <a:pt x="1508" y="2774"/>
                    </a:lnTo>
                    <a:lnTo>
                      <a:pt x="1510" y="2778"/>
                    </a:lnTo>
                    <a:lnTo>
                      <a:pt x="1510" y="2780"/>
                    </a:lnTo>
                    <a:lnTo>
                      <a:pt x="1508" y="2782"/>
                    </a:lnTo>
                    <a:lnTo>
                      <a:pt x="1504" y="2782"/>
                    </a:lnTo>
                    <a:lnTo>
                      <a:pt x="1500" y="2782"/>
                    </a:lnTo>
                    <a:lnTo>
                      <a:pt x="1496" y="2780"/>
                    </a:lnTo>
                    <a:lnTo>
                      <a:pt x="1494" y="2774"/>
                    </a:lnTo>
                    <a:lnTo>
                      <a:pt x="1494" y="2774"/>
                    </a:lnTo>
                    <a:lnTo>
                      <a:pt x="1492" y="2768"/>
                    </a:lnTo>
                    <a:lnTo>
                      <a:pt x="1488" y="2768"/>
                    </a:lnTo>
                    <a:lnTo>
                      <a:pt x="1486" y="2768"/>
                    </a:lnTo>
                    <a:lnTo>
                      <a:pt x="1486" y="2772"/>
                    </a:lnTo>
                    <a:lnTo>
                      <a:pt x="1484" y="2782"/>
                    </a:lnTo>
                    <a:lnTo>
                      <a:pt x="1486" y="2788"/>
                    </a:lnTo>
                    <a:lnTo>
                      <a:pt x="1490" y="2792"/>
                    </a:lnTo>
                    <a:lnTo>
                      <a:pt x="1490" y="2792"/>
                    </a:lnTo>
                    <a:lnTo>
                      <a:pt x="1494" y="2794"/>
                    </a:lnTo>
                    <a:lnTo>
                      <a:pt x="1498" y="2794"/>
                    </a:lnTo>
                    <a:lnTo>
                      <a:pt x="1500" y="2794"/>
                    </a:lnTo>
                    <a:lnTo>
                      <a:pt x="1504" y="2796"/>
                    </a:lnTo>
                    <a:lnTo>
                      <a:pt x="1504" y="2796"/>
                    </a:lnTo>
                    <a:lnTo>
                      <a:pt x="1508" y="2800"/>
                    </a:lnTo>
                    <a:lnTo>
                      <a:pt x="1510" y="2800"/>
                    </a:lnTo>
                    <a:lnTo>
                      <a:pt x="1518" y="2802"/>
                    </a:lnTo>
                    <a:lnTo>
                      <a:pt x="1520" y="2802"/>
                    </a:lnTo>
                    <a:lnTo>
                      <a:pt x="1522" y="2804"/>
                    </a:lnTo>
                    <a:lnTo>
                      <a:pt x="1522" y="2806"/>
                    </a:lnTo>
                    <a:lnTo>
                      <a:pt x="1520" y="2810"/>
                    </a:lnTo>
                    <a:lnTo>
                      <a:pt x="1520" y="2810"/>
                    </a:lnTo>
                    <a:lnTo>
                      <a:pt x="1516" y="2818"/>
                    </a:lnTo>
                    <a:lnTo>
                      <a:pt x="1516" y="2822"/>
                    </a:lnTo>
                    <a:lnTo>
                      <a:pt x="1520" y="2826"/>
                    </a:lnTo>
                    <a:lnTo>
                      <a:pt x="1520" y="2832"/>
                    </a:lnTo>
                    <a:lnTo>
                      <a:pt x="1520" y="2832"/>
                    </a:lnTo>
                    <a:lnTo>
                      <a:pt x="1520" y="2836"/>
                    </a:lnTo>
                    <a:lnTo>
                      <a:pt x="1522" y="2838"/>
                    </a:lnTo>
                    <a:lnTo>
                      <a:pt x="1526" y="2838"/>
                    </a:lnTo>
                    <a:lnTo>
                      <a:pt x="1528" y="2840"/>
                    </a:lnTo>
                    <a:lnTo>
                      <a:pt x="1530" y="2844"/>
                    </a:lnTo>
                    <a:lnTo>
                      <a:pt x="1530" y="2844"/>
                    </a:lnTo>
                    <a:lnTo>
                      <a:pt x="1530" y="2848"/>
                    </a:lnTo>
                    <a:lnTo>
                      <a:pt x="1530" y="2850"/>
                    </a:lnTo>
                    <a:lnTo>
                      <a:pt x="1524" y="2850"/>
                    </a:lnTo>
                    <a:lnTo>
                      <a:pt x="1518" y="2850"/>
                    </a:lnTo>
                    <a:lnTo>
                      <a:pt x="1518" y="2850"/>
                    </a:lnTo>
                    <a:lnTo>
                      <a:pt x="1520" y="2854"/>
                    </a:lnTo>
                    <a:lnTo>
                      <a:pt x="1520" y="2854"/>
                    </a:lnTo>
                    <a:lnTo>
                      <a:pt x="1522" y="2856"/>
                    </a:lnTo>
                    <a:lnTo>
                      <a:pt x="1528" y="2858"/>
                    </a:lnTo>
                    <a:lnTo>
                      <a:pt x="1542" y="2856"/>
                    </a:lnTo>
                    <a:lnTo>
                      <a:pt x="1552" y="2856"/>
                    </a:lnTo>
                    <a:lnTo>
                      <a:pt x="1556" y="2858"/>
                    </a:lnTo>
                    <a:lnTo>
                      <a:pt x="1554" y="2860"/>
                    </a:lnTo>
                    <a:lnTo>
                      <a:pt x="1554" y="2860"/>
                    </a:lnTo>
                    <a:lnTo>
                      <a:pt x="1550" y="2864"/>
                    </a:lnTo>
                    <a:lnTo>
                      <a:pt x="1546" y="2866"/>
                    </a:lnTo>
                    <a:lnTo>
                      <a:pt x="1534" y="2868"/>
                    </a:lnTo>
                    <a:lnTo>
                      <a:pt x="1526" y="2870"/>
                    </a:lnTo>
                    <a:lnTo>
                      <a:pt x="1524" y="2870"/>
                    </a:lnTo>
                    <a:lnTo>
                      <a:pt x="1526" y="2872"/>
                    </a:lnTo>
                    <a:lnTo>
                      <a:pt x="1526" y="2872"/>
                    </a:lnTo>
                    <a:lnTo>
                      <a:pt x="1528" y="2876"/>
                    </a:lnTo>
                    <a:lnTo>
                      <a:pt x="1532" y="2876"/>
                    </a:lnTo>
                    <a:lnTo>
                      <a:pt x="1540" y="2874"/>
                    </a:lnTo>
                    <a:lnTo>
                      <a:pt x="1548" y="2872"/>
                    </a:lnTo>
                    <a:lnTo>
                      <a:pt x="1550" y="2872"/>
                    </a:lnTo>
                    <a:lnTo>
                      <a:pt x="1552" y="2876"/>
                    </a:lnTo>
                    <a:lnTo>
                      <a:pt x="1552" y="2876"/>
                    </a:lnTo>
                    <a:lnTo>
                      <a:pt x="1552" y="2878"/>
                    </a:lnTo>
                    <a:lnTo>
                      <a:pt x="1554" y="2878"/>
                    </a:lnTo>
                    <a:lnTo>
                      <a:pt x="1560" y="2872"/>
                    </a:lnTo>
                    <a:lnTo>
                      <a:pt x="1564" y="2870"/>
                    </a:lnTo>
                    <a:lnTo>
                      <a:pt x="1568" y="2868"/>
                    </a:lnTo>
                    <a:lnTo>
                      <a:pt x="1572" y="2868"/>
                    </a:lnTo>
                    <a:lnTo>
                      <a:pt x="1576" y="2870"/>
                    </a:lnTo>
                    <a:lnTo>
                      <a:pt x="1576" y="2870"/>
                    </a:lnTo>
                    <a:lnTo>
                      <a:pt x="1580" y="2874"/>
                    </a:lnTo>
                    <a:lnTo>
                      <a:pt x="1582" y="2874"/>
                    </a:lnTo>
                    <a:lnTo>
                      <a:pt x="1588" y="2874"/>
                    </a:lnTo>
                    <a:lnTo>
                      <a:pt x="1590" y="2872"/>
                    </a:lnTo>
                    <a:lnTo>
                      <a:pt x="1590" y="2872"/>
                    </a:lnTo>
                    <a:lnTo>
                      <a:pt x="1592" y="2874"/>
                    </a:lnTo>
                    <a:lnTo>
                      <a:pt x="1594" y="2880"/>
                    </a:lnTo>
                    <a:lnTo>
                      <a:pt x="1594" y="2880"/>
                    </a:lnTo>
                    <a:lnTo>
                      <a:pt x="1598" y="2886"/>
                    </a:lnTo>
                    <a:lnTo>
                      <a:pt x="1602" y="2892"/>
                    </a:lnTo>
                    <a:lnTo>
                      <a:pt x="1610" y="2900"/>
                    </a:lnTo>
                    <a:lnTo>
                      <a:pt x="1616" y="2902"/>
                    </a:lnTo>
                    <a:lnTo>
                      <a:pt x="1620" y="2904"/>
                    </a:lnTo>
                    <a:lnTo>
                      <a:pt x="1624" y="2904"/>
                    </a:lnTo>
                    <a:lnTo>
                      <a:pt x="1628" y="2902"/>
                    </a:lnTo>
                    <a:lnTo>
                      <a:pt x="1628" y="2902"/>
                    </a:lnTo>
                    <a:lnTo>
                      <a:pt x="1634" y="2896"/>
                    </a:lnTo>
                    <a:lnTo>
                      <a:pt x="1638" y="2894"/>
                    </a:lnTo>
                    <a:lnTo>
                      <a:pt x="1640" y="2894"/>
                    </a:lnTo>
                    <a:lnTo>
                      <a:pt x="1642" y="2896"/>
                    </a:lnTo>
                    <a:lnTo>
                      <a:pt x="1646" y="2898"/>
                    </a:lnTo>
                    <a:lnTo>
                      <a:pt x="1648" y="2896"/>
                    </a:lnTo>
                    <a:lnTo>
                      <a:pt x="1652" y="2894"/>
                    </a:lnTo>
                    <a:lnTo>
                      <a:pt x="1652" y="2894"/>
                    </a:lnTo>
                    <a:lnTo>
                      <a:pt x="1654" y="2890"/>
                    </a:lnTo>
                    <a:lnTo>
                      <a:pt x="1654" y="2884"/>
                    </a:lnTo>
                    <a:lnTo>
                      <a:pt x="1654" y="2872"/>
                    </a:lnTo>
                    <a:lnTo>
                      <a:pt x="1656" y="2866"/>
                    </a:lnTo>
                    <a:lnTo>
                      <a:pt x="1662" y="2864"/>
                    </a:lnTo>
                    <a:lnTo>
                      <a:pt x="1670" y="2864"/>
                    </a:lnTo>
                    <a:lnTo>
                      <a:pt x="1686" y="2868"/>
                    </a:lnTo>
                    <a:lnTo>
                      <a:pt x="1686" y="2868"/>
                    </a:lnTo>
                    <a:lnTo>
                      <a:pt x="1700" y="2874"/>
                    </a:lnTo>
                    <a:lnTo>
                      <a:pt x="1712" y="2882"/>
                    </a:lnTo>
                    <a:lnTo>
                      <a:pt x="1720" y="2890"/>
                    </a:lnTo>
                    <a:lnTo>
                      <a:pt x="1728" y="2898"/>
                    </a:lnTo>
                    <a:lnTo>
                      <a:pt x="1732" y="2904"/>
                    </a:lnTo>
                    <a:lnTo>
                      <a:pt x="1738" y="2908"/>
                    </a:lnTo>
                    <a:lnTo>
                      <a:pt x="1744" y="2910"/>
                    </a:lnTo>
                    <a:lnTo>
                      <a:pt x="1752" y="2908"/>
                    </a:lnTo>
                    <a:lnTo>
                      <a:pt x="1752" y="2908"/>
                    </a:lnTo>
                    <a:lnTo>
                      <a:pt x="1766" y="2904"/>
                    </a:lnTo>
                    <a:lnTo>
                      <a:pt x="1778" y="2902"/>
                    </a:lnTo>
                    <a:lnTo>
                      <a:pt x="1782" y="2900"/>
                    </a:lnTo>
                    <a:lnTo>
                      <a:pt x="1788" y="2898"/>
                    </a:lnTo>
                    <a:lnTo>
                      <a:pt x="1794" y="2892"/>
                    </a:lnTo>
                    <a:lnTo>
                      <a:pt x="1802" y="2884"/>
                    </a:lnTo>
                    <a:lnTo>
                      <a:pt x="1802" y="2884"/>
                    </a:lnTo>
                    <a:lnTo>
                      <a:pt x="1814" y="2872"/>
                    </a:lnTo>
                    <a:lnTo>
                      <a:pt x="1822" y="2868"/>
                    </a:lnTo>
                    <a:lnTo>
                      <a:pt x="1828" y="2868"/>
                    </a:lnTo>
                    <a:lnTo>
                      <a:pt x="1834" y="2872"/>
                    </a:lnTo>
                    <a:lnTo>
                      <a:pt x="1838" y="2876"/>
                    </a:lnTo>
                    <a:lnTo>
                      <a:pt x="1844" y="2880"/>
                    </a:lnTo>
                    <a:lnTo>
                      <a:pt x="1848" y="2880"/>
                    </a:lnTo>
                    <a:lnTo>
                      <a:pt x="1856" y="2876"/>
                    </a:lnTo>
                    <a:lnTo>
                      <a:pt x="1856" y="2876"/>
                    </a:lnTo>
                    <a:lnTo>
                      <a:pt x="1868" y="2864"/>
                    </a:lnTo>
                    <a:lnTo>
                      <a:pt x="1876" y="2860"/>
                    </a:lnTo>
                    <a:lnTo>
                      <a:pt x="1878" y="2860"/>
                    </a:lnTo>
                    <a:lnTo>
                      <a:pt x="1880" y="2862"/>
                    </a:lnTo>
                    <a:lnTo>
                      <a:pt x="1882" y="2870"/>
                    </a:lnTo>
                    <a:lnTo>
                      <a:pt x="1882" y="2870"/>
                    </a:lnTo>
                    <a:lnTo>
                      <a:pt x="1882" y="2874"/>
                    </a:lnTo>
                    <a:lnTo>
                      <a:pt x="1880" y="2878"/>
                    </a:lnTo>
                    <a:lnTo>
                      <a:pt x="1872" y="2886"/>
                    </a:lnTo>
                    <a:lnTo>
                      <a:pt x="1866" y="2892"/>
                    </a:lnTo>
                    <a:lnTo>
                      <a:pt x="1864" y="2894"/>
                    </a:lnTo>
                    <a:lnTo>
                      <a:pt x="1866" y="2896"/>
                    </a:lnTo>
                    <a:lnTo>
                      <a:pt x="1866" y="2896"/>
                    </a:lnTo>
                    <a:lnTo>
                      <a:pt x="1872" y="2906"/>
                    </a:lnTo>
                    <a:lnTo>
                      <a:pt x="1872" y="2910"/>
                    </a:lnTo>
                    <a:lnTo>
                      <a:pt x="1872" y="2914"/>
                    </a:lnTo>
                    <a:lnTo>
                      <a:pt x="1872" y="2914"/>
                    </a:lnTo>
                    <a:lnTo>
                      <a:pt x="1868" y="2918"/>
                    </a:lnTo>
                    <a:lnTo>
                      <a:pt x="1864" y="2924"/>
                    </a:lnTo>
                    <a:lnTo>
                      <a:pt x="1862" y="2930"/>
                    </a:lnTo>
                    <a:lnTo>
                      <a:pt x="1866" y="2940"/>
                    </a:lnTo>
                    <a:lnTo>
                      <a:pt x="1866" y="2940"/>
                    </a:lnTo>
                    <a:lnTo>
                      <a:pt x="1870" y="2948"/>
                    </a:lnTo>
                    <a:lnTo>
                      <a:pt x="1870" y="2956"/>
                    </a:lnTo>
                    <a:lnTo>
                      <a:pt x="1870" y="2966"/>
                    </a:lnTo>
                    <a:lnTo>
                      <a:pt x="1872" y="2980"/>
                    </a:lnTo>
                    <a:lnTo>
                      <a:pt x="1872" y="2980"/>
                    </a:lnTo>
                    <a:lnTo>
                      <a:pt x="1872" y="2986"/>
                    </a:lnTo>
                    <a:lnTo>
                      <a:pt x="1870" y="2990"/>
                    </a:lnTo>
                    <a:lnTo>
                      <a:pt x="1866" y="2996"/>
                    </a:lnTo>
                    <a:lnTo>
                      <a:pt x="1860" y="3000"/>
                    </a:lnTo>
                    <a:lnTo>
                      <a:pt x="1858" y="3006"/>
                    </a:lnTo>
                    <a:lnTo>
                      <a:pt x="1858" y="3012"/>
                    </a:lnTo>
                    <a:lnTo>
                      <a:pt x="1858" y="3012"/>
                    </a:lnTo>
                    <a:lnTo>
                      <a:pt x="1858" y="3020"/>
                    </a:lnTo>
                    <a:lnTo>
                      <a:pt x="1856" y="3020"/>
                    </a:lnTo>
                    <a:lnTo>
                      <a:pt x="1854" y="3024"/>
                    </a:lnTo>
                    <a:lnTo>
                      <a:pt x="1850" y="3034"/>
                    </a:lnTo>
                    <a:lnTo>
                      <a:pt x="1850" y="3034"/>
                    </a:lnTo>
                    <a:lnTo>
                      <a:pt x="1848" y="3044"/>
                    </a:lnTo>
                    <a:lnTo>
                      <a:pt x="1846" y="3050"/>
                    </a:lnTo>
                    <a:lnTo>
                      <a:pt x="1842" y="3054"/>
                    </a:lnTo>
                    <a:lnTo>
                      <a:pt x="1838" y="3064"/>
                    </a:lnTo>
                    <a:lnTo>
                      <a:pt x="1838" y="3064"/>
                    </a:lnTo>
                    <a:lnTo>
                      <a:pt x="1824" y="3108"/>
                    </a:lnTo>
                    <a:lnTo>
                      <a:pt x="1818" y="3130"/>
                    </a:lnTo>
                    <a:lnTo>
                      <a:pt x="1814" y="3144"/>
                    </a:lnTo>
                    <a:lnTo>
                      <a:pt x="1814" y="3144"/>
                    </a:lnTo>
                    <a:lnTo>
                      <a:pt x="1806" y="3154"/>
                    </a:lnTo>
                    <a:lnTo>
                      <a:pt x="1800" y="3160"/>
                    </a:lnTo>
                    <a:lnTo>
                      <a:pt x="1800" y="3160"/>
                    </a:lnTo>
                    <a:lnTo>
                      <a:pt x="1768" y="3170"/>
                    </a:lnTo>
                    <a:lnTo>
                      <a:pt x="1764" y="3170"/>
                    </a:lnTo>
                    <a:lnTo>
                      <a:pt x="1760" y="3166"/>
                    </a:lnTo>
                    <a:lnTo>
                      <a:pt x="1760" y="3166"/>
                    </a:lnTo>
                    <a:lnTo>
                      <a:pt x="1756" y="3164"/>
                    </a:lnTo>
                    <a:lnTo>
                      <a:pt x="1754" y="3166"/>
                    </a:lnTo>
                    <a:lnTo>
                      <a:pt x="1748" y="3168"/>
                    </a:lnTo>
                    <a:lnTo>
                      <a:pt x="1744" y="3170"/>
                    </a:lnTo>
                    <a:lnTo>
                      <a:pt x="1740" y="3170"/>
                    </a:lnTo>
                    <a:lnTo>
                      <a:pt x="1734" y="3168"/>
                    </a:lnTo>
                    <a:lnTo>
                      <a:pt x="1728" y="3164"/>
                    </a:lnTo>
                    <a:lnTo>
                      <a:pt x="1728" y="3164"/>
                    </a:lnTo>
                    <a:lnTo>
                      <a:pt x="1726" y="3162"/>
                    </a:lnTo>
                    <a:lnTo>
                      <a:pt x="1724" y="3162"/>
                    </a:lnTo>
                    <a:lnTo>
                      <a:pt x="1724" y="3164"/>
                    </a:lnTo>
                    <a:lnTo>
                      <a:pt x="1724" y="3164"/>
                    </a:lnTo>
                    <a:lnTo>
                      <a:pt x="1724" y="3168"/>
                    </a:lnTo>
                    <a:lnTo>
                      <a:pt x="1720" y="3170"/>
                    </a:lnTo>
                    <a:lnTo>
                      <a:pt x="1734" y="3232"/>
                    </a:lnTo>
                    <a:lnTo>
                      <a:pt x="1734" y="3232"/>
                    </a:lnTo>
                    <a:lnTo>
                      <a:pt x="1734" y="3230"/>
                    </a:lnTo>
                    <a:lnTo>
                      <a:pt x="1734" y="3230"/>
                    </a:lnTo>
                    <a:lnTo>
                      <a:pt x="1738" y="3232"/>
                    </a:lnTo>
                    <a:lnTo>
                      <a:pt x="1738" y="3236"/>
                    </a:lnTo>
                    <a:lnTo>
                      <a:pt x="1738" y="3242"/>
                    </a:lnTo>
                    <a:lnTo>
                      <a:pt x="1740" y="3252"/>
                    </a:lnTo>
                    <a:lnTo>
                      <a:pt x="1744" y="3260"/>
                    </a:lnTo>
                    <a:lnTo>
                      <a:pt x="1750" y="3266"/>
                    </a:lnTo>
                    <a:lnTo>
                      <a:pt x="1750" y="3266"/>
                    </a:lnTo>
                    <a:lnTo>
                      <a:pt x="1754" y="3272"/>
                    </a:lnTo>
                    <a:lnTo>
                      <a:pt x="1758" y="3278"/>
                    </a:lnTo>
                    <a:lnTo>
                      <a:pt x="1760" y="3288"/>
                    </a:lnTo>
                    <a:lnTo>
                      <a:pt x="1762" y="3300"/>
                    </a:lnTo>
                    <a:lnTo>
                      <a:pt x="1766" y="3306"/>
                    </a:lnTo>
                    <a:lnTo>
                      <a:pt x="1770" y="3312"/>
                    </a:lnTo>
                    <a:lnTo>
                      <a:pt x="1770" y="3312"/>
                    </a:lnTo>
                    <a:lnTo>
                      <a:pt x="1784" y="3328"/>
                    </a:lnTo>
                    <a:lnTo>
                      <a:pt x="1792" y="3340"/>
                    </a:lnTo>
                    <a:lnTo>
                      <a:pt x="1796" y="3344"/>
                    </a:lnTo>
                    <a:lnTo>
                      <a:pt x="1800" y="3346"/>
                    </a:lnTo>
                    <a:lnTo>
                      <a:pt x="1802" y="3344"/>
                    </a:lnTo>
                    <a:lnTo>
                      <a:pt x="1804" y="3340"/>
                    </a:lnTo>
                    <a:lnTo>
                      <a:pt x="1804" y="3340"/>
                    </a:lnTo>
                    <a:lnTo>
                      <a:pt x="1810" y="3328"/>
                    </a:lnTo>
                    <a:lnTo>
                      <a:pt x="1812" y="3314"/>
                    </a:lnTo>
                    <a:lnTo>
                      <a:pt x="1816" y="3292"/>
                    </a:lnTo>
                    <a:lnTo>
                      <a:pt x="1830" y="3254"/>
                    </a:lnTo>
                    <a:lnTo>
                      <a:pt x="1830" y="3254"/>
                    </a:lnTo>
                    <a:lnTo>
                      <a:pt x="1830" y="3254"/>
                    </a:lnTo>
                    <a:lnTo>
                      <a:pt x="1832" y="3250"/>
                    </a:lnTo>
                    <a:lnTo>
                      <a:pt x="1832" y="3250"/>
                    </a:lnTo>
                    <a:lnTo>
                      <a:pt x="1832" y="3256"/>
                    </a:lnTo>
                    <a:lnTo>
                      <a:pt x="1832" y="3260"/>
                    </a:lnTo>
                    <a:lnTo>
                      <a:pt x="1832" y="3260"/>
                    </a:lnTo>
                    <a:lnTo>
                      <a:pt x="1826" y="3286"/>
                    </a:lnTo>
                    <a:lnTo>
                      <a:pt x="1826" y="3296"/>
                    </a:lnTo>
                    <a:lnTo>
                      <a:pt x="1826" y="3302"/>
                    </a:lnTo>
                    <a:lnTo>
                      <a:pt x="1822" y="3312"/>
                    </a:lnTo>
                    <a:lnTo>
                      <a:pt x="1822" y="3312"/>
                    </a:lnTo>
                    <a:lnTo>
                      <a:pt x="1818" y="3328"/>
                    </a:lnTo>
                    <a:lnTo>
                      <a:pt x="1818" y="3330"/>
                    </a:lnTo>
                    <a:lnTo>
                      <a:pt x="1818" y="3330"/>
                    </a:lnTo>
                    <a:lnTo>
                      <a:pt x="1824" y="3328"/>
                    </a:lnTo>
                    <a:lnTo>
                      <a:pt x="1828" y="3326"/>
                    </a:lnTo>
                    <a:lnTo>
                      <a:pt x="1834" y="3326"/>
                    </a:lnTo>
                    <a:lnTo>
                      <a:pt x="1834" y="3326"/>
                    </a:lnTo>
                    <a:lnTo>
                      <a:pt x="1838" y="3328"/>
                    </a:lnTo>
                    <a:lnTo>
                      <a:pt x="1840" y="3330"/>
                    </a:lnTo>
                    <a:lnTo>
                      <a:pt x="1848" y="3340"/>
                    </a:lnTo>
                    <a:lnTo>
                      <a:pt x="1864" y="3372"/>
                    </a:lnTo>
                    <a:lnTo>
                      <a:pt x="1880" y="3406"/>
                    </a:lnTo>
                    <a:lnTo>
                      <a:pt x="1888" y="3418"/>
                    </a:lnTo>
                    <a:lnTo>
                      <a:pt x="1896" y="3428"/>
                    </a:lnTo>
                    <a:lnTo>
                      <a:pt x="1896" y="3428"/>
                    </a:lnTo>
                    <a:lnTo>
                      <a:pt x="1900" y="3434"/>
                    </a:lnTo>
                    <a:lnTo>
                      <a:pt x="1900" y="3440"/>
                    </a:lnTo>
                    <a:lnTo>
                      <a:pt x="1902" y="3444"/>
                    </a:lnTo>
                    <a:lnTo>
                      <a:pt x="1908" y="3450"/>
                    </a:lnTo>
                    <a:lnTo>
                      <a:pt x="1908" y="3450"/>
                    </a:lnTo>
                    <a:lnTo>
                      <a:pt x="1916" y="3458"/>
                    </a:lnTo>
                    <a:lnTo>
                      <a:pt x="1922" y="3470"/>
                    </a:lnTo>
                    <a:lnTo>
                      <a:pt x="1926" y="3482"/>
                    </a:lnTo>
                    <a:lnTo>
                      <a:pt x="1926" y="3486"/>
                    </a:lnTo>
                    <a:lnTo>
                      <a:pt x="1924" y="3492"/>
                    </a:lnTo>
                    <a:lnTo>
                      <a:pt x="1924" y="3492"/>
                    </a:lnTo>
                    <a:lnTo>
                      <a:pt x="1922" y="3496"/>
                    </a:lnTo>
                    <a:lnTo>
                      <a:pt x="1924" y="3502"/>
                    </a:lnTo>
                    <a:lnTo>
                      <a:pt x="1926" y="3506"/>
                    </a:lnTo>
                    <a:lnTo>
                      <a:pt x="1928" y="3512"/>
                    </a:lnTo>
                    <a:lnTo>
                      <a:pt x="1938" y="3522"/>
                    </a:lnTo>
                    <a:lnTo>
                      <a:pt x="1944" y="3526"/>
                    </a:lnTo>
                    <a:lnTo>
                      <a:pt x="1952" y="3528"/>
                    </a:lnTo>
                    <a:lnTo>
                      <a:pt x="1952" y="3528"/>
                    </a:lnTo>
                    <a:lnTo>
                      <a:pt x="1958" y="3532"/>
                    </a:lnTo>
                    <a:lnTo>
                      <a:pt x="1964" y="3538"/>
                    </a:lnTo>
                    <a:lnTo>
                      <a:pt x="1970" y="3548"/>
                    </a:lnTo>
                    <a:lnTo>
                      <a:pt x="1976" y="3560"/>
                    </a:lnTo>
                    <a:lnTo>
                      <a:pt x="1988" y="3586"/>
                    </a:lnTo>
                    <a:lnTo>
                      <a:pt x="1996" y="3610"/>
                    </a:lnTo>
                    <a:lnTo>
                      <a:pt x="1996" y="3610"/>
                    </a:lnTo>
                    <a:lnTo>
                      <a:pt x="1998" y="3620"/>
                    </a:lnTo>
                    <a:lnTo>
                      <a:pt x="1998" y="3626"/>
                    </a:lnTo>
                    <a:lnTo>
                      <a:pt x="1998" y="3632"/>
                    </a:lnTo>
                    <a:lnTo>
                      <a:pt x="1996" y="3636"/>
                    </a:lnTo>
                    <a:lnTo>
                      <a:pt x="1994" y="3638"/>
                    </a:lnTo>
                    <a:lnTo>
                      <a:pt x="1992" y="3642"/>
                    </a:lnTo>
                    <a:lnTo>
                      <a:pt x="1994" y="3648"/>
                    </a:lnTo>
                    <a:lnTo>
                      <a:pt x="1996" y="3656"/>
                    </a:lnTo>
                    <a:lnTo>
                      <a:pt x="1996" y="3656"/>
                    </a:lnTo>
                    <a:lnTo>
                      <a:pt x="2000" y="3664"/>
                    </a:lnTo>
                    <a:lnTo>
                      <a:pt x="2000" y="3668"/>
                    </a:lnTo>
                    <a:lnTo>
                      <a:pt x="1998" y="3670"/>
                    </a:lnTo>
                    <a:lnTo>
                      <a:pt x="1998" y="3672"/>
                    </a:lnTo>
                    <a:lnTo>
                      <a:pt x="1996" y="3674"/>
                    </a:lnTo>
                    <a:lnTo>
                      <a:pt x="1996" y="3676"/>
                    </a:lnTo>
                    <a:lnTo>
                      <a:pt x="2004" y="3690"/>
                    </a:lnTo>
                    <a:lnTo>
                      <a:pt x="2004" y="3690"/>
                    </a:lnTo>
                    <a:lnTo>
                      <a:pt x="2014" y="3706"/>
                    </a:lnTo>
                    <a:lnTo>
                      <a:pt x="2020" y="3716"/>
                    </a:lnTo>
                    <a:lnTo>
                      <a:pt x="2026" y="3722"/>
                    </a:lnTo>
                    <a:lnTo>
                      <a:pt x="2036" y="3726"/>
                    </a:lnTo>
                    <a:lnTo>
                      <a:pt x="2036" y="3726"/>
                    </a:lnTo>
                    <a:lnTo>
                      <a:pt x="2042" y="3730"/>
                    </a:lnTo>
                    <a:lnTo>
                      <a:pt x="2048" y="3734"/>
                    </a:lnTo>
                    <a:lnTo>
                      <a:pt x="2058" y="3744"/>
                    </a:lnTo>
                    <a:lnTo>
                      <a:pt x="2064" y="3758"/>
                    </a:lnTo>
                    <a:lnTo>
                      <a:pt x="2072" y="3770"/>
                    </a:lnTo>
                    <a:lnTo>
                      <a:pt x="2072" y="3770"/>
                    </a:lnTo>
                    <a:lnTo>
                      <a:pt x="2078" y="3778"/>
                    </a:lnTo>
                    <a:lnTo>
                      <a:pt x="2082" y="3782"/>
                    </a:lnTo>
                    <a:lnTo>
                      <a:pt x="2084" y="3786"/>
                    </a:lnTo>
                    <a:lnTo>
                      <a:pt x="2084" y="3796"/>
                    </a:lnTo>
                    <a:lnTo>
                      <a:pt x="2084" y="3796"/>
                    </a:lnTo>
                    <a:lnTo>
                      <a:pt x="2086" y="3804"/>
                    </a:lnTo>
                    <a:lnTo>
                      <a:pt x="2088" y="3810"/>
                    </a:lnTo>
                    <a:lnTo>
                      <a:pt x="2092" y="3816"/>
                    </a:lnTo>
                    <a:lnTo>
                      <a:pt x="2094" y="3824"/>
                    </a:lnTo>
                    <a:lnTo>
                      <a:pt x="2094" y="3824"/>
                    </a:lnTo>
                    <a:lnTo>
                      <a:pt x="2096" y="3830"/>
                    </a:lnTo>
                    <a:lnTo>
                      <a:pt x="2098" y="3836"/>
                    </a:lnTo>
                    <a:lnTo>
                      <a:pt x="2108" y="3848"/>
                    </a:lnTo>
                    <a:lnTo>
                      <a:pt x="2120" y="3862"/>
                    </a:lnTo>
                    <a:lnTo>
                      <a:pt x="2124" y="3870"/>
                    </a:lnTo>
                    <a:lnTo>
                      <a:pt x="2126" y="3878"/>
                    </a:lnTo>
                    <a:lnTo>
                      <a:pt x="2126" y="3878"/>
                    </a:lnTo>
                    <a:lnTo>
                      <a:pt x="2128" y="3884"/>
                    </a:lnTo>
                    <a:lnTo>
                      <a:pt x="2130" y="3886"/>
                    </a:lnTo>
                    <a:lnTo>
                      <a:pt x="2134" y="3886"/>
                    </a:lnTo>
                    <a:lnTo>
                      <a:pt x="2138" y="3888"/>
                    </a:lnTo>
                    <a:lnTo>
                      <a:pt x="2140" y="3892"/>
                    </a:lnTo>
                    <a:lnTo>
                      <a:pt x="2144" y="3902"/>
                    </a:lnTo>
                    <a:lnTo>
                      <a:pt x="2146" y="3918"/>
                    </a:lnTo>
                    <a:lnTo>
                      <a:pt x="2146" y="3918"/>
                    </a:lnTo>
                    <a:lnTo>
                      <a:pt x="2148" y="3936"/>
                    </a:lnTo>
                    <a:lnTo>
                      <a:pt x="2146" y="3944"/>
                    </a:lnTo>
                    <a:lnTo>
                      <a:pt x="2142" y="3952"/>
                    </a:lnTo>
                    <a:lnTo>
                      <a:pt x="2142" y="3952"/>
                    </a:lnTo>
                    <a:lnTo>
                      <a:pt x="2142" y="3954"/>
                    </a:lnTo>
                    <a:lnTo>
                      <a:pt x="2142" y="3958"/>
                    </a:lnTo>
                    <a:lnTo>
                      <a:pt x="2144" y="3964"/>
                    </a:lnTo>
                    <a:lnTo>
                      <a:pt x="2146" y="3968"/>
                    </a:lnTo>
                    <a:lnTo>
                      <a:pt x="2146" y="3972"/>
                    </a:lnTo>
                    <a:lnTo>
                      <a:pt x="2144" y="3974"/>
                    </a:lnTo>
                    <a:lnTo>
                      <a:pt x="2144" y="3974"/>
                    </a:lnTo>
                    <a:lnTo>
                      <a:pt x="2140" y="3976"/>
                    </a:lnTo>
                    <a:lnTo>
                      <a:pt x="2142" y="3980"/>
                    </a:lnTo>
                    <a:lnTo>
                      <a:pt x="2146" y="3982"/>
                    </a:lnTo>
                    <a:lnTo>
                      <a:pt x="2148" y="3986"/>
                    </a:lnTo>
                    <a:lnTo>
                      <a:pt x="2150" y="3988"/>
                    </a:lnTo>
                    <a:lnTo>
                      <a:pt x="2150" y="3988"/>
                    </a:lnTo>
                    <a:lnTo>
                      <a:pt x="2150" y="3996"/>
                    </a:lnTo>
                    <a:lnTo>
                      <a:pt x="2152" y="4000"/>
                    </a:lnTo>
                    <a:lnTo>
                      <a:pt x="2154" y="4008"/>
                    </a:lnTo>
                    <a:lnTo>
                      <a:pt x="2156" y="4020"/>
                    </a:lnTo>
                    <a:lnTo>
                      <a:pt x="2156" y="4020"/>
                    </a:lnTo>
                    <a:lnTo>
                      <a:pt x="2158" y="4034"/>
                    </a:lnTo>
                    <a:lnTo>
                      <a:pt x="2162" y="4044"/>
                    </a:lnTo>
                    <a:lnTo>
                      <a:pt x="2166" y="4054"/>
                    </a:lnTo>
                    <a:lnTo>
                      <a:pt x="2166" y="4058"/>
                    </a:lnTo>
                    <a:lnTo>
                      <a:pt x="2166" y="4064"/>
                    </a:lnTo>
                    <a:lnTo>
                      <a:pt x="2166" y="4064"/>
                    </a:lnTo>
                    <a:lnTo>
                      <a:pt x="2164" y="4072"/>
                    </a:lnTo>
                    <a:lnTo>
                      <a:pt x="2166" y="4076"/>
                    </a:lnTo>
                    <a:lnTo>
                      <a:pt x="2168" y="4082"/>
                    </a:lnTo>
                    <a:lnTo>
                      <a:pt x="2172" y="4092"/>
                    </a:lnTo>
                    <a:lnTo>
                      <a:pt x="2172" y="4092"/>
                    </a:lnTo>
                    <a:lnTo>
                      <a:pt x="2176" y="4100"/>
                    </a:lnTo>
                    <a:lnTo>
                      <a:pt x="2178" y="4102"/>
                    </a:lnTo>
                    <a:lnTo>
                      <a:pt x="2180" y="4102"/>
                    </a:lnTo>
                    <a:lnTo>
                      <a:pt x="2184" y="4100"/>
                    </a:lnTo>
                    <a:lnTo>
                      <a:pt x="2186" y="4102"/>
                    </a:lnTo>
                    <a:lnTo>
                      <a:pt x="2190" y="4104"/>
                    </a:lnTo>
                    <a:lnTo>
                      <a:pt x="2190" y="4104"/>
                    </a:lnTo>
                    <a:lnTo>
                      <a:pt x="2196" y="4108"/>
                    </a:lnTo>
                    <a:lnTo>
                      <a:pt x="2200" y="4106"/>
                    </a:lnTo>
                    <a:lnTo>
                      <a:pt x="2204" y="4104"/>
                    </a:lnTo>
                    <a:lnTo>
                      <a:pt x="2208" y="4104"/>
                    </a:lnTo>
                    <a:lnTo>
                      <a:pt x="2208" y="4104"/>
                    </a:lnTo>
                    <a:lnTo>
                      <a:pt x="2212" y="4104"/>
                    </a:lnTo>
                    <a:lnTo>
                      <a:pt x="2214" y="4102"/>
                    </a:lnTo>
                    <a:lnTo>
                      <a:pt x="2218" y="4098"/>
                    </a:lnTo>
                    <a:lnTo>
                      <a:pt x="2226" y="4098"/>
                    </a:lnTo>
                    <a:lnTo>
                      <a:pt x="2226" y="4098"/>
                    </a:lnTo>
                    <a:lnTo>
                      <a:pt x="2232" y="4100"/>
                    </a:lnTo>
                    <a:lnTo>
                      <a:pt x="2236" y="4098"/>
                    </a:lnTo>
                    <a:lnTo>
                      <a:pt x="2238" y="4096"/>
                    </a:lnTo>
                    <a:lnTo>
                      <a:pt x="2240" y="4094"/>
                    </a:lnTo>
                    <a:lnTo>
                      <a:pt x="2242" y="4090"/>
                    </a:lnTo>
                    <a:lnTo>
                      <a:pt x="2244" y="4088"/>
                    </a:lnTo>
                    <a:lnTo>
                      <a:pt x="2248" y="4088"/>
                    </a:lnTo>
                    <a:lnTo>
                      <a:pt x="2248" y="4088"/>
                    </a:lnTo>
                    <a:lnTo>
                      <a:pt x="2252" y="4086"/>
                    </a:lnTo>
                    <a:lnTo>
                      <a:pt x="2254" y="4084"/>
                    </a:lnTo>
                    <a:lnTo>
                      <a:pt x="2258" y="4074"/>
                    </a:lnTo>
                    <a:lnTo>
                      <a:pt x="2262" y="4070"/>
                    </a:lnTo>
                    <a:lnTo>
                      <a:pt x="2266" y="4068"/>
                    </a:lnTo>
                    <a:lnTo>
                      <a:pt x="2274" y="4066"/>
                    </a:lnTo>
                    <a:lnTo>
                      <a:pt x="2284" y="4066"/>
                    </a:lnTo>
                    <a:lnTo>
                      <a:pt x="2284" y="4066"/>
                    </a:lnTo>
                    <a:lnTo>
                      <a:pt x="2300" y="4066"/>
                    </a:lnTo>
                    <a:lnTo>
                      <a:pt x="2312" y="4062"/>
                    </a:lnTo>
                    <a:lnTo>
                      <a:pt x="2324" y="4058"/>
                    </a:lnTo>
                    <a:lnTo>
                      <a:pt x="2334" y="4050"/>
                    </a:lnTo>
                    <a:lnTo>
                      <a:pt x="2348" y="4038"/>
                    </a:lnTo>
                    <a:lnTo>
                      <a:pt x="2356" y="4036"/>
                    </a:lnTo>
                    <a:lnTo>
                      <a:pt x="2364" y="4036"/>
                    </a:lnTo>
                    <a:lnTo>
                      <a:pt x="2364" y="4036"/>
                    </a:lnTo>
                    <a:lnTo>
                      <a:pt x="2370" y="4038"/>
                    </a:lnTo>
                    <a:lnTo>
                      <a:pt x="2374" y="4038"/>
                    </a:lnTo>
                    <a:lnTo>
                      <a:pt x="2382" y="4034"/>
                    </a:lnTo>
                    <a:lnTo>
                      <a:pt x="2390" y="4028"/>
                    </a:lnTo>
                    <a:lnTo>
                      <a:pt x="2398" y="4020"/>
                    </a:lnTo>
                    <a:lnTo>
                      <a:pt x="2406" y="4010"/>
                    </a:lnTo>
                    <a:lnTo>
                      <a:pt x="2416" y="4002"/>
                    </a:lnTo>
                    <a:lnTo>
                      <a:pt x="2426" y="3998"/>
                    </a:lnTo>
                    <a:lnTo>
                      <a:pt x="2432" y="3996"/>
                    </a:lnTo>
                    <a:lnTo>
                      <a:pt x="2438" y="3998"/>
                    </a:lnTo>
                    <a:lnTo>
                      <a:pt x="2438" y="3998"/>
                    </a:lnTo>
                    <a:lnTo>
                      <a:pt x="2442" y="3998"/>
                    </a:lnTo>
                    <a:lnTo>
                      <a:pt x="2446" y="3996"/>
                    </a:lnTo>
                    <a:lnTo>
                      <a:pt x="2452" y="3992"/>
                    </a:lnTo>
                    <a:lnTo>
                      <a:pt x="2462" y="3986"/>
                    </a:lnTo>
                    <a:lnTo>
                      <a:pt x="2468" y="3982"/>
                    </a:lnTo>
                    <a:lnTo>
                      <a:pt x="2480" y="3978"/>
                    </a:lnTo>
                    <a:lnTo>
                      <a:pt x="2480" y="3978"/>
                    </a:lnTo>
                    <a:lnTo>
                      <a:pt x="2500" y="3972"/>
                    </a:lnTo>
                    <a:lnTo>
                      <a:pt x="2506" y="3968"/>
                    </a:lnTo>
                    <a:lnTo>
                      <a:pt x="2510" y="3966"/>
                    </a:lnTo>
                    <a:lnTo>
                      <a:pt x="2520" y="3962"/>
                    </a:lnTo>
                    <a:lnTo>
                      <a:pt x="2520" y="3962"/>
                    </a:lnTo>
                    <a:lnTo>
                      <a:pt x="2526" y="3960"/>
                    </a:lnTo>
                    <a:lnTo>
                      <a:pt x="2528" y="3954"/>
                    </a:lnTo>
                    <a:lnTo>
                      <a:pt x="2528" y="3942"/>
                    </a:lnTo>
                    <a:lnTo>
                      <a:pt x="2528" y="3934"/>
                    </a:lnTo>
                    <a:lnTo>
                      <a:pt x="2532" y="3926"/>
                    </a:lnTo>
                    <a:lnTo>
                      <a:pt x="2542" y="3916"/>
                    </a:lnTo>
                    <a:lnTo>
                      <a:pt x="2562" y="3906"/>
                    </a:lnTo>
                    <a:lnTo>
                      <a:pt x="2562" y="3906"/>
                    </a:lnTo>
                    <a:lnTo>
                      <a:pt x="2566" y="3902"/>
                    </a:lnTo>
                    <a:lnTo>
                      <a:pt x="2572" y="3902"/>
                    </a:lnTo>
                    <a:lnTo>
                      <a:pt x="2578" y="3902"/>
                    </a:lnTo>
                    <a:lnTo>
                      <a:pt x="2578" y="3902"/>
                    </a:lnTo>
                    <a:lnTo>
                      <a:pt x="2584" y="3902"/>
                    </a:lnTo>
                    <a:lnTo>
                      <a:pt x="2586" y="3900"/>
                    </a:lnTo>
                    <a:lnTo>
                      <a:pt x="2594" y="3894"/>
                    </a:lnTo>
                    <a:lnTo>
                      <a:pt x="2600" y="3892"/>
                    </a:lnTo>
                    <a:lnTo>
                      <a:pt x="2606" y="3890"/>
                    </a:lnTo>
                    <a:lnTo>
                      <a:pt x="2614" y="3888"/>
                    </a:lnTo>
                    <a:lnTo>
                      <a:pt x="2624" y="3890"/>
                    </a:lnTo>
                    <a:lnTo>
                      <a:pt x="2624" y="3890"/>
                    </a:lnTo>
                    <a:lnTo>
                      <a:pt x="2630" y="3890"/>
                    </a:lnTo>
                    <a:lnTo>
                      <a:pt x="2634" y="3890"/>
                    </a:lnTo>
                    <a:lnTo>
                      <a:pt x="2638" y="3888"/>
                    </a:lnTo>
                    <a:lnTo>
                      <a:pt x="2642" y="3886"/>
                    </a:lnTo>
                    <a:lnTo>
                      <a:pt x="2646" y="3878"/>
                    </a:lnTo>
                    <a:lnTo>
                      <a:pt x="2650" y="3868"/>
                    </a:lnTo>
                    <a:lnTo>
                      <a:pt x="2654" y="3858"/>
                    </a:lnTo>
                    <a:lnTo>
                      <a:pt x="2658" y="3850"/>
                    </a:lnTo>
                    <a:lnTo>
                      <a:pt x="2664" y="3844"/>
                    </a:lnTo>
                    <a:lnTo>
                      <a:pt x="2670" y="3842"/>
                    </a:lnTo>
                    <a:lnTo>
                      <a:pt x="2676" y="3842"/>
                    </a:lnTo>
                    <a:lnTo>
                      <a:pt x="2676" y="3842"/>
                    </a:lnTo>
                    <a:lnTo>
                      <a:pt x="2690" y="3840"/>
                    </a:lnTo>
                    <a:lnTo>
                      <a:pt x="2698" y="3836"/>
                    </a:lnTo>
                    <a:lnTo>
                      <a:pt x="2702" y="3830"/>
                    </a:lnTo>
                    <a:lnTo>
                      <a:pt x="2704" y="3822"/>
                    </a:lnTo>
                    <a:lnTo>
                      <a:pt x="2708" y="3814"/>
                    </a:lnTo>
                    <a:lnTo>
                      <a:pt x="2712" y="3806"/>
                    </a:lnTo>
                    <a:lnTo>
                      <a:pt x="2720" y="3798"/>
                    </a:lnTo>
                    <a:lnTo>
                      <a:pt x="2734" y="3794"/>
                    </a:lnTo>
                    <a:lnTo>
                      <a:pt x="2734" y="3794"/>
                    </a:lnTo>
                    <a:lnTo>
                      <a:pt x="2746" y="3790"/>
                    </a:lnTo>
                    <a:lnTo>
                      <a:pt x="2752" y="3786"/>
                    </a:lnTo>
                    <a:lnTo>
                      <a:pt x="2754" y="3782"/>
                    </a:lnTo>
                    <a:lnTo>
                      <a:pt x="2752" y="3776"/>
                    </a:lnTo>
                    <a:lnTo>
                      <a:pt x="2750" y="3768"/>
                    </a:lnTo>
                    <a:lnTo>
                      <a:pt x="2750" y="3758"/>
                    </a:lnTo>
                    <a:lnTo>
                      <a:pt x="2750" y="3746"/>
                    </a:lnTo>
                    <a:lnTo>
                      <a:pt x="2754" y="3730"/>
                    </a:lnTo>
                    <a:lnTo>
                      <a:pt x="2754" y="3730"/>
                    </a:lnTo>
                    <a:lnTo>
                      <a:pt x="2760" y="3716"/>
                    </a:lnTo>
                    <a:lnTo>
                      <a:pt x="2764" y="3710"/>
                    </a:lnTo>
                    <a:lnTo>
                      <a:pt x="2768" y="3712"/>
                    </a:lnTo>
                    <a:lnTo>
                      <a:pt x="2770" y="3714"/>
                    </a:lnTo>
                    <a:lnTo>
                      <a:pt x="2772" y="3718"/>
                    </a:lnTo>
                    <a:lnTo>
                      <a:pt x="2776" y="3720"/>
                    </a:lnTo>
                    <a:lnTo>
                      <a:pt x="2780" y="3716"/>
                    </a:lnTo>
                    <a:lnTo>
                      <a:pt x="2786" y="3704"/>
                    </a:lnTo>
                    <a:lnTo>
                      <a:pt x="2786" y="3704"/>
                    </a:lnTo>
                    <a:lnTo>
                      <a:pt x="2792" y="3692"/>
                    </a:lnTo>
                    <a:lnTo>
                      <a:pt x="2796" y="3684"/>
                    </a:lnTo>
                    <a:lnTo>
                      <a:pt x="2806" y="3674"/>
                    </a:lnTo>
                    <a:lnTo>
                      <a:pt x="2816" y="3664"/>
                    </a:lnTo>
                    <a:lnTo>
                      <a:pt x="2820" y="3656"/>
                    </a:lnTo>
                    <a:lnTo>
                      <a:pt x="2824" y="3644"/>
                    </a:lnTo>
                    <a:lnTo>
                      <a:pt x="2824" y="3644"/>
                    </a:lnTo>
                    <a:lnTo>
                      <a:pt x="2830" y="3628"/>
                    </a:lnTo>
                    <a:lnTo>
                      <a:pt x="2834" y="3618"/>
                    </a:lnTo>
                    <a:lnTo>
                      <a:pt x="2834" y="3616"/>
                    </a:lnTo>
                    <a:lnTo>
                      <a:pt x="2832" y="3614"/>
                    </a:lnTo>
                    <a:lnTo>
                      <a:pt x="2822" y="3608"/>
                    </a:lnTo>
                    <a:lnTo>
                      <a:pt x="2822" y="3608"/>
                    </a:lnTo>
                    <a:close/>
                    <a:moveTo>
                      <a:pt x="2468" y="3400"/>
                    </a:moveTo>
                    <a:lnTo>
                      <a:pt x="2468" y="3400"/>
                    </a:lnTo>
                    <a:lnTo>
                      <a:pt x="2470" y="3400"/>
                    </a:lnTo>
                    <a:lnTo>
                      <a:pt x="2468" y="3400"/>
                    </a:lnTo>
                    <a:lnTo>
                      <a:pt x="2468" y="3400"/>
                    </a:lnTo>
                    <a:lnTo>
                      <a:pt x="2468" y="3400"/>
                    </a:lnTo>
                    <a:lnTo>
                      <a:pt x="2468" y="3400"/>
                    </a:lnTo>
                    <a:close/>
                    <a:moveTo>
                      <a:pt x="1836" y="3098"/>
                    </a:moveTo>
                    <a:lnTo>
                      <a:pt x="1836" y="3098"/>
                    </a:lnTo>
                    <a:lnTo>
                      <a:pt x="1838" y="3094"/>
                    </a:lnTo>
                    <a:lnTo>
                      <a:pt x="1842" y="3094"/>
                    </a:lnTo>
                    <a:lnTo>
                      <a:pt x="1842" y="3094"/>
                    </a:lnTo>
                    <a:lnTo>
                      <a:pt x="1838" y="3094"/>
                    </a:lnTo>
                    <a:lnTo>
                      <a:pt x="1836" y="3098"/>
                    </a:lnTo>
                    <a:lnTo>
                      <a:pt x="1836" y="3098"/>
                    </a:lnTo>
                    <a:close/>
                    <a:moveTo>
                      <a:pt x="1856" y="3100"/>
                    </a:moveTo>
                    <a:lnTo>
                      <a:pt x="1856" y="3100"/>
                    </a:lnTo>
                    <a:lnTo>
                      <a:pt x="1856" y="3102"/>
                    </a:lnTo>
                    <a:lnTo>
                      <a:pt x="1856" y="3102"/>
                    </a:lnTo>
                    <a:lnTo>
                      <a:pt x="1856" y="3102"/>
                    </a:lnTo>
                    <a:lnTo>
                      <a:pt x="1856" y="3102"/>
                    </a:lnTo>
                    <a:lnTo>
                      <a:pt x="1856" y="3100"/>
                    </a:lnTo>
                    <a:lnTo>
                      <a:pt x="1856" y="3100"/>
                    </a:lnTo>
                    <a:lnTo>
                      <a:pt x="1856" y="3090"/>
                    </a:lnTo>
                    <a:lnTo>
                      <a:pt x="1858" y="3084"/>
                    </a:lnTo>
                    <a:lnTo>
                      <a:pt x="1860" y="3082"/>
                    </a:lnTo>
                    <a:lnTo>
                      <a:pt x="1860" y="3082"/>
                    </a:lnTo>
                    <a:lnTo>
                      <a:pt x="1858" y="3084"/>
                    </a:lnTo>
                    <a:lnTo>
                      <a:pt x="1856" y="3090"/>
                    </a:lnTo>
                    <a:lnTo>
                      <a:pt x="1856" y="3100"/>
                    </a:lnTo>
                    <a:lnTo>
                      <a:pt x="1856" y="3100"/>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sp>
            <p:nvSpPr>
              <p:cNvPr id="112" name="Freeform 6156"/>
              <p:cNvSpPr>
                <a:spLocks noEditPoints="1"/>
              </p:cNvSpPr>
              <p:nvPr/>
            </p:nvSpPr>
            <p:spPr bwMode="auto">
              <a:xfrm>
                <a:off x="5028596" y="1282280"/>
                <a:ext cx="3353404" cy="3128784"/>
              </a:xfrm>
              <a:custGeom>
                <a:avLst/>
                <a:gdLst/>
                <a:ahLst/>
                <a:cxnLst>
                  <a:cxn ang="0">
                    <a:pos x="526" y="538"/>
                  </a:cxn>
                  <a:cxn ang="0">
                    <a:pos x="590" y="96"/>
                  </a:cxn>
                  <a:cxn ang="0">
                    <a:pos x="3862" y="498"/>
                  </a:cxn>
                  <a:cxn ang="0">
                    <a:pos x="5002" y="958"/>
                  </a:cxn>
                  <a:cxn ang="0">
                    <a:pos x="3368" y="758"/>
                  </a:cxn>
                  <a:cxn ang="0">
                    <a:pos x="404" y="882"/>
                  </a:cxn>
                  <a:cxn ang="0">
                    <a:pos x="76" y="120"/>
                  </a:cxn>
                  <a:cxn ang="0">
                    <a:pos x="726" y="18"/>
                  </a:cxn>
                  <a:cxn ang="0">
                    <a:pos x="690" y="124"/>
                  </a:cxn>
                  <a:cxn ang="0">
                    <a:pos x="2856" y="5256"/>
                  </a:cxn>
                  <a:cxn ang="0">
                    <a:pos x="3254" y="4402"/>
                  </a:cxn>
                  <a:cxn ang="0">
                    <a:pos x="3292" y="4482"/>
                  </a:cxn>
                  <a:cxn ang="0">
                    <a:pos x="3182" y="4204"/>
                  </a:cxn>
                  <a:cxn ang="0">
                    <a:pos x="3256" y="4348"/>
                  </a:cxn>
                  <a:cxn ang="0">
                    <a:pos x="3168" y="4352"/>
                  </a:cxn>
                  <a:cxn ang="0">
                    <a:pos x="3346" y="4866"/>
                  </a:cxn>
                  <a:cxn ang="0">
                    <a:pos x="3302" y="3114"/>
                  </a:cxn>
                  <a:cxn ang="0">
                    <a:pos x="3166" y="5238"/>
                  </a:cxn>
                  <a:cxn ang="0">
                    <a:pos x="3310" y="2936"/>
                  </a:cxn>
                  <a:cxn ang="0">
                    <a:pos x="1978" y="4450"/>
                  </a:cxn>
                  <a:cxn ang="0">
                    <a:pos x="2578" y="4662"/>
                  </a:cxn>
                  <a:cxn ang="0">
                    <a:pos x="2576" y="5220"/>
                  </a:cxn>
                  <a:cxn ang="0">
                    <a:pos x="2488" y="5076"/>
                  </a:cxn>
                  <a:cxn ang="0">
                    <a:pos x="2114" y="4658"/>
                  </a:cxn>
                  <a:cxn ang="0">
                    <a:pos x="8" y="5430"/>
                  </a:cxn>
                  <a:cxn ang="0">
                    <a:pos x="3432" y="3438"/>
                  </a:cxn>
                  <a:cxn ang="0">
                    <a:pos x="3608" y="3162"/>
                  </a:cxn>
                  <a:cxn ang="0">
                    <a:pos x="3068" y="4796"/>
                  </a:cxn>
                  <a:cxn ang="0">
                    <a:pos x="3124" y="4884"/>
                  </a:cxn>
                  <a:cxn ang="0">
                    <a:pos x="3058" y="4324"/>
                  </a:cxn>
                  <a:cxn ang="0">
                    <a:pos x="3358" y="4906"/>
                  </a:cxn>
                  <a:cxn ang="0">
                    <a:pos x="3910" y="2748"/>
                  </a:cxn>
                  <a:cxn ang="0">
                    <a:pos x="3678" y="3106"/>
                  </a:cxn>
                  <a:cxn ang="0">
                    <a:pos x="3318" y="3126"/>
                  </a:cxn>
                  <a:cxn ang="0">
                    <a:pos x="3994" y="2128"/>
                  </a:cxn>
                  <a:cxn ang="0">
                    <a:pos x="3860" y="2722"/>
                  </a:cxn>
                  <a:cxn ang="0">
                    <a:pos x="3184" y="4192"/>
                  </a:cxn>
                  <a:cxn ang="0">
                    <a:pos x="3002" y="4380"/>
                  </a:cxn>
                  <a:cxn ang="0">
                    <a:pos x="3286" y="4302"/>
                  </a:cxn>
                  <a:cxn ang="0">
                    <a:pos x="2958" y="4522"/>
                  </a:cxn>
                  <a:cxn ang="0">
                    <a:pos x="2628" y="4902"/>
                  </a:cxn>
                  <a:cxn ang="0">
                    <a:pos x="3222" y="3634"/>
                  </a:cxn>
                  <a:cxn ang="0">
                    <a:pos x="5080" y="950"/>
                  </a:cxn>
                  <a:cxn ang="0">
                    <a:pos x="3402" y="796"/>
                  </a:cxn>
                  <a:cxn ang="0">
                    <a:pos x="2280" y="434"/>
                  </a:cxn>
                  <a:cxn ang="0">
                    <a:pos x="1416" y="762"/>
                  </a:cxn>
                  <a:cxn ang="0">
                    <a:pos x="1160" y="1104"/>
                  </a:cxn>
                  <a:cxn ang="0">
                    <a:pos x="216" y="1078"/>
                  </a:cxn>
                  <a:cxn ang="0">
                    <a:pos x="654" y="3582"/>
                  </a:cxn>
                  <a:cxn ang="0">
                    <a:pos x="1282" y="4330"/>
                  </a:cxn>
                  <a:cxn ang="0">
                    <a:pos x="1866" y="3684"/>
                  </a:cxn>
                  <a:cxn ang="0">
                    <a:pos x="2194" y="4246"/>
                  </a:cxn>
                  <a:cxn ang="0">
                    <a:pos x="2286" y="4500"/>
                  </a:cxn>
                  <a:cxn ang="0">
                    <a:pos x="2566" y="4318"/>
                  </a:cxn>
                  <a:cxn ang="0">
                    <a:pos x="2746" y="3768"/>
                  </a:cxn>
                  <a:cxn ang="0">
                    <a:pos x="3044" y="3552"/>
                  </a:cxn>
                  <a:cxn ang="0">
                    <a:pos x="3128" y="3244"/>
                  </a:cxn>
                  <a:cxn ang="0">
                    <a:pos x="3000" y="2856"/>
                  </a:cxn>
                  <a:cxn ang="0">
                    <a:pos x="3312" y="2928"/>
                  </a:cxn>
                  <a:cxn ang="0">
                    <a:pos x="3352" y="2850"/>
                  </a:cxn>
                  <a:cxn ang="0">
                    <a:pos x="3800" y="2012"/>
                  </a:cxn>
                  <a:cxn ang="0">
                    <a:pos x="4728" y="1550"/>
                  </a:cxn>
                  <a:cxn ang="0">
                    <a:pos x="4848" y="1618"/>
                  </a:cxn>
                </a:cxnLst>
                <a:rect l="0" t="0" r="r" b="b"/>
                <a:pathLst>
                  <a:path w="5856" h="5472">
                    <a:moveTo>
                      <a:pt x="1912" y="64"/>
                    </a:moveTo>
                    <a:lnTo>
                      <a:pt x="1912" y="64"/>
                    </a:lnTo>
                    <a:lnTo>
                      <a:pt x="1910" y="60"/>
                    </a:lnTo>
                    <a:lnTo>
                      <a:pt x="1902" y="58"/>
                    </a:lnTo>
                    <a:lnTo>
                      <a:pt x="1882" y="54"/>
                    </a:lnTo>
                    <a:lnTo>
                      <a:pt x="1862" y="54"/>
                    </a:lnTo>
                    <a:lnTo>
                      <a:pt x="1854" y="56"/>
                    </a:lnTo>
                    <a:lnTo>
                      <a:pt x="1850" y="60"/>
                    </a:lnTo>
                    <a:lnTo>
                      <a:pt x="1850" y="60"/>
                    </a:lnTo>
                    <a:lnTo>
                      <a:pt x="1850" y="62"/>
                    </a:lnTo>
                    <a:lnTo>
                      <a:pt x="1852" y="64"/>
                    </a:lnTo>
                    <a:lnTo>
                      <a:pt x="1858" y="68"/>
                    </a:lnTo>
                    <a:lnTo>
                      <a:pt x="1868" y="70"/>
                    </a:lnTo>
                    <a:lnTo>
                      <a:pt x="1880" y="70"/>
                    </a:lnTo>
                    <a:lnTo>
                      <a:pt x="1902" y="68"/>
                    </a:lnTo>
                    <a:lnTo>
                      <a:pt x="1908" y="66"/>
                    </a:lnTo>
                    <a:lnTo>
                      <a:pt x="1912" y="64"/>
                    </a:lnTo>
                    <a:lnTo>
                      <a:pt x="1912" y="64"/>
                    </a:lnTo>
                    <a:close/>
                    <a:moveTo>
                      <a:pt x="1078" y="706"/>
                    </a:moveTo>
                    <a:lnTo>
                      <a:pt x="1078" y="706"/>
                    </a:lnTo>
                    <a:lnTo>
                      <a:pt x="1094" y="702"/>
                    </a:lnTo>
                    <a:lnTo>
                      <a:pt x="1100" y="700"/>
                    </a:lnTo>
                    <a:lnTo>
                      <a:pt x="1104" y="698"/>
                    </a:lnTo>
                    <a:lnTo>
                      <a:pt x="1104" y="694"/>
                    </a:lnTo>
                    <a:lnTo>
                      <a:pt x="1104" y="690"/>
                    </a:lnTo>
                    <a:lnTo>
                      <a:pt x="1102" y="684"/>
                    </a:lnTo>
                    <a:lnTo>
                      <a:pt x="1094" y="678"/>
                    </a:lnTo>
                    <a:lnTo>
                      <a:pt x="1082" y="674"/>
                    </a:lnTo>
                    <a:lnTo>
                      <a:pt x="1070" y="674"/>
                    </a:lnTo>
                    <a:lnTo>
                      <a:pt x="1058" y="676"/>
                    </a:lnTo>
                    <a:lnTo>
                      <a:pt x="1058" y="676"/>
                    </a:lnTo>
                    <a:lnTo>
                      <a:pt x="1048" y="682"/>
                    </a:lnTo>
                    <a:lnTo>
                      <a:pt x="1040" y="688"/>
                    </a:lnTo>
                    <a:lnTo>
                      <a:pt x="1036" y="694"/>
                    </a:lnTo>
                    <a:lnTo>
                      <a:pt x="1036" y="700"/>
                    </a:lnTo>
                    <a:lnTo>
                      <a:pt x="1040" y="704"/>
                    </a:lnTo>
                    <a:lnTo>
                      <a:pt x="1048" y="708"/>
                    </a:lnTo>
                    <a:lnTo>
                      <a:pt x="1060" y="708"/>
                    </a:lnTo>
                    <a:lnTo>
                      <a:pt x="1078" y="706"/>
                    </a:lnTo>
                    <a:lnTo>
                      <a:pt x="1078" y="706"/>
                    </a:lnTo>
                    <a:close/>
                    <a:moveTo>
                      <a:pt x="1928" y="154"/>
                    </a:moveTo>
                    <a:lnTo>
                      <a:pt x="1928" y="154"/>
                    </a:lnTo>
                    <a:lnTo>
                      <a:pt x="1914" y="152"/>
                    </a:lnTo>
                    <a:lnTo>
                      <a:pt x="1902" y="154"/>
                    </a:lnTo>
                    <a:lnTo>
                      <a:pt x="1894" y="156"/>
                    </a:lnTo>
                    <a:lnTo>
                      <a:pt x="1890" y="160"/>
                    </a:lnTo>
                    <a:lnTo>
                      <a:pt x="1890" y="164"/>
                    </a:lnTo>
                    <a:lnTo>
                      <a:pt x="1894" y="168"/>
                    </a:lnTo>
                    <a:lnTo>
                      <a:pt x="1900" y="172"/>
                    </a:lnTo>
                    <a:lnTo>
                      <a:pt x="1910" y="176"/>
                    </a:lnTo>
                    <a:lnTo>
                      <a:pt x="1910" y="176"/>
                    </a:lnTo>
                    <a:lnTo>
                      <a:pt x="1920" y="178"/>
                    </a:lnTo>
                    <a:lnTo>
                      <a:pt x="1926" y="180"/>
                    </a:lnTo>
                    <a:lnTo>
                      <a:pt x="1932" y="186"/>
                    </a:lnTo>
                    <a:lnTo>
                      <a:pt x="1934" y="188"/>
                    </a:lnTo>
                    <a:lnTo>
                      <a:pt x="1938" y="190"/>
                    </a:lnTo>
                    <a:lnTo>
                      <a:pt x="1956" y="188"/>
                    </a:lnTo>
                    <a:lnTo>
                      <a:pt x="1956" y="188"/>
                    </a:lnTo>
                    <a:lnTo>
                      <a:pt x="1982" y="180"/>
                    </a:lnTo>
                    <a:lnTo>
                      <a:pt x="1996" y="174"/>
                    </a:lnTo>
                    <a:lnTo>
                      <a:pt x="2000" y="172"/>
                    </a:lnTo>
                    <a:lnTo>
                      <a:pt x="2000" y="170"/>
                    </a:lnTo>
                    <a:lnTo>
                      <a:pt x="1998" y="168"/>
                    </a:lnTo>
                    <a:lnTo>
                      <a:pt x="1994" y="166"/>
                    </a:lnTo>
                    <a:lnTo>
                      <a:pt x="1982" y="162"/>
                    </a:lnTo>
                    <a:lnTo>
                      <a:pt x="1964" y="158"/>
                    </a:lnTo>
                    <a:lnTo>
                      <a:pt x="1928" y="154"/>
                    </a:lnTo>
                    <a:lnTo>
                      <a:pt x="1928" y="154"/>
                    </a:lnTo>
                    <a:close/>
                    <a:moveTo>
                      <a:pt x="526" y="138"/>
                    </a:moveTo>
                    <a:lnTo>
                      <a:pt x="526" y="138"/>
                    </a:lnTo>
                    <a:lnTo>
                      <a:pt x="532" y="144"/>
                    </a:lnTo>
                    <a:lnTo>
                      <a:pt x="538" y="148"/>
                    </a:lnTo>
                    <a:lnTo>
                      <a:pt x="552" y="152"/>
                    </a:lnTo>
                    <a:lnTo>
                      <a:pt x="552" y="152"/>
                    </a:lnTo>
                    <a:lnTo>
                      <a:pt x="558" y="154"/>
                    </a:lnTo>
                    <a:lnTo>
                      <a:pt x="562" y="152"/>
                    </a:lnTo>
                    <a:lnTo>
                      <a:pt x="564" y="150"/>
                    </a:lnTo>
                    <a:lnTo>
                      <a:pt x="564" y="146"/>
                    </a:lnTo>
                    <a:lnTo>
                      <a:pt x="564" y="142"/>
                    </a:lnTo>
                    <a:lnTo>
                      <a:pt x="568" y="140"/>
                    </a:lnTo>
                    <a:lnTo>
                      <a:pt x="572" y="136"/>
                    </a:lnTo>
                    <a:lnTo>
                      <a:pt x="582" y="136"/>
                    </a:lnTo>
                    <a:lnTo>
                      <a:pt x="582" y="136"/>
                    </a:lnTo>
                    <a:lnTo>
                      <a:pt x="600" y="134"/>
                    </a:lnTo>
                    <a:lnTo>
                      <a:pt x="604" y="132"/>
                    </a:lnTo>
                    <a:lnTo>
                      <a:pt x="606" y="130"/>
                    </a:lnTo>
                    <a:lnTo>
                      <a:pt x="604" y="128"/>
                    </a:lnTo>
                    <a:lnTo>
                      <a:pt x="598" y="126"/>
                    </a:lnTo>
                    <a:lnTo>
                      <a:pt x="580" y="122"/>
                    </a:lnTo>
                    <a:lnTo>
                      <a:pt x="580" y="122"/>
                    </a:lnTo>
                    <a:lnTo>
                      <a:pt x="556" y="120"/>
                    </a:lnTo>
                    <a:lnTo>
                      <a:pt x="534" y="122"/>
                    </a:lnTo>
                    <a:lnTo>
                      <a:pt x="526" y="124"/>
                    </a:lnTo>
                    <a:lnTo>
                      <a:pt x="522" y="126"/>
                    </a:lnTo>
                    <a:lnTo>
                      <a:pt x="522" y="132"/>
                    </a:lnTo>
                    <a:lnTo>
                      <a:pt x="526" y="138"/>
                    </a:lnTo>
                    <a:lnTo>
                      <a:pt x="526" y="138"/>
                    </a:lnTo>
                    <a:close/>
                    <a:moveTo>
                      <a:pt x="658" y="948"/>
                    </a:moveTo>
                    <a:lnTo>
                      <a:pt x="658" y="948"/>
                    </a:lnTo>
                    <a:lnTo>
                      <a:pt x="658" y="944"/>
                    </a:lnTo>
                    <a:lnTo>
                      <a:pt x="656" y="942"/>
                    </a:lnTo>
                    <a:lnTo>
                      <a:pt x="644" y="936"/>
                    </a:lnTo>
                    <a:lnTo>
                      <a:pt x="628" y="926"/>
                    </a:lnTo>
                    <a:lnTo>
                      <a:pt x="620" y="920"/>
                    </a:lnTo>
                    <a:lnTo>
                      <a:pt x="612" y="912"/>
                    </a:lnTo>
                    <a:lnTo>
                      <a:pt x="612" y="912"/>
                    </a:lnTo>
                    <a:lnTo>
                      <a:pt x="602" y="904"/>
                    </a:lnTo>
                    <a:lnTo>
                      <a:pt x="594" y="904"/>
                    </a:lnTo>
                    <a:lnTo>
                      <a:pt x="588" y="906"/>
                    </a:lnTo>
                    <a:lnTo>
                      <a:pt x="582" y="908"/>
                    </a:lnTo>
                    <a:lnTo>
                      <a:pt x="582" y="908"/>
                    </a:lnTo>
                    <a:lnTo>
                      <a:pt x="580" y="910"/>
                    </a:lnTo>
                    <a:lnTo>
                      <a:pt x="580" y="912"/>
                    </a:lnTo>
                    <a:lnTo>
                      <a:pt x="582" y="916"/>
                    </a:lnTo>
                    <a:lnTo>
                      <a:pt x="584" y="920"/>
                    </a:lnTo>
                    <a:lnTo>
                      <a:pt x="582" y="920"/>
                    </a:lnTo>
                    <a:lnTo>
                      <a:pt x="582" y="920"/>
                    </a:lnTo>
                    <a:lnTo>
                      <a:pt x="578" y="918"/>
                    </a:lnTo>
                    <a:lnTo>
                      <a:pt x="576" y="918"/>
                    </a:lnTo>
                    <a:lnTo>
                      <a:pt x="574" y="920"/>
                    </a:lnTo>
                    <a:lnTo>
                      <a:pt x="576" y="924"/>
                    </a:lnTo>
                    <a:lnTo>
                      <a:pt x="580" y="930"/>
                    </a:lnTo>
                    <a:lnTo>
                      <a:pt x="588" y="940"/>
                    </a:lnTo>
                    <a:lnTo>
                      <a:pt x="588" y="940"/>
                    </a:lnTo>
                    <a:lnTo>
                      <a:pt x="594" y="944"/>
                    </a:lnTo>
                    <a:lnTo>
                      <a:pt x="596" y="946"/>
                    </a:lnTo>
                    <a:lnTo>
                      <a:pt x="600" y="944"/>
                    </a:lnTo>
                    <a:lnTo>
                      <a:pt x="600" y="942"/>
                    </a:lnTo>
                    <a:lnTo>
                      <a:pt x="600" y="942"/>
                    </a:lnTo>
                    <a:lnTo>
                      <a:pt x="604" y="942"/>
                    </a:lnTo>
                    <a:lnTo>
                      <a:pt x="610" y="942"/>
                    </a:lnTo>
                    <a:lnTo>
                      <a:pt x="618" y="946"/>
                    </a:lnTo>
                    <a:lnTo>
                      <a:pt x="620" y="948"/>
                    </a:lnTo>
                    <a:lnTo>
                      <a:pt x="620" y="952"/>
                    </a:lnTo>
                    <a:lnTo>
                      <a:pt x="620" y="952"/>
                    </a:lnTo>
                    <a:lnTo>
                      <a:pt x="620" y="956"/>
                    </a:lnTo>
                    <a:lnTo>
                      <a:pt x="624" y="958"/>
                    </a:lnTo>
                    <a:lnTo>
                      <a:pt x="638" y="956"/>
                    </a:lnTo>
                    <a:lnTo>
                      <a:pt x="652" y="954"/>
                    </a:lnTo>
                    <a:lnTo>
                      <a:pt x="656" y="950"/>
                    </a:lnTo>
                    <a:lnTo>
                      <a:pt x="658" y="948"/>
                    </a:lnTo>
                    <a:lnTo>
                      <a:pt x="658" y="948"/>
                    </a:lnTo>
                    <a:close/>
                    <a:moveTo>
                      <a:pt x="768" y="460"/>
                    </a:moveTo>
                    <a:lnTo>
                      <a:pt x="768" y="460"/>
                    </a:lnTo>
                    <a:lnTo>
                      <a:pt x="752" y="466"/>
                    </a:lnTo>
                    <a:lnTo>
                      <a:pt x="742" y="468"/>
                    </a:lnTo>
                    <a:lnTo>
                      <a:pt x="736" y="468"/>
                    </a:lnTo>
                    <a:lnTo>
                      <a:pt x="732" y="466"/>
                    </a:lnTo>
                    <a:lnTo>
                      <a:pt x="728" y="462"/>
                    </a:lnTo>
                    <a:lnTo>
                      <a:pt x="722" y="460"/>
                    </a:lnTo>
                    <a:lnTo>
                      <a:pt x="712" y="458"/>
                    </a:lnTo>
                    <a:lnTo>
                      <a:pt x="698" y="460"/>
                    </a:lnTo>
                    <a:lnTo>
                      <a:pt x="698" y="460"/>
                    </a:lnTo>
                    <a:lnTo>
                      <a:pt x="682" y="462"/>
                    </a:lnTo>
                    <a:lnTo>
                      <a:pt x="674" y="464"/>
                    </a:lnTo>
                    <a:lnTo>
                      <a:pt x="672" y="468"/>
                    </a:lnTo>
                    <a:lnTo>
                      <a:pt x="672" y="470"/>
                    </a:lnTo>
                    <a:lnTo>
                      <a:pt x="674" y="474"/>
                    </a:lnTo>
                    <a:lnTo>
                      <a:pt x="674" y="476"/>
                    </a:lnTo>
                    <a:lnTo>
                      <a:pt x="672" y="478"/>
                    </a:lnTo>
                    <a:lnTo>
                      <a:pt x="664" y="476"/>
                    </a:lnTo>
                    <a:lnTo>
                      <a:pt x="664" y="476"/>
                    </a:lnTo>
                    <a:lnTo>
                      <a:pt x="652" y="478"/>
                    </a:lnTo>
                    <a:lnTo>
                      <a:pt x="636" y="480"/>
                    </a:lnTo>
                    <a:lnTo>
                      <a:pt x="620" y="484"/>
                    </a:lnTo>
                    <a:lnTo>
                      <a:pt x="602" y="492"/>
                    </a:lnTo>
                    <a:lnTo>
                      <a:pt x="584" y="500"/>
                    </a:lnTo>
                    <a:lnTo>
                      <a:pt x="568" y="508"/>
                    </a:lnTo>
                    <a:lnTo>
                      <a:pt x="554" y="518"/>
                    </a:lnTo>
                    <a:lnTo>
                      <a:pt x="544" y="528"/>
                    </a:lnTo>
                    <a:lnTo>
                      <a:pt x="544" y="528"/>
                    </a:lnTo>
                    <a:lnTo>
                      <a:pt x="538" y="536"/>
                    </a:lnTo>
                    <a:lnTo>
                      <a:pt x="532" y="538"/>
                    </a:lnTo>
                    <a:lnTo>
                      <a:pt x="528" y="538"/>
                    </a:lnTo>
                    <a:lnTo>
                      <a:pt x="526" y="538"/>
                    </a:lnTo>
                    <a:lnTo>
                      <a:pt x="524" y="536"/>
                    </a:lnTo>
                    <a:lnTo>
                      <a:pt x="520" y="534"/>
                    </a:lnTo>
                    <a:lnTo>
                      <a:pt x="514" y="536"/>
                    </a:lnTo>
                    <a:lnTo>
                      <a:pt x="506" y="542"/>
                    </a:lnTo>
                    <a:lnTo>
                      <a:pt x="506" y="542"/>
                    </a:lnTo>
                    <a:lnTo>
                      <a:pt x="498" y="548"/>
                    </a:lnTo>
                    <a:lnTo>
                      <a:pt x="494" y="550"/>
                    </a:lnTo>
                    <a:lnTo>
                      <a:pt x="490" y="548"/>
                    </a:lnTo>
                    <a:lnTo>
                      <a:pt x="488" y="546"/>
                    </a:lnTo>
                    <a:lnTo>
                      <a:pt x="488" y="544"/>
                    </a:lnTo>
                    <a:lnTo>
                      <a:pt x="484" y="542"/>
                    </a:lnTo>
                    <a:lnTo>
                      <a:pt x="480" y="542"/>
                    </a:lnTo>
                    <a:lnTo>
                      <a:pt x="474" y="546"/>
                    </a:lnTo>
                    <a:lnTo>
                      <a:pt x="474" y="546"/>
                    </a:lnTo>
                    <a:lnTo>
                      <a:pt x="470" y="550"/>
                    </a:lnTo>
                    <a:lnTo>
                      <a:pt x="468" y="554"/>
                    </a:lnTo>
                    <a:lnTo>
                      <a:pt x="470" y="558"/>
                    </a:lnTo>
                    <a:lnTo>
                      <a:pt x="474" y="560"/>
                    </a:lnTo>
                    <a:lnTo>
                      <a:pt x="480" y="564"/>
                    </a:lnTo>
                    <a:lnTo>
                      <a:pt x="480" y="568"/>
                    </a:lnTo>
                    <a:lnTo>
                      <a:pt x="476" y="570"/>
                    </a:lnTo>
                    <a:lnTo>
                      <a:pt x="476" y="570"/>
                    </a:lnTo>
                    <a:lnTo>
                      <a:pt x="472" y="572"/>
                    </a:lnTo>
                    <a:lnTo>
                      <a:pt x="470" y="576"/>
                    </a:lnTo>
                    <a:lnTo>
                      <a:pt x="472" y="578"/>
                    </a:lnTo>
                    <a:lnTo>
                      <a:pt x="476" y="580"/>
                    </a:lnTo>
                    <a:lnTo>
                      <a:pt x="478" y="582"/>
                    </a:lnTo>
                    <a:lnTo>
                      <a:pt x="478" y="584"/>
                    </a:lnTo>
                    <a:lnTo>
                      <a:pt x="476" y="586"/>
                    </a:lnTo>
                    <a:lnTo>
                      <a:pt x="468" y="586"/>
                    </a:lnTo>
                    <a:lnTo>
                      <a:pt x="468" y="586"/>
                    </a:lnTo>
                    <a:lnTo>
                      <a:pt x="460" y="588"/>
                    </a:lnTo>
                    <a:lnTo>
                      <a:pt x="454" y="594"/>
                    </a:lnTo>
                    <a:lnTo>
                      <a:pt x="450" y="600"/>
                    </a:lnTo>
                    <a:lnTo>
                      <a:pt x="446" y="606"/>
                    </a:lnTo>
                    <a:lnTo>
                      <a:pt x="442" y="614"/>
                    </a:lnTo>
                    <a:lnTo>
                      <a:pt x="436" y="622"/>
                    </a:lnTo>
                    <a:lnTo>
                      <a:pt x="426" y="630"/>
                    </a:lnTo>
                    <a:lnTo>
                      <a:pt x="414" y="636"/>
                    </a:lnTo>
                    <a:lnTo>
                      <a:pt x="414" y="636"/>
                    </a:lnTo>
                    <a:lnTo>
                      <a:pt x="390" y="648"/>
                    </a:lnTo>
                    <a:lnTo>
                      <a:pt x="384" y="654"/>
                    </a:lnTo>
                    <a:lnTo>
                      <a:pt x="380" y="658"/>
                    </a:lnTo>
                    <a:lnTo>
                      <a:pt x="380" y="662"/>
                    </a:lnTo>
                    <a:lnTo>
                      <a:pt x="382" y="666"/>
                    </a:lnTo>
                    <a:lnTo>
                      <a:pt x="390" y="666"/>
                    </a:lnTo>
                    <a:lnTo>
                      <a:pt x="400" y="666"/>
                    </a:lnTo>
                    <a:lnTo>
                      <a:pt x="400" y="666"/>
                    </a:lnTo>
                    <a:lnTo>
                      <a:pt x="408" y="668"/>
                    </a:lnTo>
                    <a:lnTo>
                      <a:pt x="410" y="670"/>
                    </a:lnTo>
                    <a:lnTo>
                      <a:pt x="408" y="674"/>
                    </a:lnTo>
                    <a:lnTo>
                      <a:pt x="406" y="678"/>
                    </a:lnTo>
                    <a:lnTo>
                      <a:pt x="402" y="680"/>
                    </a:lnTo>
                    <a:lnTo>
                      <a:pt x="402" y="684"/>
                    </a:lnTo>
                    <a:lnTo>
                      <a:pt x="406" y="684"/>
                    </a:lnTo>
                    <a:lnTo>
                      <a:pt x="416" y="682"/>
                    </a:lnTo>
                    <a:lnTo>
                      <a:pt x="416" y="682"/>
                    </a:lnTo>
                    <a:lnTo>
                      <a:pt x="438" y="676"/>
                    </a:lnTo>
                    <a:lnTo>
                      <a:pt x="446" y="676"/>
                    </a:lnTo>
                    <a:lnTo>
                      <a:pt x="454" y="676"/>
                    </a:lnTo>
                    <a:lnTo>
                      <a:pt x="460" y="678"/>
                    </a:lnTo>
                    <a:lnTo>
                      <a:pt x="466" y="682"/>
                    </a:lnTo>
                    <a:lnTo>
                      <a:pt x="486" y="692"/>
                    </a:lnTo>
                    <a:lnTo>
                      <a:pt x="486" y="692"/>
                    </a:lnTo>
                    <a:lnTo>
                      <a:pt x="496" y="696"/>
                    </a:lnTo>
                    <a:lnTo>
                      <a:pt x="508" y="694"/>
                    </a:lnTo>
                    <a:lnTo>
                      <a:pt x="514" y="692"/>
                    </a:lnTo>
                    <a:lnTo>
                      <a:pt x="518" y="690"/>
                    </a:lnTo>
                    <a:lnTo>
                      <a:pt x="522" y="686"/>
                    </a:lnTo>
                    <a:lnTo>
                      <a:pt x="524" y="680"/>
                    </a:lnTo>
                    <a:lnTo>
                      <a:pt x="524" y="680"/>
                    </a:lnTo>
                    <a:lnTo>
                      <a:pt x="526" y="674"/>
                    </a:lnTo>
                    <a:lnTo>
                      <a:pt x="528" y="672"/>
                    </a:lnTo>
                    <a:lnTo>
                      <a:pt x="538" y="670"/>
                    </a:lnTo>
                    <a:lnTo>
                      <a:pt x="542" y="668"/>
                    </a:lnTo>
                    <a:lnTo>
                      <a:pt x="546" y="664"/>
                    </a:lnTo>
                    <a:lnTo>
                      <a:pt x="550" y="660"/>
                    </a:lnTo>
                    <a:lnTo>
                      <a:pt x="554" y="650"/>
                    </a:lnTo>
                    <a:lnTo>
                      <a:pt x="554" y="650"/>
                    </a:lnTo>
                    <a:lnTo>
                      <a:pt x="558" y="640"/>
                    </a:lnTo>
                    <a:lnTo>
                      <a:pt x="562" y="634"/>
                    </a:lnTo>
                    <a:lnTo>
                      <a:pt x="566" y="630"/>
                    </a:lnTo>
                    <a:lnTo>
                      <a:pt x="572" y="628"/>
                    </a:lnTo>
                    <a:lnTo>
                      <a:pt x="580" y="624"/>
                    </a:lnTo>
                    <a:lnTo>
                      <a:pt x="584" y="622"/>
                    </a:lnTo>
                    <a:lnTo>
                      <a:pt x="586" y="616"/>
                    </a:lnTo>
                    <a:lnTo>
                      <a:pt x="586" y="616"/>
                    </a:lnTo>
                    <a:lnTo>
                      <a:pt x="588" y="606"/>
                    </a:lnTo>
                    <a:lnTo>
                      <a:pt x="590" y="602"/>
                    </a:lnTo>
                    <a:lnTo>
                      <a:pt x="594" y="600"/>
                    </a:lnTo>
                    <a:lnTo>
                      <a:pt x="610" y="594"/>
                    </a:lnTo>
                    <a:lnTo>
                      <a:pt x="638" y="584"/>
                    </a:lnTo>
                    <a:lnTo>
                      <a:pt x="638" y="584"/>
                    </a:lnTo>
                    <a:lnTo>
                      <a:pt x="652" y="578"/>
                    </a:lnTo>
                    <a:lnTo>
                      <a:pt x="658" y="572"/>
                    </a:lnTo>
                    <a:lnTo>
                      <a:pt x="662" y="568"/>
                    </a:lnTo>
                    <a:lnTo>
                      <a:pt x="664" y="564"/>
                    </a:lnTo>
                    <a:lnTo>
                      <a:pt x="668" y="558"/>
                    </a:lnTo>
                    <a:lnTo>
                      <a:pt x="674" y="552"/>
                    </a:lnTo>
                    <a:lnTo>
                      <a:pt x="688" y="544"/>
                    </a:lnTo>
                    <a:lnTo>
                      <a:pt x="712" y="534"/>
                    </a:lnTo>
                    <a:lnTo>
                      <a:pt x="712" y="534"/>
                    </a:lnTo>
                    <a:lnTo>
                      <a:pt x="744" y="522"/>
                    </a:lnTo>
                    <a:lnTo>
                      <a:pt x="778" y="512"/>
                    </a:lnTo>
                    <a:lnTo>
                      <a:pt x="854" y="492"/>
                    </a:lnTo>
                    <a:lnTo>
                      <a:pt x="924" y="474"/>
                    </a:lnTo>
                    <a:lnTo>
                      <a:pt x="956" y="464"/>
                    </a:lnTo>
                    <a:lnTo>
                      <a:pt x="980" y="454"/>
                    </a:lnTo>
                    <a:lnTo>
                      <a:pt x="980" y="454"/>
                    </a:lnTo>
                    <a:lnTo>
                      <a:pt x="990" y="448"/>
                    </a:lnTo>
                    <a:lnTo>
                      <a:pt x="998" y="444"/>
                    </a:lnTo>
                    <a:lnTo>
                      <a:pt x="1002" y="438"/>
                    </a:lnTo>
                    <a:lnTo>
                      <a:pt x="1002" y="432"/>
                    </a:lnTo>
                    <a:lnTo>
                      <a:pt x="1002" y="428"/>
                    </a:lnTo>
                    <a:lnTo>
                      <a:pt x="1000" y="424"/>
                    </a:lnTo>
                    <a:lnTo>
                      <a:pt x="996" y="420"/>
                    </a:lnTo>
                    <a:lnTo>
                      <a:pt x="990" y="416"/>
                    </a:lnTo>
                    <a:lnTo>
                      <a:pt x="974" y="410"/>
                    </a:lnTo>
                    <a:lnTo>
                      <a:pt x="954" y="406"/>
                    </a:lnTo>
                    <a:lnTo>
                      <a:pt x="932" y="408"/>
                    </a:lnTo>
                    <a:lnTo>
                      <a:pt x="908" y="412"/>
                    </a:lnTo>
                    <a:lnTo>
                      <a:pt x="908" y="412"/>
                    </a:lnTo>
                    <a:lnTo>
                      <a:pt x="878" y="422"/>
                    </a:lnTo>
                    <a:lnTo>
                      <a:pt x="874" y="426"/>
                    </a:lnTo>
                    <a:lnTo>
                      <a:pt x="870" y="428"/>
                    </a:lnTo>
                    <a:lnTo>
                      <a:pt x="868" y="430"/>
                    </a:lnTo>
                    <a:lnTo>
                      <a:pt x="864" y="434"/>
                    </a:lnTo>
                    <a:lnTo>
                      <a:pt x="856" y="438"/>
                    </a:lnTo>
                    <a:lnTo>
                      <a:pt x="842" y="444"/>
                    </a:lnTo>
                    <a:lnTo>
                      <a:pt x="842" y="444"/>
                    </a:lnTo>
                    <a:lnTo>
                      <a:pt x="818" y="450"/>
                    </a:lnTo>
                    <a:lnTo>
                      <a:pt x="808" y="450"/>
                    </a:lnTo>
                    <a:lnTo>
                      <a:pt x="798" y="452"/>
                    </a:lnTo>
                    <a:lnTo>
                      <a:pt x="768" y="460"/>
                    </a:lnTo>
                    <a:lnTo>
                      <a:pt x="768" y="460"/>
                    </a:lnTo>
                    <a:close/>
                    <a:moveTo>
                      <a:pt x="484" y="70"/>
                    </a:moveTo>
                    <a:lnTo>
                      <a:pt x="484" y="70"/>
                    </a:lnTo>
                    <a:lnTo>
                      <a:pt x="482" y="70"/>
                    </a:lnTo>
                    <a:lnTo>
                      <a:pt x="484" y="70"/>
                    </a:lnTo>
                    <a:lnTo>
                      <a:pt x="490" y="72"/>
                    </a:lnTo>
                    <a:lnTo>
                      <a:pt x="500" y="74"/>
                    </a:lnTo>
                    <a:lnTo>
                      <a:pt x="510" y="78"/>
                    </a:lnTo>
                    <a:lnTo>
                      <a:pt x="510" y="78"/>
                    </a:lnTo>
                    <a:lnTo>
                      <a:pt x="528" y="86"/>
                    </a:lnTo>
                    <a:lnTo>
                      <a:pt x="538" y="86"/>
                    </a:lnTo>
                    <a:lnTo>
                      <a:pt x="554" y="86"/>
                    </a:lnTo>
                    <a:lnTo>
                      <a:pt x="554" y="86"/>
                    </a:lnTo>
                    <a:lnTo>
                      <a:pt x="568" y="86"/>
                    </a:lnTo>
                    <a:lnTo>
                      <a:pt x="568" y="84"/>
                    </a:lnTo>
                    <a:lnTo>
                      <a:pt x="566" y="82"/>
                    </a:lnTo>
                    <a:lnTo>
                      <a:pt x="544" y="76"/>
                    </a:lnTo>
                    <a:lnTo>
                      <a:pt x="544" y="76"/>
                    </a:lnTo>
                    <a:lnTo>
                      <a:pt x="530" y="72"/>
                    </a:lnTo>
                    <a:lnTo>
                      <a:pt x="512" y="70"/>
                    </a:lnTo>
                    <a:lnTo>
                      <a:pt x="496" y="68"/>
                    </a:lnTo>
                    <a:lnTo>
                      <a:pt x="484" y="70"/>
                    </a:lnTo>
                    <a:lnTo>
                      <a:pt x="484" y="70"/>
                    </a:lnTo>
                    <a:close/>
                    <a:moveTo>
                      <a:pt x="542" y="114"/>
                    </a:moveTo>
                    <a:lnTo>
                      <a:pt x="542" y="114"/>
                    </a:lnTo>
                    <a:lnTo>
                      <a:pt x="554" y="116"/>
                    </a:lnTo>
                    <a:lnTo>
                      <a:pt x="558" y="114"/>
                    </a:lnTo>
                    <a:lnTo>
                      <a:pt x="560" y="112"/>
                    </a:lnTo>
                    <a:lnTo>
                      <a:pt x="560" y="110"/>
                    </a:lnTo>
                    <a:lnTo>
                      <a:pt x="560" y="108"/>
                    </a:lnTo>
                    <a:lnTo>
                      <a:pt x="554" y="106"/>
                    </a:lnTo>
                    <a:lnTo>
                      <a:pt x="554" y="106"/>
                    </a:lnTo>
                    <a:lnTo>
                      <a:pt x="542" y="106"/>
                    </a:lnTo>
                    <a:lnTo>
                      <a:pt x="532" y="108"/>
                    </a:lnTo>
                    <a:lnTo>
                      <a:pt x="530" y="110"/>
                    </a:lnTo>
                    <a:lnTo>
                      <a:pt x="532" y="112"/>
                    </a:lnTo>
                    <a:lnTo>
                      <a:pt x="534" y="114"/>
                    </a:lnTo>
                    <a:lnTo>
                      <a:pt x="542" y="114"/>
                    </a:lnTo>
                    <a:lnTo>
                      <a:pt x="542" y="114"/>
                    </a:lnTo>
                    <a:close/>
                    <a:moveTo>
                      <a:pt x="590" y="96"/>
                    </a:moveTo>
                    <a:lnTo>
                      <a:pt x="590" y="96"/>
                    </a:lnTo>
                    <a:lnTo>
                      <a:pt x="596" y="94"/>
                    </a:lnTo>
                    <a:lnTo>
                      <a:pt x="598" y="92"/>
                    </a:lnTo>
                    <a:lnTo>
                      <a:pt x="598" y="90"/>
                    </a:lnTo>
                    <a:lnTo>
                      <a:pt x="596" y="88"/>
                    </a:lnTo>
                    <a:lnTo>
                      <a:pt x="592" y="86"/>
                    </a:lnTo>
                    <a:lnTo>
                      <a:pt x="584" y="86"/>
                    </a:lnTo>
                    <a:lnTo>
                      <a:pt x="574" y="88"/>
                    </a:lnTo>
                    <a:lnTo>
                      <a:pt x="574" y="88"/>
                    </a:lnTo>
                    <a:lnTo>
                      <a:pt x="562" y="90"/>
                    </a:lnTo>
                    <a:lnTo>
                      <a:pt x="556" y="92"/>
                    </a:lnTo>
                    <a:lnTo>
                      <a:pt x="556" y="92"/>
                    </a:lnTo>
                    <a:lnTo>
                      <a:pt x="556" y="94"/>
                    </a:lnTo>
                    <a:lnTo>
                      <a:pt x="560" y="96"/>
                    </a:lnTo>
                    <a:lnTo>
                      <a:pt x="576" y="96"/>
                    </a:lnTo>
                    <a:lnTo>
                      <a:pt x="590" y="96"/>
                    </a:lnTo>
                    <a:lnTo>
                      <a:pt x="590" y="96"/>
                    </a:lnTo>
                    <a:close/>
                    <a:moveTo>
                      <a:pt x="554" y="70"/>
                    </a:moveTo>
                    <a:lnTo>
                      <a:pt x="554" y="70"/>
                    </a:lnTo>
                    <a:lnTo>
                      <a:pt x="554" y="72"/>
                    </a:lnTo>
                    <a:lnTo>
                      <a:pt x="554" y="74"/>
                    </a:lnTo>
                    <a:lnTo>
                      <a:pt x="562" y="78"/>
                    </a:lnTo>
                    <a:lnTo>
                      <a:pt x="572" y="80"/>
                    </a:lnTo>
                    <a:lnTo>
                      <a:pt x="582" y="80"/>
                    </a:lnTo>
                    <a:lnTo>
                      <a:pt x="582" y="80"/>
                    </a:lnTo>
                    <a:lnTo>
                      <a:pt x="584" y="78"/>
                    </a:lnTo>
                    <a:lnTo>
                      <a:pt x="584" y="76"/>
                    </a:lnTo>
                    <a:lnTo>
                      <a:pt x="576" y="72"/>
                    </a:lnTo>
                    <a:lnTo>
                      <a:pt x="564" y="68"/>
                    </a:lnTo>
                    <a:lnTo>
                      <a:pt x="558" y="68"/>
                    </a:lnTo>
                    <a:lnTo>
                      <a:pt x="554" y="70"/>
                    </a:lnTo>
                    <a:lnTo>
                      <a:pt x="554" y="70"/>
                    </a:lnTo>
                    <a:close/>
                    <a:moveTo>
                      <a:pt x="1962" y="108"/>
                    </a:moveTo>
                    <a:lnTo>
                      <a:pt x="1962" y="108"/>
                    </a:lnTo>
                    <a:lnTo>
                      <a:pt x="1950" y="114"/>
                    </a:lnTo>
                    <a:lnTo>
                      <a:pt x="1938" y="120"/>
                    </a:lnTo>
                    <a:lnTo>
                      <a:pt x="1916" y="128"/>
                    </a:lnTo>
                    <a:lnTo>
                      <a:pt x="1908" y="132"/>
                    </a:lnTo>
                    <a:lnTo>
                      <a:pt x="1906" y="134"/>
                    </a:lnTo>
                    <a:lnTo>
                      <a:pt x="1908" y="136"/>
                    </a:lnTo>
                    <a:lnTo>
                      <a:pt x="1918" y="138"/>
                    </a:lnTo>
                    <a:lnTo>
                      <a:pt x="1918" y="138"/>
                    </a:lnTo>
                    <a:lnTo>
                      <a:pt x="1930" y="138"/>
                    </a:lnTo>
                    <a:lnTo>
                      <a:pt x="1938" y="142"/>
                    </a:lnTo>
                    <a:lnTo>
                      <a:pt x="1952" y="146"/>
                    </a:lnTo>
                    <a:lnTo>
                      <a:pt x="1968" y="154"/>
                    </a:lnTo>
                    <a:lnTo>
                      <a:pt x="1980" y="156"/>
                    </a:lnTo>
                    <a:lnTo>
                      <a:pt x="1994" y="158"/>
                    </a:lnTo>
                    <a:lnTo>
                      <a:pt x="1994" y="158"/>
                    </a:lnTo>
                    <a:lnTo>
                      <a:pt x="2010" y="158"/>
                    </a:lnTo>
                    <a:lnTo>
                      <a:pt x="2016" y="158"/>
                    </a:lnTo>
                    <a:lnTo>
                      <a:pt x="2020" y="156"/>
                    </a:lnTo>
                    <a:lnTo>
                      <a:pt x="2022" y="152"/>
                    </a:lnTo>
                    <a:lnTo>
                      <a:pt x="2024" y="150"/>
                    </a:lnTo>
                    <a:lnTo>
                      <a:pt x="2028" y="146"/>
                    </a:lnTo>
                    <a:lnTo>
                      <a:pt x="2040" y="142"/>
                    </a:lnTo>
                    <a:lnTo>
                      <a:pt x="2058" y="140"/>
                    </a:lnTo>
                    <a:lnTo>
                      <a:pt x="2058" y="140"/>
                    </a:lnTo>
                    <a:lnTo>
                      <a:pt x="2100" y="140"/>
                    </a:lnTo>
                    <a:lnTo>
                      <a:pt x="2130" y="140"/>
                    </a:lnTo>
                    <a:lnTo>
                      <a:pt x="2138" y="138"/>
                    </a:lnTo>
                    <a:lnTo>
                      <a:pt x="2142" y="136"/>
                    </a:lnTo>
                    <a:lnTo>
                      <a:pt x="2142" y="130"/>
                    </a:lnTo>
                    <a:lnTo>
                      <a:pt x="2136" y="122"/>
                    </a:lnTo>
                    <a:lnTo>
                      <a:pt x="2136" y="122"/>
                    </a:lnTo>
                    <a:lnTo>
                      <a:pt x="2132" y="114"/>
                    </a:lnTo>
                    <a:lnTo>
                      <a:pt x="2132" y="112"/>
                    </a:lnTo>
                    <a:lnTo>
                      <a:pt x="2134" y="110"/>
                    </a:lnTo>
                    <a:lnTo>
                      <a:pt x="2140" y="108"/>
                    </a:lnTo>
                    <a:lnTo>
                      <a:pt x="2146" y="106"/>
                    </a:lnTo>
                    <a:lnTo>
                      <a:pt x="2162" y="104"/>
                    </a:lnTo>
                    <a:lnTo>
                      <a:pt x="2164" y="102"/>
                    </a:lnTo>
                    <a:lnTo>
                      <a:pt x="2166" y="100"/>
                    </a:lnTo>
                    <a:lnTo>
                      <a:pt x="2164" y="96"/>
                    </a:lnTo>
                    <a:lnTo>
                      <a:pt x="2164" y="96"/>
                    </a:lnTo>
                    <a:lnTo>
                      <a:pt x="2160" y="92"/>
                    </a:lnTo>
                    <a:lnTo>
                      <a:pt x="2154" y="90"/>
                    </a:lnTo>
                    <a:lnTo>
                      <a:pt x="2142" y="88"/>
                    </a:lnTo>
                    <a:lnTo>
                      <a:pt x="2136" y="88"/>
                    </a:lnTo>
                    <a:lnTo>
                      <a:pt x="2128" y="86"/>
                    </a:lnTo>
                    <a:lnTo>
                      <a:pt x="2118" y="82"/>
                    </a:lnTo>
                    <a:lnTo>
                      <a:pt x="2110" y="74"/>
                    </a:lnTo>
                    <a:lnTo>
                      <a:pt x="2110" y="74"/>
                    </a:lnTo>
                    <a:lnTo>
                      <a:pt x="2090" y="60"/>
                    </a:lnTo>
                    <a:lnTo>
                      <a:pt x="2082" y="56"/>
                    </a:lnTo>
                    <a:lnTo>
                      <a:pt x="2076" y="52"/>
                    </a:lnTo>
                    <a:lnTo>
                      <a:pt x="2068" y="50"/>
                    </a:lnTo>
                    <a:lnTo>
                      <a:pt x="2060" y="50"/>
                    </a:lnTo>
                    <a:lnTo>
                      <a:pt x="2052" y="54"/>
                    </a:lnTo>
                    <a:lnTo>
                      <a:pt x="2044" y="58"/>
                    </a:lnTo>
                    <a:lnTo>
                      <a:pt x="2044" y="58"/>
                    </a:lnTo>
                    <a:lnTo>
                      <a:pt x="2034" y="62"/>
                    </a:lnTo>
                    <a:lnTo>
                      <a:pt x="2026" y="66"/>
                    </a:lnTo>
                    <a:lnTo>
                      <a:pt x="2008" y="68"/>
                    </a:lnTo>
                    <a:lnTo>
                      <a:pt x="1988" y="74"/>
                    </a:lnTo>
                    <a:lnTo>
                      <a:pt x="1978" y="78"/>
                    </a:lnTo>
                    <a:lnTo>
                      <a:pt x="1964" y="84"/>
                    </a:lnTo>
                    <a:lnTo>
                      <a:pt x="1964" y="84"/>
                    </a:lnTo>
                    <a:lnTo>
                      <a:pt x="1954" y="92"/>
                    </a:lnTo>
                    <a:lnTo>
                      <a:pt x="1952" y="94"/>
                    </a:lnTo>
                    <a:lnTo>
                      <a:pt x="1954" y="96"/>
                    </a:lnTo>
                    <a:lnTo>
                      <a:pt x="1960" y="98"/>
                    </a:lnTo>
                    <a:lnTo>
                      <a:pt x="1964" y="98"/>
                    </a:lnTo>
                    <a:lnTo>
                      <a:pt x="1968" y="98"/>
                    </a:lnTo>
                    <a:lnTo>
                      <a:pt x="1968" y="100"/>
                    </a:lnTo>
                    <a:lnTo>
                      <a:pt x="1968" y="102"/>
                    </a:lnTo>
                    <a:lnTo>
                      <a:pt x="1962" y="108"/>
                    </a:lnTo>
                    <a:lnTo>
                      <a:pt x="1962" y="108"/>
                    </a:lnTo>
                    <a:close/>
                    <a:moveTo>
                      <a:pt x="3810" y="584"/>
                    </a:moveTo>
                    <a:lnTo>
                      <a:pt x="3810" y="584"/>
                    </a:lnTo>
                    <a:lnTo>
                      <a:pt x="3826" y="588"/>
                    </a:lnTo>
                    <a:lnTo>
                      <a:pt x="3834" y="588"/>
                    </a:lnTo>
                    <a:lnTo>
                      <a:pt x="3840" y="584"/>
                    </a:lnTo>
                    <a:lnTo>
                      <a:pt x="3842" y="580"/>
                    </a:lnTo>
                    <a:lnTo>
                      <a:pt x="3842" y="574"/>
                    </a:lnTo>
                    <a:lnTo>
                      <a:pt x="3846" y="570"/>
                    </a:lnTo>
                    <a:lnTo>
                      <a:pt x="3852" y="568"/>
                    </a:lnTo>
                    <a:lnTo>
                      <a:pt x="3864" y="570"/>
                    </a:lnTo>
                    <a:lnTo>
                      <a:pt x="3864" y="570"/>
                    </a:lnTo>
                    <a:lnTo>
                      <a:pt x="3878" y="574"/>
                    </a:lnTo>
                    <a:lnTo>
                      <a:pt x="3890" y="572"/>
                    </a:lnTo>
                    <a:lnTo>
                      <a:pt x="3900" y="570"/>
                    </a:lnTo>
                    <a:lnTo>
                      <a:pt x="3910" y="566"/>
                    </a:lnTo>
                    <a:lnTo>
                      <a:pt x="3918" y="562"/>
                    </a:lnTo>
                    <a:lnTo>
                      <a:pt x="3926" y="560"/>
                    </a:lnTo>
                    <a:lnTo>
                      <a:pt x="3934" y="562"/>
                    </a:lnTo>
                    <a:lnTo>
                      <a:pt x="3942" y="566"/>
                    </a:lnTo>
                    <a:lnTo>
                      <a:pt x="3942" y="566"/>
                    </a:lnTo>
                    <a:lnTo>
                      <a:pt x="3952" y="570"/>
                    </a:lnTo>
                    <a:lnTo>
                      <a:pt x="3962" y="572"/>
                    </a:lnTo>
                    <a:lnTo>
                      <a:pt x="3974" y="572"/>
                    </a:lnTo>
                    <a:lnTo>
                      <a:pt x="3986" y="570"/>
                    </a:lnTo>
                    <a:lnTo>
                      <a:pt x="4014" y="562"/>
                    </a:lnTo>
                    <a:lnTo>
                      <a:pt x="4048" y="552"/>
                    </a:lnTo>
                    <a:lnTo>
                      <a:pt x="4048" y="552"/>
                    </a:lnTo>
                    <a:lnTo>
                      <a:pt x="4056" y="546"/>
                    </a:lnTo>
                    <a:lnTo>
                      <a:pt x="4060" y="542"/>
                    </a:lnTo>
                    <a:lnTo>
                      <a:pt x="4060" y="538"/>
                    </a:lnTo>
                    <a:lnTo>
                      <a:pt x="4056" y="534"/>
                    </a:lnTo>
                    <a:lnTo>
                      <a:pt x="4054" y="530"/>
                    </a:lnTo>
                    <a:lnTo>
                      <a:pt x="4054" y="528"/>
                    </a:lnTo>
                    <a:lnTo>
                      <a:pt x="4056" y="524"/>
                    </a:lnTo>
                    <a:lnTo>
                      <a:pt x="4066" y="524"/>
                    </a:lnTo>
                    <a:lnTo>
                      <a:pt x="4066" y="524"/>
                    </a:lnTo>
                    <a:lnTo>
                      <a:pt x="4070" y="522"/>
                    </a:lnTo>
                    <a:lnTo>
                      <a:pt x="4074" y="520"/>
                    </a:lnTo>
                    <a:lnTo>
                      <a:pt x="4076" y="518"/>
                    </a:lnTo>
                    <a:lnTo>
                      <a:pt x="4074" y="516"/>
                    </a:lnTo>
                    <a:lnTo>
                      <a:pt x="4068" y="512"/>
                    </a:lnTo>
                    <a:lnTo>
                      <a:pt x="4056" y="506"/>
                    </a:lnTo>
                    <a:lnTo>
                      <a:pt x="4042" y="500"/>
                    </a:lnTo>
                    <a:lnTo>
                      <a:pt x="4026" y="498"/>
                    </a:lnTo>
                    <a:lnTo>
                      <a:pt x="4010" y="496"/>
                    </a:lnTo>
                    <a:lnTo>
                      <a:pt x="3994" y="498"/>
                    </a:lnTo>
                    <a:lnTo>
                      <a:pt x="3994" y="498"/>
                    </a:lnTo>
                    <a:lnTo>
                      <a:pt x="3980" y="498"/>
                    </a:lnTo>
                    <a:lnTo>
                      <a:pt x="3968" y="496"/>
                    </a:lnTo>
                    <a:lnTo>
                      <a:pt x="3958" y="490"/>
                    </a:lnTo>
                    <a:lnTo>
                      <a:pt x="3948" y="484"/>
                    </a:lnTo>
                    <a:lnTo>
                      <a:pt x="3938" y="478"/>
                    </a:lnTo>
                    <a:lnTo>
                      <a:pt x="3928" y="472"/>
                    </a:lnTo>
                    <a:lnTo>
                      <a:pt x="3918" y="470"/>
                    </a:lnTo>
                    <a:lnTo>
                      <a:pt x="3912" y="472"/>
                    </a:lnTo>
                    <a:lnTo>
                      <a:pt x="3906" y="474"/>
                    </a:lnTo>
                    <a:lnTo>
                      <a:pt x="3906" y="474"/>
                    </a:lnTo>
                    <a:lnTo>
                      <a:pt x="3898" y="480"/>
                    </a:lnTo>
                    <a:lnTo>
                      <a:pt x="3894" y="486"/>
                    </a:lnTo>
                    <a:lnTo>
                      <a:pt x="3892" y="492"/>
                    </a:lnTo>
                    <a:lnTo>
                      <a:pt x="3894" y="498"/>
                    </a:lnTo>
                    <a:lnTo>
                      <a:pt x="3900" y="506"/>
                    </a:lnTo>
                    <a:lnTo>
                      <a:pt x="3900" y="510"/>
                    </a:lnTo>
                    <a:lnTo>
                      <a:pt x="3896" y="512"/>
                    </a:lnTo>
                    <a:lnTo>
                      <a:pt x="3896" y="512"/>
                    </a:lnTo>
                    <a:lnTo>
                      <a:pt x="3890" y="512"/>
                    </a:lnTo>
                    <a:lnTo>
                      <a:pt x="3882" y="508"/>
                    </a:lnTo>
                    <a:lnTo>
                      <a:pt x="3862" y="498"/>
                    </a:lnTo>
                    <a:lnTo>
                      <a:pt x="3842" y="484"/>
                    </a:lnTo>
                    <a:lnTo>
                      <a:pt x="3822" y="472"/>
                    </a:lnTo>
                    <a:lnTo>
                      <a:pt x="3822" y="472"/>
                    </a:lnTo>
                    <a:lnTo>
                      <a:pt x="3814" y="468"/>
                    </a:lnTo>
                    <a:lnTo>
                      <a:pt x="3808" y="468"/>
                    </a:lnTo>
                    <a:lnTo>
                      <a:pt x="3800" y="466"/>
                    </a:lnTo>
                    <a:lnTo>
                      <a:pt x="3794" y="468"/>
                    </a:lnTo>
                    <a:lnTo>
                      <a:pt x="3778" y="476"/>
                    </a:lnTo>
                    <a:lnTo>
                      <a:pt x="3758" y="488"/>
                    </a:lnTo>
                    <a:lnTo>
                      <a:pt x="3758" y="488"/>
                    </a:lnTo>
                    <a:lnTo>
                      <a:pt x="3748" y="496"/>
                    </a:lnTo>
                    <a:lnTo>
                      <a:pt x="3746" y="502"/>
                    </a:lnTo>
                    <a:lnTo>
                      <a:pt x="3746" y="508"/>
                    </a:lnTo>
                    <a:lnTo>
                      <a:pt x="3748" y="514"/>
                    </a:lnTo>
                    <a:lnTo>
                      <a:pt x="3752" y="524"/>
                    </a:lnTo>
                    <a:lnTo>
                      <a:pt x="3752" y="530"/>
                    </a:lnTo>
                    <a:lnTo>
                      <a:pt x="3746" y="532"/>
                    </a:lnTo>
                    <a:lnTo>
                      <a:pt x="3746" y="532"/>
                    </a:lnTo>
                    <a:lnTo>
                      <a:pt x="3742" y="536"/>
                    </a:lnTo>
                    <a:lnTo>
                      <a:pt x="3742" y="542"/>
                    </a:lnTo>
                    <a:lnTo>
                      <a:pt x="3744" y="548"/>
                    </a:lnTo>
                    <a:lnTo>
                      <a:pt x="3752" y="554"/>
                    </a:lnTo>
                    <a:lnTo>
                      <a:pt x="3762" y="560"/>
                    </a:lnTo>
                    <a:lnTo>
                      <a:pt x="3776" y="568"/>
                    </a:lnTo>
                    <a:lnTo>
                      <a:pt x="3810" y="584"/>
                    </a:lnTo>
                    <a:lnTo>
                      <a:pt x="3810" y="584"/>
                    </a:lnTo>
                    <a:close/>
                    <a:moveTo>
                      <a:pt x="4172" y="572"/>
                    </a:moveTo>
                    <a:lnTo>
                      <a:pt x="4172" y="572"/>
                    </a:lnTo>
                    <a:lnTo>
                      <a:pt x="4198" y="578"/>
                    </a:lnTo>
                    <a:lnTo>
                      <a:pt x="4218" y="578"/>
                    </a:lnTo>
                    <a:lnTo>
                      <a:pt x="4262" y="576"/>
                    </a:lnTo>
                    <a:lnTo>
                      <a:pt x="4262" y="576"/>
                    </a:lnTo>
                    <a:lnTo>
                      <a:pt x="4276" y="574"/>
                    </a:lnTo>
                    <a:lnTo>
                      <a:pt x="4288" y="570"/>
                    </a:lnTo>
                    <a:lnTo>
                      <a:pt x="4294" y="566"/>
                    </a:lnTo>
                    <a:lnTo>
                      <a:pt x="4300" y="560"/>
                    </a:lnTo>
                    <a:lnTo>
                      <a:pt x="4300" y="556"/>
                    </a:lnTo>
                    <a:lnTo>
                      <a:pt x="4300" y="552"/>
                    </a:lnTo>
                    <a:lnTo>
                      <a:pt x="4296" y="550"/>
                    </a:lnTo>
                    <a:lnTo>
                      <a:pt x="4288" y="550"/>
                    </a:lnTo>
                    <a:lnTo>
                      <a:pt x="4288" y="550"/>
                    </a:lnTo>
                    <a:lnTo>
                      <a:pt x="4280" y="550"/>
                    </a:lnTo>
                    <a:lnTo>
                      <a:pt x="4274" y="548"/>
                    </a:lnTo>
                    <a:lnTo>
                      <a:pt x="4266" y="540"/>
                    </a:lnTo>
                    <a:lnTo>
                      <a:pt x="4260" y="536"/>
                    </a:lnTo>
                    <a:lnTo>
                      <a:pt x="4252" y="534"/>
                    </a:lnTo>
                    <a:lnTo>
                      <a:pt x="4244" y="536"/>
                    </a:lnTo>
                    <a:lnTo>
                      <a:pt x="4230" y="540"/>
                    </a:lnTo>
                    <a:lnTo>
                      <a:pt x="4230" y="540"/>
                    </a:lnTo>
                    <a:lnTo>
                      <a:pt x="4220" y="542"/>
                    </a:lnTo>
                    <a:lnTo>
                      <a:pt x="4214" y="542"/>
                    </a:lnTo>
                    <a:lnTo>
                      <a:pt x="4212" y="540"/>
                    </a:lnTo>
                    <a:lnTo>
                      <a:pt x="4212" y="536"/>
                    </a:lnTo>
                    <a:lnTo>
                      <a:pt x="4210" y="532"/>
                    </a:lnTo>
                    <a:lnTo>
                      <a:pt x="4204" y="528"/>
                    </a:lnTo>
                    <a:lnTo>
                      <a:pt x="4194" y="526"/>
                    </a:lnTo>
                    <a:lnTo>
                      <a:pt x="4174" y="528"/>
                    </a:lnTo>
                    <a:lnTo>
                      <a:pt x="4174" y="528"/>
                    </a:lnTo>
                    <a:lnTo>
                      <a:pt x="4154" y="528"/>
                    </a:lnTo>
                    <a:lnTo>
                      <a:pt x="4142" y="526"/>
                    </a:lnTo>
                    <a:lnTo>
                      <a:pt x="4132" y="524"/>
                    </a:lnTo>
                    <a:lnTo>
                      <a:pt x="4126" y="520"/>
                    </a:lnTo>
                    <a:lnTo>
                      <a:pt x="4122" y="514"/>
                    </a:lnTo>
                    <a:lnTo>
                      <a:pt x="4122" y="516"/>
                    </a:lnTo>
                    <a:lnTo>
                      <a:pt x="4118" y="518"/>
                    </a:lnTo>
                    <a:lnTo>
                      <a:pt x="4118" y="518"/>
                    </a:lnTo>
                    <a:lnTo>
                      <a:pt x="4112" y="530"/>
                    </a:lnTo>
                    <a:lnTo>
                      <a:pt x="4108" y="536"/>
                    </a:lnTo>
                    <a:lnTo>
                      <a:pt x="4110" y="542"/>
                    </a:lnTo>
                    <a:lnTo>
                      <a:pt x="4114" y="550"/>
                    </a:lnTo>
                    <a:lnTo>
                      <a:pt x="4126" y="556"/>
                    </a:lnTo>
                    <a:lnTo>
                      <a:pt x="4144" y="564"/>
                    </a:lnTo>
                    <a:lnTo>
                      <a:pt x="4172" y="572"/>
                    </a:lnTo>
                    <a:lnTo>
                      <a:pt x="4172" y="572"/>
                    </a:lnTo>
                    <a:close/>
                    <a:moveTo>
                      <a:pt x="5478" y="870"/>
                    </a:moveTo>
                    <a:lnTo>
                      <a:pt x="5478" y="866"/>
                    </a:lnTo>
                    <a:lnTo>
                      <a:pt x="5478" y="866"/>
                    </a:lnTo>
                    <a:lnTo>
                      <a:pt x="5548" y="856"/>
                    </a:lnTo>
                    <a:lnTo>
                      <a:pt x="5548" y="856"/>
                    </a:lnTo>
                    <a:lnTo>
                      <a:pt x="5558" y="854"/>
                    </a:lnTo>
                    <a:lnTo>
                      <a:pt x="5564" y="852"/>
                    </a:lnTo>
                    <a:lnTo>
                      <a:pt x="5570" y="848"/>
                    </a:lnTo>
                    <a:lnTo>
                      <a:pt x="5572" y="846"/>
                    </a:lnTo>
                    <a:lnTo>
                      <a:pt x="5570" y="842"/>
                    </a:lnTo>
                    <a:lnTo>
                      <a:pt x="5568" y="838"/>
                    </a:lnTo>
                    <a:lnTo>
                      <a:pt x="5560" y="832"/>
                    </a:lnTo>
                    <a:lnTo>
                      <a:pt x="5546" y="826"/>
                    </a:lnTo>
                    <a:lnTo>
                      <a:pt x="5530" y="820"/>
                    </a:lnTo>
                    <a:lnTo>
                      <a:pt x="5512" y="818"/>
                    </a:lnTo>
                    <a:lnTo>
                      <a:pt x="5494" y="818"/>
                    </a:lnTo>
                    <a:lnTo>
                      <a:pt x="5494" y="818"/>
                    </a:lnTo>
                    <a:lnTo>
                      <a:pt x="5478" y="820"/>
                    </a:lnTo>
                    <a:lnTo>
                      <a:pt x="5478" y="818"/>
                    </a:lnTo>
                    <a:lnTo>
                      <a:pt x="5478" y="818"/>
                    </a:lnTo>
                    <a:lnTo>
                      <a:pt x="5454" y="826"/>
                    </a:lnTo>
                    <a:lnTo>
                      <a:pt x="5444" y="832"/>
                    </a:lnTo>
                    <a:lnTo>
                      <a:pt x="5434" y="838"/>
                    </a:lnTo>
                    <a:lnTo>
                      <a:pt x="5428" y="844"/>
                    </a:lnTo>
                    <a:lnTo>
                      <a:pt x="5422" y="850"/>
                    </a:lnTo>
                    <a:lnTo>
                      <a:pt x="5418" y="856"/>
                    </a:lnTo>
                    <a:lnTo>
                      <a:pt x="5418" y="864"/>
                    </a:lnTo>
                    <a:lnTo>
                      <a:pt x="5418" y="864"/>
                    </a:lnTo>
                    <a:lnTo>
                      <a:pt x="5418" y="868"/>
                    </a:lnTo>
                    <a:lnTo>
                      <a:pt x="5422" y="872"/>
                    </a:lnTo>
                    <a:lnTo>
                      <a:pt x="5426" y="874"/>
                    </a:lnTo>
                    <a:lnTo>
                      <a:pt x="5434" y="874"/>
                    </a:lnTo>
                    <a:lnTo>
                      <a:pt x="5452" y="874"/>
                    </a:lnTo>
                    <a:lnTo>
                      <a:pt x="5478" y="870"/>
                    </a:lnTo>
                    <a:lnTo>
                      <a:pt x="5478" y="870"/>
                    </a:lnTo>
                    <a:close/>
                    <a:moveTo>
                      <a:pt x="2060" y="404"/>
                    </a:moveTo>
                    <a:lnTo>
                      <a:pt x="2060" y="404"/>
                    </a:lnTo>
                    <a:lnTo>
                      <a:pt x="2068" y="408"/>
                    </a:lnTo>
                    <a:lnTo>
                      <a:pt x="2078" y="408"/>
                    </a:lnTo>
                    <a:lnTo>
                      <a:pt x="2088" y="406"/>
                    </a:lnTo>
                    <a:lnTo>
                      <a:pt x="2096" y="404"/>
                    </a:lnTo>
                    <a:lnTo>
                      <a:pt x="2104" y="400"/>
                    </a:lnTo>
                    <a:lnTo>
                      <a:pt x="2108" y="396"/>
                    </a:lnTo>
                    <a:lnTo>
                      <a:pt x="2112" y="392"/>
                    </a:lnTo>
                    <a:lnTo>
                      <a:pt x="2112" y="388"/>
                    </a:lnTo>
                    <a:lnTo>
                      <a:pt x="2112" y="388"/>
                    </a:lnTo>
                    <a:lnTo>
                      <a:pt x="2106" y="386"/>
                    </a:lnTo>
                    <a:lnTo>
                      <a:pt x="2100" y="386"/>
                    </a:lnTo>
                    <a:lnTo>
                      <a:pt x="2080" y="392"/>
                    </a:lnTo>
                    <a:lnTo>
                      <a:pt x="2064" y="398"/>
                    </a:lnTo>
                    <a:lnTo>
                      <a:pt x="2060" y="402"/>
                    </a:lnTo>
                    <a:lnTo>
                      <a:pt x="2058" y="404"/>
                    </a:lnTo>
                    <a:lnTo>
                      <a:pt x="2060" y="404"/>
                    </a:lnTo>
                    <a:lnTo>
                      <a:pt x="2060" y="404"/>
                    </a:lnTo>
                    <a:close/>
                    <a:moveTo>
                      <a:pt x="3868" y="678"/>
                    </a:moveTo>
                    <a:lnTo>
                      <a:pt x="3868" y="678"/>
                    </a:lnTo>
                    <a:lnTo>
                      <a:pt x="3858" y="686"/>
                    </a:lnTo>
                    <a:lnTo>
                      <a:pt x="3856" y="688"/>
                    </a:lnTo>
                    <a:lnTo>
                      <a:pt x="3858" y="690"/>
                    </a:lnTo>
                    <a:lnTo>
                      <a:pt x="3866" y="690"/>
                    </a:lnTo>
                    <a:lnTo>
                      <a:pt x="3896" y="688"/>
                    </a:lnTo>
                    <a:lnTo>
                      <a:pt x="3916" y="688"/>
                    </a:lnTo>
                    <a:lnTo>
                      <a:pt x="3940" y="692"/>
                    </a:lnTo>
                    <a:lnTo>
                      <a:pt x="3940" y="692"/>
                    </a:lnTo>
                    <a:lnTo>
                      <a:pt x="3970" y="696"/>
                    </a:lnTo>
                    <a:lnTo>
                      <a:pt x="3990" y="696"/>
                    </a:lnTo>
                    <a:lnTo>
                      <a:pt x="4004" y="694"/>
                    </a:lnTo>
                    <a:lnTo>
                      <a:pt x="4006" y="692"/>
                    </a:lnTo>
                    <a:lnTo>
                      <a:pt x="4008" y="690"/>
                    </a:lnTo>
                    <a:lnTo>
                      <a:pt x="4008" y="686"/>
                    </a:lnTo>
                    <a:lnTo>
                      <a:pt x="4006" y="682"/>
                    </a:lnTo>
                    <a:lnTo>
                      <a:pt x="4000" y="674"/>
                    </a:lnTo>
                    <a:lnTo>
                      <a:pt x="3988" y="664"/>
                    </a:lnTo>
                    <a:lnTo>
                      <a:pt x="3972" y="654"/>
                    </a:lnTo>
                    <a:lnTo>
                      <a:pt x="3972" y="654"/>
                    </a:lnTo>
                    <a:lnTo>
                      <a:pt x="3956" y="648"/>
                    </a:lnTo>
                    <a:lnTo>
                      <a:pt x="3940" y="644"/>
                    </a:lnTo>
                    <a:lnTo>
                      <a:pt x="3928" y="646"/>
                    </a:lnTo>
                    <a:lnTo>
                      <a:pt x="3916" y="648"/>
                    </a:lnTo>
                    <a:lnTo>
                      <a:pt x="3904" y="654"/>
                    </a:lnTo>
                    <a:lnTo>
                      <a:pt x="3894" y="662"/>
                    </a:lnTo>
                    <a:lnTo>
                      <a:pt x="3868" y="678"/>
                    </a:lnTo>
                    <a:lnTo>
                      <a:pt x="3868" y="678"/>
                    </a:lnTo>
                    <a:close/>
                    <a:moveTo>
                      <a:pt x="5044" y="956"/>
                    </a:moveTo>
                    <a:lnTo>
                      <a:pt x="5044" y="956"/>
                    </a:lnTo>
                    <a:lnTo>
                      <a:pt x="5046" y="954"/>
                    </a:lnTo>
                    <a:lnTo>
                      <a:pt x="5046" y="950"/>
                    </a:lnTo>
                    <a:lnTo>
                      <a:pt x="5044" y="948"/>
                    </a:lnTo>
                    <a:lnTo>
                      <a:pt x="5042" y="946"/>
                    </a:lnTo>
                    <a:lnTo>
                      <a:pt x="5034" y="942"/>
                    </a:lnTo>
                    <a:lnTo>
                      <a:pt x="5024" y="940"/>
                    </a:lnTo>
                    <a:lnTo>
                      <a:pt x="5012" y="938"/>
                    </a:lnTo>
                    <a:lnTo>
                      <a:pt x="5000" y="938"/>
                    </a:lnTo>
                    <a:lnTo>
                      <a:pt x="4990" y="938"/>
                    </a:lnTo>
                    <a:lnTo>
                      <a:pt x="4984" y="942"/>
                    </a:lnTo>
                    <a:lnTo>
                      <a:pt x="4984" y="942"/>
                    </a:lnTo>
                    <a:lnTo>
                      <a:pt x="4982" y="944"/>
                    </a:lnTo>
                    <a:lnTo>
                      <a:pt x="4982" y="946"/>
                    </a:lnTo>
                    <a:lnTo>
                      <a:pt x="4986" y="950"/>
                    </a:lnTo>
                    <a:lnTo>
                      <a:pt x="4992" y="954"/>
                    </a:lnTo>
                    <a:lnTo>
                      <a:pt x="5002" y="958"/>
                    </a:lnTo>
                    <a:lnTo>
                      <a:pt x="5014" y="960"/>
                    </a:lnTo>
                    <a:lnTo>
                      <a:pt x="5024" y="962"/>
                    </a:lnTo>
                    <a:lnTo>
                      <a:pt x="5034" y="960"/>
                    </a:lnTo>
                    <a:lnTo>
                      <a:pt x="5044" y="956"/>
                    </a:lnTo>
                    <a:lnTo>
                      <a:pt x="5044" y="956"/>
                    </a:lnTo>
                    <a:close/>
                    <a:moveTo>
                      <a:pt x="3698" y="530"/>
                    </a:moveTo>
                    <a:lnTo>
                      <a:pt x="3698" y="530"/>
                    </a:lnTo>
                    <a:lnTo>
                      <a:pt x="3704" y="524"/>
                    </a:lnTo>
                    <a:lnTo>
                      <a:pt x="3706" y="518"/>
                    </a:lnTo>
                    <a:lnTo>
                      <a:pt x="3704" y="508"/>
                    </a:lnTo>
                    <a:lnTo>
                      <a:pt x="3696" y="498"/>
                    </a:lnTo>
                    <a:lnTo>
                      <a:pt x="3696" y="498"/>
                    </a:lnTo>
                    <a:lnTo>
                      <a:pt x="3694" y="496"/>
                    </a:lnTo>
                    <a:lnTo>
                      <a:pt x="3692" y="496"/>
                    </a:lnTo>
                    <a:lnTo>
                      <a:pt x="3688" y="500"/>
                    </a:lnTo>
                    <a:lnTo>
                      <a:pt x="3684" y="506"/>
                    </a:lnTo>
                    <a:lnTo>
                      <a:pt x="3682" y="514"/>
                    </a:lnTo>
                    <a:lnTo>
                      <a:pt x="3680" y="524"/>
                    </a:lnTo>
                    <a:lnTo>
                      <a:pt x="3684" y="530"/>
                    </a:lnTo>
                    <a:lnTo>
                      <a:pt x="3686" y="532"/>
                    </a:lnTo>
                    <a:lnTo>
                      <a:pt x="3688" y="532"/>
                    </a:lnTo>
                    <a:lnTo>
                      <a:pt x="3692" y="532"/>
                    </a:lnTo>
                    <a:lnTo>
                      <a:pt x="3698" y="530"/>
                    </a:lnTo>
                    <a:lnTo>
                      <a:pt x="3698" y="530"/>
                    </a:lnTo>
                    <a:close/>
                    <a:moveTo>
                      <a:pt x="2260" y="322"/>
                    </a:moveTo>
                    <a:lnTo>
                      <a:pt x="2260" y="322"/>
                    </a:lnTo>
                    <a:lnTo>
                      <a:pt x="2286" y="316"/>
                    </a:lnTo>
                    <a:lnTo>
                      <a:pt x="2314" y="310"/>
                    </a:lnTo>
                    <a:lnTo>
                      <a:pt x="2350" y="306"/>
                    </a:lnTo>
                    <a:lnTo>
                      <a:pt x="2398" y="304"/>
                    </a:lnTo>
                    <a:lnTo>
                      <a:pt x="2398" y="304"/>
                    </a:lnTo>
                    <a:lnTo>
                      <a:pt x="2424" y="302"/>
                    </a:lnTo>
                    <a:lnTo>
                      <a:pt x="2442" y="298"/>
                    </a:lnTo>
                    <a:lnTo>
                      <a:pt x="2456" y="294"/>
                    </a:lnTo>
                    <a:lnTo>
                      <a:pt x="2464" y="288"/>
                    </a:lnTo>
                    <a:lnTo>
                      <a:pt x="2466" y="284"/>
                    </a:lnTo>
                    <a:lnTo>
                      <a:pt x="2466" y="282"/>
                    </a:lnTo>
                    <a:lnTo>
                      <a:pt x="2462" y="274"/>
                    </a:lnTo>
                    <a:lnTo>
                      <a:pt x="2456" y="266"/>
                    </a:lnTo>
                    <a:lnTo>
                      <a:pt x="2442" y="256"/>
                    </a:lnTo>
                    <a:lnTo>
                      <a:pt x="2442" y="256"/>
                    </a:lnTo>
                    <a:lnTo>
                      <a:pt x="2420" y="240"/>
                    </a:lnTo>
                    <a:lnTo>
                      <a:pt x="2412" y="234"/>
                    </a:lnTo>
                    <a:lnTo>
                      <a:pt x="2406" y="232"/>
                    </a:lnTo>
                    <a:lnTo>
                      <a:pt x="2398" y="232"/>
                    </a:lnTo>
                    <a:lnTo>
                      <a:pt x="2388" y="236"/>
                    </a:lnTo>
                    <a:lnTo>
                      <a:pt x="2376" y="242"/>
                    </a:lnTo>
                    <a:lnTo>
                      <a:pt x="2360" y="254"/>
                    </a:lnTo>
                    <a:lnTo>
                      <a:pt x="2360" y="254"/>
                    </a:lnTo>
                    <a:lnTo>
                      <a:pt x="2346" y="262"/>
                    </a:lnTo>
                    <a:lnTo>
                      <a:pt x="2344" y="264"/>
                    </a:lnTo>
                    <a:lnTo>
                      <a:pt x="2344" y="262"/>
                    </a:lnTo>
                    <a:lnTo>
                      <a:pt x="2356" y="248"/>
                    </a:lnTo>
                    <a:lnTo>
                      <a:pt x="2364" y="238"/>
                    </a:lnTo>
                    <a:lnTo>
                      <a:pt x="2372" y="226"/>
                    </a:lnTo>
                    <a:lnTo>
                      <a:pt x="2376" y="218"/>
                    </a:lnTo>
                    <a:lnTo>
                      <a:pt x="2374" y="214"/>
                    </a:lnTo>
                    <a:lnTo>
                      <a:pt x="2372" y="212"/>
                    </a:lnTo>
                    <a:lnTo>
                      <a:pt x="2372" y="212"/>
                    </a:lnTo>
                    <a:lnTo>
                      <a:pt x="2354" y="208"/>
                    </a:lnTo>
                    <a:lnTo>
                      <a:pt x="2344" y="206"/>
                    </a:lnTo>
                    <a:lnTo>
                      <a:pt x="2336" y="206"/>
                    </a:lnTo>
                    <a:lnTo>
                      <a:pt x="2326" y="208"/>
                    </a:lnTo>
                    <a:lnTo>
                      <a:pt x="2316" y="212"/>
                    </a:lnTo>
                    <a:lnTo>
                      <a:pt x="2306" y="222"/>
                    </a:lnTo>
                    <a:lnTo>
                      <a:pt x="2294" y="236"/>
                    </a:lnTo>
                    <a:lnTo>
                      <a:pt x="2294" y="236"/>
                    </a:lnTo>
                    <a:lnTo>
                      <a:pt x="2286" y="248"/>
                    </a:lnTo>
                    <a:lnTo>
                      <a:pt x="2278" y="256"/>
                    </a:lnTo>
                    <a:lnTo>
                      <a:pt x="2266" y="264"/>
                    </a:lnTo>
                    <a:lnTo>
                      <a:pt x="2260" y="270"/>
                    </a:lnTo>
                    <a:lnTo>
                      <a:pt x="2252" y="278"/>
                    </a:lnTo>
                    <a:lnTo>
                      <a:pt x="2242" y="292"/>
                    </a:lnTo>
                    <a:lnTo>
                      <a:pt x="2230" y="314"/>
                    </a:lnTo>
                    <a:lnTo>
                      <a:pt x="2230" y="314"/>
                    </a:lnTo>
                    <a:lnTo>
                      <a:pt x="2226" y="324"/>
                    </a:lnTo>
                    <a:lnTo>
                      <a:pt x="2226" y="328"/>
                    </a:lnTo>
                    <a:lnTo>
                      <a:pt x="2228" y="330"/>
                    </a:lnTo>
                    <a:lnTo>
                      <a:pt x="2238" y="328"/>
                    </a:lnTo>
                    <a:lnTo>
                      <a:pt x="2260" y="322"/>
                    </a:lnTo>
                    <a:lnTo>
                      <a:pt x="2260" y="322"/>
                    </a:lnTo>
                    <a:close/>
                    <a:moveTo>
                      <a:pt x="2156" y="150"/>
                    </a:moveTo>
                    <a:lnTo>
                      <a:pt x="2156" y="150"/>
                    </a:lnTo>
                    <a:lnTo>
                      <a:pt x="2132" y="150"/>
                    </a:lnTo>
                    <a:lnTo>
                      <a:pt x="2100" y="148"/>
                    </a:lnTo>
                    <a:lnTo>
                      <a:pt x="2084" y="150"/>
                    </a:lnTo>
                    <a:lnTo>
                      <a:pt x="2068" y="152"/>
                    </a:lnTo>
                    <a:lnTo>
                      <a:pt x="2054" y="156"/>
                    </a:lnTo>
                    <a:lnTo>
                      <a:pt x="2042" y="162"/>
                    </a:lnTo>
                    <a:lnTo>
                      <a:pt x="2042" y="162"/>
                    </a:lnTo>
                    <a:lnTo>
                      <a:pt x="2016" y="178"/>
                    </a:lnTo>
                    <a:lnTo>
                      <a:pt x="1988" y="192"/>
                    </a:lnTo>
                    <a:lnTo>
                      <a:pt x="1980" y="198"/>
                    </a:lnTo>
                    <a:lnTo>
                      <a:pt x="1978" y="200"/>
                    </a:lnTo>
                    <a:lnTo>
                      <a:pt x="1978" y="202"/>
                    </a:lnTo>
                    <a:lnTo>
                      <a:pt x="1980" y="204"/>
                    </a:lnTo>
                    <a:lnTo>
                      <a:pt x="1982" y="204"/>
                    </a:lnTo>
                    <a:lnTo>
                      <a:pt x="1996" y="206"/>
                    </a:lnTo>
                    <a:lnTo>
                      <a:pt x="1996" y="206"/>
                    </a:lnTo>
                    <a:lnTo>
                      <a:pt x="2012" y="206"/>
                    </a:lnTo>
                    <a:lnTo>
                      <a:pt x="2020" y="208"/>
                    </a:lnTo>
                    <a:lnTo>
                      <a:pt x="2024" y="210"/>
                    </a:lnTo>
                    <a:lnTo>
                      <a:pt x="2024" y="214"/>
                    </a:lnTo>
                    <a:lnTo>
                      <a:pt x="2024" y="218"/>
                    </a:lnTo>
                    <a:lnTo>
                      <a:pt x="2026" y="224"/>
                    </a:lnTo>
                    <a:lnTo>
                      <a:pt x="2030" y="230"/>
                    </a:lnTo>
                    <a:lnTo>
                      <a:pt x="2038" y="234"/>
                    </a:lnTo>
                    <a:lnTo>
                      <a:pt x="2038" y="234"/>
                    </a:lnTo>
                    <a:lnTo>
                      <a:pt x="2046" y="238"/>
                    </a:lnTo>
                    <a:lnTo>
                      <a:pt x="2054" y="238"/>
                    </a:lnTo>
                    <a:lnTo>
                      <a:pt x="2074" y="240"/>
                    </a:lnTo>
                    <a:lnTo>
                      <a:pt x="2100" y="244"/>
                    </a:lnTo>
                    <a:lnTo>
                      <a:pt x="2118" y="246"/>
                    </a:lnTo>
                    <a:lnTo>
                      <a:pt x="2138" y="252"/>
                    </a:lnTo>
                    <a:lnTo>
                      <a:pt x="2138" y="252"/>
                    </a:lnTo>
                    <a:lnTo>
                      <a:pt x="2158" y="258"/>
                    </a:lnTo>
                    <a:lnTo>
                      <a:pt x="2180" y="260"/>
                    </a:lnTo>
                    <a:lnTo>
                      <a:pt x="2200" y="260"/>
                    </a:lnTo>
                    <a:lnTo>
                      <a:pt x="2218" y="258"/>
                    </a:lnTo>
                    <a:lnTo>
                      <a:pt x="2232" y="252"/>
                    </a:lnTo>
                    <a:lnTo>
                      <a:pt x="2240" y="248"/>
                    </a:lnTo>
                    <a:lnTo>
                      <a:pt x="2244" y="244"/>
                    </a:lnTo>
                    <a:lnTo>
                      <a:pt x="2244" y="240"/>
                    </a:lnTo>
                    <a:lnTo>
                      <a:pt x="2242" y="238"/>
                    </a:lnTo>
                    <a:lnTo>
                      <a:pt x="2240" y="234"/>
                    </a:lnTo>
                    <a:lnTo>
                      <a:pt x="2240" y="234"/>
                    </a:lnTo>
                    <a:lnTo>
                      <a:pt x="2236" y="232"/>
                    </a:lnTo>
                    <a:lnTo>
                      <a:pt x="2236" y="228"/>
                    </a:lnTo>
                    <a:lnTo>
                      <a:pt x="2236" y="220"/>
                    </a:lnTo>
                    <a:lnTo>
                      <a:pt x="2238" y="210"/>
                    </a:lnTo>
                    <a:lnTo>
                      <a:pt x="2244" y="202"/>
                    </a:lnTo>
                    <a:lnTo>
                      <a:pt x="2248" y="192"/>
                    </a:lnTo>
                    <a:lnTo>
                      <a:pt x="2252" y="184"/>
                    </a:lnTo>
                    <a:lnTo>
                      <a:pt x="2252" y="180"/>
                    </a:lnTo>
                    <a:lnTo>
                      <a:pt x="2252" y="176"/>
                    </a:lnTo>
                    <a:lnTo>
                      <a:pt x="2250" y="174"/>
                    </a:lnTo>
                    <a:lnTo>
                      <a:pt x="2246" y="172"/>
                    </a:lnTo>
                    <a:lnTo>
                      <a:pt x="2246" y="172"/>
                    </a:lnTo>
                    <a:lnTo>
                      <a:pt x="2238" y="166"/>
                    </a:lnTo>
                    <a:lnTo>
                      <a:pt x="2234" y="162"/>
                    </a:lnTo>
                    <a:lnTo>
                      <a:pt x="2230" y="160"/>
                    </a:lnTo>
                    <a:lnTo>
                      <a:pt x="2226" y="156"/>
                    </a:lnTo>
                    <a:lnTo>
                      <a:pt x="2220" y="156"/>
                    </a:lnTo>
                    <a:lnTo>
                      <a:pt x="2212" y="156"/>
                    </a:lnTo>
                    <a:lnTo>
                      <a:pt x="2184" y="164"/>
                    </a:lnTo>
                    <a:lnTo>
                      <a:pt x="2184" y="164"/>
                    </a:lnTo>
                    <a:lnTo>
                      <a:pt x="2170" y="170"/>
                    </a:lnTo>
                    <a:lnTo>
                      <a:pt x="2162" y="170"/>
                    </a:lnTo>
                    <a:lnTo>
                      <a:pt x="2160" y="168"/>
                    </a:lnTo>
                    <a:lnTo>
                      <a:pt x="2160" y="168"/>
                    </a:lnTo>
                    <a:lnTo>
                      <a:pt x="2162" y="164"/>
                    </a:lnTo>
                    <a:lnTo>
                      <a:pt x="2164" y="158"/>
                    </a:lnTo>
                    <a:lnTo>
                      <a:pt x="2164" y="154"/>
                    </a:lnTo>
                    <a:lnTo>
                      <a:pt x="2164" y="150"/>
                    </a:lnTo>
                    <a:lnTo>
                      <a:pt x="2156" y="150"/>
                    </a:lnTo>
                    <a:lnTo>
                      <a:pt x="2156" y="150"/>
                    </a:lnTo>
                    <a:close/>
                    <a:moveTo>
                      <a:pt x="3192" y="724"/>
                    </a:moveTo>
                    <a:lnTo>
                      <a:pt x="3192" y="724"/>
                    </a:lnTo>
                    <a:lnTo>
                      <a:pt x="3218" y="728"/>
                    </a:lnTo>
                    <a:lnTo>
                      <a:pt x="3242" y="734"/>
                    </a:lnTo>
                    <a:lnTo>
                      <a:pt x="3268" y="744"/>
                    </a:lnTo>
                    <a:lnTo>
                      <a:pt x="3300" y="758"/>
                    </a:lnTo>
                    <a:lnTo>
                      <a:pt x="3300" y="758"/>
                    </a:lnTo>
                    <a:lnTo>
                      <a:pt x="3308" y="762"/>
                    </a:lnTo>
                    <a:lnTo>
                      <a:pt x="3314" y="764"/>
                    </a:lnTo>
                    <a:lnTo>
                      <a:pt x="3316" y="762"/>
                    </a:lnTo>
                    <a:lnTo>
                      <a:pt x="3316" y="760"/>
                    </a:lnTo>
                    <a:lnTo>
                      <a:pt x="3314" y="752"/>
                    </a:lnTo>
                    <a:lnTo>
                      <a:pt x="3316" y="748"/>
                    </a:lnTo>
                    <a:lnTo>
                      <a:pt x="3320" y="746"/>
                    </a:lnTo>
                    <a:lnTo>
                      <a:pt x="3320" y="746"/>
                    </a:lnTo>
                    <a:lnTo>
                      <a:pt x="3332" y="746"/>
                    </a:lnTo>
                    <a:lnTo>
                      <a:pt x="3338" y="746"/>
                    </a:lnTo>
                    <a:lnTo>
                      <a:pt x="3368" y="758"/>
                    </a:lnTo>
                    <a:lnTo>
                      <a:pt x="3368" y="758"/>
                    </a:lnTo>
                    <a:lnTo>
                      <a:pt x="3390" y="768"/>
                    </a:lnTo>
                    <a:lnTo>
                      <a:pt x="3412" y="778"/>
                    </a:lnTo>
                    <a:lnTo>
                      <a:pt x="3420" y="782"/>
                    </a:lnTo>
                    <a:lnTo>
                      <a:pt x="3428" y="782"/>
                    </a:lnTo>
                    <a:lnTo>
                      <a:pt x="3434" y="778"/>
                    </a:lnTo>
                    <a:lnTo>
                      <a:pt x="3440" y="772"/>
                    </a:lnTo>
                    <a:lnTo>
                      <a:pt x="3440" y="772"/>
                    </a:lnTo>
                    <a:lnTo>
                      <a:pt x="3440" y="766"/>
                    </a:lnTo>
                    <a:lnTo>
                      <a:pt x="3440" y="762"/>
                    </a:lnTo>
                    <a:lnTo>
                      <a:pt x="3436" y="756"/>
                    </a:lnTo>
                    <a:lnTo>
                      <a:pt x="3430" y="752"/>
                    </a:lnTo>
                    <a:lnTo>
                      <a:pt x="3422" y="748"/>
                    </a:lnTo>
                    <a:lnTo>
                      <a:pt x="3414" y="746"/>
                    </a:lnTo>
                    <a:lnTo>
                      <a:pt x="3412" y="744"/>
                    </a:lnTo>
                    <a:lnTo>
                      <a:pt x="3412" y="742"/>
                    </a:lnTo>
                    <a:lnTo>
                      <a:pt x="3414" y="742"/>
                    </a:lnTo>
                    <a:lnTo>
                      <a:pt x="3422" y="738"/>
                    </a:lnTo>
                    <a:lnTo>
                      <a:pt x="3422" y="738"/>
                    </a:lnTo>
                    <a:lnTo>
                      <a:pt x="3432" y="736"/>
                    </a:lnTo>
                    <a:lnTo>
                      <a:pt x="3432" y="734"/>
                    </a:lnTo>
                    <a:lnTo>
                      <a:pt x="3432" y="732"/>
                    </a:lnTo>
                    <a:lnTo>
                      <a:pt x="3426" y="730"/>
                    </a:lnTo>
                    <a:lnTo>
                      <a:pt x="3418" y="726"/>
                    </a:lnTo>
                    <a:lnTo>
                      <a:pt x="3410" y="724"/>
                    </a:lnTo>
                    <a:lnTo>
                      <a:pt x="3406" y="720"/>
                    </a:lnTo>
                    <a:lnTo>
                      <a:pt x="3406" y="718"/>
                    </a:lnTo>
                    <a:lnTo>
                      <a:pt x="3406" y="718"/>
                    </a:lnTo>
                    <a:lnTo>
                      <a:pt x="3416" y="714"/>
                    </a:lnTo>
                    <a:lnTo>
                      <a:pt x="3416" y="714"/>
                    </a:lnTo>
                    <a:lnTo>
                      <a:pt x="3428" y="710"/>
                    </a:lnTo>
                    <a:lnTo>
                      <a:pt x="3430" y="708"/>
                    </a:lnTo>
                    <a:lnTo>
                      <a:pt x="3430" y="706"/>
                    </a:lnTo>
                    <a:lnTo>
                      <a:pt x="3426" y="702"/>
                    </a:lnTo>
                    <a:lnTo>
                      <a:pt x="3418" y="696"/>
                    </a:lnTo>
                    <a:lnTo>
                      <a:pt x="3392" y="686"/>
                    </a:lnTo>
                    <a:lnTo>
                      <a:pt x="3364" y="676"/>
                    </a:lnTo>
                    <a:lnTo>
                      <a:pt x="3364" y="676"/>
                    </a:lnTo>
                    <a:lnTo>
                      <a:pt x="3352" y="674"/>
                    </a:lnTo>
                    <a:lnTo>
                      <a:pt x="3342" y="676"/>
                    </a:lnTo>
                    <a:lnTo>
                      <a:pt x="3336" y="678"/>
                    </a:lnTo>
                    <a:lnTo>
                      <a:pt x="3330" y="684"/>
                    </a:lnTo>
                    <a:lnTo>
                      <a:pt x="3326" y="688"/>
                    </a:lnTo>
                    <a:lnTo>
                      <a:pt x="3322" y="690"/>
                    </a:lnTo>
                    <a:lnTo>
                      <a:pt x="3320" y="688"/>
                    </a:lnTo>
                    <a:lnTo>
                      <a:pt x="3316" y="682"/>
                    </a:lnTo>
                    <a:lnTo>
                      <a:pt x="3316" y="682"/>
                    </a:lnTo>
                    <a:lnTo>
                      <a:pt x="3312" y="676"/>
                    </a:lnTo>
                    <a:lnTo>
                      <a:pt x="3306" y="672"/>
                    </a:lnTo>
                    <a:lnTo>
                      <a:pt x="3302" y="668"/>
                    </a:lnTo>
                    <a:lnTo>
                      <a:pt x="3294" y="668"/>
                    </a:lnTo>
                    <a:lnTo>
                      <a:pt x="3278" y="666"/>
                    </a:lnTo>
                    <a:lnTo>
                      <a:pt x="3270" y="664"/>
                    </a:lnTo>
                    <a:lnTo>
                      <a:pt x="3258" y="660"/>
                    </a:lnTo>
                    <a:lnTo>
                      <a:pt x="3258" y="660"/>
                    </a:lnTo>
                    <a:lnTo>
                      <a:pt x="3244" y="656"/>
                    </a:lnTo>
                    <a:lnTo>
                      <a:pt x="3230" y="654"/>
                    </a:lnTo>
                    <a:lnTo>
                      <a:pt x="3216" y="656"/>
                    </a:lnTo>
                    <a:lnTo>
                      <a:pt x="3204" y="660"/>
                    </a:lnTo>
                    <a:lnTo>
                      <a:pt x="3194" y="666"/>
                    </a:lnTo>
                    <a:lnTo>
                      <a:pt x="3186" y="674"/>
                    </a:lnTo>
                    <a:lnTo>
                      <a:pt x="3186" y="676"/>
                    </a:lnTo>
                    <a:lnTo>
                      <a:pt x="3186" y="680"/>
                    </a:lnTo>
                    <a:lnTo>
                      <a:pt x="3188" y="684"/>
                    </a:lnTo>
                    <a:lnTo>
                      <a:pt x="3190" y="688"/>
                    </a:lnTo>
                    <a:lnTo>
                      <a:pt x="3190" y="688"/>
                    </a:lnTo>
                    <a:lnTo>
                      <a:pt x="3194" y="692"/>
                    </a:lnTo>
                    <a:lnTo>
                      <a:pt x="3196" y="696"/>
                    </a:lnTo>
                    <a:lnTo>
                      <a:pt x="3196" y="700"/>
                    </a:lnTo>
                    <a:lnTo>
                      <a:pt x="3196" y="702"/>
                    </a:lnTo>
                    <a:lnTo>
                      <a:pt x="3190" y="706"/>
                    </a:lnTo>
                    <a:lnTo>
                      <a:pt x="3184" y="712"/>
                    </a:lnTo>
                    <a:lnTo>
                      <a:pt x="3178" y="714"/>
                    </a:lnTo>
                    <a:lnTo>
                      <a:pt x="3176" y="718"/>
                    </a:lnTo>
                    <a:lnTo>
                      <a:pt x="3180" y="720"/>
                    </a:lnTo>
                    <a:lnTo>
                      <a:pt x="3192" y="724"/>
                    </a:lnTo>
                    <a:lnTo>
                      <a:pt x="3192" y="724"/>
                    </a:lnTo>
                    <a:close/>
                    <a:moveTo>
                      <a:pt x="614" y="10"/>
                    </a:moveTo>
                    <a:lnTo>
                      <a:pt x="614" y="10"/>
                    </a:lnTo>
                    <a:lnTo>
                      <a:pt x="614" y="8"/>
                    </a:lnTo>
                    <a:lnTo>
                      <a:pt x="612" y="6"/>
                    </a:lnTo>
                    <a:lnTo>
                      <a:pt x="606" y="4"/>
                    </a:lnTo>
                    <a:lnTo>
                      <a:pt x="588" y="0"/>
                    </a:lnTo>
                    <a:lnTo>
                      <a:pt x="576" y="0"/>
                    </a:lnTo>
                    <a:lnTo>
                      <a:pt x="566" y="2"/>
                    </a:lnTo>
                    <a:lnTo>
                      <a:pt x="558" y="4"/>
                    </a:lnTo>
                    <a:lnTo>
                      <a:pt x="554" y="10"/>
                    </a:lnTo>
                    <a:lnTo>
                      <a:pt x="554" y="10"/>
                    </a:lnTo>
                    <a:lnTo>
                      <a:pt x="552" y="12"/>
                    </a:lnTo>
                    <a:lnTo>
                      <a:pt x="554" y="14"/>
                    </a:lnTo>
                    <a:lnTo>
                      <a:pt x="558" y="18"/>
                    </a:lnTo>
                    <a:lnTo>
                      <a:pt x="568" y="18"/>
                    </a:lnTo>
                    <a:lnTo>
                      <a:pt x="578" y="18"/>
                    </a:lnTo>
                    <a:lnTo>
                      <a:pt x="602" y="16"/>
                    </a:lnTo>
                    <a:lnTo>
                      <a:pt x="610" y="12"/>
                    </a:lnTo>
                    <a:lnTo>
                      <a:pt x="614" y="10"/>
                    </a:lnTo>
                    <a:lnTo>
                      <a:pt x="614" y="10"/>
                    </a:lnTo>
                    <a:close/>
                    <a:moveTo>
                      <a:pt x="444" y="80"/>
                    </a:moveTo>
                    <a:lnTo>
                      <a:pt x="444" y="80"/>
                    </a:lnTo>
                    <a:lnTo>
                      <a:pt x="450" y="82"/>
                    </a:lnTo>
                    <a:lnTo>
                      <a:pt x="450" y="84"/>
                    </a:lnTo>
                    <a:lnTo>
                      <a:pt x="456" y="86"/>
                    </a:lnTo>
                    <a:lnTo>
                      <a:pt x="474" y="88"/>
                    </a:lnTo>
                    <a:lnTo>
                      <a:pt x="474" y="88"/>
                    </a:lnTo>
                    <a:lnTo>
                      <a:pt x="502" y="94"/>
                    </a:lnTo>
                    <a:lnTo>
                      <a:pt x="514" y="100"/>
                    </a:lnTo>
                    <a:lnTo>
                      <a:pt x="524" y="102"/>
                    </a:lnTo>
                    <a:lnTo>
                      <a:pt x="536" y="100"/>
                    </a:lnTo>
                    <a:lnTo>
                      <a:pt x="536" y="100"/>
                    </a:lnTo>
                    <a:lnTo>
                      <a:pt x="544" y="96"/>
                    </a:lnTo>
                    <a:lnTo>
                      <a:pt x="546" y="94"/>
                    </a:lnTo>
                    <a:lnTo>
                      <a:pt x="544" y="94"/>
                    </a:lnTo>
                    <a:lnTo>
                      <a:pt x="520" y="88"/>
                    </a:lnTo>
                    <a:lnTo>
                      <a:pt x="520" y="88"/>
                    </a:lnTo>
                    <a:lnTo>
                      <a:pt x="492" y="76"/>
                    </a:lnTo>
                    <a:lnTo>
                      <a:pt x="478" y="74"/>
                    </a:lnTo>
                    <a:lnTo>
                      <a:pt x="466" y="76"/>
                    </a:lnTo>
                    <a:lnTo>
                      <a:pt x="466" y="76"/>
                    </a:lnTo>
                    <a:lnTo>
                      <a:pt x="458" y="76"/>
                    </a:lnTo>
                    <a:lnTo>
                      <a:pt x="452" y="74"/>
                    </a:lnTo>
                    <a:lnTo>
                      <a:pt x="438" y="70"/>
                    </a:lnTo>
                    <a:lnTo>
                      <a:pt x="432" y="68"/>
                    </a:lnTo>
                    <a:lnTo>
                      <a:pt x="426" y="66"/>
                    </a:lnTo>
                    <a:lnTo>
                      <a:pt x="420" y="68"/>
                    </a:lnTo>
                    <a:lnTo>
                      <a:pt x="414" y="74"/>
                    </a:lnTo>
                    <a:lnTo>
                      <a:pt x="414" y="74"/>
                    </a:lnTo>
                    <a:lnTo>
                      <a:pt x="412" y="76"/>
                    </a:lnTo>
                    <a:lnTo>
                      <a:pt x="414" y="76"/>
                    </a:lnTo>
                    <a:lnTo>
                      <a:pt x="420" y="78"/>
                    </a:lnTo>
                    <a:lnTo>
                      <a:pt x="432" y="78"/>
                    </a:lnTo>
                    <a:lnTo>
                      <a:pt x="444" y="80"/>
                    </a:lnTo>
                    <a:lnTo>
                      <a:pt x="444" y="80"/>
                    </a:lnTo>
                    <a:close/>
                    <a:moveTo>
                      <a:pt x="296" y="786"/>
                    </a:moveTo>
                    <a:lnTo>
                      <a:pt x="296" y="786"/>
                    </a:lnTo>
                    <a:lnTo>
                      <a:pt x="290" y="806"/>
                    </a:lnTo>
                    <a:lnTo>
                      <a:pt x="288" y="812"/>
                    </a:lnTo>
                    <a:lnTo>
                      <a:pt x="288" y="818"/>
                    </a:lnTo>
                    <a:lnTo>
                      <a:pt x="292" y="822"/>
                    </a:lnTo>
                    <a:lnTo>
                      <a:pt x="300" y="826"/>
                    </a:lnTo>
                    <a:lnTo>
                      <a:pt x="310" y="828"/>
                    </a:lnTo>
                    <a:lnTo>
                      <a:pt x="324" y="828"/>
                    </a:lnTo>
                    <a:lnTo>
                      <a:pt x="324" y="828"/>
                    </a:lnTo>
                    <a:lnTo>
                      <a:pt x="340" y="828"/>
                    </a:lnTo>
                    <a:lnTo>
                      <a:pt x="338" y="830"/>
                    </a:lnTo>
                    <a:lnTo>
                      <a:pt x="334" y="832"/>
                    </a:lnTo>
                    <a:lnTo>
                      <a:pt x="330" y="836"/>
                    </a:lnTo>
                    <a:lnTo>
                      <a:pt x="330" y="842"/>
                    </a:lnTo>
                    <a:lnTo>
                      <a:pt x="330" y="844"/>
                    </a:lnTo>
                    <a:lnTo>
                      <a:pt x="332" y="848"/>
                    </a:lnTo>
                    <a:lnTo>
                      <a:pt x="344" y="856"/>
                    </a:lnTo>
                    <a:lnTo>
                      <a:pt x="344" y="856"/>
                    </a:lnTo>
                    <a:lnTo>
                      <a:pt x="350" y="858"/>
                    </a:lnTo>
                    <a:lnTo>
                      <a:pt x="356" y="860"/>
                    </a:lnTo>
                    <a:lnTo>
                      <a:pt x="360" y="860"/>
                    </a:lnTo>
                    <a:lnTo>
                      <a:pt x="362" y="858"/>
                    </a:lnTo>
                    <a:lnTo>
                      <a:pt x="364" y="852"/>
                    </a:lnTo>
                    <a:lnTo>
                      <a:pt x="366" y="844"/>
                    </a:lnTo>
                    <a:lnTo>
                      <a:pt x="366" y="838"/>
                    </a:lnTo>
                    <a:lnTo>
                      <a:pt x="366" y="834"/>
                    </a:lnTo>
                    <a:lnTo>
                      <a:pt x="368" y="832"/>
                    </a:lnTo>
                    <a:lnTo>
                      <a:pt x="370" y="834"/>
                    </a:lnTo>
                    <a:lnTo>
                      <a:pt x="376" y="842"/>
                    </a:lnTo>
                    <a:lnTo>
                      <a:pt x="376" y="842"/>
                    </a:lnTo>
                    <a:lnTo>
                      <a:pt x="380" y="848"/>
                    </a:lnTo>
                    <a:lnTo>
                      <a:pt x="382" y="852"/>
                    </a:lnTo>
                    <a:lnTo>
                      <a:pt x="382" y="856"/>
                    </a:lnTo>
                    <a:lnTo>
                      <a:pt x="382" y="860"/>
                    </a:lnTo>
                    <a:lnTo>
                      <a:pt x="378" y="866"/>
                    </a:lnTo>
                    <a:lnTo>
                      <a:pt x="372" y="870"/>
                    </a:lnTo>
                    <a:lnTo>
                      <a:pt x="368" y="874"/>
                    </a:lnTo>
                    <a:lnTo>
                      <a:pt x="368" y="874"/>
                    </a:lnTo>
                    <a:lnTo>
                      <a:pt x="368" y="876"/>
                    </a:lnTo>
                    <a:lnTo>
                      <a:pt x="374" y="878"/>
                    </a:lnTo>
                    <a:lnTo>
                      <a:pt x="388" y="880"/>
                    </a:lnTo>
                    <a:lnTo>
                      <a:pt x="388" y="880"/>
                    </a:lnTo>
                    <a:lnTo>
                      <a:pt x="404" y="882"/>
                    </a:lnTo>
                    <a:lnTo>
                      <a:pt x="414" y="884"/>
                    </a:lnTo>
                    <a:lnTo>
                      <a:pt x="420" y="886"/>
                    </a:lnTo>
                    <a:lnTo>
                      <a:pt x="424" y="888"/>
                    </a:lnTo>
                    <a:lnTo>
                      <a:pt x="426" y="890"/>
                    </a:lnTo>
                    <a:lnTo>
                      <a:pt x="430" y="892"/>
                    </a:lnTo>
                    <a:lnTo>
                      <a:pt x="450" y="892"/>
                    </a:lnTo>
                    <a:lnTo>
                      <a:pt x="450" y="892"/>
                    </a:lnTo>
                    <a:lnTo>
                      <a:pt x="464" y="894"/>
                    </a:lnTo>
                    <a:lnTo>
                      <a:pt x="476" y="894"/>
                    </a:lnTo>
                    <a:lnTo>
                      <a:pt x="494" y="898"/>
                    </a:lnTo>
                    <a:lnTo>
                      <a:pt x="504" y="898"/>
                    </a:lnTo>
                    <a:lnTo>
                      <a:pt x="514" y="898"/>
                    </a:lnTo>
                    <a:lnTo>
                      <a:pt x="524" y="894"/>
                    </a:lnTo>
                    <a:lnTo>
                      <a:pt x="536" y="888"/>
                    </a:lnTo>
                    <a:lnTo>
                      <a:pt x="536" y="888"/>
                    </a:lnTo>
                    <a:lnTo>
                      <a:pt x="540" y="886"/>
                    </a:lnTo>
                    <a:lnTo>
                      <a:pt x="540" y="884"/>
                    </a:lnTo>
                    <a:lnTo>
                      <a:pt x="540" y="882"/>
                    </a:lnTo>
                    <a:lnTo>
                      <a:pt x="538" y="878"/>
                    </a:lnTo>
                    <a:lnTo>
                      <a:pt x="530" y="874"/>
                    </a:lnTo>
                    <a:lnTo>
                      <a:pt x="518" y="868"/>
                    </a:lnTo>
                    <a:lnTo>
                      <a:pt x="506" y="862"/>
                    </a:lnTo>
                    <a:lnTo>
                      <a:pt x="494" y="854"/>
                    </a:lnTo>
                    <a:lnTo>
                      <a:pt x="484" y="846"/>
                    </a:lnTo>
                    <a:lnTo>
                      <a:pt x="476" y="836"/>
                    </a:lnTo>
                    <a:lnTo>
                      <a:pt x="476" y="836"/>
                    </a:lnTo>
                    <a:lnTo>
                      <a:pt x="472" y="826"/>
                    </a:lnTo>
                    <a:lnTo>
                      <a:pt x="466" y="820"/>
                    </a:lnTo>
                    <a:lnTo>
                      <a:pt x="456" y="808"/>
                    </a:lnTo>
                    <a:lnTo>
                      <a:pt x="452" y="800"/>
                    </a:lnTo>
                    <a:lnTo>
                      <a:pt x="448" y="792"/>
                    </a:lnTo>
                    <a:lnTo>
                      <a:pt x="448" y="780"/>
                    </a:lnTo>
                    <a:lnTo>
                      <a:pt x="450" y="764"/>
                    </a:lnTo>
                    <a:lnTo>
                      <a:pt x="450" y="764"/>
                    </a:lnTo>
                    <a:lnTo>
                      <a:pt x="452" y="756"/>
                    </a:lnTo>
                    <a:lnTo>
                      <a:pt x="456" y="748"/>
                    </a:lnTo>
                    <a:lnTo>
                      <a:pt x="464" y="736"/>
                    </a:lnTo>
                    <a:lnTo>
                      <a:pt x="474" y="726"/>
                    </a:lnTo>
                    <a:lnTo>
                      <a:pt x="482" y="718"/>
                    </a:lnTo>
                    <a:lnTo>
                      <a:pt x="490" y="712"/>
                    </a:lnTo>
                    <a:lnTo>
                      <a:pt x="492" y="706"/>
                    </a:lnTo>
                    <a:lnTo>
                      <a:pt x="492" y="704"/>
                    </a:lnTo>
                    <a:lnTo>
                      <a:pt x="488" y="702"/>
                    </a:lnTo>
                    <a:lnTo>
                      <a:pt x="478" y="696"/>
                    </a:lnTo>
                    <a:lnTo>
                      <a:pt x="478" y="696"/>
                    </a:lnTo>
                    <a:lnTo>
                      <a:pt x="458" y="688"/>
                    </a:lnTo>
                    <a:lnTo>
                      <a:pt x="454" y="686"/>
                    </a:lnTo>
                    <a:lnTo>
                      <a:pt x="448" y="686"/>
                    </a:lnTo>
                    <a:lnTo>
                      <a:pt x="434" y="688"/>
                    </a:lnTo>
                    <a:lnTo>
                      <a:pt x="400" y="694"/>
                    </a:lnTo>
                    <a:lnTo>
                      <a:pt x="400" y="694"/>
                    </a:lnTo>
                    <a:lnTo>
                      <a:pt x="378" y="698"/>
                    </a:lnTo>
                    <a:lnTo>
                      <a:pt x="366" y="700"/>
                    </a:lnTo>
                    <a:lnTo>
                      <a:pt x="362" y="702"/>
                    </a:lnTo>
                    <a:lnTo>
                      <a:pt x="362" y="706"/>
                    </a:lnTo>
                    <a:lnTo>
                      <a:pt x="362" y="708"/>
                    </a:lnTo>
                    <a:lnTo>
                      <a:pt x="362" y="712"/>
                    </a:lnTo>
                    <a:lnTo>
                      <a:pt x="358" y="716"/>
                    </a:lnTo>
                    <a:lnTo>
                      <a:pt x="348" y="720"/>
                    </a:lnTo>
                    <a:lnTo>
                      <a:pt x="348" y="720"/>
                    </a:lnTo>
                    <a:lnTo>
                      <a:pt x="338" y="726"/>
                    </a:lnTo>
                    <a:lnTo>
                      <a:pt x="334" y="730"/>
                    </a:lnTo>
                    <a:lnTo>
                      <a:pt x="332" y="734"/>
                    </a:lnTo>
                    <a:lnTo>
                      <a:pt x="334" y="736"/>
                    </a:lnTo>
                    <a:lnTo>
                      <a:pt x="338" y="742"/>
                    </a:lnTo>
                    <a:lnTo>
                      <a:pt x="340" y="746"/>
                    </a:lnTo>
                    <a:lnTo>
                      <a:pt x="340" y="754"/>
                    </a:lnTo>
                    <a:lnTo>
                      <a:pt x="336" y="764"/>
                    </a:lnTo>
                    <a:lnTo>
                      <a:pt x="336" y="764"/>
                    </a:lnTo>
                    <a:lnTo>
                      <a:pt x="330" y="774"/>
                    </a:lnTo>
                    <a:lnTo>
                      <a:pt x="324" y="778"/>
                    </a:lnTo>
                    <a:lnTo>
                      <a:pt x="320" y="778"/>
                    </a:lnTo>
                    <a:lnTo>
                      <a:pt x="316" y="776"/>
                    </a:lnTo>
                    <a:lnTo>
                      <a:pt x="310" y="774"/>
                    </a:lnTo>
                    <a:lnTo>
                      <a:pt x="306" y="774"/>
                    </a:lnTo>
                    <a:lnTo>
                      <a:pt x="302" y="778"/>
                    </a:lnTo>
                    <a:lnTo>
                      <a:pt x="296" y="786"/>
                    </a:lnTo>
                    <a:lnTo>
                      <a:pt x="296" y="786"/>
                    </a:lnTo>
                    <a:close/>
                    <a:moveTo>
                      <a:pt x="282" y="168"/>
                    </a:moveTo>
                    <a:lnTo>
                      <a:pt x="282" y="168"/>
                    </a:lnTo>
                    <a:lnTo>
                      <a:pt x="290" y="168"/>
                    </a:lnTo>
                    <a:lnTo>
                      <a:pt x="294" y="164"/>
                    </a:lnTo>
                    <a:lnTo>
                      <a:pt x="292" y="160"/>
                    </a:lnTo>
                    <a:lnTo>
                      <a:pt x="288" y="158"/>
                    </a:lnTo>
                    <a:lnTo>
                      <a:pt x="280" y="154"/>
                    </a:lnTo>
                    <a:lnTo>
                      <a:pt x="270" y="152"/>
                    </a:lnTo>
                    <a:lnTo>
                      <a:pt x="260" y="152"/>
                    </a:lnTo>
                    <a:lnTo>
                      <a:pt x="250" y="156"/>
                    </a:lnTo>
                    <a:lnTo>
                      <a:pt x="250" y="156"/>
                    </a:lnTo>
                    <a:lnTo>
                      <a:pt x="242" y="160"/>
                    </a:lnTo>
                    <a:lnTo>
                      <a:pt x="240" y="164"/>
                    </a:lnTo>
                    <a:lnTo>
                      <a:pt x="240" y="166"/>
                    </a:lnTo>
                    <a:lnTo>
                      <a:pt x="244" y="166"/>
                    </a:lnTo>
                    <a:lnTo>
                      <a:pt x="260" y="168"/>
                    </a:lnTo>
                    <a:lnTo>
                      <a:pt x="282" y="168"/>
                    </a:lnTo>
                    <a:lnTo>
                      <a:pt x="282" y="168"/>
                    </a:lnTo>
                    <a:close/>
                    <a:moveTo>
                      <a:pt x="416" y="96"/>
                    </a:moveTo>
                    <a:lnTo>
                      <a:pt x="416" y="96"/>
                    </a:lnTo>
                    <a:lnTo>
                      <a:pt x="424" y="96"/>
                    </a:lnTo>
                    <a:lnTo>
                      <a:pt x="428" y="100"/>
                    </a:lnTo>
                    <a:lnTo>
                      <a:pt x="432" y="100"/>
                    </a:lnTo>
                    <a:lnTo>
                      <a:pt x="440" y="100"/>
                    </a:lnTo>
                    <a:lnTo>
                      <a:pt x="440" y="100"/>
                    </a:lnTo>
                    <a:lnTo>
                      <a:pt x="452" y="98"/>
                    </a:lnTo>
                    <a:lnTo>
                      <a:pt x="464" y="96"/>
                    </a:lnTo>
                    <a:lnTo>
                      <a:pt x="470" y="96"/>
                    </a:lnTo>
                    <a:lnTo>
                      <a:pt x="472" y="96"/>
                    </a:lnTo>
                    <a:lnTo>
                      <a:pt x="470" y="94"/>
                    </a:lnTo>
                    <a:lnTo>
                      <a:pt x="470" y="94"/>
                    </a:lnTo>
                    <a:lnTo>
                      <a:pt x="452" y="88"/>
                    </a:lnTo>
                    <a:lnTo>
                      <a:pt x="440" y="86"/>
                    </a:lnTo>
                    <a:lnTo>
                      <a:pt x="436" y="86"/>
                    </a:lnTo>
                    <a:lnTo>
                      <a:pt x="432" y="88"/>
                    </a:lnTo>
                    <a:lnTo>
                      <a:pt x="432" y="88"/>
                    </a:lnTo>
                    <a:lnTo>
                      <a:pt x="428" y="90"/>
                    </a:lnTo>
                    <a:lnTo>
                      <a:pt x="424" y="90"/>
                    </a:lnTo>
                    <a:lnTo>
                      <a:pt x="414" y="88"/>
                    </a:lnTo>
                    <a:lnTo>
                      <a:pt x="404" y="86"/>
                    </a:lnTo>
                    <a:lnTo>
                      <a:pt x="398" y="88"/>
                    </a:lnTo>
                    <a:lnTo>
                      <a:pt x="396" y="92"/>
                    </a:lnTo>
                    <a:lnTo>
                      <a:pt x="396" y="92"/>
                    </a:lnTo>
                    <a:lnTo>
                      <a:pt x="394" y="94"/>
                    </a:lnTo>
                    <a:lnTo>
                      <a:pt x="398" y="96"/>
                    </a:lnTo>
                    <a:lnTo>
                      <a:pt x="416" y="96"/>
                    </a:lnTo>
                    <a:lnTo>
                      <a:pt x="416" y="96"/>
                    </a:lnTo>
                    <a:close/>
                    <a:moveTo>
                      <a:pt x="406" y="124"/>
                    </a:moveTo>
                    <a:lnTo>
                      <a:pt x="406" y="124"/>
                    </a:lnTo>
                    <a:lnTo>
                      <a:pt x="414" y="122"/>
                    </a:lnTo>
                    <a:lnTo>
                      <a:pt x="416" y="122"/>
                    </a:lnTo>
                    <a:lnTo>
                      <a:pt x="416" y="120"/>
                    </a:lnTo>
                    <a:lnTo>
                      <a:pt x="414" y="116"/>
                    </a:lnTo>
                    <a:lnTo>
                      <a:pt x="408" y="112"/>
                    </a:lnTo>
                    <a:lnTo>
                      <a:pt x="408" y="112"/>
                    </a:lnTo>
                    <a:lnTo>
                      <a:pt x="402" y="110"/>
                    </a:lnTo>
                    <a:lnTo>
                      <a:pt x="394" y="110"/>
                    </a:lnTo>
                    <a:lnTo>
                      <a:pt x="390" y="112"/>
                    </a:lnTo>
                    <a:lnTo>
                      <a:pt x="390" y="112"/>
                    </a:lnTo>
                    <a:lnTo>
                      <a:pt x="392" y="114"/>
                    </a:lnTo>
                    <a:lnTo>
                      <a:pt x="392" y="114"/>
                    </a:lnTo>
                    <a:lnTo>
                      <a:pt x="392" y="116"/>
                    </a:lnTo>
                    <a:lnTo>
                      <a:pt x="392" y="118"/>
                    </a:lnTo>
                    <a:lnTo>
                      <a:pt x="390" y="120"/>
                    </a:lnTo>
                    <a:lnTo>
                      <a:pt x="390" y="122"/>
                    </a:lnTo>
                    <a:lnTo>
                      <a:pt x="392" y="124"/>
                    </a:lnTo>
                    <a:lnTo>
                      <a:pt x="406" y="124"/>
                    </a:lnTo>
                    <a:lnTo>
                      <a:pt x="406" y="124"/>
                    </a:lnTo>
                    <a:close/>
                    <a:moveTo>
                      <a:pt x="382" y="134"/>
                    </a:moveTo>
                    <a:lnTo>
                      <a:pt x="382" y="134"/>
                    </a:lnTo>
                    <a:lnTo>
                      <a:pt x="372" y="126"/>
                    </a:lnTo>
                    <a:lnTo>
                      <a:pt x="368" y="124"/>
                    </a:lnTo>
                    <a:lnTo>
                      <a:pt x="364" y="124"/>
                    </a:lnTo>
                    <a:lnTo>
                      <a:pt x="350" y="128"/>
                    </a:lnTo>
                    <a:lnTo>
                      <a:pt x="330" y="136"/>
                    </a:lnTo>
                    <a:lnTo>
                      <a:pt x="330" y="136"/>
                    </a:lnTo>
                    <a:lnTo>
                      <a:pt x="328" y="138"/>
                    </a:lnTo>
                    <a:lnTo>
                      <a:pt x="326" y="140"/>
                    </a:lnTo>
                    <a:lnTo>
                      <a:pt x="328" y="142"/>
                    </a:lnTo>
                    <a:lnTo>
                      <a:pt x="332" y="144"/>
                    </a:lnTo>
                    <a:lnTo>
                      <a:pt x="342" y="146"/>
                    </a:lnTo>
                    <a:lnTo>
                      <a:pt x="356" y="148"/>
                    </a:lnTo>
                    <a:lnTo>
                      <a:pt x="370" y="148"/>
                    </a:lnTo>
                    <a:lnTo>
                      <a:pt x="380" y="146"/>
                    </a:lnTo>
                    <a:lnTo>
                      <a:pt x="384" y="144"/>
                    </a:lnTo>
                    <a:lnTo>
                      <a:pt x="386" y="142"/>
                    </a:lnTo>
                    <a:lnTo>
                      <a:pt x="386" y="138"/>
                    </a:lnTo>
                    <a:lnTo>
                      <a:pt x="382" y="134"/>
                    </a:lnTo>
                    <a:lnTo>
                      <a:pt x="382" y="134"/>
                    </a:lnTo>
                    <a:close/>
                    <a:moveTo>
                      <a:pt x="46" y="116"/>
                    </a:moveTo>
                    <a:lnTo>
                      <a:pt x="46" y="116"/>
                    </a:lnTo>
                    <a:lnTo>
                      <a:pt x="54" y="118"/>
                    </a:lnTo>
                    <a:lnTo>
                      <a:pt x="62" y="114"/>
                    </a:lnTo>
                    <a:lnTo>
                      <a:pt x="62" y="114"/>
                    </a:lnTo>
                    <a:lnTo>
                      <a:pt x="66" y="114"/>
                    </a:lnTo>
                    <a:lnTo>
                      <a:pt x="70" y="116"/>
                    </a:lnTo>
                    <a:lnTo>
                      <a:pt x="76" y="120"/>
                    </a:lnTo>
                    <a:lnTo>
                      <a:pt x="80" y="122"/>
                    </a:lnTo>
                    <a:lnTo>
                      <a:pt x="86" y="124"/>
                    </a:lnTo>
                    <a:lnTo>
                      <a:pt x="92" y="122"/>
                    </a:lnTo>
                    <a:lnTo>
                      <a:pt x="102" y="118"/>
                    </a:lnTo>
                    <a:lnTo>
                      <a:pt x="102" y="118"/>
                    </a:lnTo>
                    <a:lnTo>
                      <a:pt x="118" y="110"/>
                    </a:lnTo>
                    <a:lnTo>
                      <a:pt x="130" y="104"/>
                    </a:lnTo>
                    <a:lnTo>
                      <a:pt x="134" y="102"/>
                    </a:lnTo>
                    <a:lnTo>
                      <a:pt x="140" y="102"/>
                    </a:lnTo>
                    <a:lnTo>
                      <a:pt x="148" y="102"/>
                    </a:lnTo>
                    <a:lnTo>
                      <a:pt x="158" y="106"/>
                    </a:lnTo>
                    <a:lnTo>
                      <a:pt x="158" y="106"/>
                    </a:lnTo>
                    <a:lnTo>
                      <a:pt x="168" y="108"/>
                    </a:lnTo>
                    <a:lnTo>
                      <a:pt x="176" y="108"/>
                    </a:lnTo>
                    <a:lnTo>
                      <a:pt x="180" y="108"/>
                    </a:lnTo>
                    <a:lnTo>
                      <a:pt x="182" y="106"/>
                    </a:lnTo>
                    <a:lnTo>
                      <a:pt x="182" y="102"/>
                    </a:lnTo>
                    <a:lnTo>
                      <a:pt x="176" y="98"/>
                    </a:lnTo>
                    <a:lnTo>
                      <a:pt x="166" y="94"/>
                    </a:lnTo>
                    <a:lnTo>
                      <a:pt x="150" y="90"/>
                    </a:lnTo>
                    <a:lnTo>
                      <a:pt x="150" y="90"/>
                    </a:lnTo>
                    <a:lnTo>
                      <a:pt x="126" y="86"/>
                    </a:lnTo>
                    <a:lnTo>
                      <a:pt x="122" y="88"/>
                    </a:lnTo>
                    <a:lnTo>
                      <a:pt x="120" y="90"/>
                    </a:lnTo>
                    <a:lnTo>
                      <a:pt x="118" y="92"/>
                    </a:lnTo>
                    <a:lnTo>
                      <a:pt x="114" y="94"/>
                    </a:lnTo>
                    <a:lnTo>
                      <a:pt x="108" y="98"/>
                    </a:lnTo>
                    <a:lnTo>
                      <a:pt x="96" y="100"/>
                    </a:lnTo>
                    <a:lnTo>
                      <a:pt x="96" y="100"/>
                    </a:lnTo>
                    <a:lnTo>
                      <a:pt x="64" y="104"/>
                    </a:lnTo>
                    <a:lnTo>
                      <a:pt x="42" y="108"/>
                    </a:lnTo>
                    <a:lnTo>
                      <a:pt x="34" y="110"/>
                    </a:lnTo>
                    <a:lnTo>
                      <a:pt x="32" y="112"/>
                    </a:lnTo>
                    <a:lnTo>
                      <a:pt x="36" y="114"/>
                    </a:lnTo>
                    <a:lnTo>
                      <a:pt x="46" y="116"/>
                    </a:lnTo>
                    <a:lnTo>
                      <a:pt x="46" y="116"/>
                    </a:lnTo>
                    <a:close/>
                    <a:moveTo>
                      <a:pt x="202" y="100"/>
                    </a:moveTo>
                    <a:lnTo>
                      <a:pt x="202" y="100"/>
                    </a:lnTo>
                    <a:lnTo>
                      <a:pt x="210" y="106"/>
                    </a:lnTo>
                    <a:lnTo>
                      <a:pt x="210" y="108"/>
                    </a:lnTo>
                    <a:lnTo>
                      <a:pt x="210" y="112"/>
                    </a:lnTo>
                    <a:lnTo>
                      <a:pt x="208" y="114"/>
                    </a:lnTo>
                    <a:lnTo>
                      <a:pt x="202" y="116"/>
                    </a:lnTo>
                    <a:lnTo>
                      <a:pt x="178" y="118"/>
                    </a:lnTo>
                    <a:lnTo>
                      <a:pt x="178" y="118"/>
                    </a:lnTo>
                    <a:lnTo>
                      <a:pt x="152" y="118"/>
                    </a:lnTo>
                    <a:lnTo>
                      <a:pt x="136" y="118"/>
                    </a:lnTo>
                    <a:lnTo>
                      <a:pt x="132" y="120"/>
                    </a:lnTo>
                    <a:lnTo>
                      <a:pt x="132" y="120"/>
                    </a:lnTo>
                    <a:lnTo>
                      <a:pt x="134" y="124"/>
                    </a:lnTo>
                    <a:lnTo>
                      <a:pt x="140" y="126"/>
                    </a:lnTo>
                    <a:lnTo>
                      <a:pt x="140" y="126"/>
                    </a:lnTo>
                    <a:lnTo>
                      <a:pt x="146" y="132"/>
                    </a:lnTo>
                    <a:lnTo>
                      <a:pt x="146" y="134"/>
                    </a:lnTo>
                    <a:lnTo>
                      <a:pt x="144" y="134"/>
                    </a:lnTo>
                    <a:lnTo>
                      <a:pt x="124" y="132"/>
                    </a:lnTo>
                    <a:lnTo>
                      <a:pt x="124" y="132"/>
                    </a:lnTo>
                    <a:lnTo>
                      <a:pt x="110" y="132"/>
                    </a:lnTo>
                    <a:lnTo>
                      <a:pt x="100" y="132"/>
                    </a:lnTo>
                    <a:lnTo>
                      <a:pt x="96" y="134"/>
                    </a:lnTo>
                    <a:lnTo>
                      <a:pt x="96" y="136"/>
                    </a:lnTo>
                    <a:lnTo>
                      <a:pt x="100" y="140"/>
                    </a:lnTo>
                    <a:lnTo>
                      <a:pt x="110" y="144"/>
                    </a:lnTo>
                    <a:lnTo>
                      <a:pt x="110" y="144"/>
                    </a:lnTo>
                    <a:lnTo>
                      <a:pt x="118" y="148"/>
                    </a:lnTo>
                    <a:lnTo>
                      <a:pt x="122" y="148"/>
                    </a:lnTo>
                    <a:lnTo>
                      <a:pt x="128" y="144"/>
                    </a:lnTo>
                    <a:lnTo>
                      <a:pt x="140" y="140"/>
                    </a:lnTo>
                    <a:lnTo>
                      <a:pt x="140" y="140"/>
                    </a:lnTo>
                    <a:lnTo>
                      <a:pt x="146" y="140"/>
                    </a:lnTo>
                    <a:lnTo>
                      <a:pt x="148" y="140"/>
                    </a:lnTo>
                    <a:lnTo>
                      <a:pt x="146" y="146"/>
                    </a:lnTo>
                    <a:lnTo>
                      <a:pt x="146" y="150"/>
                    </a:lnTo>
                    <a:lnTo>
                      <a:pt x="146" y="152"/>
                    </a:lnTo>
                    <a:lnTo>
                      <a:pt x="150" y="152"/>
                    </a:lnTo>
                    <a:lnTo>
                      <a:pt x="160" y="150"/>
                    </a:lnTo>
                    <a:lnTo>
                      <a:pt x="160" y="150"/>
                    </a:lnTo>
                    <a:lnTo>
                      <a:pt x="168" y="148"/>
                    </a:lnTo>
                    <a:lnTo>
                      <a:pt x="176" y="146"/>
                    </a:lnTo>
                    <a:lnTo>
                      <a:pt x="184" y="148"/>
                    </a:lnTo>
                    <a:lnTo>
                      <a:pt x="190" y="150"/>
                    </a:lnTo>
                    <a:lnTo>
                      <a:pt x="192" y="150"/>
                    </a:lnTo>
                    <a:lnTo>
                      <a:pt x="196" y="148"/>
                    </a:lnTo>
                    <a:lnTo>
                      <a:pt x="196" y="148"/>
                    </a:lnTo>
                    <a:lnTo>
                      <a:pt x="200" y="144"/>
                    </a:lnTo>
                    <a:lnTo>
                      <a:pt x="198" y="142"/>
                    </a:lnTo>
                    <a:lnTo>
                      <a:pt x="192" y="140"/>
                    </a:lnTo>
                    <a:lnTo>
                      <a:pt x="184" y="138"/>
                    </a:lnTo>
                    <a:lnTo>
                      <a:pt x="184" y="136"/>
                    </a:lnTo>
                    <a:lnTo>
                      <a:pt x="186" y="134"/>
                    </a:lnTo>
                    <a:lnTo>
                      <a:pt x="186" y="134"/>
                    </a:lnTo>
                    <a:lnTo>
                      <a:pt x="196" y="130"/>
                    </a:lnTo>
                    <a:lnTo>
                      <a:pt x="206" y="130"/>
                    </a:lnTo>
                    <a:lnTo>
                      <a:pt x="216" y="128"/>
                    </a:lnTo>
                    <a:lnTo>
                      <a:pt x="220" y="126"/>
                    </a:lnTo>
                    <a:lnTo>
                      <a:pt x="226" y="124"/>
                    </a:lnTo>
                    <a:lnTo>
                      <a:pt x="226" y="124"/>
                    </a:lnTo>
                    <a:lnTo>
                      <a:pt x="230" y="120"/>
                    </a:lnTo>
                    <a:lnTo>
                      <a:pt x="234" y="118"/>
                    </a:lnTo>
                    <a:lnTo>
                      <a:pt x="246" y="118"/>
                    </a:lnTo>
                    <a:lnTo>
                      <a:pt x="262" y="118"/>
                    </a:lnTo>
                    <a:lnTo>
                      <a:pt x="286" y="114"/>
                    </a:lnTo>
                    <a:lnTo>
                      <a:pt x="286" y="114"/>
                    </a:lnTo>
                    <a:lnTo>
                      <a:pt x="298" y="112"/>
                    </a:lnTo>
                    <a:lnTo>
                      <a:pt x="304" y="108"/>
                    </a:lnTo>
                    <a:lnTo>
                      <a:pt x="306" y="104"/>
                    </a:lnTo>
                    <a:lnTo>
                      <a:pt x="304" y="102"/>
                    </a:lnTo>
                    <a:lnTo>
                      <a:pt x="298" y="98"/>
                    </a:lnTo>
                    <a:lnTo>
                      <a:pt x="290" y="96"/>
                    </a:lnTo>
                    <a:lnTo>
                      <a:pt x="280" y="96"/>
                    </a:lnTo>
                    <a:lnTo>
                      <a:pt x="270" y="98"/>
                    </a:lnTo>
                    <a:lnTo>
                      <a:pt x="270" y="98"/>
                    </a:lnTo>
                    <a:lnTo>
                      <a:pt x="256" y="98"/>
                    </a:lnTo>
                    <a:lnTo>
                      <a:pt x="258" y="98"/>
                    </a:lnTo>
                    <a:lnTo>
                      <a:pt x="260" y="96"/>
                    </a:lnTo>
                    <a:lnTo>
                      <a:pt x="262" y="94"/>
                    </a:lnTo>
                    <a:lnTo>
                      <a:pt x="262" y="92"/>
                    </a:lnTo>
                    <a:lnTo>
                      <a:pt x="258" y="90"/>
                    </a:lnTo>
                    <a:lnTo>
                      <a:pt x="250" y="88"/>
                    </a:lnTo>
                    <a:lnTo>
                      <a:pt x="250" y="88"/>
                    </a:lnTo>
                    <a:lnTo>
                      <a:pt x="228" y="88"/>
                    </a:lnTo>
                    <a:lnTo>
                      <a:pt x="208" y="90"/>
                    </a:lnTo>
                    <a:lnTo>
                      <a:pt x="202" y="92"/>
                    </a:lnTo>
                    <a:lnTo>
                      <a:pt x="198" y="96"/>
                    </a:lnTo>
                    <a:lnTo>
                      <a:pt x="198" y="98"/>
                    </a:lnTo>
                    <a:lnTo>
                      <a:pt x="202" y="100"/>
                    </a:lnTo>
                    <a:lnTo>
                      <a:pt x="202" y="100"/>
                    </a:lnTo>
                    <a:close/>
                    <a:moveTo>
                      <a:pt x="272" y="70"/>
                    </a:moveTo>
                    <a:lnTo>
                      <a:pt x="272" y="70"/>
                    </a:lnTo>
                    <a:lnTo>
                      <a:pt x="276" y="66"/>
                    </a:lnTo>
                    <a:lnTo>
                      <a:pt x="278" y="64"/>
                    </a:lnTo>
                    <a:lnTo>
                      <a:pt x="276" y="62"/>
                    </a:lnTo>
                    <a:lnTo>
                      <a:pt x="274" y="60"/>
                    </a:lnTo>
                    <a:lnTo>
                      <a:pt x="268" y="60"/>
                    </a:lnTo>
                    <a:lnTo>
                      <a:pt x="262" y="60"/>
                    </a:lnTo>
                    <a:lnTo>
                      <a:pt x="256" y="62"/>
                    </a:lnTo>
                    <a:lnTo>
                      <a:pt x="250" y="66"/>
                    </a:lnTo>
                    <a:lnTo>
                      <a:pt x="250" y="66"/>
                    </a:lnTo>
                    <a:lnTo>
                      <a:pt x="246" y="72"/>
                    </a:lnTo>
                    <a:lnTo>
                      <a:pt x="244" y="76"/>
                    </a:lnTo>
                    <a:lnTo>
                      <a:pt x="244" y="78"/>
                    </a:lnTo>
                    <a:lnTo>
                      <a:pt x="248" y="78"/>
                    </a:lnTo>
                    <a:lnTo>
                      <a:pt x="258" y="74"/>
                    </a:lnTo>
                    <a:lnTo>
                      <a:pt x="272" y="70"/>
                    </a:lnTo>
                    <a:lnTo>
                      <a:pt x="272" y="70"/>
                    </a:lnTo>
                    <a:close/>
                    <a:moveTo>
                      <a:pt x="228" y="142"/>
                    </a:moveTo>
                    <a:lnTo>
                      <a:pt x="228" y="142"/>
                    </a:lnTo>
                    <a:lnTo>
                      <a:pt x="222" y="144"/>
                    </a:lnTo>
                    <a:lnTo>
                      <a:pt x="220" y="146"/>
                    </a:lnTo>
                    <a:lnTo>
                      <a:pt x="218" y="150"/>
                    </a:lnTo>
                    <a:lnTo>
                      <a:pt x="220" y="152"/>
                    </a:lnTo>
                    <a:lnTo>
                      <a:pt x="222" y="156"/>
                    </a:lnTo>
                    <a:lnTo>
                      <a:pt x="226" y="156"/>
                    </a:lnTo>
                    <a:lnTo>
                      <a:pt x="232" y="156"/>
                    </a:lnTo>
                    <a:lnTo>
                      <a:pt x="238" y="154"/>
                    </a:lnTo>
                    <a:lnTo>
                      <a:pt x="238" y="154"/>
                    </a:lnTo>
                    <a:lnTo>
                      <a:pt x="246" y="148"/>
                    </a:lnTo>
                    <a:lnTo>
                      <a:pt x="248" y="144"/>
                    </a:lnTo>
                    <a:lnTo>
                      <a:pt x="248" y="142"/>
                    </a:lnTo>
                    <a:lnTo>
                      <a:pt x="246" y="140"/>
                    </a:lnTo>
                    <a:lnTo>
                      <a:pt x="242" y="138"/>
                    </a:lnTo>
                    <a:lnTo>
                      <a:pt x="228" y="142"/>
                    </a:lnTo>
                    <a:lnTo>
                      <a:pt x="228" y="142"/>
                    </a:lnTo>
                    <a:close/>
                    <a:moveTo>
                      <a:pt x="790" y="22"/>
                    </a:moveTo>
                    <a:lnTo>
                      <a:pt x="790" y="22"/>
                    </a:lnTo>
                    <a:lnTo>
                      <a:pt x="792" y="20"/>
                    </a:lnTo>
                    <a:lnTo>
                      <a:pt x="792" y="18"/>
                    </a:lnTo>
                    <a:lnTo>
                      <a:pt x="788" y="14"/>
                    </a:lnTo>
                    <a:lnTo>
                      <a:pt x="780" y="12"/>
                    </a:lnTo>
                    <a:lnTo>
                      <a:pt x="770" y="12"/>
                    </a:lnTo>
                    <a:lnTo>
                      <a:pt x="748" y="12"/>
                    </a:lnTo>
                    <a:lnTo>
                      <a:pt x="736" y="14"/>
                    </a:lnTo>
                    <a:lnTo>
                      <a:pt x="728" y="18"/>
                    </a:lnTo>
                    <a:lnTo>
                      <a:pt x="728" y="18"/>
                    </a:lnTo>
                    <a:lnTo>
                      <a:pt x="726" y="18"/>
                    </a:lnTo>
                    <a:lnTo>
                      <a:pt x="726" y="20"/>
                    </a:lnTo>
                    <a:lnTo>
                      <a:pt x="730" y="22"/>
                    </a:lnTo>
                    <a:lnTo>
                      <a:pt x="750" y="26"/>
                    </a:lnTo>
                    <a:lnTo>
                      <a:pt x="774" y="26"/>
                    </a:lnTo>
                    <a:lnTo>
                      <a:pt x="784" y="26"/>
                    </a:lnTo>
                    <a:lnTo>
                      <a:pt x="790" y="22"/>
                    </a:lnTo>
                    <a:lnTo>
                      <a:pt x="790" y="22"/>
                    </a:lnTo>
                    <a:close/>
                    <a:moveTo>
                      <a:pt x="596" y="154"/>
                    </a:moveTo>
                    <a:lnTo>
                      <a:pt x="596" y="154"/>
                    </a:lnTo>
                    <a:lnTo>
                      <a:pt x="588" y="158"/>
                    </a:lnTo>
                    <a:lnTo>
                      <a:pt x="586" y="160"/>
                    </a:lnTo>
                    <a:lnTo>
                      <a:pt x="588" y="162"/>
                    </a:lnTo>
                    <a:lnTo>
                      <a:pt x="592" y="164"/>
                    </a:lnTo>
                    <a:lnTo>
                      <a:pt x="608" y="164"/>
                    </a:lnTo>
                    <a:lnTo>
                      <a:pt x="628" y="164"/>
                    </a:lnTo>
                    <a:lnTo>
                      <a:pt x="628" y="164"/>
                    </a:lnTo>
                    <a:lnTo>
                      <a:pt x="634" y="162"/>
                    </a:lnTo>
                    <a:lnTo>
                      <a:pt x="638" y="160"/>
                    </a:lnTo>
                    <a:lnTo>
                      <a:pt x="636" y="158"/>
                    </a:lnTo>
                    <a:lnTo>
                      <a:pt x="632" y="156"/>
                    </a:lnTo>
                    <a:lnTo>
                      <a:pt x="618" y="152"/>
                    </a:lnTo>
                    <a:lnTo>
                      <a:pt x="610" y="152"/>
                    </a:lnTo>
                    <a:lnTo>
                      <a:pt x="600" y="154"/>
                    </a:lnTo>
                    <a:lnTo>
                      <a:pt x="596" y="154"/>
                    </a:lnTo>
                    <a:close/>
                    <a:moveTo>
                      <a:pt x="482" y="98"/>
                    </a:moveTo>
                    <a:lnTo>
                      <a:pt x="482" y="98"/>
                    </a:lnTo>
                    <a:lnTo>
                      <a:pt x="460" y="100"/>
                    </a:lnTo>
                    <a:lnTo>
                      <a:pt x="458" y="102"/>
                    </a:lnTo>
                    <a:lnTo>
                      <a:pt x="462" y="106"/>
                    </a:lnTo>
                    <a:lnTo>
                      <a:pt x="462" y="106"/>
                    </a:lnTo>
                    <a:lnTo>
                      <a:pt x="470" y="108"/>
                    </a:lnTo>
                    <a:lnTo>
                      <a:pt x="482" y="108"/>
                    </a:lnTo>
                    <a:lnTo>
                      <a:pt x="510" y="106"/>
                    </a:lnTo>
                    <a:lnTo>
                      <a:pt x="510" y="106"/>
                    </a:lnTo>
                    <a:lnTo>
                      <a:pt x="514" y="106"/>
                    </a:lnTo>
                    <a:lnTo>
                      <a:pt x="516" y="104"/>
                    </a:lnTo>
                    <a:lnTo>
                      <a:pt x="508" y="100"/>
                    </a:lnTo>
                    <a:lnTo>
                      <a:pt x="496" y="98"/>
                    </a:lnTo>
                    <a:lnTo>
                      <a:pt x="482" y="98"/>
                    </a:lnTo>
                    <a:lnTo>
                      <a:pt x="482" y="98"/>
                    </a:lnTo>
                    <a:close/>
                    <a:moveTo>
                      <a:pt x="796" y="100"/>
                    </a:moveTo>
                    <a:lnTo>
                      <a:pt x="796" y="100"/>
                    </a:lnTo>
                    <a:lnTo>
                      <a:pt x="822" y="96"/>
                    </a:lnTo>
                    <a:lnTo>
                      <a:pt x="842" y="92"/>
                    </a:lnTo>
                    <a:lnTo>
                      <a:pt x="848" y="90"/>
                    </a:lnTo>
                    <a:lnTo>
                      <a:pt x="854" y="88"/>
                    </a:lnTo>
                    <a:lnTo>
                      <a:pt x="856" y="84"/>
                    </a:lnTo>
                    <a:lnTo>
                      <a:pt x="858" y="78"/>
                    </a:lnTo>
                    <a:lnTo>
                      <a:pt x="858" y="78"/>
                    </a:lnTo>
                    <a:lnTo>
                      <a:pt x="856" y="70"/>
                    </a:lnTo>
                    <a:lnTo>
                      <a:pt x="852" y="66"/>
                    </a:lnTo>
                    <a:lnTo>
                      <a:pt x="844" y="62"/>
                    </a:lnTo>
                    <a:lnTo>
                      <a:pt x="836" y="60"/>
                    </a:lnTo>
                    <a:lnTo>
                      <a:pt x="828" y="60"/>
                    </a:lnTo>
                    <a:lnTo>
                      <a:pt x="820" y="60"/>
                    </a:lnTo>
                    <a:lnTo>
                      <a:pt x="812" y="62"/>
                    </a:lnTo>
                    <a:lnTo>
                      <a:pt x="806" y="66"/>
                    </a:lnTo>
                    <a:lnTo>
                      <a:pt x="806" y="66"/>
                    </a:lnTo>
                    <a:lnTo>
                      <a:pt x="800" y="70"/>
                    </a:lnTo>
                    <a:lnTo>
                      <a:pt x="796" y="72"/>
                    </a:lnTo>
                    <a:lnTo>
                      <a:pt x="784" y="74"/>
                    </a:lnTo>
                    <a:lnTo>
                      <a:pt x="768" y="76"/>
                    </a:lnTo>
                    <a:lnTo>
                      <a:pt x="758" y="80"/>
                    </a:lnTo>
                    <a:lnTo>
                      <a:pt x="748" y="86"/>
                    </a:lnTo>
                    <a:lnTo>
                      <a:pt x="748" y="86"/>
                    </a:lnTo>
                    <a:lnTo>
                      <a:pt x="742" y="90"/>
                    </a:lnTo>
                    <a:lnTo>
                      <a:pt x="740" y="94"/>
                    </a:lnTo>
                    <a:lnTo>
                      <a:pt x="742" y="98"/>
                    </a:lnTo>
                    <a:lnTo>
                      <a:pt x="748" y="100"/>
                    </a:lnTo>
                    <a:lnTo>
                      <a:pt x="758" y="102"/>
                    </a:lnTo>
                    <a:lnTo>
                      <a:pt x="768" y="102"/>
                    </a:lnTo>
                    <a:lnTo>
                      <a:pt x="796" y="100"/>
                    </a:lnTo>
                    <a:lnTo>
                      <a:pt x="796" y="100"/>
                    </a:lnTo>
                    <a:close/>
                    <a:moveTo>
                      <a:pt x="506" y="132"/>
                    </a:moveTo>
                    <a:lnTo>
                      <a:pt x="506" y="132"/>
                    </a:lnTo>
                    <a:lnTo>
                      <a:pt x="494" y="134"/>
                    </a:lnTo>
                    <a:lnTo>
                      <a:pt x="482" y="132"/>
                    </a:lnTo>
                    <a:lnTo>
                      <a:pt x="476" y="134"/>
                    </a:lnTo>
                    <a:lnTo>
                      <a:pt x="472" y="136"/>
                    </a:lnTo>
                    <a:lnTo>
                      <a:pt x="468" y="140"/>
                    </a:lnTo>
                    <a:lnTo>
                      <a:pt x="466" y="148"/>
                    </a:lnTo>
                    <a:lnTo>
                      <a:pt x="466" y="148"/>
                    </a:lnTo>
                    <a:lnTo>
                      <a:pt x="466" y="154"/>
                    </a:lnTo>
                    <a:lnTo>
                      <a:pt x="468" y="156"/>
                    </a:lnTo>
                    <a:lnTo>
                      <a:pt x="472" y="158"/>
                    </a:lnTo>
                    <a:lnTo>
                      <a:pt x="478" y="158"/>
                    </a:lnTo>
                    <a:lnTo>
                      <a:pt x="494" y="158"/>
                    </a:lnTo>
                    <a:lnTo>
                      <a:pt x="512" y="158"/>
                    </a:lnTo>
                    <a:lnTo>
                      <a:pt x="512" y="158"/>
                    </a:lnTo>
                    <a:lnTo>
                      <a:pt x="520" y="156"/>
                    </a:lnTo>
                    <a:lnTo>
                      <a:pt x="524" y="154"/>
                    </a:lnTo>
                    <a:lnTo>
                      <a:pt x="526" y="150"/>
                    </a:lnTo>
                    <a:lnTo>
                      <a:pt x="524" y="144"/>
                    </a:lnTo>
                    <a:lnTo>
                      <a:pt x="522" y="138"/>
                    </a:lnTo>
                    <a:lnTo>
                      <a:pt x="516" y="134"/>
                    </a:lnTo>
                    <a:lnTo>
                      <a:pt x="512" y="132"/>
                    </a:lnTo>
                    <a:lnTo>
                      <a:pt x="506" y="132"/>
                    </a:lnTo>
                    <a:lnTo>
                      <a:pt x="506" y="132"/>
                    </a:lnTo>
                    <a:close/>
                    <a:moveTo>
                      <a:pt x="456" y="58"/>
                    </a:moveTo>
                    <a:lnTo>
                      <a:pt x="456" y="58"/>
                    </a:lnTo>
                    <a:lnTo>
                      <a:pt x="460" y="58"/>
                    </a:lnTo>
                    <a:lnTo>
                      <a:pt x="464" y="58"/>
                    </a:lnTo>
                    <a:lnTo>
                      <a:pt x="470" y="58"/>
                    </a:lnTo>
                    <a:lnTo>
                      <a:pt x="480" y="58"/>
                    </a:lnTo>
                    <a:lnTo>
                      <a:pt x="486" y="58"/>
                    </a:lnTo>
                    <a:lnTo>
                      <a:pt x="492" y="62"/>
                    </a:lnTo>
                    <a:lnTo>
                      <a:pt x="492" y="62"/>
                    </a:lnTo>
                    <a:lnTo>
                      <a:pt x="496" y="64"/>
                    </a:lnTo>
                    <a:lnTo>
                      <a:pt x="500" y="64"/>
                    </a:lnTo>
                    <a:lnTo>
                      <a:pt x="508" y="60"/>
                    </a:lnTo>
                    <a:lnTo>
                      <a:pt x="524" y="56"/>
                    </a:lnTo>
                    <a:lnTo>
                      <a:pt x="548" y="52"/>
                    </a:lnTo>
                    <a:lnTo>
                      <a:pt x="548" y="52"/>
                    </a:lnTo>
                    <a:lnTo>
                      <a:pt x="552" y="52"/>
                    </a:lnTo>
                    <a:lnTo>
                      <a:pt x="550" y="50"/>
                    </a:lnTo>
                    <a:lnTo>
                      <a:pt x="540" y="48"/>
                    </a:lnTo>
                    <a:lnTo>
                      <a:pt x="498" y="44"/>
                    </a:lnTo>
                    <a:lnTo>
                      <a:pt x="498" y="44"/>
                    </a:lnTo>
                    <a:lnTo>
                      <a:pt x="492" y="44"/>
                    </a:lnTo>
                    <a:lnTo>
                      <a:pt x="488" y="44"/>
                    </a:lnTo>
                    <a:lnTo>
                      <a:pt x="488" y="46"/>
                    </a:lnTo>
                    <a:lnTo>
                      <a:pt x="490" y="48"/>
                    </a:lnTo>
                    <a:lnTo>
                      <a:pt x="494" y="52"/>
                    </a:lnTo>
                    <a:lnTo>
                      <a:pt x="492" y="54"/>
                    </a:lnTo>
                    <a:lnTo>
                      <a:pt x="488" y="54"/>
                    </a:lnTo>
                    <a:lnTo>
                      <a:pt x="488" y="54"/>
                    </a:lnTo>
                    <a:lnTo>
                      <a:pt x="462" y="52"/>
                    </a:lnTo>
                    <a:lnTo>
                      <a:pt x="454" y="54"/>
                    </a:lnTo>
                    <a:lnTo>
                      <a:pt x="454" y="56"/>
                    </a:lnTo>
                    <a:lnTo>
                      <a:pt x="456" y="58"/>
                    </a:lnTo>
                    <a:lnTo>
                      <a:pt x="456" y="58"/>
                    </a:lnTo>
                    <a:close/>
                    <a:moveTo>
                      <a:pt x="678" y="84"/>
                    </a:moveTo>
                    <a:lnTo>
                      <a:pt x="678" y="84"/>
                    </a:lnTo>
                    <a:lnTo>
                      <a:pt x="688" y="82"/>
                    </a:lnTo>
                    <a:lnTo>
                      <a:pt x="696" y="78"/>
                    </a:lnTo>
                    <a:lnTo>
                      <a:pt x="704" y="74"/>
                    </a:lnTo>
                    <a:lnTo>
                      <a:pt x="710" y="70"/>
                    </a:lnTo>
                    <a:lnTo>
                      <a:pt x="710" y="68"/>
                    </a:lnTo>
                    <a:lnTo>
                      <a:pt x="710" y="66"/>
                    </a:lnTo>
                    <a:lnTo>
                      <a:pt x="704" y="64"/>
                    </a:lnTo>
                    <a:lnTo>
                      <a:pt x="692" y="64"/>
                    </a:lnTo>
                    <a:lnTo>
                      <a:pt x="670" y="68"/>
                    </a:lnTo>
                    <a:lnTo>
                      <a:pt x="670" y="68"/>
                    </a:lnTo>
                    <a:lnTo>
                      <a:pt x="654" y="72"/>
                    </a:lnTo>
                    <a:lnTo>
                      <a:pt x="646" y="76"/>
                    </a:lnTo>
                    <a:lnTo>
                      <a:pt x="644" y="80"/>
                    </a:lnTo>
                    <a:lnTo>
                      <a:pt x="646" y="82"/>
                    </a:lnTo>
                    <a:lnTo>
                      <a:pt x="658" y="84"/>
                    </a:lnTo>
                    <a:lnTo>
                      <a:pt x="678" y="84"/>
                    </a:lnTo>
                    <a:lnTo>
                      <a:pt x="678" y="84"/>
                    </a:lnTo>
                    <a:close/>
                    <a:moveTo>
                      <a:pt x="568" y="44"/>
                    </a:moveTo>
                    <a:lnTo>
                      <a:pt x="568" y="44"/>
                    </a:lnTo>
                    <a:lnTo>
                      <a:pt x="580" y="44"/>
                    </a:lnTo>
                    <a:lnTo>
                      <a:pt x="582" y="44"/>
                    </a:lnTo>
                    <a:lnTo>
                      <a:pt x="580" y="42"/>
                    </a:lnTo>
                    <a:lnTo>
                      <a:pt x="570" y="38"/>
                    </a:lnTo>
                    <a:lnTo>
                      <a:pt x="556" y="34"/>
                    </a:lnTo>
                    <a:lnTo>
                      <a:pt x="556" y="34"/>
                    </a:lnTo>
                    <a:lnTo>
                      <a:pt x="544" y="30"/>
                    </a:lnTo>
                    <a:lnTo>
                      <a:pt x="536" y="28"/>
                    </a:lnTo>
                    <a:lnTo>
                      <a:pt x="528" y="30"/>
                    </a:lnTo>
                    <a:lnTo>
                      <a:pt x="518" y="34"/>
                    </a:lnTo>
                    <a:lnTo>
                      <a:pt x="518" y="34"/>
                    </a:lnTo>
                    <a:lnTo>
                      <a:pt x="510" y="38"/>
                    </a:lnTo>
                    <a:lnTo>
                      <a:pt x="508" y="40"/>
                    </a:lnTo>
                    <a:lnTo>
                      <a:pt x="510" y="40"/>
                    </a:lnTo>
                    <a:lnTo>
                      <a:pt x="520" y="40"/>
                    </a:lnTo>
                    <a:lnTo>
                      <a:pt x="520" y="40"/>
                    </a:lnTo>
                    <a:lnTo>
                      <a:pt x="542" y="42"/>
                    </a:lnTo>
                    <a:lnTo>
                      <a:pt x="568" y="44"/>
                    </a:lnTo>
                    <a:lnTo>
                      <a:pt x="568" y="44"/>
                    </a:lnTo>
                    <a:close/>
                    <a:moveTo>
                      <a:pt x="672" y="122"/>
                    </a:moveTo>
                    <a:lnTo>
                      <a:pt x="672" y="122"/>
                    </a:lnTo>
                    <a:lnTo>
                      <a:pt x="682" y="124"/>
                    </a:lnTo>
                    <a:lnTo>
                      <a:pt x="690" y="124"/>
                    </a:lnTo>
                    <a:lnTo>
                      <a:pt x="694" y="124"/>
                    </a:lnTo>
                    <a:lnTo>
                      <a:pt x="698" y="120"/>
                    </a:lnTo>
                    <a:lnTo>
                      <a:pt x="706" y="116"/>
                    </a:lnTo>
                    <a:lnTo>
                      <a:pt x="710" y="112"/>
                    </a:lnTo>
                    <a:lnTo>
                      <a:pt x="718" y="112"/>
                    </a:lnTo>
                    <a:lnTo>
                      <a:pt x="718" y="112"/>
                    </a:lnTo>
                    <a:lnTo>
                      <a:pt x="724" y="110"/>
                    </a:lnTo>
                    <a:lnTo>
                      <a:pt x="728" y="106"/>
                    </a:lnTo>
                    <a:lnTo>
                      <a:pt x="730" y="100"/>
                    </a:lnTo>
                    <a:lnTo>
                      <a:pt x="728" y="94"/>
                    </a:lnTo>
                    <a:lnTo>
                      <a:pt x="724" y="88"/>
                    </a:lnTo>
                    <a:lnTo>
                      <a:pt x="716" y="84"/>
                    </a:lnTo>
                    <a:lnTo>
                      <a:pt x="704" y="84"/>
                    </a:lnTo>
                    <a:lnTo>
                      <a:pt x="688" y="88"/>
                    </a:lnTo>
                    <a:lnTo>
                      <a:pt x="688" y="88"/>
                    </a:lnTo>
                    <a:lnTo>
                      <a:pt x="670" y="94"/>
                    </a:lnTo>
                    <a:lnTo>
                      <a:pt x="656" y="94"/>
                    </a:lnTo>
                    <a:lnTo>
                      <a:pt x="644" y="92"/>
                    </a:lnTo>
                    <a:lnTo>
                      <a:pt x="634" y="90"/>
                    </a:lnTo>
                    <a:lnTo>
                      <a:pt x="626" y="90"/>
                    </a:lnTo>
                    <a:lnTo>
                      <a:pt x="620" y="90"/>
                    </a:lnTo>
                    <a:lnTo>
                      <a:pt x="614" y="94"/>
                    </a:lnTo>
                    <a:lnTo>
                      <a:pt x="608" y="104"/>
                    </a:lnTo>
                    <a:lnTo>
                      <a:pt x="608" y="104"/>
                    </a:lnTo>
                    <a:lnTo>
                      <a:pt x="606" y="116"/>
                    </a:lnTo>
                    <a:lnTo>
                      <a:pt x="606" y="118"/>
                    </a:lnTo>
                    <a:lnTo>
                      <a:pt x="608" y="122"/>
                    </a:lnTo>
                    <a:lnTo>
                      <a:pt x="614" y="124"/>
                    </a:lnTo>
                    <a:lnTo>
                      <a:pt x="622" y="124"/>
                    </a:lnTo>
                    <a:lnTo>
                      <a:pt x="646" y="120"/>
                    </a:lnTo>
                    <a:lnTo>
                      <a:pt x="660" y="120"/>
                    </a:lnTo>
                    <a:lnTo>
                      <a:pt x="672" y="122"/>
                    </a:lnTo>
                    <a:lnTo>
                      <a:pt x="672" y="122"/>
                    </a:lnTo>
                    <a:close/>
                    <a:moveTo>
                      <a:pt x="4428" y="2314"/>
                    </a:moveTo>
                    <a:lnTo>
                      <a:pt x="4428" y="2314"/>
                    </a:lnTo>
                    <a:lnTo>
                      <a:pt x="4426" y="2314"/>
                    </a:lnTo>
                    <a:lnTo>
                      <a:pt x="4428" y="2314"/>
                    </a:lnTo>
                    <a:lnTo>
                      <a:pt x="4432" y="2310"/>
                    </a:lnTo>
                    <a:lnTo>
                      <a:pt x="4436" y="2306"/>
                    </a:lnTo>
                    <a:lnTo>
                      <a:pt x="4436" y="2302"/>
                    </a:lnTo>
                    <a:lnTo>
                      <a:pt x="4436" y="2302"/>
                    </a:lnTo>
                    <a:lnTo>
                      <a:pt x="4436" y="2302"/>
                    </a:lnTo>
                    <a:lnTo>
                      <a:pt x="4432" y="2304"/>
                    </a:lnTo>
                    <a:lnTo>
                      <a:pt x="4428" y="2314"/>
                    </a:lnTo>
                    <a:lnTo>
                      <a:pt x="4428" y="2314"/>
                    </a:lnTo>
                    <a:close/>
                    <a:moveTo>
                      <a:pt x="4510" y="2192"/>
                    </a:moveTo>
                    <a:lnTo>
                      <a:pt x="4510" y="2192"/>
                    </a:lnTo>
                    <a:lnTo>
                      <a:pt x="4508" y="2194"/>
                    </a:lnTo>
                    <a:lnTo>
                      <a:pt x="4506" y="2196"/>
                    </a:lnTo>
                    <a:lnTo>
                      <a:pt x="4502" y="2202"/>
                    </a:lnTo>
                    <a:lnTo>
                      <a:pt x="4498" y="2210"/>
                    </a:lnTo>
                    <a:lnTo>
                      <a:pt x="4496" y="2214"/>
                    </a:lnTo>
                    <a:lnTo>
                      <a:pt x="4492" y="2216"/>
                    </a:lnTo>
                    <a:lnTo>
                      <a:pt x="4492" y="2216"/>
                    </a:lnTo>
                    <a:lnTo>
                      <a:pt x="4482" y="2220"/>
                    </a:lnTo>
                    <a:lnTo>
                      <a:pt x="4476" y="2224"/>
                    </a:lnTo>
                    <a:lnTo>
                      <a:pt x="4476" y="2226"/>
                    </a:lnTo>
                    <a:lnTo>
                      <a:pt x="4474" y="2228"/>
                    </a:lnTo>
                    <a:lnTo>
                      <a:pt x="4478" y="2236"/>
                    </a:lnTo>
                    <a:lnTo>
                      <a:pt x="4478" y="2236"/>
                    </a:lnTo>
                    <a:lnTo>
                      <a:pt x="4480" y="2238"/>
                    </a:lnTo>
                    <a:lnTo>
                      <a:pt x="4482" y="2238"/>
                    </a:lnTo>
                    <a:lnTo>
                      <a:pt x="4484" y="2236"/>
                    </a:lnTo>
                    <a:lnTo>
                      <a:pt x="4490" y="2230"/>
                    </a:lnTo>
                    <a:lnTo>
                      <a:pt x="4494" y="2228"/>
                    </a:lnTo>
                    <a:lnTo>
                      <a:pt x="4498" y="2226"/>
                    </a:lnTo>
                    <a:lnTo>
                      <a:pt x="4498" y="2226"/>
                    </a:lnTo>
                    <a:lnTo>
                      <a:pt x="4504" y="2224"/>
                    </a:lnTo>
                    <a:lnTo>
                      <a:pt x="4508" y="2220"/>
                    </a:lnTo>
                    <a:lnTo>
                      <a:pt x="4510" y="2214"/>
                    </a:lnTo>
                    <a:lnTo>
                      <a:pt x="4512" y="2208"/>
                    </a:lnTo>
                    <a:lnTo>
                      <a:pt x="4512" y="2198"/>
                    </a:lnTo>
                    <a:lnTo>
                      <a:pt x="4512" y="2194"/>
                    </a:lnTo>
                    <a:lnTo>
                      <a:pt x="4510" y="2192"/>
                    </a:lnTo>
                    <a:lnTo>
                      <a:pt x="4510" y="2192"/>
                    </a:lnTo>
                    <a:close/>
                    <a:moveTo>
                      <a:pt x="4462" y="2262"/>
                    </a:moveTo>
                    <a:lnTo>
                      <a:pt x="4462" y="2262"/>
                    </a:lnTo>
                    <a:lnTo>
                      <a:pt x="4460" y="2260"/>
                    </a:lnTo>
                    <a:lnTo>
                      <a:pt x="4456" y="2262"/>
                    </a:lnTo>
                    <a:lnTo>
                      <a:pt x="4452" y="2272"/>
                    </a:lnTo>
                    <a:lnTo>
                      <a:pt x="4448" y="2284"/>
                    </a:lnTo>
                    <a:lnTo>
                      <a:pt x="4448" y="2292"/>
                    </a:lnTo>
                    <a:lnTo>
                      <a:pt x="4448" y="2292"/>
                    </a:lnTo>
                    <a:lnTo>
                      <a:pt x="4448" y="2294"/>
                    </a:lnTo>
                    <a:lnTo>
                      <a:pt x="4452" y="2292"/>
                    </a:lnTo>
                    <a:lnTo>
                      <a:pt x="4458" y="2282"/>
                    </a:lnTo>
                    <a:lnTo>
                      <a:pt x="4462" y="2272"/>
                    </a:lnTo>
                    <a:lnTo>
                      <a:pt x="4462" y="2266"/>
                    </a:lnTo>
                    <a:lnTo>
                      <a:pt x="4462" y="2262"/>
                    </a:lnTo>
                    <a:lnTo>
                      <a:pt x="4462" y="2262"/>
                    </a:lnTo>
                    <a:close/>
                    <a:moveTo>
                      <a:pt x="4486" y="4072"/>
                    </a:moveTo>
                    <a:lnTo>
                      <a:pt x="4486" y="4072"/>
                    </a:lnTo>
                    <a:lnTo>
                      <a:pt x="4482" y="4070"/>
                    </a:lnTo>
                    <a:lnTo>
                      <a:pt x="4482" y="4068"/>
                    </a:lnTo>
                    <a:lnTo>
                      <a:pt x="4480" y="4066"/>
                    </a:lnTo>
                    <a:lnTo>
                      <a:pt x="4478" y="4064"/>
                    </a:lnTo>
                    <a:lnTo>
                      <a:pt x="4478" y="4064"/>
                    </a:lnTo>
                    <a:lnTo>
                      <a:pt x="4474" y="4064"/>
                    </a:lnTo>
                    <a:lnTo>
                      <a:pt x="4470" y="4064"/>
                    </a:lnTo>
                    <a:lnTo>
                      <a:pt x="4460" y="4068"/>
                    </a:lnTo>
                    <a:lnTo>
                      <a:pt x="4450" y="4076"/>
                    </a:lnTo>
                    <a:lnTo>
                      <a:pt x="4448" y="4080"/>
                    </a:lnTo>
                    <a:lnTo>
                      <a:pt x="4448" y="4084"/>
                    </a:lnTo>
                    <a:lnTo>
                      <a:pt x="4448" y="4084"/>
                    </a:lnTo>
                    <a:lnTo>
                      <a:pt x="4446" y="4088"/>
                    </a:lnTo>
                    <a:lnTo>
                      <a:pt x="4442" y="4094"/>
                    </a:lnTo>
                    <a:lnTo>
                      <a:pt x="4440" y="4100"/>
                    </a:lnTo>
                    <a:lnTo>
                      <a:pt x="4438" y="4104"/>
                    </a:lnTo>
                    <a:lnTo>
                      <a:pt x="4438" y="4104"/>
                    </a:lnTo>
                    <a:lnTo>
                      <a:pt x="4440" y="4106"/>
                    </a:lnTo>
                    <a:lnTo>
                      <a:pt x="4442" y="4104"/>
                    </a:lnTo>
                    <a:lnTo>
                      <a:pt x="4448" y="4104"/>
                    </a:lnTo>
                    <a:lnTo>
                      <a:pt x="4458" y="4106"/>
                    </a:lnTo>
                    <a:lnTo>
                      <a:pt x="4458" y="4106"/>
                    </a:lnTo>
                    <a:lnTo>
                      <a:pt x="4462" y="4106"/>
                    </a:lnTo>
                    <a:lnTo>
                      <a:pt x="4466" y="4106"/>
                    </a:lnTo>
                    <a:lnTo>
                      <a:pt x="4470" y="4102"/>
                    </a:lnTo>
                    <a:lnTo>
                      <a:pt x="4474" y="4098"/>
                    </a:lnTo>
                    <a:lnTo>
                      <a:pt x="4478" y="4094"/>
                    </a:lnTo>
                    <a:lnTo>
                      <a:pt x="4478" y="4094"/>
                    </a:lnTo>
                    <a:lnTo>
                      <a:pt x="4480" y="4092"/>
                    </a:lnTo>
                    <a:lnTo>
                      <a:pt x="4482" y="4090"/>
                    </a:lnTo>
                    <a:lnTo>
                      <a:pt x="4484" y="4082"/>
                    </a:lnTo>
                    <a:lnTo>
                      <a:pt x="4484" y="4082"/>
                    </a:lnTo>
                    <a:lnTo>
                      <a:pt x="4488" y="4074"/>
                    </a:lnTo>
                    <a:lnTo>
                      <a:pt x="4488" y="4072"/>
                    </a:lnTo>
                    <a:lnTo>
                      <a:pt x="4486" y="4072"/>
                    </a:lnTo>
                    <a:lnTo>
                      <a:pt x="4486" y="4072"/>
                    </a:lnTo>
                    <a:close/>
                    <a:moveTo>
                      <a:pt x="2916" y="5240"/>
                    </a:moveTo>
                    <a:lnTo>
                      <a:pt x="2916" y="5240"/>
                    </a:lnTo>
                    <a:lnTo>
                      <a:pt x="2912" y="5240"/>
                    </a:lnTo>
                    <a:lnTo>
                      <a:pt x="2908" y="5240"/>
                    </a:lnTo>
                    <a:lnTo>
                      <a:pt x="2902" y="5244"/>
                    </a:lnTo>
                    <a:lnTo>
                      <a:pt x="2898" y="5248"/>
                    </a:lnTo>
                    <a:lnTo>
                      <a:pt x="2896" y="5252"/>
                    </a:lnTo>
                    <a:lnTo>
                      <a:pt x="2896" y="5252"/>
                    </a:lnTo>
                    <a:lnTo>
                      <a:pt x="2896" y="5260"/>
                    </a:lnTo>
                    <a:lnTo>
                      <a:pt x="2896" y="5264"/>
                    </a:lnTo>
                    <a:lnTo>
                      <a:pt x="2894" y="5266"/>
                    </a:lnTo>
                    <a:lnTo>
                      <a:pt x="2894" y="5266"/>
                    </a:lnTo>
                    <a:lnTo>
                      <a:pt x="2890" y="5266"/>
                    </a:lnTo>
                    <a:lnTo>
                      <a:pt x="2888" y="5270"/>
                    </a:lnTo>
                    <a:lnTo>
                      <a:pt x="2892" y="5272"/>
                    </a:lnTo>
                    <a:lnTo>
                      <a:pt x="2904" y="5274"/>
                    </a:lnTo>
                    <a:lnTo>
                      <a:pt x="2904" y="5274"/>
                    </a:lnTo>
                    <a:lnTo>
                      <a:pt x="2914" y="5274"/>
                    </a:lnTo>
                    <a:lnTo>
                      <a:pt x="2916" y="5272"/>
                    </a:lnTo>
                    <a:lnTo>
                      <a:pt x="2918" y="5272"/>
                    </a:lnTo>
                    <a:lnTo>
                      <a:pt x="2918" y="5266"/>
                    </a:lnTo>
                    <a:lnTo>
                      <a:pt x="2920" y="5258"/>
                    </a:lnTo>
                    <a:lnTo>
                      <a:pt x="2920" y="5258"/>
                    </a:lnTo>
                    <a:lnTo>
                      <a:pt x="2924" y="5250"/>
                    </a:lnTo>
                    <a:lnTo>
                      <a:pt x="2924" y="5246"/>
                    </a:lnTo>
                    <a:lnTo>
                      <a:pt x="2922" y="5242"/>
                    </a:lnTo>
                    <a:lnTo>
                      <a:pt x="2916" y="5240"/>
                    </a:lnTo>
                    <a:lnTo>
                      <a:pt x="2916" y="5240"/>
                    </a:lnTo>
                    <a:close/>
                    <a:moveTo>
                      <a:pt x="2868" y="5234"/>
                    </a:moveTo>
                    <a:lnTo>
                      <a:pt x="2868" y="5234"/>
                    </a:lnTo>
                    <a:lnTo>
                      <a:pt x="2866" y="5232"/>
                    </a:lnTo>
                    <a:lnTo>
                      <a:pt x="2864" y="5232"/>
                    </a:lnTo>
                    <a:lnTo>
                      <a:pt x="2860" y="5234"/>
                    </a:lnTo>
                    <a:lnTo>
                      <a:pt x="2854" y="5238"/>
                    </a:lnTo>
                    <a:lnTo>
                      <a:pt x="2850" y="5238"/>
                    </a:lnTo>
                    <a:lnTo>
                      <a:pt x="2844" y="5236"/>
                    </a:lnTo>
                    <a:lnTo>
                      <a:pt x="2844" y="5236"/>
                    </a:lnTo>
                    <a:lnTo>
                      <a:pt x="2838" y="5234"/>
                    </a:lnTo>
                    <a:lnTo>
                      <a:pt x="2836" y="5234"/>
                    </a:lnTo>
                    <a:lnTo>
                      <a:pt x="2834" y="5236"/>
                    </a:lnTo>
                    <a:lnTo>
                      <a:pt x="2834" y="5240"/>
                    </a:lnTo>
                    <a:lnTo>
                      <a:pt x="2836" y="5246"/>
                    </a:lnTo>
                    <a:lnTo>
                      <a:pt x="2836" y="5246"/>
                    </a:lnTo>
                    <a:lnTo>
                      <a:pt x="2840" y="5248"/>
                    </a:lnTo>
                    <a:lnTo>
                      <a:pt x="2844" y="5250"/>
                    </a:lnTo>
                    <a:lnTo>
                      <a:pt x="2850" y="5252"/>
                    </a:lnTo>
                    <a:lnTo>
                      <a:pt x="2856" y="5256"/>
                    </a:lnTo>
                    <a:lnTo>
                      <a:pt x="2856" y="5256"/>
                    </a:lnTo>
                    <a:lnTo>
                      <a:pt x="2860" y="5262"/>
                    </a:lnTo>
                    <a:lnTo>
                      <a:pt x="2860" y="5266"/>
                    </a:lnTo>
                    <a:lnTo>
                      <a:pt x="2860" y="5270"/>
                    </a:lnTo>
                    <a:lnTo>
                      <a:pt x="2862" y="5270"/>
                    </a:lnTo>
                    <a:lnTo>
                      <a:pt x="2862" y="5270"/>
                    </a:lnTo>
                    <a:lnTo>
                      <a:pt x="2866" y="5270"/>
                    </a:lnTo>
                    <a:lnTo>
                      <a:pt x="2868" y="5266"/>
                    </a:lnTo>
                    <a:lnTo>
                      <a:pt x="2870" y="5260"/>
                    </a:lnTo>
                    <a:lnTo>
                      <a:pt x="2876" y="5254"/>
                    </a:lnTo>
                    <a:lnTo>
                      <a:pt x="2876" y="5254"/>
                    </a:lnTo>
                    <a:lnTo>
                      <a:pt x="2882" y="5250"/>
                    </a:lnTo>
                    <a:lnTo>
                      <a:pt x="2882" y="5246"/>
                    </a:lnTo>
                    <a:lnTo>
                      <a:pt x="2882" y="5244"/>
                    </a:lnTo>
                    <a:lnTo>
                      <a:pt x="2876" y="5240"/>
                    </a:lnTo>
                    <a:lnTo>
                      <a:pt x="2868" y="5234"/>
                    </a:lnTo>
                    <a:lnTo>
                      <a:pt x="2868" y="5234"/>
                    </a:lnTo>
                    <a:close/>
                    <a:moveTo>
                      <a:pt x="2906" y="5026"/>
                    </a:moveTo>
                    <a:lnTo>
                      <a:pt x="2906" y="5026"/>
                    </a:lnTo>
                    <a:lnTo>
                      <a:pt x="2906" y="5016"/>
                    </a:lnTo>
                    <a:lnTo>
                      <a:pt x="2906" y="5006"/>
                    </a:lnTo>
                    <a:lnTo>
                      <a:pt x="2904" y="5000"/>
                    </a:lnTo>
                    <a:lnTo>
                      <a:pt x="2902" y="5000"/>
                    </a:lnTo>
                    <a:lnTo>
                      <a:pt x="2900" y="5002"/>
                    </a:lnTo>
                    <a:lnTo>
                      <a:pt x="2900" y="5002"/>
                    </a:lnTo>
                    <a:lnTo>
                      <a:pt x="2898" y="5010"/>
                    </a:lnTo>
                    <a:lnTo>
                      <a:pt x="2898" y="5018"/>
                    </a:lnTo>
                    <a:lnTo>
                      <a:pt x="2898" y="5026"/>
                    </a:lnTo>
                    <a:lnTo>
                      <a:pt x="2896" y="5036"/>
                    </a:lnTo>
                    <a:lnTo>
                      <a:pt x="2896" y="5036"/>
                    </a:lnTo>
                    <a:lnTo>
                      <a:pt x="2896" y="5038"/>
                    </a:lnTo>
                    <a:lnTo>
                      <a:pt x="2898" y="5038"/>
                    </a:lnTo>
                    <a:lnTo>
                      <a:pt x="2902" y="5034"/>
                    </a:lnTo>
                    <a:lnTo>
                      <a:pt x="2906" y="5026"/>
                    </a:lnTo>
                    <a:lnTo>
                      <a:pt x="2906" y="5026"/>
                    </a:lnTo>
                    <a:close/>
                    <a:moveTo>
                      <a:pt x="3284" y="4314"/>
                    </a:moveTo>
                    <a:lnTo>
                      <a:pt x="3284" y="4314"/>
                    </a:lnTo>
                    <a:lnTo>
                      <a:pt x="3284" y="4314"/>
                    </a:lnTo>
                    <a:lnTo>
                      <a:pt x="3286" y="4316"/>
                    </a:lnTo>
                    <a:lnTo>
                      <a:pt x="3288" y="4318"/>
                    </a:lnTo>
                    <a:lnTo>
                      <a:pt x="3290" y="4318"/>
                    </a:lnTo>
                    <a:lnTo>
                      <a:pt x="3290" y="4318"/>
                    </a:lnTo>
                    <a:lnTo>
                      <a:pt x="3290" y="4316"/>
                    </a:lnTo>
                    <a:lnTo>
                      <a:pt x="3290" y="4314"/>
                    </a:lnTo>
                    <a:lnTo>
                      <a:pt x="3288" y="4312"/>
                    </a:lnTo>
                    <a:lnTo>
                      <a:pt x="3284" y="4314"/>
                    </a:lnTo>
                    <a:lnTo>
                      <a:pt x="3284" y="4314"/>
                    </a:lnTo>
                    <a:close/>
                    <a:moveTo>
                      <a:pt x="3284" y="4332"/>
                    </a:moveTo>
                    <a:lnTo>
                      <a:pt x="3284" y="4332"/>
                    </a:lnTo>
                    <a:lnTo>
                      <a:pt x="3284" y="4330"/>
                    </a:lnTo>
                    <a:lnTo>
                      <a:pt x="3282" y="4330"/>
                    </a:lnTo>
                    <a:lnTo>
                      <a:pt x="3278" y="4336"/>
                    </a:lnTo>
                    <a:lnTo>
                      <a:pt x="3278" y="4344"/>
                    </a:lnTo>
                    <a:lnTo>
                      <a:pt x="3278" y="4350"/>
                    </a:lnTo>
                    <a:lnTo>
                      <a:pt x="3282" y="4354"/>
                    </a:lnTo>
                    <a:lnTo>
                      <a:pt x="3282" y="4354"/>
                    </a:lnTo>
                    <a:lnTo>
                      <a:pt x="3284" y="4358"/>
                    </a:lnTo>
                    <a:lnTo>
                      <a:pt x="3286" y="4358"/>
                    </a:lnTo>
                    <a:lnTo>
                      <a:pt x="3286" y="4354"/>
                    </a:lnTo>
                    <a:lnTo>
                      <a:pt x="3284" y="4332"/>
                    </a:lnTo>
                    <a:lnTo>
                      <a:pt x="3284" y="4332"/>
                    </a:lnTo>
                    <a:close/>
                    <a:moveTo>
                      <a:pt x="2868" y="5178"/>
                    </a:moveTo>
                    <a:lnTo>
                      <a:pt x="2868" y="5178"/>
                    </a:lnTo>
                    <a:lnTo>
                      <a:pt x="2870" y="5178"/>
                    </a:lnTo>
                    <a:lnTo>
                      <a:pt x="2872" y="5178"/>
                    </a:lnTo>
                    <a:lnTo>
                      <a:pt x="2874" y="5178"/>
                    </a:lnTo>
                    <a:lnTo>
                      <a:pt x="2876" y="5178"/>
                    </a:lnTo>
                    <a:lnTo>
                      <a:pt x="2876" y="5178"/>
                    </a:lnTo>
                    <a:lnTo>
                      <a:pt x="2876" y="5176"/>
                    </a:lnTo>
                    <a:lnTo>
                      <a:pt x="2874" y="5174"/>
                    </a:lnTo>
                    <a:lnTo>
                      <a:pt x="2872" y="5172"/>
                    </a:lnTo>
                    <a:lnTo>
                      <a:pt x="2866" y="5172"/>
                    </a:lnTo>
                    <a:lnTo>
                      <a:pt x="2866" y="5172"/>
                    </a:lnTo>
                    <a:lnTo>
                      <a:pt x="2862" y="5174"/>
                    </a:lnTo>
                    <a:lnTo>
                      <a:pt x="2864" y="5176"/>
                    </a:lnTo>
                    <a:lnTo>
                      <a:pt x="2866" y="5178"/>
                    </a:lnTo>
                    <a:lnTo>
                      <a:pt x="2868" y="5178"/>
                    </a:lnTo>
                    <a:lnTo>
                      <a:pt x="2868" y="5178"/>
                    </a:lnTo>
                    <a:close/>
                    <a:moveTo>
                      <a:pt x="2798" y="5190"/>
                    </a:moveTo>
                    <a:lnTo>
                      <a:pt x="2798" y="5190"/>
                    </a:lnTo>
                    <a:lnTo>
                      <a:pt x="2804" y="5186"/>
                    </a:lnTo>
                    <a:lnTo>
                      <a:pt x="2812" y="5182"/>
                    </a:lnTo>
                    <a:lnTo>
                      <a:pt x="2818" y="5180"/>
                    </a:lnTo>
                    <a:lnTo>
                      <a:pt x="2818" y="5178"/>
                    </a:lnTo>
                    <a:lnTo>
                      <a:pt x="2818" y="5176"/>
                    </a:lnTo>
                    <a:lnTo>
                      <a:pt x="2818" y="5176"/>
                    </a:lnTo>
                    <a:lnTo>
                      <a:pt x="2814" y="5174"/>
                    </a:lnTo>
                    <a:lnTo>
                      <a:pt x="2810" y="5174"/>
                    </a:lnTo>
                    <a:lnTo>
                      <a:pt x="2804" y="5176"/>
                    </a:lnTo>
                    <a:lnTo>
                      <a:pt x="2794" y="5176"/>
                    </a:lnTo>
                    <a:lnTo>
                      <a:pt x="2794" y="5176"/>
                    </a:lnTo>
                    <a:lnTo>
                      <a:pt x="2780" y="5174"/>
                    </a:lnTo>
                    <a:lnTo>
                      <a:pt x="2770" y="5176"/>
                    </a:lnTo>
                    <a:lnTo>
                      <a:pt x="2764" y="5180"/>
                    </a:lnTo>
                    <a:lnTo>
                      <a:pt x="2764" y="5182"/>
                    </a:lnTo>
                    <a:lnTo>
                      <a:pt x="2764" y="5186"/>
                    </a:lnTo>
                    <a:lnTo>
                      <a:pt x="2764" y="5186"/>
                    </a:lnTo>
                    <a:lnTo>
                      <a:pt x="2768" y="5188"/>
                    </a:lnTo>
                    <a:lnTo>
                      <a:pt x="2780" y="5192"/>
                    </a:lnTo>
                    <a:lnTo>
                      <a:pt x="2790" y="5192"/>
                    </a:lnTo>
                    <a:lnTo>
                      <a:pt x="2796" y="5192"/>
                    </a:lnTo>
                    <a:lnTo>
                      <a:pt x="2798" y="5190"/>
                    </a:lnTo>
                    <a:lnTo>
                      <a:pt x="2798" y="5190"/>
                    </a:lnTo>
                    <a:close/>
                    <a:moveTo>
                      <a:pt x="4914" y="1916"/>
                    </a:moveTo>
                    <a:lnTo>
                      <a:pt x="4914" y="1916"/>
                    </a:lnTo>
                    <a:lnTo>
                      <a:pt x="4910" y="1920"/>
                    </a:lnTo>
                    <a:lnTo>
                      <a:pt x="4910" y="1924"/>
                    </a:lnTo>
                    <a:lnTo>
                      <a:pt x="4912" y="1928"/>
                    </a:lnTo>
                    <a:lnTo>
                      <a:pt x="4914" y="1934"/>
                    </a:lnTo>
                    <a:lnTo>
                      <a:pt x="4926" y="1944"/>
                    </a:lnTo>
                    <a:lnTo>
                      <a:pt x="4938" y="1954"/>
                    </a:lnTo>
                    <a:lnTo>
                      <a:pt x="4938" y="1954"/>
                    </a:lnTo>
                    <a:lnTo>
                      <a:pt x="4942" y="1958"/>
                    </a:lnTo>
                    <a:lnTo>
                      <a:pt x="4942" y="1954"/>
                    </a:lnTo>
                    <a:lnTo>
                      <a:pt x="4940" y="1946"/>
                    </a:lnTo>
                    <a:lnTo>
                      <a:pt x="4936" y="1936"/>
                    </a:lnTo>
                    <a:lnTo>
                      <a:pt x="4930" y="1926"/>
                    </a:lnTo>
                    <a:lnTo>
                      <a:pt x="4924" y="1918"/>
                    </a:lnTo>
                    <a:lnTo>
                      <a:pt x="4918" y="1914"/>
                    </a:lnTo>
                    <a:lnTo>
                      <a:pt x="4916" y="1914"/>
                    </a:lnTo>
                    <a:lnTo>
                      <a:pt x="4914" y="1916"/>
                    </a:lnTo>
                    <a:lnTo>
                      <a:pt x="4914" y="1916"/>
                    </a:lnTo>
                    <a:close/>
                    <a:moveTo>
                      <a:pt x="4520" y="2200"/>
                    </a:moveTo>
                    <a:lnTo>
                      <a:pt x="4520" y="2200"/>
                    </a:lnTo>
                    <a:lnTo>
                      <a:pt x="4522" y="2200"/>
                    </a:lnTo>
                    <a:lnTo>
                      <a:pt x="4524" y="2200"/>
                    </a:lnTo>
                    <a:lnTo>
                      <a:pt x="4528" y="2196"/>
                    </a:lnTo>
                    <a:lnTo>
                      <a:pt x="4528" y="2192"/>
                    </a:lnTo>
                    <a:lnTo>
                      <a:pt x="4528" y="2188"/>
                    </a:lnTo>
                    <a:lnTo>
                      <a:pt x="4528" y="2188"/>
                    </a:lnTo>
                    <a:lnTo>
                      <a:pt x="4524" y="2188"/>
                    </a:lnTo>
                    <a:lnTo>
                      <a:pt x="4520" y="2190"/>
                    </a:lnTo>
                    <a:lnTo>
                      <a:pt x="4518" y="2194"/>
                    </a:lnTo>
                    <a:lnTo>
                      <a:pt x="4518" y="2196"/>
                    </a:lnTo>
                    <a:lnTo>
                      <a:pt x="4520" y="2200"/>
                    </a:lnTo>
                    <a:lnTo>
                      <a:pt x="4520" y="2200"/>
                    </a:lnTo>
                    <a:close/>
                    <a:moveTo>
                      <a:pt x="4814" y="1702"/>
                    </a:moveTo>
                    <a:lnTo>
                      <a:pt x="4814" y="1702"/>
                    </a:lnTo>
                    <a:lnTo>
                      <a:pt x="4812" y="1704"/>
                    </a:lnTo>
                    <a:lnTo>
                      <a:pt x="4812" y="1706"/>
                    </a:lnTo>
                    <a:lnTo>
                      <a:pt x="4816" y="1706"/>
                    </a:lnTo>
                    <a:lnTo>
                      <a:pt x="4832" y="1700"/>
                    </a:lnTo>
                    <a:lnTo>
                      <a:pt x="4842" y="1696"/>
                    </a:lnTo>
                    <a:lnTo>
                      <a:pt x="4850" y="1690"/>
                    </a:lnTo>
                    <a:lnTo>
                      <a:pt x="4856" y="1684"/>
                    </a:lnTo>
                    <a:lnTo>
                      <a:pt x="4858" y="1678"/>
                    </a:lnTo>
                    <a:lnTo>
                      <a:pt x="4858" y="1678"/>
                    </a:lnTo>
                    <a:lnTo>
                      <a:pt x="4856" y="1674"/>
                    </a:lnTo>
                    <a:lnTo>
                      <a:pt x="4852" y="1672"/>
                    </a:lnTo>
                    <a:lnTo>
                      <a:pt x="4848" y="1672"/>
                    </a:lnTo>
                    <a:lnTo>
                      <a:pt x="4842" y="1674"/>
                    </a:lnTo>
                    <a:lnTo>
                      <a:pt x="4828" y="1686"/>
                    </a:lnTo>
                    <a:lnTo>
                      <a:pt x="4814" y="1702"/>
                    </a:lnTo>
                    <a:lnTo>
                      <a:pt x="4814" y="1702"/>
                    </a:lnTo>
                    <a:close/>
                    <a:moveTo>
                      <a:pt x="3278" y="4364"/>
                    </a:moveTo>
                    <a:lnTo>
                      <a:pt x="3278" y="4364"/>
                    </a:lnTo>
                    <a:lnTo>
                      <a:pt x="3276" y="4362"/>
                    </a:lnTo>
                    <a:lnTo>
                      <a:pt x="3274" y="4362"/>
                    </a:lnTo>
                    <a:lnTo>
                      <a:pt x="3274" y="4362"/>
                    </a:lnTo>
                    <a:lnTo>
                      <a:pt x="3278" y="4384"/>
                    </a:lnTo>
                    <a:lnTo>
                      <a:pt x="3278" y="4384"/>
                    </a:lnTo>
                    <a:lnTo>
                      <a:pt x="3278" y="4398"/>
                    </a:lnTo>
                    <a:lnTo>
                      <a:pt x="3278" y="4400"/>
                    </a:lnTo>
                    <a:lnTo>
                      <a:pt x="3276" y="4402"/>
                    </a:lnTo>
                    <a:lnTo>
                      <a:pt x="3272" y="4402"/>
                    </a:lnTo>
                    <a:lnTo>
                      <a:pt x="3266" y="4398"/>
                    </a:lnTo>
                    <a:lnTo>
                      <a:pt x="3266" y="4398"/>
                    </a:lnTo>
                    <a:lnTo>
                      <a:pt x="3266" y="4398"/>
                    </a:lnTo>
                    <a:lnTo>
                      <a:pt x="3264" y="4400"/>
                    </a:lnTo>
                    <a:lnTo>
                      <a:pt x="3264" y="4406"/>
                    </a:lnTo>
                    <a:lnTo>
                      <a:pt x="3262" y="4408"/>
                    </a:lnTo>
                    <a:lnTo>
                      <a:pt x="3260" y="4408"/>
                    </a:lnTo>
                    <a:lnTo>
                      <a:pt x="3256" y="4404"/>
                    </a:lnTo>
                    <a:lnTo>
                      <a:pt x="3256" y="4404"/>
                    </a:lnTo>
                    <a:lnTo>
                      <a:pt x="3254" y="4402"/>
                    </a:lnTo>
                    <a:lnTo>
                      <a:pt x="3252" y="4400"/>
                    </a:lnTo>
                    <a:lnTo>
                      <a:pt x="3250" y="4402"/>
                    </a:lnTo>
                    <a:lnTo>
                      <a:pt x="3248" y="4404"/>
                    </a:lnTo>
                    <a:lnTo>
                      <a:pt x="3248" y="4424"/>
                    </a:lnTo>
                    <a:lnTo>
                      <a:pt x="3248" y="4424"/>
                    </a:lnTo>
                    <a:lnTo>
                      <a:pt x="3248" y="4426"/>
                    </a:lnTo>
                    <a:lnTo>
                      <a:pt x="3246" y="4426"/>
                    </a:lnTo>
                    <a:lnTo>
                      <a:pt x="3240" y="4422"/>
                    </a:lnTo>
                    <a:lnTo>
                      <a:pt x="3238" y="4422"/>
                    </a:lnTo>
                    <a:lnTo>
                      <a:pt x="3234" y="4420"/>
                    </a:lnTo>
                    <a:lnTo>
                      <a:pt x="3232" y="4422"/>
                    </a:lnTo>
                    <a:lnTo>
                      <a:pt x="3230" y="4428"/>
                    </a:lnTo>
                    <a:lnTo>
                      <a:pt x="3230" y="4428"/>
                    </a:lnTo>
                    <a:lnTo>
                      <a:pt x="3226" y="4438"/>
                    </a:lnTo>
                    <a:lnTo>
                      <a:pt x="3224" y="4440"/>
                    </a:lnTo>
                    <a:lnTo>
                      <a:pt x="3220" y="4440"/>
                    </a:lnTo>
                    <a:lnTo>
                      <a:pt x="3214" y="4444"/>
                    </a:lnTo>
                    <a:lnTo>
                      <a:pt x="3214" y="4444"/>
                    </a:lnTo>
                    <a:lnTo>
                      <a:pt x="3210" y="4446"/>
                    </a:lnTo>
                    <a:lnTo>
                      <a:pt x="3210" y="4446"/>
                    </a:lnTo>
                    <a:lnTo>
                      <a:pt x="3212" y="4440"/>
                    </a:lnTo>
                    <a:lnTo>
                      <a:pt x="3212" y="4432"/>
                    </a:lnTo>
                    <a:lnTo>
                      <a:pt x="3212" y="4432"/>
                    </a:lnTo>
                    <a:lnTo>
                      <a:pt x="3210" y="4424"/>
                    </a:lnTo>
                    <a:lnTo>
                      <a:pt x="3208" y="4420"/>
                    </a:lnTo>
                    <a:lnTo>
                      <a:pt x="3204" y="4418"/>
                    </a:lnTo>
                    <a:lnTo>
                      <a:pt x="3200" y="4418"/>
                    </a:lnTo>
                    <a:lnTo>
                      <a:pt x="3200" y="4418"/>
                    </a:lnTo>
                    <a:lnTo>
                      <a:pt x="3198" y="4420"/>
                    </a:lnTo>
                    <a:lnTo>
                      <a:pt x="3198" y="4418"/>
                    </a:lnTo>
                    <a:lnTo>
                      <a:pt x="3196" y="4416"/>
                    </a:lnTo>
                    <a:lnTo>
                      <a:pt x="3194" y="4414"/>
                    </a:lnTo>
                    <a:lnTo>
                      <a:pt x="3194" y="4414"/>
                    </a:lnTo>
                    <a:lnTo>
                      <a:pt x="3192" y="4416"/>
                    </a:lnTo>
                    <a:lnTo>
                      <a:pt x="3192" y="4420"/>
                    </a:lnTo>
                    <a:lnTo>
                      <a:pt x="3190" y="4422"/>
                    </a:lnTo>
                    <a:lnTo>
                      <a:pt x="3188" y="4424"/>
                    </a:lnTo>
                    <a:lnTo>
                      <a:pt x="3186" y="4424"/>
                    </a:lnTo>
                    <a:lnTo>
                      <a:pt x="3186" y="4424"/>
                    </a:lnTo>
                    <a:lnTo>
                      <a:pt x="3182" y="4424"/>
                    </a:lnTo>
                    <a:lnTo>
                      <a:pt x="3178" y="4428"/>
                    </a:lnTo>
                    <a:lnTo>
                      <a:pt x="3176" y="4432"/>
                    </a:lnTo>
                    <a:lnTo>
                      <a:pt x="3178" y="4438"/>
                    </a:lnTo>
                    <a:lnTo>
                      <a:pt x="3178" y="4438"/>
                    </a:lnTo>
                    <a:lnTo>
                      <a:pt x="3178" y="4440"/>
                    </a:lnTo>
                    <a:lnTo>
                      <a:pt x="3174" y="4442"/>
                    </a:lnTo>
                    <a:lnTo>
                      <a:pt x="3170" y="4444"/>
                    </a:lnTo>
                    <a:lnTo>
                      <a:pt x="3166" y="4442"/>
                    </a:lnTo>
                    <a:lnTo>
                      <a:pt x="3166" y="4442"/>
                    </a:lnTo>
                    <a:lnTo>
                      <a:pt x="3164" y="4442"/>
                    </a:lnTo>
                    <a:lnTo>
                      <a:pt x="3162" y="4442"/>
                    </a:lnTo>
                    <a:lnTo>
                      <a:pt x="3160" y="4444"/>
                    </a:lnTo>
                    <a:lnTo>
                      <a:pt x="3156" y="4446"/>
                    </a:lnTo>
                    <a:lnTo>
                      <a:pt x="3156" y="4446"/>
                    </a:lnTo>
                    <a:lnTo>
                      <a:pt x="3150" y="4448"/>
                    </a:lnTo>
                    <a:lnTo>
                      <a:pt x="3146" y="4452"/>
                    </a:lnTo>
                    <a:lnTo>
                      <a:pt x="3142" y="4458"/>
                    </a:lnTo>
                    <a:lnTo>
                      <a:pt x="3140" y="4462"/>
                    </a:lnTo>
                    <a:lnTo>
                      <a:pt x="3140" y="4462"/>
                    </a:lnTo>
                    <a:lnTo>
                      <a:pt x="3140" y="4472"/>
                    </a:lnTo>
                    <a:lnTo>
                      <a:pt x="3138" y="4478"/>
                    </a:lnTo>
                    <a:lnTo>
                      <a:pt x="3134" y="4488"/>
                    </a:lnTo>
                    <a:lnTo>
                      <a:pt x="3134" y="4488"/>
                    </a:lnTo>
                    <a:lnTo>
                      <a:pt x="3132" y="4492"/>
                    </a:lnTo>
                    <a:lnTo>
                      <a:pt x="3134" y="4496"/>
                    </a:lnTo>
                    <a:lnTo>
                      <a:pt x="3136" y="4500"/>
                    </a:lnTo>
                    <a:lnTo>
                      <a:pt x="3136" y="4500"/>
                    </a:lnTo>
                    <a:lnTo>
                      <a:pt x="3138" y="4504"/>
                    </a:lnTo>
                    <a:lnTo>
                      <a:pt x="3140" y="4504"/>
                    </a:lnTo>
                    <a:lnTo>
                      <a:pt x="3144" y="4500"/>
                    </a:lnTo>
                    <a:lnTo>
                      <a:pt x="3148" y="4488"/>
                    </a:lnTo>
                    <a:lnTo>
                      <a:pt x="3148" y="4488"/>
                    </a:lnTo>
                    <a:lnTo>
                      <a:pt x="3150" y="4480"/>
                    </a:lnTo>
                    <a:lnTo>
                      <a:pt x="3152" y="4478"/>
                    </a:lnTo>
                    <a:lnTo>
                      <a:pt x="3152" y="4476"/>
                    </a:lnTo>
                    <a:lnTo>
                      <a:pt x="3154" y="4474"/>
                    </a:lnTo>
                    <a:lnTo>
                      <a:pt x="3154" y="4474"/>
                    </a:lnTo>
                    <a:lnTo>
                      <a:pt x="3156" y="4472"/>
                    </a:lnTo>
                    <a:lnTo>
                      <a:pt x="3156" y="4470"/>
                    </a:lnTo>
                    <a:lnTo>
                      <a:pt x="3158" y="4466"/>
                    </a:lnTo>
                    <a:lnTo>
                      <a:pt x="3160" y="4462"/>
                    </a:lnTo>
                    <a:lnTo>
                      <a:pt x="3160" y="4462"/>
                    </a:lnTo>
                    <a:lnTo>
                      <a:pt x="3164" y="4460"/>
                    </a:lnTo>
                    <a:lnTo>
                      <a:pt x="3168" y="4462"/>
                    </a:lnTo>
                    <a:lnTo>
                      <a:pt x="3170" y="4466"/>
                    </a:lnTo>
                    <a:lnTo>
                      <a:pt x="3168" y="4472"/>
                    </a:lnTo>
                    <a:lnTo>
                      <a:pt x="3168" y="4472"/>
                    </a:lnTo>
                    <a:lnTo>
                      <a:pt x="3168" y="4474"/>
                    </a:lnTo>
                    <a:lnTo>
                      <a:pt x="3172" y="4474"/>
                    </a:lnTo>
                    <a:lnTo>
                      <a:pt x="3178" y="4472"/>
                    </a:lnTo>
                    <a:lnTo>
                      <a:pt x="3182" y="4466"/>
                    </a:lnTo>
                    <a:lnTo>
                      <a:pt x="3182" y="4466"/>
                    </a:lnTo>
                    <a:lnTo>
                      <a:pt x="3184" y="4462"/>
                    </a:lnTo>
                    <a:lnTo>
                      <a:pt x="3184" y="4466"/>
                    </a:lnTo>
                    <a:lnTo>
                      <a:pt x="3184" y="4472"/>
                    </a:lnTo>
                    <a:lnTo>
                      <a:pt x="3184" y="4474"/>
                    </a:lnTo>
                    <a:lnTo>
                      <a:pt x="3186" y="4476"/>
                    </a:lnTo>
                    <a:lnTo>
                      <a:pt x="3186" y="4476"/>
                    </a:lnTo>
                    <a:lnTo>
                      <a:pt x="3192" y="4478"/>
                    </a:lnTo>
                    <a:lnTo>
                      <a:pt x="3194" y="4480"/>
                    </a:lnTo>
                    <a:lnTo>
                      <a:pt x="3194" y="4476"/>
                    </a:lnTo>
                    <a:lnTo>
                      <a:pt x="3194" y="4476"/>
                    </a:lnTo>
                    <a:lnTo>
                      <a:pt x="3194" y="4470"/>
                    </a:lnTo>
                    <a:lnTo>
                      <a:pt x="3196" y="4466"/>
                    </a:lnTo>
                    <a:lnTo>
                      <a:pt x="3198" y="4464"/>
                    </a:lnTo>
                    <a:lnTo>
                      <a:pt x="3196" y="4462"/>
                    </a:lnTo>
                    <a:lnTo>
                      <a:pt x="3196" y="4462"/>
                    </a:lnTo>
                    <a:lnTo>
                      <a:pt x="3194" y="4460"/>
                    </a:lnTo>
                    <a:lnTo>
                      <a:pt x="3196" y="4458"/>
                    </a:lnTo>
                    <a:lnTo>
                      <a:pt x="3200" y="4458"/>
                    </a:lnTo>
                    <a:lnTo>
                      <a:pt x="3206" y="4460"/>
                    </a:lnTo>
                    <a:lnTo>
                      <a:pt x="3206" y="4460"/>
                    </a:lnTo>
                    <a:lnTo>
                      <a:pt x="3210" y="4464"/>
                    </a:lnTo>
                    <a:lnTo>
                      <a:pt x="3216" y="4466"/>
                    </a:lnTo>
                    <a:lnTo>
                      <a:pt x="3218" y="4468"/>
                    </a:lnTo>
                    <a:lnTo>
                      <a:pt x="3222" y="4472"/>
                    </a:lnTo>
                    <a:lnTo>
                      <a:pt x="3222" y="4472"/>
                    </a:lnTo>
                    <a:lnTo>
                      <a:pt x="3222" y="4476"/>
                    </a:lnTo>
                    <a:lnTo>
                      <a:pt x="3224" y="4478"/>
                    </a:lnTo>
                    <a:lnTo>
                      <a:pt x="3226" y="4478"/>
                    </a:lnTo>
                    <a:lnTo>
                      <a:pt x="3226" y="4482"/>
                    </a:lnTo>
                    <a:lnTo>
                      <a:pt x="3226" y="4482"/>
                    </a:lnTo>
                    <a:lnTo>
                      <a:pt x="3224" y="4486"/>
                    </a:lnTo>
                    <a:lnTo>
                      <a:pt x="3220" y="4492"/>
                    </a:lnTo>
                    <a:lnTo>
                      <a:pt x="3216" y="4500"/>
                    </a:lnTo>
                    <a:lnTo>
                      <a:pt x="3216" y="4502"/>
                    </a:lnTo>
                    <a:lnTo>
                      <a:pt x="3216" y="4506"/>
                    </a:lnTo>
                    <a:lnTo>
                      <a:pt x="3216" y="4506"/>
                    </a:lnTo>
                    <a:lnTo>
                      <a:pt x="3218" y="4520"/>
                    </a:lnTo>
                    <a:lnTo>
                      <a:pt x="3220" y="4526"/>
                    </a:lnTo>
                    <a:lnTo>
                      <a:pt x="3222" y="4532"/>
                    </a:lnTo>
                    <a:lnTo>
                      <a:pt x="3222" y="4532"/>
                    </a:lnTo>
                    <a:lnTo>
                      <a:pt x="3224" y="4534"/>
                    </a:lnTo>
                    <a:lnTo>
                      <a:pt x="3224" y="4536"/>
                    </a:lnTo>
                    <a:lnTo>
                      <a:pt x="3226" y="4538"/>
                    </a:lnTo>
                    <a:lnTo>
                      <a:pt x="3234" y="4544"/>
                    </a:lnTo>
                    <a:lnTo>
                      <a:pt x="3234" y="4544"/>
                    </a:lnTo>
                    <a:lnTo>
                      <a:pt x="3252" y="4552"/>
                    </a:lnTo>
                    <a:lnTo>
                      <a:pt x="3256" y="4554"/>
                    </a:lnTo>
                    <a:lnTo>
                      <a:pt x="3260" y="4548"/>
                    </a:lnTo>
                    <a:lnTo>
                      <a:pt x="3260" y="4548"/>
                    </a:lnTo>
                    <a:lnTo>
                      <a:pt x="3264" y="4542"/>
                    </a:lnTo>
                    <a:lnTo>
                      <a:pt x="3266" y="4542"/>
                    </a:lnTo>
                    <a:lnTo>
                      <a:pt x="3268" y="4544"/>
                    </a:lnTo>
                    <a:lnTo>
                      <a:pt x="3266" y="4550"/>
                    </a:lnTo>
                    <a:lnTo>
                      <a:pt x="3266" y="4550"/>
                    </a:lnTo>
                    <a:lnTo>
                      <a:pt x="3266" y="4556"/>
                    </a:lnTo>
                    <a:lnTo>
                      <a:pt x="3268" y="4564"/>
                    </a:lnTo>
                    <a:lnTo>
                      <a:pt x="3270" y="4566"/>
                    </a:lnTo>
                    <a:lnTo>
                      <a:pt x="3272" y="4568"/>
                    </a:lnTo>
                    <a:lnTo>
                      <a:pt x="3274" y="4566"/>
                    </a:lnTo>
                    <a:lnTo>
                      <a:pt x="3278" y="4564"/>
                    </a:lnTo>
                    <a:lnTo>
                      <a:pt x="3278" y="4564"/>
                    </a:lnTo>
                    <a:lnTo>
                      <a:pt x="3282" y="4554"/>
                    </a:lnTo>
                    <a:lnTo>
                      <a:pt x="3284" y="4546"/>
                    </a:lnTo>
                    <a:lnTo>
                      <a:pt x="3286" y="4540"/>
                    </a:lnTo>
                    <a:lnTo>
                      <a:pt x="3284" y="4534"/>
                    </a:lnTo>
                    <a:lnTo>
                      <a:pt x="3284" y="4534"/>
                    </a:lnTo>
                    <a:lnTo>
                      <a:pt x="3280" y="4524"/>
                    </a:lnTo>
                    <a:lnTo>
                      <a:pt x="3278" y="4520"/>
                    </a:lnTo>
                    <a:lnTo>
                      <a:pt x="3276" y="4518"/>
                    </a:lnTo>
                    <a:lnTo>
                      <a:pt x="3276" y="4518"/>
                    </a:lnTo>
                    <a:lnTo>
                      <a:pt x="3274" y="4516"/>
                    </a:lnTo>
                    <a:lnTo>
                      <a:pt x="3274" y="4514"/>
                    </a:lnTo>
                    <a:lnTo>
                      <a:pt x="3274" y="4508"/>
                    </a:lnTo>
                    <a:lnTo>
                      <a:pt x="3276" y="4500"/>
                    </a:lnTo>
                    <a:lnTo>
                      <a:pt x="3280" y="4496"/>
                    </a:lnTo>
                    <a:lnTo>
                      <a:pt x="3280" y="4496"/>
                    </a:lnTo>
                    <a:lnTo>
                      <a:pt x="3284" y="4494"/>
                    </a:lnTo>
                    <a:lnTo>
                      <a:pt x="3284" y="4490"/>
                    </a:lnTo>
                    <a:lnTo>
                      <a:pt x="3284" y="4486"/>
                    </a:lnTo>
                    <a:lnTo>
                      <a:pt x="3288" y="4484"/>
                    </a:lnTo>
                    <a:lnTo>
                      <a:pt x="3288" y="4484"/>
                    </a:lnTo>
                    <a:lnTo>
                      <a:pt x="3290" y="4482"/>
                    </a:lnTo>
                    <a:lnTo>
                      <a:pt x="3292" y="4482"/>
                    </a:lnTo>
                    <a:lnTo>
                      <a:pt x="3292" y="4490"/>
                    </a:lnTo>
                    <a:lnTo>
                      <a:pt x="3292" y="4490"/>
                    </a:lnTo>
                    <a:lnTo>
                      <a:pt x="3294" y="4498"/>
                    </a:lnTo>
                    <a:lnTo>
                      <a:pt x="3296" y="4502"/>
                    </a:lnTo>
                    <a:lnTo>
                      <a:pt x="3300" y="4506"/>
                    </a:lnTo>
                    <a:lnTo>
                      <a:pt x="3300" y="4506"/>
                    </a:lnTo>
                    <a:lnTo>
                      <a:pt x="3302" y="4510"/>
                    </a:lnTo>
                    <a:lnTo>
                      <a:pt x="3300" y="4512"/>
                    </a:lnTo>
                    <a:lnTo>
                      <a:pt x="3300" y="4518"/>
                    </a:lnTo>
                    <a:lnTo>
                      <a:pt x="3302" y="4528"/>
                    </a:lnTo>
                    <a:lnTo>
                      <a:pt x="3302" y="4528"/>
                    </a:lnTo>
                    <a:lnTo>
                      <a:pt x="3304" y="4530"/>
                    </a:lnTo>
                    <a:lnTo>
                      <a:pt x="3306" y="4530"/>
                    </a:lnTo>
                    <a:lnTo>
                      <a:pt x="3306" y="4526"/>
                    </a:lnTo>
                    <a:lnTo>
                      <a:pt x="3308" y="4518"/>
                    </a:lnTo>
                    <a:lnTo>
                      <a:pt x="3306" y="4508"/>
                    </a:lnTo>
                    <a:lnTo>
                      <a:pt x="3306" y="4508"/>
                    </a:lnTo>
                    <a:lnTo>
                      <a:pt x="3304" y="4502"/>
                    </a:lnTo>
                    <a:lnTo>
                      <a:pt x="3308" y="4504"/>
                    </a:lnTo>
                    <a:lnTo>
                      <a:pt x="3310" y="4506"/>
                    </a:lnTo>
                    <a:lnTo>
                      <a:pt x="3312" y="4506"/>
                    </a:lnTo>
                    <a:lnTo>
                      <a:pt x="3310" y="4504"/>
                    </a:lnTo>
                    <a:lnTo>
                      <a:pt x="3310" y="4504"/>
                    </a:lnTo>
                    <a:lnTo>
                      <a:pt x="3310" y="4500"/>
                    </a:lnTo>
                    <a:lnTo>
                      <a:pt x="3312" y="4498"/>
                    </a:lnTo>
                    <a:lnTo>
                      <a:pt x="3316" y="4498"/>
                    </a:lnTo>
                    <a:lnTo>
                      <a:pt x="3320" y="4492"/>
                    </a:lnTo>
                    <a:lnTo>
                      <a:pt x="3320" y="4492"/>
                    </a:lnTo>
                    <a:lnTo>
                      <a:pt x="3322" y="4488"/>
                    </a:lnTo>
                    <a:lnTo>
                      <a:pt x="3322" y="4482"/>
                    </a:lnTo>
                    <a:lnTo>
                      <a:pt x="3320" y="4468"/>
                    </a:lnTo>
                    <a:lnTo>
                      <a:pt x="3320" y="4468"/>
                    </a:lnTo>
                    <a:lnTo>
                      <a:pt x="3320" y="4464"/>
                    </a:lnTo>
                    <a:lnTo>
                      <a:pt x="3318" y="4462"/>
                    </a:lnTo>
                    <a:lnTo>
                      <a:pt x="3316" y="4460"/>
                    </a:lnTo>
                    <a:lnTo>
                      <a:pt x="3314" y="4458"/>
                    </a:lnTo>
                    <a:lnTo>
                      <a:pt x="3314" y="4458"/>
                    </a:lnTo>
                    <a:lnTo>
                      <a:pt x="3314" y="4452"/>
                    </a:lnTo>
                    <a:lnTo>
                      <a:pt x="3316" y="4446"/>
                    </a:lnTo>
                    <a:lnTo>
                      <a:pt x="3316" y="4442"/>
                    </a:lnTo>
                    <a:lnTo>
                      <a:pt x="3314" y="4438"/>
                    </a:lnTo>
                    <a:lnTo>
                      <a:pt x="3314" y="4438"/>
                    </a:lnTo>
                    <a:lnTo>
                      <a:pt x="3314" y="4432"/>
                    </a:lnTo>
                    <a:lnTo>
                      <a:pt x="3314" y="4428"/>
                    </a:lnTo>
                    <a:lnTo>
                      <a:pt x="3312" y="4424"/>
                    </a:lnTo>
                    <a:lnTo>
                      <a:pt x="3310" y="4424"/>
                    </a:lnTo>
                    <a:lnTo>
                      <a:pt x="3308" y="4424"/>
                    </a:lnTo>
                    <a:lnTo>
                      <a:pt x="3308" y="4424"/>
                    </a:lnTo>
                    <a:lnTo>
                      <a:pt x="3304" y="4424"/>
                    </a:lnTo>
                    <a:lnTo>
                      <a:pt x="3302" y="4422"/>
                    </a:lnTo>
                    <a:lnTo>
                      <a:pt x="3302" y="4420"/>
                    </a:lnTo>
                    <a:lnTo>
                      <a:pt x="3304" y="4418"/>
                    </a:lnTo>
                    <a:lnTo>
                      <a:pt x="3304" y="4418"/>
                    </a:lnTo>
                    <a:lnTo>
                      <a:pt x="3308" y="4416"/>
                    </a:lnTo>
                    <a:lnTo>
                      <a:pt x="3310" y="4412"/>
                    </a:lnTo>
                    <a:lnTo>
                      <a:pt x="3312" y="4406"/>
                    </a:lnTo>
                    <a:lnTo>
                      <a:pt x="3308" y="4400"/>
                    </a:lnTo>
                    <a:lnTo>
                      <a:pt x="3308" y="4400"/>
                    </a:lnTo>
                    <a:lnTo>
                      <a:pt x="3306" y="4396"/>
                    </a:lnTo>
                    <a:lnTo>
                      <a:pt x="3306" y="4390"/>
                    </a:lnTo>
                    <a:lnTo>
                      <a:pt x="3306" y="4386"/>
                    </a:lnTo>
                    <a:lnTo>
                      <a:pt x="3302" y="4388"/>
                    </a:lnTo>
                    <a:lnTo>
                      <a:pt x="3302" y="4388"/>
                    </a:lnTo>
                    <a:lnTo>
                      <a:pt x="3300" y="4388"/>
                    </a:lnTo>
                    <a:lnTo>
                      <a:pt x="3300" y="4388"/>
                    </a:lnTo>
                    <a:lnTo>
                      <a:pt x="3298" y="4384"/>
                    </a:lnTo>
                    <a:lnTo>
                      <a:pt x="3296" y="4380"/>
                    </a:lnTo>
                    <a:lnTo>
                      <a:pt x="3292" y="4376"/>
                    </a:lnTo>
                    <a:lnTo>
                      <a:pt x="3288" y="4374"/>
                    </a:lnTo>
                    <a:lnTo>
                      <a:pt x="3288" y="4374"/>
                    </a:lnTo>
                    <a:lnTo>
                      <a:pt x="3284" y="4372"/>
                    </a:lnTo>
                    <a:lnTo>
                      <a:pt x="3282" y="4368"/>
                    </a:lnTo>
                    <a:lnTo>
                      <a:pt x="3282" y="4366"/>
                    </a:lnTo>
                    <a:lnTo>
                      <a:pt x="3278" y="4364"/>
                    </a:lnTo>
                    <a:lnTo>
                      <a:pt x="3278" y="4364"/>
                    </a:lnTo>
                    <a:close/>
                    <a:moveTo>
                      <a:pt x="3136" y="4268"/>
                    </a:moveTo>
                    <a:lnTo>
                      <a:pt x="3136" y="4268"/>
                    </a:lnTo>
                    <a:lnTo>
                      <a:pt x="3138" y="4270"/>
                    </a:lnTo>
                    <a:lnTo>
                      <a:pt x="3140" y="4272"/>
                    </a:lnTo>
                    <a:lnTo>
                      <a:pt x="3140" y="4278"/>
                    </a:lnTo>
                    <a:lnTo>
                      <a:pt x="3138" y="4286"/>
                    </a:lnTo>
                    <a:lnTo>
                      <a:pt x="3138" y="4296"/>
                    </a:lnTo>
                    <a:lnTo>
                      <a:pt x="3138" y="4296"/>
                    </a:lnTo>
                    <a:lnTo>
                      <a:pt x="3140" y="4302"/>
                    </a:lnTo>
                    <a:lnTo>
                      <a:pt x="3136" y="4306"/>
                    </a:lnTo>
                    <a:lnTo>
                      <a:pt x="3134" y="4312"/>
                    </a:lnTo>
                    <a:lnTo>
                      <a:pt x="3134" y="4324"/>
                    </a:lnTo>
                    <a:lnTo>
                      <a:pt x="3134" y="4324"/>
                    </a:lnTo>
                    <a:lnTo>
                      <a:pt x="3134" y="4328"/>
                    </a:lnTo>
                    <a:lnTo>
                      <a:pt x="3136" y="4330"/>
                    </a:lnTo>
                    <a:lnTo>
                      <a:pt x="3138" y="4330"/>
                    </a:lnTo>
                    <a:lnTo>
                      <a:pt x="3140" y="4328"/>
                    </a:lnTo>
                    <a:lnTo>
                      <a:pt x="3146" y="4324"/>
                    </a:lnTo>
                    <a:lnTo>
                      <a:pt x="3148" y="4320"/>
                    </a:lnTo>
                    <a:lnTo>
                      <a:pt x="3152" y="4320"/>
                    </a:lnTo>
                    <a:lnTo>
                      <a:pt x="3152" y="4320"/>
                    </a:lnTo>
                    <a:lnTo>
                      <a:pt x="3158" y="4318"/>
                    </a:lnTo>
                    <a:lnTo>
                      <a:pt x="3166" y="4312"/>
                    </a:lnTo>
                    <a:lnTo>
                      <a:pt x="3178" y="4298"/>
                    </a:lnTo>
                    <a:lnTo>
                      <a:pt x="3178" y="4298"/>
                    </a:lnTo>
                    <a:lnTo>
                      <a:pt x="3182" y="4296"/>
                    </a:lnTo>
                    <a:lnTo>
                      <a:pt x="3182" y="4292"/>
                    </a:lnTo>
                    <a:lnTo>
                      <a:pt x="3184" y="4282"/>
                    </a:lnTo>
                    <a:lnTo>
                      <a:pt x="3182" y="4276"/>
                    </a:lnTo>
                    <a:lnTo>
                      <a:pt x="3180" y="4276"/>
                    </a:lnTo>
                    <a:lnTo>
                      <a:pt x="3178" y="4276"/>
                    </a:lnTo>
                    <a:lnTo>
                      <a:pt x="3178" y="4276"/>
                    </a:lnTo>
                    <a:lnTo>
                      <a:pt x="3176" y="4278"/>
                    </a:lnTo>
                    <a:lnTo>
                      <a:pt x="3176" y="4278"/>
                    </a:lnTo>
                    <a:lnTo>
                      <a:pt x="3172" y="4276"/>
                    </a:lnTo>
                    <a:lnTo>
                      <a:pt x="3168" y="4274"/>
                    </a:lnTo>
                    <a:lnTo>
                      <a:pt x="3166" y="4274"/>
                    </a:lnTo>
                    <a:lnTo>
                      <a:pt x="3164" y="4274"/>
                    </a:lnTo>
                    <a:lnTo>
                      <a:pt x="3164" y="4274"/>
                    </a:lnTo>
                    <a:lnTo>
                      <a:pt x="3162" y="4276"/>
                    </a:lnTo>
                    <a:lnTo>
                      <a:pt x="3160" y="4274"/>
                    </a:lnTo>
                    <a:lnTo>
                      <a:pt x="3154" y="4270"/>
                    </a:lnTo>
                    <a:lnTo>
                      <a:pt x="3146" y="4264"/>
                    </a:lnTo>
                    <a:lnTo>
                      <a:pt x="3138" y="4258"/>
                    </a:lnTo>
                    <a:lnTo>
                      <a:pt x="3138" y="4258"/>
                    </a:lnTo>
                    <a:lnTo>
                      <a:pt x="3132" y="4258"/>
                    </a:lnTo>
                    <a:lnTo>
                      <a:pt x="3130" y="4260"/>
                    </a:lnTo>
                    <a:lnTo>
                      <a:pt x="3130" y="4264"/>
                    </a:lnTo>
                    <a:lnTo>
                      <a:pt x="3136" y="4268"/>
                    </a:lnTo>
                    <a:lnTo>
                      <a:pt x="3136" y="4268"/>
                    </a:lnTo>
                    <a:close/>
                    <a:moveTo>
                      <a:pt x="3270" y="4928"/>
                    </a:moveTo>
                    <a:lnTo>
                      <a:pt x="3270" y="4928"/>
                    </a:lnTo>
                    <a:lnTo>
                      <a:pt x="3268" y="4926"/>
                    </a:lnTo>
                    <a:lnTo>
                      <a:pt x="3264" y="4924"/>
                    </a:lnTo>
                    <a:lnTo>
                      <a:pt x="3250" y="4920"/>
                    </a:lnTo>
                    <a:lnTo>
                      <a:pt x="3244" y="4920"/>
                    </a:lnTo>
                    <a:lnTo>
                      <a:pt x="3238" y="4920"/>
                    </a:lnTo>
                    <a:lnTo>
                      <a:pt x="3232" y="4924"/>
                    </a:lnTo>
                    <a:lnTo>
                      <a:pt x="3230" y="4930"/>
                    </a:lnTo>
                    <a:lnTo>
                      <a:pt x="3230" y="4930"/>
                    </a:lnTo>
                    <a:lnTo>
                      <a:pt x="3232" y="4934"/>
                    </a:lnTo>
                    <a:lnTo>
                      <a:pt x="3236" y="4936"/>
                    </a:lnTo>
                    <a:lnTo>
                      <a:pt x="3242" y="4936"/>
                    </a:lnTo>
                    <a:lnTo>
                      <a:pt x="3250" y="4936"/>
                    </a:lnTo>
                    <a:lnTo>
                      <a:pt x="3264" y="4934"/>
                    </a:lnTo>
                    <a:lnTo>
                      <a:pt x="3268" y="4932"/>
                    </a:lnTo>
                    <a:lnTo>
                      <a:pt x="3270" y="4928"/>
                    </a:lnTo>
                    <a:lnTo>
                      <a:pt x="3270" y="4928"/>
                    </a:lnTo>
                    <a:close/>
                    <a:moveTo>
                      <a:pt x="3148" y="4520"/>
                    </a:moveTo>
                    <a:lnTo>
                      <a:pt x="3148" y="4520"/>
                    </a:lnTo>
                    <a:lnTo>
                      <a:pt x="3146" y="4516"/>
                    </a:lnTo>
                    <a:lnTo>
                      <a:pt x="3138" y="4512"/>
                    </a:lnTo>
                    <a:lnTo>
                      <a:pt x="3136" y="4512"/>
                    </a:lnTo>
                    <a:lnTo>
                      <a:pt x="3132" y="4512"/>
                    </a:lnTo>
                    <a:lnTo>
                      <a:pt x="3130" y="4516"/>
                    </a:lnTo>
                    <a:lnTo>
                      <a:pt x="3130" y="4520"/>
                    </a:lnTo>
                    <a:lnTo>
                      <a:pt x="3130" y="4520"/>
                    </a:lnTo>
                    <a:lnTo>
                      <a:pt x="3130" y="4524"/>
                    </a:lnTo>
                    <a:lnTo>
                      <a:pt x="3132" y="4526"/>
                    </a:lnTo>
                    <a:lnTo>
                      <a:pt x="3136" y="4528"/>
                    </a:lnTo>
                    <a:lnTo>
                      <a:pt x="3140" y="4526"/>
                    </a:lnTo>
                    <a:lnTo>
                      <a:pt x="3146" y="4524"/>
                    </a:lnTo>
                    <a:lnTo>
                      <a:pt x="3148" y="4520"/>
                    </a:lnTo>
                    <a:lnTo>
                      <a:pt x="3148" y="4520"/>
                    </a:lnTo>
                    <a:close/>
                    <a:moveTo>
                      <a:pt x="3204" y="4288"/>
                    </a:moveTo>
                    <a:lnTo>
                      <a:pt x="3204" y="4288"/>
                    </a:lnTo>
                    <a:lnTo>
                      <a:pt x="3204" y="4290"/>
                    </a:lnTo>
                    <a:lnTo>
                      <a:pt x="3204" y="4294"/>
                    </a:lnTo>
                    <a:lnTo>
                      <a:pt x="3206" y="4296"/>
                    </a:lnTo>
                    <a:lnTo>
                      <a:pt x="3208" y="4296"/>
                    </a:lnTo>
                    <a:lnTo>
                      <a:pt x="3208" y="4296"/>
                    </a:lnTo>
                    <a:lnTo>
                      <a:pt x="3208" y="4294"/>
                    </a:lnTo>
                    <a:lnTo>
                      <a:pt x="3208" y="4292"/>
                    </a:lnTo>
                    <a:lnTo>
                      <a:pt x="3206" y="4288"/>
                    </a:lnTo>
                    <a:lnTo>
                      <a:pt x="3204" y="4288"/>
                    </a:lnTo>
                    <a:lnTo>
                      <a:pt x="3204" y="4288"/>
                    </a:lnTo>
                    <a:close/>
                    <a:moveTo>
                      <a:pt x="3186" y="4210"/>
                    </a:moveTo>
                    <a:lnTo>
                      <a:pt x="3186" y="4210"/>
                    </a:lnTo>
                    <a:lnTo>
                      <a:pt x="3184" y="4208"/>
                    </a:lnTo>
                    <a:lnTo>
                      <a:pt x="3182" y="4204"/>
                    </a:lnTo>
                    <a:lnTo>
                      <a:pt x="3178" y="4200"/>
                    </a:lnTo>
                    <a:lnTo>
                      <a:pt x="3174" y="4198"/>
                    </a:lnTo>
                    <a:lnTo>
                      <a:pt x="3174" y="4198"/>
                    </a:lnTo>
                    <a:lnTo>
                      <a:pt x="3174" y="4200"/>
                    </a:lnTo>
                    <a:lnTo>
                      <a:pt x="3174" y="4202"/>
                    </a:lnTo>
                    <a:lnTo>
                      <a:pt x="3178" y="4206"/>
                    </a:lnTo>
                    <a:lnTo>
                      <a:pt x="3178" y="4206"/>
                    </a:lnTo>
                    <a:lnTo>
                      <a:pt x="3180" y="4212"/>
                    </a:lnTo>
                    <a:lnTo>
                      <a:pt x="3184" y="4214"/>
                    </a:lnTo>
                    <a:lnTo>
                      <a:pt x="3184" y="4214"/>
                    </a:lnTo>
                    <a:lnTo>
                      <a:pt x="3190" y="4220"/>
                    </a:lnTo>
                    <a:lnTo>
                      <a:pt x="3190" y="4220"/>
                    </a:lnTo>
                    <a:lnTo>
                      <a:pt x="3192" y="4220"/>
                    </a:lnTo>
                    <a:lnTo>
                      <a:pt x="3192" y="4220"/>
                    </a:lnTo>
                    <a:lnTo>
                      <a:pt x="3190" y="4216"/>
                    </a:lnTo>
                    <a:lnTo>
                      <a:pt x="3188" y="4212"/>
                    </a:lnTo>
                    <a:lnTo>
                      <a:pt x="3186" y="4210"/>
                    </a:lnTo>
                    <a:lnTo>
                      <a:pt x="3186" y="4210"/>
                    </a:lnTo>
                    <a:close/>
                    <a:moveTo>
                      <a:pt x="3250" y="5238"/>
                    </a:moveTo>
                    <a:lnTo>
                      <a:pt x="3250" y="5238"/>
                    </a:lnTo>
                    <a:lnTo>
                      <a:pt x="3240" y="5236"/>
                    </a:lnTo>
                    <a:lnTo>
                      <a:pt x="3236" y="5234"/>
                    </a:lnTo>
                    <a:lnTo>
                      <a:pt x="3236" y="5234"/>
                    </a:lnTo>
                    <a:lnTo>
                      <a:pt x="3234" y="5234"/>
                    </a:lnTo>
                    <a:lnTo>
                      <a:pt x="3232" y="5242"/>
                    </a:lnTo>
                    <a:lnTo>
                      <a:pt x="3232" y="5242"/>
                    </a:lnTo>
                    <a:lnTo>
                      <a:pt x="3230" y="5250"/>
                    </a:lnTo>
                    <a:lnTo>
                      <a:pt x="3232" y="5250"/>
                    </a:lnTo>
                    <a:lnTo>
                      <a:pt x="3234" y="5250"/>
                    </a:lnTo>
                    <a:lnTo>
                      <a:pt x="3244" y="5248"/>
                    </a:lnTo>
                    <a:lnTo>
                      <a:pt x="3256" y="5248"/>
                    </a:lnTo>
                    <a:lnTo>
                      <a:pt x="3256" y="5248"/>
                    </a:lnTo>
                    <a:lnTo>
                      <a:pt x="3260" y="5246"/>
                    </a:lnTo>
                    <a:lnTo>
                      <a:pt x="3262" y="5246"/>
                    </a:lnTo>
                    <a:lnTo>
                      <a:pt x="3264" y="5244"/>
                    </a:lnTo>
                    <a:lnTo>
                      <a:pt x="3262" y="5242"/>
                    </a:lnTo>
                    <a:lnTo>
                      <a:pt x="3258" y="5238"/>
                    </a:lnTo>
                    <a:lnTo>
                      <a:pt x="3254" y="5236"/>
                    </a:lnTo>
                    <a:lnTo>
                      <a:pt x="3250" y="5238"/>
                    </a:lnTo>
                    <a:lnTo>
                      <a:pt x="3250" y="5238"/>
                    </a:lnTo>
                    <a:close/>
                    <a:moveTo>
                      <a:pt x="3160" y="4332"/>
                    </a:moveTo>
                    <a:lnTo>
                      <a:pt x="3160" y="4332"/>
                    </a:lnTo>
                    <a:lnTo>
                      <a:pt x="3162" y="4332"/>
                    </a:lnTo>
                    <a:lnTo>
                      <a:pt x="3166" y="4328"/>
                    </a:lnTo>
                    <a:lnTo>
                      <a:pt x="3168" y="4322"/>
                    </a:lnTo>
                    <a:lnTo>
                      <a:pt x="3166" y="4318"/>
                    </a:lnTo>
                    <a:lnTo>
                      <a:pt x="3166" y="4318"/>
                    </a:lnTo>
                    <a:lnTo>
                      <a:pt x="3164" y="4318"/>
                    </a:lnTo>
                    <a:lnTo>
                      <a:pt x="3162" y="4320"/>
                    </a:lnTo>
                    <a:lnTo>
                      <a:pt x="3160" y="4322"/>
                    </a:lnTo>
                    <a:lnTo>
                      <a:pt x="3160" y="4326"/>
                    </a:lnTo>
                    <a:lnTo>
                      <a:pt x="3160" y="4326"/>
                    </a:lnTo>
                    <a:lnTo>
                      <a:pt x="3160" y="4328"/>
                    </a:lnTo>
                    <a:lnTo>
                      <a:pt x="3158" y="4328"/>
                    </a:lnTo>
                    <a:lnTo>
                      <a:pt x="3158" y="4330"/>
                    </a:lnTo>
                    <a:lnTo>
                      <a:pt x="3160" y="4332"/>
                    </a:lnTo>
                    <a:lnTo>
                      <a:pt x="3160" y="4332"/>
                    </a:lnTo>
                    <a:close/>
                    <a:moveTo>
                      <a:pt x="3190" y="5244"/>
                    </a:moveTo>
                    <a:lnTo>
                      <a:pt x="3190" y="5244"/>
                    </a:lnTo>
                    <a:lnTo>
                      <a:pt x="3188" y="5242"/>
                    </a:lnTo>
                    <a:lnTo>
                      <a:pt x="3186" y="5240"/>
                    </a:lnTo>
                    <a:lnTo>
                      <a:pt x="3182" y="5242"/>
                    </a:lnTo>
                    <a:lnTo>
                      <a:pt x="3178" y="5244"/>
                    </a:lnTo>
                    <a:lnTo>
                      <a:pt x="3178" y="5244"/>
                    </a:lnTo>
                    <a:lnTo>
                      <a:pt x="3176" y="5248"/>
                    </a:lnTo>
                    <a:lnTo>
                      <a:pt x="3178" y="5248"/>
                    </a:lnTo>
                    <a:lnTo>
                      <a:pt x="3184" y="5248"/>
                    </a:lnTo>
                    <a:lnTo>
                      <a:pt x="3184" y="5248"/>
                    </a:lnTo>
                    <a:lnTo>
                      <a:pt x="3188" y="5248"/>
                    </a:lnTo>
                    <a:lnTo>
                      <a:pt x="3190" y="5244"/>
                    </a:lnTo>
                    <a:lnTo>
                      <a:pt x="3190" y="5244"/>
                    </a:lnTo>
                    <a:close/>
                    <a:moveTo>
                      <a:pt x="3176" y="5252"/>
                    </a:moveTo>
                    <a:lnTo>
                      <a:pt x="3176" y="5252"/>
                    </a:lnTo>
                    <a:lnTo>
                      <a:pt x="3172" y="5254"/>
                    </a:lnTo>
                    <a:lnTo>
                      <a:pt x="3172" y="5256"/>
                    </a:lnTo>
                    <a:lnTo>
                      <a:pt x="3176" y="5258"/>
                    </a:lnTo>
                    <a:lnTo>
                      <a:pt x="3180" y="5254"/>
                    </a:lnTo>
                    <a:lnTo>
                      <a:pt x="3180" y="5254"/>
                    </a:lnTo>
                    <a:lnTo>
                      <a:pt x="3182" y="5252"/>
                    </a:lnTo>
                    <a:lnTo>
                      <a:pt x="3182" y="5250"/>
                    </a:lnTo>
                    <a:lnTo>
                      <a:pt x="3176" y="5252"/>
                    </a:lnTo>
                    <a:lnTo>
                      <a:pt x="3176" y="5252"/>
                    </a:lnTo>
                    <a:close/>
                    <a:moveTo>
                      <a:pt x="3224" y="5242"/>
                    </a:moveTo>
                    <a:lnTo>
                      <a:pt x="3224" y="5242"/>
                    </a:lnTo>
                    <a:lnTo>
                      <a:pt x="3220" y="5246"/>
                    </a:lnTo>
                    <a:lnTo>
                      <a:pt x="3218" y="5246"/>
                    </a:lnTo>
                    <a:lnTo>
                      <a:pt x="3216" y="5244"/>
                    </a:lnTo>
                    <a:lnTo>
                      <a:pt x="3214" y="5248"/>
                    </a:lnTo>
                    <a:lnTo>
                      <a:pt x="3214" y="5248"/>
                    </a:lnTo>
                    <a:lnTo>
                      <a:pt x="3214" y="5250"/>
                    </a:lnTo>
                    <a:lnTo>
                      <a:pt x="3216" y="5254"/>
                    </a:lnTo>
                    <a:lnTo>
                      <a:pt x="3220" y="5256"/>
                    </a:lnTo>
                    <a:lnTo>
                      <a:pt x="3222" y="5254"/>
                    </a:lnTo>
                    <a:lnTo>
                      <a:pt x="3224" y="5252"/>
                    </a:lnTo>
                    <a:lnTo>
                      <a:pt x="3224" y="5252"/>
                    </a:lnTo>
                    <a:lnTo>
                      <a:pt x="3228" y="5246"/>
                    </a:lnTo>
                    <a:lnTo>
                      <a:pt x="3228" y="5240"/>
                    </a:lnTo>
                    <a:lnTo>
                      <a:pt x="3228" y="5238"/>
                    </a:lnTo>
                    <a:lnTo>
                      <a:pt x="3226" y="5238"/>
                    </a:lnTo>
                    <a:lnTo>
                      <a:pt x="3224" y="5242"/>
                    </a:lnTo>
                    <a:lnTo>
                      <a:pt x="3224" y="5242"/>
                    </a:lnTo>
                    <a:close/>
                    <a:moveTo>
                      <a:pt x="3202" y="5252"/>
                    </a:moveTo>
                    <a:lnTo>
                      <a:pt x="3202" y="5252"/>
                    </a:lnTo>
                    <a:lnTo>
                      <a:pt x="3204" y="5250"/>
                    </a:lnTo>
                    <a:lnTo>
                      <a:pt x="3206" y="5248"/>
                    </a:lnTo>
                    <a:lnTo>
                      <a:pt x="3206" y="5246"/>
                    </a:lnTo>
                    <a:lnTo>
                      <a:pt x="3210" y="5244"/>
                    </a:lnTo>
                    <a:lnTo>
                      <a:pt x="3210" y="5244"/>
                    </a:lnTo>
                    <a:lnTo>
                      <a:pt x="3212" y="5240"/>
                    </a:lnTo>
                    <a:lnTo>
                      <a:pt x="3212" y="5240"/>
                    </a:lnTo>
                    <a:lnTo>
                      <a:pt x="3208" y="5240"/>
                    </a:lnTo>
                    <a:lnTo>
                      <a:pt x="3208" y="5240"/>
                    </a:lnTo>
                    <a:lnTo>
                      <a:pt x="3198" y="5240"/>
                    </a:lnTo>
                    <a:lnTo>
                      <a:pt x="3194" y="5242"/>
                    </a:lnTo>
                    <a:lnTo>
                      <a:pt x="3194" y="5246"/>
                    </a:lnTo>
                    <a:lnTo>
                      <a:pt x="3194" y="5246"/>
                    </a:lnTo>
                    <a:lnTo>
                      <a:pt x="3194" y="5248"/>
                    </a:lnTo>
                    <a:lnTo>
                      <a:pt x="3194" y="5248"/>
                    </a:lnTo>
                    <a:lnTo>
                      <a:pt x="3188" y="5254"/>
                    </a:lnTo>
                    <a:lnTo>
                      <a:pt x="3188" y="5254"/>
                    </a:lnTo>
                    <a:lnTo>
                      <a:pt x="3184" y="5256"/>
                    </a:lnTo>
                    <a:lnTo>
                      <a:pt x="3186" y="5256"/>
                    </a:lnTo>
                    <a:lnTo>
                      <a:pt x="3196" y="5258"/>
                    </a:lnTo>
                    <a:lnTo>
                      <a:pt x="3196" y="5258"/>
                    </a:lnTo>
                    <a:lnTo>
                      <a:pt x="3200" y="5256"/>
                    </a:lnTo>
                    <a:lnTo>
                      <a:pt x="3200" y="5256"/>
                    </a:lnTo>
                    <a:lnTo>
                      <a:pt x="3200" y="5254"/>
                    </a:lnTo>
                    <a:lnTo>
                      <a:pt x="3202" y="5252"/>
                    </a:lnTo>
                    <a:lnTo>
                      <a:pt x="3202" y="5252"/>
                    </a:lnTo>
                    <a:close/>
                    <a:moveTo>
                      <a:pt x="3244" y="4390"/>
                    </a:moveTo>
                    <a:lnTo>
                      <a:pt x="3244" y="4390"/>
                    </a:lnTo>
                    <a:lnTo>
                      <a:pt x="3242" y="4392"/>
                    </a:lnTo>
                    <a:lnTo>
                      <a:pt x="3242" y="4394"/>
                    </a:lnTo>
                    <a:lnTo>
                      <a:pt x="3246" y="4396"/>
                    </a:lnTo>
                    <a:lnTo>
                      <a:pt x="3250" y="4396"/>
                    </a:lnTo>
                    <a:lnTo>
                      <a:pt x="3250" y="4396"/>
                    </a:lnTo>
                    <a:lnTo>
                      <a:pt x="3252" y="4394"/>
                    </a:lnTo>
                    <a:lnTo>
                      <a:pt x="3250" y="4392"/>
                    </a:lnTo>
                    <a:lnTo>
                      <a:pt x="3246" y="4390"/>
                    </a:lnTo>
                    <a:lnTo>
                      <a:pt x="3244" y="4390"/>
                    </a:lnTo>
                    <a:lnTo>
                      <a:pt x="3244" y="4390"/>
                    </a:lnTo>
                    <a:close/>
                    <a:moveTo>
                      <a:pt x="3228" y="4278"/>
                    </a:moveTo>
                    <a:lnTo>
                      <a:pt x="3228" y="4278"/>
                    </a:lnTo>
                    <a:lnTo>
                      <a:pt x="3228" y="4280"/>
                    </a:lnTo>
                    <a:lnTo>
                      <a:pt x="3230" y="4284"/>
                    </a:lnTo>
                    <a:lnTo>
                      <a:pt x="3234" y="4290"/>
                    </a:lnTo>
                    <a:lnTo>
                      <a:pt x="3234" y="4294"/>
                    </a:lnTo>
                    <a:lnTo>
                      <a:pt x="3234" y="4294"/>
                    </a:lnTo>
                    <a:lnTo>
                      <a:pt x="3232" y="4298"/>
                    </a:lnTo>
                    <a:lnTo>
                      <a:pt x="3234" y="4300"/>
                    </a:lnTo>
                    <a:lnTo>
                      <a:pt x="3234" y="4302"/>
                    </a:lnTo>
                    <a:lnTo>
                      <a:pt x="3232" y="4304"/>
                    </a:lnTo>
                    <a:lnTo>
                      <a:pt x="3232" y="4304"/>
                    </a:lnTo>
                    <a:lnTo>
                      <a:pt x="3232" y="4306"/>
                    </a:lnTo>
                    <a:lnTo>
                      <a:pt x="3232" y="4306"/>
                    </a:lnTo>
                    <a:lnTo>
                      <a:pt x="3234" y="4308"/>
                    </a:lnTo>
                    <a:lnTo>
                      <a:pt x="3238" y="4308"/>
                    </a:lnTo>
                    <a:lnTo>
                      <a:pt x="3240" y="4306"/>
                    </a:lnTo>
                    <a:lnTo>
                      <a:pt x="3240" y="4306"/>
                    </a:lnTo>
                    <a:lnTo>
                      <a:pt x="3240" y="4304"/>
                    </a:lnTo>
                    <a:lnTo>
                      <a:pt x="3242" y="4304"/>
                    </a:lnTo>
                    <a:lnTo>
                      <a:pt x="3246" y="4308"/>
                    </a:lnTo>
                    <a:lnTo>
                      <a:pt x="3248" y="4314"/>
                    </a:lnTo>
                    <a:lnTo>
                      <a:pt x="3248" y="4318"/>
                    </a:lnTo>
                    <a:lnTo>
                      <a:pt x="3248" y="4322"/>
                    </a:lnTo>
                    <a:lnTo>
                      <a:pt x="3248" y="4322"/>
                    </a:lnTo>
                    <a:lnTo>
                      <a:pt x="3246" y="4328"/>
                    </a:lnTo>
                    <a:lnTo>
                      <a:pt x="3248" y="4332"/>
                    </a:lnTo>
                    <a:lnTo>
                      <a:pt x="3248" y="4334"/>
                    </a:lnTo>
                    <a:lnTo>
                      <a:pt x="3248" y="4338"/>
                    </a:lnTo>
                    <a:lnTo>
                      <a:pt x="3248" y="4338"/>
                    </a:lnTo>
                    <a:lnTo>
                      <a:pt x="3246" y="4342"/>
                    </a:lnTo>
                    <a:lnTo>
                      <a:pt x="3248" y="4344"/>
                    </a:lnTo>
                    <a:lnTo>
                      <a:pt x="3256" y="4348"/>
                    </a:lnTo>
                    <a:lnTo>
                      <a:pt x="3256" y="4348"/>
                    </a:lnTo>
                    <a:lnTo>
                      <a:pt x="3258" y="4350"/>
                    </a:lnTo>
                    <a:lnTo>
                      <a:pt x="3258" y="4350"/>
                    </a:lnTo>
                    <a:lnTo>
                      <a:pt x="3258" y="4344"/>
                    </a:lnTo>
                    <a:lnTo>
                      <a:pt x="3256" y="4338"/>
                    </a:lnTo>
                    <a:lnTo>
                      <a:pt x="3256" y="4336"/>
                    </a:lnTo>
                    <a:lnTo>
                      <a:pt x="3256" y="4334"/>
                    </a:lnTo>
                    <a:lnTo>
                      <a:pt x="3256" y="4334"/>
                    </a:lnTo>
                    <a:lnTo>
                      <a:pt x="3258" y="4336"/>
                    </a:lnTo>
                    <a:lnTo>
                      <a:pt x="3260" y="4342"/>
                    </a:lnTo>
                    <a:lnTo>
                      <a:pt x="3262" y="4348"/>
                    </a:lnTo>
                    <a:lnTo>
                      <a:pt x="3266" y="4354"/>
                    </a:lnTo>
                    <a:lnTo>
                      <a:pt x="3266" y="4354"/>
                    </a:lnTo>
                    <a:lnTo>
                      <a:pt x="3270" y="4356"/>
                    </a:lnTo>
                    <a:lnTo>
                      <a:pt x="3270" y="4354"/>
                    </a:lnTo>
                    <a:lnTo>
                      <a:pt x="3266" y="4344"/>
                    </a:lnTo>
                    <a:lnTo>
                      <a:pt x="3266" y="4344"/>
                    </a:lnTo>
                    <a:lnTo>
                      <a:pt x="3264" y="4342"/>
                    </a:lnTo>
                    <a:lnTo>
                      <a:pt x="3266" y="4342"/>
                    </a:lnTo>
                    <a:lnTo>
                      <a:pt x="3268" y="4340"/>
                    </a:lnTo>
                    <a:lnTo>
                      <a:pt x="3270" y="4338"/>
                    </a:lnTo>
                    <a:lnTo>
                      <a:pt x="3268" y="4332"/>
                    </a:lnTo>
                    <a:lnTo>
                      <a:pt x="3268" y="4332"/>
                    </a:lnTo>
                    <a:lnTo>
                      <a:pt x="3266" y="4330"/>
                    </a:lnTo>
                    <a:lnTo>
                      <a:pt x="3266" y="4326"/>
                    </a:lnTo>
                    <a:lnTo>
                      <a:pt x="3264" y="4322"/>
                    </a:lnTo>
                    <a:lnTo>
                      <a:pt x="3260" y="4318"/>
                    </a:lnTo>
                    <a:lnTo>
                      <a:pt x="3260" y="4318"/>
                    </a:lnTo>
                    <a:lnTo>
                      <a:pt x="3260" y="4316"/>
                    </a:lnTo>
                    <a:lnTo>
                      <a:pt x="3258" y="4312"/>
                    </a:lnTo>
                    <a:lnTo>
                      <a:pt x="3258" y="4304"/>
                    </a:lnTo>
                    <a:lnTo>
                      <a:pt x="3258" y="4296"/>
                    </a:lnTo>
                    <a:lnTo>
                      <a:pt x="3258" y="4294"/>
                    </a:lnTo>
                    <a:lnTo>
                      <a:pt x="3256" y="4292"/>
                    </a:lnTo>
                    <a:lnTo>
                      <a:pt x="3256" y="4292"/>
                    </a:lnTo>
                    <a:lnTo>
                      <a:pt x="3254" y="4290"/>
                    </a:lnTo>
                    <a:lnTo>
                      <a:pt x="3256" y="4288"/>
                    </a:lnTo>
                    <a:lnTo>
                      <a:pt x="3256" y="4284"/>
                    </a:lnTo>
                    <a:lnTo>
                      <a:pt x="3252" y="4284"/>
                    </a:lnTo>
                    <a:lnTo>
                      <a:pt x="3252" y="4284"/>
                    </a:lnTo>
                    <a:lnTo>
                      <a:pt x="3248" y="4284"/>
                    </a:lnTo>
                    <a:lnTo>
                      <a:pt x="3246" y="4286"/>
                    </a:lnTo>
                    <a:lnTo>
                      <a:pt x="3244" y="4288"/>
                    </a:lnTo>
                    <a:lnTo>
                      <a:pt x="3240" y="4286"/>
                    </a:lnTo>
                    <a:lnTo>
                      <a:pt x="3240" y="4286"/>
                    </a:lnTo>
                    <a:lnTo>
                      <a:pt x="3234" y="4280"/>
                    </a:lnTo>
                    <a:lnTo>
                      <a:pt x="3230" y="4278"/>
                    </a:lnTo>
                    <a:lnTo>
                      <a:pt x="3228" y="4278"/>
                    </a:lnTo>
                    <a:lnTo>
                      <a:pt x="3228" y="4278"/>
                    </a:lnTo>
                    <a:close/>
                    <a:moveTo>
                      <a:pt x="3292" y="3100"/>
                    </a:moveTo>
                    <a:lnTo>
                      <a:pt x="3292" y="3100"/>
                    </a:lnTo>
                    <a:lnTo>
                      <a:pt x="3294" y="3100"/>
                    </a:lnTo>
                    <a:lnTo>
                      <a:pt x="3294" y="3100"/>
                    </a:lnTo>
                    <a:lnTo>
                      <a:pt x="3296" y="3094"/>
                    </a:lnTo>
                    <a:lnTo>
                      <a:pt x="3296" y="3094"/>
                    </a:lnTo>
                    <a:lnTo>
                      <a:pt x="3296" y="3092"/>
                    </a:lnTo>
                    <a:lnTo>
                      <a:pt x="3294" y="3094"/>
                    </a:lnTo>
                    <a:lnTo>
                      <a:pt x="3292" y="3096"/>
                    </a:lnTo>
                    <a:lnTo>
                      <a:pt x="3292" y="3100"/>
                    </a:lnTo>
                    <a:lnTo>
                      <a:pt x="3292" y="3100"/>
                    </a:lnTo>
                    <a:close/>
                    <a:moveTo>
                      <a:pt x="3208" y="4238"/>
                    </a:moveTo>
                    <a:lnTo>
                      <a:pt x="3208" y="4238"/>
                    </a:lnTo>
                    <a:lnTo>
                      <a:pt x="3210" y="4234"/>
                    </a:lnTo>
                    <a:lnTo>
                      <a:pt x="3208" y="4228"/>
                    </a:lnTo>
                    <a:lnTo>
                      <a:pt x="3204" y="4224"/>
                    </a:lnTo>
                    <a:lnTo>
                      <a:pt x="3202" y="4222"/>
                    </a:lnTo>
                    <a:lnTo>
                      <a:pt x="3202" y="4222"/>
                    </a:lnTo>
                    <a:lnTo>
                      <a:pt x="3200" y="4222"/>
                    </a:lnTo>
                    <a:lnTo>
                      <a:pt x="3200" y="4224"/>
                    </a:lnTo>
                    <a:lnTo>
                      <a:pt x="3204" y="4230"/>
                    </a:lnTo>
                    <a:lnTo>
                      <a:pt x="3208" y="4238"/>
                    </a:lnTo>
                    <a:lnTo>
                      <a:pt x="3208" y="4238"/>
                    </a:lnTo>
                    <a:close/>
                    <a:moveTo>
                      <a:pt x="3164" y="4238"/>
                    </a:moveTo>
                    <a:lnTo>
                      <a:pt x="3164" y="4238"/>
                    </a:lnTo>
                    <a:lnTo>
                      <a:pt x="3164" y="4232"/>
                    </a:lnTo>
                    <a:lnTo>
                      <a:pt x="3162" y="4230"/>
                    </a:lnTo>
                    <a:lnTo>
                      <a:pt x="3158" y="4230"/>
                    </a:lnTo>
                    <a:lnTo>
                      <a:pt x="3154" y="4232"/>
                    </a:lnTo>
                    <a:lnTo>
                      <a:pt x="3154" y="4232"/>
                    </a:lnTo>
                    <a:lnTo>
                      <a:pt x="3152" y="4232"/>
                    </a:lnTo>
                    <a:lnTo>
                      <a:pt x="3154" y="4234"/>
                    </a:lnTo>
                    <a:lnTo>
                      <a:pt x="3156" y="4236"/>
                    </a:lnTo>
                    <a:lnTo>
                      <a:pt x="3156" y="4236"/>
                    </a:lnTo>
                    <a:lnTo>
                      <a:pt x="3160" y="4240"/>
                    </a:lnTo>
                    <a:lnTo>
                      <a:pt x="3162" y="4240"/>
                    </a:lnTo>
                    <a:lnTo>
                      <a:pt x="3164" y="4238"/>
                    </a:lnTo>
                    <a:lnTo>
                      <a:pt x="3164" y="4238"/>
                    </a:lnTo>
                    <a:close/>
                    <a:moveTo>
                      <a:pt x="3196" y="4228"/>
                    </a:moveTo>
                    <a:lnTo>
                      <a:pt x="3196" y="4228"/>
                    </a:lnTo>
                    <a:lnTo>
                      <a:pt x="3192" y="4228"/>
                    </a:lnTo>
                    <a:lnTo>
                      <a:pt x="3190" y="4228"/>
                    </a:lnTo>
                    <a:lnTo>
                      <a:pt x="3188" y="4228"/>
                    </a:lnTo>
                    <a:lnTo>
                      <a:pt x="3186" y="4232"/>
                    </a:lnTo>
                    <a:lnTo>
                      <a:pt x="3186" y="4232"/>
                    </a:lnTo>
                    <a:lnTo>
                      <a:pt x="3188" y="4238"/>
                    </a:lnTo>
                    <a:lnTo>
                      <a:pt x="3186" y="4242"/>
                    </a:lnTo>
                    <a:lnTo>
                      <a:pt x="3182" y="4256"/>
                    </a:lnTo>
                    <a:lnTo>
                      <a:pt x="3182" y="4256"/>
                    </a:lnTo>
                    <a:lnTo>
                      <a:pt x="3182" y="4258"/>
                    </a:lnTo>
                    <a:lnTo>
                      <a:pt x="3184" y="4258"/>
                    </a:lnTo>
                    <a:lnTo>
                      <a:pt x="3186" y="4254"/>
                    </a:lnTo>
                    <a:lnTo>
                      <a:pt x="3196" y="4244"/>
                    </a:lnTo>
                    <a:lnTo>
                      <a:pt x="3196" y="4244"/>
                    </a:lnTo>
                    <a:lnTo>
                      <a:pt x="3198" y="4244"/>
                    </a:lnTo>
                    <a:lnTo>
                      <a:pt x="3200" y="4244"/>
                    </a:lnTo>
                    <a:lnTo>
                      <a:pt x="3202" y="4250"/>
                    </a:lnTo>
                    <a:lnTo>
                      <a:pt x="3204" y="4256"/>
                    </a:lnTo>
                    <a:lnTo>
                      <a:pt x="3206" y="4258"/>
                    </a:lnTo>
                    <a:lnTo>
                      <a:pt x="3208" y="4260"/>
                    </a:lnTo>
                    <a:lnTo>
                      <a:pt x="3208" y="4260"/>
                    </a:lnTo>
                    <a:lnTo>
                      <a:pt x="3212" y="4262"/>
                    </a:lnTo>
                    <a:lnTo>
                      <a:pt x="3218" y="4266"/>
                    </a:lnTo>
                    <a:lnTo>
                      <a:pt x="3222" y="4268"/>
                    </a:lnTo>
                    <a:lnTo>
                      <a:pt x="3220" y="4264"/>
                    </a:lnTo>
                    <a:lnTo>
                      <a:pt x="3220" y="4264"/>
                    </a:lnTo>
                    <a:lnTo>
                      <a:pt x="3218" y="4258"/>
                    </a:lnTo>
                    <a:lnTo>
                      <a:pt x="3216" y="4252"/>
                    </a:lnTo>
                    <a:lnTo>
                      <a:pt x="3214" y="4246"/>
                    </a:lnTo>
                    <a:lnTo>
                      <a:pt x="3210" y="4242"/>
                    </a:lnTo>
                    <a:lnTo>
                      <a:pt x="3210" y="4242"/>
                    </a:lnTo>
                    <a:lnTo>
                      <a:pt x="3206" y="4240"/>
                    </a:lnTo>
                    <a:lnTo>
                      <a:pt x="3202" y="4234"/>
                    </a:lnTo>
                    <a:lnTo>
                      <a:pt x="3198" y="4230"/>
                    </a:lnTo>
                    <a:lnTo>
                      <a:pt x="3196" y="4228"/>
                    </a:lnTo>
                    <a:lnTo>
                      <a:pt x="3196" y="4228"/>
                    </a:lnTo>
                    <a:close/>
                    <a:moveTo>
                      <a:pt x="3152" y="5104"/>
                    </a:moveTo>
                    <a:lnTo>
                      <a:pt x="3152" y="5104"/>
                    </a:lnTo>
                    <a:lnTo>
                      <a:pt x="3160" y="5100"/>
                    </a:lnTo>
                    <a:lnTo>
                      <a:pt x="3162" y="5098"/>
                    </a:lnTo>
                    <a:lnTo>
                      <a:pt x="3162" y="5094"/>
                    </a:lnTo>
                    <a:lnTo>
                      <a:pt x="3162" y="5094"/>
                    </a:lnTo>
                    <a:lnTo>
                      <a:pt x="3160" y="5090"/>
                    </a:lnTo>
                    <a:lnTo>
                      <a:pt x="3162" y="5084"/>
                    </a:lnTo>
                    <a:lnTo>
                      <a:pt x="3164" y="5078"/>
                    </a:lnTo>
                    <a:lnTo>
                      <a:pt x="3166" y="5070"/>
                    </a:lnTo>
                    <a:lnTo>
                      <a:pt x="3166" y="5070"/>
                    </a:lnTo>
                    <a:lnTo>
                      <a:pt x="3164" y="5066"/>
                    </a:lnTo>
                    <a:lnTo>
                      <a:pt x="3164" y="5064"/>
                    </a:lnTo>
                    <a:lnTo>
                      <a:pt x="3160" y="5064"/>
                    </a:lnTo>
                    <a:lnTo>
                      <a:pt x="3158" y="5064"/>
                    </a:lnTo>
                    <a:lnTo>
                      <a:pt x="3152" y="5070"/>
                    </a:lnTo>
                    <a:lnTo>
                      <a:pt x="3150" y="5074"/>
                    </a:lnTo>
                    <a:lnTo>
                      <a:pt x="3150" y="5078"/>
                    </a:lnTo>
                    <a:lnTo>
                      <a:pt x="3150" y="5078"/>
                    </a:lnTo>
                    <a:lnTo>
                      <a:pt x="3150" y="5090"/>
                    </a:lnTo>
                    <a:lnTo>
                      <a:pt x="3148" y="5098"/>
                    </a:lnTo>
                    <a:lnTo>
                      <a:pt x="3148" y="5104"/>
                    </a:lnTo>
                    <a:lnTo>
                      <a:pt x="3148" y="5106"/>
                    </a:lnTo>
                    <a:lnTo>
                      <a:pt x="3152" y="5104"/>
                    </a:lnTo>
                    <a:lnTo>
                      <a:pt x="3152" y="5104"/>
                    </a:lnTo>
                    <a:close/>
                    <a:moveTo>
                      <a:pt x="3192" y="4332"/>
                    </a:moveTo>
                    <a:lnTo>
                      <a:pt x="3192" y="4332"/>
                    </a:lnTo>
                    <a:lnTo>
                      <a:pt x="3198" y="4322"/>
                    </a:lnTo>
                    <a:lnTo>
                      <a:pt x="3198" y="4314"/>
                    </a:lnTo>
                    <a:lnTo>
                      <a:pt x="3196" y="4308"/>
                    </a:lnTo>
                    <a:lnTo>
                      <a:pt x="3196" y="4306"/>
                    </a:lnTo>
                    <a:lnTo>
                      <a:pt x="3192" y="4306"/>
                    </a:lnTo>
                    <a:lnTo>
                      <a:pt x="3192" y="4306"/>
                    </a:lnTo>
                    <a:lnTo>
                      <a:pt x="3190" y="4304"/>
                    </a:lnTo>
                    <a:lnTo>
                      <a:pt x="3186" y="4304"/>
                    </a:lnTo>
                    <a:lnTo>
                      <a:pt x="3184" y="4304"/>
                    </a:lnTo>
                    <a:lnTo>
                      <a:pt x="3178" y="4306"/>
                    </a:lnTo>
                    <a:lnTo>
                      <a:pt x="3178" y="4306"/>
                    </a:lnTo>
                    <a:lnTo>
                      <a:pt x="3176" y="4310"/>
                    </a:lnTo>
                    <a:lnTo>
                      <a:pt x="3174" y="4312"/>
                    </a:lnTo>
                    <a:lnTo>
                      <a:pt x="3174" y="4316"/>
                    </a:lnTo>
                    <a:lnTo>
                      <a:pt x="3176" y="4320"/>
                    </a:lnTo>
                    <a:lnTo>
                      <a:pt x="3174" y="4322"/>
                    </a:lnTo>
                    <a:lnTo>
                      <a:pt x="3172" y="4324"/>
                    </a:lnTo>
                    <a:lnTo>
                      <a:pt x="3172" y="4324"/>
                    </a:lnTo>
                    <a:lnTo>
                      <a:pt x="3170" y="4326"/>
                    </a:lnTo>
                    <a:lnTo>
                      <a:pt x="3170" y="4330"/>
                    </a:lnTo>
                    <a:lnTo>
                      <a:pt x="3172" y="4336"/>
                    </a:lnTo>
                    <a:lnTo>
                      <a:pt x="3172" y="4344"/>
                    </a:lnTo>
                    <a:lnTo>
                      <a:pt x="3172" y="4348"/>
                    </a:lnTo>
                    <a:lnTo>
                      <a:pt x="3168" y="4352"/>
                    </a:lnTo>
                    <a:lnTo>
                      <a:pt x="3168" y="4352"/>
                    </a:lnTo>
                    <a:lnTo>
                      <a:pt x="3164" y="4354"/>
                    </a:lnTo>
                    <a:lnTo>
                      <a:pt x="3162" y="4354"/>
                    </a:lnTo>
                    <a:lnTo>
                      <a:pt x="3158" y="4352"/>
                    </a:lnTo>
                    <a:lnTo>
                      <a:pt x="3154" y="4352"/>
                    </a:lnTo>
                    <a:lnTo>
                      <a:pt x="3152" y="4358"/>
                    </a:lnTo>
                    <a:lnTo>
                      <a:pt x="3152" y="4358"/>
                    </a:lnTo>
                    <a:lnTo>
                      <a:pt x="3152" y="4364"/>
                    </a:lnTo>
                    <a:lnTo>
                      <a:pt x="3156" y="4372"/>
                    </a:lnTo>
                    <a:lnTo>
                      <a:pt x="3156" y="4372"/>
                    </a:lnTo>
                    <a:lnTo>
                      <a:pt x="3162" y="4380"/>
                    </a:lnTo>
                    <a:lnTo>
                      <a:pt x="3166" y="4382"/>
                    </a:lnTo>
                    <a:lnTo>
                      <a:pt x="3170" y="4384"/>
                    </a:lnTo>
                    <a:lnTo>
                      <a:pt x="3172" y="4392"/>
                    </a:lnTo>
                    <a:lnTo>
                      <a:pt x="3172" y="4392"/>
                    </a:lnTo>
                    <a:lnTo>
                      <a:pt x="3176" y="4398"/>
                    </a:lnTo>
                    <a:lnTo>
                      <a:pt x="3178" y="4400"/>
                    </a:lnTo>
                    <a:lnTo>
                      <a:pt x="3180" y="4400"/>
                    </a:lnTo>
                    <a:lnTo>
                      <a:pt x="3184" y="4396"/>
                    </a:lnTo>
                    <a:lnTo>
                      <a:pt x="3188" y="4392"/>
                    </a:lnTo>
                    <a:lnTo>
                      <a:pt x="3188" y="4392"/>
                    </a:lnTo>
                    <a:lnTo>
                      <a:pt x="3190" y="4388"/>
                    </a:lnTo>
                    <a:lnTo>
                      <a:pt x="3190" y="4384"/>
                    </a:lnTo>
                    <a:lnTo>
                      <a:pt x="3186" y="4376"/>
                    </a:lnTo>
                    <a:lnTo>
                      <a:pt x="3182" y="4364"/>
                    </a:lnTo>
                    <a:lnTo>
                      <a:pt x="3182" y="4360"/>
                    </a:lnTo>
                    <a:lnTo>
                      <a:pt x="3184" y="4356"/>
                    </a:lnTo>
                    <a:lnTo>
                      <a:pt x="3184" y="4356"/>
                    </a:lnTo>
                    <a:lnTo>
                      <a:pt x="3188" y="4348"/>
                    </a:lnTo>
                    <a:lnTo>
                      <a:pt x="3188" y="4344"/>
                    </a:lnTo>
                    <a:lnTo>
                      <a:pt x="3190" y="4338"/>
                    </a:lnTo>
                    <a:lnTo>
                      <a:pt x="3192" y="4332"/>
                    </a:lnTo>
                    <a:lnTo>
                      <a:pt x="3192" y="4332"/>
                    </a:lnTo>
                    <a:close/>
                    <a:moveTo>
                      <a:pt x="3202" y="4390"/>
                    </a:moveTo>
                    <a:lnTo>
                      <a:pt x="3202" y="4390"/>
                    </a:lnTo>
                    <a:lnTo>
                      <a:pt x="3200" y="4392"/>
                    </a:lnTo>
                    <a:lnTo>
                      <a:pt x="3196" y="4392"/>
                    </a:lnTo>
                    <a:lnTo>
                      <a:pt x="3196" y="4392"/>
                    </a:lnTo>
                    <a:lnTo>
                      <a:pt x="3196" y="4392"/>
                    </a:lnTo>
                    <a:lnTo>
                      <a:pt x="3198" y="4394"/>
                    </a:lnTo>
                    <a:lnTo>
                      <a:pt x="3202" y="4396"/>
                    </a:lnTo>
                    <a:lnTo>
                      <a:pt x="3204" y="4396"/>
                    </a:lnTo>
                    <a:lnTo>
                      <a:pt x="3204" y="4396"/>
                    </a:lnTo>
                    <a:lnTo>
                      <a:pt x="3206" y="4394"/>
                    </a:lnTo>
                    <a:lnTo>
                      <a:pt x="3204" y="4390"/>
                    </a:lnTo>
                    <a:lnTo>
                      <a:pt x="3202" y="4388"/>
                    </a:lnTo>
                    <a:lnTo>
                      <a:pt x="3202" y="4390"/>
                    </a:lnTo>
                    <a:lnTo>
                      <a:pt x="3202" y="4390"/>
                    </a:lnTo>
                    <a:close/>
                    <a:moveTo>
                      <a:pt x="3218" y="4324"/>
                    </a:moveTo>
                    <a:lnTo>
                      <a:pt x="3218" y="4324"/>
                    </a:lnTo>
                    <a:lnTo>
                      <a:pt x="3218" y="4318"/>
                    </a:lnTo>
                    <a:lnTo>
                      <a:pt x="3220" y="4314"/>
                    </a:lnTo>
                    <a:lnTo>
                      <a:pt x="3222" y="4310"/>
                    </a:lnTo>
                    <a:lnTo>
                      <a:pt x="3222" y="4308"/>
                    </a:lnTo>
                    <a:lnTo>
                      <a:pt x="3222" y="4308"/>
                    </a:lnTo>
                    <a:lnTo>
                      <a:pt x="3220" y="4300"/>
                    </a:lnTo>
                    <a:lnTo>
                      <a:pt x="3220" y="4292"/>
                    </a:lnTo>
                    <a:lnTo>
                      <a:pt x="3218" y="4290"/>
                    </a:lnTo>
                    <a:lnTo>
                      <a:pt x="3218" y="4290"/>
                    </a:lnTo>
                    <a:lnTo>
                      <a:pt x="3216" y="4298"/>
                    </a:lnTo>
                    <a:lnTo>
                      <a:pt x="3216" y="4298"/>
                    </a:lnTo>
                    <a:lnTo>
                      <a:pt x="3210" y="4312"/>
                    </a:lnTo>
                    <a:lnTo>
                      <a:pt x="3208" y="4316"/>
                    </a:lnTo>
                    <a:lnTo>
                      <a:pt x="3206" y="4324"/>
                    </a:lnTo>
                    <a:lnTo>
                      <a:pt x="3206" y="4324"/>
                    </a:lnTo>
                    <a:lnTo>
                      <a:pt x="3204" y="4334"/>
                    </a:lnTo>
                    <a:lnTo>
                      <a:pt x="3198" y="4342"/>
                    </a:lnTo>
                    <a:lnTo>
                      <a:pt x="3194" y="4348"/>
                    </a:lnTo>
                    <a:lnTo>
                      <a:pt x="3192" y="4354"/>
                    </a:lnTo>
                    <a:lnTo>
                      <a:pt x="3192" y="4354"/>
                    </a:lnTo>
                    <a:lnTo>
                      <a:pt x="3192" y="4362"/>
                    </a:lnTo>
                    <a:lnTo>
                      <a:pt x="3190" y="4374"/>
                    </a:lnTo>
                    <a:lnTo>
                      <a:pt x="3190" y="4374"/>
                    </a:lnTo>
                    <a:lnTo>
                      <a:pt x="3190" y="4380"/>
                    </a:lnTo>
                    <a:lnTo>
                      <a:pt x="3192" y="4380"/>
                    </a:lnTo>
                    <a:lnTo>
                      <a:pt x="3192" y="4380"/>
                    </a:lnTo>
                    <a:lnTo>
                      <a:pt x="3194" y="4376"/>
                    </a:lnTo>
                    <a:lnTo>
                      <a:pt x="3198" y="4368"/>
                    </a:lnTo>
                    <a:lnTo>
                      <a:pt x="3198" y="4368"/>
                    </a:lnTo>
                    <a:lnTo>
                      <a:pt x="3200" y="4362"/>
                    </a:lnTo>
                    <a:lnTo>
                      <a:pt x="3202" y="4360"/>
                    </a:lnTo>
                    <a:lnTo>
                      <a:pt x="3204" y="4358"/>
                    </a:lnTo>
                    <a:lnTo>
                      <a:pt x="3204" y="4352"/>
                    </a:lnTo>
                    <a:lnTo>
                      <a:pt x="3204" y="4352"/>
                    </a:lnTo>
                    <a:lnTo>
                      <a:pt x="3204" y="4348"/>
                    </a:lnTo>
                    <a:lnTo>
                      <a:pt x="3206" y="4344"/>
                    </a:lnTo>
                    <a:lnTo>
                      <a:pt x="3212" y="4340"/>
                    </a:lnTo>
                    <a:lnTo>
                      <a:pt x="3218" y="4332"/>
                    </a:lnTo>
                    <a:lnTo>
                      <a:pt x="3220" y="4328"/>
                    </a:lnTo>
                    <a:lnTo>
                      <a:pt x="3218" y="4324"/>
                    </a:lnTo>
                    <a:lnTo>
                      <a:pt x="3218" y="4324"/>
                    </a:lnTo>
                    <a:close/>
                    <a:moveTo>
                      <a:pt x="3226" y="4342"/>
                    </a:moveTo>
                    <a:lnTo>
                      <a:pt x="3226" y="4342"/>
                    </a:lnTo>
                    <a:lnTo>
                      <a:pt x="3222" y="4350"/>
                    </a:lnTo>
                    <a:lnTo>
                      <a:pt x="3216" y="4354"/>
                    </a:lnTo>
                    <a:lnTo>
                      <a:pt x="3216" y="4354"/>
                    </a:lnTo>
                    <a:lnTo>
                      <a:pt x="3214" y="4356"/>
                    </a:lnTo>
                    <a:lnTo>
                      <a:pt x="3210" y="4360"/>
                    </a:lnTo>
                    <a:lnTo>
                      <a:pt x="3210" y="4364"/>
                    </a:lnTo>
                    <a:lnTo>
                      <a:pt x="3212" y="4368"/>
                    </a:lnTo>
                    <a:lnTo>
                      <a:pt x="3212" y="4368"/>
                    </a:lnTo>
                    <a:lnTo>
                      <a:pt x="3214" y="4370"/>
                    </a:lnTo>
                    <a:lnTo>
                      <a:pt x="3216" y="4372"/>
                    </a:lnTo>
                    <a:lnTo>
                      <a:pt x="3224" y="4372"/>
                    </a:lnTo>
                    <a:lnTo>
                      <a:pt x="3230" y="4370"/>
                    </a:lnTo>
                    <a:lnTo>
                      <a:pt x="3234" y="4368"/>
                    </a:lnTo>
                    <a:lnTo>
                      <a:pt x="3234" y="4368"/>
                    </a:lnTo>
                    <a:lnTo>
                      <a:pt x="3236" y="4366"/>
                    </a:lnTo>
                    <a:lnTo>
                      <a:pt x="3240" y="4366"/>
                    </a:lnTo>
                    <a:lnTo>
                      <a:pt x="3240" y="4364"/>
                    </a:lnTo>
                    <a:lnTo>
                      <a:pt x="3240" y="4362"/>
                    </a:lnTo>
                    <a:lnTo>
                      <a:pt x="3240" y="4362"/>
                    </a:lnTo>
                    <a:lnTo>
                      <a:pt x="3240" y="4356"/>
                    </a:lnTo>
                    <a:lnTo>
                      <a:pt x="3242" y="4352"/>
                    </a:lnTo>
                    <a:lnTo>
                      <a:pt x="3242" y="4346"/>
                    </a:lnTo>
                    <a:lnTo>
                      <a:pt x="3242" y="4344"/>
                    </a:lnTo>
                    <a:lnTo>
                      <a:pt x="3242" y="4344"/>
                    </a:lnTo>
                    <a:lnTo>
                      <a:pt x="3240" y="4344"/>
                    </a:lnTo>
                    <a:lnTo>
                      <a:pt x="3238" y="4346"/>
                    </a:lnTo>
                    <a:lnTo>
                      <a:pt x="3238" y="4348"/>
                    </a:lnTo>
                    <a:lnTo>
                      <a:pt x="3234" y="4348"/>
                    </a:lnTo>
                    <a:lnTo>
                      <a:pt x="3234" y="4348"/>
                    </a:lnTo>
                    <a:lnTo>
                      <a:pt x="3232" y="4346"/>
                    </a:lnTo>
                    <a:lnTo>
                      <a:pt x="3228" y="4342"/>
                    </a:lnTo>
                    <a:lnTo>
                      <a:pt x="3228" y="4340"/>
                    </a:lnTo>
                    <a:lnTo>
                      <a:pt x="3226" y="4342"/>
                    </a:lnTo>
                    <a:lnTo>
                      <a:pt x="3226" y="4342"/>
                    </a:lnTo>
                    <a:close/>
                    <a:moveTo>
                      <a:pt x="3240" y="4278"/>
                    </a:moveTo>
                    <a:lnTo>
                      <a:pt x="3240" y="4278"/>
                    </a:lnTo>
                    <a:lnTo>
                      <a:pt x="3242" y="4278"/>
                    </a:lnTo>
                    <a:lnTo>
                      <a:pt x="3242" y="4274"/>
                    </a:lnTo>
                    <a:lnTo>
                      <a:pt x="3240" y="4270"/>
                    </a:lnTo>
                    <a:lnTo>
                      <a:pt x="3236" y="4270"/>
                    </a:lnTo>
                    <a:lnTo>
                      <a:pt x="3236" y="4270"/>
                    </a:lnTo>
                    <a:lnTo>
                      <a:pt x="3234" y="4270"/>
                    </a:lnTo>
                    <a:lnTo>
                      <a:pt x="3234" y="4274"/>
                    </a:lnTo>
                    <a:lnTo>
                      <a:pt x="3236" y="4278"/>
                    </a:lnTo>
                    <a:lnTo>
                      <a:pt x="3240" y="4278"/>
                    </a:lnTo>
                    <a:lnTo>
                      <a:pt x="3240" y="4278"/>
                    </a:lnTo>
                    <a:close/>
                    <a:moveTo>
                      <a:pt x="3164" y="5116"/>
                    </a:moveTo>
                    <a:lnTo>
                      <a:pt x="3164" y="5116"/>
                    </a:lnTo>
                    <a:lnTo>
                      <a:pt x="3166" y="5118"/>
                    </a:lnTo>
                    <a:lnTo>
                      <a:pt x="3168" y="5116"/>
                    </a:lnTo>
                    <a:lnTo>
                      <a:pt x="3172" y="5110"/>
                    </a:lnTo>
                    <a:lnTo>
                      <a:pt x="3172" y="5110"/>
                    </a:lnTo>
                    <a:lnTo>
                      <a:pt x="3174" y="5106"/>
                    </a:lnTo>
                    <a:lnTo>
                      <a:pt x="3176" y="5104"/>
                    </a:lnTo>
                    <a:lnTo>
                      <a:pt x="3182" y="5102"/>
                    </a:lnTo>
                    <a:lnTo>
                      <a:pt x="3184" y="5102"/>
                    </a:lnTo>
                    <a:lnTo>
                      <a:pt x="3186" y="5100"/>
                    </a:lnTo>
                    <a:lnTo>
                      <a:pt x="3180" y="5092"/>
                    </a:lnTo>
                    <a:lnTo>
                      <a:pt x="3180" y="5092"/>
                    </a:lnTo>
                    <a:lnTo>
                      <a:pt x="3176" y="5086"/>
                    </a:lnTo>
                    <a:lnTo>
                      <a:pt x="3176" y="5082"/>
                    </a:lnTo>
                    <a:lnTo>
                      <a:pt x="3176" y="5078"/>
                    </a:lnTo>
                    <a:lnTo>
                      <a:pt x="3178" y="5076"/>
                    </a:lnTo>
                    <a:lnTo>
                      <a:pt x="3184" y="5070"/>
                    </a:lnTo>
                    <a:lnTo>
                      <a:pt x="3184" y="5064"/>
                    </a:lnTo>
                    <a:lnTo>
                      <a:pt x="3182" y="5058"/>
                    </a:lnTo>
                    <a:lnTo>
                      <a:pt x="3182" y="5058"/>
                    </a:lnTo>
                    <a:lnTo>
                      <a:pt x="3180" y="5054"/>
                    </a:lnTo>
                    <a:lnTo>
                      <a:pt x="3178" y="5052"/>
                    </a:lnTo>
                    <a:lnTo>
                      <a:pt x="3174" y="5054"/>
                    </a:lnTo>
                    <a:lnTo>
                      <a:pt x="3172" y="5058"/>
                    </a:lnTo>
                    <a:lnTo>
                      <a:pt x="3170" y="5070"/>
                    </a:lnTo>
                    <a:lnTo>
                      <a:pt x="3168" y="5086"/>
                    </a:lnTo>
                    <a:lnTo>
                      <a:pt x="3168" y="5086"/>
                    </a:lnTo>
                    <a:lnTo>
                      <a:pt x="3166" y="5094"/>
                    </a:lnTo>
                    <a:lnTo>
                      <a:pt x="3164" y="5100"/>
                    </a:lnTo>
                    <a:lnTo>
                      <a:pt x="3160" y="5108"/>
                    </a:lnTo>
                    <a:lnTo>
                      <a:pt x="3158" y="5110"/>
                    </a:lnTo>
                    <a:lnTo>
                      <a:pt x="3158" y="5112"/>
                    </a:lnTo>
                    <a:lnTo>
                      <a:pt x="3164" y="5116"/>
                    </a:lnTo>
                    <a:lnTo>
                      <a:pt x="3164" y="5116"/>
                    </a:lnTo>
                    <a:close/>
                    <a:moveTo>
                      <a:pt x="3346" y="4866"/>
                    </a:moveTo>
                    <a:lnTo>
                      <a:pt x="3346" y="4866"/>
                    </a:lnTo>
                    <a:lnTo>
                      <a:pt x="3348" y="4862"/>
                    </a:lnTo>
                    <a:lnTo>
                      <a:pt x="3348" y="4858"/>
                    </a:lnTo>
                    <a:lnTo>
                      <a:pt x="3348" y="4852"/>
                    </a:lnTo>
                    <a:lnTo>
                      <a:pt x="3346" y="4852"/>
                    </a:lnTo>
                    <a:lnTo>
                      <a:pt x="3344" y="4852"/>
                    </a:lnTo>
                    <a:lnTo>
                      <a:pt x="3344" y="4852"/>
                    </a:lnTo>
                    <a:lnTo>
                      <a:pt x="3342" y="4856"/>
                    </a:lnTo>
                    <a:lnTo>
                      <a:pt x="3342" y="4860"/>
                    </a:lnTo>
                    <a:lnTo>
                      <a:pt x="3342" y="4864"/>
                    </a:lnTo>
                    <a:lnTo>
                      <a:pt x="3344" y="4866"/>
                    </a:lnTo>
                    <a:lnTo>
                      <a:pt x="3346" y="4866"/>
                    </a:lnTo>
                    <a:lnTo>
                      <a:pt x="3346" y="4866"/>
                    </a:lnTo>
                    <a:close/>
                    <a:moveTo>
                      <a:pt x="3342" y="4998"/>
                    </a:moveTo>
                    <a:lnTo>
                      <a:pt x="3342" y="4998"/>
                    </a:lnTo>
                    <a:lnTo>
                      <a:pt x="3336" y="4992"/>
                    </a:lnTo>
                    <a:lnTo>
                      <a:pt x="3330" y="4990"/>
                    </a:lnTo>
                    <a:lnTo>
                      <a:pt x="3324" y="4986"/>
                    </a:lnTo>
                    <a:lnTo>
                      <a:pt x="3316" y="4986"/>
                    </a:lnTo>
                    <a:lnTo>
                      <a:pt x="3310" y="4986"/>
                    </a:lnTo>
                    <a:lnTo>
                      <a:pt x="3304" y="4988"/>
                    </a:lnTo>
                    <a:lnTo>
                      <a:pt x="3300" y="4992"/>
                    </a:lnTo>
                    <a:lnTo>
                      <a:pt x="3298" y="4996"/>
                    </a:lnTo>
                    <a:lnTo>
                      <a:pt x="3298" y="4996"/>
                    </a:lnTo>
                    <a:lnTo>
                      <a:pt x="3298" y="5002"/>
                    </a:lnTo>
                    <a:lnTo>
                      <a:pt x="3304" y="5010"/>
                    </a:lnTo>
                    <a:lnTo>
                      <a:pt x="3312" y="5016"/>
                    </a:lnTo>
                    <a:lnTo>
                      <a:pt x="3320" y="5024"/>
                    </a:lnTo>
                    <a:lnTo>
                      <a:pt x="3320" y="5024"/>
                    </a:lnTo>
                    <a:lnTo>
                      <a:pt x="3326" y="5026"/>
                    </a:lnTo>
                    <a:lnTo>
                      <a:pt x="3332" y="5026"/>
                    </a:lnTo>
                    <a:lnTo>
                      <a:pt x="3336" y="5024"/>
                    </a:lnTo>
                    <a:lnTo>
                      <a:pt x="3342" y="5020"/>
                    </a:lnTo>
                    <a:lnTo>
                      <a:pt x="3344" y="5016"/>
                    </a:lnTo>
                    <a:lnTo>
                      <a:pt x="3346" y="5010"/>
                    </a:lnTo>
                    <a:lnTo>
                      <a:pt x="3344" y="5004"/>
                    </a:lnTo>
                    <a:lnTo>
                      <a:pt x="3342" y="4998"/>
                    </a:lnTo>
                    <a:lnTo>
                      <a:pt x="3342" y="4998"/>
                    </a:lnTo>
                    <a:close/>
                    <a:moveTo>
                      <a:pt x="3330" y="5214"/>
                    </a:moveTo>
                    <a:lnTo>
                      <a:pt x="3330" y="5214"/>
                    </a:lnTo>
                    <a:lnTo>
                      <a:pt x="3328" y="5212"/>
                    </a:lnTo>
                    <a:lnTo>
                      <a:pt x="3326" y="5210"/>
                    </a:lnTo>
                    <a:lnTo>
                      <a:pt x="3314" y="5210"/>
                    </a:lnTo>
                    <a:lnTo>
                      <a:pt x="3302" y="5214"/>
                    </a:lnTo>
                    <a:lnTo>
                      <a:pt x="3296" y="5216"/>
                    </a:lnTo>
                    <a:lnTo>
                      <a:pt x="3290" y="5220"/>
                    </a:lnTo>
                    <a:lnTo>
                      <a:pt x="3290" y="5220"/>
                    </a:lnTo>
                    <a:lnTo>
                      <a:pt x="3290" y="5224"/>
                    </a:lnTo>
                    <a:lnTo>
                      <a:pt x="3292" y="5224"/>
                    </a:lnTo>
                    <a:lnTo>
                      <a:pt x="3306" y="5224"/>
                    </a:lnTo>
                    <a:lnTo>
                      <a:pt x="3322" y="5220"/>
                    </a:lnTo>
                    <a:lnTo>
                      <a:pt x="3328" y="5216"/>
                    </a:lnTo>
                    <a:lnTo>
                      <a:pt x="3330" y="5214"/>
                    </a:lnTo>
                    <a:lnTo>
                      <a:pt x="3330" y="5214"/>
                    </a:lnTo>
                    <a:close/>
                    <a:moveTo>
                      <a:pt x="3294" y="4936"/>
                    </a:moveTo>
                    <a:lnTo>
                      <a:pt x="3294" y="4936"/>
                    </a:lnTo>
                    <a:lnTo>
                      <a:pt x="3292" y="4938"/>
                    </a:lnTo>
                    <a:lnTo>
                      <a:pt x="3292" y="4942"/>
                    </a:lnTo>
                    <a:lnTo>
                      <a:pt x="3296" y="4956"/>
                    </a:lnTo>
                    <a:lnTo>
                      <a:pt x="3296" y="4956"/>
                    </a:lnTo>
                    <a:lnTo>
                      <a:pt x="3298" y="4960"/>
                    </a:lnTo>
                    <a:lnTo>
                      <a:pt x="3300" y="4960"/>
                    </a:lnTo>
                    <a:lnTo>
                      <a:pt x="3300" y="4956"/>
                    </a:lnTo>
                    <a:lnTo>
                      <a:pt x="3298" y="4950"/>
                    </a:lnTo>
                    <a:lnTo>
                      <a:pt x="3298" y="4950"/>
                    </a:lnTo>
                    <a:lnTo>
                      <a:pt x="3298" y="4944"/>
                    </a:lnTo>
                    <a:lnTo>
                      <a:pt x="3296" y="4938"/>
                    </a:lnTo>
                    <a:lnTo>
                      <a:pt x="3296" y="4936"/>
                    </a:lnTo>
                    <a:lnTo>
                      <a:pt x="3294" y="4936"/>
                    </a:lnTo>
                    <a:lnTo>
                      <a:pt x="3294" y="4936"/>
                    </a:lnTo>
                    <a:close/>
                    <a:moveTo>
                      <a:pt x="3344" y="5246"/>
                    </a:moveTo>
                    <a:lnTo>
                      <a:pt x="3344" y="5246"/>
                    </a:lnTo>
                    <a:lnTo>
                      <a:pt x="3340" y="5244"/>
                    </a:lnTo>
                    <a:lnTo>
                      <a:pt x="3336" y="5244"/>
                    </a:lnTo>
                    <a:lnTo>
                      <a:pt x="3330" y="5248"/>
                    </a:lnTo>
                    <a:lnTo>
                      <a:pt x="3322" y="5250"/>
                    </a:lnTo>
                    <a:lnTo>
                      <a:pt x="3316" y="5250"/>
                    </a:lnTo>
                    <a:lnTo>
                      <a:pt x="3316" y="5250"/>
                    </a:lnTo>
                    <a:lnTo>
                      <a:pt x="3312" y="5250"/>
                    </a:lnTo>
                    <a:lnTo>
                      <a:pt x="3306" y="5252"/>
                    </a:lnTo>
                    <a:lnTo>
                      <a:pt x="3300" y="5254"/>
                    </a:lnTo>
                    <a:lnTo>
                      <a:pt x="3296" y="5254"/>
                    </a:lnTo>
                    <a:lnTo>
                      <a:pt x="3296" y="5254"/>
                    </a:lnTo>
                    <a:lnTo>
                      <a:pt x="3292" y="5254"/>
                    </a:lnTo>
                    <a:lnTo>
                      <a:pt x="3286" y="5254"/>
                    </a:lnTo>
                    <a:lnTo>
                      <a:pt x="3268" y="5258"/>
                    </a:lnTo>
                    <a:lnTo>
                      <a:pt x="3268" y="5258"/>
                    </a:lnTo>
                    <a:lnTo>
                      <a:pt x="3260" y="5262"/>
                    </a:lnTo>
                    <a:lnTo>
                      <a:pt x="3258" y="5266"/>
                    </a:lnTo>
                    <a:lnTo>
                      <a:pt x="3256" y="5272"/>
                    </a:lnTo>
                    <a:lnTo>
                      <a:pt x="3248" y="5278"/>
                    </a:lnTo>
                    <a:lnTo>
                      <a:pt x="3248" y="5278"/>
                    </a:lnTo>
                    <a:lnTo>
                      <a:pt x="3240" y="5284"/>
                    </a:lnTo>
                    <a:lnTo>
                      <a:pt x="3234" y="5286"/>
                    </a:lnTo>
                    <a:lnTo>
                      <a:pt x="3226" y="5290"/>
                    </a:lnTo>
                    <a:lnTo>
                      <a:pt x="3216" y="5296"/>
                    </a:lnTo>
                    <a:lnTo>
                      <a:pt x="3216" y="5296"/>
                    </a:lnTo>
                    <a:lnTo>
                      <a:pt x="3206" y="5304"/>
                    </a:lnTo>
                    <a:lnTo>
                      <a:pt x="3202" y="5310"/>
                    </a:lnTo>
                    <a:lnTo>
                      <a:pt x="3200" y="5322"/>
                    </a:lnTo>
                    <a:lnTo>
                      <a:pt x="3200" y="5322"/>
                    </a:lnTo>
                    <a:lnTo>
                      <a:pt x="3198" y="5326"/>
                    </a:lnTo>
                    <a:lnTo>
                      <a:pt x="3200" y="5328"/>
                    </a:lnTo>
                    <a:lnTo>
                      <a:pt x="3202" y="5330"/>
                    </a:lnTo>
                    <a:lnTo>
                      <a:pt x="3204" y="5330"/>
                    </a:lnTo>
                    <a:lnTo>
                      <a:pt x="3202" y="5332"/>
                    </a:lnTo>
                    <a:lnTo>
                      <a:pt x="3202" y="5332"/>
                    </a:lnTo>
                    <a:lnTo>
                      <a:pt x="3198" y="5336"/>
                    </a:lnTo>
                    <a:lnTo>
                      <a:pt x="3194" y="5340"/>
                    </a:lnTo>
                    <a:lnTo>
                      <a:pt x="3194" y="5342"/>
                    </a:lnTo>
                    <a:lnTo>
                      <a:pt x="3194" y="5344"/>
                    </a:lnTo>
                    <a:lnTo>
                      <a:pt x="3202" y="5346"/>
                    </a:lnTo>
                    <a:lnTo>
                      <a:pt x="3202" y="5346"/>
                    </a:lnTo>
                    <a:lnTo>
                      <a:pt x="3206" y="5346"/>
                    </a:lnTo>
                    <a:lnTo>
                      <a:pt x="3210" y="5344"/>
                    </a:lnTo>
                    <a:lnTo>
                      <a:pt x="3216" y="5340"/>
                    </a:lnTo>
                    <a:lnTo>
                      <a:pt x="3220" y="5336"/>
                    </a:lnTo>
                    <a:lnTo>
                      <a:pt x="3222" y="5336"/>
                    </a:lnTo>
                    <a:lnTo>
                      <a:pt x="3226" y="5336"/>
                    </a:lnTo>
                    <a:lnTo>
                      <a:pt x="3226" y="5336"/>
                    </a:lnTo>
                    <a:lnTo>
                      <a:pt x="3230" y="5336"/>
                    </a:lnTo>
                    <a:lnTo>
                      <a:pt x="3234" y="5334"/>
                    </a:lnTo>
                    <a:lnTo>
                      <a:pt x="3244" y="5320"/>
                    </a:lnTo>
                    <a:lnTo>
                      <a:pt x="3244" y="5320"/>
                    </a:lnTo>
                    <a:lnTo>
                      <a:pt x="3252" y="5312"/>
                    </a:lnTo>
                    <a:lnTo>
                      <a:pt x="3256" y="5306"/>
                    </a:lnTo>
                    <a:lnTo>
                      <a:pt x="3260" y="5300"/>
                    </a:lnTo>
                    <a:lnTo>
                      <a:pt x="3268" y="5294"/>
                    </a:lnTo>
                    <a:lnTo>
                      <a:pt x="3268" y="5294"/>
                    </a:lnTo>
                    <a:lnTo>
                      <a:pt x="3280" y="5288"/>
                    </a:lnTo>
                    <a:lnTo>
                      <a:pt x="3288" y="5286"/>
                    </a:lnTo>
                    <a:lnTo>
                      <a:pt x="3294" y="5284"/>
                    </a:lnTo>
                    <a:lnTo>
                      <a:pt x="3300" y="5280"/>
                    </a:lnTo>
                    <a:lnTo>
                      <a:pt x="3300" y="5280"/>
                    </a:lnTo>
                    <a:lnTo>
                      <a:pt x="3304" y="5278"/>
                    </a:lnTo>
                    <a:lnTo>
                      <a:pt x="3308" y="5278"/>
                    </a:lnTo>
                    <a:lnTo>
                      <a:pt x="3314" y="5276"/>
                    </a:lnTo>
                    <a:lnTo>
                      <a:pt x="3318" y="5272"/>
                    </a:lnTo>
                    <a:lnTo>
                      <a:pt x="3318" y="5272"/>
                    </a:lnTo>
                    <a:lnTo>
                      <a:pt x="3324" y="5266"/>
                    </a:lnTo>
                    <a:lnTo>
                      <a:pt x="3328" y="5266"/>
                    </a:lnTo>
                    <a:lnTo>
                      <a:pt x="3334" y="5264"/>
                    </a:lnTo>
                    <a:lnTo>
                      <a:pt x="3340" y="5260"/>
                    </a:lnTo>
                    <a:lnTo>
                      <a:pt x="3340" y="5260"/>
                    </a:lnTo>
                    <a:lnTo>
                      <a:pt x="3348" y="5252"/>
                    </a:lnTo>
                    <a:lnTo>
                      <a:pt x="3348" y="5248"/>
                    </a:lnTo>
                    <a:lnTo>
                      <a:pt x="3344" y="5246"/>
                    </a:lnTo>
                    <a:lnTo>
                      <a:pt x="3344" y="5246"/>
                    </a:lnTo>
                    <a:close/>
                    <a:moveTo>
                      <a:pt x="3328" y="4618"/>
                    </a:moveTo>
                    <a:lnTo>
                      <a:pt x="3328" y="4618"/>
                    </a:lnTo>
                    <a:lnTo>
                      <a:pt x="3326" y="4622"/>
                    </a:lnTo>
                    <a:lnTo>
                      <a:pt x="3326" y="4628"/>
                    </a:lnTo>
                    <a:lnTo>
                      <a:pt x="3326" y="4628"/>
                    </a:lnTo>
                    <a:lnTo>
                      <a:pt x="3326" y="4630"/>
                    </a:lnTo>
                    <a:lnTo>
                      <a:pt x="3328" y="4632"/>
                    </a:lnTo>
                    <a:lnTo>
                      <a:pt x="3328" y="4634"/>
                    </a:lnTo>
                    <a:lnTo>
                      <a:pt x="3326" y="4638"/>
                    </a:lnTo>
                    <a:lnTo>
                      <a:pt x="3326" y="4638"/>
                    </a:lnTo>
                    <a:lnTo>
                      <a:pt x="3324" y="4642"/>
                    </a:lnTo>
                    <a:lnTo>
                      <a:pt x="3326" y="4644"/>
                    </a:lnTo>
                    <a:lnTo>
                      <a:pt x="3330" y="4642"/>
                    </a:lnTo>
                    <a:lnTo>
                      <a:pt x="3330" y="4640"/>
                    </a:lnTo>
                    <a:lnTo>
                      <a:pt x="3330" y="4640"/>
                    </a:lnTo>
                    <a:lnTo>
                      <a:pt x="3332" y="4636"/>
                    </a:lnTo>
                    <a:lnTo>
                      <a:pt x="3332" y="4632"/>
                    </a:lnTo>
                    <a:lnTo>
                      <a:pt x="3334" y="4630"/>
                    </a:lnTo>
                    <a:lnTo>
                      <a:pt x="3334" y="4628"/>
                    </a:lnTo>
                    <a:lnTo>
                      <a:pt x="3334" y="4628"/>
                    </a:lnTo>
                    <a:lnTo>
                      <a:pt x="3332" y="4624"/>
                    </a:lnTo>
                    <a:lnTo>
                      <a:pt x="3332" y="4620"/>
                    </a:lnTo>
                    <a:lnTo>
                      <a:pt x="3332" y="4618"/>
                    </a:lnTo>
                    <a:lnTo>
                      <a:pt x="3328" y="4618"/>
                    </a:lnTo>
                    <a:lnTo>
                      <a:pt x="3328" y="4618"/>
                    </a:lnTo>
                    <a:close/>
                    <a:moveTo>
                      <a:pt x="3302" y="3114"/>
                    </a:moveTo>
                    <a:lnTo>
                      <a:pt x="3302" y="3114"/>
                    </a:lnTo>
                    <a:lnTo>
                      <a:pt x="3304" y="3116"/>
                    </a:lnTo>
                    <a:lnTo>
                      <a:pt x="3308" y="3114"/>
                    </a:lnTo>
                    <a:lnTo>
                      <a:pt x="3310" y="3112"/>
                    </a:lnTo>
                    <a:lnTo>
                      <a:pt x="3310" y="3108"/>
                    </a:lnTo>
                    <a:lnTo>
                      <a:pt x="3310" y="3108"/>
                    </a:lnTo>
                    <a:lnTo>
                      <a:pt x="3306" y="3108"/>
                    </a:lnTo>
                    <a:lnTo>
                      <a:pt x="3302" y="3110"/>
                    </a:lnTo>
                    <a:lnTo>
                      <a:pt x="3300" y="3112"/>
                    </a:lnTo>
                    <a:lnTo>
                      <a:pt x="3302" y="3114"/>
                    </a:lnTo>
                    <a:lnTo>
                      <a:pt x="3302" y="3114"/>
                    </a:lnTo>
                    <a:close/>
                    <a:moveTo>
                      <a:pt x="3298" y="3086"/>
                    </a:moveTo>
                    <a:lnTo>
                      <a:pt x="3298" y="3086"/>
                    </a:lnTo>
                    <a:lnTo>
                      <a:pt x="3296" y="3088"/>
                    </a:lnTo>
                    <a:lnTo>
                      <a:pt x="3298" y="3090"/>
                    </a:lnTo>
                    <a:lnTo>
                      <a:pt x="3302" y="3096"/>
                    </a:lnTo>
                    <a:lnTo>
                      <a:pt x="3302" y="3096"/>
                    </a:lnTo>
                    <a:lnTo>
                      <a:pt x="3302" y="3098"/>
                    </a:lnTo>
                    <a:lnTo>
                      <a:pt x="3304" y="3094"/>
                    </a:lnTo>
                    <a:lnTo>
                      <a:pt x="3304" y="3094"/>
                    </a:lnTo>
                    <a:lnTo>
                      <a:pt x="3302" y="3088"/>
                    </a:lnTo>
                    <a:lnTo>
                      <a:pt x="3300" y="3086"/>
                    </a:lnTo>
                    <a:lnTo>
                      <a:pt x="3298" y="3086"/>
                    </a:lnTo>
                    <a:lnTo>
                      <a:pt x="3298" y="3086"/>
                    </a:lnTo>
                    <a:close/>
                    <a:moveTo>
                      <a:pt x="3298" y="4354"/>
                    </a:moveTo>
                    <a:lnTo>
                      <a:pt x="3298" y="4354"/>
                    </a:lnTo>
                    <a:lnTo>
                      <a:pt x="3296" y="4358"/>
                    </a:lnTo>
                    <a:lnTo>
                      <a:pt x="3296" y="4362"/>
                    </a:lnTo>
                    <a:lnTo>
                      <a:pt x="3298" y="4362"/>
                    </a:lnTo>
                    <a:lnTo>
                      <a:pt x="3300" y="4364"/>
                    </a:lnTo>
                    <a:lnTo>
                      <a:pt x="3304" y="4362"/>
                    </a:lnTo>
                    <a:lnTo>
                      <a:pt x="3304" y="4360"/>
                    </a:lnTo>
                    <a:lnTo>
                      <a:pt x="3302" y="4356"/>
                    </a:lnTo>
                    <a:lnTo>
                      <a:pt x="3302" y="4356"/>
                    </a:lnTo>
                    <a:lnTo>
                      <a:pt x="3300" y="4348"/>
                    </a:lnTo>
                    <a:lnTo>
                      <a:pt x="3298" y="4354"/>
                    </a:lnTo>
                    <a:lnTo>
                      <a:pt x="3298" y="4354"/>
                    </a:lnTo>
                    <a:close/>
                    <a:moveTo>
                      <a:pt x="3274" y="4930"/>
                    </a:moveTo>
                    <a:lnTo>
                      <a:pt x="3274" y="4930"/>
                    </a:lnTo>
                    <a:lnTo>
                      <a:pt x="3274" y="4932"/>
                    </a:lnTo>
                    <a:lnTo>
                      <a:pt x="3278" y="4934"/>
                    </a:lnTo>
                    <a:lnTo>
                      <a:pt x="3288" y="4934"/>
                    </a:lnTo>
                    <a:lnTo>
                      <a:pt x="3310" y="4928"/>
                    </a:lnTo>
                    <a:lnTo>
                      <a:pt x="3310" y="4928"/>
                    </a:lnTo>
                    <a:lnTo>
                      <a:pt x="3312" y="4926"/>
                    </a:lnTo>
                    <a:lnTo>
                      <a:pt x="3310" y="4926"/>
                    </a:lnTo>
                    <a:lnTo>
                      <a:pt x="3296" y="4924"/>
                    </a:lnTo>
                    <a:lnTo>
                      <a:pt x="3282" y="4924"/>
                    </a:lnTo>
                    <a:lnTo>
                      <a:pt x="3276" y="4926"/>
                    </a:lnTo>
                    <a:lnTo>
                      <a:pt x="3274" y="4930"/>
                    </a:lnTo>
                    <a:lnTo>
                      <a:pt x="3274" y="4930"/>
                    </a:lnTo>
                    <a:close/>
                    <a:moveTo>
                      <a:pt x="3132" y="5104"/>
                    </a:moveTo>
                    <a:lnTo>
                      <a:pt x="3132" y="5104"/>
                    </a:lnTo>
                    <a:lnTo>
                      <a:pt x="3136" y="5106"/>
                    </a:lnTo>
                    <a:lnTo>
                      <a:pt x="3138" y="5104"/>
                    </a:lnTo>
                    <a:lnTo>
                      <a:pt x="3136" y="5096"/>
                    </a:lnTo>
                    <a:lnTo>
                      <a:pt x="3134" y="5090"/>
                    </a:lnTo>
                    <a:lnTo>
                      <a:pt x="3134" y="5090"/>
                    </a:lnTo>
                    <a:lnTo>
                      <a:pt x="3132" y="5086"/>
                    </a:lnTo>
                    <a:lnTo>
                      <a:pt x="3130" y="5088"/>
                    </a:lnTo>
                    <a:lnTo>
                      <a:pt x="3130" y="5096"/>
                    </a:lnTo>
                    <a:lnTo>
                      <a:pt x="3132" y="5104"/>
                    </a:lnTo>
                    <a:lnTo>
                      <a:pt x="3132" y="5104"/>
                    </a:lnTo>
                    <a:close/>
                    <a:moveTo>
                      <a:pt x="3196" y="4912"/>
                    </a:moveTo>
                    <a:lnTo>
                      <a:pt x="3196" y="4912"/>
                    </a:lnTo>
                    <a:lnTo>
                      <a:pt x="3198" y="4908"/>
                    </a:lnTo>
                    <a:lnTo>
                      <a:pt x="3198" y="4904"/>
                    </a:lnTo>
                    <a:lnTo>
                      <a:pt x="3196" y="4900"/>
                    </a:lnTo>
                    <a:lnTo>
                      <a:pt x="3192" y="4900"/>
                    </a:lnTo>
                    <a:lnTo>
                      <a:pt x="3192" y="4900"/>
                    </a:lnTo>
                    <a:lnTo>
                      <a:pt x="3190" y="4902"/>
                    </a:lnTo>
                    <a:lnTo>
                      <a:pt x="3188" y="4904"/>
                    </a:lnTo>
                    <a:lnTo>
                      <a:pt x="3188" y="4908"/>
                    </a:lnTo>
                    <a:lnTo>
                      <a:pt x="3192" y="4912"/>
                    </a:lnTo>
                    <a:lnTo>
                      <a:pt x="3194" y="4912"/>
                    </a:lnTo>
                    <a:lnTo>
                      <a:pt x="3196" y="4912"/>
                    </a:lnTo>
                    <a:lnTo>
                      <a:pt x="3196" y="4912"/>
                    </a:lnTo>
                    <a:close/>
                    <a:moveTo>
                      <a:pt x="3180" y="4896"/>
                    </a:moveTo>
                    <a:lnTo>
                      <a:pt x="3180" y="4896"/>
                    </a:lnTo>
                    <a:lnTo>
                      <a:pt x="3176" y="4896"/>
                    </a:lnTo>
                    <a:lnTo>
                      <a:pt x="3172" y="4900"/>
                    </a:lnTo>
                    <a:lnTo>
                      <a:pt x="3170" y="4906"/>
                    </a:lnTo>
                    <a:lnTo>
                      <a:pt x="3172" y="4916"/>
                    </a:lnTo>
                    <a:lnTo>
                      <a:pt x="3172" y="4916"/>
                    </a:lnTo>
                    <a:lnTo>
                      <a:pt x="3172" y="4916"/>
                    </a:lnTo>
                    <a:lnTo>
                      <a:pt x="3174" y="4916"/>
                    </a:lnTo>
                    <a:lnTo>
                      <a:pt x="3180" y="4908"/>
                    </a:lnTo>
                    <a:lnTo>
                      <a:pt x="3184" y="4900"/>
                    </a:lnTo>
                    <a:lnTo>
                      <a:pt x="3182" y="4898"/>
                    </a:lnTo>
                    <a:lnTo>
                      <a:pt x="3180" y="4896"/>
                    </a:lnTo>
                    <a:lnTo>
                      <a:pt x="3180" y="4896"/>
                    </a:lnTo>
                    <a:close/>
                    <a:moveTo>
                      <a:pt x="3184" y="5356"/>
                    </a:moveTo>
                    <a:lnTo>
                      <a:pt x="3184" y="5356"/>
                    </a:lnTo>
                    <a:lnTo>
                      <a:pt x="3180" y="5360"/>
                    </a:lnTo>
                    <a:lnTo>
                      <a:pt x="3174" y="5364"/>
                    </a:lnTo>
                    <a:lnTo>
                      <a:pt x="3170" y="5366"/>
                    </a:lnTo>
                    <a:lnTo>
                      <a:pt x="3168" y="5370"/>
                    </a:lnTo>
                    <a:lnTo>
                      <a:pt x="3168" y="5370"/>
                    </a:lnTo>
                    <a:lnTo>
                      <a:pt x="3168" y="5372"/>
                    </a:lnTo>
                    <a:lnTo>
                      <a:pt x="3170" y="5372"/>
                    </a:lnTo>
                    <a:lnTo>
                      <a:pt x="3178" y="5370"/>
                    </a:lnTo>
                    <a:lnTo>
                      <a:pt x="3190" y="5362"/>
                    </a:lnTo>
                    <a:lnTo>
                      <a:pt x="3190" y="5362"/>
                    </a:lnTo>
                    <a:lnTo>
                      <a:pt x="3194" y="5358"/>
                    </a:lnTo>
                    <a:lnTo>
                      <a:pt x="3192" y="5352"/>
                    </a:lnTo>
                    <a:lnTo>
                      <a:pt x="3192" y="5350"/>
                    </a:lnTo>
                    <a:lnTo>
                      <a:pt x="3190" y="5350"/>
                    </a:lnTo>
                    <a:lnTo>
                      <a:pt x="3188" y="5352"/>
                    </a:lnTo>
                    <a:lnTo>
                      <a:pt x="3184" y="5356"/>
                    </a:lnTo>
                    <a:lnTo>
                      <a:pt x="3184" y="5356"/>
                    </a:lnTo>
                    <a:close/>
                    <a:moveTo>
                      <a:pt x="3074" y="5152"/>
                    </a:moveTo>
                    <a:lnTo>
                      <a:pt x="3074" y="5152"/>
                    </a:lnTo>
                    <a:lnTo>
                      <a:pt x="3076" y="5154"/>
                    </a:lnTo>
                    <a:lnTo>
                      <a:pt x="3076" y="5154"/>
                    </a:lnTo>
                    <a:lnTo>
                      <a:pt x="3078" y="5144"/>
                    </a:lnTo>
                    <a:lnTo>
                      <a:pt x="3076" y="5132"/>
                    </a:lnTo>
                    <a:lnTo>
                      <a:pt x="3076" y="5122"/>
                    </a:lnTo>
                    <a:lnTo>
                      <a:pt x="3076" y="5122"/>
                    </a:lnTo>
                    <a:lnTo>
                      <a:pt x="3074" y="5122"/>
                    </a:lnTo>
                    <a:lnTo>
                      <a:pt x="3074" y="5124"/>
                    </a:lnTo>
                    <a:lnTo>
                      <a:pt x="3072" y="5130"/>
                    </a:lnTo>
                    <a:lnTo>
                      <a:pt x="3072" y="5142"/>
                    </a:lnTo>
                    <a:lnTo>
                      <a:pt x="3074" y="5152"/>
                    </a:lnTo>
                    <a:lnTo>
                      <a:pt x="3074" y="5152"/>
                    </a:lnTo>
                    <a:close/>
                    <a:moveTo>
                      <a:pt x="3070" y="5308"/>
                    </a:moveTo>
                    <a:lnTo>
                      <a:pt x="3070" y="5308"/>
                    </a:lnTo>
                    <a:lnTo>
                      <a:pt x="3066" y="5308"/>
                    </a:lnTo>
                    <a:lnTo>
                      <a:pt x="3066" y="5306"/>
                    </a:lnTo>
                    <a:lnTo>
                      <a:pt x="3064" y="5304"/>
                    </a:lnTo>
                    <a:lnTo>
                      <a:pt x="3060" y="5298"/>
                    </a:lnTo>
                    <a:lnTo>
                      <a:pt x="3060" y="5298"/>
                    </a:lnTo>
                    <a:lnTo>
                      <a:pt x="3054" y="5294"/>
                    </a:lnTo>
                    <a:lnTo>
                      <a:pt x="3048" y="5294"/>
                    </a:lnTo>
                    <a:lnTo>
                      <a:pt x="3046" y="5296"/>
                    </a:lnTo>
                    <a:lnTo>
                      <a:pt x="3042" y="5296"/>
                    </a:lnTo>
                    <a:lnTo>
                      <a:pt x="3042" y="5296"/>
                    </a:lnTo>
                    <a:lnTo>
                      <a:pt x="3036" y="5294"/>
                    </a:lnTo>
                    <a:lnTo>
                      <a:pt x="3026" y="5294"/>
                    </a:lnTo>
                    <a:lnTo>
                      <a:pt x="3020" y="5296"/>
                    </a:lnTo>
                    <a:lnTo>
                      <a:pt x="3016" y="5298"/>
                    </a:lnTo>
                    <a:lnTo>
                      <a:pt x="3014" y="5302"/>
                    </a:lnTo>
                    <a:lnTo>
                      <a:pt x="3012" y="5306"/>
                    </a:lnTo>
                    <a:lnTo>
                      <a:pt x="3012" y="5306"/>
                    </a:lnTo>
                    <a:lnTo>
                      <a:pt x="3014" y="5310"/>
                    </a:lnTo>
                    <a:lnTo>
                      <a:pt x="3016" y="5312"/>
                    </a:lnTo>
                    <a:lnTo>
                      <a:pt x="3026" y="5316"/>
                    </a:lnTo>
                    <a:lnTo>
                      <a:pt x="3036" y="5318"/>
                    </a:lnTo>
                    <a:lnTo>
                      <a:pt x="3046" y="5322"/>
                    </a:lnTo>
                    <a:lnTo>
                      <a:pt x="3046" y="5322"/>
                    </a:lnTo>
                    <a:lnTo>
                      <a:pt x="3054" y="5328"/>
                    </a:lnTo>
                    <a:lnTo>
                      <a:pt x="3058" y="5334"/>
                    </a:lnTo>
                    <a:lnTo>
                      <a:pt x="3060" y="5338"/>
                    </a:lnTo>
                    <a:lnTo>
                      <a:pt x="3064" y="5340"/>
                    </a:lnTo>
                    <a:lnTo>
                      <a:pt x="3064" y="5340"/>
                    </a:lnTo>
                    <a:lnTo>
                      <a:pt x="3068" y="5340"/>
                    </a:lnTo>
                    <a:lnTo>
                      <a:pt x="3070" y="5342"/>
                    </a:lnTo>
                    <a:lnTo>
                      <a:pt x="3074" y="5342"/>
                    </a:lnTo>
                    <a:lnTo>
                      <a:pt x="3076" y="5340"/>
                    </a:lnTo>
                    <a:lnTo>
                      <a:pt x="3076" y="5340"/>
                    </a:lnTo>
                    <a:lnTo>
                      <a:pt x="3078" y="5338"/>
                    </a:lnTo>
                    <a:lnTo>
                      <a:pt x="3080" y="5338"/>
                    </a:lnTo>
                    <a:lnTo>
                      <a:pt x="3082" y="5336"/>
                    </a:lnTo>
                    <a:lnTo>
                      <a:pt x="3086" y="5332"/>
                    </a:lnTo>
                    <a:lnTo>
                      <a:pt x="3086" y="5332"/>
                    </a:lnTo>
                    <a:lnTo>
                      <a:pt x="3086" y="5330"/>
                    </a:lnTo>
                    <a:lnTo>
                      <a:pt x="3086" y="5326"/>
                    </a:lnTo>
                    <a:lnTo>
                      <a:pt x="3082" y="5320"/>
                    </a:lnTo>
                    <a:lnTo>
                      <a:pt x="3076" y="5312"/>
                    </a:lnTo>
                    <a:lnTo>
                      <a:pt x="3070" y="5308"/>
                    </a:lnTo>
                    <a:lnTo>
                      <a:pt x="3070" y="5308"/>
                    </a:lnTo>
                    <a:close/>
                    <a:moveTo>
                      <a:pt x="3176" y="5238"/>
                    </a:moveTo>
                    <a:lnTo>
                      <a:pt x="3176" y="5238"/>
                    </a:lnTo>
                    <a:lnTo>
                      <a:pt x="3174" y="5234"/>
                    </a:lnTo>
                    <a:lnTo>
                      <a:pt x="3172" y="5234"/>
                    </a:lnTo>
                    <a:lnTo>
                      <a:pt x="3168" y="5234"/>
                    </a:lnTo>
                    <a:lnTo>
                      <a:pt x="3166" y="5238"/>
                    </a:lnTo>
                    <a:lnTo>
                      <a:pt x="3166" y="5240"/>
                    </a:lnTo>
                    <a:lnTo>
                      <a:pt x="3168" y="5240"/>
                    </a:lnTo>
                    <a:lnTo>
                      <a:pt x="3168" y="5240"/>
                    </a:lnTo>
                    <a:lnTo>
                      <a:pt x="3170" y="5242"/>
                    </a:lnTo>
                    <a:lnTo>
                      <a:pt x="3170" y="5242"/>
                    </a:lnTo>
                    <a:lnTo>
                      <a:pt x="3168" y="5246"/>
                    </a:lnTo>
                    <a:lnTo>
                      <a:pt x="3160" y="5248"/>
                    </a:lnTo>
                    <a:lnTo>
                      <a:pt x="3160" y="5248"/>
                    </a:lnTo>
                    <a:lnTo>
                      <a:pt x="3156" y="5252"/>
                    </a:lnTo>
                    <a:lnTo>
                      <a:pt x="3156" y="5256"/>
                    </a:lnTo>
                    <a:lnTo>
                      <a:pt x="3156" y="5258"/>
                    </a:lnTo>
                    <a:lnTo>
                      <a:pt x="3152" y="5260"/>
                    </a:lnTo>
                    <a:lnTo>
                      <a:pt x="3152" y="5260"/>
                    </a:lnTo>
                    <a:lnTo>
                      <a:pt x="3148" y="5260"/>
                    </a:lnTo>
                    <a:lnTo>
                      <a:pt x="3146" y="5260"/>
                    </a:lnTo>
                    <a:lnTo>
                      <a:pt x="3142" y="5256"/>
                    </a:lnTo>
                    <a:lnTo>
                      <a:pt x="3136" y="5252"/>
                    </a:lnTo>
                    <a:lnTo>
                      <a:pt x="3134" y="5250"/>
                    </a:lnTo>
                    <a:lnTo>
                      <a:pt x="3132" y="5252"/>
                    </a:lnTo>
                    <a:lnTo>
                      <a:pt x="3132" y="5252"/>
                    </a:lnTo>
                    <a:lnTo>
                      <a:pt x="3128" y="5254"/>
                    </a:lnTo>
                    <a:lnTo>
                      <a:pt x="3124" y="5254"/>
                    </a:lnTo>
                    <a:lnTo>
                      <a:pt x="3120" y="5254"/>
                    </a:lnTo>
                    <a:lnTo>
                      <a:pt x="3116" y="5256"/>
                    </a:lnTo>
                    <a:lnTo>
                      <a:pt x="3116" y="5256"/>
                    </a:lnTo>
                    <a:lnTo>
                      <a:pt x="3114" y="5258"/>
                    </a:lnTo>
                    <a:lnTo>
                      <a:pt x="3112" y="5256"/>
                    </a:lnTo>
                    <a:lnTo>
                      <a:pt x="3106" y="5254"/>
                    </a:lnTo>
                    <a:lnTo>
                      <a:pt x="3100" y="5250"/>
                    </a:lnTo>
                    <a:lnTo>
                      <a:pt x="3092" y="5246"/>
                    </a:lnTo>
                    <a:lnTo>
                      <a:pt x="3092" y="5246"/>
                    </a:lnTo>
                    <a:lnTo>
                      <a:pt x="3076" y="5242"/>
                    </a:lnTo>
                    <a:lnTo>
                      <a:pt x="3068" y="5242"/>
                    </a:lnTo>
                    <a:lnTo>
                      <a:pt x="3064" y="5242"/>
                    </a:lnTo>
                    <a:lnTo>
                      <a:pt x="3060" y="5246"/>
                    </a:lnTo>
                    <a:lnTo>
                      <a:pt x="3060" y="5246"/>
                    </a:lnTo>
                    <a:lnTo>
                      <a:pt x="3056" y="5250"/>
                    </a:lnTo>
                    <a:lnTo>
                      <a:pt x="3050" y="5252"/>
                    </a:lnTo>
                    <a:lnTo>
                      <a:pt x="3048" y="5256"/>
                    </a:lnTo>
                    <a:lnTo>
                      <a:pt x="3048" y="5262"/>
                    </a:lnTo>
                    <a:lnTo>
                      <a:pt x="3048" y="5262"/>
                    </a:lnTo>
                    <a:lnTo>
                      <a:pt x="3050" y="5270"/>
                    </a:lnTo>
                    <a:lnTo>
                      <a:pt x="3050" y="5272"/>
                    </a:lnTo>
                    <a:lnTo>
                      <a:pt x="3052" y="5272"/>
                    </a:lnTo>
                    <a:lnTo>
                      <a:pt x="3056" y="5270"/>
                    </a:lnTo>
                    <a:lnTo>
                      <a:pt x="3062" y="5268"/>
                    </a:lnTo>
                    <a:lnTo>
                      <a:pt x="3062" y="5268"/>
                    </a:lnTo>
                    <a:lnTo>
                      <a:pt x="3078" y="5270"/>
                    </a:lnTo>
                    <a:lnTo>
                      <a:pt x="3086" y="5272"/>
                    </a:lnTo>
                    <a:lnTo>
                      <a:pt x="3092" y="5274"/>
                    </a:lnTo>
                    <a:lnTo>
                      <a:pt x="3092" y="5274"/>
                    </a:lnTo>
                    <a:lnTo>
                      <a:pt x="3096" y="5278"/>
                    </a:lnTo>
                    <a:lnTo>
                      <a:pt x="3098" y="5276"/>
                    </a:lnTo>
                    <a:lnTo>
                      <a:pt x="3102" y="5274"/>
                    </a:lnTo>
                    <a:lnTo>
                      <a:pt x="3106" y="5274"/>
                    </a:lnTo>
                    <a:lnTo>
                      <a:pt x="3106" y="5274"/>
                    </a:lnTo>
                    <a:lnTo>
                      <a:pt x="3108" y="5274"/>
                    </a:lnTo>
                    <a:lnTo>
                      <a:pt x="3110" y="5272"/>
                    </a:lnTo>
                    <a:lnTo>
                      <a:pt x="3112" y="5270"/>
                    </a:lnTo>
                    <a:lnTo>
                      <a:pt x="3120" y="5272"/>
                    </a:lnTo>
                    <a:lnTo>
                      <a:pt x="3120" y="5272"/>
                    </a:lnTo>
                    <a:lnTo>
                      <a:pt x="3124" y="5272"/>
                    </a:lnTo>
                    <a:lnTo>
                      <a:pt x="3128" y="5272"/>
                    </a:lnTo>
                    <a:lnTo>
                      <a:pt x="3134" y="5270"/>
                    </a:lnTo>
                    <a:lnTo>
                      <a:pt x="3138" y="5268"/>
                    </a:lnTo>
                    <a:lnTo>
                      <a:pt x="3142" y="5266"/>
                    </a:lnTo>
                    <a:lnTo>
                      <a:pt x="3142" y="5266"/>
                    </a:lnTo>
                    <a:lnTo>
                      <a:pt x="3150" y="5266"/>
                    </a:lnTo>
                    <a:lnTo>
                      <a:pt x="3158" y="5264"/>
                    </a:lnTo>
                    <a:lnTo>
                      <a:pt x="3166" y="5260"/>
                    </a:lnTo>
                    <a:lnTo>
                      <a:pt x="3168" y="5258"/>
                    </a:lnTo>
                    <a:lnTo>
                      <a:pt x="3170" y="5254"/>
                    </a:lnTo>
                    <a:lnTo>
                      <a:pt x="3170" y="5254"/>
                    </a:lnTo>
                    <a:lnTo>
                      <a:pt x="3170" y="5252"/>
                    </a:lnTo>
                    <a:lnTo>
                      <a:pt x="3174" y="5248"/>
                    </a:lnTo>
                    <a:lnTo>
                      <a:pt x="3176" y="5244"/>
                    </a:lnTo>
                    <a:lnTo>
                      <a:pt x="3176" y="5238"/>
                    </a:lnTo>
                    <a:lnTo>
                      <a:pt x="3176" y="5238"/>
                    </a:lnTo>
                    <a:close/>
                    <a:moveTo>
                      <a:pt x="3042" y="5268"/>
                    </a:moveTo>
                    <a:lnTo>
                      <a:pt x="3042" y="5268"/>
                    </a:lnTo>
                    <a:lnTo>
                      <a:pt x="3044" y="5266"/>
                    </a:lnTo>
                    <a:lnTo>
                      <a:pt x="3046" y="5264"/>
                    </a:lnTo>
                    <a:lnTo>
                      <a:pt x="3044" y="5262"/>
                    </a:lnTo>
                    <a:lnTo>
                      <a:pt x="3042" y="5260"/>
                    </a:lnTo>
                    <a:lnTo>
                      <a:pt x="3042" y="5260"/>
                    </a:lnTo>
                    <a:lnTo>
                      <a:pt x="3040" y="5262"/>
                    </a:lnTo>
                    <a:lnTo>
                      <a:pt x="3040" y="5266"/>
                    </a:lnTo>
                    <a:lnTo>
                      <a:pt x="3040" y="5268"/>
                    </a:lnTo>
                    <a:lnTo>
                      <a:pt x="3042" y="5268"/>
                    </a:lnTo>
                    <a:lnTo>
                      <a:pt x="3042" y="5268"/>
                    </a:lnTo>
                    <a:close/>
                    <a:moveTo>
                      <a:pt x="3038" y="5258"/>
                    </a:moveTo>
                    <a:lnTo>
                      <a:pt x="3038" y="5258"/>
                    </a:lnTo>
                    <a:lnTo>
                      <a:pt x="3038" y="5258"/>
                    </a:lnTo>
                    <a:lnTo>
                      <a:pt x="3040" y="5256"/>
                    </a:lnTo>
                    <a:lnTo>
                      <a:pt x="3040" y="5254"/>
                    </a:lnTo>
                    <a:lnTo>
                      <a:pt x="3038" y="5252"/>
                    </a:lnTo>
                    <a:lnTo>
                      <a:pt x="3038" y="5252"/>
                    </a:lnTo>
                    <a:lnTo>
                      <a:pt x="3034" y="5250"/>
                    </a:lnTo>
                    <a:lnTo>
                      <a:pt x="3032" y="5250"/>
                    </a:lnTo>
                    <a:lnTo>
                      <a:pt x="3032" y="5252"/>
                    </a:lnTo>
                    <a:lnTo>
                      <a:pt x="3032" y="5252"/>
                    </a:lnTo>
                    <a:lnTo>
                      <a:pt x="3032" y="5258"/>
                    </a:lnTo>
                    <a:lnTo>
                      <a:pt x="3030" y="5262"/>
                    </a:lnTo>
                    <a:lnTo>
                      <a:pt x="3030" y="5262"/>
                    </a:lnTo>
                    <a:lnTo>
                      <a:pt x="3032" y="5266"/>
                    </a:lnTo>
                    <a:lnTo>
                      <a:pt x="3032" y="5264"/>
                    </a:lnTo>
                    <a:lnTo>
                      <a:pt x="3034" y="5260"/>
                    </a:lnTo>
                    <a:lnTo>
                      <a:pt x="3038" y="5258"/>
                    </a:lnTo>
                    <a:lnTo>
                      <a:pt x="3038" y="5258"/>
                    </a:lnTo>
                    <a:close/>
                    <a:moveTo>
                      <a:pt x="2740" y="626"/>
                    </a:moveTo>
                    <a:lnTo>
                      <a:pt x="2740" y="626"/>
                    </a:lnTo>
                    <a:lnTo>
                      <a:pt x="2756" y="630"/>
                    </a:lnTo>
                    <a:lnTo>
                      <a:pt x="2768" y="628"/>
                    </a:lnTo>
                    <a:lnTo>
                      <a:pt x="2778" y="624"/>
                    </a:lnTo>
                    <a:lnTo>
                      <a:pt x="2784" y="618"/>
                    </a:lnTo>
                    <a:lnTo>
                      <a:pt x="2786" y="612"/>
                    </a:lnTo>
                    <a:lnTo>
                      <a:pt x="2786" y="608"/>
                    </a:lnTo>
                    <a:lnTo>
                      <a:pt x="2784" y="604"/>
                    </a:lnTo>
                    <a:lnTo>
                      <a:pt x="2782" y="602"/>
                    </a:lnTo>
                    <a:lnTo>
                      <a:pt x="2776" y="600"/>
                    </a:lnTo>
                    <a:lnTo>
                      <a:pt x="2764" y="598"/>
                    </a:lnTo>
                    <a:lnTo>
                      <a:pt x="2764" y="598"/>
                    </a:lnTo>
                    <a:lnTo>
                      <a:pt x="2748" y="598"/>
                    </a:lnTo>
                    <a:lnTo>
                      <a:pt x="2736" y="598"/>
                    </a:lnTo>
                    <a:lnTo>
                      <a:pt x="2726" y="600"/>
                    </a:lnTo>
                    <a:lnTo>
                      <a:pt x="2720" y="604"/>
                    </a:lnTo>
                    <a:lnTo>
                      <a:pt x="2716" y="608"/>
                    </a:lnTo>
                    <a:lnTo>
                      <a:pt x="2720" y="614"/>
                    </a:lnTo>
                    <a:lnTo>
                      <a:pt x="2726" y="618"/>
                    </a:lnTo>
                    <a:lnTo>
                      <a:pt x="2740" y="626"/>
                    </a:lnTo>
                    <a:lnTo>
                      <a:pt x="2740" y="626"/>
                    </a:lnTo>
                    <a:close/>
                    <a:moveTo>
                      <a:pt x="162" y="3354"/>
                    </a:moveTo>
                    <a:lnTo>
                      <a:pt x="162" y="3354"/>
                    </a:lnTo>
                    <a:lnTo>
                      <a:pt x="160" y="3358"/>
                    </a:lnTo>
                    <a:lnTo>
                      <a:pt x="162" y="3364"/>
                    </a:lnTo>
                    <a:lnTo>
                      <a:pt x="164" y="3366"/>
                    </a:lnTo>
                    <a:lnTo>
                      <a:pt x="166" y="3368"/>
                    </a:lnTo>
                    <a:lnTo>
                      <a:pt x="168" y="3366"/>
                    </a:lnTo>
                    <a:lnTo>
                      <a:pt x="168" y="3366"/>
                    </a:lnTo>
                    <a:lnTo>
                      <a:pt x="168" y="3362"/>
                    </a:lnTo>
                    <a:lnTo>
                      <a:pt x="166" y="3356"/>
                    </a:lnTo>
                    <a:lnTo>
                      <a:pt x="164" y="3352"/>
                    </a:lnTo>
                    <a:lnTo>
                      <a:pt x="162" y="3352"/>
                    </a:lnTo>
                    <a:lnTo>
                      <a:pt x="162" y="3354"/>
                    </a:lnTo>
                    <a:lnTo>
                      <a:pt x="162" y="3354"/>
                    </a:lnTo>
                    <a:close/>
                    <a:moveTo>
                      <a:pt x="3766" y="1952"/>
                    </a:moveTo>
                    <a:lnTo>
                      <a:pt x="3766" y="1952"/>
                    </a:lnTo>
                    <a:lnTo>
                      <a:pt x="3772" y="1954"/>
                    </a:lnTo>
                    <a:lnTo>
                      <a:pt x="3776" y="1954"/>
                    </a:lnTo>
                    <a:lnTo>
                      <a:pt x="3780" y="1950"/>
                    </a:lnTo>
                    <a:lnTo>
                      <a:pt x="3782" y="1944"/>
                    </a:lnTo>
                    <a:lnTo>
                      <a:pt x="3784" y="1940"/>
                    </a:lnTo>
                    <a:lnTo>
                      <a:pt x="3782" y="1934"/>
                    </a:lnTo>
                    <a:lnTo>
                      <a:pt x="3780" y="1930"/>
                    </a:lnTo>
                    <a:lnTo>
                      <a:pt x="3774" y="1928"/>
                    </a:lnTo>
                    <a:lnTo>
                      <a:pt x="3774" y="1928"/>
                    </a:lnTo>
                    <a:lnTo>
                      <a:pt x="3768" y="1928"/>
                    </a:lnTo>
                    <a:lnTo>
                      <a:pt x="3764" y="1930"/>
                    </a:lnTo>
                    <a:lnTo>
                      <a:pt x="3760" y="1932"/>
                    </a:lnTo>
                    <a:lnTo>
                      <a:pt x="3758" y="1936"/>
                    </a:lnTo>
                    <a:lnTo>
                      <a:pt x="3758" y="1938"/>
                    </a:lnTo>
                    <a:lnTo>
                      <a:pt x="3760" y="1944"/>
                    </a:lnTo>
                    <a:lnTo>
                      <a:pt x="3762" y="1948"/>
                    </a:lnTo>
                    <a:lnTo>
                      <a:pt x="3766" y="1952"/>
                    </a:lnTo>
                    <a:lnTo>
                      <a:pt x="3766" y="1952"/>
                    </a:lnTo>
                    <a:close/>
                    <a:moveTo>
                      <a:pt x="3314" y="2942"/>
                    </a:moveTo>
                    <a:lnTo>
                      <a:pt x="3314" y="2942"/>
                    </a:lnTo>
                    <a:lnTo>
                      <a:pt x="3316" y="2940"/>
                    </a:lnTo>
                    <a:lnTo>
                      <a:pt x="3318" y="2936"/>
                    </a:lnTo>
                    <a:lnTo>
                      <a:pt x="3316" y="2932"/>
                    </a:lnTo>
                    <a:lnTo>
                      <a:pt x="3312" y="2930"/>
                    </a:lnTo>
                    <a:lnTo>
                      <a:pt x="3312" y="2930"/>
                    </a:lnTo>
                    <a:lnTo>
                      <a:pt x="3310" y="2930"/>
                    </a:lnTo>
                    <a:lnTo>
                      <a:pt x="3310" y="2932"/>
                    </a:lnTo>
                    <a:lnTo>
                      <a:pt x="3310" y="2936"/>
                    </a:lnTo>
                    <a:lnTo>
                      <a:pt x="3312" y="2940"/>
                    </a:lnTo>
                    <a:lnTo>
                      <a:pt x="3314" y="2942"/>
                    </a:lnTo>
                    <a:lnTo>
                      <a:pt x="3314" y="2942"/>
                    </a:lnTo>
                    <a:close/>
                    <a:moveTo>
                      <a:pt x="3310" y="2998"/>
                    </a:moveTo>
                    <a:lnTo>
                      <a:pt x="3310" y="2998"/>
                    </a:lnTo>
                    <a:lnTo>
                      <a:pt x="3308" y="2998"/>
                    </a:lnTo>
                    <a:lnTo>
                      <a:pt x="3308" y="3002"/>
                    </a:lnTo>
                    <a:lnTo>
                      <a:pt x="3310" y="3004"/>
                    </a:lnTo>
                    <a:lnTo>
                      <a:pt x="3312" y="3006"/>
                    </a:lnTo>
                    <a:lnTo>
                      <a:pt x="3312" y="3006"/>
                    </a:lnTo>
                    <a:lnTo>
                      <a:pt x="3314" y="3006"/>
                    </a:lnTo>
                    <a:lnTo>
                      <a:pt x="3314" y="3002"/>
                    </a:lnTo>
                    <a:lnTo>
                      <a:pt x="3312" y="2998"/>
                    </a:lnTo>
                    <a:lnTo>
                      <a:pt x="3310" y="2998"/>
                    </a:lnTo>
                    <a:lnTo>
                      <a:pt x="3310" y="2998"/>
                    </a:lnTo>
                    <a:close/>
                    <a:moveTo>
                      <a:pt x="468" y="3506"/>
                    </a:moveTo>
                    <a:lnTo>
                      <a:pt x="468" y="3506"/>
                    </a:lnTo>
                    <a:lnTo>
                      <a:pt x="468" y="3508"/>
                    </a:lnTo>
                    <a:lnTo>
                      <a:pt x="466" y="3510"/>
                    </a:lnTo>
                    <a:lnTo>
                      <a:pt x="458" y="3514"/>
                    </a:lnTo>
                    <a:lnTo>
                      <a:pt x="452" y="3518"/>
                    </a:lnTo>
                    <a:lnTo>
                      <a:pt x="450" y="3520"/>
                    </a:lnTo>
                    <a:lnTo>
                      <a:pt x="450" y="3522"/>
                    </a:lnTo>
                    <a:lnTo>
                      <a:pt x="450" y="3522"/>
                    </a:lnTo>
                    <a:lnTo>
                      <a:pt x="452" y="3524"/>
                    </a:lnTo>
                    <a:lnTo>
                      <a:pt x="456" y="3524"/>
                    </a:lnTo>
                    <a:lnTo>
                      <a:pt x="464" y="3520"/>
                    </a:lnTo>
                    <a:lnTo>
                      <a:pt x="476" y="3514"/>
                    </a:lnTo>
                    <a:lnTo>
                      <a:pt x="484" y="3504"/>
                    </a:lnTo>
                    <a:lnTo>
                      <a:pt x="484" y="3504"/>
                    </a:lnTo>
                    <a:lnTo>
                      <a:pt x="486" y="3502"/>
                    </a:lnTo>
                    <a:lnTo>
                      <a:pt x="486" y="3500"/>
                    </a:lnTo>
                    <a:lnTo>
                      <a:pt x="480" y="3502"/>
                    </a:lnTo>
                    <a:lnTo>
                      <a:pt x="468" y="3506"/>
                    </a:lnTo>
                    <a:lnTo>
                      <a:pt x="468" y="3506"/>
                    </a:lnTo>
                    <a:close/>
                    <a:moveTo>
                      <a:pt x="1966" y="4176"/>
                    </a:moveTo>
                    <a:lnTo>
                      <a:pt x="1966" y="4176"/>
                    </a:lnTo>
                    <a:lnTo>
                      <a:pt x="1966" y="4176"/>
                    </a:lnTo>
                    <a:lnTo>
                      <a:pt x="1964" y="4176"/>
                    </a:lnTo>
                    <a:lnTo>
                      <a:pt x="1960" y="4184"/>
                    </a:lnTo>
                    <a:lnTo>
                      <a:pt x="1958" y="4200"/>
                    </a:lnTo>
                    <a:lnTo>
                      <a:pt x="1956" y="4222"/>
                    </a:lnTo>
                    <a:lnTo>
                      <a:pt x="1956" y="4222"/>
                    </a:lnTo>
                    <a:lnTo>
                      <a:pt x="1954" y="4242"/>
                    </a:lnTo>
                    <a:lnTo>
                      <a:pt x="1952" y="4252"/>
                    </a:lnTo>
                    <a:lnTo>
                      <a:pt x="1950" y="4260"/>
                    </a:lnTo>
                    <a:lnTo>
                      <a:pt x="1952" y="4272"/>
                    </a:lnTo>
                    <a:lnTo>
                      <a:pt x="1952" y="4272"/>
                    </a:lnTo>
                    <a:lnTo>
                      <a:pt x="1954" y="4278"/>
                    </a:lnTo>
                    <a:lnTo>
                      <a:pt x="1956" y="4280"/>
                    </a:lnTo>
                    <a:lnTo>
                      <a:pt x="1958" y="4274"/>
                    </a:lnTo>
                    <a:lnTo>
                      <a:pt x="1962" y="4248"/>
                    </a:lnTo>
                    <a:lnTo>
                      <a:pt x="1962" y="4248"/>
                    </a:lnTo>
                    <a:lnTo>
                      <a:pt x="1962" y="4240"/>
                    </a:lnTo>
                    <a:lnTo>
                      <a:pt x="1962" y="4236"/>
                    </a:lnTo>
                    <a:lnTo>
                      <a:pt x="1962" y="4234"/>
                    </a:lnTo>
                    <a:lnTo>
                      <a:pt x="1964" y="4232"/>
                    </a:lnTo>
                    <a:lnTo>
                      <a:pt x="1964" y="4232"/>
                    </a:lnTo>
                    <a:lnTo>
                      <a:pt x="1966" y="4228"/>
                    </a:lnTo>
                    <a:lnTo>
                      <a:pt x="1966" y="4226"/>
                    </a:lnTo>
                    <a:lnTo>
                      <a:pt x="1964" y="4218"/>
                    </a:lnTo>
                    <a:lnTo>
                      <a:pt x="1964" y="4210"/>
                    </a:lnTo>
                    <a:lnTo>
                      <a:pt x="1964" y="4206"/>
                    </a:lnTo>
                    <a:lnTo>
                      <a:pt x="1964" y="4204"/>
                    </a:lnTo>
                    <a:lnTo>
                      <a:pt x="1964" y="4204"/>
                    </a:lnTo>
                    <a:lnTo>
                      <a:pt x="1968" y="4200"/>
                    </a:lnTo>
                    <a:lnTo>
                      <a:pt x="1970" y="4192"/>
                    </a:lnTo>
                    <a:lnTo>
                      <a:pt x="1970" y="4182"/>
                    </a:lnTo>
                    <a:lnTo>
                      <a:pt x="1966" y="4176"/>
                    </a:lnTo>
                    <a:lnTo>
                      <a:pt x="1966" y="4176"/>
                    </a:lnTo>
                    <a:close/>
                    <a:moveTo>
                      <a:pt x="1508" y="4454"/>
                    </a:moveTo>
                    <a:lnTo>
                      <a:pt x="1508" y="4454"/>
                    </a:lnTo>
                    <a:lnTo>
                      <a:pt x="1504" y="4444"/>
                    </a:lnTo>
                    <a:lnTo>
                      <a:pt x="1498" y="4430"/>
                    </a:lnTo>
                    <a:lnTo>
                      <a:pt x="1492" y="4416"/>
                    </a:lnTo>
                    <a:lnTo>
                      <a:pt x="1484" y="4404"/>
                    </a:lnTo>
                    <a:lnTo>
                      <a:pt x="1484" y="4404"/>
                    </a:lnTo>
                    <a:lnTo>
                      <a:pt x="1478" y="4396"/>
                    </a:lnTo>
                    <a:lnTo>
                      <a:pt x="1474" y="4388"/>
                    </a:lnTo>
                    <a:lnTo>
                      <a:pt x="1472" y="4380"/>
                    </a:lnTo>
                    <a:lnTo>
                      <a:pt x="1464" y="4372"/>
                    </a:lnTo>
                    <a:lnTo>
                      <a:pt x="1464" y="4372"/>
                    </a:lnTo>
                    <a:lnTo>
                      <a:pt x="1456" y="4364"/>
                    </a:lnTo>
                    <a:lnTo>
                      <a:pt x="1448" y="4360"/>
                    </a:lnTo>
                    <a:lnTo>
                      <a:pt x="1442" y="4360"/>
                    </a:lnTo>
                    <a:lnTo>
                      <a:pt x="1438" y="4362"/>
                    </a:lnTo>
                    <a:lnTo>
                      <a:pt x="1438" y="4362"/>
                    </a:lnTo>
                    <a:lnTo>
                      <a:pt x="1438" y="4364"/>
                    </a:lnTo>
                    <a:lnTo>
                      <a:pt x="1440" y="4368"/>
                    </a:lnTo>
                    <a:lnTo>
                      <a:pt x="1444" y="4372"/>
                    </a:lnTo>
                    <a:lnTo>
                      <a:pt x="1446" y="4382"/>
                    </a:lnTo>
                    <a:lnTo>
                      <a:pt x="1446" y="4382"/>
                    </a:lnTo>
                    <a:lnTo>
                      <a:pt x="1446" y="4392"/>
                    </a:lnTo>
                    <a:lnTo>
                      <a:pt x="1444" y="4398"/>
                    </a:lnTo>
                    <a:lnTo>
                      <a:pt x="1440" y="4404"/>
                    </a:lnTo>
                    <a:lnTo>
                      <a:pt x="1440" y="4410"/>
                    </a:lnTo>
                    <a:lnTo>
                      <a:pt x="1440" y="4410"/>
                    </a:lnTo>
                    <a:lnTo>
                      <a:pt x="1440" y="4420"/>
                    </a:lnTo>
                    <a:lnTo>
                      <a:pt x="1438" y="4430"/>
                    </a:lnTo>
                    <a:lnTo>
                      <a:pt x="1436" y="4438"/>
                    </a:lnTo>
                    <a:lnTo>
                      <a:pt x="1436" y="4438"/>
                    </a:lnTo>
                    <a:lnTo>
                      <a:pt x="1436" y="4436"/>
                    </a:lnTo>
                    <a:lnTo>
                      <a:pt x="1436" y="4436"/>
                    </a:lnTo>
                    <a:lnTo>
                      <a:pt x="1434" y="4432"/>
                    </a:lnTo>
                    <a:lnTo>
                      <a:pt x="1432" y="4432"/>
                    </a:lnTo>
                    <a:lnTo>
                      <a:pt x="1432" y="4432"/>
                    </a:lnTo>
                    <a:lnTo>
                      <a:pt x="1430" y="4440"/>
                    </a:lnTo>
                    <a:lnTo>
                      <a:pt x="1432" y="4456"/>
                    </a:lnTo>
                    <a:lnTo>
                      <a:pt x="1432" y="4456"/>
                    </a:lnTo>
                    <a:lnTo>
                      <a:pt x="1434" y="4476"/>
                    </a:lnTo>
                    <a:lnTo>
                      <a:pt x="1434" y="4500"/>
                    </a:lnTo>
                    <a:lnTo>
                      <a:pt x="1436" y="4512"/>
                    </a:lnTo>
                    <a:lnTo>
                      <a:pt x="1438" y="4524"/>
                    </a:lnTo>
                    <a:lnTo>
                      <a:pt x="1442" y="4534"/>
                    </a:lnTo>
                    <a:lnTo>
                      <a:pt x="1450" y="4544"/>
                    </a:lnTo>
                    <a:lnTo>
                      <a:pt x="1450" y="4544"/>
                    </a:lnTo>
                    <a:lnTo>
                      <a:pt x="1458" y="4548"/>
                    </a:lnTo>
                    <a:lnTo>
                      <a:pt x="1464" y="4550"/>
                    </a:lnTo>
                    <a:lnTo>
                      <a:pt x="1470" y="4550"/>
                    </a:lnTo>
                    <a:lnTo>
                      <a:pt x="1476" y="4548"/>
                    </a:lnTo>
                    <a:lnTo>
                      <a:pt x="1488" y="4540"/>
                    </a:lnTo>
                    <a:lnTo>
                      <a:pt x="1502" y="4532"/>
                    </a:lnTo>
                    <a:lnTo>
                      <a:pt x="1502" y="4532"/>
                    </a:lnTo>
                    <a:lnTo>
                      <a:pt x="1508" y="4526"/>
                    </a:lnTo>
                    <a:lnTo>
                      <a:pt x="1512" y="4520"/>
                    </a:lnTo>
                    <a:lnTo>
                      <a:pt x="1516" y="4510"/>
                    </a:lnTo>
                    <a:lnTo>
                      <a:pt x="1518" y="4502"/>
                    </a:lnTo>
                    <a:lnTo>
                      <a:pt x="1518" y="4484"/>
                    </a:lnTo>
                    <a:lnTo>
                      <a:pt x="1516" y="4476"/>
                    </a:lnTo>
                    <a:lnTo>
                      <a:pt x="1514" y="4472"/>
                    </a:lnTo>
                    <a:lnTo>
                      <a:pt x="1514" y="4472"/>
                    </a:lnTo>
                    <a:lnTo>
                      <a:pt x="1512" y="4466"/>
                    </a:lnTo>
                    <a:lnTo>
                      <a:pt x="1512" y="4462"/>
                    </a:lnTo>
                    <a:lnTo>
                      <a:pt x="1510" y="4458"/>
                    </a:lnTo>
                    <a:lnTo>
                      <a:pt x="1508" y="4454"/>
                    </a:lnTo>
                    <a:lnTo>
                      <a:pt x="1508" y="4454"/>
                    </a:lnTo>
                    <a:close/>
                    <a:moveTo>
                      <a:pt x="1946" y="4308"/>
                    </a:moveTo>
                    <a:lnTo>
                      <a:pt x="1946" y="4308"/>
                    </a:lnTo>
                    <a:lnTo>
                      <a:pt x="1942" y="4310"/>
                    </a:lnTo>
                    <a:lnTo>
                      <a:pt x="1940" y="4316"/>
                    </a:lnTo>
                    <a:lnTo>
                      <a:pt x="1940" y="4322"/>
                    </a:lnTo>
                    <a:lnTo>
                      <a:pt x="1942" y="4328"/>
                    </a:lnTo>
                    <a:lnTo>
                      <a:pt x="1942" y="4328"/>
                    </a:lnTo>
                    <a:lnTo>
                      <a:pt x="1944" y="4328"/>
                    </a:lnTo>
                    <a:lnTo>
                      <a:pt x="1946" y="4326"/>
                    </a:lnTo>
                    <a:lnTo>
                      <a:pt x="1948" y="4320"/>
                    </a:lnTo>
                    <a:lnTo>
                      <a:pt x="1950" y="4312"/>
                    </a:lnTo>
                    <a:lnTo>
                      <a:pt x="1948" y="4310"/>
                    </a:lnTo>
                    <a:lnTo>
                      <a:pt x="1946" y="4308"/>
                    </a:lnTo>
                    <a:lnTo>
                      <a:pt x="1946" y="4308"/>
                    </a:lnTo>
                    <a:close/>
                    <a:moveTo>
                      <a:pt x="1996" y="4488"/>
                    </a:moveTo>
                    <a:lnTo>
                      <a:pt x="1996" y="4488"/>
                    </a:lnTo>
                    <a:lnTo>
                      <a:pt x="1994" y="4492"/>
                    </a:lnTo>
                    <a:lnTo>
                      <a:pt x="1994" y="4496"/>
                    </a:lnTo>
                    <a:lnTo>
                      <a:pt x="1994" y="4504"/>
                    </a:lnTo>
                    <a:lnTo>
                      <a:pt x="1998" y="4508"/>
                    </a:lnTo>
                    <a:lnTo>
                      <a:pt x="2000" y="4510"/>
                    </a:lnTo>
                    <a:lnTo>
                      <a:pt x="2002" y="4508"/>
                    </a:lnTo>
                    <a:lnTo>
                      <a:pt x="2002" y="4508"/>
                    </a:lnTo>
                    <a:lnTo>
                      <a:pt x="2004" y="4506"/>
                    </a:lnTo>
                    <a:lnTo>
                      <a:pt x="2004" y="4502"/>
                    </a:lnTo>
                    <a:lnTo>
                      <a:pt x="2004" y="4494"/>
                    </a:lnTo>
                    <a:lnTo>
                      <a:pt x="2000" y="4488"/>
                    </a:lnTo>
                    <a:lnTo>
                      <a:pt x="1998" y="4488"/>
                    </a:lnTo>
                    <a:lnTo>
                      <a:pt x="1996" y="4488"/>
                    </a:lnTo>
                    <a:lnTo>
                      <a:pt x="1996" y="4488"/>
                    </a:lnTo>
                    <a:close/>
                    <a:moveTo>
                      <a:pt x="1980" y="4454"/>
                    </a:moveTo>
                    <a:lnTo>
                      <a:pt x="1980" y="4454"/>
                    </a:lnTo>
                    <a:lnTo>
                      <a:pt x="1982" y="4454"/>
                    </a:lnTo>
                    <a:lnTo>
                      <a:pt x="1984" y="4454"/>
                    </a:lnTo>
                    <a:lnTo>
                      <a:pt x="1982" y="4448"/>
                    </a:lnTo>
                    <a:lnTo>
                      <a:pt x="1982" y="4448"/>
                    </a:lnTo>
                    <a:lnTo>
                      <a:pt x="1980" y="4448"/>
                    </a:lnTo>
                    <a:lnTo>
                      <a:pt x="1978" y="4448"/>
                    </a:lnTo>
                    <a:lnTo>
                      <a:pt x="1978" y="4450"/>
                    </a:lnTo>
                    <a:lnTo>
                      <a:pt x="1980" y="4454"/>
                    </a:lnTo>
                    <a:lnTo>
                      <a:pt x="1980" y="4454"/>
                    </a:lnTo>
                    <a:close/>
                    <a:moveTo>
                      <a:pt x="1954" y="4386"/>
                    </a:moveTo>
                    <a:lnTo>
                      <a:pt x="1954" y="4386"/>
                    </a:lnTo>
                    <a:lnTo>
                      <a:pt x="1952" y="4390"/>
                    </a:lnTo>
                    <a:lnTo>
                      <a:pt x="1952" y="4394"/>
                    </a:lnTo>
                    <a:lnTo>
                      <a:pt x="1954" y="4396"/>
                    </a:lnTo>
                    <a:lnTo>
                      <a:pt x="1958" y="4396"/>
                    </a:lnTo>
                    <a:lnTo>
                      <a:pt x="1958" y="4396"/>
                    </a:lnTo>
                    <a:lnTo>
                      <a:pt x="1960" y="4394"/>
                    </a:lnTo>
                    <a:lnTo>
                      <a:pt x="1958" y="4390"/>
                    </a:lnTo>
                    <a:lnTo>
                      <a:pt x="1958" y="4386"/>
                    </a:lnTo>
                    <a:lnTo>
                      <a:pt x="1956" y="4386"/>
                    </a:lnTo>
                    <a:lnTo>
                      <a:pt x="1954" y="4386"/>
                    </a:lnTo>
                    <a:lnTo>
                      <a:pt x="1954" y="4386"/>
                    </a:lnTo>
                    <a:close/>
                    <a:moveTo>
                      <a:pt x="2078" y="4702"/>
                    </a:moveTo>
                    <a:lnTo>
                      <a:pt x="2078" y="4702"/>
                    </a:lnTo>
                    <a:lnTo>
                      <a:pt x="2078" y="4706"/>
                    </a:lnTo>
                    <a:lnTo>
                      <a:pt x="2080" y="4710"/>
                    </a:lnTo>
                    <a:lnTo>
                      <a:pt x="2084" y="4714"/>
                    </a:lnTo>
                    <a:lnTo>
                      <a:pt x="2090" y="4720"/>
                    </a:lnTo>
                    <a:lnTo>
                      <a:pt x="2090" y="4720"/>
                    </a:lnTo>
                    <a:lnTo>
                      <a:pt x="2102" y="4728"/>
                    </a:lnTo>
                    <a:lnTo>
                      <a:pt x="2106" y="4730"/>
                    </a:lnTo>
                    <a:lnTo>
                      <a:pt x="2106" y="4726"/>
                    </a:lnTo>
                    <a:lnTo>
                      <a:pt x="2106" y="4726"/>
                    </a:lnTo>
                    <a:lnTo>
                      <a:pt x="2102" y="4716"/>
                    </a:lnTo>
                    <a:lnTo>
                      <a:pt x="2094" y="4706"/>
                    </a:lnTo>
                    <a:lnTo>
                      <a:pt x="2084" y="4700"/>
                    </a:lnTo>
                    <a:lnTo>
                      <a:pt x="2080" y="4700"/>
                    </a:lnTo>
                    <a:lnTo>
                      <a:pt x="2078" y="4702"/>
                    </a:lnTo>
                    <a:lnTo>
                      <a:pt x="2078" y="4702"/>
                    </a:lnTo>
                    <a:close/>
                    <a:moveTo>
                      <a:pt x="2508" y="4960"/>
                    </a:moveTo>
                    <a:lnTo>
                      <a:pt x="2508" y="4960"/>
                    </a:lnTo>
                    <a:lnTo>
                      <a:pt x="2502" y="4956"/>
                    </a:lnTo>
                    <a:lnTo>
                      <a:pt x="2500" y="4950"/>
                    </a:lnTo>
                    <a:lnTo>
                      <a:pt x="2496" y="4932"/>
                    </a:lnTo>
                    <a:lnTo>
                      <a:pt x="2494" y="4924"/>
                    </a:lnTo>
                    <a:lnTo>
                      <a:pt x="2490" y="4918"/>
                    </a:lnTo>
                    <a:lnTo>
                      <a:pt x="2484" y="4914"/>
                    </a:lnTo>
                    <a:lnTo>
                      <a:pt x="2476" y="4912"/>
                    </a:lnTo>
                    <a:lnTo>
                      <a:pt x="2476" y="4912"/>
                    </a:lnTo>
                    <a:lnTo>
                      <a:pt x="2466" y="4916"/>
                    </a:lnTo>
                    <a:lnTo>
                      <a:pt x="2464" y="4920"/>
                    </a:lnTo>
                    <a:lnTo>
                      <a:pt x="2464" y="4926"/>
                    </a:lnTo>
                    <a:lnTo>
                      <a:pt x="2462" y="4928"/>
                    </a:lnTo>
                    <a:lnTo>
                      <a:pt x="2460" y="4932"/>
                    </a:lnTo>
                    <a:lnTo>
                      <a:pt x="2460" y="4932"/>
                    </a:lnTo>
                    <a:lnTo>
                      <a:pt x="2456" y="4936"/>
                    </a:lnTo>
                    <a:lnTo>
                      <a:pt x="2454" y="4938"/>
                    </a:lnTo>
                    <a:lnTo>
                      <a:pt x="2454" y="4940"/>
                    </a:lnTo>
                    <a:lnTo>
                      <a:pt x="2456" y="4942"/>
                    </a:lnTo>
                    <a:lnTo>
                      <a:pt x="2464" y="4944"/>
                    </a:lnTo>
                    <a:lnTo>
                      <a:pt x="2474" y="4942"/>
                    </a:lnTo>
                    <a:lnTo>
                      <a:pt x="2474" y="4942"/>
                    </a:lnTo>
                    <a:lnTo>
                      <a:pt x="2478" y="4944"/>
                    </a:lnTo>
                    <a:lnTo>
                      <a:pt x="2480" y="4948"/>
                    </a:lnTo>
                    <a:lnTo>
                      <a:pt x="2484" y="4958"/>
                    </a:lnTo>
                    <a:lnTo>
                      <a:pt x="2488" y="4972"/>
                    </a:lnTo>
                    <a:lnTo>
                      <a:pt x="2490" y="4976"/>
                    </a:lnTo>
                    <a:lnTo>
                      <a:pt x="2494" y="4978"/>
                    </a:lnTo>
                    <a:lnTo>
                      <a:pt x="2494" y="4978"/>
                    </a:lnTo>
                    <a:lnTo>
                      <a:pt x="2502" y="4984"/>
                    </a:lnTo>
                    <a:lnTo>
                      <a:pt x="2508" y="4988"/>
                    </a:lnTo>
                    <a:lnTo>
                      <a:pt x="2512" y="4990"/>
                    </a:lnTo>
                    <a:lnTo>
                      <a:pt x="2516" y="4990"/>
                    </a:lnTo>
                    <a:lnTo>
                      <a:pt x="2516" y="4990"/>
                    </a:lnTo>
                    <a:lnTo>
                      <a:pt x="2518" y="4990"/>
                    </a:lnTo>
                    <a:lnTo>
                      <a:pt x="2520" y="4988"/>
                    </a:lnTo>
                    <a:lnTo>
                      <a:pt x="2518" y="4984"/>
                    </a:lnTo>
                    <a:lnTo>
                      <a:pt x="2516" y="4978"/>
                    </a:lnTo>
                    <a:lnTo>
                      <a:pt x="2514" y="4976"/>
                    </a:lnTo>
                    <a:lnTo>
                      <a:pt x="2516" y="4974"/>
                    </a:lnTo>
                    <a:lnTo>
                      <a:pt x="2516" y="4974"/>
                    </a:lnTo>
                    <a:lnTo>
                      <a:pt x="2518" y="4970"/>
                    </a:lnTo>
                    <a:lnTo>
                      <a:pt x="2518" y="4966"/>
                    </a:lnTo>
                    <a:lnTo>
                      <a:pt x="2514" y="4964"/>
                    </a:lnTo>
                    <a:lnTo>
                      <a:pt x="2508" y="4960"/>
                    </a:lnTo>
                    <a:lnTo>
                      <a:pt x="2508" y="4960"/>
                    </a:lnTo>
                    <a:close/>
                    <a:moveTo>
                      <a:pt x="2428" y="4870"/>
                    </a:moveTo>
                    <a:lnTo>
                      <a:pt x="2428" y="4870"/>
                    </a:lnTo>
                    <a:lnTo>
                      <a:pt x="2432" y="4868"/>
                    </a:lnTo>
                    <a:lnTo>
                      <a:pt x="2434" y="4862"/>
                    </a:lnTo>
                    <a:lnTo>
                      <a:pt x="2434" y="4858"/>
                    </a:lnTo>
                    <a:lnTo>
                      <a:pt x="2432" y="4856"/>
                    </a:lnTo>
                    <a:lnTo>
                      <a:pt x="2430" y="4856"/>
                    </a:lnTo>
                    <a:lnTo>
                      <a:pt x="2430" y="4856"/>
                    </a:lnTo>
                    <a:lnTo>
                      <a:pt x="2426" y="4858"/>
                    </a:lnTo>
                    <a:lnTo>
                      <a:pt x="2424" y="4860"/>
                    </a:lnTo>
                    <a:lnTo>
                      <a:pt x="2420" y="4866"/>
                    </a:lnTo>
                    <a:lnTo>
                      <a:pt x="2420" y="4868"/>
                    </a:lnTo>
                    <a:lnTo>
                      <a:pt x="2420" y="4872"/>
                    </a:lnTo>
                    <a:lnTo>
                      <a:pt x="2424" y="4872"/>
                    </a:lnTo>
                    <a:lnTo>
                      <a:pt x="2428" y="4870"/>
                    </a:lnTo>
                    <a:lnTo>
                      <a:pt x="2428" y="4870"/>
                    </a:lnTo>
                    <a:close/>
                    <a:moveTo>
                      <a:pt x="2450" y="4852"/>
                    </a:moveTo>
                    <a:lnTo>
                      <a:pt x="2450" y="4852"/>
                    </a:lnTo>
                    <a:lnTo>
                      <a:pt x="2444" y="4848"/>
                    </a:lnTo>
                    <a:lnTo>
                      <a:pt x="2434" y="4840"/>
                    </a:lnTo>
                    <a:lnTo>
                      <a:pt x="2434" y="4840"/>
                    </a:lnTo>
                    <a:lnTo>
                      <a:pt x="2430" y="4836"/>
                    </a:lnTo>
                    <a:lnTo>
                      <a:pt x="2428" y="4838"/>
                    </a:lnTo>
                    <a:lnTo>
                      <a:pt x="2428" y="4846"/>
                    </a:lnTo>
                    <a:lnTo>
                      <a:pt x="2428" y="4846"/>
                    </a:lnTo>
                    <a:lnTo>
                      <a:pt x="2430" y="4848"/>
                    </a:lnTo>
                    <a:lnTo>
                      <a:pt x="2432" y="4850"/>
                    </a:lnTo>
                    <a:lnTo>
                      <a:pt x="2438" y="4854"/>
                    </a:lnTo>
                    <a:lnTo>
                      <a:pt x="2446" y="4854"/>
                    </a:lnTo>
                    <a:lnTo>
                      <a:pt x="2450" y="4852"/>
                    </a:lnTo>
                    <a:lnTo>
                      <a:pt x="2450" y="4852"/>
                    </a:lnTo>
                    <a:close/>
                    <a:moveTo>
                      <a:pt x="2378" y="4806"/>
                    </a:moveTo>
                    <a:lnTo>
                      <a:pt x="2378" y="4806"/>
                    </a:lnTo>
                    <a:lnTo>
                      <a:pt x="2376" y="4806"/>
                    </a:lnTo>
                    <a:lnTo>
                      <a:pt x="2376" y="4810"/>
                    </a:lnTo>
                    <a:lnTo>
                      <a:pt x="2376" y="4812"/>
                    </a:lnTo>
                    <a:lnTo>
                      <a:pt x="2378" y="4814"/>
                    </a:lnTo>
                    <a:lnTo>
                      <a:pt x="2378" y="4814"/>
                    </a:lnTo>
                    <a:lnTo>
                      <a:pt x="2382" y="4814"/>
                    </a:lnTo>
                    <a:lnTo>
                      <a:pt x="2382" y="4810"/>
                    </a:lnTo>
                    <a:lnTo>
                      <a:pt x="2380" y="4806"/>
                    </a:lnTo>
                    <a:lnTo>
                      <a:pt x="2378" y="4806"/>
                    </a:lnTo>
                    <a:lnTo>
                      <a:pt x="2378" y="4806"/>
                    </a:lnTo>
                    <a:close/>
                    <a:moveTo>
                      <a:pt x="2422" y="4774"/>
                    </a:moveTo>
                    <a:lnTo>
                      <a:pt x="2422" y="4774"/>
                    </a:lnTo>
                    <a:lnTo>
                      <a:pt x="2414" y="4778"/>
                    </a:lnTo>
                    <a:lnTo>
                      <a:pt x="2412" y="4782"/>
                    </a:lnTo>
                    <a:lnTo>
                      <a:pt x="2412" y="4782"/>
                    </a:lnTo>
                    <a:lnTo>
                      <a:pt x="2410" y="4784"/>
                    </a:lnTo>
                    <a:lnTo>
                      <a:pt x="2410" y="4784"/>
                    </a:lnTo>
                    <a:lnTo>
                      <a:pt x="2406" y="4788"/>
                    </a:lnTo>
                    <a:lnTo>
                      <a:pt x="2406" y="4790"/>
                    </a:lnTo>
                    <a:lnTo>
                      <a:pt x="2410" y="4792"/>
                    </a:lnTo>
                    <a:lnTo>
                      <a:pt x="2414" y="4790"/>
                    </a:lnTo>
                    <a:lnTo>
                      <a:pt x="2414" y="4790"/>
                    </a:lnTo>
                    <a:lnTo>
                      <a:pt x="2414" y="4790"/>
                    </a:lnTo>
                    <a:lnTo>
                      <a:pt x="2414" y="4790"/>
                    </a:lnTo>
                    <a:lnTo>
                      <a:pt x="2420" y="4796"/>
                    </a:lnTo>
                    <a:lnTo>
                      <a:pt x="2420" y="4796"/>
                    </a:lnTo>
                    <a:lnTo>
                      <a:pt x="2416" y="4796"/>
                    </a:lnTo>
                    <a:lnTo>
                      <a:pt x="2414" y="4796"/>
                    </a:lnTo>
                    <a:lnTo>
                      <a:pt x="2414" y="4798"/>
                    </a:lnTo>
                    <a:lnTo>
                      <a:pt x="2414" y="4800"/>
                    </a:lnTo>
                    <a:lnTo>
                      <a:pt x="2414" y="4800"/>
                    </a:lnTo>
                    <a:lnTo>
                      <a:pt x="2418" y="4804"/>
                    </a:lnTo>
                    <a:lnTo>
                      <a:pt x="2420" y="4804"/>
                    </a:lnTo>
                    <a:lnTo>
                      <a:pt x="2422" y="4802"/>
                    </a:lnTo>
                    <a:lnTo>
                      <a:pt x="2420" y="4798"/>
                    </a:lnTo>
                    <a:lnTo>
                      <a:pt x="2420" y="4798"/>
                    </a:lnTo>
                    <a:lnTo>
                      <a:pt x="2420" y="4798"/>
                    </a:lnTo>
                    <a:lnTo>
                      <a:pt x="2420" y="4798"/>
                    </a:lnTo>
                    <a:lnTo>
                      <a:pt x="2432" y="4808"/>
                    </a:lnTo>
                    <a:lnTo>
                      <a:pt x="2432" y="4808"/>
                    </a:lnTo>
                    <a:lnTo>
                      <a:pt x="2436" y="4808"/>
                    </a:lnTo>
                    <a:lnTo>
                      <a:pt x="2438" y="4804"/>
                    </a:lnTo>
                    <a:lnTo>
                      <a:pt x="2438" y="4798"/>
                    </a:lnTo>
                    <a:lnTo>
                      <a:pt x="2438" y="4790"/>
                    </a:lnTo>
                    <a:lnTo>
                      <a:pt x="2436" y="4782"/>
                    </a:lnTo>
                    <a:lnTo>
                      <a:pt x="2434" y="4776"/>
                    </a:lnTo>
                    <a:lnTo>
                      <a:pt x="2428" y="4774"/>
                    </a:lnTo>
                    <a:lnTo>
                      <a:pt x="2422" y="4774"/>
                    </a:lnTo>
                    <a:lnTo>
                      <a:pt x="2422" y="4774"/>
                    </a:lnTo>
                    <a:close/>
                    <a:moveTo>
                      <a:pt x="2384" y="4796"/>
                    </a:moveTo>
                    <a:lnTo>
                      <a:pt x="2384" y="4796"/>
                    </a:lnTo>
                    <a:lnTo>
                      <a:pt x="2384" y="4798"/>
                    </a:lnTo>
                    <a:lnTo>
                      <a:pt x="2384" y="4802"/>
                    </a:lnTo>
                    <a:lnTo>
                      <a:pt x="2386" y="4806"/>
                    </a:lnTo>
                    <a:lnTo>
                      <a:pt x="2390" y="4806"/>
                    </a:lnTo>
                    <a:lnTo>
                      <a:pt x="2390" y="4806"/>
                    </a:lnTo>
                    <a:lnTo>
                      <a:pt x="2392" y="4806"/>
                    </a:lnTo>
                    <a:lnTo>
                      <a:pt x="2390" y="4802"/>
                    </a:lnTo>
                    <a:lnTo>
                      <a:pt x="2388" y="4798"/>
                    </a:lnTo>
                    <a:lnTo>
                      <a:pt x="2384" y="4796"/>
                    </a:lnTo>
                    <a:lnTo>
                      <a:pt x="2384" y="4796"/>
                    </a:lnTo>
                    <a:close/>
                    <a:moveTo>
                      <a:pt x="2578" y="4662"/>
                    </a:moveTo>
                    <a:lnTo>
                      <a:pt x="2578" y="4662"/>
                    </a:lnTo>
                    <a:lnTo>
                      <a:pt x="2580" y="4662"/>
                    </a:lnTo>
                    <a:lnTo>
                      <a:pt x="2584" y="4660"/>
                    </a:lnTo>
                    <a:lnTo>
                      <a:pt x="2584" y="4650"/>
                    </a:lnTo>
                    <a:lnTo>
                      <a:pt x="2584" y="4640"/>
                    </a:lnTo>
                    <a:lnTo>
                      <a:pt x="2582" y="4634"/>
                    </a:lnTo>
                    <a:lnTo>
                      <a:pt x="2582" y="4634"/>
                    </a:lnTo>
                    <a:lnTo>
                      <a:pt x="2578" y="4634"/>
                    </a:lnTo>
                    <a:lnTo>
                      <a:pt x="2574" y="4640"/>
                    </a:lnTo>
                    <a:lnTo>
                      <a:pt x="2570" y="4646"/>
                    </a:lnTo>
                    <a:lnTo>
                      <a:pt x="2572" y="4650"/>
                    </a:lnTo>
                    <a:lnTo>
                      <a:pt x="2574" y="4652"/>
                    </a:lnTo>
                    <a:lnTo>
                      <a:pt x="2574" y="4652"/>
                    </a:lnTo>
                    <a:lnTo>
                      <a:pt x="2578" y="4656"/>
                    </a:lnTo>
                    <a:lnTo>
                      <a:pt x="2576" y="4658"/>
                    </a:lnTo>
                    <a:lnTo>
                      <a:pt x="2574" y="4660"/>
                    </a:lnTo>
                    <a:lnTo>
                      <a:pt x="2578" y="4662"/>
                    </a:lnTo>
                    <a:lnTo>
                      <a:pt x="2578" y="4662"/>
                    </a:lnTo>
                    <a:close/>
                    <a:moveTo>
                      <a:pt x="2136" y="4766"/>
                    </a:moveTo>
                    <a:lnTo>
                      <a:pt x="2136" y="4766"/>
                    </a:lnTo>
                    <a:lnTo>
                      <a:pt x="2134" y="4768"/>
                    </a:lnTo>
                    <a:lnTo>
                      <a:pt x="2134" y="4772"/>
                    </a:lnTo>
                    <a:lnTo>
                      <a:pt x="2138" y="4782"/>
                    </a:lnTo>
                    <a:lnTo>
                      <a:pt x="2154" y="4806"/>
                    </a:lnTo>
                    <a:lnTo>
                      <a:pt x="2154" y="4806"/>
                    </a:lnTo>
                    <a:lnTo>
                      <a:pt x="2158" y="4812"/>
                    </a:lnTo>
                    <a:lnTo>
                      <a:pt x="2162" y="4812"/>
                    </a:lnTo>
                    <a:lnTo>
                      <a:pt x="2164" y="4810"/>
                    </a:lnTo>
                    <a:lnTo>
                      <a:pt x="2166" y="4806"/>
                    </a:lnTo>
                    <a:lnTo>
                      <a:pt x="2166" y="4794"/>
                    </a:lnTo>
                    <a:lnTo>
                      <a:pt x="2164" y="4790"/>
                    </a:lnTo>
                    <a:lnTo>
                      <a:pt x="2160" y="4786"/>
                    </a:lnTo>
                    <a:lnTo>
                      <a:pt x="2160" y="4786"/>
                    </a:lnTo>
                    <a:lnTo>
                      <a:pt x="2154" y="4780"/>
                    </a:lnTo>
                    <a:lnTo>
                      <a:pt x="2150" y="4772"/>
                    </a:lnTo>
                    <a:lnTo>
                      <a:pt x="2144" y="4768"/>
                    </a:lnTo>
                    <a:lnTo>
                      <a:pt x="2140" y="4766"/>
                    </a:lnTo>
                    <a:lnTo>
                      <a:pt x="2136" y="4766"/>
                    </a:lnTo>
                    <a:lnTo>
                      <a:pt x="2136" y="4766"/>
                    </a:lnTo>
                    <a:close/>
                    <a:moveTo>
                      <a:pt x="2832" y="5258"/>
                    </a:moveTo>
                    <a:lnTo>
                      <a:pt x="2832" y="5258"/>
                    </a:lnTo>
                    <a:lnTo>
                      <a:pt x="2828" y="5254"/>
                    </a:lnTo>
                    <a:lnTo>
                      <a:pt x="2828" y="5248"/>
                    </a:lnTo>
                    <a:lnTo>
                      <a:pt x="2832" y="5234"/>
                    </a:lnTo>
                    <a:lnTo>
                      <a:pt x="2832" y="5226"/>
                    </a:lnTo>
                    <a:lnTo>
                      <a:pt x="2832" y="5220"/>
                    </a:lnTo>
                    <a:lnTo>
                      <a:pt x="2828" y="5214"/>
                    </a:lnTo>
                    <a:lnTo>
                      <a:pt x="2820" y="5212"/>
                    </a:lnTo>
                    <a:lnTo>
                      <a:pt x="2820" y="5212"/>
                    </a:lnTo>
                    <a:lnTo>
                      <a:pt x="2808" y="5212"/>
                    </a:lnTo>
                    <a:lnTo>
                      <a:pt x="2798" y="5214"/>
                    </a:lnTo>
                    <a:lnTo>
                      <a:pt x="2786" y="5216"/>
                    </a:lnTo>
                    <a:lnTo>
                      <a:pt x="2780" y="5216"/>
                    </a:lnTo>
                    <a:lnTo>
                      <a:pt x="2772" y="5212"/>
                    </a:lnTo>
                    <a:lnTo>
                      <a:pt x="2772" y="5212"/>
                    </a:lnTo>
                    <a:lnTo>
                      <a:pt x="2762" y="5208"/>
                    </a:lnTo>
                    <a:lnTo>
                      <a:pt x="2762" y="5206"/>
                    </a:lnTo>
                    <a:lnTo>
                      <a:pt x="2762" y="5204"/>
                    </a:lnTo>
                    <a:lnTo>
                      <a:pt x="2762" y="5196"/>
                    </a:lnTo>
                    <a:lnTo>
                      <a:pt x="2762" y="5190"/>
                    </a:lnTo>
                    <a:lnTo>
                      <a:pt x="2758" y="5184"/>
                    </a:lnTo>
                    <a:lnTo>
                      <a:pt x="2758" y="5184"/>
                    </a:lnTo>
                    <a:lnTo>
                      <a:pt x="2754" y="5178"/>
                    </a:lnTo>
                    <a:lnTo>
                      <a:pt x="2752" y="5174"/>
                    </a:lnTo>
                    <a:lnTo>
                      <a:pt x="2748" y="5174"/>
                    </a:lnTo>
                    <a:lnTo>
                      <a:pt x="2746" y="5176"/>
                    </a:lnTo>
                    <a:lnTo>
                      <a:pt x="2740" y="5178"/>
                    </a:lnTo>
                    <a:lnTo>
                      <a:pt x="2738" y="5178"/>
                    </a:lnTo>
                    <a:lnTo>
                      <a:pt x="2734" y="5174"/>
                    </a:lnTo>
                    <a:lnTo>
                      <a:pt x="2734" y="5174"/>
                    </a:lnTo>
                    <a:lnTo>
                      <a:pt x="2730" y="5168"/>
                    </a:lnTo>
                    <a:lnTo>
                      <a:pt x="2728" y="5170"/>
                    </a:lnTo>
                    <a:lnTo>
                      <a:pt x="2726" y="5170"/>
                    </a:lnTo>
                    <a:lnTo>
                      <a:pt x="2720" y="5166"/>
                    </a:lnTo>
                    <a:lnTo>
                      <a:pt x="2720" y="5166"/>
                    </a:lnTo>
                    <a:lnTo>
                      <a:pt x="2718" y="5164"/>
                    </a:lnTo>
                    <a:lnTo>
                      <a:pt x="2714" y="5162"/>
                    </a:lnTo>
                    <a:lnTo>
                      <a:pt x="2708" y="5164"/>
                    </a:lnTo>
                    <a:lnTo>
                      <a:pt x="2704" y="5166"/>
                    </a:lnTo>
                    <a:lnTo>
                      <a:pt x="2700" y="5166"/>
                    </a:lnTo>
                    <a:lnTo>
                      <a:pt x="2698" y="5162"/>
                    </a:lnTo>
                    <a:lnTo>
                      <a:pt x="2698" y="5162"/>
                    </a:lnTo>
                    <a:lnTo>
                      <a:pt x="2694" y="5154"/>
                    </a:lnTo>
                    <a:lnTo>
                      <a:pt x="2692" y="5150"/>
                    </a:lnTo>
                    <a:lnTo>
                      <a:pt x="2688" y="5148"/>
                    </a:lnTo>
                    <a:lnTo>
                      <a:pt x="2686" y="5150"/>
                    </a:lnTo>
                    <a:lnTo>
                      <a:pt x="2682" y="5152"/>
                    </a:lnTo>
                    <a:lnTo>
                      <a:pt x="2680" y="5156"/>
                    </a:lnTo>
                    <a:lnTo>
                      <a:pt x="2676" y="5166"/>
                    </a:lnTo>
                    <a:lnTo>
                      <a:pt x="2676" y="5166"/>
                    </a:lnTo>
                    <a:lnTo>
                      <a:pt x="2670" y="5178"/>
                    </a:lnTo>
                    <a:lnTo>
                      <a:pt x="2668" y="5180"/>
                    </a:lnTo>
                    <a:lnTo>
                      <a:pt x="2666" y="5180"/>
                    </a:lnTo>
                    <a:lnTo>
                      <a:pt x="2660" y="5176"/>
                    </a:lnTo>
                    <a:lnTo>
                      <a:pt x="2654" y="5174"/>
                    </a:lnTo>
                    <a:lnTo>
                      <a:pt x="2646" y="5172"/>
                    </a:lnTo>
                    <a:lnTo>
                      <a:pt x="2646" y="5172"/>
                    </a:lnTo>
                    <a:lnTo>
                      <a:pt x="2634" y="5174"/>
                    </a:lnTo>
                    <a:lnTo>
                      <a:pt x="2630" y="5174"/>
                    </a:lnTo>
                    <a:lnTo>
                      <a:pt x="2626" y="5176"/>
                    </a:lnTo>
                    <a:lnTo>
                      <a:pt x="2620" y="5174"/>
                    </a:lnTo>
                    <a:lnTo>
                      <a:pt x="2620" y="5174"/>
                    </a:lnTo>
                    <a:lnTo>
                      <a:pt x="2612" y="5172"/>
                    </a:lnTo>
                    <a:lnTo>
                      <a:pt x="2604" y="5172"/>
                    </a:lnTo>
                    <a:lnTo>
                      <a:pt x="2600" y="5170"/>
                    </a:lnTo>
                    <a:lnTo>
                      <a:pt x="2596" y="5168"/>
                    </a:lnTo>
                    <a:lnTo>
                      <a:pt x="2594" y="5162"/>
                    </a:lnTo>
                    <a:lnTo>
                      <a:pt x="2590" y="5154"/>
                    </a:lnTo>
                    <a:lnTo>
                      <a:pt x="2590" y="5154"/>
                    </a:lnTo>
                    <a:lnTo>
                      <a:pt x="2588" y="5148"/>
                    </a:lnTo>
                    <a:lnTo>
                      <a:pt x="2586" y="5144"/>
                    </a:lnTo>
                    <a:lnTo>
                      <a:pt x="2584" y="5144"/>
                    </a:lnTo>
                    <a:lnTo>
                      <a:pt x="2582" y="5144"/>
                    </a:lnTo>
                    <a:lnTo>
                      <a:pt x="2576" y="5146"/>
                    </a:lnTo>
                    <a:lnTo>
                      <a:pt x="2574" y="5146"/>
                    </a:lnTo>
                    <a:lnTo>
                      <a:pt x="2570" y="5142"/>
                    </a:lnTo>
                    <a:lnTo>
                      <a:pt x="2570" y="5142"/>
                    </a:lnTo>
                    <a:lnTo>
                      <a:pt x="2566" y="5140"/>
                    </a:lnTo>
                    <a:lnTo>
                      <a:pt x="2564" y="5140"/>
                    </a:lnTo>
                    <a:lnTo>
                      <a:pt x="2558" y="5140"/>
                    </a:lnTo>
                    <a:lnTo>
                      <a:pt x="2554" y="5142"/>
                    </a:lnTo>
                    <a:lnTo>
                      <a:pt x="2552" y="5140"/>
                    </a:lnTo>
                    <a:lnTo>
                      <a:pt x="2550" y="5138"/>
                    </a:lnTo>
                    <a:lnTo>
                      <a:pt x="2550" y="5138"/>
                    </a:lnTo>
                    <a:lnTo>
                      <a:pt x="2544" y="5132"/>
                    </a:lnTo>
                    <a:lnTo>
                      <a:pt x="2538" y="5128"/>
                    </a:lnTo>
                    <a:lnTo>
                      <a:pt x="2532" y="5128"/>
                    </a:lnTo>
                    <a:lnTo>
                      <a:pt x="2530" y="5130"/>
                    </a:lnTo>
                    <a:lnTo>
                      <a:pt x="2530" y="5132"/>
                    </a:lnTo>
                    <a:lnTo>
                      <a:pt x="2530" y="5132"/>
                    </a:lnTo>
                    <a:lnTo>
                      <a:pt x="2528" y="5136"/>
                    </a:lnTo>
                    <a:lnTo>
                      <a:pt x="2526" y="5136"/>
                    </a:lnTo>
                    <a:lnTo>
                      <a:pt x="2520" y="5136"/>
                    </a:lnTo>
                    <a:lnTo>
                      <a:pt x="2512" y="5132"/>
                    </a:lnTo>
                    <a:lnTo>
                      <a:pt x="2498" y="5130"/>
                    </a:lnTo>
                    <a:lnTo>
                      <a:pt x="2498" y="5130"/>
                    </a:lnTo>
                    <a:lnTo>
                      <a:pt x="2492" y="5130"/>
                    </a:lnTo>
                    <a:lnTo>
                      <a:pt x="2488" y="5132"/>
                    </a:lnTo>
                    <a:lnTo>
                      <a:pt x="2486" y="5136"/>
                    </a:lnTo>
                    <a:lnTo>
                      <a:pt x="2484" y="5140"/>
                    </a:lnTo>
                    <a:lnTo>
                      <a:pt x="2482" y="5150"/>
                    </a:lnTo>
                    <a:lnTo>
                      <a:pt x="2480" y="5152"/>
                    </a:lnTo>
                    <a:lnTo>
                      <a:pt x="2478" y="5154"/>
                    </a:lnTo>
                    <a:lnTo>
                      <a:pt x="2478" y="5154"/>
                    </a:lnTo>
                    <a:lnTo>
                      <a:pt x="2474" y="5156"/>
                    </a:lnTo>
                    <a:lnTo>
                      <a:pt x="2472" y="5160"/>
                    </a:lnTo>
                    <a:lnTo>
                      <a:pt x="2472" y="5164"/>
                    </a:lnTo>
                    <a:lnTo>
                      <a:pt x="2464" y="5164"/>
                    </a:lnTo>
                    <a:lnTo>
                      <a:pt x="2464" y="5164"/>
                    </a:lnTo>
                    <a:lnTo>
                      <a:pt x="2460" y="5166"/>
                    </a:lnTo>
                    <a:lnTo>
                      <a:pt x="2458" y="5168"/>
                    </a:lnTo>
                    <a:lnTo>
                      <a:pt x="2460" y="5172"/>
                    </a:lnTo>
                    <a:lnTo>
                      <a:pt x="2464" y="5174"/>
                    </a:lnTo>
                    <a:lnTo>
                      <a:pt x="2464" y="5174"/>
                    </a:lnTo>
                    <a:lnTo>
                      <a:pt x="2474" y="5174"/>
                    </a:lnTo>
                    <a:lnTo>
                      <a:pt x="2482" y="5174"/>
                    </a:lnTo>
                    <a:lnTo>
                      <a:pt x="2490" y="5174"/>
                    </a:lnTo>
                    <a:lnTo>
                      <a:pt x="2494" y="5174"/>
                    </a:lnTo>
                    <a:lnTo>
                      <a:pt x="2496" y="5178"/>
                    </a:lnTo>
                    <a:lnTo>
                      <a:pt x="2496" y="5178"/>
                    </a:lnTo>
                    <a:lnTo>
                      <a:pt x="2500" y="5180"/>
                    </a:lnTo>
                    <a:lnTo>
                      <a:pt x="2504" y="5180"/>
                    </a:lnTo>
                    <a:lnTo>
                      <a:pt x="2510" y="5180"/>
                    </a:lnTo>
                    <a:lnTo>
                      <a:pt x="2510" y="5180"/>
                    </a:lnTo>
                    <a:lnTo>
                      <a:pt x="2512" y="5180"/>
                    </a:lnTo>
                    <a:lnTo>
                      <a:pt x="2508" y="5188"/>
                    </a:lnTo>
                    <a:lnTo>
                      <a:pt x="2508" y="5188"/>
                    </a:lnTo>
                    <a:lnTo>
                      <a:pt x="2506" y="5194"/>
                    </a:lnTo>
                    <a:lnTo>
                      <a:pt x="2508" y="5198"/>
                    </a:lnTo>
                    <a:lnTo>
                      <a:pt x="2510" y="5200"/>
                    </a:lnTo>
                    <a:lnTo>
                      <a:pt x="2516" y="5200"/>
                    </a:lnTo>
                    <a:lnTo>
                      <a:pt x="2536" y="5204"/>
                    </a:lnTo>
                    <a:lnTo>
                      <a:pt x="2550" y="5210"/>
                    </a:lnTo>
                    <a:lnTo>
                      <a:pt x="2570" y="5218"/>
                    </a:lnTo>
                    <a:lnTo>
                      <a:pt x="2570" y="5218"/>
                    </a:lnTo>
                    <a:lnTo>
                      <a:pt x="2576" y="5220"/>
                    </a:lnTo>
                    <a:lnTo>
                      <a:pt x="2584" y="5220"/>
                    </a:lnTo>
                    <a:lnTo>
                      <a:pt x="2588" y="5220"/>
                    </a:lnTo>
                    <a:lnTo>
                      <a:pt x="2594" y="5218"/>
                    </a:lnTo>
                    <a:lnTo>
                      <a:pt x="2602" y="5214"/>
                    </a:lnTo>
                    <a:lnTo>
                      <a:pt x="2606" y="5214"/>
                    </a:lnTo>
                    <a:lnTo>
                      <a:pt x="2608" y="5214"/>
                    </a:lnTo>
                    <a:lnTo>
                      <a:pt x="2608" y="5214"/>
                    </a:lnTo>
                    <a:lnTo>
                      <a:pt x="2614" y="5218"/>
                    </a:lnTo>
                    <a:lnTo>
                      <a:pt x="2620" y="5216"/>
                    </a:lnTo>
                    <a:lnTo>
                      <a:pt x="2628" y="5216"/>
                    </a:lnTo>
                    <a:lnTo>
                      <a:pt x="2642" y="5218"/>
                    </a:lnTo>
                    <a:lnTo>
                      <a:pt x="2642" y="5218"/>
                    </a:lnTo>
                    <a:lnTo>
                      <a:pt x="2648" y="5220"/>
                    </a:lnTo>
                    <a:lnTo>
                      <a:pt x="2654" y="5224"/>
                    </a:lnTo>
                    <a:lnTo>
                      <a:pt x="2662" y="5230"/>
                    </a:lnTo>
                    <a:lnTo>
                      <a:pt x="2668" y="5234"/>
                    </a:lnTo>
                    <a:lnTo>
                      <a:pt x="2676" y="5238"/>
                    </a:lnTo>
                    <a:lnTo>
                      <a:pt x="2690" y="5242"/>
                    </a:lnTo>
                    <a:lnTo>
                      <a:pt x="2706" y="5246"/>
                    </a:lnTo>
                    <a:lnTo>
                      <a:pt x="2706" y="5246"/>
                    </a:lnTo>
                    <a:lnTo>
                      <a:pt x="2722" y="5248"/>
                    </a:lnTo>
                    <a:lnTo>
                      <a:pt x="2726" y="5246"/>
                    </a:lnTo>
                    <a:lnTo>
                      <a:pt x="2728" y="5244"/>
                    </a:lnTo>
                    <a:lnTo>
                      <a:pt x="2732" y="5244"/>
                    </a:lnTo>
                    <a:lnTo>
                      <a:pt x="2752" y="5248"/>
                    </a:lnTo>
                    <a:lnTo>
                      <a:pt x="2752" y="5248"/>
                    </a:lnTo>
                    <a:lnTo>
                      <a:pt x="2764" y="5250"/>
                    </a:lnTo>
                    <a:lnTo>
                      <a:pt x="2770" y="5248"/>
                    </a:lnTo>
                    <a:lnTo>
                      <a:pt x="2772" y="5246"/>
                    </a:lnTo>
                    <a:lnTo>
                      <a:pt x="2774" y="5244"/>
                    </a:lnTo>
                    <a:lnTo>
                      <a:pt x="2774" y="5242"/>
                    </a:lnTo>
                    <a:lnTo>
                      <a:pt x="2776" y="5242"/>
                    </a:lnTo>
                    <a:lnTo>
                      <a:pt x="2794" y="5250"/>
                    </a:lnTo>
                    <a:lnTo>
                      <a:pt x="2794" y="5250"/>
                    </a:lnTo>
                    <a:lnTo>
                      <a:pt x="2806" y="5256"/>
                    </a:lnTo>
                    <a:lnTo>
                      <a:pt x="2814" y="5258"/>
                    </a:lnTo>
                    <a:lnTo>
                      <a:pt x="2820" y="5260"/>
                    </a:lnTo>
                    <a:lnTo>
                      <a:pt x="2828" y="5264"/>
                    </a:lnTo>
                    <a:lnTo>
                      <a:pt x="2828" y="5264"/>
                    </a:lnTo>
                    <a:lnTo>
                      <a:pt x="2834" y="5268"/>
                    </a:lnTo>
                    <a:lnTo>
                      <a:pt x="2836" y="5268"/>
                    </a:lnTo>
                    <a:lnTo>
                      <a:pt x="2836" y="5266"/>
                    </a:lnTo>
                    <a:lnTo>
                      <a:pt x="2836" y="5262"/>
                    </a:lnTo>
                    <a:lnTo>
                      <a:pt x="2832" y="5258"/>
                    </a:lnTo>
                    <a:lnTo>
                      <a:pt x="2832" y="5258"/>
                    </a:lnTo>
                    <a:close/>
                    <a:moveTo>
                      <a:pt x="2398" y="4778"/>
                    </a:moveTo>
                    <a:lnTo>
                      <a:pt x="2398" y="4778"/>
                    </a:lnTo>
                    <a:lnTo>
                      <a:pt x="2400" y="4780"/>
                    </a:lnTo>
                    <a:lnTo>
                      <a:pt x="2402" y="4780"/>
                    </a:lnTo>
                    <a:lnTo>
                      <a:pt x="2406" y="4780"/>
                    </a:lnTo>
                    <a:lnTo>
                      <a:pt x="2410" y="4776"/>
                    </a:lnTo>
                    <a:lnTo>
                      <a:pt x="2410" y="4774"/>
                    </a:lnTo>
                    <a:lnTo>
                      <a:pt x="2410" y="4774"/>
                    </a:lnTo>
                    <a:lnTo>
                      <a:pt x="2408" y="4772"/>
                    </a:lnTo>
                    <a:lnTo>
                      <a:pt x="2402" y="4772"/>
                    </a:lnTo>
                    <a:lnTo>
                      <a:pt x="2398" y="4774"/>
                    </a:lnTo>
                    <a:lnTo>
                      <a:pt x="2398" y="4776"/>
                    </a:lnTo>
                    <a:lnTo>
                      <a:pt x="2398" y="4778"/>
                    </a:lnTo>
                    <a:lnTo>
                      <a:pt x="2398" y="4778"/>
                    </a:lnTo>
                    <a:close/>
                    <a:moveTo>
                      <a:pt x="2330" y="4760"/>
                    </a:moveTo>
                    <a:lnTo>
                      <a:pt x="2330" y="4760"/>
                    </a:lnTo>
                    <a:lnTo>
                      <a:pt x="2330" y="4762"/>
                    </a:lnTo>
                    <a:lnTo>
                      <a:pt x="2332" y="4764"/>
                    </a:lnTo>
                    <a:lnTo>
                      <a:pt x="2340" y="4770"/>
                    </a:lnTo>
                    <a:lnTo>
                      <a:pt x="2340" y="4770"/>
                    </a:lnTo>
                    <a:lnTo>
                      <a:pt x="2348" y="4774"/>
                    </a:lnTo>
                    <a:lnTo>
                      <a:pt x="2350" y="4774"/>
                    </a:lnTo>
                    <a:lnTo>
                      <a:pt x="2350" y="4770"/>
                    </a:lnTo>
                    <a:lnTo>
                      <a:pt x="2350" y="4770"/>
                    </a:lnTo>
                    <a:lnTo>
                      <a:pt x="2350" y="4768"/>
                    </a:lnTo>
                    <a:lnTo>
                      <a:pt x="2346" y="4764"/>
                    </a:lnTo>
                    <a:lnTo>
                      <a:pt x="2340" y="4760"/>
                    </a:lnTo>
                    <a:lnTo>
                      <a:pt x="2334" y="4758"/>
                    </a:lnTo>
                    <a:lnTo>
                      <a:pt x="2332" y="4758"/>
                    </a:lnTo>
                    <a:lnTo>
                      <a:pt x="2330" y="4760"/>
                    </a:lnTo>
                    <a:lnTo>
                      <a:pt x="2330" y="4760"/>
                    </a:lnTo>
                    <a:close/>
                    <a:moveTo>
                      <a:pt x="2230" y="4942"/>
                    </a:moveTo>
                    <a:lnTo>
                      <a:pt x="2230" y="4942"/>
                    </a:lnTo>
                    <a:lnTo>
                      <a:pt x="2230" y="4944"/>
                    </a:lnTo>
                    <a:lnTo>
                      <a:pt x="2230" y="4946"/>
                    </a:lnTo>
                    <a:lnTo>
                      <a:pt x="2234" y="4952"/>
                    </a:lnTo>
                    <a:lnTo>
                      <a:pt x="2238" y="4956"/>
                    </a:lnTo>
                    <a:lnTo>
                      <a:pt x="2242" y="4956"/>
                    </a:lnTo>
                    <a:lnTo>
                      <a:pt x="2244" y="4954"/>
                    </a:lnTo>
                    <a:lnTo>
                      <a:pt x="2244" y="4954"/>
                    </a:lnTo>
                    <a:lnTo>
                      <a:pt x="2244" y="4952"/>
                    </a:lnTo>
                    <a:lnTo>
                      <a:pt x="2244" y="4950"/>
                    </a:lnTo>
                    <a:lnTo>
                      <a:pt x="2240" y="4944"/>
                    </a:lnTo>
                    <a:lnTo>
                      <a:pt x="2236" y="4940"/>
                    </a:lnTo>
                    <a:lnTo>
                      <a:pt x="2232" y="4940"/>
                    </a:lnTo>
                    <a:lnTo>
                      <a:pt x="2230" y="4942"/>
                    </a:lnTo>
                    <a:lnTo>
                      <a:pt x="2230" y="4942"/>
                    </a:lnTo>
                    <a:close/>
                    <a:moveTo>
                      <a:pt x="2194" y="4886"/>
                    </a:moveTo>
                    <a:lnTo>
                      <a:pt x="2194" y="4886"/>
                    </a:lnTo>
                    <a:lnTo>
                      <a:pt x="2192" y="4890"/>
                    </a:lnTo>
                    <a:lnTo>
                      <a:pt x="2192" y="4896"/>
                    </a:lnTo>
                    <a:lnTo>
                      <a:pt x="2194" y="4904"/>
                    </a:lnTo>
                    <a:lnTo>
                      <a:pt x="2198" y="4910"/>
                    </a:lnTo>
                    <a:lnTo>
                      <a:pt x="2208" y="4920"/>
                    </a:lnTo>
                    <a:lnTo>
                      <a:pt x="2214" y="4924"/>
                    </a:lnTo>
                    <a:lnTo>
                      <a:pt x="2218" y="4924"/>
                    </a:lnTo>
                    <a:lnTo>
                      <a:pt x="2218" y="4924"/>
                    </a:lnTo>
                    <a:lnTo>
                      <a:pt x="2220" y="4920"/>
                    </a:lnTo>
                    <a:lnTo>
                      <a:pt x="2220" y="4914"/>
                    </a:lnTo>
                    <a:lnTo>
                      <a:pt x="2214" y="4900"/>
                    </a:lnTo>
                    <a:lnTo>
                      <a:pt x="2210" y="4894"/>
                    </a:lnTo>
                    <a:lnTo>
                      <a:pt x="2204" y="4888"/>
                    </a:lnTo>
                    <a:lnTo>
                      <a:pt x="2200" y="4886"/>
                    </a:lnTo>
                    <a:lnTo>
                      <a:pt x="2194" y="4886"/>
                    </a:lnTo>
                    <a:lnTo>
                      <a:pt x="2194" y="4886"/>
                    </a:lnTo>
                    <a:close/>
                    <a:moveTo>
                      <a:pt x="2182" y="4866"/>
                    </a:moveTo>
                    <a:lnTo>
                      <a:pt x="2182" y="4866"/>
                    </a:lnTo>
                    <a:lnTo>
                      <a:pt x="2184" y="4868"/>
                    </a:lnTo>
                    <a:lnTo>
                      <a:pt x="2186" y="4866"/>
                    </a:lnTo>
                    <a:lnTo>
                      <a:pt x="2188" y="4862"/>
                    </a:lnTo>
                    <a:lnTo>
                      <a:pt x="2188" y="4856"/>
                    </a:lnTo>
                    <a:lnTo>
                      <a:pt x="2186" y="4850"/>
                    </a:lnTo>
                    <a:lnTo>
                      <a:pt x="2186" y="4850"/>
                    </a:lnTo>
                    <a:lnTo>
                      <a:pt x="2184" y="4850"/>
                    </a:lnTo>
                    <a:lnTo>
                      <a:pt x="2182" y="4850"/>
                    </a:lnTo>
                    <a:lnTo>
                      <a:pt x="2180" y="4854"/>
                    </a:lnTo>
                    <a:lnTo>
                      <a:pt x="2180" y="4860"/>
                    </a:lnTo>
                    <a:lnTo>
                      <a:pt x="2180" y="4864"/>
                    </a:lnTo>
                    <a:lnTo>
                      <a:pt x="2182" y="4866"/>
                    </a:lnTo>
                    <a:lnTo>
                      <a:pt x="2182" y="4866"/>
                    </a:lnTo>
                    <a:close/>
                    <a:moveTo>
                      <a:pt x="2248" y="4964"/>
                    </a:moveTo>
                    <a:lnTo>
                      <a:pt x="2248" y="4964"/>
                    </a:lnTo>
                    <a:lnTo>
                      <a:pt x="2246" y="4968"/>
                    </a:lnTo>
                    <a:lnTo>
                      <a:pt x="2246" y="4974"/>
                    </a:lnTo>
                    <a:lnTo>
                      <a:pt x="2248" y="4976"/>
                    </a:lnTo>
                    <a:lnTo>
                      <a:pt x="2252" y="4978"/>
                    </a:lnTo>
                    <a:lnTo>
                      <a:pt x="2252" y="4978"/>
                    </a:lnTo>
                    <a:lnTo>
                      <a:pt x="2254" y="4978"/>
                    </a:lnTo>
                    <a:lnTo>
                      <a:pt x="2256" y="4980"/>
                    </a:lnTo>
                    <a:lnTo>
                      <a:pt x="2260" y="4990"/>
                    </a:lnTo>
                    <a:lnTo>
                      <a:pt x="2262" y="4996"/>
                    </a:lnTo>
                    <a:lnTo>
                      <a:pt x="2264" y="4996"/>
                    </a:lnTo>
                    <a:lnTo>
                      <a:pt x="2266" y="4994"/>
                    </a:lnTo>
                    <a:lnTo>
                      <a:pt x="2266" y="4994"/>
                    </a:lnTo>
                    <a:lnTo>
                      <a:pt x="2266" y="4990"/>
                    </a:lnTo>
                    <a:lnTo>
                      <a:pt x="2266" y="4984"/>
                    </a:lnTo>
                    <a:lnTo>
                      <a:pt x="2260" y="4974"/>
                    </a:lnTo>
                    <a:lnTo>
                      <a:pt x="2254" y="4964"/>
                    </a:lnTo>
                    <a:lnTo>
                      <a:pt x="2250" y="4964"/>
                    </a:lnTo>
                    <a:lnTo>
                      <a:pt x="2248" y="4964"/>
                    </a:lnTo>
                    <a:lnTo>
                      <a:pt x="2248" y="4964"/>
                    </a:lnTo>
                    <a:close/>
                    <a:moveTo>
                      <a:pt x="2354" y="4788"/>
                    </a:moveTo>
                    <a:lnTo>
                      <a:pt x="2354" y="4788"/>
                    </a:lnTo>
                    <a:lnTo>
                      <a:pt x="2352" y="4784"/>
                    </a:lnTo>
                    <a:lnTo>
                      <a:pt x="2352" y="4784"/>
                    </a:lnTo>
                    <a:lnTo>
                      <a:pt x="2350" y="4792"/>
                    </a:lnTo>
                    <a:lnTo>
                      <a:pt x="2350" y="4792"/>
                    </a:lnTo>
                    <a:lnTo>
                      <a:pt x="2348" y="4796"/>
                    </a:lnTo>
                    <a:lnTo>
                      <a:pt x="2348" y="4800"/>
                    </a:lnTo>
                    <a:lnTo>
                      <a:pt x="2352" y="4800"/>
                    </a:lnTo>
                    <a:lnTo>
                      <a:pt x="2358" y="4802"/>
                    </a:lnTo>
                    <a:lnTo>
                      <a:pt x="2358" y="4802"/>
                    </a:lnTo>
                    <a:lnTo>
                      <a:pt x="2364" y="4802"/>
                    </a:lnTo>
                    <a:lnTo>
                      <a:pt x="2370" y="4804"/>
                    </a:lnTo>
                    <a:lnTo>
                      <a:pt x="2372" y="4804"/>
                    </a:lnTo>
                    <a:lnTo>
                      <a:pt x="2372" y="4800"/>
                    </a:lnTo>
                    <a:lnTo>
                      <a:pt x="2372" y="4800"/>
                    </a:lnTo>
                    <a:lnTo>
                      <a:pt x="2372" y="4798"/>
                    </a:lnTo>
                    <a:lnTo>
                      <a:pt x="2370" y="4796"/>
                    </a:lnTo>
                    <a:lnTo>
                      <a:pt x="2364" y="4794"/>
                    </a:lnTo>
                    <a:lnTo>
                      <a:pt x="2358" y="4792"/>
                    </a:lnTo>
                    <a:lnTo>
                      <a:pt x="2354" y="4788"/>
                    </a:lnTo>
                    <a:lnTo>
                      <a:pt x="2354" y="4788"/>
                    </a:lnTo>
                    <a:close/>
                    <a:moveTo>
                      <a:pt x="2484" y="5128"/>
                    </a:moveTo>
                    <a:lnTo>
                      <a:pt x="2484" y="5128"/>
                    </a:lnTo>
                    <a:lnTo>
                      <a:pt x="2486" y="5124"/>
                    </a:lnTo>
                    <a:lnTo>
                      <a:pt x="2486" y="5120"/>
                    </a:lnTo>
                    <a:lnTo>
                      <a:pt x="2488" y="5108"/>
                    </a:lnTo>
                    <a:lnTo>
                      <a:pt x="2486" y="5092"/>
                    </a:lnTo>
                    <a:lnTo>
                      <a:pt x="2488" y="5076"/>
                    </a:lnTo>
                    <a:lnTo>
                      <a:pt x="2488" y="5076"/>
                    </a:lnTo>
                    <a:lnTo>
                      <a:pt x="2488" y="5062"/>
                    </a:lnTo>
                    <a:lnTo>
                      <a:pt x="2486" y="5056"/>
                    </a:lnTo>
                    <a:lnTo>
                      <a:pt x="2484" y="5050"/>
                    </a:lnTo>
                    <a:lnTo>
                      <a:pt x="2486" y="5038"/>
                    </a:lnTo>
                    <a:lnTo>
                      <a:pt x="2486" y="5038"/>
                    </a:lnTo>
                    <a:lnTo>
                      <a:pt x="2488" y="5028"/>
                    </a:lnTo>
                    <a:lnTo>
                      <a:pt x="2488" y="5020"/>
                    </a:lnTo>
                    <a:lnTo>
                      <a:pt x="2486" y="5014"/>
                    </a:lnTo>
                    <a:lnTo>
                      <a:pt x="2492" y="5004"/>
                    </a:lnTo>
                    <a:lnTo>
                      <a:pt x="2492" y="5004"/>
                    </a:lnTo>
                    <a:lnTo>
                      <a:pt x="2494" y="4998"/>
                    </a:lnTo>
                    <a:lnTo>
                      <a:pt x="2496" y="4994"/>
                    </a:lnTo>
                    <a:lnTo>
                      <a:pt x="2494" y="4990"/>
                    </a:lnTo>
                    <a:lnTo>
                      <a:pt x="2492" y="4988"/>
                    </a:lnTo>
                    <a:lnTo>
                      <a:pt x="2486" y="4982"/>
                    </a:lnTo>
                    <a:lnTo>
                      <a:pt x="2482" y="4978"/>
                    </a:lnTo>
                    <a:lnTo>
                      <a:pt x="2480" y="4972"/>
                    </a:lnTo>
                    <a:lnTo>
                      <a:pt x="2480" y="4972"/>
                    </a:lnTo>
                    <a:lnTo>
                      <a:pt x="2476" y="4962"/>
                    </a:lnTo>
                    <a:lnTo>
                      <a:pt x="2472" y="4956"/>
                    </a:lnTo>
                    <a:lnTo>
                      <a:pt x="2468" y="4954"/>
                    </a:lnTo>
                    <a:lnTo>
                      <a:pt x="2460" y="4956"/>
                    </a:lnTo>
                    <a:lnTo>
                      <a:pt x="2460" y="4956"/>
                    </a:lnTo>
                    <a:lnTo>
                      <a:pt x="2456" y="4958"/>
                    </a:lnTo>
                    <a:lnTo>
                      <a:pt x="2452" y="4956"/>
                    </a:lnTo>
                    <a:lnTo>
                      <a:pt x="2450" y="4956"/>
                    </a:lnTo>
                    <a:lnTo>
                      <a:pt x="2446" y="4958"/>
                    </a:lnTo>
                    <a:lnTo>
                      <a:pt x="2446" y="4958"/>
                    </a:lnTo>
                    <a:lnTo>
                      <a:pt x="2440" y="4962"/>
                    </a:lnTo>
                    <a:lnTo>
                      <a:pt x="2440" y="4962"/>
                    </a:lnTo>
                    <a:lnTo>
                      <a:pt x="2442" y="4956"/>
                    </a:lnTo>
                    <a:lnTo>
                      <a:pt x="2446" y="4946"/>
                    </a:lnTo>
                    <a:lnTo>
                      <a:pt x="2446" y="4942"/>
                    </a:lnTo>
                    <a:lnTo>
                      <a:pt x="2442" y="4940"/>
                    </a:lnTo>
                    <a:lnTo>
                      <a:pt x="2442" y="4940"/>
                    </a:lnTo>
                    <a:lnTo>
                      <a:pt x="2438" y="4938"/>
                    </a:lnTo>
                    <a:lnTo>
                      <a:pt x="2436" y="4932"/>
                    </a:lnTo>
                    <a:lnTo>
                      <a:pt x="2430" y="4914"/>
                    </a:lnTo>
                    <a:lnTo>
                      <a:pt x="2428" y="4904"/>
                    </a:lnTo>
                    <a:lnTo>
                      <a:pt x="2426" y="4898"/>
                    </a:lnTo>
                    <a:lnTo>
                      <a:pt x="2422" y="4892"/>
                    </a:lnTo>
                    <a:lnTo>
                      <a:pt x="2420" y="4890"/>
                    </a:lnTo>
                    <a:lnTo>
                      <a:pt x="2416" y="4890"/>
                    </a:lnTo>
                    <a:lnTo>
                      <a:pt x="2416" y="4890"/>
                    </a:lnTo>
                    <a:lnTo>
                      <a:pt x="2410" y="4890"/>
                    </a:lnTo>
                    <a:lnTo>
                      <a:pt x="2404" y="4890"/>
                    </a:lnTo>
                    <a:lnTo>
                      <a:pt x="2394" y="4884"/>
                    </a:lnTo>
                    <a:lnTo>
                      <a:pt x="2390" y="4880"/>
                    </a:lnTo>
                    <a:lnTo>
                      <a:pt x="2388" y="4876"/>
                    </a:lnTo>
                    <a:lnTo>
                      <a:pt x="2388" y="4872"/>
                    </a:lnTo>
                    <a:lnTo>
                      <a:pt x="2388" y="4868"/>
                    </a:lnTo>
                    <a:lnTo>
                      <a:pt x="2388" y="4868"/>
                    </a:lnTo>
                    <a:lnTo>
                      <a:pt x="2390" y="4862"/>
                    </a:lnTo>
                    <a:lnTo>
                      <a:pt x="2392" y="4858"/>
                    </a:lnTo>
                    <a:lnTo>
                      <a:pt x="2390" y="4852"/>
                    </a:lnTo>
                    <a:lnTo>
                      <a:pt x="2390" y="4848"/>
                    </a:lnTo>
                    <a:lnTo>
                      <a:pt x="2392" y="4846"/>
                    </a:lnTo>
                    <a:lnTo>
                      <a:pt x="2396" y="4844"/>
                    </a:lnTo>
                    <a:lnTo>
                      <a:pt x="2396" y="4844"/>
                    </a:lnTo>
                    <a:lnTo>
                      <a:pt x="2400" y="4842"/>
                    </a:lnTo>
                    <a:lnTo>
                      <a:pt x="2402" y="4836"/>
                    </a:lnTo>
                    <a:lnTo>
                      <a:pt x="2402" y="4832"/>
                    </a:lnTo>
                    <a:lnTo>
                      <a:pt x="2400" y="4826"/>
                    </a:lnTo>
                    <a:lnTo>
                      <a:pt x="2396" y="4822"/>
                    </a:lnTo>
                    <a:lnTo>
                      <a:pt x="2392" y="4818"/>
                    </a:lnTo>
                    <a:lnTo>
                      <a:pt x="2386" y="4816"/>
                    </a:lnTo>
                    <a:lnTo>
                      <a:pt x="2380" y="4818"/>
                    </a:lnTo>
                    <a:lnTo>
                      <a:pt x="2380" y="4818"/>
                    </a:lnTo>
                    <a:lnTo>
                      <a:pt x="2376" y="4820"/>
                    </a:lnTo>
                    <a:lnTo>
                      <a:pt x="2374" y="4820"/>
                    </a:lnTo>
                    <a:lnTo>
                      <a:pt x="2372" y="4814"/>
                    </a:lnTo>
                    <a:lnTo>
                      <a:pt x="2372" y="4812"/>
                    </a:lnTo>
                    <a:lnTo>
                      <a:pt x="2368" y="4808"/>
                    </a:lnTo>
                    <a:lnTo>
                      <a:pt x="2364" y="4806"/>
                    </a:lnTo>
                    <a:lnTo>
                      <a:pt x="2356" y="4804"/>
                    </a:lnTo>
                    <a:lnTo>
                      <a:pt x="2356" y="4804"/>
                    </a:lnTo>
                    <a:lnTo>
                      <a:pt x="2348" y="4802"/>
                    </a:lnTo>
                    <a:lnTo>
                      <a:pt x="2342" y="4796"/>
                    </a:lnTo>
                    <a:lnTo>
                      <a:pt x="2340" y="4790"/>
                    </a:lnTo>
                    <a:lnTo>
                      <a:pt x="2338" y="4784"/>
                    </a:lnTo>
                    <a:lnTo>
                      <a:pt x="2336" y="4776"/>
                    </a:lnTo>
                    <a:lnTo>
                      <a:pt x="2332" y="4768"/>
                    </a:lnTo>
                    <a:lnTo>
                      <a:pt x="2324" y="4762"/>
                    </a:lnTo>
                    <a:lnTo>
                      <a:pt x="2314" y="4758"/>
                    </a:lnTo>
                    <a:lnTo>
                      <a:pt x="2314" y="4758"/>
                    </a:lnTo>
                    <a:lnTo>
                      <a:pt x="2308" y="4756"/>
                    </a:lnTo>
                    <a:lnTo>
                      <a:pt x="2304" y="4754"/>
                    </a:lnTo>
                    <a:lnTo>
                      <a:pt x="2302" y="4748"/>
                    </a:lnTo>
                    <a:lnTo>
                      <a:pt x="2300" y="4740"/>
                    </a:lnTo>
                    <a:lnTo>
                      <a:pt x="2298" y="4738"/>
                    </a:lnTo>
                    <a:lnTo>
                      <a:pt x="2296" y="4734"/>
                    </a:lnTo>
                    <a:lnTo>
                      <a:pt x="2296" y="4734"/>
                    </a:lnTo>
                    <a:lnTo>
                      <a:pt x="2288" y="4728"/>
                    </a:lnTo>
                    <a:lnTo>
                      <a:pt x="2284" y="4728"/>
                    </a:lnTo>
                    <a:lnTo>
                      <a:pt x="2282" y="4730"/>
                    </a:lnTo>
                    <a:lnTo>
                      <a:pt x="2282" y="4732"/>
                    </a:lnTo>
                    <a:lnTo>
                      <a:pt x="2282" y="4740"/>
                    </a:lnTo>
                    <a:lnTo>
                      <a:pt x="2282" y="4742"/>
                    </a:lnTo>
                    <a:lnTo>
                      <a:pt x="2280" y="4740"/>
                    </a:lnTo>
                    <a:lnTo>
                      <a:pt x="2280" y="4740"/>
                    </a:lnTo>
                    <a:lnTo>
                      <a:pt x="2274" y="4736"/>
                    </a:lnTo>
                    <a:lnTo>
                      <a:pt x="2270" y="4732"/>
                    </a:lnTo>
                    <a:lnTo>
                      <a:pt x="2266" y="4728"/>
                    </a:lnTo>
                    <a:lnTo>
                      <a:pt x="2262" y="4718"/>
                    </a:lnTo>
                    <a:lnTo>
                      <a:pt x="2262" y="4718"/>
                    </a:lnTo>
                    <a:lnTo>
                      <a:pt x="2258" y="4710"/>
                    </a:lnTo>
                    <a:lnTo>
                      <a:pt x="2254" y="4708"/>
                    </a:lnTo>
                    <a:lnTo>
                      <a:pt x="2252" y="4708"/>
                    </a:lnTo>
                    <a:lnTo>
                      <a:pt x="2248" y="4702"/>
                    </a:lnTo>
                    <a:lnTo>
                      <a:pt x="2248" y="4702"/>
                    </a:lnTo>
                    <a:lnTo>
                      <a:pt x="2242" y="4692"/>
                    </a:lnTo>
                    <a:lnTo>
                      <a:pt x="2234" y="4680"/>
                    </a:lnTo>
                    <a:lnTo>
                      <a:pt x="2222" y="4670"/>
                    </a:lnTo>
                    <a:lnTo>
                      <a:pt x="2214" y="4666"/>
                    </a:lnTo>
                    <a:lnTo>
                      <a:pt x="2208" y="4664"/>
                    </a:lnTo>
                    <a:lnTo>
                      <a:pt x="2208" y="4664"/>
                    </a:lnTo>
                    <a:lnTo>
                      <a:pt x="2204" y="4662"/>
                    </a:lnTo>
                    <a:lnTo>
                      <a:pt x="2200" y="4658"/>
                    </a:lnTo>
                    <a:lnTo>
                      <a:pt x="2196" y="4652"/>
                    </a:lnTo>
                    <a:lnTo>
                      <a:pt x="2192" y="4646"/>
                    </a:lnTo>
                    <a:lnTo>
                      <a:pt x="2190" y="4644"/>
                    </a:lnTo>
                    <a:lnTo>
                      <a:pt x="2186" y="4642"/>
                    </a:lnTo>
                    <a:lnTo>
                      <a:pt x="2186" y="4642"/>
                    </a:lnTo>
                    <a:lnTo>
                      <a:pt x="2182" y="4640"/>
                    </a:lnTo>
                    <a:lnTo>
                      <a:pt x="2180" y="4638"/>
                    </a:lnTo>
                    <a:lnTo>
                      <a:pt x="2180" y="4632"/>
                    </a:lnTo>
                    <a:lnTo>
                      <a:pt x="2178" y="4626"/>
                    </a:lnTo>
                    <a:lnTo>
                      <a:pt x="2176" y="4624"/>
                    </a:lnTo>
                    <a:lnTo>
                      <a:pt x="2174" y="4622"/>
                    </a:lnTo>
                    <a:lnTo>
                      <a:pt x="2174" y="4622"/>
                    </a:lnTo>
                    <a:lnTo>
                      <a:pt x="2170" y="4620"/>
                    </a:lnTo>
                    <a:lnTo>
                      <a:pt x="2168" y="4618"/>
                    </a:lnTo>
                    <a:lnTo>
                      <a:pt x="2166" y="4612"/>
                    </a:lnTo>
                    <a:lnTo>
                      <a:pt x="2166" y="4604"/>
                    </a:lnTo>
                    <a:lnTo>
                      <a:pt x="2162" y="4598"/>
                    </a:lnTo>
                    <a:lnTo>
                      <a:pt x="2158" y="4592"/>
                    </a:lnTo>
                    <a:lnTo>
                      <a:pt x="2158" y="4592"/>
                    </a:lnTo>
                    <a:lnTo>
                      <a:pt x="2150" y="4582"/>
                    </a:lnTo>
                    <a:lnTo>
                      <a:pt x="2146" y="4582"/>
                    </a:lnTo>
                    <a:lnTo>
                      <a:pt x="2146" y="4584"/>
                    </a:lnTo>
                    <a:lnTo>
                      <a:pt x="2142" y="4586"/>
                    </a:lnTo>
                    <a:lnTo>
                      <a:pt x="2138" y="4586"/>
                    </a:lnTo>
                    <a:lnTo>
                      <a:pt x="2134" y="4584"/>
                    </a:lnTo>
                    <a:lnTo>
                      <a:pt x="2134" y="4584"/>
                    </a:lnTo>
                    <a:lnTo>
                      <a:pt x="2130" y="4582"/>
                    </a:lnTo>
                    <a:lnTo>
                      <a:pt x="2128" y="4580"/>
                    </a:lnTo>
                    <a:lnTo>
                      <a:pt x="2122" y="4582"/>
                    </a:lnTo>
                    <a:lnTo>
                      <a:pt x="2114" y="4584"/>
                    </a:lnTo>
                    <a:lnTo>
                      <a:pt x="2108" y="4584"/>
                    </a:lnTo>
                    <a:lnTo>
                      <a:pt x="2098" y="4584"/>
                    </a:lnTo>
                    <a:lnTo>
                      <a:pt x="2098" y="4584"/>
                    </a:lnTo>
                    <a:lnTo>
                      <a:pt x="2088" y="4580"/>
                    </a:lnTo>
                    <a:lnTo>
                      <a:pt x="2086" y="4578"/>
                    </a:lnTo>
                    <a:lnTo>
                      <a:pt x="2084" y="4576"/>
                    </a:lnTo>
                    <a:lnTo>
                      <a:pt x="2082" y="4572"/>
                    </a:lnTo>
                    <a:lnTo>
                      <a:pt x="2078" y="4568"/>
                    </a:lnTo>
                    <a:lnTo>
                      <a:pt x="2070" y="4566"/>
                    </a:lnTo>
                    <a:lnTo>
                      <a:pt x="2070" y="4566"/>
                    </a:lnTo>
                    <a:lnTo>
                      <a:pt x="2062" y="4564"/>
                    </a:lnTo>
                    <a:lnTo>
                      <a:pt x="2058" y="4566"/>
                    </a:lnTo>
                    <a:lnTo>
                      <a:pt x="2056" y="4570"/>
                    </a:lnTo>
                    <a:lnTo>
                      <a:pt x="2056" y="4576"/>
                    </a:lnTo>
                    <a:lnTo>
                      <a:pt x="2058" y="4584"/>
                    </a:lnTo>
                    <a:lnTo>
                      <a:pt x="2060" y="4594"/>
                    </a:lnTo>
                    <a:lnTo>
                      <a:pt x="2070" y="4612"/>
                    </a:lnTo>
                    <a:lnTo>
                      <a:pt x="2070" y="4612"/>
                    </a:lnTo>
                    <a:lnTo>
                      <a:pt x="2080" y="4626"/>
                    </a:lnTo>
                    <a:lnTo>
                      <a:pt x="2086" y="4634"/>
                    </a:lnTo>
                    <a:lnTo>
                      <a:pt x="2094" y="4640"/>
                    </a:lnTo>
                    <a:lnTo>
                      <a:pt x="2102" y="4650"/>
                    </a:lnTo>
                    <a:lnTo>
                      <a:pt x="2102" y="4650"/>
                    </a:lnTo>
                    <a:lnTo>
                      <a:pt x="2104" y="4654"/>
                    </a:lnTo>
                    <a:lnTo>
                      <a:pt x="2108" y="4658"/>
                    </a:lnTo>
                    <a:lnTo>
                      <a:pt x="2114" y="4658"/>
                    </a:lnTo>
                    <a:lnTo>
                      <a:pt x="2116" y="4658"/>
                    </a:lnTo>
                    <a:lnTo>
                      <a:pt x="2120" y="4660"/>
                    </a:lnTo>
                    <a:lnTo>
                      <a:pt x="2124" y="4664"/>
                    </a:lnTo>
                    <a:lnTo>
                      <a:pt x="2130" y="4672"/>
                    </a:lnTo>
                    <a:lnTo>
                      <a:pt x="2130" y="4672"/>
                    </a:lnTo>
                    <a:lnTo>
                      <a:pt x="2138" y="4686"/>
                    </a:lnTo>
                    <a:lnTo>
                      <a:pt x="2138" y="4690"/>
                    </a:lnTo>
                    <a:lnTo>
                      <a:pt x="2138" y="4692"/>
                    </a:lnTo>
                    <a:lnTo>
                      <a:pt x="2146" y="4698"/>
                    </a:lnTo>
                    <a:lnTo>
                      <a:pt x="2146" y="4698"/>
                    </a:lnTo>
                    <a:lnTo>
                      <a:pt x="2152" y="4702"/>
                    </a:lnTo>
                    <a:lnTo>
                      <a:pt x="2154" y="4706"/>
                    </a:lnTo>
                    <a:lnTo>
                      <a:pt x="2154" y="4716"/>
                    </a:lnTo>
                    <a:lnTo>
                      <a:pt x="2156" y="4720"/>
                    </a:lnTo>
                    <a:lnTo>
                      <a:pt x="2158" y="4724"/>
                    </a:lnTo>
                    <a:lnTo>
                      <a:pt x="2162" y="4730"/>
                    </a:lnTo>
                    <a:lnTo>
                      <a:pt x="2172" y="4736"/>
                    </a:lnTo>
                    <a:lnTo>
                      <a:pt x="2172" y="4736"/>
                    </a:lnTo>
                    <a:lnTo>
                      <a:pt x="2182" y="4742"/>
                    </a:lnTo>
                    <a:lnTo>
                      <a:pt x="2192" y="4748"/>
                    </a:lnTo>
                    <a:lnTo>
                      <a:pt x="2198" y="4756"/>
                    </a:lnTo>
                    <a:lnTo>
                      <a:pt x="2200" y="4760"/>
                    </a:lnTo>
                    <a:lnTo>
                      <a:pt x="2200" y="4762"/>
                    </a:lnTo>
                    <a:lnTo>
                      <a:pt x="2200" y="4762"/>
                    </a:lnTo>
                    <a:lnTo>
                      <a:pt x="2198" y="4766"/>
                    </a:lnTo>
                    <a:lnTo>
                      <a:pt x="2198" y="4772"/>
                    </a:lnTo>
                    <a:lnTo>
                      <a:pt x="2206" y="4794"/>
                    </a:lnTo>
                    <a:lnTo>
                      <a:pt x="2206" y="4794"/>
                    </a:lnTo>
                    <a:lnTo>
                      <a:pt x="2214" y="4820"/>
                    </a:lnTo>
                    <a:lnTo>
                      <a:pt x="2218" y="4828"/>
                    </a:lnTo>
                    <a:lnTo>
                      <a:pt x="2226" y="4834"/>
                    </a:lnTo>
                    <a:lnTo>
                      <a:pt x="2226" y="4834"/>
                    </a:lnTo>
                    <a:lnTo>
                      <a:pt x="2234" y="4838"/>
                    </a:lnTo>
                    <a:lnTo>
                      <a:pt x="2236" y="4844"/>
                    </a:lnTo>
                    <a:lnTo>
                      <a:pt x="2240" y="4854"/>
                    </a:lnTo>
                    <a:lnTo>
                      <a:pt x="2254" y="4870"/>
                    </a:lnTo>
                    <a:lnTo>
                      <a:pt x="2254" y="4870"/>
                    </a:lnTo>
                    <a:lnTo>
                      <a:pt x="2260" y="4876"/>
                    </a:lnTo>
                    <a:lnTo>
                      <a:pt x="2262" y="4882"/>
                    </a:lnTo>
                    <a:lnTo>
                      <a:pt x="2264" y="4886"/>
                    </a:lnTo>
                    <a:lnTo>
                      <a:pt x="2264" y="4890"/>
                    </a:lnTo>
                    <a:lnTo>
                      <a:pt x="2262" y="4898"/>
                    </a:lnTo>
                    <a:lnTo>
                      <a:pt x="2264" y="4900"/>
                    </a:lnTo>
                    <a:lnTo>
                      <a:pt x="2266" y="4904"/>
                    </a:lnTo>
                    <a:lnTo>
                      <a:pt x="2266" y="4904"/>
                    </a:lnTo>
                    <a:lnTo>
                      <a:pt x="2274" y="4912"/>
                    </a:lnTo>
                    <a:lnTo>
                      <a:pt x="2278" y="4922"/>
                    </a:lnTo>
                    <a:lnTo>
                      <a:pt x="2282" y="4934"/>
                    </a:lnTo>
                    <a:lnTo>
                      <a:pt x="2284" y="4946"/>
                    </a:lnTo>
                    <a:lnTo>
                      <a:pt x="2284" y="4946"/>
                    </a:lnTo>
                    <a:lnTo>
                      <a:pt x="2290" y="4960"/>
                    </a:lnTo>
                    <a:lnTo>
                      <a:pt x="2300" y="4976"/>
                    </a:lnTo>
                    <a:lnTo>
                      <a:pt x="2312" y="4992"/>
                    </a:lnTo>
                    <a:lnTo>
                      <a:pt x="2326" y="5008"/>
                    </a:lnTo>
                    <a:lnTo>
                      <a:pt x="2326" y="5008"/>
                    </a:lnTo>
                    <a:lnTo>
                      <a:pt x="2336" y="5018"/>
                    </a:lnTo>
                    <a:lnTo>
                      <a:pt x="2342" y="5028"/>
                    </a:lnTo>
                    <a:lnTo>
                      <a:pt x="2350" y="5038"/>
                    </a:lnTo>
                    <a:lnTo>
                      <a:pt x="2364" y="5054"/>
                    </a:lnTo>
                    <a:lnTo>
                      <a:pt x="2364" y="5054"/>
                    </a:lnTo>
                    <a:lnTo>
                      <a:pt x="2380" y="5072"/>
                    </a:lnTo>
                    <a:lnTo>
                      <a:pt x="2394" y="5084"/>
                    </a:lnTo>
                    <a:lnTo>
                      <a:pt x="2404" y="5094"/>
                    </a:lnTo>
                    <a:lnTo>
                      <a:pt x="2416" y="5108"/>
                    </a:lnTo>
                    <a:lnTo>
                      <a:pt x="2416" y="5108"/>
                    </a:lnTo>
                    <a:lnTo>
                      <a:pt x="2426" y="5122"/>
                    </a:lnTo>
                    <a:lnTo>
                      <a:pt x="2434" y="5132"/>
                    </a:lnTo>
                    <a:lnTo>
                      <a:pt x="2436" y="5134"/>
                    </a:lnTo>
                    <a:lnTo>
                      <a:pt x="2438" y="5134"/>
                    </a:lnTo>
                    <a:lnTo>
                      <a:pt x="2434" y="5120"/>
                    </a:lnTo>
                    <a:lnTo>
                      <a:pt x="2434" y="5120"/>
                    </a:lnTo>
                    <a:lnTo>
                      <a:pt x="2434" y="5112"/>
                    </a:lnTo>
                    <a:lnTo>
                      <a:pt x="2434" y="5110"/>
                    </a:lnTo>
                    <a:lnTo>
                      <a:pt x="2438" y="5112"/>
                    </a:lnTo>
                    <a:lnTo>
                      <a:pt x="2444" y="5114"/>
                    </a:lnTo>
                    <a:lnTo>
                      <a:pt x="2450" y="5118"/>
                    </a:lnTo>
                    <a:lnTo>
                      <a:pt x="2454" y="5120"/>
                    </a:lnTo>
                    <a:lnTo>
                      <a:pt x="2458" y="5118"/>
                    </a:lnTo>
                    <a:lnTo>
                      <a:pt x="2460" y="5114"/>
                    </a:lnTo>
                    <a:lnTo>
                      <a:pt x="2460" y="5114"/>
                    </a:lnTo>
                    <a:lnTo>
                      <a:pt x="2462" y="5108"/>
                    </a:lnTo>
                    <a:lnTo>
                      <a:pt x="2464" y="5108"/>
                    </a:lnTo>
                    <a:lnTo>
                      <a:pt x="2470" y="5116"/>
                    </a:lnTo>
                    <a:lnTo>
                      <a:pt x="2476" y="5126"/>
                    </a:lnTo>
                    <a:lnTo>
                      <a:pt x="2480" y="5128"/>
                    </a:lnTo>
                    <a:lnTo>
                      <a:pt x="2484" y="5128"/>
                    </a:lnTo>
                    <a:lnTo>
                      <a:pt x="2484" y="5128"/>
                    </a:lnTo>
                    <a:close/>
                    <a:moveTo>
                      <a:pt x="2344" y="4774"/>
                    </a:moveTo>
                    <a:lnTo>
                      <a:pt x="2344" y="4774"/>
                    </a:lnTo>
                    <a:lnTo>
                      <a:pt x="2340" y="4772"/>
                    </a:lnTo>
                    <a:lnTo>
                      <a:pt x="2338" y="4772"/>
                    </a:lnTo>
                    <a:lnTo>
                      <a:pt x="2338" y="4774"/>
                    </a:lnTo>
                    <a:lnTo>
                      <a:pt x="2338" y="4776"/>
                    </a:lnTo>
                    <a:lnTo>
                      <a:pt x="2340" y="4784"/>
                    </a:lnTo>
                    <a:lnTo>
                      <a:pt x="2344" y="4792"/>
                    </a:lnTo>
                    <a:lnTo>
                      <a:pt x="2344" y="4792"/>
                    </a:lnTo>
                    <a:lnTo>
                      <a:pt x="2346" y="4792"/>
                    </a:lnTo>
                    <a:lnTo>
                      <a:pt x="2346" y="4792"/>
                    </a:lnTo>
                    <a:lnTo>
                      <a:pt x="2348" y="4788"/>
                    </a:lnTo>
                    <a:lnTo>
                      <a:pt x="2348" y="4780"/>
                    </a:lnTo>
                    <a:lnTo>
                      <a:pt x="2346" y="4776"/>
                    </a:lnTo>
                    <a:lnTo>
                      <a:pt x="2344" y="4774"/>
                    </a:lnTo>
                    <a:lnTo>
                      <a:pt x="2344" y="4774"/>
                    </a:lnTo>
                    <a:close/>
                    <a:moveTo>
                      <a:pt x="2374" y="4792"/>
                    </a:moveTo>
                    <a:lnTo>
                      <a:pt x="2374" y="4792"/>
                    </a:lnTo>
                    <a:lnTo>
                      <a:pt x="2372" y="4786"/>
                    </a:lnTo>
                    <a:lnTo>
                      <a:pt x="2366" y="4784"/>
                    </a:lnTo>
                    <a:lnTo>
                      <a:pt x="2360" y="4782"/>
                    </a:lnTo>
                    <a:lnTo>
                      <a:pt x="2358" y="4782"/>
                    </a:lnTo>
                    <a:lnTo>
                      <a:pt x="2358" y="4784"/>
                    </a:lnTo>
                    <a:lnTo>
                      <a:pt x="2358" y="4784"/>
                    </a:lnTo>
                    <a:lnTo>
                      <a:pt x="2358" y="4788"/>
                    </a:lnTo>
                    <a:lnTo>
                      <a:pt x="2364" y="4790"/>
                    </a:lnTo>
                    <a:lnTo>
                      <a:pt x="2364" y="4790"/>
                    </a:lnTo>
                    <a:lnTo>
                      <a:pt x="2372" y="4794"/>
                    </a:lnTo>
                    <a:lnTo>
                      <a:pt x="2374" y="4794"/>
                    </a:lnTo>
                    <a:lnTo>
                      <a:pt x="2374" y="4792"/>
                    </a:lnTo>
                    <a:lnTo>
                      <a:pt x="2374" y="4792"/>
                    </a:lnTo>
                    <a:close/>
                    <a:moveTo>
                      <a:pt x="2316" y="4736"/>
                    </a:moveTo>
                    <a:lnTo>
                      <a:pt x="2316" y="4736"/>
                    </a:lnTo>
                    <a:lnTo>
                      <a:pt x="2312" y="4736"/>
                    </a:lnTo>
                    <a:lnTo>
                      <a:pt x="2310" y="4736"/>
                    </a:lnTo>
                    <a:lnTo>
                      <a:pt x="2306" y="4740"/>
                    </a:lnTo>
                    <a:lnTo>
                      <a:pt x="2306" y="4746"/>
                    </a:lnTo>
                    <a:lnTo>
                      <a:pt x="2308" y="4750"/>
                    </a:lnTo>
                    <a:lnTo>
                      <a:pt x="2310" y="4752"/>
                    </a:lnTo>
                    <a:lnTo>
                      <a:pt x="2310" y="4752"/>
                    </a:lnTo>
                    <a:lnTo>
                      <a:pt x="2312" y="4752"/>
                    </a:lnTo>
                    <a:lnTo>
                      <a:pt x="2314" y="4752"/>
                    </a:lnTo>
                    <a:lnTo>
                      <a:pt x="2318" y="4746"/>
                    </a:lnTo>
                    <a:lnTo>
                      <a:pt x="2318" y="4740"/>
                    </a:lnTo>
                    <a:lnTo>
                      <a:pt x="2318" y="4736"/>
                    </a:lnTo>
                    <a:lnTo>
                      <a:pt x="2316" y="4736"/>
                    </a:lnTo>
                    <a:lnTo>
                      <a:pt x="2316" y="4736"/>
                    </a:lnTo>
                    <a:close/>
                    <a:moveTo>
                      <a:pt x="36" y="5458"/>
                    </a:moveTo>
                    <a:lnTo>
                      <a:pt x="36" y="5458"/>
                    </a:lnTo>
                    <a:lnTo>
                      <a:pt x="32" y="5458"/>
                    </a:lnTo>
                    <a:lnTo>
                      <a:pt x="30" y="5460"/>
                    </a:lnTo>
                    <a:lnTo>
                      <a:pt x="32" y="5464"/>
                    </a:lnTo>
                    <a:lnTo>
                      <a:pt x="36" y="5470"/>
                    </a:lnTo>
                    <a:lnTo>
                      <a:pt x="36" y="5470"/>
                    </a:lnTo>
                    <a:lnTo>
                      <a:pt x="38" y="5472"/>
                    </a:lnTo>
                    <a:lnTo>
                      <a:pt x="40" y="5472"/>
                    </a:lnTo>
                    <a:lnTo>
                      <a:pt x="40" y="5468"/>
                    </a:lnTo>
                    <a:lnTo>
                      <a:pt x="40" y="5462"/>
                    </a:lnTo>
                    <a:lnTo>
                      <a:pt x="36" y="5458"/>
                    </a:lnTo>
                    <a:lnTo>
                      <a:pt x="36" y="5458"/>
                    </a:lnTo>
                    <a:close/>
                    <a:moveTo>
                      <a:pt x="2554" y="4992"/>
                    </a:moveTo>
                    <a:lnTo>
                      <a:pt x="2554" y="4992"/>
                    </a:lnTo>
                    <a:lnTo>
                      <a:pt x="2558" y="4998"/>
                    </a:lnTo>
                    <a:lnTo>
                      <a:pt x="2560" y="4998"/>
                    </a:lnTo>
                    <a:lnTo>
                      <a:pt x="2562" y="4996"/>
                    </a:lnTo>
                    <a:lnTo>
                      <a:pt x="2562" y="4996"/>
                    </a:lnTo>
                    <a:lnTo>
                      <a:pt x="2564" y="4994"/>
                    </a:lnTo>
                    <a:lnTo>
                      <a:pt x="2566" y="4994"/>
                    </a:lnTo>
                    <a:lnTo>
                      <a:pt x="2570" y="4994"/>
                    </a:lnTo>
                    <a:lnTo>
                      <a:pt x="2574" y="4994"/>
                    </a:lnTo>
                    <a:lnTo>
                      <a:pt x="2578" y="4988"/>
                    </a:lnTo>
                    <a:lnTo>
                      <a:pt x="2578" y="4988"/>
                    </a:lnTo>
                    <a:lnTo>
                      <a:pt x="2582" y="4980"/>
                    </a:lnTo>
                    <a:lnTo>
                      <a:pt x="2582" y="4976"/>
                    </a:lnTo>
                    <a:lnTo>
                      <a:pt x="2580" y="4974"/>
                    </a:lnTo>
                    <a:lnTo>
                      <a:pt x="2576" y="4968"/>
                    </a:lnTo>
                    <a:lnTo>
                      <a:pt x="2568" y="4964"/>
                    </a:lnTo>
                    <a:lnTo>
                      <a:pt x="2568" y="4964"/>
                    </a:lnTo>
                    <a:lnTo>
                      <a:pt x="2562" y="4962"/>
                    </a:lnTo>
                    <a:lnTo>
                      <a:pt x="2558" y="4964"/>
                    </a:lnTo>
                    <a:lnTo>
                      <a:pt x="2556" y="4968"/>
                    </a:lnTo>
                    <a:lnTo>
                      <a:pt x="2554" y="4972"/>
                    </a:lnTo>
                    <a:lnTo>
                      <a:pt x="2552" y="4982"/>
                    </a:lnTo>
                    <a:lnTo>
                      <a:pt x="2552" y="4988"/>
                    </a:lnTo>
                    <a:lnTo>
                      <a:pt x="2554" y="4992"/>
                    </a:lnTo>
                    <a:lnTo>
                      <a:pt x="2554" y="4992"/>
                    </a:lnTo>
                    <a:close/>
                    <a:moveTo>
                      <a:pt x="8" y="5430"/>
                    </a:moveTo>
                    <a:lnTo>
                      <a:pt x="8" y="5430"/>
                    </a:lnTo>
                    <a:lnTo>
                      <a:pt x="6" y="5434"/>
                    </a:lnTo>
                    <a:lnTo>
                      <a:pt x="6" y="5436"/>
                    </a:lnTo>
                    <a:lnTo>
                      <a:pt x="6" y="5440"/>
                    </a:lnTo>
                    <a:lnTo>
                      <a:pt x="10" y="5444"/>
                    </a:lnTo>
                    <a:lnTo>
                      <a:pt x="14" y="5442"/>
                    </a:lnTo>
                    <a:lnTo>
                      <a:pt x="14" y="5442"/>
                    </a:lnTo>
                    <a:lnTo>
                      <a:pt x="14" y="5438"/>
                    </a:lnTo>
                    <a:lnTo>
                      <a:pt x="14" y="5434"/>
                    </a:lnTo>
                    <a:lnTo>
                      <a:pt x="12" y="5430"/>
                    </a:lnTo>
                    <a:lnTo>
                      <a:pt x="10" y="5430"/>
                    </a:lnTo>
                    <a:lnTo>
                      <a:pt x="8" y="5430"/>
                    </a:lnTo>
                    <a:lnTo>
                      <a:pt x="8" y="5430"/>
                    </a:lnTo>
                    <a:close/>
                    <a:moveTo>
                      <a:pt x="3222" y="4178"/>
                    </a:moveTo>
                    <a:lnTo>
                      <a:pt x="3222" y="4178"/>
                    </a:lnTo>
                    <a:lnTo>
                      <a:pt x="3224" y="4178"/>
                    </a:lnTo>
                    <a:lnTo>
                      <a:pt x="3228" y="4176"/>
                    </a:lnTo>
                    <a:lnTo>
                      <a:pt x="3232" y="4172"/>
                    </a:lnTo>
                    <a:lnTo>
                      <a:pt x="3234" y="4166"/>
                    </a:lnTo>
                    <a:lnTo>
                      <a:pt x="3234" y="4166"/>
                    </a:lnTo>
                    <a:lnTo>
                      <a:pt x="3232" y="4162"/>
                    </a:lnTo>
                    <a:lnTo>
                      <a:pt x="3232" y="4160"/>
                    </a:lnTo>
                    <a:lnTo>
                      <a:pt x="3230" y="4160"/>
                    </a:lnTo>
                    <a:lnTo>
                      <a:pt x="3228" y="4156"/>
                    </a:lnTo>
                    <a:lnTo>
                      <a:pt x="3228" y="4156"/>
                    </a:lnTo>
                    <a:lnTo>
                      <a:pt x="3226" y="4152"/>
                    </a:lnTo>
                    <a:lnTo>
                      <a:pt x="3224" y="4150"/>
                    </a:lnTo>
                    <a:lnTo>
                      <a:pt x="3222" y="4154"/>
                    </a:lnTo>
                    <a:lnTo>
                      <a:pt x="3222" y="4160"/>
                    </a:lnTo>
                    <a:lnTo>
                      <a:pt x="3222" y="4160"/>
                    </a:lnTo>
                    <a:lnTo>
                      <a:pt x="3222" y="4168"/>
                    </a:lnTo>
                    <a:lnTo>
                      <a:pt x="3220" y="4172"/>
                    </a:lnTo>
                    <a:lnTo>
                      <a:pt x="3218" y="4174"/>
                    </a:lnTo>
                    <a:lnTo>
                      <a:pt x="3222" y="4178"/>
                    </a:lnTo>
                    <a:lnTo>
                      <a:pt x="3222" y="4178"/>
                    </a:lnTo>
                    <a:close/>
                    <a:moveTo>
                      <a:pt x="3526" y="3176"/>
                    </a:moveTo>
                    <a:lnTo>
                      <a:pt x="3526" y="3176"/>
                    </a:lnTo>
                    <a:lnTo>
                      <a:pt x="3522" y="3176"/>
                    </a:lnTo>
                    <a:lnTo>
                      <a:pt x="3520" y="3174"/>
                    </a:lnTo>
                    <a:lnTo>
                      <a:pt x="3522" y="3168"/>
                    </a:lnTo>
                    <a:lnTo>
                      <a:pt x="3526" y="3162"/>
                    </a:lnTo>
                    <a:lnTo>
                      <a:pt x="3526" y="3158"/>
                    </a:lnTo>
                    <a:lnTo>
                      <a:pt x="3526" y="3154"/>
                    </a:lnTo>
                    <a:lnTo>
                      <a:pt x="3526" y="3154"/>
                    </a:lnTo>
                    <a:lnTo>
                      <a:pt x="3522" y="3152"/>
                    </a:lnTo>
                    <a:lnTo>
                      <a:pt x="3518" y="3152"/>
                    </a:lnTo>
                    <a:lnTo>
                      <a:pt x="3510" y="3156"/>
                    </a:lnTo>
                    <a:lnTo>
                      <a:pt x="3506" y="3156"/>
                    </a:lnTo>
                    <a:lnTo>
                      <a:pt x="3504" y="3156"/>
                    </a:lnTo>
                    <a:lnTo>
                      <a:pt x="3500" y="3154"/>
                    </a:lnTo>
                    <a:lnTo>
                      <a:pt x="3500" y="3148"/>
                    </a:lnTo>
                    <a:lnTo>
                      <a:pt x="3500" y="3148"/>
                    </a:lnTo>
                    <a:lnTo>
                      <a:pt x="3498" y="3146"/>
                    </a:lnTo>
                    <a:lnTo>
                      <a:pt x="3496" y="3142"/>
                    </a:lnTo>
                    <a:lnTo>
                      <a:pt x="3490" y="3140"/>
                    </a:lnTo>
                    <a:lnTo>
                      <a:pt x="3486" y="3140"/>
                    </a:lnTo>
                    <a:lnTo>
                      <a:pt x="3482" y="3140"/>
                    </a:lnTo>
                    <a:lnTo>
                      <a:pt x="3478" y="3144"/>
                    </a:lnTo>
                    <a:lnTo>
                      <a:pt x="3476" y="3148"/>
                    </a:lnTo>
                    <a:lnTo>
                      <a:pt x="3476" y="3148"/>
                    </a:lnTo>
                    <a:lnTo>
                      <a:pt x="3474" y="3154"/>
                    </a:lnTo>
                    <a:lnTo>
                      <a:pt x="3470" y="3154"/>
                    </a:lnTo>
                    <a:lnTo>
                      <a:pt x="3466" y="3154"/>
                    </a:lnTo>
                    <a:lnTo>
                      <a:pt x="3464" y="3160"/>
                    </a:lnTo>
                    <a:lnTo>
                      <a:pt x="3464" y="3160"/>
                    </a:lnTo>
                    <a:lnTo>
                      <a:pt x="3462" y="3164"/>
                    </a:lnTo>
                    <a:lnTo>
                      <a:pt x="3460" y="3164"/>
                    </a:lnTo>
                    <a:lnTo>
                      <a:pt x="3456" y="3160"/>
                    </a:lnTo>
                    <a:lnTo>
                      <a:pt x="3454" y="3158"/>
                    </a:lnTo>
                    <a:lnTo>
                      <a:pt x="3452" y="3164"/>
                    </a:lnTo>
                    <a:lnTo>
                      <a:pt x="3452" y="3164"/>
                    </a:lnTo>
                    <a:lnTo>
                      <a:pt x="3452" y="3168"/>
                    </a:lnTo>
                    <a:lnTo>
                      <a:pt x="3448" y="3170"/>
                    </a:lnTo>
                    <a:lnTo>
                      <a:pt x="3444" y="3168"/>
                    </a:lnTo>
                    <a:lnTo>
                      <a:pt x="3440" y="3168"/>
                    </a:lnTo>
                    <a:lnTo>
                      <a:pt x="3442" y="3174"/>
                    </a:lnTo>
                    <a:lnTo>
                      <a:pt x="3442" y="3174"/>
                    </a:lnTo>
                    <a:lnTo>
                      <a:pt x="3444" y="3182"/>
                    </a:lnTo>
                    <a:lnTo>
                      <a:pt x="3444" y="3186"/>
                    </a:lnTo>
                    <a:lnTo>
                      <a:pt x="3444" y="3190"/>
                    </a:lnTo>
                    <a:lnTo>
                      <a:pt x="3446" y="3196"/>
                    </a:lnTo>
                    <a:lnTo>
                      <a:pt x="3446" y="3196"/>
                    </a:lnTo>
                    <a:lnTo>
                      <a:pt x="3448" y="3200"/>
                    </a:lnTo>
                    <a:lnTo>
                      <a:pt x="3450" y="3204"/>
                    </a:lnTo>
                    <a:lnTo>
                      <a:pt x="3450" y="3210"/>
                    </a:lnTo>
                    <a:lnTo>
                      <a:pt x="3450" y="3210"/>
                    </a:lnTo>
                    <a:lnTo>
                      <a:pt x="3450" y="3210"/>
                    </a:lnTo>
                    <a:lnTo>
                      <a:pt x="3456" y="3204"/>
                    </a:lnTo>
                    <a:lnTo>
                      <a:pt x="3456" y="3204"/>
                    </a:lnTo>
                    <a:lnTo>
                      <a:pt x="3460" y="3202"/>
                    </a:lnTo>
                    <a:lnTo>
                      <a:pt x="3464" y="3200"/>
                    </a:lnTo>
                    <a:lnTo>
                      <a:pt x="3464" y="3202"/>
                    </a:lnTo>
                    <a:lnTo>
                      <a:pt x="3464" y="3204"/>
                    </a:lnTo>
                    <a:lnTo>
                      <a:pt x="3466" y="3208"/>
                    </a:lnTo>
                    <a:lnTo>
                      <a:pt x="3468" y="3208"/>
                    </a:lnTo>
                    <a:lnTo>
                      <a:pt x="3472" y="3206"/>
                    </a:lnTo>
                    <a:lnTo>
                      <a:pt x="3472" y="3206"/>
                    </a:lnTo>
                    <a:lnTo>
                      <a:pt x="3474" y="3204"/>
                    </a:lnTo>
                    <a:lnTo>
                      <a:pt x="3474" y="3200"/>
                    </a:lnTo>
                    <a:lnTo>
                      <a:pt x="3472" y="3198"/>
                    </a:lnTo>
                    <a:lnTo>
                      <a:pt x="3468" y="3194"/>
                    </a:lnTo>
                    <a:lnTo>
                      <a:pt x="3468" y="3194"/>
                    </a:lnTo>
                    <a:lnTo>
                      <a:pt x="3466" y="3192"/>
                    </a:lnTo>
                    <a:lnTo>
                      <a:pt x="3464" y="3188"/>
                    </a:lnTo>
                    <a:lnTo>
                      <a:pt x="3466" y="3182"/>
                    </a:lnTo>
                    <a:lnTo>
                      <a:pt x="3466" y="3180"/>
                    </a:lnTo>
                    <a:lnTo>
                      <a:pt x="3468" y="3180"/>
                    </a:lnTo>
                    <a:lnTo>
                      <a:pt x="3470" y="3182"/>
                    </a:lnTo>
                    <a:lnTo>
                      <a:pt x="3474" y="3186"/>
                    </a:lnTo>
                    <a:lnTo>
                      <a:pt x="3474" y="3186"/>
                    </a:lnTo>
                    <a:lnTo>
                      <a:pt x="3480" y="3196"/>
                    </a:lnTo>
                    <a:lnTo>
                      <a:pt x="3482" y="3208"/>
                    </a:lnTo>
                    <a:lnTo>
                      <a:pt x="3480" y="3218"/>
                    </a:lnTo>
                    <a:lnTo>
                      <a:pt x="3474" y="3228"/>
                    </a:lnTo>
                    <a:lnTo>
                      <a:pt x="3474" y="3228"/>
                    </a:lnTo>
                    <a:lnTo>
                      <a:pt x="3468" y="3236"/>
                    </a:lnTo>
                    <a:lnTo>
                      <a:pt x="3466" y="3242"/>
                    </a:lnTo>
                    <a:lnTo>
                      <a:pt x="3470" y="3258"/>
                    </a:lnTo>
                    <a:lnTo>
                      <a:pt x="3470" y="3258"/>
                    </a:lnTo>
                    <a:lnTo>
                      <a:pt x="3470" y="3266"/>
                    </a:lnTo>
                    <a:lnTo>
                      <a:pt x="3468" y="3270"/>
                    </a:lnTo>
                    <a:lnTo>
                      <a:pt x="3466" y="3274"/>
                    </a:lnTo>
                    <a:lnTo>
                      <a:pt x="3466" y="3276"/>
                    </a:lnTo>
                    <a:lnTo>
                      <a:pt x="3466" y="3276"/>
                    </a:lnTo>
                    <a:lnTo>
                      <a:pt x="3476" y="3280"/>
                    </a:lnTo>
                    <a:lnTo>
                      <a:pt x="3476" y="3280"/>
                    </a:lnTo>
                    <a:lnTo>
                      <a:pt x="3482" y="3282"/>
                    </a:lnTo>
                    <a:lnTo>
                      <a:pt x="3486" y="3286"/>
                    </a:lnTo>
                    <a:lnTo>
                      <a:pt x="3486" y="3290"/>
                    </a:lnTo>
                    <a:lnTo>
                      <a:pt x="3486" y="3292"/>
                    </a:lnTo>
                    <a:lnTo>
                      <a:pt x="3488" y="3292"/>
                    </a:lnTo>
                    <a:lnTo>
                      <a:pt x="3496" y="3288"/>
                    </a:lnTo>
                    <a:lnTo>
                      <a:pt x="3496" y="3288"/>
                    </a:lnTo>
                    <a:lnTo>
                      <a:pt x="3500" y="3284"/>
                    </a:lnTo>
                    <a:lnTo>
                      <a:pt x="3502" y="3280"/>
                    </a:lnTo>
                    <a:lnTo>
                      <a:pt x="3502" y="3278"/>
                    </a:lnTo>
                    <a:lnTo>
                      <a:pt x="3502" y="3276"/>
                    </a:lnTo>
                    <a:lnTo>
                      <a:pt x="3500" y="3272"/>
                    </a:lnTo>
                    <a:lnTo>
                      <a:pt x="3500" y="3272"/>
                    </a:lnTo>
                    <a:lnTo>
                      <a:pt x="3502" y="3270"/>
                    </a:lnTo>
                    <a:lnTo>
                      <a:pt x="3502" y="3270"/>
                    </a:lnTo>
                    <a:lnTo>
                      <a:pt x="3506" y="3268"/>
                    </a:lnTo>
                    <a:lnTo>
                      <a:pt x="3508" y="3270"/>
                    </a:lnTo>
                    <a:lnTo>
                      <a:pt x="3510" y="3274"/>
                    </a:lnTo>
                    <a:lnTo>
                      <a:pt x="3514" y="3272"/>
                    </a:lnTo>
                    <a:lnTo>
                      <a:pt x="3514" y="3272"/>
                    </a:lnTo>
                    <a:lnTo>
                      <a:pt x="3516" y="3268"/>
                    </a:lnTo>
                    <a:lnTo>
                      <a:pt x="3518" y="3260"/>
                    </a:lnTo>
                    <a:lnTo>
                      <a:pt x="3522" y="3236"/>
                    </a:lnTo>
                    <a:lnTo>
                      <a:pt x="3528" y="3212"/>
                    </a:lnTo>
                    <a:lnTo>
                      <a:pt x="3532" y="3202"/>
                    </a:lnTo>
                    <a:lnTo>
                      <a:pt x="3534" y="3200"/>
                    </a:lnTo>
                    <a:lnTo>
                      <a:pt x="3538" y="3198"/>
                    </a:lnTo>
                    <a:lnTo>
                      <a:pt x="3538" y="3198"/>
                    </a:lnTo>
                    <a:lnTo>
                      <a:pt x="3540" y="3196"/>
                    </a:lnTo>
                    <a:lnTo>
                      <a:pt x="3542" y="3194"/>
                    </a:lnTo>
                    <a:lnTo>
                      <a:pt x="3540" y="3186"/>
                    </a:lnTo>
                    <a:lnTo>
                      <a:pt x="3534" y="3180"/>
                    </a:lnTo>
                    <a:lnTo>
                      <a:pt x="3530" y="3178"/>
                    </a:lnTo>
                    <a:lnTo>
                      <a:pt x="3526" y="3176"/>
                    </a:lnTo>
                    <a:lnTo>
                      <a:pt x="3526" y="3176"/>
                    </a:lnTo>
                    <a:close/>
                    <a:moveTo>
                      <a:pt x="3432" y="3438"/>
                    </a:moveTo>
                    <a:lnTo>
                      <a:pt x="3432" y="3438"/>
                    </a:lnTo>
                    <a:lnTo>
                      <a:pt x="3432" y="3442"/>
                    </a:lnTo>
                    <a:lnTo>
                      <a:pt x="3434" y="3442"/>
                    </a:lnTo>
                    <a:lnTo>
                      <a:pt x="3440" y="3436"/>
                    </a:lnTo>
                    <a:lnTo>
                      <a:pt x="3446" y="3428"/>
                    </a:lnTo>
                    <a:lnTo>
                      <a:pt x="3448" y="3424"/>
                    </a:lnTo>
                    <a:lnTo>
                      <a:pt x="3448" y="3422"/>
                    </a:lnTo>
                    <a:lnTo>
                      <a:pt x="3448" y="3422"/>
                    </a:lnTo>
                    <a:lnTo>
                      <a:pt x="3444" y="3422"/>
                    </a:lnTo>
                    <a:lnTo>
                      <a:pt x="3438" y="3424"/>
                    </a:lnTo>
                    <a:lnTo>
                      <a:pt x="3434" y="3430"/>
                    </a:lnTo>
                    <a:lnTo>
                      <a:pt x="3432" y="3434"/>
                    </a:lnTo>
                    <a:lnTo>
                      <a:pt x="3432" y="3438"/>
                    </a:lnTo>
                    <a:lnTo>
                      <a:pt x="3432" y="3438"/>
                    </a:lnTo>
                    <a:close/>
                    <a:moveTo>
                      <a:pt x="3434" y="3100"/>
                    </a:moveTo>
                    <a:lnTo>
                      <a:pt x="3434" y="3100"/>
                    </a:lnTo>
                    <a:lnTo>
                      <a:pt x="3432" y="3102"/>
                    </a:lnTo>
                    <a:lnTo>
                      <a:pt x="3430" y="3106"/>
                    </a:lnTo>
                    <a:lnTo>
                      <a:pt x="3430" y="3110"/>
                    </a:lnTo>
                    <a:lnTo>
                      <a:pt x="3428" y="3116"/>
                    </a:lnTo>
                    <a:lnTo>
                      <a:pt x="3428" y="3116"/>
                    </a:lnTo>
                    <a:lnTo>
                      <a:pt x="3426" y="3126"/>
                    </a:lnTo>
                    <a:lnTo>
                      <a:pt x="3426" y="3130"/>
                    </a:lnTo>
                    <a:lnTo>
                      <a:pt x="3426" y="3130"/>
                    </a:lnTo>
                    <a:lnTo>
                      <a:pt x="3426" y="3130"/>
                    </a:lnTo>
                    <a:lnTo>
                      <a:pt x="3428" y="3128"/>
                    </a:lnTo>
                    <a:lnTo>
                      <a:pt x="3430" y="3124"/>
                    </a:lnTo>
                    <a:lnTo>
                      <a:pt x="3432" y="3120"/>
                    </a:lnTo>
                    <a:lnTo>
                      <a:pt x="3434" y="3114"/>
                    </a:lnTo>
                    <a:lnTo>
                      <a:pt x="3434" y="3114"/>
                    </a:lnTo>
                    <a:lnTo>
                      <a:pt x="3436" y="3110"/>
                    </a:lnTo>
                    <a:lnTo>
                      <a:pt x="3438" y="3104"/>
                    </a:lnTo>
                    <a:lnTo>
                      <a:pt x="3438" y="3100"/>
                    </a:lnTo>
                    <a:lnTo>
                      <a:pt x="3436" y="3100"/>
                    </a:lnTo>
                    <a:lnTo>
                      <a:pt x="3434" y="3100"/>
                    </a:lnTo>
                    <a:lnTo>
                      <a:pt x="3434" y="3100"/>
                    </a:lnTo>
                    <a:close/>
                    <a:moveTo>
                      <a:pt x="4106" y="2564"/>
                    </a:moveTo>
                    <a:lnTo>
                      <a:pt x="4106" y="2564"/>
                    </a:lnTo>
                    <a:lnTo>
                      <a:pt x="4098" y="2576"/>
                    </a:lnTo>
                    <a:lnTo>
                      <a:pt x="4088" y="2586"/>
                    </a:lnTo>
                    <a:lnTo>
                      <a:pt x="4084" y="2594"/>
                    </a:lnTo>
                    <a:lnTo>
                      <a:pt x="4082" y="2598"/>
                    </a:lnTo>
                    <a:lnTo>
                      <a:pt x="4084" y="2604"/>
                    </a:lnTo>
                    <a:lnTo>
                      <a:pt x="4084" y="2604"/>
                    </a:lnTo>
                    <a:lnTo>
                      <a:pt x="4086" y="2604"/>
                    </a:lnTo>
                    <a:lnTo>
                      <a:pt x="4088" y="2602"/>
                    </a:lnTo>
                    <a:lnTo>
                      <a:pt x="4094" y="2592"/>
                    </a:lnTo>
                    <a:lnTo>
                      <a:pt x="4098" y="2586"/>
                    </a:lnTo>
                    <a:lnTo>
                      <a:pt x="4104" y="2580"/>
                    </a:lnTo>
                    <a:lnTo>
                      <a:pt x="4112" y="2574"/>
                    </a:lnTo>
                    <a:lnTo>
                      <a:pt x="4122" y="2570"/>
                    </a:lnTo>
                    <a:lnTo>
                      <a:pt x="4122" y="2570"/>
                    </a:lnTo>
                    <a:lnTo>
                      <a:pt x="4126" y="2568"/>
                    </a:lnTo>
                    <a:lnTo>
                      <a:pt x="4126" y="2566"/>
                    </a:lnTo>
                    <a:lnTo>
                      <a:pt x="4120" y="2562"/>
                    </a:lnTo>
                    <a:lnTo>
                      <a:pt x="4112" y="2562"/>
                    </a:lnTo>
                    <a:lnTo>
                      <a:pt x="4108" y="2562"/>
                    </a:lnTo>
                    <a:lnTo>
                      <a:pt x="4106" y="2564"/>
                    </a:lnTo>
                    <a:lnTo>
                      <a:pt x="4106" y="2564"/>
                    </a:lnTo>
                    <a:close/>
                    <a:moveTo>
                      <a:pt x="3472" y="4884"/>
                    </a:moveTo>
                    <a:lnTo>
                      <a:pt x="3472" y="4884"/>
                    </a:lnTo>
                    <a:lnTo>
                      <a:pt x="3474" y="4884"/>
                    </a:lnTo>
                    <a:lnTo>
                      <a:pt x="3476" y="4884"/>
                    </a:lnTo>
                    <a:lnTo>
                      <a:pt x="3484" y="4882"/>
                    </a:lnTo>
                    <a:lnTo>
                      <a:pt x="3488" y="4880"/>
                    </a:lnTo>
                    <a:lnTo>
                      <a:pt x="3490" y="4878"/>
                    </a:lnTo>
                    <a:lnTo>
                      <a:pt x="3488" y="4878"/>
                    </a:lnTo>
                    <a:lnTo>
                      <a:pt x="3488" y="4878"/>
                    </a:lnTo>
                    <a:lnTo>
                      <a:pt x="3478" y="4878"/>
                    </a:lnTo>
                    <a:lnTo>
                      <a:pt x="3472" y="4880"/>
                    </a:lnTo>
                    <a:lnTo>
                      <a:pt x="3472" y="4882"/>
                    </a:lnTo>
                    <a:lnTo>
                      <a:pt x="3472" y="4884"/>
                    </a:lnTo>
                    <a:lnTo>
                      <a:pt x="3472" y="4884"/>
                    </a:lnTo>
                    <a:close/>
                    <a:moveTo>
                      <a:pt x="3468" y="3214"/>
                    </a:moveTo>
                    <a:lnTo>
                      <a:pt x="3468" y="3214"/>
                    </a:lnTo>
                    <a:lnTo>
                      <a:pt x="3468" y="3212"/>
                    </a:lnTo>
                    <a:lnTo>
                      <a:pt x="3466" y="3212"/>
                    </a:lnTo>
                    <a:lnTo>
                      <a:pt x="3462" y="3212"/>
                    </a:lnTo>
                    <a:lnTo>
                      <a:pt x="3460" y="3218"/>
                    </a:lnTo>
                    <a:lnTo>
                      <a:pt x="3460" y="3224"/>
                    </a:lnTo>
                    <a:lnTo>
                      <a:pt x="3460" y="3224"/>
                    </a:lnTo>
                    <a:lnTo>
                      <a:pt x="3460" y="3226"/>
                    </a:lnTo>
                    <a:lnTo>
                      <a:pt x="3462" y="3226"/>
                    </a:lnTo>
                    <a:lnTo>
                      <a:pt x="3464" y="3224"/>
                    </a:lnTo>
                    <a:lnTo>
                      <a:pt x="3468" y="3220"/>
                    </a:lnTo>
                    <a:lnTo>
                      <a:pt x="3468" y="3214"/>
                    </a:lnTo>
                    <a:lnTo>
                      <a:pt x="3468" y="3214"/>
                    </a:lnTo>
                    <a:close/>
                    <a:moveTo>
                      <a:pt x="3482" y="3322"/>
                    </a:moveTo>
                    <a:lnTo>
                      <a:pt x="3482" y="3322"/>
                    </a:lnTo>
                    <a:lnTo>
                      <a:pt x="3478" y="3322"/>
                    </a:lnTo>
                    <a:lnTo>
                      <a:pt x="3476" y="3326"/>
                    </a:lnTo>
                    <a:lnTo>
                      <a:pt x="3478" y="3330"/>
                    </a:lnTo>
                    <a:lnTo>
                      <a:pt x="3478" y="3330"/>
                    </a:lnTo>
                    <a:lnTo>
                      <a:pt x="3482" y="3332"/>
                    </a:lnTo>
                    <a:lnTo>
                      <a:pt x="3482" y="3332"/>
                    </a:lnTo>
                    <a:lnTo>
                      <a:pt x="3486" y="3332"/>
                    </a:lnTo>
                    <a:lnTo>
                      <a:pt x="3486" y="3328"/>
                    </a:lnTo>
                    <a:lnTo>
                      <a:pt x="3484" y="3324"/>
                    </a:lnTo>
                    <a:lnTo>
                      <a:pt x="3482" y="3322"/>
                    </a:lnTo>
                    <a:lnTo>
                      <a:pt x="3482" y="3322"/>
                    </a:lnTo>
                    <a:close/>
                    <a:moveTo>
                      <a:pt x="3652" y="3124"/>
                    </a:moveTo>
                    <a:lnTo>
                      <a:pt x="3652" y="3124"/>
                    </a:lnTo>
                    <a:lnTo>
                      <a:pt x="3654" y="3126"/>
                    </a:lnTo>
                    <a:lnTo>
                      <a:pt x="3656" y="3124"/>
                    </a:lnTo>
                    <a:lnTo>
                      <a:pt x="3658" y="3118"/>
                    </a:lnTo>
                    <a:lnTo>
                      <a:pt x="3662" y="3112"/>
                    </a:lnTo>
                    <a:lnTo>
                      <a:pt x="3662" y="3106"/>
                    </a:lnTo>
                    <a:lnTo>
                      <a:pt x="3662" y="3106"/>
                    </a:lnTo>
                    <a:lnTo>
                      <a:pt x="3662" y="3104"/>
                    </a:lnTo>
                    <a:lnTo>
                      <a:pt x="3660" y="3104"/>
                    </a:lnTo>
                    <a:lnTo>
                      <a:pt x="3656" y="3110"/>
                    </a:lnTo>
                    <a:lnTo>
                      <a:pt x="3652" y="3116"/>
                    </a:lnTo>
                    <a:lnTo>
                      <a:pt x="3652" y="3120"/>
                    </a:lnTo>
                    <a:lnTo>
                      <a:pt x="3652" y="3124"/>
                    </a:lnTo>
                    <a:lnTo>
                      <a:pt x="3652" y="3124"/>
                    </a:lnTo>
                    <a:close/>
                    <a:moveTo>
                      <a:pt x="3482" y="4890"/>
                    </a:moveTo>
                    <a:lnTo>
                      <a:pt x="3482" y="4890"/>
                    </a:lnTo>
                    <a:lnTo>
                      <a:pt x="3486" y="4896"/>
                    </a:lnTo>
                    <a:lnTo>
                      <a:pt x="3492" y="4904"/>
                    </a:lnTo>
                    <a:lnTo>
                      <a:pt x="3492" y="4904"/>
                    </a:lnTo>
                    <a:lnTo>
                      <a:pt x="3494" y="4904"/>
                    </a:lnTo>
                    <a:lnTo>
                      <a:pt x="3494" y="4904"/>
                    </a:lnTo>
                    <a:lnTo>
                      <a:pt x="3498" y="4898"/>
                    </a:lnTo>
                    <a:lnTo>
                      <a:pt x="3498" y="4890"/>
                    </a:lnTo>
                    <a:lnTo>
                      <a:pt x="3498" y="4888"/>
                    </a:lnTo>
                    <a:lnTo>
                      <a:pt x="3496" y="4886"/>
                    </a:lnTo>
                    <a:lnTo>
                      <a:pt x="3496" y="4886"/>
                    </a:lnTo>
                    <a:lnTo>
                      <a:pt x="3492" y="4884"/>
                    </a:lnTo>
                    <a:lnTo>
                      <a:pt x="3486" y="4884"/>
                    </a:lnTo>
                    <a:lnTo>
                      <a:pt x="3482" y="4886"/>
                    </a:lnTo>
                    <a:lnTo>
                      <a:pt x="3482" y="4888"/>
                    </a:lnTo>
                    <a:lnTo>
                      <a:pt x="3482" y="4890"/>
                    </a:lnTo>
                    <a:lnTo>
                      <a:pt x="3482" y="4890"/>
                    </a:lnTo>
                    <a:close/>
                    <a:moveTo>
                      <a:pt x="3640" y="3122"/>
                    </a:moveTo>
                    <a:lnTo>
                      <a:pt x="3640" y="3122"/>
                    </a:lnTo>
                    <a:lnTo>
                      <a:pt x="3634" y="3120"/>
                    </a:lnTo>
                    <a:lnTo>
                      <a:pt x="3628" y="3116"/>
                    </a:lnTo>
                    <a:lnTo>
                      <a:pt x="3620" y="3116"/>
                    </a:lnTo>
                    <a:lnTo>
                      <a:pt x="3612" y="3120"/>
                    </a:lnTo>
                    <a:lnTo>
                      <a:pt x="3612" y="3120"/>
                    </a:lnTo>
                    <a:lnTo>
                      <a:pt x="3608" y="3122"/>
                    </a:lnTo>
                    <a:lnTo>
                      <a:pt x="3604" y="3126"/>
                    </a:lnTo>
                    <a:lnTo>
                      <a:pt x="3602" y="3132"/>
                    </a:lnTo>
                    <a:lnTo>
                      <a:pt x="3600" y="3136"/>
                    </a:lnTo>
                    <a:lnTo>
                      <a:pt x="3598" y="3138"/>
                    </a:lnTo>
                    <a:lnTo>
                      <a:pt x="3596" y="3136"/>
                    </a:lnTo>
                    <a:lnTo>
                      <a:pt x="3596" y="3136"/>
                    </a:lnTo>
                    <a:lnTo>
                      <a:pt x="3592" y="3136"/>
                    </a:lnTo>
                    <a:lnTo>
                      <a:pt x="3590" y="3136"/>
                    </a:lnTo>
                    <a:lnTo>
                      <a:pt x="3586" y="3138"/>
                    </a:lnTo>
                    <a:lnTo>
                      <a:pt x="3582" y="3140"/>
                    </a:lnTo>
                    <a:lnTo>
                      <a:pt x="3580" y="3136"/>
                    </a:lnTo>
                    <a:lnTo>
                      <a:pt x="3580" y="3136"/>
                    </a:lnTo>
                    <a:lnTo>
                      <a:pt x="3580" y="3130"/>
                    </a:lnTo>
                    <a:lnTo>
                      <a:pt x="3578" y="3128"/>
                    </a:lnTo>
                    <a:lnTo>
                      <a:pt x="3576" y="3128"/>
                    </a:lnTo>
                    <a:lnTo>
                      <a:pt x="3574" y="3132"/>
                    </a:lnTo>
                    <a:lnTo>
                      <a:pt x="3568" y="3144"/>
                    </a:lnTo>
                    <a:lnTo>
                      <a:pt x="3568" y="3144"/>
                    </a:lnTo>
                    <a:lnTo>
                      <a:pt x="3564" y="3150"/>
                    </a:lnTo>
                    <a:lnTo>
                      <a:pt x="3560" y="3156"/>
                    </a:lnTo>
                    <a:lnTo>
                      <a:pt x="3550" y="3164"/>
                    </a:lnTo>
                    <a:lnTo>
                      <a:pt x="3544" y="3168"/>
                    </a:lnTo>
                    <a:lnTo>
                      <a:pt x="3548" y="3168"/>
                    </a:lnTo>
                    <a:lnTo>
                      <a:pt x="3548" y="3168"/>
                    </a:lnTo>
                    <a:lnTo>
                      <a:pt x="3554" y="3168"/>
                    </a:lnTo>
                    <a:lnTo>
                      <a:pt x="3556" y="3170"/>
                    </a:lnTo>
                    <a:lnTo>
                      <a:pt x="3558" y="3172"/>
                    </a:lnTo>
                    <a:lnTo>
                      <a:pt x="3558" y="3174"/>
                    </a:lnTo>
                    <a:lnTo>
                      <a:pt x="3558" y="3182"/>
                    </a:lnTo>
                    <a:lnTo>
                      <a:pt x="3558" y="3186"/>
                    </a:lnTo>
                    <a:lnTo>
                      <a:pt x="3562" y="3190"/>
                    </a:lnTo>
                    <a:lnTo>
                      <a:pt x="3562" y="3190"/>
                    </a:lnTo>
                    <a:lnTo>
                      <a:pt x="3564" y="3192"/>
                    </a:lnTo>
                    <a:lnTo>
                      <a:pt x="3564" y="3196"/>
                    </a:lnTo>
                    <a:lnTo>
                      <a:pt x="3564" y="3198"/>
                    </a:lnTo>
                    <a:lnTo>
                      <a:pt x="3562" y="3200"/>
                    </a:lnTo>
                    <a:lnTo>
                      <a:pt x="3564" y="3200"/>
                    </a:lnTo>
                    <a:lnTo>
                      <a:pt x="3574" y="3202"/>
                    </a:lnTo>
                    <a:lnTo>
                      <a:pt x="3574" y="3202"/>
                    </a:lnTo>
                    <a:lnTo>
                      <a:pt x="3578" y="3202"/>
                    </a:lnTo>
                    <a:lnTo>
                      <a:pt x="3580" y="3198"/>
                    </a:lnTo>
                    <a:lnTo>
                      <a:pt x="3584" y="3186"/>
                    </a:lnTo>
                    <a:lnTo>
                      <a:pt x="3588" y="3178"/>
                    </a:lnTo>
                    <a:lnTo>
                      <a:pt x="3590" y="3172"/>
                    </a:lnTo>
                    <a:lnTo>
                      <a:pt x="3594" y="3166"/>
                    </a:lnTo>
                    <a:lnTo>
                      <a:pt x="3602" y="3164"/>
                    </a:lnTo>
                    <a:lnTo>
                      <a:pt x="3602" y="3164"/>
                    </a:lnTo>
                    <a:lnTo>
                      <a:pt x="3608" y="3162"/>
                    </a:lnTo>
                    <a:lnTo>
                      <a:pt x="3614" y="3164"/>
                    </a:lnTo>
                    <a:lnTo>
                      <a:pt x="3620" y="3170"/>
                    </a:lnTo>
                    <a:lnTo>
                      <a:pt x="3624" y="3172"/>
                    </a:lnTo>
                    <a:lnTo>
                      <a:pt x="3626" y="3172"/>
                    </a:lnTo>
                    <a:lnTo>
                      <a:pt x="3628" y="3170"/>
                    </a:lnTo>
                    <a:lnTo>
                      <a:pt x="3630" y="3166"/>
                    </a:lnTo>
                    <a:lnTo>
                      <a:pt x="3630" y="3166"/>
                    </a:lnTo>
                    <a:lnTo>
                      <a:pt x="3632" y="3160"/>
                    </a:lnTo>
                    <a:lnTo>
                      <a:pt x="3636" y="3156"/>
                    </a:lnTo>
                    <a:lnTo>
                      <a:pt x="3642" y="3150"/>
                    </a:lnTo>
                    <a:lnTo>
                      <a:pt x="3646" y="3148"/>
                    </a:lnTo>
                    <a:lnTo>
                      <a:pt x="3648" y="3144"/>
                    </a:lnTo>
                    <a:lnTo>
                      <a:pt x="3646" y="3140"/>
                    </a:lnTo>
                    <a:lnTo>
                      <a:pt x="3646" y="3140"/>
                    </a:lnTo>
                    <a:lnTo>
                      <a:pt x="3644" y="3132"/>
                    </a:lnTo>
                    <a:lnTo>
                      <a:pt x="3644" y="3128"/>
                    </a:lnTo>
                    <a:lnTo>
                      <a:pt x="3644" y="3126"/>
                    </a:lnTo>
                    <a:lnTo>
                      <a:pt x="3640" y="3122"/>
                    </a:lnTo>
                    <a:lnTo>
                      <a:pt x="3640" y="3122"/>
                    </a:lnTo>
                    <a:close/>
                    <a:moveTo>
                      <a:pt x="3450" y="4936"/>
                    </a:moveTo>
                    <a:lnTo>
                      <a:pt x="3450" y="4936"/>
                    </a:lnTo>
                    <a:lnTo>
                      <a:pt x="3456" y="4938"/>
                    </a:lnTo>
                    <a:lnTo>
                      <a:pt x="3462" y="4940"/>
                    </a:lnTo>
                    <a:lnTo>
                      <a:pt x="3468" y="4940"/>
                    </a:lnTo>
                    <a:lnTo>
                      <a:pt x="3470" y="4938"/>
                    </a:lnTo>
                    <a:lnTo>
                      <a:pt x="3472" y="4934"/>
                    </a:lnTo>
                    <a:lnTo>
                      <a:pt x="3472" y="4934"/>
                    </a:lnTo>
                    <a:lnTo>
                      <a:pt x="3474" y="4926"/>
                    </a:lnTo>
                    <a:lnTo>
                      <a:pt x="3472" y="4922"/>
                    </a:lnTo>
                    <a:lnTo>
                      <a:pt x="3466" y="4922"/>
                    </a:lnTo>
                    <a:lnTo>
                      <a:pt x="3458" y="4924"/>
                    </a:lnTo>
                    <a:lnTo>
                      <a:pt x="3458" y="4924"/>
                    </a:lnTo>
                    <a:lnTo>
                      <a:pt x="3448" y="4930"/>
                    </a:lnTo>
                    <a:lnTo>
                      <a:pt x="3448" y="4932"/>
                    </a:lnTo>
                    <a:lnTo>
                      <a:pt x="3450" y="4936"/>
                    </a:lnTo>
                    <a:lnTo>
                      <a:pt x="3450" y="4936"/>
                    </a:lnTo>
                    <a:close/>
                    <a:moveTo>
                      <a:pt x="3012" y="5270"/>
                    </a:moveTo>
                    <a:lnTo>
                      <a:pt x="3012" y="5270"/>
                    </a:lnTo>
                    <a:lnTo>
                      <a:pt x="3008" y="5266"/>
                    </a:lnTo>
                    <a:lnTo>
                      <a:pt x="3006" y="5264"/>
                    </a:lnTo>
                    <a:lnTo>
                      <a:pt x="3008" y="5262"/>
                    </a:lnTo>
                    <a:lnTo>
                      <a:pt x="3012" y="5264"/>
                    </a:lnTo>
                    <a:lnTo>
                      <a:pt x="3012" y="5264"/>
                    </a:lnTo>
                    <a:lnTo>
                      <a:pt x="3020" y="5266"/>
                    </a:lnTo>
                    <a:lnTo>
                      <a:pt x="3022" y="5266"/>
                    </a:lnTo>
                    <a:lnTo>
                      <a:pt x="3022" y="5264"/>
                    </a:lnTo>
                    <a:lnTo>
                      <a:pt x="3022" y="5264"/>
                    </a:lnTo>
                    <a:lnTo>
                      <a:pt x="3022" y="5258"/>
                    </a:lnTo>
                    <a:lnTo>
                      <a:pt x="3020" y="5250"/>
                    </a:lnTo>
                    <a:lnTo>
                      <a:pt x="3014" y="5244"/>
                    </a:lnTo>
                    <a:lnTo>
                      <a:pt x="3010" y="5242"/>
                    </a:lnTo>
                    <a:lnTo>
                      <a:pt x="3008" y="5244"/>
                    </a:lnTo>
                    <a:lnTo>
                      <a:pt x="3008" y="5244"/>
                    </a:lnTo>
                    <a:lnTo>
                      <a:pt x="3006" y="5246"/>
                    </a:lnTo>
                    <a:lnTo>
                      <a:pt x="3004" y="5246"/>
                    </a:lnTo>
                    <a:lnTo>
                      <a:pt x="3000" y="5242"/>
                    </a:lnTo>
                    <a:lnTo>
                      <a:pt x="2998" y="5240"/>
                    </a:lnTo>
                    <a:lnTo>
                      <a:pt x="2994" y="5240"/>
                    </a:lnTo>
                    <a:lnTo>
                      <a:pt x="2992" y="5242"/>
                    </a:lnTo>
                    <a:lnTo>
                      <a:pt x="2992" y="5242"/>
                    </a:lnTo>
                    <a:lnTo>
                      <a:pt x="2988" y="5244"/>
                    </a:lnTo>
                    <a:lnTo>
                      <a:pt x="2986" y="5244"/>
                    </a:lnTo>
                    <a:lnTo>
                      <a:pt x="2982" y="5240"/>
                    </a:lnTo>
                    <a:lnTo>
                      <a:pt x="2978" y="5236"/>
                    </a:lnTo>
                    <a:lnTo>
                      <a:pt x="2974" y="5234"/>
                    </a:lnTo>
                    <a:lnTo>
                      <a:pt x="2970" y="5234"/>
                    </a:lnTo>
                    <a:lnTo>
                      <a:pt x="2970" y="5234"/>
                    </a:lnTo>
                    <a:lnTo>
                      <a:pt x="2966" y="5236"/>
                    </a:lnTo>
                    <a:lnTo>
                      <a:pt x="2964" y="5238"/>
                    </a:lnTo>
                    <a:lnTo>
                      <a:pt x="2964" y="5240"/>
                    </a:lnTo>
                    <a:lnTo>
                      <a:pt x="2966" y="5244"/>
                    </a:lnTo>
                    <a:lnTo>
                      <a:pt x="2970" y="5250"/>
                    </a:lnTo>
                    <a:lnTo>
                      <a:pt x="2974" y="5252"/>
                    </a:lnTo>
                    <a:lnTo>
                      <a:pt x="2974" y="5252"/>
                    </a:lnTo>
                    <a:lnTo>
                      <a:pt x="2978" y="5252"/>
                    </a:lnTo>
                    <a:lnTo>
                      <a:pt x="2984" y="5256"/>
                    </a:lnTo>
                    <a:lnTo>
                      <a:pt x="2986" y="5260"/>
                    </a:lnTo>
                    <a:lnTo>
                      <a:pt x="2984" y="5260"/>
                    </a:lnTo>
                    <a:lnTo>
                      <a:pt x="2982" y="5260"/>
                    </a:lnTo>
                    <a:lnTo>
                      <a:pt x="2982" y="5260"/>
                    </a:lnTo>
                    <a:lnTo>
                      <a:pt x="2976" y="5262"/>
                    </a:lnTo>
                    <a:lnTo>
                      <a:pt x="2972" y="5264"/>
                    </a:lnTo>
                    <a:lnTo>
                      <a:pt x="2970" y="5264"/>
                    </a:lnTo>
                    <a:lnTo>
                      <a:pt x="2966" y="5260"/>
                    </a:lnTo>
                    <a:lnTo>
                      <a:pt x="2966" y="5260"/>
                    </a:lnTo>
                    <a:lnTo>
                      <a:pt x="2960" y="5252"/>
                    </a:lnTo>
                    <a:lnTo>
                      <a:pt x="2956" y="5252"/>
                    </a:lnTo>
                    <a:lnTo>
                      <a:pt x="2954" y="5252"/>
                    </a:lnTo>
                    <a:lnTo>
                      <a:pt x="2954" y="5252"/>
                    </a:lnTo>
                    <a:lnTo>
                      <a:pt x="2948" y="5250"/>
                    </a:lnTo>
                    <a:lnTo>
                      <a:pt x="2944" y="5248"/>
                    </a:lnTo>
                    <a:lnTo>
                      <a:pt x="2940" y="5246"/>
                    </a:lnTo>
                    <a:lnTo>
                      <a:pt x="2938" y="5248"/>
                    </a:lnTo>
                    <a:lnTo>
                      <a:pt x="2936" y="5250"/>
                    </a:lnTo>
                    <a:lnTo>
                      <a:pt x="2936" y="5250"/>
                    </a:lnTo>
                    <a:lnTo>
                      <a:pt x="2932" y="5254"/>
                    </a:lnTo>
                    <a:lnTo>
                      <a:pt x="2928" y="5256"/>
                    </a:lnTo>
                    <a:lnTo>
                      <a:pt x="2926" y="5258"/>
                    </a:lnTo>
                    <a:lnTo>
                      <a:pt x="2926" y="5266"/>
                    </a:lnTo>
                    <a:lnTo>
                      <a:pt x="2926" y="5266"/>
                    </a:lnTo>
                    <a:lnTo>
                      <a:pt x="2926" y="5270"/>
                    </a:lnTo>
                    <a:lnTo>
                      <a:pt x="2926" y="5276"/>
                    </a:lnTo>
                    <a:lnTo>
                      <a:pt x="2926" y="5278"/>
                    </a:lnTo>
                    <a:lnTo>
                      <a:pt x="2928" y="5280"/>
                    </a:lnTo>
                    <a:lnTo>
                      <a:pt x="2938" y="5282"/>
                    </a:lnTo>
                    <a:lnTo>
                      <a:pt x="2938" y="5282"/>
                    </a:lnTo>
                    <a:lnTo>
                      <a:pt x="2948" y="5282"/>
                    </a:lnTo>
                    <a:lnTo>
                      <a:pt x="2960" y="5278"/>
                    </a:lnTo>
                    <a:lnTo>
                      <a:pt x="2970" y="5274"/>
                    </a:lnTo>
                    <a:lnTo>
                      <a:pt x="2978" y="5272"/>
                    </a:lnTo>
                    <a:lnTo>
                      <a:pt x="2978" y="5272"/>
                    </a:lnTo>
                    <a:lnTo>
                      <a:pt x="2984" y="5272"/>
                    </a:lnTo>
                    <a:lnTo>
                      <a:pt x="2986" y="5268"/>
                    </a:lnTo>
                    <a:lnTo>
                      <a:pt x="2988" y="5268"/>
                    </a:lnTo>
                    <a:lnTo>
                      <a:pt x="2990" y="5270"/>
                    </a:lnTo>
                    <a:lnTo>
                      <a:pt x="2990" y="5270"/>
                    </a:lnTo>
                    <a:lnTo>
                      <a:pt x="2992" y="5272"/>
                    </a:lnTo>
                    <a:lnTo>
                      <a:pt x="2994" y="5270"/>
                    </a:lnTo>
                    <a:lnTo>
                      <a:pt x="2998" y="5270"/>
                    </a:lnTo>
                    <a:lnTo>
                      <a:pt x="3004" y="5270"/>
                    </a:lnTo>
                    <a:lnTo>
                      <a:pt x="3004" y="5270"/>
                    </a:lnTo>
                    <a:lnTo>
                      <a:pt x="3014" y="5272"/>
                    </a:lnTo>
                    <a:lnTo>
                      <a:pt x="3016" y="5272"/>
                    </a:lnTo>
                    <a:lnTo>
                      <a:pt x="3012" y="5270"/>
                    </a:lnTo>
                    <a:lnTo>
                      <a:pt x="3012" y="5270"/>
                    </a:lnTo>
                    <a:close/>
                    <a:moveTo>
                      <a:pt x="3240" y="4810"/>
                    </a:moveTo>
                    <a:lnTo>
                      <a:pt x="3240" y="4810"/>
                    </a:lnTo>
                    <a:lnTo>
                      <a:pt x="3258" y="4782"/>
                    </a:lnTo>
                    <a:lnTo>
                      <a:pt x="3262" y="4776"/>
                    </a:lnTo>
                    <a:lnTo>
                      <a:pt x="3264" y="4770"/>
                    </a:lnTo>
                    <a:lnTo>
                      <a:pt x="3264" y="4764"/>
                    </a:lnTo>
                    <a:lnTo>
                      <a:pt x="3262" y="4760"/>
                    </a:lnTo>
                    <a:lnTo>
                      <a:pt x="3262" y="4760"/>
                    </a:lnTo>
                    <a:lnTo>
                      <a:pt x="3258" y="4756"/>
                    </a:lnTo>
                    <a:lnTo>
                      <a:pt x="3254" y="4756"/>
                    </a:lnTo>
                    <a:lnTo>
                      <a:pt x="3250" y="4758"/>
                    </a:lnTo>
                    <a:lnTo>
                      <a:pt x="3246" y="4764"/>
                    </a:lnTo>
                    <a:lnTo>
                      <a:pt x="3236" y="4776"/>
                    </a:lnTo>
                    <a:lnTo>
                      <a:pt x="3228" y="4792"/>
                    </a:lnTo>
                    <a:lnTo>
                      <a:pt x="3228" y="4792"/>
                    </a:lnTo>
                    <a:lnTo>
                      <a:pt x="3222" y="4796"/>
                    </a:lnTo>
                    <a:lnTo>
                      <a:pt x="3216" y="4798"/>
                    </a:lnTo>
                    <a:lnTo>
                      <a:pt x="3208" y="4798"/>
                    </a:lnTo>
                    <a:lnTo>
                      <a:pt x="3198" y="4798"/>
                    </a:lnTo>
                    <a:lnTo>
                      <a:pt x="3182" y="4794"/>
                    </a:lnTo>
                    <a:lnTo>
                      <a:pt x="3176" y="4794"/>
                    </a:lnTo>
                    <a:lnTo>
                      <a:pt x="3174" y="4796"/>
                    </a:lnTo>
                    <a:lnTo>
                      <a:pt x="3174" y="4796"/>
                    </a:lnTo>
                    <a:lnTo>
                      <a:pt x="3170" y="4798"/>
                    </a:lnTo>
                    <a:lnTo>
                      <a:pt x="3168" y="4798"/>
                    </a:lnTo>
                    <a:lnTo>
                      <a:pt x="3158" y="4794"/>
                    </a:lnTo>
                    <a:lnTo>
                      <a:pt x="3146" y="4792"/>
                    </a:lnTo>
                    <a:lnTo>
                      <a:pt x="3138" y="4790"/>
                    </a:lnTo>
                    <a:lnTo>
                      <a:pt x="3130" y="4790"/>
                    </a:lnTo>
                    <a:lnTo>
                      <a:pt x="3130" y="4790"/>
                    </a:lnTo>
                    <a:lnTo>
                      <a:pt x="3122" y="4790"/>
                    </a:lnTo>
                    <a:lnTo>
                      <a:pt x="3118" y="4788"/>
                    </a:lnTo>
                    <a:lnTo>
                      <a:pt x="3116" y="4786"/>
                    </a:lnTo>
                    <a:lnTo>
                      <a:pt x="3114" y="4784"/>
                    </a:lnTo>
                    <a:lnTo>
                      <a:pt x="3114" y="4780"/>
                    </a:lnTo>
                    <a:lnTo>
                      <a:pt x="3114" y="4778"/>
                    </a:lnTo>
                    <a:lnTo>
                      <a:pt x="3112" y="4778"/>
                    </a:lnTo>
                    <a:lnTo>
                      <a:pt x="3112" y="4778"/>
                    </a:lnTo>
                    <a:lnTo>
                      <a:pt x="3104" y="4778"/>
                    </a:lnTo>
                    <a:lnTo>
                      <a:pt x="3098" y="4776"/>
                    </a:lnTo>
                    <a:lnTo>
                      <a:pt x="3092" y="4776"/>
                    </a:lnTo>
                    <a:lnTo>
                      <a:pt x="3090" y="4778"/>
                    </a:lnTo>
                    <a:lnTo>
                      <a:pt x="3088" y="4780"/>
                    </a:lnTo>
                    <a:lnTo>
                      <a:pt x="3088" y="4780"/>
                    </a:lnTo>
                    <a:lnTo>
                      <a:pt x="3084" y="4788"/>
                    </a:lnTo>
                    <a:lnTo>
                      <a:pt x="3080" y="4796"/>
                    </a:lnTo>
                    <a:lnTo>
                      <a:pt x="3078" y="4800"/>
                    </a:lnTo>
                    <a:lnTo>
                      <a:pt x="3074" y="4800"/>
                    </a:lnTo>
                    <a:lnTo>
                      <a:pt x="3072" y="4800"/>
                    </a:lnTo>
                    <a:lnTo>
                      <a:pt x="3068" y="4796"/>
                    </a:lnTo>
                    <a:lnTo>
                      <a:pt x="3068" y="4796"/>
                    </a:lnTo>
                    <a:lnTo>
                      <a:pt x="3066" y="4792"/>
                    </a:lnTo>
                    <a:lnTo>
                      <a:pt x="3064" y="4792"/>
                    </a:lnTo>
                    <a:lnTo>
                      <a:pt x="3060" y="4798"/>
                    </a:lnTo>
                    <a:lnTo>
                      <a:pt x="3056" y="4810"/>
                    </a:lnTo>
                    <a:lnTo>
                      <a:pt x="3052" y="4820"/>
                    </a:lnTo>
                    <a:lnTo>
                      <a:pt x="3052" y="4820"/>
                    </a:lnTo>
                    <a:lnTo>
                      <a:pt x="3048" y="4824"/>
                    </a:lnTo>
                    <a:lnTo>
                      <a:pt x="3048" y="4828"/>
                    </a:lnTo>
                    <a:lnTo>
                      <a:pt x="3048" y="4834"/>
                    </a:lnTo>
                    <a:lnTo>
                      <a:pt x="3048" y="4838"/>
                    </a:lnTo>
                    <a:lnTo>
                      <a:pt x="3046" y="4840"/>
                    </a:lnTo>
                    <a:lnTo>
                      <a:pt x="3044" y="4842"/>
                    </a:lnTo>
                    <a:lnTo>
                      <a:pt x="3044" y="4842"/>
                    </a:lnTo>
                    <a:lnTo>
                      <a:pt x="3040" y="4844"/>
                    </a:lnTo>
                    <a:lnTo>
                      <a:pt x="3040" y="4848"/>
                    </a:lnTo>
                    <a:lnTo>
                      <a:pt x="3042" y="4854"/>
                    </a:lnTo>
                    <a:lnTo>
                      <a:pt x="3044" y="4864"/>
                    </a:lnTo>
                    <a:lnTo>
                      <a:pt x="3044" y="4864"/>
                    </a:lnTo>
                    <a:lnTo>
                      <a:pt x="3040" y="4876"/>
                    </a:lnTo>
                    <a:lnTo>
                      <a:pt x="3034" y="4886"/>
                    </a:lnTo>
                    <a:lnTo>
                      <a:pt x="3030" y="4900"/>
                    </a:lnTo>
                    <a:lnTo>
                      <a:pt x="3030" y="4908"/>
                    </a:lnTo>
                    <a:lnTo>
                      <a:pt x="3030" y="4918"/>
                    </a:lnTo>
                    <a:lnTo>
                      <a:pt x="3030" y="4918"/>
                    </a:lnTo>
                    <a:lnTo>
                      <a:pt x="3030" y="4932"/>
                    </a:lnTo>
                    <a:lnTo>
                      <a:pt x="3028" y="4934"/>
                    </a:lnTo>
                    <a:lnTo>
                      <a:pt x="3026" y="4936"/>
                    </a:lnTo>
                    <a:lnTo>
                      <a:pt x="3024" y="4936"/>
                    </a:lnTo>
                    <a:lnTo>
                      <a:pt x="3024" y="4938"/>
                    </a:lnTo>
                    <a:lnTo>
                      <a:pt x="3022" y="4944"/>
                    </a:lnTo>
                    <a:lnTo>
                      <a:pt x="3020" y="4952"/>
                    </a:lnTo>
                    <a:lnTo>
                      <a:pt x="3020" y="4952"/>
                    </a:lnTo>
                    <a:lnTo>
                      <a:pt x="3020" y="4960"/>
                    </a:lnTo>
                    <a:lnTo>
                      <a:pt x="3016" y="4964"/>
                    </a:lnTo>
                    <a:lnTo>
                      <a:pt x="3014" y="4968"/>
                    </a:lnTo>
                    <a:lnTo>
                      <a:pt x="3010" y="4968"/>
                    </a:lnTo>
                    <a:lnTo>
                      <a:pt x="3006" y="4970"/>
                    </a:lnTo>
                    <a:lnTo>
                      <a:pt x="3006" y="4972"/>
                    </a:lnTo>
                    <a:lnTo>
                      <a:pt x="3008" y="4976"/>
                    </a:lnTo>
                    <a:lnTo>
                      <a:pt x="3008" y="4976"/>
                    </a:lnTo>
                    <a:lnTo>
                      <a:pt x="3010" y="4984"/>
                    </a:lnTo>
                    <a:lnTo>
                      <a:pt x="3008" y="4986"/>
                    </a:lnTo>
                    <a:lnTo>
                      <a:pt x="3006" y="4990"/>
                    </a:lnTo>
                    <a:lnTo>
                      <a:pt x="3008" y="5002"/>
                    </a:lnTo>
                    <a:lnTo>
                      <a:pt x="3008" y="5002"/>
                    </a:lnTo>
                    <a:lnTo>
                      <a:pt x="3012" y="5008"/>
                    </a:lnTo>
                    <a:lnTo>
                      <a:pt x="3014" y="5010"/>
                    </a:lnTo>
                    <a:lnTo>
                      <a:pt x="3018" y="5010"/>
                    </a:lnTo>
                    <a:lnTo>
                      <a:pt x="3020" y="5010"/>
                    </a:lnTo>
                    <a:lnTo>
                      <a:pt x="3024" y="5010"/>
                    </a:lnTo>
                    <a:lnTo>
                      <a:pt x="3028" y="5010"/>
                    </a:lnTo>
                    <a:lnTo>
                      <a:pt x="3032" y="5014"/>
                    </a:lnTo>
                    <a:lnTo>
                      <a:pt x="3036" y="5022"/>
                    </a:lnTo>
                    <a:lnTo>
                      <a:pt x="3036" y="5022"/>
                    </a:lnTo>
                    <a:lnTo>
                      <a:pt x="3040" y="5034"/>
                    </a:lnTo>
                    <a:lnTo>
                      <a:pt x="3040" y="5046"/>
                    </a:lnTo>
                    <a:lnTo>
                      <a:pt x="3038" y="5058"/>
                    </a:lnTo>
                    <a:lnTo>
                      <a:pt x="3036" y="5070"/>
                    </a:lnTo>
                    <a:lnTo>
                      <a:pt x="3032" y="5082"/>
                    </a:lnTo>
                    <a:lnTo>
                      <a:pt x="3030" y="5092"/>
                    </a:lnTo>
                    <a:lnTo>
                      <a:pt x="3030" y="5102"/>
                    </a:lnTo>
                    <a:lnTo>
                      <a:pt x="3034" y="5112"/>
                    </a:lnTo>
                    <a:lnTo>
                      <a:pt x="3034" y="5112"/>
                    </a:lnTo>
                    <a:lnTo>
                      <a:pt x="3038" y="5116"/>
                    </a:lnTo>
                    <a:lnTo>
                      <a:pt x="3042" y="5118"/>
                    </a:lnTo>
                    <a:lnTo>
                      <a:pt x="3046" y="5118"/>
                    </a:lnTo>
                    <a:lnTo>
                      <a:pt x="3050" y="5116"/>
                    </a:lnTo>
                    <a:lnTo>
                      <a:pt x="3058" y="5114"/>
                    </a:lnTo>
                    <a:lnTo>
                      <a:pt x="3068" y="5112"/>
                    </a:lnTo>
                    <a:lnTo>
                      <a:pt x="3068" y="5112"/>
                    </a:lnTo>
                    <a:lnTo>
                      <a:pt x="3072" y="5112"/>
                    </a:lnTo>
                    <a:lnTo>
                      <a:pt x="3072" y="5110"/>
                    </a:lnTo>
                    <a:lnTo>
                      <a:pt x="3070" y="5100"/>
                    </a:lnTo>
                    <a:lnTo>
                      <a:pt x="3068" y="5088"/>
                    </a:lnTo>
                    <a:lnTo>
                      <a:pt x="3068" y="5082"/>
                    </a:lnTo>
                    <a:lnTo>
                      <a:pt x="3070" y="5076"/>
                    </a:lnTo>
                    <a:lnTo>
                      <a:pt x="3070" y="5076"/>
                    </a:lnTo>
                    <a:lnTo>
                      <a:pt x="3072" y="5070"/>
                    </a:lnTo>
                    <a:lnTo>
                      <a:pt x="3074" y="5064"/>
                    </a:lnTo>
                    <a:lnTo>
                      <a:pt x="3072" y="5050"/>
                    </a:lnTo>
                    <a:lnTo>
                      <a:pt x="3072" y="5034"/>
                    </a:lnTo>
                    <a:lnTo>
                      <a:pt x="3072" y="5014"/>
                    </a:lnTo>
                    <a:lnTo>
                      <a:pt x="3072" y="5014"/>
                    </a:lnTo>
                    <a:lnTo>
                      <a:pt x="3074" y="5004"/>
                    </a:lnTo>
                    <a:lnTo>
                      <a:pt x="3072" y="4998"/>
                    </a:lnTo>
                    <a:lnTo>
                      <a:pt x="3068" y="4990"/>
                    </a:lnTo>
                    <a:lnTo>
                      <a:pt x="3068" y="4988"/>
                    </a:lnTo>
                    <a:lnTo>
                      <a:pt x="3068" y="4984"/>
                    </a:lnTo>
                    <a:lnTo>
                      <a:pt x="3076" y="4974"/>
                    </a:lnTo>
                    <a:lnTo>
                      <a:pt x="3076" y="4974"/>
                    </a:lnTo>
                    <a:lnTo>
                      <a:pt x="3084" y="4970"/>
                    </a:lnTo>
                    <a:lnTo>
                      <a:pt x="3090" y="4968"/>
                    </a:lnTo>
                    <a:lnTo>
                      <a:pt x="3094" y="4968"/>
                    </a:lnTo>
                    <a:lnTo>
                      <a:pt x="3098" y="4972"/>
                    </a:lnTo>
                    <a:lnTo>
                      <a:pt x="3100" y="4976"/>
                    </a:lnTo>
                    <a:lnTo>
                      <a:pt x="3100" y="4982"/>
                    </a:lnTo>
                    <a:lnTo>
                      <a:pt x="3098" y="4990"/>
                    </a:lnTo>
                    <a:lnTo>
                      <a:pt x="3094" y="4996"/>
                    </a:lnTo>
                    <a:lnTo>
                      <a:pt x="3094" y="4996"/>
                    </a:lnTo>
                    <a:lnTo>
                      <a:pt x="3092" y="5002"/>
                    </a:lnTo>
                    <a:lnTo>
                      <a:pt x="3090" y="5008"/>
                    </a:lnTo>
                    <a:lnTo>
                      <a:pt x="3092" y="5012"/>
                    </a:lnTo>
                    <a:lnTo>
                      <a:pt x="3094" y="5016"/>
                    </a:lnTo>
                    <a:lnTo>
                      <a:pt x="3102" y="5024"/>
                    </a:lnTo>
                    <a:lnTo>
                      <a:pt x="3112" y="5034"/>
                    </a:lnTo>
                    <a:lnTo>
                      <a:pt x="3112" y="5034"/>
                    </a:lnTo>
                    <a:lnTo>
                      <a:pt x="3116" y="5040"/>
                    </a:lnTo>
                    <a:lnTo>
                      <a:pt x="3116" y="5046"/>
                    </a:lnTo>
                    <a:lnTo>
                      <a:pt x="3114" y="5062"/>
                    </a:lnTo>
                    <a:lnTo>
                      <a:pt x="3114" y="5068"/>
                    </a:lnTo>
                    <a:lnTo>
                      <a:pt x="3116" y="5074"/>
                    </a:lnTo>
                    <a:lnTo>
                      <a:pt x="3120" y="5076"/>
                    </a:lnTo>
                    <a:lnTo>
                      <a:pt x="3130" y="5078"/>
                    </a:lnTo>
                    <a:lnTo>
                      <a:pt x="3130" y="5078"/>
                    </a:lnTo>
                    <a:lnTo>
                      <a:pt x="3136" y="5076"/>
                    </a:lnTo>
                    <a:lnTo>
                      <a:pt x="3138" y="5076"/>
                    </a:lnTo>
                    <a:lnTo>
                      <a:pt x="3140" y="5072"/>
                    </a:lnTo>
                    <a:lnTo>
                      <a:pt x="3140" y="5070"/>
                    </a:lnTo>
                    <a:lnTo>
                      <a:pt x="3140" y="5062"/>
                    </a:lnTo>
                    <a:lnTo>
                      <a:pt x="3142" y="5060"/>
                    </a:lnTo>
                    <a:lnTo>
                      <a:pt x="3148" y="5056"/>
                    </a:lnTo>
                    <a:lnTo>
                      <a:pt x="3148" y="5056"/>
                    </a:lnTo>
                    <a:lnTo>
                      <a:pt x="3152" y="5056"/>
                    </a:lnTo>
                    <a:lnTo>
                      <a:pt x="3156" y="5054"/>
                    </a:lnTo>
                    <a:lnTo>
                      <a:pt x="3164" y="5056"/>
                    </a:lnTo>
                    <a:lnTo>
                      <a:pt x="3166" y="5056"/>
                    </a:lnTo>
                    <a:lnTo>
                      <a:pt x="3168" y="5056"/>
                    </a:lnTo>
                    <a:lnTo>
                      <a:pt x="3172" y="5048"/>
                    </a:lnTo>
                    <a:lnTo>
                      <a:pt x="3172" y="5048"/>
                    </a:lnTo>
                    <a:lnTo>
                      <a:pt x="3172" y="5042"/>
                    </a:lnTo>
                    <a:lnTo>
                      <a:pt x="3170" y="5036"/>
                    </a:lnTo>
                    <a:lnTo>
                      <a:pt x="3164" y="5032"/>
                    </a:lnTo>
                    <a:lnTo>
                      <a:pt x="3158" y="5028"/>
                    </a:lnTo>
                    <a:lnTo>
                      <a:pt x="3152" y="5026"/>
                    </a:lnTo>
                    <a:lnTo>
                      <a:pt x="3148" y="5022"/>
                    </a:lnTo>
                    <a:lnTo>
                      <a:pt x="3146" y="5016"/>
                    </a:lnTo>
                    <a:lnTo>
                      <a:pt x="3148" y="5012"/>
                    </a:lnTo>
                    <a:lnTo>
                      <a:pt x="3148" y="5012"/>
                    </a:lnTo>
                    <a:lnTo>
                      <a:pt x="3152" y="5006"/>
                    </a:lnTo>
                    <a:lnTo>
                      <a:pt x="3152" y="4998"/>
                    </a:lnTo>
                    <a:lnTo>
                      <a:pt x="3150" y="4990"/>
                    </a:lnTo>
                    <a:lnTo>
                      <a:pt x="3148" y="4980"/>
                    </a:lnTo>
                    <a:lnTo>
                      <a:pt x="3136" y="4962"/>
                    </a:lnTo>
                    <a:lnTo>
                      <a:pt x="3122" y="4946"/>
                    </a:lnTo>
                    <a:lnTo>
                      <a:pt x="3122" y="4946"/>
                    </a:lnTo>
                    <a:lnTo>
                      <a:pt x="3118" y="4940"/>
                    </a:lnTo>
                    <a:lnTo>
                      <a:pt x="3118" y="4934"/>
                    </a:lnTo>
                    <a:lnTo>
                      <a:pt x="3122" y="4930"/>
                    </a:lnTo>
                    <a:lnTo>
                      <a:pt x="3128" y="4926"/>
                    </a:lnTo>
                    <a:lnTo>
                      <a:pt x="3146" y="4916"/>
                    </a:lnTo>
                    <a:lnTo>
                      <a:pt x="3154" y="4908"/>
                    </a:lnTo>
                    <a:lnTo>
                      <a:pt x="3162" y="4898"/>
                    </a:lnTo>
                    <a:lnTo>
                      <a:pt x="3162" y="4898"/>
                    </a:lnTo>
                    <a:lnTo>
                      <a:pt x="3168" y="4888"/>
                    </a:lnTo>
                    <a:lnTo>
                      <a:pt x="3172" y="4884"/>
                    </a:lnTo>
                    <a:lnTo>
                      <a:pt x="3176" y="4884"/>
                    </a:lnTo>
                    <a:lnTo>
                      <a:pt x="3180" y="4886"/>
                    </a:lnTo>
                    <a:lnTo>
                      <a:pt x="3186" y="4890"/>
                    </a:lnTo>
                    <a:lnTo>
                      <a:pt x="3190" y="4890"/>
                    </a:lnTo>
                    <a:lnTo>
                      <a:pt x="3192" y="4888"/>
                    </a:lnTo>
                    <a:lnTo>
                      <a:pt x="3192" y="4888"/>
                    </a:lnTo>
                    <a:lnTo>
                      <a:pt x="3196" y="4880"/>
                    </a:lnTo>
                    <a:lnTo>
                      <a:pt x="3196" y="4876"/>
                    </a:lnTo>
                    <a:lnTo>
                      <a:pt x="3194" y="4874"/>
                    </a:lnTo>
                    <a:lnTo>
                      <a:pt x="3192" y="4872"/>
                    </a:lnTo>
                    <a:lnTo>
                      <a:pt x="3188" y="4870"/>
                    </a:lnTo>
                    <a:lnTo>
                      <a:pt x="3170" y="4870"/>
                    </a:lnTo>
                    <a:lnTo>
                      <a:pt x="3170" y="4870"/>
                    </a:lnTo>
                    <a:lnTo>
                      <a:pt x="3160" y="4872"/>
                    </a:lnTo>
                    <a:lnTo>
                      <a:pt x="3152" y="4874"/>
                    </a:lnTo>
                    <a:lnTo>
                      <a:pt x="3144" y="4880"/>
                    </a:lnTo>
                    <a:lnTo>
                      <a:pt x="3136" y="4884"/>
                    </a:lnTo>
                    <a:lnTo>
                      <a:pt x="3130" y="4884"/>
                    </a:lnTo>
                    <a:lnTo>
                      <a:pt x="3124" y="4884"/>
                    </a:lnTo>
                    <a:lnTo>
                      <a:pt x="3124" y="4884"/>
                    </a:lnTo>
                    <a:lnTo>
                      <a:pt x="3116" y="4882"/>
                    </a:lnTo>
                    <a:lnTo>
                      <a:pt x="3112" y="4886"/>
                    </a:lnTo>
                    <a:lnTo>
                      <a:pt x="3108" y="4890"/>
                    </a:lnTo>
                    <a:lnTo>
                      <a:pt x="3106" y="4894"/>
                    </a:lnTo>
                    <a:lnTo>
                      <a:pt x="3104" y="4900"/>
                    </a:lnTo>
                    <a:lnTo>
                      <a:pt x="3100" y="4904"/>
                    </a:lnTo>
                    <a:lnTo>
                      <a:pt x="3096" y="4908"/>
                    </a:lnTo>
                    <a:lnTo>
                      <a:pt x="3088" y="4908"/>
                    </a:lnTo>
                    <a:lnTo>
                      <a:pt x="3088" y="4908"/>
                    </a:lnTo>
                    <a:lnTo>
                      <a:pt x="3082" y="4906"/>
                    </a:lnTo>
                    <a:lnTo>
                      <a:pt x="3078" y="4904"/>
                    </a:lnTo>
                    <a:lnTo>
                      <a:pt x="3078" y="4902"/>
                    </a:lnTo>
                    <a:lnTo>
                      <a:pt x="3078" y="4898"/>
                    </a:lnTo>
                    <a:lnTo>
                      <a:pt x="3076" y="4892"/>
                    </a:lnTo>
                    <a:lnTo>
                      <a:pt x="3074" y="4888"/>
                    </a:lnTo>
                    <a:lnTo>
                      <a:pt x="3068" y="4882"/>
                    </a:lnTo>
                    <a:lnTo>
                      <a:pt x="3068" y="4882"/>
                    </a:lnTo>
                    <a:lnTo>
                      <a:pt x="3064" y="4880"/>
                    </a:lnTo>
                    <a:lnTo>
                      <a:pt x="3062" y="4876"/>
                    </a:lnTo>
                    <a:lnTo>
                      <a:pt x="3058" y="4866"/>
                    </a:lnTo>
                    <a:lnTo>
                      <a:pt x="3058" y="4852"/>
                    </a:lnTo>
                    <a:lnTo>
                      <a:pt x="3060" y="4840"/>
                    </a:lnTo>
                    <a:lnTo>
                      <a:pt x="3066" y="4828"/>
                    </a:lnTo>
                    <a:lnTo>
                      <a:pt x="3072" y="4818"/>
                    </a:lnTo>
                    <a:lnTo>
                      <a:pt x="3074" y="4816"/>
                    </a:lnTo>
                    <a:lnTo>
                      <a:pt x="3078" y="4814"/>
                    </a:lnTo>
                    <a:lnTo>
                      <a:pt x="3082" y="4814"/>
                    </a:lnTo>
                    <a:lnTo>
                      <a:pt x="3086" y="4816"/>
                    </a:lnTo>
                    <a:lnTo>
                      <a:pt x="3086" y="4816"/>
                    </a:lnTo>
                    <a:lnTo>
                      <a:pt x="3092" y="4818"/>
                    </a:lnTo>
                    <a:lnTo>
                      <a:pt x="3096" y="4820"/>
                    </a:lnTo>
                    <a:lnTo>
                      <a:pt x="3106" y="4818"/>
                    </a:lnTo>
                    <a:lnTo>
                      <a:pt x="3116" y="4818"/>
                    </a:lnTo>
                    <a:lnTo>
                      <a:pt x="3122" y="4818"/>
                    </a:lnTo>
                    <a:lnTo>
                      <a:pt x="3126" y="4818"/>
                    </a:lnTo>
                    <a:lnTo>
                      <a:pt x="3126" y="4818"/>
                    </a:lnTo>
                    <a:lnTo>
                      <a:pt x="3132" y="4820"/>
                    </a:lnTo>
                    <a:lnTo>
                      <a:pt x="3140" y="4820"/>
                    </a:lnTo>
                    <a:lnTo>
                      <a:pt x="3156" y="4818"/>
                    </a:lnTo>
                    <a:lnTo>
                      <a:pt x="3172" y="4816"/>
                    </a:lnTo>
                    <a:lnTo>
                      <a:pt x="3178" y="4818"/>
                    </a:lnTo>
                    <a:lnTo>
                      <a:pt x="3182" y="4820"/>
                    </a:lnTo>
                    <a:lnTo>
                      <a:pt x="3182" y="4820"/>
                    </a:lnTo>
                    <a:lnTo>
                      <a:pt x="3186" y="4822"/>
                    </a:lnTo>
                    <a:lnTo>
                      <a:pt x="3192" y="4824"/>
                    </a:lnTo>
                    <a:lnTo>
                      <a:pt x="3200" y="4826"/>
                    </a:lnTo>
                    <a:lnTo>
                      <a:pt x="3208" y="4826"/>
                    </a:lnTo>
                    <a:lnTo>
                      <a:pt x="3218" y="4824"/>
                    </a:lnTo>
                    <a:lnTo>
                      <a:pt x="3226" y="4822"/>
                    </a:lnTo>
                    <a:lnTo>
                      <a:pt x="3234" y="4816"/>
                    </a:lnTo>
                    <a:lnTo>
                      <a:pt x="3240" y="4810"/>
                    </a:lnTo>
                    <a:lnTo>
                      <a:pt x="3240" y="4810"/>
                    </a:lnTo>
                    <a:close/>
                    <a:moveTo>
                      <a:pt x="2954" y="5244"/>
                    </a:moveTo>
                    <a:lnTo>
                      <a:pt x="2954" y="5244"/>
                    </a:lnTo>
                    <a:lnTo>
                      <a:pt x="2954" y="5248"/>
                    </a:lnTo>
                    <a:lnTo>
                      <a:pt x="2956" y="5246"/>
                    </a:lnTo>
                    <a:lnTo>
                      <a:pt x="2960" y="5240"/>
                    </a:lnTo>
                    <a:lnTo>
                      <a:pt x="2960" y="5240"/>
                    </a:lnTo>
                    <a:lnTo>
                      <a:pt x="2962" y="5238"/>
                    </a:lnTo>
                    <a:lnTo>
                      <a:pt x="2960" y="5236"/>
                    </a:lnTo>
                    <a:lnTo>
                      <a:pt x="2958" y="5236"/>
                    </a:lnTo>
                    <a:lnTo>
                      <a:pt x="2954" y="5240"/>
                    </a:lnTo>
                    <a:lnTo>
                      <a:pt x="2954" y="5244"/>
                    </a:lnTo>
                    <a:lnTo>
                      <a:pt x="2954" y="5244"/>
                    </a:lnTo>
                    <a:close/>
                    <a:moveTo>
                      <a:pt x="3346" y="4878"/>
                    </a:moveTo>
                    <a:lnTo>
                      <a:pt x="3346" y="4878"/>
                    </a:lnTo>
                    <a:lnTo>
                      <a:pt x="3350" y="4878"/>
                    </a:lnTo>
                    <a:lnTo>
                      <a:pt x="3352" y="4876"/>
                    </a:lnTo>
                    <a:lnTo>
                      <a:pt x="3350" y="4874"/>
                    </a:lnTo>
                    <a:lnTo>
                      <a:pt x="3348" y="4872"/>
                    </a:lnTo>
                    <a:lnTo>
                      <a:pt x="3348" y="4872"/>
                    </a:lnTo>
                    <a:lnTo>
                      <a:pt x="3346" y="4872"/>
                    </a:lnTo>
                    <a:lnTo>
                      <a:pt x="3344" y="4874"/>
                    </a:lnTo>
                    <a:lnTo>
                      <a:pt x="3344" y="4876"/>
                    </a:lnTo>
                    <a:lnTo>
                      <a:pt x="3346" y="4878"/>
                    </a:lnTo>
                    <a:lnTo>
                      <a:pt x="3346" y="4878"/>
                    </a:lnTo>
                    <a:close/>
                    <a:moveTo>
                      <a:pt x="3352" y="4858"/>
                    </a:moveTo>
                    <a:lnTo>
                      <a:pt x="3352" y="4858"/>
                    </a:lnTo>
                    <a:lnTo>
                      <a:pt x="3350" y="4862"/>
                    </a:lnTo>
                    <a:lnTo>
                      <a:pt x="3354" y="4868"/>
                    </a:lnTo>
                    <a:lnTo>
                      <a:pt x="3354" y="4868"/>
                    </a:lnTo>
                    <a:lnTo>
                      <a:pt x="3358" y="4874"/>
                    </a:lnTo>
                    <a:lnTo>
                      <a:pt x="3360" y="4876"/>
                    </a:lnTo>
                    <a:lnTo>
                      <a:pt x="3364" y="4874"/>
                    </a:lnTo>
                    <a:lnTo>
                      <a:pt x="3364" y="4866"/>
                    </a:lnTo>
                    <a:lnTo>
                      <a:pt x="3364" y="4866"/>
                    </a:lnTo>
                    <a:lnTo>
                      <a:pt x="3362" y="4858"/>
                    </a:lnTo>
                    <a:lnTo>
                      <a:pt x="3360" y="4854"/>
                    </a:lnTo>
                    <a:lnTo>
                      <a:pt x="3356" y="4854"/>
                    </a:lnTo>
                    <a:lnTo>
                      <a:pt x="3352" y="4858"/>
                    </a:lnTo>
                    <a:lnTo>
                      <a:pt x="3352" y="4858"/>
                    </a:lnTo>
                    <a:close/>
                    <a:moveTo>
                      <a:pt x="3452" y="4980"/>
                    </a:moveTo>
                    <a:lnTo>
                      <a:pt x="3452" y="4980"/>
                    </a:lnTo>
                    <a:lnTo>
                      <a:pt x="3440" y="4974"/>
                    </a:lnTo>
                    <a:lnTo>
                      <a:pt x="3438" y="4974"/>
                    </a:lnTo>
                    <a:lnTo>
                      <a:pt x="3436" y="4976"/>
                    </a:lnTo>
                    <a:lnTo>
                      <a:pt x="3428" y="4978"/>
                    </a:lnTo>
                    <a:lnTo>
                      <a:pt x="3422" y="4980"/>
                    </a:lnTo>
                    <a:lnTo>
                      <a:pt x="3414" y="4978"/>
                    </a:lnTo>
                    <a:lnTo>
                      <a:pt x="3414" y="4978"/>
                    </a:lnTo>
                    <a:lnTo>
                      <a:pt x="3404" y="4978"/>
                    </a:lnTo>
                    <a:lnTo>
                      <a:pt x="3396" y="4978"/>
                    </a:lnTo>
                    <a:lnTo>
                      <a:pt x="3390" y="4980"/>
                    </a:lnTo>
                    <a:lnTo>
                      <a:pt x="3384" y="4982"/>
                    </a:lnTo>
                    <a:lnTo>
                      <a:pt x="3378" y="4986"/>
                    </a:lnTo>
                    <a:lnTo>
                      <a:pt x="3376" y="4990"/>
                    </a:lnTo>
                    <a:lnTo>
                      <a:pt x="3374" y="4996"/>
                    </a:lnTo>
                    <a:lnTo>
                      <a:pt x="3374" y="5002"/>
                    </a:lnTo>
                    <a:lnTo>
                      <a:pt x="3374" y="5002"/>
                    </a:lnTo>
                    <a:lnTo>
                      <a:pt x="3376" y="5010"/>
                    </a:lnTo>
                    <a:lnTo>
                      <a:pt x="3378" y="5006"/>
                    </a:lnTo>
                    <a:lnTo>
                      <a:pt x="3380" y="4998"/>
                    </a:lnTo>
                    <a:lnTo>
                      <a:pt x="3382" y="4994"/>
                    </a:lnTo>
                    <a:lnTo>
                      <a:pt x="3384" y="4992"/>
                    </a:lnTo>
                    <a:lnTo>
                      <a:pt x="3384" y="4992"/>
                    </a:lnTo>
                    <a:lnTo>
                      <a:pt x="3386" y="4992"/>
                    </a:lnTo>
                    <a:lnTo>
                      <a:pt x="3388" y="4994"/>
                    </a:lnTo>
                    <a:lnTo>
                      <a:pt x="3392" y="5000"/>
                    </a:lnTo>
                    <a:lnTo>
                      <a:pt x="3396" y="5002"/>
                    </a:lnTo>
                    <a:lnTo>
                      <a:pt x="3400" y="5004"/>
                    </a:lnTo>
                    <a:lnTo>
                      <a:pt x="3404" y="5004"/>
                    </a:lnTo>
                    <a:lnTo>
                      <a:pt x="3408" y="5000"/>
                    </a:lnTo>
                    <a:lnTo>
                      <a:pt x="3408" y="5000"/>
                    </a:lnTo>
                    <a:lnTo>
                      <a:pt x="3414" y="4998"/>
                    </a:lnTo>
                    <a:lnTo>
                      <a:pt x="3418" y="4998"/>
                    </a:lnTo>
                    <a:lnTo>
                      <a:pt x="3428" y="5002"/>
                    </a:lnTo>
                    <a:lnTo>
                      <a:pt x="3436" y="5006"/>
                    </a:lnTo>
                    <a:lnTo>
                      <a:pt x="3438" y="5008"/>
                    </a:lnTo>
                    <a:lnTo>
                      <a:pt x="3440" y="5006"/>
                    </a:lnTo>
                    <a:lnTo>
                      <a:pt x="3440" y="5006"/>
                    </a:lnTo>
                    <a:lnTo>
                      <a:pt x="3442" y="5002"/>
                    </a:lnTo>
                    <a:lnTo>
                      <a:pt x="3446" y="5002"/>
                    </a:lnTo>
                    <a:lnTo>
                      <a:pt x="3456" y="5006"/>
                    </a:lnTo>
                    <a:lnTo>
                      <a:pt x="3468" y="5014"/>
                    </a:lnTo>
                    <a:lnTo>
                      <a:pt x="3482" y="5022"/>
                    </a:lnTo>
                    <a:lnTo>
                      <a:pt x="3482" y="5022"/>
                    </a:lnTo>
                    <a:lnTo>
                      <a:pt x="3488" y="5026"/>
                    </a:lnTo>
                    <a:lnTo>
                      <a:pt x="3492" y="5028"/>
                    </a:lnTo>
                    <a:lnTo>
                      <a:pt x="3494" y="5026"/>
                    </a:lnTo>
                    <a:lnTo>
                      <a:pt x="3496" y="5024"/>
                    </a:lnTo>
                    <a:lnTo>
                      <a:pt x="3494" y="5012"/>
                    </a:lnTo>
                    <a:lnTo>
                      <a:pt x="3484" y="4994"/>
                    </a:lnTo>
                    <a:lnTo>
                      <a:pt x="3484" y="4994"/>
                    </a:lnTo>
                    <a:lnTo>
                      <a:pt x="3478" y="4988"/>
                    </a:lnTo>
                    <a:lnTo>
                      <a:pt x="3476" y="4984"/>
                    </a:lnTo>
                    <a:lnTo>
                      <a:pt x="3472" y="4982"/>
                    </a:lnTo>
                    <a:lnTo>
                      <a:pt x="3470" y="4984"/>
                    </a:lnTo>
                    <a:lnTo>
                      <a:pt x="3464" y="4984"/>
                    </a:lnTo>
                    <a:lnTo>
                      <a:pt x="3458" y="4984"/>
                    </a:lnTo>
                    <a:lnTo>
                      <a:pt x="3452" y="4980"/>
                    </a:lnTo>
                    <a:lnTo>
                      <a:pt x="3452" y="4980"/>
                    </a:lnTo>
                    <a:close/>
                    <a:moveTo>
                      <a:pt x="3092" y="4546"/>
                    </a:moveTo>
                    <a:lnTo>
                      <a:pt x="3092" y="4546"/>
                    </a:lnTo>
                    <a:lnTo>
                      <a:pt x="3090" y="4552"/>
                    </a:lnTo>
                    <a:lnTo>
                      <a:pt x="3092" y="4552"/>
                    </a:lnTo>
                    <a:lnTo>
                      <a:pt x="3094" y="4552"/>
                    </a:lnTo>
                    <a:lnTo>
                      <a:pt x="3098" y="4552"/>
                    </a:lnTo>
                    <a:lnTo>
                      <a:pt x="3104" y="4552"/>
                    </a:lnTo>
                    <a:lnTo>
                      <a:pt x="3104" y="4552"/>
                    </a:lnTo>
                    <a:lnTo>
                      <a:pt x="3108" y="4554"/>
                    </a:lnTo>
                    <a:lnTo>
                      <a:pt x="3112" y="4552"/>
                    </a:lnTo>
                    <a:lnTo>
                      <a:pt x="3112" y="4548"/>
                    </a:lnTo>
                    <a:lnTo>
                      <a:pt x="3110" y="4548"/>
                    </a:lnTo>
                    <a:lnTo>
                      <a:pt x="3110" y="4548"/>
                    </a:lnTo>
                    <a:lnTo>
                      <a:pt x="3106" y="4546"/>
                    </a:lnTo>
                    <a:lnTo>
                      <a:pt x="3102" y="4542"/>
                    </a:lnTo>
                    <a:lnTo>
                      <a:pt x="3100" y="4540"/>
                    </a:lnTo>
                    <a:lnTo>
                      <a:pt x="3098" y="4540"/>
                    </a:lnTo>
                    <a:lnTo>
                      <a:pt x="3096" y="4542"/>
                    </a:lnTo>
                    <a:lnTo>
                      <a:pt x="3092" y="4546"/>
                    </a:lnTo>
                    <a:lnTo>
                      <a:pt x="3092" y="4546"/>
                    </a:lnTo>
                    <a:close/>
                    <a:moveTo>
                      <a:pt x="3058" y="4324"/>
                    </a:moveTo>
                    <a:lnTo>
                      <a:pt x="3058" y="4324"/>
                    </a:lnTo>
                    <a:lnTo>
                      <a:pt x="3058" y="4324"/>
                    </a:lnTo>
                    <a:lnTo>
                      <a:pt x="3056" y="4322"/>
                    </a:lnTo>
                    <a:lnTo>
                      <a:pt x="3052" y="4322"/>
                    </a:lnTo>
                    <a:lnTo>
                      <a:pt x="3048" y="4326"/>
                    </a:lnTo>
                    <a:lnTo>
                      <a:pt x="3048" y="4326"/>
                    </a:lnTo>
                    <a:lnTo>
                      <a:pt x="3048" y="4330"/>
                    </a:lnTo>
                    <a:lnTo>
                      <a:pt x="3050" y="4330"/>
                    </a:lnTo>
                    <a:lnTo>
                      <a:pt x="3058" y="4324"/>
                    </a:lnTo>
                    <a:lnTo>
                      <a:pt x="3058" y="4324"/>
                    </a:lnTo>
                    <a:close/>
                    <a:moveTo>
                      <a:pt x="3358" y="4790"/>
                    </a:moveTo>
                    <a:lnTo>
                      <a:pt x="3358" y="4790"/>
                    </a:lnTo>
                    <a:lnTo>
                      <a:pt x="3360" y="4800"/>
                    </a:lnTo>
                    <a:lnTo>
                      <a:pt x="3358" y="4806"/>
                    </a:lnTo>
                    <a:lnTo>
                      <a:pt x="3358" y="4812"/>
                    </a:lnTo>
                    <a:lnTo>
                      <a:pt x="3358" y="4816"/>
                    </a:lnTo>
                    <a:lnTo>
                      <a:pt x="3362" y="4820"/>
                    </a:lnTo>
                    <a:lnTo>
                      <a:pt x="3362" y="4820"/>
                    </a:lnTo>
                    <a:lnTo>
                      <a:pt x="3364" y="4826"/>
                    </a:lnTo>
                    <a:lnTo>
                      <a:pt x="3364" y="4830"/>
                    </a:lnTo>
                    <a:lnTo>
                      <a:pt x="3364" y="4838"/>
                    </a:lnTo>
                    <a:lnTo>
                      <a:pt x="3364" y="4846"/>
                    </a:lnTo>
                    <a:lnTo>
                      <a:pt x="3364" y="4850"/>
                    </a:lnTo>
                    <a:lnTo>
                      <a:pt x="3368" y="4856"/>
                    </a:lnTo>
                    <a:lnTo>
                      <a:pt x="3368" y="4856"/>
                    </a:lnTo>
                    <a:lnTo>
                      <a:pt x="3382" y="4876"/>
                    </a:lnTo>
                    <a:lnTo>
                      <a:pt x="3388" y="4882"/>
                    </a:lnTo>
                    <a:lnTo>
                      <a:pt x="3390" y="4884"/>
                    </a:lnTo>
                    <a:lnTo>
                      <a:pt x="3394" y="4884"/>
                    </a:lnTo>
                    <a:lnTo>
                      <a:pt x="3394" y="4884"/>
                    </a:lnTo>
                    <a:lnTo>
                      <a:pt x="3394" y="4882"/>
                    </a:lnTo>
                    <a:lnTo>
                      <a:pt x="3394" y="4880"/>
                    </a:lnTo>
                    <a:lnTo>
                      <a:pt x="3390" y="4876"/>
                    </a:lnTo>
                    <a:lnTo>
                      <a:pt x="3384" y="4868"/>
                    </a:lnTo>
                    <a:lnTo>
                      <a:pt x="3384" y="4868"/>
                    </a:lnTo>
                    <a:lnTo>
                      <a:pt x="3380" y="4860"/>
                    </a:lnTo>
                    <a:lnTo>
                      <a:pt x="3376" y="4848"/>
                    </a:lnTo>
                    <a:lnTo>
                      <a:pt x="3374" y="4836"/>
                    </a:lnTo>
                    <a:lnTo>
                      <a:pt x="3374" y="4826"/>
                    </a:lnTo>
                    <a:lnTo>
                      <a:pt x="3374" y="4826"/>
                    </a:lnTo>
                    <a:lnTo>
                      <a:pt x="3376" y="4820"/>
                    </a:lnTo>
                    <a:lnTo>
                      <a:pt x="3380" y="4818"/>
                    </a:lnTo>
                    <a:lnTo>
                      <a:pt x="3382" y="4818"/>
                    </a:lnTo>
                    <a:lnTo>
                      <a:pt x="3390" y="4820"/>
                    </a:lnTo>
                    <a:lnTo>
                      <a:pt x="3402" y="4824"/>
                    </a:lnTo>
                    <a:lnTo>
                      <a:pt x="3402" y="4824"/>
                    </a:lnTo>
                    <a:lnTo>
                      <a:pt x="3406" y="4826"/>
                    </a:lnTo>
                    <a:lnTo>
                      <a:pt x="3410" y="4826"/>
                    </a:lnTo>
                    <a:lnTo>
                      <a:pt x="3410" y="4826"/>
                    </a:lnTo>
                    <a:lnTo>
                      <a:pt x="3410" y="4822"/>
                    </a:lnTo>
                    <a:lnTo>
                      <a:pt x="3406" y="4816"/>
                    </a:lnTo>
                    <a:lnTo>
                      <a:pt x="3400" y="4812"/>
                    </a:lnTo>
                    <a:lnTo>
                      <a:pt x="3394" y="4810"/>
                    </a:lnTo>
                    <a:lnTo>
                      <a:pt x="3394" y="4810"/>
                    </a:lnTo>
                    <a:lnTo>
                      <a:pt x="3390" y="4806"/>
                    </a:lnTo>
                    <a:lnTo>
                      <a:pt x="3386" y="4804"/>
                    </a:lnTo>
                    <a:lnTo>
                      <a:pt x="3386" y="4802"/>
                    </a:lnTo>
                    <a:lnTo>
                      <a:pt x="3388" y="4800"/>
                    </a:lnTo>
                    <a:lnTo>
                      <a:pt x="3394" y="4796"/>
                    </a:lnTo>
                    <a:lnTo>
                      <a:pt x="3400" y="4792"/>
                    </a:lnTo>
                    <a:lnTo>
                      <a:pt x="3400" y="4792"/>
                    </a:lnTo>
                    <a:lnTo>
                      <a:pt x="3404" y="4788"/>
                    </a:lnTo>
                    <a:lnTo>
                      <a:pt x="3406" y="4784"/>
                    </a:lnTo>
                    <a:lnTo>
                      <a:pt x="3408" y="4774"/>
                    </a:lnTo>
                    <a:lnTo>
                      <a:pt x="3406" y="4770"/>
                    </a:lnTo>
                    <a:lnTo>
                      <a:pt x="3404" y="4766"/>
                    </a:lnTo>
                    <a:lnTo>
                      <a:pt x="3400" y="4766"/>
                    </a:lnTo>
                    <a:lnTo>
                      <a:pt x="3396" y="4766"/>
                    </a:lnTo>
                    <a:lnTo>
                      <a:pt x="3396" y="4766"/>
                    </a:lnTo>
                    <a:lnTo>
                      <a:pt x="3390" y="4770"/>
                    </a:lnTo>
                    <a:lnTo>
                      <a:pt x="3386" y="4774"/>
                    </a:lnTo>
                    <a:lnTo>
                      <a:pt x="3378" y="4788"/>
                    </a:lnTo>
                    <a:lnTo>
                      <a:pt x="3372" y="4800"/>
                    </a:lnTo>
                    <a:lnTo>
                      <a:pt x="3370" y="4800"/>
                    </a:lnTo>
                    <a:lnTo>
                      <a:pt x="3368" y="4798"/>
                    </a:lnTo>
                    <a:lnTo>
                      <a:pt x="3368" y="4798"/>
                    </a:lnTo>
                    <a:lnTo>
                      <a:pt x="3366" y="4792"/>
                    </a:lnTo>
                    <a:lnTo>
                      <a:pt x="3368" y="4788"/>
                    </a:lnTo>
                    <a:lnTo>
                      <a:pt x="3372" y="4782"/>
                    </a:lnTo>
                    <a:lnTo>
                      <a:pt x="3378" y="4772"/>
                    </a:lnTo>
                    <a:lnTo>
                      <a:pt x="3378" y="4772"/>
                    </a:lnTo>
                    <a:lnTo>
                      <a:pt x="3378" y="4766"/>
                    </a:lnTo>
                    <a:lnTo>
                      <a:pt x="3378" y="4762"/>
                    </a:lnTo>
                    <a:lnTo>
                      <a:pt x="3376" y="4754"/>
                    </a:lnTo>
                    <a:lnTo>
                      <a:pt x="3374" y="4750"/>
                    </a:lnTo>
                    <a:lnTo>
                      <a:pt x="3374" y="4748"/>
                    </a:lnTo>
                    <a:lnTo>
                      <a:pt x="3374" y="4744"/>
                    </a:lnTo>
                    <a:lnTo>
                      <a:pt x="3374" y="4744"/>
                    </a:lnTo>
                    <a:lnTo>
                      <a:pt x="3378" y="4734"/>
                    </a:lnTo>
                    <a:lnTo>
                      <a:pt x="3378" y="4732"/>
                    </a:lnTo>
                    <a:lnTo>
                      <a:pt x="3376" y="4732"/>
                    </a:lnTo>
                    <a:lnTo>
                      <a:pt x="3370" y="4736"/>
                    </a:lnTo>
                    <a:lnTo>
                      <a:pt x="3370" y="4736"/>
                    </a:lnTo>
                    <a:lnTo>
                      <a:pt x="3366" y="4740"/>
                    </a:lnTo>
                    <a:lnTo>
                      <a:pt x="3362" y="4746"/>
                    </a:lnTo>
                    <a:lnTo>
                      <a:pt x="3356" y="4760"/>
                    </a:lnTo>
                    <a:lnTo>
                      <a:pt x="3356" y="4776"/>
                    </a:lnTo>
                    <a:lnTo>
                      <a:pt x="3356" y="4784"/>
                    </a:lnTo>
                    <a:lnTo>
                      <a:pt x="3358" y="4790"/>
                    </a:lnTo>
                    <a:lnTo>
                      <a:pt x="3358" y="4790"/>
                    </a:lnTo>
                    <a:close/>
                    <a:moveTo>
                      <a:pt x="3086" y="4178"/>
                    </a:moveTo>
                    <a:lnTo>
                      <a:pt x="3086" y="4178"/>
                    </a:lnTo>
                    <a:lnTo>
                      <a:pt x="3076" y="4178"/>
                    </a:lnTo>
                    <a:lnTo>
                      <a:pt x="3070" y="4180"/>
                    </a:lnTo>
                    <a:lnTo>
                      <a:pt x="3068" y="4184"/>
                    </a:lnTo>
                    <a:lnTo>
                      <a:pt x="3072" y="4186"/>
                    </a:lnTo>
                    <a:lnTo>
                      <a:pt x="3072" y="4186"/>
                    </a:lnTo>
                    <a:lnTo>
                      <a:pt x="3076" y="4188"/>
                    </a:lnTo>
                    <a:lnTo>
                      <a:pt x="3076" y="4190"/>
                    </a:lnTo>
                    <a:lnTo>
                      <a:pt x="3078" y="4194"/>
                    </a:lnTo>
                    <a:lnTo>
                      <a:pt x="3080" y="4196"/>
                    </a:lnTo>
                    <a:lnTo>
                      <a:pt x="3080" y="4196"/>
                    </a:lnTo>
                    <a:lnTo>
                      <a:pt x="3084" y="4202"/>
                    </a:lnTo>
                    <a:lnTo>
                      <a:pt x="3088" y="4212"/>
                    </a:lnTo>
                    <a:lnTo>
                      <a:pt x="3092" y="4224"/>
                    </a:lnTo>
                    <a:lnTo>
                      <a:pt x="3098" y="4238"/>
                    </a:lnTo>
                    <a:lnTo>
                      <a:pt x="3098" y="4238"/>
                    </a:lnTo>
                    <a:lnTo>
                      <a:pt x="3102" y="4244"/>
                    </a:lnTo>
                    <a:lnTo>
                      <a:pt x="3104" y="4244"/>
                    </a:lnTo>
                    <a:lnTo>
                      <a:pt x="3106" y="4244"/>
                    </a:lnTo>
                    <a:lnTo>
                      <a:pt x="3112" y="4240"/>
                    </a:lnTo>
                    <a:lnTo>
                      <a:pt x="3116" y="4232"/>
                    </a:lnTo>
                    <a:lnTo>
                      <a:pt x="3116" y="4232"/>
                    </a:lnTo>
                    <a:lnTo>
                      <a:pt x="3118" y="4224"/>
                    </a:lnTo>
                    <a:lnTo>
                      <a:pt x="3118" y="4220"/>
                    </a:lnTo>
                    <a:lnTo>
                      <a:pt x="3116" y="4216"/>
                    </a:lnTo>
                    <a:lnTo>
                      <a:pt x="3116" y="4208"/>
                    </a:lnTo>
                    <a:lnTo>
                      <a:pt x="3116" y="4208"/>
                    </a:lnTo>
                    <a:lnTo>
                      <a:pt x="3118" y="4204"/>
                    </a:lnTo>
                    <a:lnTo>
                      <a:pt x="3116" y="4198"/>
                    </a:lnTo>
                    <a:lnTo>
                      <a:pt x="3114" y="4194"/>
                    </a:lnTo>
                    <a:lnTo>
                      <a:pt x="3110" y="4190"/>
                    </a:lnTo>
                    <a:lnTo>
                      <a:pt x="3100" y="4184"/>
                    </a:lnTo>
                    <a:lnTo>
                      <a:pt x="3086" y="4178"/>
                    </a:lnTo>
                    <a:lnTo>
                      <a:pt x="3086" y="4178"/>
                    </a:lnTo>
                    <a:close/>
                    <a:moveTo>
                      <a:pt x="3138" y="4192"/>
                    </a:moveTo>
                    <a:lnTo>
                      <a:pt x="3138" y="4192"/>
                    </a:lnTo>
                    <a:lnTo>
                      <a:pt x="3140" y="4190"/>
                    </a:lnTo>
                    <a:lnTo>
                      <a:pt x="3142" y="4186"/>
                    </a:lnTo>
                    <a:lnTo>
                      <a:pt x="3140" y="4180"/>
                    </a:lnTo>
                    <a:lnTo>
                      <a:pt x="3138" y="4178"/>
                    </a:lnTo>
                    <a:lnTo>
                      <a:pt x="3134" y="4178"/>
                    </a:lnTo>
                    <a:lnTo>
                      <a:pt x="3134" y="4178"/>
                    </a:lnTo>
                    <a:lnTo>
                      <a:pt x="3132" y="4178"/>
                    </a:lnTo>
                    <a:lnTo>
                      <a:pt x="3130" y="4178"/>
                    </a:lnTo>
                    <a:lnTo>
                      <a:pt x="3130" y="4184"/>
                    </a:lnTo>
                    <a:lnTo>
                      <a:pt x="3130" y="4184"/>
                    </a:lnTo>
                    <a:lnTo>
                      <a:pt x="3130" y="4188"/>
                    </a:lnTo>
                    <a:lnTo>
                      <a:pt x="3132" y="4192"/>
                    </a:lnTo>
                    <a:lnTo>
                      <a:pt x="3134" y="4194"/>
                    </a:lnTo>
                    <a:lnTo>
                      <a:pt x="3138" y="4192"/>
                    </a:lnTo>
                    <a:lnTo>
                      <a:pt x="3138" y="4192"/>
                    </a:lnTo>
                    <a:close/>
                    <a:moveTo>
                      <a:pt x="3386" y="4736"/>
                    </a:moveTo>
                    <a:lnTo>
                      <a:pt x="3386" y="4736"/>
                    </a:lnTo>
                    <a:lnTo>
                      <a:pt x="3388" y="4742"/>
                    </a:lnTo>
                    <a:lnTo>
                      <a:pt x="3392" y="4742"/>
                    </a:lnTo>
                    <a:lnTo>
                      <a:pt x="3396" y="4740"/>
                    </a:lnTo>
                    <a:lnTo>
                      <a:pt x="3398" y="4736"/>
                    </a:lnTo>
                    <a:lnTo>
                      <a:pt x="3402" y="4732"/>
                    </a:lnTo>
                    <a:lnTo>
                      <a:pt x="3404" y="4726"/>
                    </a:lnTo>
                    <a:lnTo>
                      <a:pt x="3404" y="4720"/>
                    </a:lnTo>
                    <a:lnTo>
                      <a:pt x="3404" y="4714"/>
                    </a:lnTo>
                    <a:lnTo>
                      <a:pt x="3404" y="4714"/>
                    </a:lnTo>
                    <a:lnTo>
                      <a:pt x="3400" y="4712"/>
                    </a:lnTo>
                    <a:lnTo>
                      <a:pt x="3398" y="4712"/>
                    </a:lnTo>
                    <a:lnTo>
                      <a:pt x="3394" y="4714"/>
                    </a:lnTo>
                    <a:lnTo>
                      <a:pt x="3392" y="4718"/>
                    </a:lnTo>
                    <a:lnTo>
                      <a:pt x="3388" y="4726"/>
                    </a:lnTo>
                    <a:lnTo>
                      <a:pt x="3386" y="4736"/>
                    </a:lnTo>
                    <a:lnTo>
                      <a:pt x="3386" y="4736"/>
                    </a:lnTo>
                    <a:close/>
                    <a:moveTo>
                      <a:pt x="3378" y="4912"/>
                    </a:moveTo>
                    <a:lnTo>
                      <a:pt x="3378" y="4912"/>
                    </a:lnTo>
                    <a:lnTo>
                      <a:pt x="3374" y="4908"/>
                    </a:lnTo>
                    <a:lnTo>
                      <a:pt x="3370" y="4906"/>
                    </a:lnTo>
                    <a:lnTo>
                      <a:pt x="3364" y="4904"/>
                    </a:lnTo>
                    <a:lnTo>
                      <a:pt x="3362" y="4904"/>
                    </a:lnTo>
                    <a:lnTo>
                      <a:pt x="3358" y="4906"/>
                    </a:lnTo>
                    <a:lnTo>
                      <a:pt x="3356" y="4908"/>
                    </a:lnTo>
                    <a:lnTo>
                      <a:pt x="3354" y="4912"/>
                    </a:lnTo>
                    <a:lnTo>
                      <a:pt x="3354" y="4916"/>
                    </a:lnTo>
                    <a:lnTo>
                      <a:pt x="3354" y="4916"/>
                    </a:lnTo>
                    <a:lnTo>
                      <a:pt x="3354" y="4922"/>
                    </a:lnTo>
                    <a:lnTo>
                      <a:pt x="3358" y="4924"/>
                    </a:lnTo>
                    <a:lnTo>
                      <a:pt x="3366" y="4922"/>
                    </a:lnTo>
                    <a:lnTo>
                      <a:pt x="3366" y="4922"/>
                    </a:lnTo>
                    <a:lnTo>
                      <a:pt x="3382" y="4922"/>
                    </a:lnTo>
                    <a:lnTo>
                      <a:pt x="3384" y="4922"/>
                    </a:lnTo>
                    <a:lnTo>
                      <a:pt x="3384" y="4920"/>
                    </a:lnTo>
                    <a:lnTo>
                      <a:pt x="3378" y="4912"/>
                    </a:lnTo>
                    <a:lnTo>
                      <a:pt x="3378" y="4912"/>
                    </a:lnTo>
                    <a:close/>
                    <a:moveTo>
                      <a:pt x="3378" y="5236"/>
                    </a:moveTo>
                    <a:lnTo>
                      <a:pt x="3378" y="5236"/>
                    </a:lnTo>
                    <a:lnTo>
                      <a:pt x="3374" y="5234"/>
                    </a:lnTo>
                    <a:lnTo>
                      <a:pt x="3370" y="5234"/>
                    </a:lnTo>
                    <a:lnTo>
                      <a:pt x="3368" y="5236"/>
                    </a:lnTo>
                    <a:lnTo>
                      <a:pt x="3372" y="5240"/>
                    </a:lnTo>
                    <a:lnTo>
                      <a:pt x="3372" y="5240"/>
                    </a:lnTo>
                    <a:lnTo>
                      <a:pt x="3376" y="5242"/>
                    </a:lnTo>
                    <a:lnTo>
                      <a:pt x="3380" y="5240"/>
                    </a:lnTo>
                    <a:lnTo>
                      <a:pt x="3380" y="5238"/>
                    </a:lnTo>
                    <a:lnTo>
                      <a:pt x="3378" y="5236"/>
                    </a:lnTo>
                    <a:lnTo>
                      <a:pt x="3378" y="5236"/>
                    </a:lnTo>
                    <a:close/>
                    <a:moveTo>
                      <a:pt x="3444" y="5230"/>
                    </a:moveTo>
                    <a:lnTo>
                      <a:pt x="3444" y="5230"/>
                    </a:lnTo>
                    <a:lnTo>
                      <a:pt x="3448" y="5232"/>
                    </a:lnTo>
                    <a:lnTo>
                      <a:pt x="3450" y="5230"/>
                    </a:lnTo>
                    <a:lnTo>
                      <a:pt x="3452" y="5228"/>
                    </a:lnTo>
                    <a:lnTo>
                      <a:pt x="3452" y="5224"/>
                    </a:lnTo>
                    <a:lnTo>
                      <a:pt x="3452" y="5224"/>
                    </a:lnTo>
                    <a:lnTo>
                      <a:pt x="3448" y="5220"/>
                    </a:lnTo>
                    <a:lnTo>
                      <a:pt x="3442" y="5218"/>
                    </a:lnTo>
                    <a:lnTo>
                      <a:pt x="3442" y="5218"/>
                    </a:lnTo>
                    <a:lnTo>
                      <a:pt x="3440" y="5220"/>
                    </a:lnTo>
                    <a:lnTo>
                      <a:pt x="3442" y="5224"/>
                    </a:lnTo>
                    <a:lnTo>
                      <a:pt x="3444" y="5230"/>
                    </a:lnTo>
                    <a:lnTo>
                      <a:pt x="3444" y="5230"/>
                    </a:lnTo>
                    <a:close/>
                    <a:moveTo>
                      <a:pt x="3364" y="4876"/>
                    </a:moveTo>
                    <a:lnTo>
                      <a:pt x="3364" y="4876"/>
                    </a:lnTo>
                    <a:lnTo>
                      <a:pt x="3364" y="4878"/>
                    </a:lnTo>
                    <a:lnTo>
                      <a:pt x="3366" y="4880"/>
                    </a:lnTo>
                    <a:lnTo>
                      <a:pt x="3370" y="4882"/>
                    </a:lnTo>
                    <a:lnTo>
                      <a:pt x="3372" y="4880"/>
                    </a:lnTo>
                    <a:lnTo>
                      <a:pt x="3372" y="4880"/>
                    </a:lnTo>
                    <a:lnTo>
                      <a:pt x="3374" y="4876"/>
                    </a:lnTo>
                    <a:lnTo>
                      <a:pt x="3372" y="4874"/>
                    </a:lnTo>
                    <a:lnTo>
                      <a:pt x="3368" y="4874"/>
                    </a:lnTo>
                    <a:lnTo>
                      <a:pt x="3364" y="4876"/>
                    </a:lnTo>
                    <a:lnTo>
                      <a:pt x="3364" y="4876"/>
                    </a:lnTo>
                    <a:close/>
                    <a:moveTo>
                      <a:pt x="3374" y="5022"/>
                    </a:moveTo>
                    <a:lnTo>
                      <a:pt x="3374" y="5022"/>
                    </a:lnTo>
                    <a:lnTo>
                      <a:pt x="3378" y="5024"/>
                    </a:lnTo>
                    <a:lnTo>
                      <a:pt x="3384" y="5022"/>
                    </a:lnTo>
                    <a:lnTo>
                      <a:pt x="3388" y="5018"/>
                    </a:lnTo>
                    <a:lnTo>
                      <a:pt x="3390" y="5012"/>
                    </a:lnTo>
                    <a:lnTo>
                      <a:pt x="3390" y="5012"/>
                    </a:lnTo>
                    <a:lnTo>
                      <a:pt x="3390" y="5010"/>
                    </a:lnTo>
                    <a:lnTo>
                      <a:pt x="3388" y="5010"/>
                    </a:lnTo>
                    <a:lnTo>
                      <a:pt x="3382" y="5012"/>
                    </a:lnTo>
                    <a:lnTo>
                      <a:pt x="3376" y="5018"/>
                    </a:lnTo>
                    <a:lnTo>
                      <a:pt x="3374" y="5020"/>
                    </a:lnTo>
                    <a:lnTo>
                      <a:pt x="3374" y="5022"/>
                    </a:lnTo>
                    <a:lnTo>
                      <a:pt x="3374" y="5022"/>
                    </a:lnTo>
                    <a:close/>
                    <a:moveTo>
                      <a:pt x="3412" y="3200"/>
                    </a:moveTo>
                    <a:lnTo>
                      <a:pt x="3412" y="3200"/>
                    </a:lnTo>
                    <a:lnTo>
                      <a:pt x="3408" y="3200"/>
                    </a:lnTo>
                    <a:lnTo>
                      <a:pt x="3406" y="3202"/>
                    </a:lnTo>
                    <a:lnTo>
                      <a:pt x="3404" y="3206"/>
                    </a:lnTo>
                    <a:lnTo>
                      <a:pt x="3406" y="3208"/>
                    </a:lnTo>
                    <a:lnTo>
                      <a:pt x="3408" y="3208"/>
                    </a:lnTo>
                    <a:lnTo>
                      <a:pt x="3408" y="3208"/>
                    </a:lnTo>
                    <a:lnTo>
                      <a:pt x="3414" y="3206"/>
                    </a:lnTo>
                    <a:lnTo>
                      <a:pt x="3416" y="3204"/>
                    </a:lnTo>
                    <a:lnTo>
                      <a:pt x="3416" y="3202"/>
                    </a:lnTo>
                    <a:lnTo>
                      <a:pt x="3412" y="3200"/>
                    </a:lnTo>
                    <a:lnTo>
                      <a:pt x="3412" y="3200"/>
                    </a:lnTo>
                    <a:close/>
                    <a:moveTo>
                      <a:pt x="3402" y="3084"/>
                    </a:moveTo>
                    <a:lnTo>
                      <a:pt x="3402" y="3084"/>
                    </a:lnTo>
                    <a:lnTo>
                      <a:pt x="3400" y="3088"/>
                    </a:lnTo>
                    <a:lnTo>
                      <a:pt x="3398" y="3092"/>
                    </a:lnTo>
                    <a:lnTo>
                      <a:pt x="3400" y="3096"/>
                    </a:lnTo>
                    <a:lnTo>
                      <a:pt x="3402" y="3098"/>
                    </a:lnTo>
                    <a:lnTo>
                      <a:pt x="3404" y="3096"/>
                    </a:lnTo>
                    <a:lnTo>
                      <a:pt x="3404" y="3096"/>
                    </a:lnTo>
                    <a:lnTo>
                      <a:pt x="3406" y="3092"/>
                    </a:lnTo>
                    <a:lnTo>
                      <a:pt x="3406" y="3088"/>
                    </a:lnTo>
                    <a:lnTo>
                      <a:pt x="3406" y="3084"/>
                    </a:lnTo>
                    <a:lnTo>
                      <a:pt x="3404" y="3084"/>
                    </a:lnTo>
                    <a:lnTo>
                      <a:pt x="3402" y="3084"/>
                    </a:lnTo>
                    <a:lnTo>
                      <a:pt x="3402" y="3084"/>
                    </a:lnTo>
                    <a:close/>
                    <a:moveTo>
                      <a:pt x="3416" y="3464"/>
                    </a:moveTo>
                    <a:lnTo>
                      <a:pt x="3416" y="3464"/>
                    </a:lnTo>
                    <a:lnTo>
                      <a:pt x="3420" y="3466"/>
                    </a:lnTo>
                    <a:lnTo>
                      <a:pt x="3422" y="3464"/>
                    </a:lnTo>
                    <a:lnTo>
                      <a:pt x="3422" y="3460"/>
                    </a:lnTo>
                    <a:lnTo>
                      <a:pt x="3420" y="3454"/>
                    </a:lnTo>
                    <a:lnTo>
                      <a:pt x="3420" y="3454"/>
                    </a:lnTo>
                    <a:lnTo>
                      <a:pt x="3418" y="3452"/>
                    </a:lnTo>
                    <a:lnTo>
                      <a:pt x="3416" y="3454"/>
                    </a:lnTo>
                    <a:lnTo>
                      <a:pt x="3414" y="3458"/>
                    </a:lnTo>
                    <a:lnTo>
                      <a:pt x="3416" y="3464"/>
                    </a:lnTo>
                    <a:lnTo>
                      <a:pt x="3416" y="3464"/>
                    </a:lnTo>
                    <a:close/>
                    <a:moveTo>
                      <a:pt x="2806" y="3776"/>
                    </a:moveTo>
                    <a:lnTo>
                      <a:pt x="2806" y="3776"/>
                    </a:lnTo>
                    <a:lnTo>
                      <a:pt x="2810" y="3778"/>
                    </a:lnTo>
                    <a:lnTo>
                      <a:pt x="2814" y="3778"/>
                    </a:lnTo>
                    <a:lnTo>
                      <a:pt x="2816" y="3776"/>
                    </a:lnTo>
                    <a:lnTo>
                      <a:pt x="2818" y="3774"/>
                    </a:lnTo>
                    <a:lnTo>
                      <a:pt x="2818" y="3774"/>
                    </a:lnTo>
                    <a:lnTo>
                      <a:pt x="2820" y="3768"/>
                    </a:lnTo>
                    <a:lnTo>
                      <a:pt x="2818" y="3762"/>
                    </a:lnTo>
                    <a:lnTo>
                      <a:pt x="2818" y="3762"/>
                    </a:lnTo>
                    <a:lnTo>
                      <a:pt x="2820" y="3758"/>
                    </a:lnTo>
                    <a:lnTo>
                      <a:pt x="2820" y="3754"/>
                    </a:lnTo>
                    <a:lnTo>
                      <a:pt x="2820" y="3754"/>
                    </a:lnTo>
                    <a:lnTo>
                      <a:pt x="2820" y="3752"/>
                    </a:lnTo>
                    <a:lnTo>
                      <a:pt x="2818" y="3752"/>
                    </a:lnTo>
                    <a:lnTo>
                      <a:pt x="2814" y="3752"/>
                    </a:lnTo>
                    <a:lnTo>
                      <a:pt x="2814" y="3752"/>
                    </a:lnTo>
                    <a:lnTo>
                      <a:pt x="2812" y="3752"/>
                    </a:lnTo>
                    <a:lnTo>
                      <a:pt x="2814" y="3752"/>
                    </a:lnTo>
                    <a:lnTo>
                      <a:pt x="2814" y="3750"/>
                    </a:lnTo>
                    <a:lnTo>
                      <a:pt x="2814" y="3750"/>
                    </a:lnTo>
                    <a:lnTo>
                      <a:pt x="2814" y="3750"/>
                    </a:lnTo>
                    <a:lnTo>
                      <a:pt x="2812" y="3748"/>
                    </a:lnTo>
                    <a:lnTo>
                      <a:pt x="2810" y="3750"/>
                    </a:lnTo>
                    <a:lnTo>
                      <a:pt x="2808" y="3752"/>
                    </a:lnTo>
                    <a:lnTo>
                      <a:pt x="2808" y="3752"/>
                    </a:lnTo>
                    <a:lnTo>
                      <a:pt x="2808" y="3756"/>
                    </a:lnTo>
                    <a:lnTo>
                      <a:pt x="2806" y="3758"/>
                    </a:lnTo>
                    <a:lnTo>
                      <a:pt x="2802" y="3760"/>
                    </a:lnTo>
                    <a:lnTo>
                      <a:pt x="2802" y="3760"/>
                    </a:lnTo>
                    <a:lnTo>
                      <a:pt x="2802" y="3766"/>
                    </a:lnTo>
                    <a:lnTo>
                      <a:pt x="2802" y="3774"/>
                    </a:lnTo>
                    <a:lnTo>
                      <a:pt x="2802" y="3774"/>
                    </a:lnTo>
                    <a:lnTo>
                      <a:pt x="2800" y="3774"/>
                    </a:lnTo>
                    <a:lnTo>
                      <a:pt x="2802" y="3774"/>
                    </a:lnTo>
                    <a:lnTo>
                      <a:pt x="2804" y="3774"/>
                    </a:lnTo>
                    <a:lnTo>
                      <a:pt x="2806" y="3776"/>
                    </a:lnTo>
                    <a:lnTo>
                      <a:pt x="2806" y="3776"/>
                    </a:lnTo>
                    <a:close/>
                    <a:moveTo>
                      <a:pt x="3380" y="3090"/>
                    </a:moveTo>
                    <a:lnTo>
                      <a:pt x="3380" y="3090"/>
                    </a:lnTo>
                    <a:lnTo>
                      <a:pt x="3378" y="3088"/>
                    </a:lnTo>
                    <a:lnTo>
                      <a:pt x="3376" y="3086"/>
                    </a:lnTo>
                    <a:lnTo>
                      <a:pt x="3372" y="3088"/>
                    </a:lnTo>
                    <a:lnTo>
                      <a:pt x="3372" y="3088"/>
                    </a:lnTo>
                    <a:lnTo>
                      <a:pt x="3370" y="3090"/>
                    </a:lnTo>
                    <a:lnTo>
                      <a:pt x="3370" y="3092"/>
                    </a:lnTo>
                    <a:lnTo>
                      <a:pt x="3376" y="3096"/>
                    </a:lnTo>
                    <a:lnTo>
                      <a:pt x="3376" y="3096"/>
                    </a:lnTo>
                    <a:lnTo>
                      <a:pt x="3378" y="3096"/>
                    </a:lnTo>
                    <a:lnTo>
                      <a:pt x="3380" y="3096"/>
                    </a:lnTo>
                    <a:lnTo>
                      <a:pt x="3380" y="3090"/>
                    </a:lnTo>
                    <a:lnTo>
                      <a:pt x="3380" y="3090"/>
                    </a:lnTo>
                    <a:close/>
                    <a:moveTo>
                      <a:pt x="3918" y="2740"/>
                    </a:moveTo>
                    <a:lnTo>
                      <a:pt x="3918" y="2740"/>
                    </a:lnTo>
                    <a:lnTo>
                      <a:pt x="3918" y="2736"/>
                    </a:lnTo>
                    <a:lnTo>
                      <a:pt x="3918" y="2734"/>
                    </a:lnTo>
                    <a:lnTo>
                      <a:pt x="3914" y="2732"/>
                    </a:lnTo>
                    <a:lnTo>
                      <a:pt x="3908" y="2730"/>
                    </a:lnTo>
                    <a:lnTo>
                      <a:pt x="3902" y="2728"/>
                    </a:lnTo>
                    <a:lnTo>
                      <a:pt x="3902" y="2728"/>
                    </a:lnTo>
                    <a:lnTo>
                      <a:pt x="3900" y="2726"/>
                    </a:lnTo>
                    <a:lnTo>
                      <a:pt x="3898" y="2728"/>
                    </a:lnTo>
                    <a:lnTo>
                      <a:pt x="3894" y="2736"/>
                    </a:lnTo>
                    <a:lnTo>
                      <a:pt x="3894" y="2740"/>
                    </a:lnTo>
                    <a:lnTo>
                      <a:pt x="3894" y="2744"/>
                    </a:lnTo>
                    <a:lnTo>
                      <a:pt x="3898" y="2746"/>
                    </a:lnTo>
                    <a:lnTo>
                      <a:pt x="3902" y="2744"/>
                    </a:lnTo>
                    <a:lnTo>
                      <a:pt x="3902" y="2744"/>
                    </a:lnTo>
                    <a:lnTo>
                      <a:pt x="3906" y="2744"/>
                    </a:lnTo>
                    <a:lnTo>
                      <a:pt x="3910" y="2746"/>
                    </a:lnTo>
                    <a:lnTo>
                      <a:pt x="3910" y="2748"/>
                    </a:lnTo>
                    <a:lnTo>
                      <a:pt x="3912" y="2752"/>
                    </a:lnTo>
                    <a:lnTo>
                      <a:pt x="3908" y="2760"/>
                    </a:lnTo>
                    <a:lnTo>
                      <a:pt x="3906" y="2762"/>
                    </a:lnTo>
                    <a:lnTo>
                      <a:pt x="3904" y="2760"/>
                    </a:lnTo>
                    <a:lnTo>
                      <a:pt x="3904" y="2760"/>
                    </a:lnTo>
                    <a:lnTo>
                      <a:pt x="3900" y="2758"/>
                    </a:lnTo>
                    <a:lnTo>
                      <a:pt x="3898" y="2760"/>
                    </a:lnTo>
                    <a:lnTo>
                      <a:pt x="3894" y="2762"/>
                    </a:lnTo>
                    <a:lnTo>
                      <a:pt x="3890" y="2764"/>
                    </a:lnTo>
                    <a:lnTo>
                      <a:pt x="3890" y="2764"/>
                    </a:lnTo>
                    <a:lnTo>
                      <a:pt x="3888" y="2762"/>
                    </a:lnTo>
                    <a:lnTo>
                      <a:pt x="3888" y="2756"/>
                    </a:lnTo>
                    <a:lnTo>
                      <a:pt x="3888" y="2756"/>
                    </a:lnTo>
                    <a:lnTo>
                      <a:pt x="3886" y="2746"/>
                    </a:lnTo>
                    <a:lnTo>
                      <a:pt x="3884" y="2742"/>
                    </a:lnTo>
                    <a:lnTo>
                      <a:pt x="3880" y="2740"/>
                    </a:lnTo>
                    <a:lnTo>
                      <a:pt x="3878" y="2742"/>
                    </a:lnTo>
                    <a:lnTo>
                      <a:pt x="3876" y="2744"/>
                    </a:lnTo>
                    <a:lnTo>
                      <a:pt x="3874" y="2750"/>
                    </a:lnTo>
                    <a:lnTo>
                      <a:pt x="3874" y="2758"/>
                    </a:lnTo>
                    <a:lnTo>
                      <a:pt x="3874" y="2758"/>
                    </a:lnTo>
                    <a:lnTo>
                      <a:pt x="3872" y="2764"/>
                    </a:lnTo>
                    <a:lnTo>
                      <a:pt x="3870" y="2768"/>
                    </a:lnTo>
                    <a:lnTo>
                      <a:pt x="3866" y="2768"/>
                    </a:lnTo>
                    <a:lnTo>
                      <a:pt x="3862" y="2770"/>
                    </a:lnTo>
                    <a:lnTo>
                      <a:pt x="3858" y="2770"/>
                    </a:lnTo>
                    <a:lnTo>
                      <a:pt x="3856" y="2772"/>
                    </a:lnTo>
                    <a:lnTo>
                      <a:pt x="3856" y="2776"/>
                    </a:lnTo>
                    <a:lnTo>
                      <a:pt x="3856" y="2786"/>
                    </a:lnTo>
                    <a:lnTo>
                      <a:pt x="3856" y="2786"/>
                    </a:lnTo>
                    <a:lnTo>
                      <a:pt x="3858" y="2796"/>
                    </a:lnTo>
                    <a:lnTo>
                      <a:pt x="3860" y="2802"/>
                    </a:lnTo>
                    <a:lnTo>
                      <a:pt x="3858" y="2806"/>
                    </a:lnTo>
                    <a:lnTo>
                      <a:pt x="3856" y="2808"/>
                    </a:lnTo>
                    <a:lnTo>
                      <a:pt x="3852" y="2810"/>
                    </a:lnTo>
                    <a:lnTo>
                      <a:pt x="3850" y="2812"/>
                    </a:lnTo>
                    <a:lnTo>
                      <a:pt x="3850" y="2814"/>
                    </a:lnTo>
                    <a:lnTo>
                      <a:pt x="3850" y="2814"/>
                    </a:lnTo>
                    <a:lnTo>
                      <a:pt x="3850" y="2816"/>
                    </a:lnTo>
                    <a:lnTo>
                      <a:pt x="3852" y="2818"/>
                    </a:lnTo>
                    <a:lnTo>
                      <a:pt x="3854" y="2818"/>
                    </a:lnTo>
                    <a:lnTo>
                      <a:pt x="3858" y="2820"/>
                    </a:lnTo>
                    <a:lnTo>
                      <a:pt x="3860" y="2824"/>
                    </a:lnTo>
                    <a:lnTo>
                      <a:pt x="3860" y="2832"/>
                    </a:lnTo>
                    <a:lnTo>
                      <a:pt x="3858" y="2846"/>
                    </a:lnTo>
                    <a:lnTo>
                      <a:pt x="3854" y="2866"/>
                    </a:lnTo>
                    <a:lnTo>
                      <a:pt x="3854" y="2866"/>
                    </a:lnTo>
                    <a:lnTo>
                      <a:pt x="3850" y="2884"/>
                    </a:lnTo>
                    <a:lnTo>
                      <a:pt x="3844" y="2896"/>
                    </a:lnTo>
                    <a:lnTo>
                      <a:pt x="3840" y="2904"/>
                    </a:lnTo>
                    <a:lnTo>
                      <a:pt x="3834" y="2912"/>
                    </a:lnTo>
                    <a:lnTo>
                      <a:pt x="3822" y="2926"/>
                    </a:lnTo>
                    <a:lnTo>
                      <a:pt x="3808" y="2942"/>
                    </a:lnTo>
                    <a:lnTo>
                      <a:pt x="3808" y="2942"/>
                    </a:lnTo>
                    <a:lnTo>
                      <a:pt x="3802" y="2952"/>
                    </a:lnTo>
                    <a:lnTo>
                      <a:pt x="3794" y="2960"/>
                    </a:lnTo>
                    <a:lnTo>
                      <a:pt x="3788" y="2964"/>
                    </a:lnTo>
                    <a:lnTo>
                      <a:pt x="3782" y="2968"/>
                    </a:lnTo>
                    <a:lnTo>
                      <a:pt x="3768" y="2974"/>
                    </a:lnTo>
                    <a:lnTo>
                      <a:pt x="3760" y="2978"/>
                    </a:lnTo>
                    <a:lnTo>
                      <a:pt x="3752" y="2984"/>
                    </a:lnTo>
                    <a:lnTo>
                      <a:pt x="3752" y="2984"/>
                    </a:lnTo>
                    <a:lnTo>
                      <a:pt x="3742" y="2990"/>
                    </a:lnTo>
                    <a:lnTo>
                      <a:pt x="3742" y="2988"/>
                    </a:lnTo>
                    <a:lnTo>
                      <a:pt x="3742" y="2986"/>
                    </a:lnTo>
                    <a:lnTo>
                      <a:pt x="3744" y="2978"/>
                    </a:lnTo>
                    <a:lnTo>
                      <a:pt x="3744" y="2974"/>
                    </a:lnTo>
                    <a:lnTo>
                      <a:pt x="3740" y="2970"/>
                    </a:lnTo>
                    <a:lnTo>
                      <a:pt x="3740" y="2970"/>
                    </a:lnTo>
                    <a:lnTo>
                      <a:pt x="3740" y="2968"/>
                    </a:lnTo>
                    <a:lnTo>
                      <a:pt x="3740" y="2966"/>
                    </a:lnTo>
                    <a:lnTo>
                      <a:pt x="3748" y="2960"/>
                    </a:lnTo>
                    <a:lnTo>
                      <a:pt x="3754" y="2952"/>
                    </a:lnTo>
                    <a:lnTo>
                      <a:pt x="3756" y="2948"/>
                    </a:lnTo>
                    <a:lnTo>
                      <a:pt x="3754" y="2944"/>
                    </a:lnTo>
                    <a:lnTo>
                      <a:pt x="3754" y="2944"/>
                    </a:lnTo>
                    <a:lnTo>
                      <a:pt x="3752" y="2944"/>
                    </a:lnTo>
                    <a:lnTo>
                      <a:pt x="3748" y="2944"/>
                    </a:lnTo>
                    <a:lnTo>
                      <a:pt x="3738" y="2948"/>
                    </a:lnTo>
                    <a:lnTo>
                      <a:pt x="3734" y="2952"/>
                    </a:lnTo>
                    <a:lnTo>
                      <a:pt x="3730" y="2956"/>
                    </a:lnTo>
                    <a:lnTo>
                      <a:pt x="3728" y="2962"/>
                    </a:lnTo>
                    <a:lnTo>
                      <a:pt x="3730" y="2966"/>
                    </a:lnTo>
                    <a:lnTo>
                      <a:pt x="3730" y="2966"/>
                    </a:lnTo>
                    <a:lnTo>
                      <a:pt x="3730" y="2976"/>
                    </a:lnTo>
                    <a:lnTo>
                      <a:pt x="3728" y="2986"/>
                    </a:lnTo>
                    <a:lnTo>
                      <a:pt x="3722" y="2996"/>
                    </a:lnTo>
                    <a:lnTo>
                      <a:pt x="3716" y="3006"/>
                    </a:lnTo>
                    <a:lnTo>
                      <a:pt x="3704" y="3022"/>
                    </a:lnTo>
                    <a:lnTo>
                      <a:pt x="3700" y="3026"/>
                    </a:lnTo>
                    <a:lnTo>
                      <a:pt x="3698" y="3030"/>
                    </a:lnTo>
                    <a:lnTo>
                      <a:pt x="3698" y="3030"/>
                    </a:lnTo>
                    <a:lnTo>
                      <a:pt x="3700" y="3036"/>
                    </a:lnTo>
                    <a:lnTo>
                      <a:pt x="3700" y="3044"/>
                    </a:lnTo>
                    <a:lnTo>
                      <a:pt x="3698" y="3046"/>
                    </a:lnTo>
                    <a:lnTo>
                      <a:pt x="3694" y="3050"/>
                    </a:lnTo>
                    <a:lnTo>
                      <a:pt x="3690" y="3052"/>
                    </a:lnTo>
                    <a:lnTo>
                      <a:pt x="3682" y="3054"/>
                    </a:lnTo>
                    <a:lnTo>
                      <a:pt x="3682" y="3054"/>
                    </a:lnTo>
                    <a:lnTo>
                      <a:pt x="3676" y="3054"/>
                    </a:lnTo>
                    <a:lnTo>
                      <a:pt x="3672" y="3052"/>
                    </a:lnTo>
                    <a:lnTo>
                      <a:pt x="3672" y="3052"/>
                    </a:lnTo>
                    <a:lnTo>
                      <a:pt x="3672" y="3048"/>
                    </a:lnTo>
                    <a:lnTo>
                      <a:pt x="3674" y="3044"/>
                    </a:lnTo>
                    <a:lnTo>
                      <a:pt x="3672" y="3042"/>
                    </a:lnTo>
                    <a:lnTo>
                      <a:pt x="3668" y="3040"/>
                    </a:lnTo>
                    <a:lnTo>
                      <a:pt x="3668" y="3040"/>
                    </a:lnTo>
                    <a:lnTo>
                      <a:pt x="3662" y="3042"/>
                    </a:lnTo>
                    <a:lnTo>
                      <a:pt x="3652" y="3044"/>
                    </a:lnTo>
                    <a:lnTo>
                      <a:pt x="3626" y="3052"/>
                    </a:lnTo>
                    <a:lnTo>
                      <a:pt x="3614" y="3056"/>
                    </a:lnTo>
                    <a:lnTo>
                      <a:pt x="3602" y="3058"/>
                    </a:lnTo>
                    <a:lnTo>
                      <a:pt x="3594" y="3058"/>
                    </a:lnTo>
                    <a:lnTo>
                      <a:pt x="3592" y="3056"/>
                    </a:lnTo>
                    <a:lnTo>
                      <a:pt x="3590" y="3054"/>
                    </a:lnTo>
                    <a:lnTo>
                      <a:pt x="3590" y="3054"/>
                    </a:lnTo>
                    <a:lnTo>
                      <a:pt x="3588" y="3050"/>
                    </a:lnTo>
                    <a:lnTo>
                      <a:pt x="3584" y="3050"/>
                    </a:lnTo>
                    <a:lnTo>
                      <a:pt x="3580" y="3050"/>
                    </a:lnTo>
                    <a:lnTo>
                      <a:pt x="3574" y="3052"/>
                    </a:lnTo>
                    <a:lnTo>
                      <a:pt x="3562" y="3062"/>
                    </a:lnTo>
                    <a:lnTo>
                      <a:pt x="3548" y="3080"/>
                    </a:lnTo>
                    <a:lnTo>
                      <a:pt x="3548" y="3080"/>
                    </a:lnTo>
                    <a:lnTo>
                      <a:pt x="3542" y="3088"/>
                    </a:lnTo>
                    <a:lnTo>
                      <a:pt x="3536" y="3092"/>
                    </a:lnTo>
                    <a:lnTo>
                      <a:pt x="3530" y="3096"/>
                    </a:lnTo>
                    <a:lnTo>
                      <a:pt x="3524" y="3098"/>
                    </a:lnTo>
                    <a:lnTo>
                      <a:pt x="3518" y="3106"/>
                    </a:lnTo>
                    <a:lnTo>
                      <a:pt x="3518" y="3106"/>
                    </a:lnTo>
                    <a:lnTo>
                      <a:pt x="3514" y="3112"/>
                    </a:lnTo>
                    <a:lnTo>
                      <a:pt x="3510" y="3114"/>
                    </a:lnTo>
                    <a:lnTo>
                      <a:pt x="3502" y="3114"/>
                    </a:lnTo>
                    <a:lnTo>
                      <a:pt x="3500" y="3116"/>
                    </a:lnTo>
                    <a:lnTo>
                      <a:pt x="3498" y="3116"/>
                    </a:lnTo>
                    <a:lnTo>
                      <a:pt x="3496" y="3120"/>
                    </a:lnTo>
                    <a:lnTo>
                      <a:pt x="3496" y="3126"/>
                    </a:lnTo>
                    <a:lnTo>
                      <a:pt x="3496" y="3126"/>
                    </a:lnTo>
                    <a:lnTo>
                      <a:pt x="3496" y="3132"/>
                    </a:lnTo>
                    <a:lnTo>
                      <a:pt x="3500" y="3136"/>
                    </a:lnTo>
                    <a:lnTo>
                      <a:pt x="3504" y="3136"/>
                    </a:lnTo>
                    <a:lnTo>
                      <a:pt x="3508" y="3136"/>
                    </a:lnTo>
                    <a:lnTo>
                      <a:pt x="3522" y="3134"/>
                    </a:lnTo>
                    <a:lnTo>
                      <a:pt x="3528" y="3134"/>
                    </a:lnTo>
                    <a:lnTo>
                      <a:pt x="3536" y="3138"/>
                    </a:lnTo>
                    <a:lnTo>
                      <a:pt x="3536" y="3138"/>
                    </a:lnTo>
                    <a:lnTo>
                      <a:pt x="3542" y="3140"/>
                    </a:lnTo>
                    <a:lnTo>
                      <a:pt x="3544" y="3140"/>
                    </a:lnTo>
                    <a:lnTo>
                      <a:pt x="3546" y="3138"/>
                    </a:lnTo>
                    <a:lnTo>
                      <a:pt x="3546" y="3134"/>
                    </a:lnTo>
                    <a:lnTo>
                      <a:pt x="3546" y="3124"/>
                    </a:lnTo>
                    <a:lnTo>
                      <a:pt x="3548" y="3120"/>
                    </a:lnTo>
                    <a:lnTo>
                      <a:pt x="3550" y="3118"/>
                    </a:lnTo>
                    <a:lnTo>
                      <a:pt x="3550" y="3118"/>
                    </a:lnTo>
                    <a:lnTo>
                      <a:pt x="3556" y="3116"/>
                    </a:lnTo>
                    <a:lnTo>
                      <a:pt x="3558" y="3118"/>
                    </a:lnTo>
                    <a:lnTo>
                      <a:pt x="3562" y="3120"/>
                    </a:lnTo>
                    <a:lnTo>
                      <a:pt x="3570" y="3120"/>
                    </a:lnTo>
                    <a:lnTo>
                      <a:pt x="3570" y="3120"/>
                    </a:lnTo>
                    <a:lnTo>
                      <a:pt x="3596" y="3116"/>
                    </a:lnTo>
                    <a:lnTo>
                      <a:pt x="3620" y="3108"/>
                    </a:lnTo>
                    <a:lnTo>
                      <a:pt x="3620" y="3108"/>
                    </a:lnTo>
                    <a:lnTo>
                      <a:pt x="3626" y="3104"/>
                    </a:lnTo>
                    <a:lnTo>
                      <a:pt x="3630" y="3102"/>
                    </a:lnTo>
                    <a:lnTo>
                      <a:pt x="3632" y="3098"/>
                    </a:lnTo>
                    <a:lnTo>
                      <a:pt x="3632" y="3096"/>
                    </a:lnTo>
                    <a:lnTo>
                      <a:pt x="3636" y="3096"/>
                    </a:lnTo>
                    <a:lnTo>
                      <a:pt x="3648" y="3098"/>
                    </a:lnTo>
                    <a:lnTo>
                      <a:pt x="3648" y="3098"/>
                    </a:lnTo>
                    <a:lnTo>
                      <a:pt x="3656" y="3100"/>
                    </a:lnTo>
                    <a:lnTo>
                      <a:pt x="3662" y="3100"/>
                    </a:lnTo>
                    <a:lnTo>
                      <a:pt x="3670" y="3098"/>
                    </a:lnTo>
                    <a:lnTo>
                      <a:pt x="3674" y="3098"/>
                    </a:lnTo>
                    <a:lnTo>
                      <a:pt x="3676" y="3102"/>
                    </a:lnTo>
                    <a:lnTo>
                      <a:pt x="3676" y="3102"/>
                    </a:lnTo>
                    <a:lnTo>
                      <a:pt x="3678" y="3106"/>
                    </a:lnTo>
                    <a:lnTo>
                      <a:pt x="3676" y="3110"/>
                    </a:lnTo>
                    <a:lnTo>
                      <a:pt x="3672" y="3114"/>
                    </a:lnTo>
                    <a:lnTo>
                      <a:pt x="3666" y="3118"/>
                    </a:lnTo>
                    <a:lnTo>
                      <a:pt x="3666" y="3120"/>
                    </a:lnTo>
                    <a:lnTo>
                      <a:pt x="3666" y="3124"/>
                    </a:lnTo>
                    <a:lnTo>
                      <a:pt x="3666" y="3124"/>
                    </a:lnTo>
                    <a:lnTo>
                      <a:pt x="3666" y="3130"/>
                    </a:lnTo>
                    <a:lnTo>
                      <a:pt x="3664" y="3136"/>
                    </a:lnTo>
                    <a:lnTo>
                      <a:pt x="3664" y="3142"/>
                    </a:lnTo>
                    <a:lnTo>
                      <a:pt x="3664" y="3144"/>
                    </a:lnTo>
                    <a:lnTo>
                      <a:pt x="3668" y="3146"/>
                    </a:lnTo>
                    <a:lnTo>
                      <a:pt x="3668" y="3146"/>
                    </a:lnTo>
                    <a:lnTo>
                      <a:pt x="3674" y="3150"/>
                    </a:lnTo>
                    <a:lnTo>
                      <a:pt x="3674" y="3152"/>
                    </a:lnTo>
                    <a:lnTo>
                      <a:pt x="3676" y="3156"/>
                    </a:lnTo>
                    <a:lnTo>
                      <a:pt x="3684" y="3162"/>
                    </a:lnTo>
                    <a:lnTo>
                      <a:pt x="3684" y="3164"/>
                    </a:lnTo>
                    <a:lnTo>
                      <a:pt x="3684" y="3164"/>
                    </a:lnTo>
                    <a:lnTo>
                      <a:pt x="3688" y="3166"/>
                    </a:lnTo>
                    <a:lnTo>
                      <a:pt x="3692" y="3164"/>
                    </a:lnTo>
                    <a:lnTo>
                      <a:pt x="3696" y="3160"/>
                    </a:lnTo>
                    <a:lnTo>
                      <a:pt x="3700" y="3156"/>
                    </a:lnTo>
                    <a:lnTo>
                      <a:pt x="3716" y="3130"/>
                    </a:lnTo>
                    <a:lnTo>
                      <a:pt x="3716" y="3130"/>
                    </a:lnTo>
                    <a:lnTo>
                      <a:pt x="3720" y="3124"/>
                    </a:lnTo>
                    <a:lnTo>
                      <a:pt x="3724" y="3122"/>
                    </a:lnTo>
                    <a:lnTo>
                      <a:pt x="3734" y="3118"/>
                    </a:lnTo>
                    <a:lnTo>
                      <a:pt x="3738" y="3116"/>
                    </a:lnTo>
                    <a:lnTo>
                      <a:pt x="3738" y="3114"/>
                    </a:lnTo>
                    <a:lnTo>
                      <a:pt x="3736" y="3112"/>
                    </a:lnTo>
                    <a:lnTo>
                      <a:pt x="3730" y="3108"/>
                    </a:lnTo>
                    <a:lnTo>
                      <a:pt x="3730" y="3108"/>
                    </a:lnTo>
                    <a:lnTo>
                      <a:pt x="3724" y="3104"/>
                    </a:lnTo>
                    <a:lnTo>
                      <a:pt x="3722" y="3098"/>
                    </a:lnTo>
                    <a:lnTo>
                      <a:pt x="3722" y="3090"/>
                    </a:lnTo>
                    <a:lnTo>
                      <a:pt x="3724" y="3086"/>
                    </a:lnTo>
                    <a:lnTo>
                      <a:pt x="3728" y="3082"/>
                    </a:lnTo>
                    <a:lnTo>
                      <a:pt x="3732" y="3080"/>
                    </a:lnTo>
                    <a:lnTo>
                      <a:pt x="3734" y="3082"/>
                    </a:lnTo>
                    <a:lnTo>
                      <a:pt x="3734" y="3086"/>
                    </a:lnTo>
                    <a:lnTo>
                      <a:pt x="3734" y="3086"/>
                    </a:lnTo>
                    <a:lnTo>
                      <a:pt x="3736" y="3092"/>
                    </a:lnTo>
                    <a:lnTo>
                      <a:pt x="3738" y="3094"/>
                    </a:lnTo>
                    <a:lnTo>
                      <a:pt x="3742" y="3096"/>
                    </a:lnTo>
                    <a:lnTo>
                      <a:pt x="3746" y="3096"/>
                    </a:lnTo>
                    <a:lnTo>
                      <a:pt x="3750" y="3096"/>
                    </a:lnTo>
                    <a:lnTo>
                      <a:pt x="3746" y="3100"/>
                    </a:lnTo>
                    <a:lnTo>
                      <a:pt x="3746" y="3100"/>
                    </a:lnTo>
                    <a:lnTo>
                      <a:pt x="3742" y="3104"/>
                    </a:lnTo>
                    <a:lnTo>
                      <a:pt x="3742" y="3104"/>
                    </a:lnTo>
                    <a:lnTo>
                      <a:pt x="3750" y="3104"/>
                    </a:lnTo>
                    <a:lnTo>
                      <a:pt x="3762" y="3102"/>
                    </a:lnTo>
                    <a:lnTo>
                      <a:pt x="3774" y="3102"/>
                    </a:lnTo>
                    <a:lnTo>
                      <a:pt x="3774" y="3102"/>
                    </a:lnTo>
                    <a:lnTo>
                      <a:pt x="3782" y="3104"/>
                    </a:lnTo>
                    <a:lnTo>
                      <a:pt x="3786" y="3104"/>
                    </a:lnTo>
                    <a:lnTo>
                      <a:pt x="3788" y="3100"/>
                    </a:lnTo>
                    <a:lnTo>
                      <a:pt x="3792" y="3092"/>
                    </a:lnTo>
                    <a:lnTo>
                      <a:pt x="3792" y="3092"/>
                    </a:lnTo>
                    <a:lnTo>
                      <a:pt x="3800" y="3082"/>
                    </a:lnTo>
                    <a:lnTo>
                      <a:pt x="3806" y="3076"/>
                    </a:lnTo>
                    <a:lnTo>
                      <a:pt x="3810" y="3076"/>
                    </a:lnTo>
                    <a:lnTo>
                      <a:pt x="3810" y="3078"/>
                    </a:lnTo>
                    <a:lnTo>
                      <a:pt x="3812" y="3082"/>
                    </a:lnTo>
                    <a:lnTo>
                      <a:pt x="3810" y="3090"/>
                    </a:lnTo>
                    <a:lnTo>
                      <a:pt x="3810" y="3090"/>
                    </a:lnTo>
                    <a:lnTo>
                      <a:pt x="3810" y="3096"/>
                    </a:lnTo>
                    <a:lnTo>
                      <a:pt x="3810" y="3102"/>
                    </a:lnTo>
                    <a:lnTo>
                      <a:pt x="3812" y="3104"/>
                    </a:lnTo>
                    <a:lnTo>
                      <a:pt x="3814" y="3104"/>
                    </a:lnTo>
                    <a:lnTo>
                      <a:pt x="3820" y="3098"/>
                    </a:lnTo>
                    <a:lnTo>
                      <a:pt x="3824" y="3086"/>
                    </a:lnTo>
                    <a:lnTo>
                      <a:pt x="3824" y="3086"/>
                    </a:lnTo>
                    <a:lnTo>
                      <a:pt x="3826" y="3076"/>
                    </a:lnTo>
                    <a:lnTo>
                      <a:pt x="3828" y="3068"/>
                    </a:lnTo>
                    <a:lnTo>
                      <a:pt x="3830" y="3066"/>
                    </a:lnTo>
                    <a:lnTo>
                      <a:pt x="3834" y="3066"/>
                    </a:lnTo>
                    <a:lnTo>
                      <a:pt x="3842" y="3070"/>
                    </a:lnTo>
                    <a:lnTo>
                      <a:pt x="3842" y="3070"/>
                    </a:lnTo>
                    <a:lnTo>
                      <a:pt x="3848" y="3074"/>
                    </a:lnTo>
                    <a:lnTo>
                      <a:pt x="3848" y="3074"/>
                    </a:lnTo>
                    <a:lnTo>
                      <a:pt x="3848" y="3072"/>
                    </a:lnTo>
                    <a:lnTo>
                      <a:pt x="3848" y="3064"/>
                    </a:lnTo>
                    <a:lnTo>
                      <a:pt x="3848" y="3060"/>
                    </a:lnTo>
                    <a:lnTo>
                      <a:pt x="3850" y="3054"/>
                    </a:lnTo>
                    <a:lnTo>
                      <a:pt x="3850" y="3054"/>
                    </a:lnTo>
                    <a:lnTo>
                      <a:pt x="3852" y="3050"/>
                    </a:lnTo>
                    <a:lnTo>
                      <a:pt x="3856" y="3048"/>
                    </a:lnTo>
                    <a:lnTo>
                      <a:pt x="3862" y="3046"/>
                    </a:lnTo>
                    <a:lnTo>
                      <a:pt x="3864" y="3048"/>
                    </a:lnTo>
                    <a:lnTo>
                      <a:pt x="3864" y="3050"/>
                    </a:lnTo>
                    <a:lnTo>
                      <a:pt x="3864" y="3052"/>
                    </a:lnTo>
                    <a:lnTo>
                      <a:pt x="3862" y="3056"/>
                    </a:lnTo>
                    <a:lnTo>
                      <a:pt x="3862" y="3056"/>
                    </a:lnTo>
                    <a:lnTo>
                      <a:pt x="3858" y="3066"/>
                    </a:lnTo>
                    <a:lnTo>
                      <a:pt x="3854" y="3080"/>
                    </a:lnTo>
                    <a:lnTo>
                      <a:pt x="3854" y="3090"/>
                    </a:lnTo>
                    <a:lnTo>
                      <a:pt x="3856" y="3090"/>
                    </a:lnTo>
                    <a:lnTo>
                      <a:pt x="3860" y="3086"/>
                    </a:lnTo>
                    <a:lnTo>
                      <a:pt x="3860" y="3086"/>
                    </a:lnTo>
                    <a:lnTo>
                      <a:pt x="3864" y="3080"/>
                    </a:lnTo>
                    <a:lnTo>
                      <a:pt x="3866" y="3078"/>
                    </a:lnTo>
                    <a:lnTo>
                      <a:pt x="3872" y="3076"/>
                    </a:lnTo>
                    <a:lnTo>
                      <a:pt x="3874" y="3076"/>
                    </a:lnTo>
                    <a:lnTo>
                      <a:pt x="3876" y="3072"/>
                    </a:lnTo>
                    <a:lnTo>
                      <a:pt x="3878" y="3060"/>
                    </a:lnTo>
                    <a:lnTo>
                      <a:pt x="3878" y="3060"/>
                    </a:lnTo>
                    <a:lnTo>
                      <a:pt x="3880" y="3052"/>
                    </a:lnTo>
                    <a:lnTo>
                      <a:pt x="3886" y="3048"/>
                    </a:lnTo>
                    <a:lnTo>
                      <a:pt x="3890" y="3048"/>
                    </a:lnTo>
                    <a:lnTo>
                      <a:pt x="3894" y="3048"/>
                    </a:lnTo>
                    <a:lnTo>
                      <a:pt x="3898" y="3048"/>
                    </a:lnTo>
                    <a:lnTo>
                      <a:pt x="3900" y="3046"/>
                    </a:lnTo>
                    <a:lnTo>
                      <a:pt x="3898" y="3042"/>
                    </a:lnTo>
                    <a:lnTo>
                      <a:pt x="3892" y="3034"/>
                    </a:lnTo>
                    <a:lnTo>
                      <a:pt x="3892" y="3034"/>
                    </a:lnTo>
                    <a:lnTo>
                      <a:pt x="3888" y="3028"/>
                    </a:lnTo>
                    <a:lnTo>
                      <a:pt x="3886" y="3022"/>
                    </a:lnTo>
                    <a:lnTo>
                      <a:pt x="3884" y="3010"/>
                    </a:lnTo>
                    <a:lnTo>
                      <a:pt x="3886" y="3000"/>
                    </a:lnTo>
                    <a:lnTo>
                      <a:pt x="3892" y="2988"/>
                    </a:lnTo>
                    <a:lnTo>
                      <a:pt x="3896" y="2978"/>
                    </a:lnTo>
                    <a:lnTo>
                      <a:pt x="3902" y="2966"/>
                    </a:lnTo>
                    <a:lnTo>
                      <a:pt x="3902" y="2952"/>
                    </a:lnTo>
                    <a:lnTo>
                      <a:pt x="3900" y="2938"/>
                    </a:lnTo>
                    <a:lnTo>
                      <a:pt x="3900" y="2938"/>
                    </a:lnTo>
                    <a:lnTo>
                      <a:pt x="3898" y="2928"/>
                    </a:lnTo>
                    <a:lnTo>
                      <a:pt x="3898" y="2920"/>
                    </a:lnTo>
                    <a:lnTo>
                      <a:pt x="3898" y="2912"/>
                    </a:lnTo>
                    <a:lnTo>
                      <a:pt x="3900" y="2906"/>
                    </a:lnTo>
                    <a:lnTo>
                      <a:pt x="3904" y="2902"/>
                    </a:lnTo>
                    <a:lnTo>
                      <a:pt x="3908" y="2900"/>
                    </a:lnTo>
                    <a:lnTo>
                      <a:pt x="3912" y="2900"/>
                    </a:lnTo>
                    <a:lnTo>
                      <a:pt x="3918" y="2902"/>
                    </a:lnTo>
                    <a:lnTo>
                      <a:pt x="3918" y="2902"/>
                    </a:lnTo>
                    <a:lnTo>
                      <a:pt x="3922" y="2906"/>
                    </a:lnTo>
                    <a:lnTo>
                      <a:pt x="3924" y="2906"/>
                    </a:lnTo>
                    <a:lnTo>
                      <a:pt x="3924" y="2898"/>
                    </a:lnTo>
                    <a:lnTo>
                      <a:pt x="3924" y="2884"/>
                    </a:lnTo>
                    <a:lnTo>
                      <a:pt x="3926" y="2876"/>
                    </a:lnTo>
                    <a:lnTo>
                      <a:pt x="3930" y="2868"/>
                    </a:lnTo>
                    <a:lnTo>
                      <a:pt x="3930" y="2868"/>
                    </a:lnTo>
                    <a:lnTo>
                      <a:pt x="3936" y="2860"/>
                    </a:lnTo>
                    <a:lnTo>
                      <a:pt x="3940" y="2850"/>
                    </a:lnTo>
                    <a:lnTo>
                      <a:pt x="3942" y="2840"/>
                    </a:lnTo>
                    <a:lnTo>
                      <a:pt x="3944" y="2830"/>
                    </a:lnTo>
                    <a:lnTo>
                      <a:pt x="3942" y="2820"/>
                    </a:lnTo>
                    <a:lnTo>
                      <a:pt x="3940" y="2810"/>
                    </a:lnTo>
                    <a:lnTo>
                      <a:pt x="3936" y="2802"/>
                    </a:lnTo>
                    <a:lnTo>
                      <a:pt x="3932" y="2794"/>
                    </a:lnTo>
                    <a:lnTo>
                      <a:pt x="3932" y="2794"/>
                    </a:lnTo>
                    <a:lnTo>
                      <a:pt x="3926" y="2788"/>
                    </a:lnTo>
                    <a:lnTo>
                      <a:pt x="3922" y="2780"/>
                    </a:lnTo>
                    <a:lnTo>
                      <a:pt x="3918" y="2766"/>
                    </a:lnTo>
                    <a:lnTo>
                      <a:pt x="3918" y="2752"/>
                    </a:lnTo>
                    <a:lnTo>
                      <a:pt x="3918" y="2740"/>
                    </a:lnTo>
                    <a:lnTo>
                      <a:pt x="3918" y="2740"/>
                    </a:lnTo>
                    <a:close/>
                    <a:moveTo>
                      <a:pt x="3276" y="3612"/>
                    </a:moveTo>
                    <a:lnTo>
                      <a:pt x="3276" y="3612"/>
                    </a:lnTo>
                    <a:lnTo>
                      <a:pt x="3274" y="3610"/>
                    </a:lnTo>
                    <a:lnTo>
                      <a:pt x="3270" y="3612"/>
                    </a:lnTo>
                    <a:lnTo>
                      <a:pt x="3268" y="3614"/>
                    </a:lnTo>
                    <a:lnTo>
                      <a:pt x="3268" y="3618"/>
                    </a:lnTo>
                    <a:lnTo>
                      <a:pt x="3268" y="3618"/>
                    </a:lnTo>
                    <a:lnTo>
                      <a:pt x="3272" y="3618"/>
                    </a:lnTo>
                    <a:lnTo>
                      <a:pt x="3274" y="3618"/>
                    </a:lnTo>
                    <a:lnTo>
                      <a:pt x="3276" y="3614"/>
                    </a:lnTo>
                    <a:lnTo>
                      <a:pt x="3276" y="3612"/>
                    </a:lnTo>
                    <a:lnTo>
                      <a:pt x="3276" y="3612"/>
                    </a:lnTo>
                    <a:close/>
                    <a:moveTo>
                      <a:pt x="3322" y="3130"/>
                    </a:moveTo>
                    <a:lnTo>
                      <a:pt x="3322" y="3130"/>
                    </a:lnTo>
                    <a:lnTo>
                      <a:pt x="3324" y="3128"/>
                    </a:lnTo>
                    <a:lnTo>
                      <a:pt x="3322" y="3126"/>
                    </a:lnTo>
                    <a:lnTo>
                      <a:pt x="3318" y="3126"/>
                    </a:lnTo>
                    <a:lnTo>
                      <a:pt x="3318" y="3126"/>
                    </a:lnTo>
                    <a:lnTo>
                      <a:pt x="3316" y="3128"/>
                    </a:lnTo>
                    <a:lnTo>
                      <a:pt x="3318" y="3130"/>
                    </a:lnTo>
                    <a:lnTo>
                      <a:pt x="3320" y="3130"/>
                    </a:lnTo>
                    <a:lnTo>
                      <a:pt x="3322" y="3130"/>
                    </a:lnTo>
                    <a:lnTo>
                      <a:pt x="3322" y="3130"/>
                    </a:lnTo>
                    <a:close/>
                    <a:moveTo>
                      <a:pt x="3302" y="3176"/>
                    </a:moveTo>
                    <a:lnTo>
                      <a:pt x="3302" y="3176"/>
                    </a:lnTo>
                    <a:lnTo>
                      <a:pt x="3304" y="3178"/>
                    </a:lnTo>
                    <a:lnTo>
                      <a:pt x="3310" y="3178"/>
                    </a:lnTo>
                    <a:lnTo>
                      <a:pt x="3320" y="3176"/>
                    </a:lnTo>
                    <a:lnTo>
                      <a:pt x="3330" y="3170"/>
                    </a:lnTo>
                    <a:lnTo>
                      <a:pt x="3334" y="3166"/>
                    </a:lnTo>
                    <a:lnTo>
                      <a:pt x="3334" y="3162"/>
                    </a:lnTo>
                    <a:lnTo>
                      <a:pt x="3334" y="3162"/>
                    </a:lnTo>
                    <a:lnTo>
                      <a:pt x="3332" y="3158"/>
                    </a:lnTo>
                    <a:lnTo>
                      <a:pt x="3326" y="3158"/>
                    </a:lnTo>
                    <a:lnTo>
                      <a:pt x="3322" y="3158"/>
                    </a:lnTo>
                    <a:lnTo>
                      <a:pt x="3314" y="3160"/>
                    </a:lnTo>
                    <a:lnTo>
                      <a:pt x="3310" y="3164"/>
                    </a:lnTo>
                    <a:lnTo>
                      <a:pt x="3304" y="3166"/>
                    </a:lnTo>
                    <a:lnTo>
                      <a:pt x="3302" y="3172"/>
                    </a:lnTo>
                    <a:lnTo>
                      <a:pt x="3302" y="3176"/>
                    </a:lnTo>
                    <a:lnTo>
                      <a:pt x="3302" y="3176"/>
                    </a:lnTo>
                    <a:close/>
                    <a:moveTo>
                      <a:pt x="3372" y="3542"/>
                    </a:moveTo>
                    <a:lnTo>
                      <a:pt x="3372" y="3542"/>
                    </a:lnTo>
                    <a:lnTo>
                      <a:pt x="3374" y="3538"/>
                    </a:lnTo>
                    <a:lnTo>
                      <a:pt x="3376" y="3534"/>
                    </a:lnTo>
                    <a:lnTo>
                      <a:pt x="3386" y="3520"/>
                    </a:lnTo>
                    <a:lnTo>
                      <a:pt x="3386" y="3520"/>
                    </a:lnTo>
                    <a:lnTo>
                      <a:pt x="3392" y="3512"/>
                    </a:lnTo>
                    <a:lnTo>
                      <a:pt x="3394" y="3508"/>
                    </a:lnTo>
                    <a:lnTo>
                      <a:pt x="3390" y="3508"/>
                    </a:lnTo>
                    <a:lnTo>
                      <a:pt x="3384" y="3512"/>
                    </a:lnTo>
                    <a:lnTo>
                      <a:pt x="3384" y="3512"/>
                    </a:lnTo>
                    <a:lnTo>
                      <a:pt x="3374" y="3522"/>
                    </a:lnTo>
                    <a:lnTo>
                      <a:pt x="3370" y="3528"/>
                    </a:lnTo>
                    <a:lnTo>
                      <a:pt x="3366" y="3538"/>
                    </a:lnTo>
                    <a:lnTo>
                      <a:pt x="3366" y="3538"/>
                    </a:lnTo>
                    <a:lnTo>
                      <a:pt x="3366" y="3544"/>
                    </a:lnTo>
                    <a:lnTo>
                      <a:pt x="3368" y="3546"/>
                    </a:lnTo>
                    <a:lnTo>
                      <a:pt x="3372" y="3544"/>
                    </a:lnTo>
                    <a:lnTo>
                      <a:pt x="3372" y="3542"/>
                    </a:lnTo>
                    <a:lnTo>
                      <a:pt x="3372" y="3542"/>
                    </a:lnTo>
                    <a:close/>
                    <a:moveTo>
                      <a:pt x="3932" y="2136"/>
                    </a:moveTo>
                    <a:lnTo>
                      <a:pt x="3932" y="2136"/>
                    </a:lnTo>
                    <a:lnTo>
                      <a:pt x="3930" y="2138"/>
                    </a:lnTo>
                    <a:lnTo>
                      <a:pt x="3932" y="2138"/>
                    </a:lnTo>
                    <a:lnTo>
                      <a:pt x="3936" y="2142"/>
                    </a:lnTo>
                    <a:lnTo>
                      <a:pt x="3942" y="2150"/>
                    </a:lnTo>
                    <a:lnTo>
                      <a:pt x="3950" y="2162"/>
                    </a:lnTo>
                    <a:lnTo>
                      <a:pt x="3950" y="2162"/>
                    </a:lnTo>
                    <a:lnTo>
                      <a:pt x="3952" y="2168"/>
                    </a:lnTo>
                    <a:lnTo>
                      <a:pt x="3952" y="2174"/>
                    </a:lnTo>
                    <a:lnTo>
                      <a:pt x="3948" y="2186"/>
                    </a:lnTo>
                    <a:lnTo>
                      <a:pt x="3944" y="2198"/>
                    </a:lnTo>
                    <a:lnTo>
                      <a:pt x="3944" y="2206"/>
                    </a:lnTo>
                    <a:lnTo>
                      <a:pt x="3946" y="2214"/>
                    </a:lnTo>
                    <a:lnTo>
                      <a:pt x="3946" y="2214"/>
                    </a:lnTo>
                    <a:lnTo>
                      <a:pt x="3948" y="2224"/>
                    </a:lnTo>
                    <a:lnTo>
                      <a:pt x="3948" y="2236"/>
                    </a:lnTo>
                    <a:lnTo>
                      <a:pt x="3948" y="2266"/>
                    </a:lnTo>
                    <a:lnTo>
                      <a:pt x="3944" y="2294"/>
                    </a:lnTo>
                    <a:lnTo>
                      <a:pt x="3940" y="2304"/>
                    </a:lnTo>
                    <a:lnTo>
                      <a:pt x="3938" y="2312"/>
                    </a:lnTo>
                    <a:lnTo>
                      <a:pt x="3938" y="2312"/>
                    </a:lnTo>
                    <a:lnTo>
                      <a:pt x="3936" y="2316"/>
                    </a:lnTo>
                    <a:lnTo>
                      <a:pt x="3938" y="2320"/>
                    </a:lnTo>
                    <a:lnTo>
                      <a:pt x="3944" y="2330"/>
                    </a:lnTo>
                    <a:lnTo>
                      <a:pt x="3946" y="2336"/>
                    </a:lnTo>
                    <a:lnTo>
                      <a:pt x="3948" y="2344"/>
                    </a:lnTo>
                    <a:lnTo>
                      <a:pt x="3946" y="2356"/>
                    </a:lnTo>
                    <a:lnTo>
                      <a:pt x="3942" y="2370"/>
                    </a:lnTo>
                    <a:lnTo>
                      <a:pt x="3942" y="2370"/>
                    </a:lnTo>
                    <a:lnTo>
                      <a:pt x="3940" y="2378"/>
                    </a:lnTo>
                    <a:lnTo>
                      <a:pt x="3940" y="2386"/>
                    </a:lnTo>
                    <a:lnTo>
                      <a:pt x="3942" y="2400"/>
                    </a:lnTo>
                    <a:lnTo>
                      <a:pt x="3944" y="2412"/>
                    </a:lnTo>
                    <a:lnTo>
                      <a:pt x="3944" y="2418"/>
                    </a:lnTo>
                    <a:lnTo>
                      <a:pt x="3940" y="2424"/>
                    </a:lnTo>
                    <a:lnTo>
                      <a:pt x="3940" y="2424"/>
                    </a:lnTo>
                    <a:lnTo>
                      <a:pt x="3936" y="2436"/>
                    </a:lnTo>
                    <a:lnTo>
                      <a:pt x="3934" y="2444"/>
                    </a:lnTo>
                    <a:lnTo>
                      <a:pt x="3936" y="2454"/>
                    </a:lnTo>
                    <a:lnTo>
                      <a:pt x="3938" y="2468"/>
                    </a:lnTo>
                    <a:lnTo>
                      <a:pt x="3938" y="2468"/>
                    </a:lnTo>
                    <a:lnTo>
                      <a:pt x="3942" y="2478"/>
                    </a:lnTo>
                    <a:lnTo>
                      <a:pt x="3944" y="2478"/>
                    </a:lnTo>
                    <a:lnTo>
                      <a:pt x="3946" y="2478"/>
                    </a:lnTo>
                    <a:lnTo>
                      <a:pt x="3950" y="2470"/>
                    </a:lnTo>
                    <a:lnTo>
                      <a:pt x="3954" y="2456"/>
                    </a:lnTo>
                    <a:lnTo>
                      <a:pt x="3954" y="2456"/>
                    </a:lnTo>
                    <a:lnTo>
                      <a:pt x="3958" y="2442"/>
                    </a:lnTo>
                    <a:lnTo>
                      <a:pt x="3962" y="2434"/>
                    </a:lnTo>
                    <a:lnTo>
                      <a:pt x="3966" y="2432"/>
                    </a:lnTo>
                    <a:lnTo>
                      <a:pt x="3968" y="2432"/>
                    </a:lnTo>
                    <a:lnTo>
                      <a:pt x="3972" y="2434"/>
                    </a:lnTo>
                    <a:lnTo>
                      <a:pt x="3972" y="2434"/>
                    </a:lnTo>
                    <a:lnTo>
                      <a:pt x="3976" y="2438"/>
                    </a:lnTo>
                    <a:lnTo>
                      <a:pt x="3980" y="2440"/>
                    </a:lnTo>
                    <a:lnTo>
                      <a:pt x="3984" y="2438"/>
                    </a:lnTo>
                    <a:lnTo>
                      <a:pt x="3990" y="2440"/>
                    </a:lnTo>
                    <a:lnTo>
                      <a:pt x="3990" y="2440"/>
                    </a:lnTo>
                    <a:lnTo>
                      <a:pt x="3994" y="2442"/>
                    </a:lnTo>
                    <a:lnTo>
                      <a:pt x="3996" y="2446"/>
                    </a:lnTo>
                    <a:lnTo>
                      <a:pt x="3998" y="2456"/>
                    </a:lnTo>
                    <a:lnTo>
                      <a:pt x="4000" y="2464"/>
                    </a:lnTo>
                    <a:lnTo>
                      <a:pt x="4000" y="2466"/>
                    </a:lnTo>
                    <a:lnTo>
                      <a:pt x="4002" y="2466"/>
                    </a:lnTo>
                    <a:lnTo>
                      <a:pt x="4002" y="2466"/>
                    </a:lnTo>
                    <a:lnTo>
                      <a:pt x="4006" y="2454"/>
                    </a:lnTo>
                    <a:lnTo>
                      <a:pt x="4006" y="2448"/>
                    </a:lnTo>
                    <a:lnTo>
                      <a:pt x="4004" y="2444"/>
                    </a:lnTo>
                    <a:lnTo>
                      <a:pt x="4002" y="2434"/>
                    </a:lnTo>
                    <a:lnTo>
                      <a:pt x="4002" y="2434"/>
                    </a:lnTo>
                    <a:lnTo>
                      <a:pt x="4002" y="2426"/>
                    </a:lnTo>
                    <a:lnTo>
                      <a:pt x="4002" y="2426"/>
                    </a:lnTo>
                    <a:lnTo>
                      <a:pt x="3998" y="2426"/>
                    </a:lnTo>
                    <a:lnTo>
                      <a:pt x="3992" y="2426"/>
                    </a:lnTo>
                    <a:lnTo>
                      <a:pt x="3992" y="2426"/>
                    </a:lnTo>
                    <a:lnTo>
                      <a:pt x="3990" y="2422"/>
                    </a:lnTo>
                    <a:lnTo>
                      <a:pt x="3986" y="2420"/>
                    </a:lnTo>
                    <a:lnTo>
                      <a:pt x="3984" y="2410"/>
                    </a:lnTo>
                    <a:lnTo>
                      <a:pt x="3980" y="2400"/>
                    </a:lnTo>
                    <a:lnTo>
                      <a:pt x="3976" y="2394"/>
                    </a:lnTo>
                    <a:lnTo>
                      <a:pt x="3972" y="2390"/>
                    </a:lnTo>
                    <a:lnTo>
                      <a:pt x="3972" y="2390"/>
                    </a:lnTo>
                    <a:lnTo>
                      <a:pt x="3966" y="2382"/>
                    </a:lnTo>
                    <a:lnTo>
                      <a:pt x="3964" y="2372"/>
                    </a:lnTo>
                    <a:lnTo>
                      <a:pt x="3964" y="2362"/>
                    </a:lnTo>
                    <a:lnTo>
                      <a:pt x="3964" y="2350"/>
                    </a:lnTo>
                    <a:lnTo>
                      <a:pt x="3970" y="2328"/>
                    </a:lnTo>
                    <a:lnTo>
                      <a:pt x="3978" y="2314"/>
                    </a:lnTo>
                    <a:lnTo>
                      <a:pt x="3978" y="2314"/>
                    </a:lnTo>
                    <a:lnTo>
                      <a:pt x="3980" y="2308"/>
                    </a:lnTo>
                    <a:lnTo>
                      <a:pt x="3982" y="2304"/>
                    </a:lnTo>
                    <a:lnTo>
                      <a:pt x="3982" y="2294"/>
                    </a:lnTo>
                    <a:lnTo>
                      <a:pt x="3984" y="2290"/>
                    </a:lnTo>
                    <a:lnTo>
                      <a:pt x="3984" y="2288"/>
                    </a:lnTo>
                    <a:lnTo>
                      <a:pt x="3988" y="2284"/>
                    </a:lnTo>
                    <a:lnTo>
                      <a:pt x="3994" y="2282"/>
                    </a:lnTo>
                    <a:lnTo>
                      <a:pt x="3994" y="2282"/>
                    </a:lnTo>
                    <a:lnTo>
                      <a:pt x="4004" y="2280"/>
                    </a:lnTo>
                    <a:lnTo>
                      <a:pt x="4014" y="2280"/>
                    </a:lnTo>
                    <a:lnTo>
                      <a:pt x="4026" y="2286"/>
                    </a:lnTo>
                    <a:lnTo>
                      <a:pt x="4036" y="2294"/>
                    </a:lnTo>
                    <a:lnTo>
                      <a:pt x="4036" y="2294"/>
                    </a:lnTo>
                    <a:lnTo>
                      <a:pt x="4048" y="2314"/>
                    </a:lnTo>
                    <a:lnTo>
                      <a:pt x="4052" y="2316"/>
                    </a:lnTo>
                    <a:lnTo>
                      <a:pt x="4052" y="2312"/>
                    </a:lnTo>
                    <a:lnTo>
                      <a:pt x="4052" y="2312"/>
                    </a:lnTo>
                    <a:lnTo>
                      <a:pt x="4048" y="2302"/>
                    </a:lnTo>
                    <a:lnTo>
                      <a:pt x="4040" y="2294"/>
                    </a:lnTo>
                    <a:lnTo>
                      <a:pt x="4034" y="2282"/>
                    </a:lnTo>
                    <a:lnTo>
                      <a:pt x="4032" y="2276"/>
                    </a:lnTo>
                    <a:lnTo>
                      <a:pt x="4030" y="2268"/>
                    </a:lnTo>
                    <a:lnTo>
                      <a:pt x="4030" y="2268"/>
                    </a:lnTo>
                    <a:lnTo>
                      <a:pt x="4026" y="2252"/>
                    </a:lnTo>
                    <a:lnTo>
                      <a:pt x="4020" y="2234"/>
                    </a:lnTo>
                    <a:lnTo>
                      <a:pt x="4012" y="2214"/>
                    </a:lnTo>
                    <a:lnTo>
                      <a:pt x="4010" y="2206"/>
                    </a:lnTo>
                    <a:lnTo>
                      <a:pt x="4010" y="2196"/>
                    </a:lnTo>
                    <a:lnTo>
                      <a:pt x="4010" y="2196"/>
                    </a:lnTo>
                    <a:lnTo>
                      <a:pt x="4008" y="2180"/>
                    </a:lnTo>
                    <a:lnTo>
                      <a:pt x="4004" y="2168"/>
                    </a:lnTo>
                    <a:lnTo>
                      <a:pt x="4002" y="2158"/>
                    </a:lnTo>
                    <a:lnTo>
                      <a:pt x="3998" y="2148"/>
                    </a:lnTo>
                    <a:lnTo>
                      <a:pt x="3998" y="2148"/>
                    </a:lnTo>
                    <a:lnTo>
                      <a:pt x="3998" y="2144"/>
                    </a:lnTo>
                    <a:lnTo>
                      <a:pt x="3998" y="2144"/>
                    </a:lnTo>
                    <a:lnTo>
                      <a:pt x="3994" y="2146"/>
                    </a:lnTo>
                    <a:lnTo>
                      <a:pt x="3994" y="2146"/>
                    </a:lnTo>
                    <a:lnTo>
                      <a:pt x="3992" y="2146"/>
                    </a:lnTo>
                    <a:lnTo>
                      <a:pt x="3992" y="2138"/>
                    </a:lnTo>
                    <a:lnTo>
                      <a:pt x="3992" y="2138"/>
                    </a:lnTo>
                    <a:lnTo>
                      <a:pt x="3994" y="2128"/>
                    </a:lnTo>
                    <a:lnTo>
                      <a:pt x="3994" y="2128"/>
                    </a:lnTo>
                    <a:lnTo>
                      <a:pt x="3992" y="2128"/>
                    </a:lnTo>
                    <a:lnTo>
                      <a:pt x="3990" y="2128"/>
                    </a:lnTo>
                    <a:lnTo>
                      <a:pt x="3988" y="2124"/>
                    </a:lnTo>
                    <a:lnTo>
                      <a:pt x="3988" y="2124"/>
                    </a:lnTo>
                    <a:lnTo>
                      <a:pt x="3988" y="2116"/>
                    </a:lnTo>
                    <a:lnTo>
                      <a:pt x="3988" y="2108"/>
                    </a:lnTo>
                    <a:lnTo>
                      <a:pt x="3992" y="2096"/>
                    </a:lnTo>
                    <a:lnTo>
                      <a:pt x="3994" y="2090"/>
                    </a:lnTo>
                    <a:lnTo>
                      <a:pt x="3996" y="2082"/>
                    </a:lnTo>
                    <a:lnTo>
                      <a:pt x="3996" y="2072"/>
                    </a:lnTo>
                    <a:lnTo>
                      <a:pt x="3994" y="2058"/>
                    </a:lnTo>
                    <a:lnTo>
                      <a:pt x="3994" y="2058"/>
                    </a:lnTo>
                    <a:lnTo>
                      <a:pt x="3990" y="2042"/>
                    </a:lnTo>
                    <a:lnTo>
                      <a:pt x="3988" y="2036"/>
                    </a:lnTo>
                    <a:lnTo>
                      <a:pt x="3986" y="2034"/>
                    </a:lnTo>
                    <a:lnTo>
                      <a:pt x="3988" y="2032"/>
                    </a:lnTo>
                    <a:lnTo>
                      <a:pt x="3988" y="2032"/>
                    </a:lnTo>
                    <a:lnTo>
                      <a:pt x="3988" y="2028"/>
                    </a:lnTo>
                    <a:lnTo>
                      <a:pt x="3986" y="2026"/>
                    </a:lnTo>
                    <a:lnTo>
                      <a:pt x="3984" y="2026"/>
                    </a:lnTo>
                    <a:lnTo>
                      <a:pt x="3982" y="2022"/>
                    </a:lnTo>
                    <a:lnTo>
                      <a:pt x="3982" y="2022"/>
                    </a:lnTo>
                    <a:lnTo>
                      <a:pt x="3982" y="2014"/>
                    </a:lnTo>
                    <a:lnTo>
                      <a:pt x="3978" y="2010"/>
                    </a:lnTo>
                    <a:lnTo>
                      <a:pt x="3978" y="2006"/>
                    </a:lnTo>
                    <a:lnTo>
                      <a:pt x="3980" y="2000"/>
                    </a:lnTo>
                    <a:lnTo>
                      <a:pt x="3980" y="2000"/>
                    </a:lnTo>
                    <a:lnTo>
                      <a:pt x="3984" y="1994"/>
                    </a:lnTo>
                    <a:lnTo>
                      <a:pt x="3982" y="1988"/>
                    </a:lnTo>
                    <a:lnTo>
                      <a:pt x="3978" y="1984"/>
                    </a:lnTo>
                    <a:lnTo>
                      <a:pt x="3974" y="1976"/>
                    </a:lnTo>
                    <a:lnTo>
                      <a:pt x="3974" y="1976"/>
                    </a:lnTo>
                    <a:lnTo>
                      <a:pt x="3970" y="1972"/>
                    </a:lnTo>
                    <a:lnTo>
                      <a:pt x="3970" y="1974"/>
                    </a:lnTo>
                    <a:lnTo>
                      <a:pt x="3966" y="1978"/>
                    </a:lnTo>
                    <a:lnTo>
                      <a:pt x="3962" y="1980"/>
                    </a:lnTo>
                    <a:lnTo>
                      <a:pt x="3958" y="1982"/>
                    </a:lnTo>
                    <a:lnTo>
                      <a:pt x="3958" y="1982"/>
                    </a:lnTo>
                    <a:lnTo>
                      <a:pt x="3954" y="1982"/>
                    </a:lnTo>
                    <a:lnTo>
                      <a:pt x="3954" y="1984"/>
                    </a:lnTo>
                    <a:lnTo>
                      <a:pt x="3960" y="1990"/>
                    </a:lnTo>
                    <a:lnTo>
                      <a:pt x="3966" y="1998"/>
                    </a:lnTo>
                    <a:lnTo>
                      <a:pt x="3968" y="2004"/>
                    </a:lnTo>
                    <a:lnTo>
                      <a:pt x="3970" y="2008"/>
                    </a:lnTo>
                    <a:lnTo>
                      <a:pt x="3970" y="2008"/>
                    </a:lnTo>
                    <a:lnTo>
                      <a:pt x="3966" y="2016"/>
                    </a:lnTo>
                    <a:lnTo>
                      <a:pt x="3964" y="2018"/>
                    </a:lnTo>
                    <a:lnTo>
                      <a:pt x="3962" y="2018"/>
                    </a:lnTo>
                    <a:lnTo>
                      <a:pt x="3960" y="2020"/>
                    </a:lnTo>
                    <a:lnTo>
                      <a:pt x="3960" y="2020"/>
                    </a:lnTo>
                    <a:lnTo>
                      <a:pt x="3960" y="2024"/>
                    </a:lnTo>
                    <a:lnTo>
                      <a:pt x="3962" y="2024"/>
                    </a:lnTo>
                    <a:lnTo>
                      <a:pt x="3964" y="2026"/>
                    </a:lnTo>
                    <a:lnTo>
                      <a:pt x="3966" y="2028"/>
                    </a:lnTo>
                    <a:lnTo>
                      <a:pt x="3966" y="2030"/>
                    </a:lnTo>
                    <a:lnTo>
                      <a:pt x="3962" y="2034"/>
                    </a:lnTo>
                    <a:lnTo>
                      <a:pt x="3962" y="2034"/>
                    </a:lnTo>
                    <a:lnTo>
                      <a:pt x="3958" y="2038"/>
                    </a:lnTo>
                    <a:lnTo>
                      <a:pt x="3954" y="2038"/>
                    </a:lnTo>
                    <a:lnTo>
                      <a:pt x="3954" y="2036"/>
                    </a:lnTo>
                    <a:lnTo>
                      <a:pt x="3952" y="2034"/>
                    </a:lnTo>
                    <a:lnTo>
                      <a:pt x="3952" y="2030"/>
                    </a:lnTo>
                    <a:lnTo>
                      <a:pt x="3950" y="2028"/>
                    </a:lnTo>
                    <a:lnTo>
                      <a:pt x="3946" y="2030"/>
                    </a:lnTo>
                    <a:lnTo>
                      <a:pt x="3946" y="2030"/>
                    </a:lnTo>
                    <a:lnTo>
                      <a:pt x="3940" y="2032"/>
                    </a:lnTo>
                    <a:lnTo>
                      <a:pt x="3936" y="2034"/>
                    </a:lnTo>
                    <a:lnTo>
                      <a:pt x="3932" y="2036"/>
                    </a:lnTo>
                    <a:lnTo>
                      <a:pt x="3934" y="2044"/>
                    </a:lnTo>
                    <a:lnTo>
                      <a:pt x="3934" y="2044"/>
                    </a:lnTo>
                    <a:lnTo>
                      <a:pt x="3936" y="2054"/>
                    </a:lnTo>
                    <a:lnTo>
                      <a:pt x="3938" y="2066"/>
                    </a:lnTo>
                    <a:lnTo>
                      <a:pt x="3936" y="2078"/>
                    </a:lnTo>
                    <a:lnTo>
                      <a:pt x="3930" y="2090"/>
                    </a:lnTo>
                    <a:lnTo>
                      <a:pt x="3930" y="2090"/>
                    </a:lnTo>
                    <a:lnTo>
                      <a:pt x="3928" y="2098"/>
                    </a:lnTo>
                    <a:lnTo>
                      <a:pt x="3928" y="2104"/>
                    </a:lnTo>
                    <a:lnTo>
                      <a:pt x="3930" y="2108"/>
                    </a:lnTo>
                    <a:lnTo>
                      <a:pt x="3928" y="2118"/>
                    </a:lnTo>
                    <a:lnTo>
                      <a:pt x="3928" y="2118"/>
                    </a:lnTo>
                    <a:lnTo>
                      <a:pt x="3926" y="2124"/>
                    </a:lnTo>
                    <a:lnTo>
                      <a:pt x="3928" y="2128"/>
                    </a:lnTo>
                    <a:lnTo>
                      <a:pt x="3930" y="2132"/>
                    </a:lnTo>
                    <a:lnTo>
                      <a:pt x="3934" y="2134"/>
                    </a:lnTo>
                    <a:lnTo>
                      <a:pt x="3934" y="2136"/>
                    </a:lnTo>
                    <a:lnTo>
                      <a:pt x="3932" y="2136"/>
                    </a:lnTo>
                    <a:lnTo>
                      <a:pt x="3932" y="2136"/>
                    </a:lnTo>
                    <a:close/>
                    <a:moveTo>
                      <a:pt x="4070" y="2610"/>
                    </a:moveTo>
                    <a:lnTo>
                      <a:pt x="4070" y="2610"/>
                    </a:lnTo>
                    <a:lnTo>
                      <a:pt x="4068" y="2602"/>
                    </a:lnTo>
                    <a:lnTo>
                      <a:pt x="4068" y="2594"/>
                    </a:lnTo>
                    <a:lnTo>
                      <a:pt x="4070" y="2586"/>
                    </a:lnTo>
                    <a:lnTo>
                      <a:pt x="4072" y="2580"/>
                    </a:lnTo>
                    <a:lnTo>
                      <a:pt x="4078" y="2572"/>
                    </a:lnTo>
                    <a:lnTo>
                      <a:pt x="4078" y="2570"/>
                    </a:lnTo>
                    <a:lnTo>
                      <a:pt x="4076" y="2568"/>
                    </a:lnTo>
                    <a:lnTo>
                      <a:pt x="4076" y="2568"/>
                    </a:lnTo>
                    <a:lnTo>
                      <a:pt x="4072" y="2570"/>
                    </a:lnTo>
                    <a:lnTo>
                      <a:pt x="4068" y="2572"/>
                    </a:lnTo>
                    <a:lnTo>
                      <a:pt x="4062" y="2582"/>
                    </a:lnTo>
                    <a:lnTo>
                      <a:pt x="4054" y="2590"/>
                    </a:lnTo>
                    <a:lnTo>
                      <a:pt x="4050" y="2592"/>
                    </a:lnTo>
                    <a:lnTo>
                      <a:pt x="4044" y="2592"/>
                    </a:lnTo>
                    <a:lnTo>
                      <a:pt x="4044" y="2592"/>
                    </a:lnTo>
                    <a:lnTo>
                      <a:pt x="4040" y="2592"/>
                    </a:lnTo>
                    <a:lnTo>
                      <a:pt x="4038" y="2590"/>
                    </a:lnTo>
                    <a:lnTo>
                      <a:pt x="4036" y="2586"/>
                    </a:lnTo>
                    <a:lnTo>
                      <a:pt x="4034" y="2582"/>
                    </a:lnTo>
                    <a:lnTo>
                      <a:pt x="4032" y="2580"/>
                    </a:lnTo>
                    <a:lnTo>
                      <a:pt x="4028" y="2578"/>
                    </a:lnTo>
                    <a:lnTo>
                      <a:pt x="4022" y="2578"/>
                    </a:lnTo>
                    <a:lnTo>
                      <a:pt x="4022" y="2578"/>
                    </a:lnTo>
                    <a:lnTo>
                      <a:pt x="4012" y="2576"/>
                    </a:lnTo>
                    <a:lnTo>
                      <a:pt x="4004" y="2570"/>
                    </a:lnTo>
                    <a:lnTo>
                      <a:pt x="3994" y="2562"/>
                    </a:lnTo>
                    <a:lnTo>
                      <a:pt x="3984" y="2554"/>
                    </a:lnTo>
                    <a:lnTo>
                      <a:pt x="3966" y="2534"/>
                    </a:lnTo>
                    <a:lnTo>
                      <a:pt x="3952" y="2516"/>
                    </a:lnTo>
                    <a:lnTo>
                      <a:pt x="3952" y="2516"/>
                    </a:lnTo>
                    <a:lnTo>
                      <a:pt x="3946" y="2510"/>
                    </a:lnTo>
                    <a:lnTo>
                      <a:pt x="3940" y="2506"/>
                    </a:lnTo>
                    <a:lnTo>
                      <a:pt x="3934" y="2504"/>
                    </a:lnTo>
                    <a:lnTo>
                      <a:pt x="3930" y="2504"/>
                    </a:lnTo>
                    <a:lnTo>
                      <a:pt x="3926" y="2508"/>
                    </a:lnTo>
                    <a:lnTo>
                      <a:pt x="3924" y="2512"/>
                    </a:lnTo>
                    <a:lnTo>
                      <a:pt x="3924" y="2520"/>
                    </a:lnTo>
                    <a:lnTo>
                      <a:pt x="3928" y="2530"/>
                    </a:lnTo>
                    <a:lnTo>
                      <a:pt x="3928" y="2530"/>
                    </a:lnTo>
                    <a:lnTo>
                      <a:pt x="3932" y="2540"/>
                    </a:lnTo>
                    <a:lnTo>
                      <a:pt x="3932" y="2546"/>
                    </a:lnTo>
                    <a:lnTo>
                      <a:pt x="3932" y="2552"/>
                    </a:lnTo>
                    <a:lnTo>
                      <a:pt x="3930" y="2556"/>
                    </a:lnTo>
                    <a:lnTo>
                      <a:pt x="3928" y="2564"/>
                    </a:lnTo>
                    <a:lnTo>
                      <a:pt x="3926" y="2568"/>
                    </a:lnTo>
                    <a:lnTo>
                      <a:pt x="3928" y="2574"/>
                    </a:lnTo>
                    <a:lnTo>
                      <a:pt x="3928" y="2574"/>
                    </a:lnTo>
                    <a:lnTo>
                      <a:pt x="3928" y="2580"/>
                    </a:lnTo>
                    <a:lnTo>
                      <a:pt x="3928" y="2584"/>
                    </a:lnTo>
                    <a:lnTo>
                      <a:pt x="3922" y="2594"/>
                    </a:lnTo>
                    <a:lnTo>
                      <a:pt x="3918" y="2602"/>
                    </a:lnTo>
                    <a:lnTo>
                      <a:pt x="3916" y="2606"/>
                    </a:lnTo>
                    <a:lnTo>
                      <a:pt x="3916" y="2610"/>
                    </a:lnTo>
                    <a:lnTo>
                      <a:pt x="3916" y="2610"/>
                    </a:lnTo>
                    <a:lnTo>
                      <a:pt x="3918" y="2620"/>
                    </a:lnTo>
                    <a:lnTo>
                      <a:pt x="3918" y="2630"/>
                    </a:lnTo>
                    <a:lnTo>
                      <a:pt x="3914" y="2634"/>
                    </a:lnTo>
                    <a:lnTo>
                      <a:pt x="3912" y="2636"/>
                    </a:lnTo>
                    <a:lnTo>
                      <a:pt x="3906" y="2636"/>
                    </a:lnTo>
                    <a:lnTo>
                      <a:pt x="3900" y="2632"/>
                    </a:lnTo>
                    <a:lnTo>
                      <a:pt x="3900" y="2632"/>
                    </a:lnTo>
                    <a:lnTo>
                      <a:pt x="3886" y="2626"/>
                    </a:lnTo>
                    <a:lnTo>
                      <a:pt x="3876" y="2624"/>
                    </a:lnTo>
                    <a:lnTo>
                      <a:pt x="3874" y="2624"/>
                    </a:lnTo>
                    <a:lnTo>
                      <a:pt x="3872" y="2628"/>
                    </a:lnTo>
                    <a:lnTo>
                      <a:pt x="3874" y="2630"/>
                    </a:lnTo>
                    <a:lnTo>
                      <a:pt x="3878" y="2636"/>
                    </a:lnTo>
                    <a:lnTo>
                      <a:pt x="3878" y="2636"/>
                    </a:lnTo>
                    <a:lnTo>
                      <a:pt x="3880" y="2640"/>
                    </a:lnTo>
                    <a:lnTo>
                      <a:pt x="3880" y="2642"/>
                    </a:lnTo>
                    <a:lnTo>
                      <a:pt x="3878" y="2648"/>
                    </a:lnTo>
                    <a:lnTo>
                      <a:pt x="3872" y="2656"/>
                    </a:lnTo>
                    <a:lnTo>
                      <a:pt x="3866" y="2662"/>
                    </a:lnTo>
                    <a:lnTo>
                      <a:pt x="3858" y="2670"/>
                    </a:lnTo>
                    <a:lnTo>
                      <a:pt x="3854" y="2676"/>
                    </a:lnTo>
                    <a:lnTo>
                      <a:pt x="3852" y="2680"/>
                    </a:lnTo>
                    <a:lnTo>
                      <a:pt x="3852" y="2682"/>
                    </a:lnTo>
                    <a:lnTo>
                      <a:pt x="3854" y="2686"/>
                    </a:lnTo>
                    <a:lnTo>
                      <a:pt x="3856" y="2690"/>
                    </a:lnTo>
                    <a:lnTo>
                      <a:pt x="3856" y="2690"/>
                    </a:lnTo>
                    <a:lnTo>
                      <a:pt x="3862" y="2694"/>
                    </a:lnTo>
                    <a:lnTo>
                      <a:pt x="3866" y="2700"/>
                    </a:lnTo>
                    <a:lnTo>
                      <a:pt x="3866" y="2706"/>
                    </a:lnTo>
                    <a:lnTo>
                      <a:pt x="3864" y="2710"/>
                    </a:lnTo>
                    <a:lnTo>
                      <a:pt x="3860" y="2722"/>
                    </a:lnTo>
                    <a:lnTo>
                      <a:pt x="3862" y="2726"/>
                    </a:lnTo>
                    <a:lnTo>
                      <a:pt x="3864" y="2732"/>
                    </a:lnTo>
                    <a:lnTo>
                      <a:pt x="3864" y="2732"/>
                    </a:lnTo>
                    <a:lnTo>
                      <a:pt x="3866" y="2734"/>
                    </a:lnTo>
                    <a:lnTo>
                      <a:pt x="3870" y="2736"/>
                    </a:lnTo>
                    <a:lnTo>
                      <a:pt x="3874" y="2732"/>
                    </a:lnTo>
                    <a:lnTo>
                      <a:pt x="3880" y="2720"/>
                    </a:lnTo>
                    <a:lnTo>
                      <a:pt x="3880" y="2720"/>
                    </a:lnTo>
                    <a:lnTo>
                      <a:pt x="3884" y="2712"/>
                    </a:lnTo>
                    <a:lnTo>
                      <a:pt x="3888" y="2710"/>
                    </a:lnTo>
                    <a:lnTo>
                      <a:pt x="3890" y="2712"/>
                    </a:lnTo>
                    <a:lnTo>
                      <a:pt x="3896" y="2714"/>
                    </a:lnTo>
                    <a:lnTo>
                      <a:pt x="3900" y="2714"/>
                    </a:lnTo>
                    <a:lnTo>
                      <a:pt x="3908" y="2712"/>
                    </a:lnTo>
                    <a:lnTo>
                      <a:pt x="3908" y="2712"/>
                    </a:lnTo>
                    <a:lnTo>
                      <a:pt x="3912" y="2710"/>
                    </a:lnTo>
                    <a:lnTo>
                      <a:pt x="3910" y="2706"/>
                    </a:lnTo>
                    <a:lnTo>
                      <a:pt x="3894" y="2698"/>
                    </a:lnTo>
                    <a:lnTo>
                      <a:pt x="3886" y="2692"/>
                    </a:lnTo>
                    <a:lnTo>
                      <a:pt x="3878" y="2686"/>
                    </a:lnTo>
                    <a:lnTo>
                      <a:pt x="3874" y="2680"/>
                    </a:lnTo>
                    <a:lnTo>
                      <a:pt x="3874" y="2676"/>
                    </a:lnTo>
                    <a:lnTo>
                      <a:pt x="3876" y="2672"/>
                    </a:lnTo>
                    <a:lnTo>
                      <a:pt x="3876" y="2672"/>
                    </a:lnTo>
                    <a:lnTo>
                      <a:pt x="3882" y="2666"/>
                    </a:lnTo>
                    <a:lnTo>
                      <a:pt x="3886" y="2666"/>
                    </a:lnTo>
                    <a:lnTo>
                      <a:pt x="3888" y="2668"/>
                    </a:lnTo>
                    <a:lnTo>
                      <a:pt x="3892" y="2670"/>
                    </a:lnTo>
                    <a:lnTo>
                      <a:pt x="3896" y="2674"/>
                    </a:lnTo>
                    <a:lnTo>
                      <a:pt x="3900" y="2676"/>
                    </a:lnTo>
                    <a:lnTo>
                      <a:pt x="3906" y="2676"/>
                    </a:lnTo>
                    <a:lnTo>
                      <a:pt x="3912" y="2674"/>
                    </a:lnTo>
                    <a:lnTo>
                      <a:pt x="3912" y="2674"/>
                    </a:lnTo>
                    <a:lnTo>
                      <a:pt x="3918" y="2670"/>
                    </a:lnTo>
                    <a:lnTo>
                      <a:pt x="3924" y="2668"/>
                    </a:lnTo>
                    <a:lnTo>
                      <a:pt x="3930" y="2666"/>
                    </a:lnTo>
                    <a:lnTo>
                      <a:pt x="3936" y="2668"/>
                    </a:lnTo>
                    <a:lnTo>
                      <a:pt x="3954" y="2678"/>
                    </a:lnTo>
                    <a:lnTo>
                      <a:pt x="3984" y="2698"/>
                    </a:lnTo>
                    <a:lnTo>
                      <a:pt x="3984" y="2698"/>
                    </a:lnTo>
                    <a:lnTo>
                      <a:pt x="3992" y="2700"/>
                    </a:lnTo>
                    <a:lnTo>
                      <a:pt x="3996" y="2698"/>
                    </a:lnTo>
                    <a:lnTo>
                      <a:pt x="4000" y="2692"/>
                    </a:lnTo>
                    <a:lnTo>
                      <a:pt x="4002" y="2684"/>
                    </a:lnTo>
                    <a:lnTo>
                      <a:pt x="4008" y="2664"/>
                    </a:lnTo>
                    <a:lnTo>
                      <a:pt x="4012" y="2656"/>
                    </a:lnTo>
                    <a:lnTo>
                      <a:pt x="4018" y="2652"/>
                    </a:lnTo>
                    <a:lnTo>
                      <a:pt x="4018" y="2652"/>
                    </a:lnTo>
                    <a:lnTo>
                      <a:pt x="4030" y="2648"/>
                    </a:lnTo>
                    <a:lnTo>
                      <a:pt x="4042" y="2646"/>
                    </a:lnTo>
                    <a:lnTo>
                      <a:pt x="4054" y="2644"/>
                    </a:lnTo>
                    <a:lnTo>
                      <a:pt x="4068" y="2640"/>
                    </a:lnTo>
                    <a:lnTo>
                      <a:pt x="4068" y="2640"/>
                    </a:lnTo>
                    <a:lnTo>
                      <a:pt x="4090" y="2630"/>
                    </a:lnTo>
                    <a:lnTo>
                      <a:pt x="4096" y="2626"/>
                    </a:lnTo>
                    <a:lnTo>
                      <a:pt x="4096" y="2624"/>
                    </a:lnTo>
                    <a:lnTo>
                      <a:pt x="4094" y="2622"/>
                    </a:lnTo>
                    <a:lnTo>
                      <a:pt x="4094" y="2622"/>
                    </a:lnTo>
                    <a:lnTo>
                      <a:pt x="4092" y="2620"/>
                    </a:lnTo>
                    <a:lnTo>
                      <a:pt x="4090" y="2620"/>
                    </a:lnTo>
                    <a:lnTo>
                      <a:pt x="4084" y="2622"/>
                    </a:lnTo>
                    <a:lnTo>
                      <a:pt x="4082" y="2622"/>
                    </a:lnTo>
                    <a:lnTo>
                      <a:pt x="4078" y="2622"/>
                    </a:lnTo>
                    <a:lnTo>
                      <a:pt x="4074" y="2618"/>
                    </a:lnTo>
                    <a:lnTo>
                      <a:pt x="4070" y="2610"/>
                    </a:lnTo>
                    <a:lnTo>
                      <a:pt x="4070" y="2610"/>
                    </a:lnTo>
                    <a:close/>
                    <a:moveTo>
                      <a:pt x="3802" y="2924"/>
                    </a:moveTo>
                    <a:lnTo>
                      <a:pt x="3802" y="2924"/>
                    </a:lnTo>
                    <a:lnTo>
                      <a:pt x="3806" y="2916"/>
                    </a:lnTo>
                    <a:lnTo>
                      <a:pt x="3806" y="2908"/>
                    </a:lnTo>
                    <a:lnTo>
                      <a:pt x="3804" y="2906"/>
                    </a:lnTo>
                    <a:lnTo>
                      <a:pt x="3802" y="2904"/>
                    </a:lnTo>
                    <a:lnTo>
                      <a:pt x="3800" y="2906"/>
                    </a:lnTo>
                    <a:lnTo>
                      <a:pt x="3796" y="2910"/>
                    </a:lnTo>
                    <a:lnTo>
                      <a:pt x="3796" y="2910"/>
                    </a:lnTo>
                    <a:lnTo>
                      <a:pt x="3792" y="2914"/>
                    </a:lnTo>
                    <a:lnTo>
                      <a:pt x="3792" y="2918"/>
                    </a:lnTo>
                    <a:lnTo>
                      <a:pt x="3792" y="2922"/>
                    </a:lnTo>
                    <a:lnTo>
                      <a:pt x="3792" y="2924"/>
                    </a:lnTo>
                    <a:lnTo>
                      <a:pt x="3794" y="2926"/>
                    </a:lnTo>
                    <a:lnTo>
                      <a:pt x="3798" y="2928"/>
                    </a:lnTo>
                    <a:lnTo>
                      <a:pt x="3800" y="2926"/>
                    </a:lnTo>
                    <a:lnTo>
                      <a:pt x="3802" y="2924"/>
                    </a:lnTo>
                    <a:lnTo>
                      <a:pt x="3802" y="2924"/>
                    </a:lnTo>
                    <a:close/>
                    <a:moveTo>
                      <a:pt x="3594" y="3018"/>
                    </a:moveTo>
                    <a:lnTo>
                      <a:pt x="3594" y="3018"/>
                    </a:lnTo>
                    <a:lnTo>
                      <a:pt x="3596" y="3016"/>
                    </a:lnTo>
                    <a:lnTo>
                      <a:pt x="3596" y="3014"/>
                    </a:lnTo>
                    <a:lnTo>
                      <a:pt x="3594" y="3010"/>
                    </a:lnTo>
                    <a:lnTo>
                      <a:pt x="3592" y="3010"/>
                    </a:lnTo>
                    <a:lnTo>
                      <a:pt x="3592" y="3010"/>
                    </a:lnTo>
                    <a:lnTo>
                      <a:pt x="3590" y="3012"/>
                    </a:lnTo>
                    <a:lnTo>
                      <a:pt x="3588" y="3014"/>
                    </a:lnTo>
                    <a:lnTo>
                      <a:pt x="3590" y="3018"/>
                    </a:lnTo>
                    <a:lnTo>
                      <a:pt x="3594" y="3018"/>
                    </a:lnTo>
                    <a:lnTo>
                      <a:pt x="3594" y="3018"/>
                    </a:lnTo>
                    <a:close/>
                    <a:moveTo>
                      <a:pt x="3048" y="4040"/>
                    </a:moveTo>
                    <a:lnTo>
                      <a:pt x="3048" y="4040"/>
                    </a:lnTo>
                    <a:lnTo>
                      <a:pt x="3046" y="4042"/>
                    </a:lnTo>
                    <a:lnTo>
                      <a:pt x="3044" y="4044"/>
                    </a:lnTo>
                    <a:lnTo>
                      <a:pt x="3042" y="4050"/>
                    </a:lnTo>
                    <a:lnTo>
                      <a:pt x="3044" y="4056"/>
                    </a:lnTo>
                    <a:lnTo>
                      <a:pt x="3046" y="4062"/>
                    </a:lnTo>
                    <a:lnTo>
                      <a:pt x="3046" y="4062"/>
                    </a:lnTo>
                    <a:lnTo>
                      <a:pt x="3048" y="4064"/>
                    </a:lnTo>
                    <a:lnTo>
                      <a:pt x="3050" y="4068"/>
                    </a:lnTo>
                    <a:lnTo>
                      <a:pt x="3052" y="4098"/>
                    </a:lnTo>
                    <a:lnTo>
                      <a:pt x="3052" y="4098"/>
                    </a:lnTo>
                    <a:lnTo>
                      <a:pt x="3054" y="4116"/>
                    </a:lnTo>
                    <a:lnTo>
                      <a:pt x="3056" y="4120"/>
                    </a:lnTo>
                    <a:lnTo>
                      <a:pt x="3058" y="4120"/>
                    </a:lnTo>
                    <a:lnTo>
                      <a:pt x="3062" y="4120"/>
                    </a:lnTo>
                    <a:lnTo>
                      <a:pt x="3064" y="4122"/>
                    </a:lnTo>
                    <a:lnTo>
                      <a:pt x="3066" y="4126"/>
                    </a:lnTo>
                    <a:lnTo>
                      <a:pt x="3066" y="4126"/>
                    </a:lnTo>
                    <a:lnTo>
                      <a:pt x="3070" y="4134"/>
                    </a:lnTo>
                    <a:lnTo>
                      <a:pt x="3074" y="4138"/>
                    </a:lnTo>
                    <a:lnTo>
                      <a:pt x="3076" y="4134"/>
                    </a:lnTo>
                    <a:lnTo>
                      <a:pt x="3076" y="4128"/>
                    </a:lnTo>
                    <a:lnTo>
                      <a:pt x="3076" y="4128"/>
                    </a:lnTo>
                    <a:lnTo>
                      <a:pt x="3078" y="4120"/>
                    </a:lnTo>
                    <a:lnTo>
                      <a:pt x="3078" y="4118"/>
                    </a:lnTo>
                    <a:lnTo>
                      <a:pt x="3082" y="4118"/>
                    </a:lnTo>
                    <a:lnTo>
                      <a:pt x="3086" y="4122"/>
                    </a:lnTo>
                    <a:lnTo>
                      <a:pt x="3086" y="4122"/>
                    </a:lnTo>
                    <a:lnTo>
                      <a:pt x="3090" y="4126"/>
                    </a:lnTo>
                    <a:lnTo>
                      <a:pt x="3092" y="4130"/>
                    </a:lnTo>
                    <a:lnTo>
                      <a:pt x="3090" y="4134"/>
                    </a:lnTo>
                    <a:lnTo>
                      <a:pt x="3086" y="4140"/>
                    </a:lnTo>
                    <a:lnTo>
                      <a:pt x="3086" y="4140"/>
                    </a:lnTo>
                    <a:lnTo>
                      <a:pt x="3080" y="4146"/>
                    </a:lnTo>
                    <a:lnTo>
                      <a:pt x="3076" y="4156"/>
                    </a:lnTo>
                    <a:lnTo>
                      <a:pt x="3078" y="4164"/>
                    </a:lnTo>
                    <a:lnTo>
                      <a:pt x="3078" y="4166"/>
                    </a:lnTo>
                    <a:lnTo>
                      <a:pt x="3082" y="4166"/>
                    </a:lnTo>
                    <a:lnTo>
                      <a:pt x="3082" y="4166"/>
                    </a:lnTo>
                    <a:lnTo>
                      <a:pt x="3084" y="4164"/>
                    </a:lnTo>
                    <a:lnTo>
                      <a:pt x="3088" y="4166"/>
                    </a:lnTo>
                    <a:lnTo>
                      <a:pt x="3092" y="4170"/>
                    </a:lnTo>
                    <a:lnTo>
                      <a:pt x="3096" y="4174"/>
                    </a:lnTo>
                    <a:lnTo>
                      <a:pt x="3100" y="4176"/>
                    </a:lnTo>
                    <a:lnTo>
                      <a:pt x="3104" y="4178"/>
                    </a:lnTo>
                    <a:lnTo>
                      <a:pt x="3104" y="4178"/>
                    </a:lnTo>
                    <a:lnTo>
                      <a:pt x="3112" y="4176"/>
                    </a:lnTo>
                    <a:lnTo>
                      <a:pt x="3112" y="4174"/>
                    </a:lnTo>
                    <a:lnTo>
                      <a:pt x="3112" y="4168"/>
                    </a:lnTo>
                    <a:lnTo>
                      <a:pt x="3112" y="4166"/>
                    </a:lnTo>
                    <a:lnTo>
                      <a:pt x="3116" y="4164"/>
                    </a:lnTo>
                    <a:lnTo>
                      <a:pt x="3116" y="4164"/>
                    </a:lnTo>
                    <a:lnTo>
                      <a:pt x="3120" y="4160"/>
                    </a:lnTo>
                    <a:lnTo>
                      <a:pt x="3124" y="4160"/>
                    </a:lnTo>
                    <a:lnTo>
                      <a:pt x="3138" y="4172"/>
                    </a:lnTo>
                    <a:lnTo>
                      <a:pt x="3138" y="4172"/>
                    </a:lnTo>
                    <a:lnTo>
                      <a:pt x="3144" y="4176"/>
                    </a:lnTo>
                    <a:lnTo>
                      <a:pt x="3148" y="4180"/>
                    </a:lnTo>
                    <a:lnTo>
                      <a:pt x="3152" y="4188"/>
                    </a:lnTo>
                    <a:lnTo>
                      <a:pt x="3154" y="4196"/>
                    </a:lnTo>
                    <a:lnTo>
                      <a:pt x="3156" y="4198"/>
                    </a:lnTo>
                    <a:lnTo>
                      <a:pt x="3158" y="4198"/>
                    </a:lnTo>
                    <a:lnTo>
                      <a:pt x="3158" y="4198"/>
                    </a:lnTo>
                    <a:lnTo>
                      <a:pt x="3162" y="4198"/>
                    </a:lnTo>
                    <a:lnTo>
                      <a:pt x="3162" y="4196"/>
                    </a:lnTo>
                    <a:lnTo>
                      <a:pt x="3162" y="4188"/>
                    </a:lnTo>
                    <a:lnTo>
                      <a:pt x="3154" y="4170"/>
                    </a:lnTo>
                    <a:lnTo>
                      <a:pt x="3154" y="4170"/>
                    </a:lnTo>
                    <a:lnTo>
                      <a:pt x="3154" y="4166"/>
                    </a:lnTo>
                    <a:lnTo>
                      <a:pt x="3154" y="4164"/>
                    </a:lnTo>
                    <a:lnTo>
                      <a:pt x="3160" y="4164"/>
                    </a:lnTo>
                    <a:lnTo>
                      <a:pt x="3164" y="4168"/>
                    </a:lnTo>
                    <a:lnTo>
                      <a:pt x="3168" y="4174"/>
                    </a:lnTo>
                    <a:lnTo>
                      <a:pt x="3168" y="4174"/>
                    </a:lnTo>
                    <a:lnTo>
                      <a:pt x="3172" y="4180"/>
                    </a:lnTo>
                    <a:lnTo>
                      <a:pt x="3176" y="4182"/>
                    </a:lnTo>
                    <a:lnTo>
                      <a:pt x="3180" y="4186"/>
                    </a:lnTo>
                    <a:lnTo>
                      <a:pt x="3184" y="4192"/>
                    </a:lnTo>
                    <a:lnTo>
                      <a:pt x="3184" y="4192"/>
                    </a:lnTo>
                    <a:lnTo>
                      <a:pt x="3186" y="4198"/>
                    </a:lnTo>
                    <a:lnTo>
                      <a:pt x="3186" y="4202"/>
                    </a:lnTo>
                    <a:lnTo>
                      <a:pt x="3188" y="4206"/>
                    </a:lnTo>
                    <a:lnTo>
                      <a:pt x="3196" y="4210"/>
                    </a:lnTo>
                    <a:lnTo>
                      <a:pt x="3196" y="4210"/>
                    </a:lnTo>
                    <a:lnTo>
                      <a:pt x="3206" y="4216"/>
                    </a:lnTo>
                    <a:lnTo>
                      <a:pt x="3210" y="4218"/>
                    </a:lnTo>
                    <a:lnTo>
                      <a:pt x="3212" y="4222"/>
                    </a:lnTo>
                    <a:lnTo>
                      <a:pt x="3212" y="4228"/>
                    </a:lnTo>
                    <a:lnTo>
                      <a:pt x="3212" y="4228"/>
                    </a:lnTo>
                    <a:lnTo>
                      <a:pt x="3216" y="4232"/>
                    </a:lnTo>
                    <a:lnTo>
                      <a:pt x="3218" y="4230"/>
                    </a:lnTo>
                    <a:lnTo>
                      <a:pt x="3220" y="4224"/>
                    </a:lnTo>
                    <a:lnTo>
                      <a:pt x="3222" y="4216"/>
                    </a:lnTo>
                    <a:lnTo>
                      <a:pt x="3222" y="4216"/>
                    </a:lnTo>
                    <a:lnTo>
                      <a:pt x="3222" y="4208"/>
                    </a:lnTo>
                    <a:lnTo>
                      <a:pt x="3220" y="4204"/>
                    </a:lnTo>
                    <a:lnTo>
                      <a:pt x="3218" y="4202"/>
                    </a:lnTo>
                    <a:lnTo>
                      <a:pt x="3210" y="4200"/>
                    </a:lnTo>
                    <a:lnTo>
                      <a:pt x="3210" y="4200"/>
                    </a:lnTo>
                    <a:lnTo>
                      <a:pt x="3206" y="4200"/>
                    </a:lnTo>
                    <a:lnTo>
                      <a:pt x="3206" y="4196"/>
                    </a:lnTo>
                    <a:lnTo>
                      <a:pt x="3206" y="4194"/>
                    </a:lnTo>
                    <a:lnTo>
                      <a:pt x="3206" y="4192"/>
                    </a:lnTo>
                    <a:lnTo>
                      <a:pt x="3204" y="4186"/>
                    </a:lnTo>
                    <a:lnTo>
                      <a:pt x="3198" y="4182"/>
                    </a:lnTo>
                    <a:lnTo>
                      <a:pt x="3198" y="4182"/>
                    </a:lnTo>
                    <a:lnTo>
                      <a:pt x="3196" y="4178"/>
                    </a:lnTo>
                    <a:lnTo>
                      <a:pt x="3194" y="4174"/>
                    </a:lnTo>
                    <a:lnTo>
                      <a:pt x="3196" y="4174"/>
                    </a:lnTo>
                    <a:lnTo>
                      <a:pt x="3198" y="4174"/>
                    </a:lnTo>
                    <a:lnTo>
                      <a:pt x="3206" y="4174"/>
                    </a:lnTo>
                    <a:lnTo>
                      <a:pt x="3210" y="4172"/>
                    </a:lnTo>
                    <a:lnTo>
                      <a:pt x="3212" y="4172"/>
                    </a:lnTo>
                    <a:lnTo>
                      <a:pt x="3212" y="4172"/>
                    </a:lnTo>
                    <a:lnTo>
                      <a:pt x="3214" y="4168"/>
                    </a:lnTo>
                    <a:lnTo>
                      <a:pt x="3210" y="4164"/>
                    </a:lnTo>
                    <a:lnTo>
                      <a:pt x="3194" y="4156"/>
                    </a:lnTo>
                    <a:lnTo>
                      <a:pt x="3194" y="4156"/>
                    </a:lnTo>
                    <a:lnTo>
                      <a:pt x="3190" y="4154"/>
                    </a:lnTo>
                    <a:lnTo>
                      <a:pt x="3186" y="4156"/>
                    </a:lnTo>
                    <a:lnTo>
                      <a:pt x="3186" y="4158"/>
                    </a:lnTo>
                    <a:lnTo>
                      <a:pt x="3184" y="4162"/>
                    </a:lnTo>
                    <a:lnTo>
                      <a:pt x="3184" y="4170"/>
                    </a:lnTo>
                    <a:lnTo>
                      <a:pt x="3182" y="4172"/>
                    </a:lnTo>
                    <a:lnTo>
                      <a:pt x="3180" y="4170"/>
                    </a:lnTo>
                    <a:lnTo>
                      <a:pt x="3180" y="4170"/>
                    </a:lnTo>
                    <a:lnTo>
                      <a:pt x="3178" y="4168"/>
                    </a:lnTo>
                    <a:lnTo>
                      <a:pt x="3176" y="4164"/>
                    </a:lnTo>
                    <a:lnTo>
                      <a:pt x="3176" y="4158"/>
                    </a:lnTo>
                    <a:lnTo>
                      <a:pt x="3176" y="4154"/>
                    </a:lnTo>
                    <a:lnTo>
                      <a:pt x="3174" y="4150"/>
                    </a:lnTo>
                    <a:lnTo>
                      <a:pt x="3170" y="4146"/>
                    </a:lnTo>
                    <a:lnTo>
                      <a:pt x="3164" y="4142"/>
                    </a:lnTo>
                    <a:lnTo>
                      <a:pt x="3164" y="4142"/>
                    </a:lnTo>
                    <a:lnTo>
                      <a:pt x="3158" y="4140"/>
                    </a:lnTo>
                    <a:lnTo>
                      <a:pt x="3154" y="4140"/>
                    </a:lnTo>
                    <a:lnTo>
                      <a:pt x="3152" y="4140"/>
                    </a:lnTo>
                    <a:lnTo>
                      <a:pt x="3150" y="4142"/>
                    </a:lnTo>
                    <a:lnTo>
                      <a:pt x="3148" y="4146"/>
                    </a:lnTo>
                    <a:lnTo>
                      <a:pt x="3148" y="4146"/>
                    </a:lnTo>
                    <a:lnTo>
                      <a:pt x="3144" y="4146"/>
                    </a:lnTo>
                    <a:lnTo>
                      <a:pt x="3144" y="4146"/>
                    </a:lnTo>
                    <a:lnTo>
                      <a:pt x="3142" y="4146"/>
                    </a:lnTo>
                    <a:lnTo>
                      <a:pt x="3140" y="4148"/>
                    </a:lnTo>
                    <a:lnTo>
                      <a:pt x="3140" y="4152"/>
                    </a:lnTo>
                    <a:lnTo>
                      <a:pt x="3140" y="4158"/>
                    </a:lnTo>
                    <a:lnTo>
                      <a:pt x="3138" y="4158"/>
                    </a:lnTo>
                    <a:lnTo>
                      <a:pt x="3136" y="4158"/>
                    </a:lnTo>
                    <a:lnTo>
                      <a:pt x="3136" y="4158"/>
                    </a:lnTo>
                    <a:lnTo>
                      <a:pt x="3130" y="4156"/>
                    </a:lnTo>
                    <a:lnTo>
                      <a:pt x="3126" y="4152"/>
                    </a:lnTo>
                    <a:lnTo>
                      <a:pt x="3122" y="4142"/>
                    </a:lnTo>
                    <a:lnTo>
                      <a:pt x="3120" y="4132"/>
                    </a:lnTo>
                    <a:lnTo>
                      <a:pt x="3120" y="4124"/>
                    </a:lnTo>
                    <a:lnTo>
                      <a:pt x="3120" y="4124"/>
                    </a:lnTo>
                    <a:lnTo>
                      <a:pt x="3120" y="4120"/>
                    </a:lnTo>
                    <a:lnTo>
                      <a:pt x="3120" y="4116"/>
                    </a:lnTo>
                    <a:lnTo>
                      <a:pt x="3116" y="4104"/>
                    </a:lnTo>
                    <a:lnTo>
                      <a:pt x="3112" y="4092"/>
                    </a:lnTo>
                    <a:lnTo>
                      <a:pt x="3112" y="4086"/>
                    </a:lnTo>
                    <a:lnTo>
                      <a:pt x="3116" y="4082"/>
                    </a:lnTo>
                    <a:lnTo>
                      <a:pt x="3116" y="4082"/>
                    </a:lnTo>
                    <a:lnTo>
                      <a:pt x="3120" y="4072"/>
                    </a:lnTo>
                    <a:lnTo>
                      <a:pt x="3120" y="4066"/>
                    </a:lnTo>
                    <a:lnTo>
                      <a:pt x="3120" y="4062"/>
                    </a:lnTo>
                    <a:lnTo>
                      <a:pt x="3124" y="4054"/>
                    </a:lnTo>
                    <a:lnTo>
                      <a:pt x="3124" y="4054"/>
                    </a:lnTo>
                    <a:lnTo>
                      <a:pt x="3128" y="4052"/>
                    </a:lnTo>
                    <a:lnTo>
                      <a:pt x="3130" y="4050"/>
                    </a:lnTo>
                    <a:lnTo>
                      <a:pt x="3132" y="4052"/>
                    </a:lnTo>
                    <a:lnTo>
                      <a:pt x="3134" y="4052"/>
                    </a:lnTo>
                    <a:lnTo>
                      <a:pt x="3136" y="4056"/>
                    </a:lnTo>
                    <a:lnTo>
                      <a:pt x="3136" y="4056"/>
                    </a:lnTo>
                    <a:lnTo>
                      <a:pt x="3138" y="4056"/>
                    </a:lnTo>
                    <a:lnTo>
                      <a:pt x="3138" y="4056"/>
                    </a:lnTo>
                    <a:lnTo>
                      <a:pt x="3144" y="4046"/>
                    </a:lnTo>
                    <a:lnTo>
                      <a:pt x="3148" y="4034"/>
                    </a:lnTo>
                    <a:lnTo>
                      <a:pt x="3154" y="4008"/>
                    </a:lnTo>
                    <a:lnTo>
                      <a:pt x="3154" y="4008"/>
                    </a:lnTo>
                    <a:lnTo>
                      <a:pt x="3154" y="4006"/>
                    </a:lnTo>
                    <a:lnTo>
                      <a:pt x="3152" y="4002"/>
                    </a:lnTo>
                    <a:lnTo>
                      <a:pt x="3146" y="3992"/>
                    </a:lnTo>
                    <a:lnTo>
                      <a:pt x="3144" y="3986"/>
                    </a:lnTo>
                    <a:lnTo>
                      <a:pt x="3142" y="3978"/>
                    </a:lnTo>
                    <a:lnTo>
                      <a:pt x="3142" y="3970"/>
                    </a:lnTo>
                    <a:lnTo>
                      <a:pt x="3144" y="3960"/>
                    </a:lnTo>
                    <a:lnTo>
                      <a:pt x="3144" y="3960"/>
                    </a:lnTo>
                    <a:lnTo>
                      <a:pt x="3148" y="3944"/>
                    </a:lnTo>
                    <a:lnTo>
                      <a:pt x="3146" y="3936"/>
                    </a:lnTo>
                    <a:lnTo>
                      <a:pt x="3146" y="3934"/>
                    </a:lnTo>
                    <a:lnTo>
                      <a:pt x="3142" y="3934"/>
                    </a:lnTo>
                    <a:lnTo>
                      <a:pt x="3140" y="3936"/>
                    </a:lnTo>
                    <a:lnTo>
                      <a:pt x="3136" y="3942"/>
                    </a:lnTo>
                    <a:lnTo>
                      <a:pt x="3136" y="3942"/>
                    </a:lnTo>
                    <a:lnTo>
                      <a:pt x="3132" y="3946"/>
                    </a:lnTo>
                    <a:lnTo>
                      <a:pt x="3126" y="3944"/>
                    </a:lnTo>
                    <a:lnTo>
                      <a:pt x="3122" y="3942"/>
                    </a:lnTo>
                    <a:lnTo>
                      <a:pt x="3114" y="3938"/>
                    </a:lnTo>
                    <a:lnTo>
                      <a:pt x="3100" y="3930"/>
                    </a:lnTo>
                    <a:lnTo>
                      <a:pt x="3094" y="3926"/>
                    </a:lnTo>
                    <a:lnTo>
                      <a:pt x="3086" y="3928"/>
                    </a:lnTo>
                    <a:lnTo>
                      <a:pt x="3086" y="3928"/>
                    </a:lnTo>
                    <a:lnTo>
                      <a:pt x="3076" y="3932"/>
                    </a:lnTo>
                    <a:lnTo>
                      <a:pt x="3076" y="3936"/>
                    </a:lnTo>
                    <a:lnTo>
                      <a:pt x="3074" y="3938"/>
                    </a:lnTo>
                    <a:lnTo>
                      <a:pt x="3074" y="3946"/>
                    </a:lnTo>
                    <a:lnTo>
                      <a:pt x="3074" y="3952"/>
                    </a:lnTo>
                    <a:lnTo>
                      <a:pt x="3072" y="3958"/>
                    </a:lnTo>
                    <a:lnTo>
                      <a:pt x="3072" y="3958"/>
                    </a:lnTo>
                    <a:lnTo>
                      <a:pt x="3068" y="3966"/>
                    </a:lnTo>
                    <a:lnTo>
                      <a:pt x="3068" y="3972"/>
                    </a:lnTo>
                    <a:lnTo>
                      <a:pt x="3068" y="3986"/>
                    </a:lnTo>
                    <a:lnTo>
                      <a:pt x="3070" y="4000"/>
                    </a:lnTo>
                    <a:lnTo>
                      <a:pt x="3068" y="4010"/>
                    </a:lnTo>
                    <a:lnTo>
                      <a:pt x="3066" y="4018"/>
                    </a:lnTo>
                    <a:lnTo>
                      <a:pt x="3066" y="4018"/>
                    </a:lnTo>
                    <a:lnTo>
                      <a:pt x="3064" y="4026"/>
                    </a:lnTo>
                    <a:lnTo>
                      <a:pt x="3062" y="4032"/>
                    </a:lnTo>
                    <a:lnTo>
                      <a:pt x="3064" y="4038"/>
                    </a:lnTo>
                    <a:lnTo>
                      <a:pt x="3066" y="4040"/>
                    </a:lnTo>
                    <a:lnTo>
                      <a:pt x="3068" y="4046"/>
                    </a:lnTo>
                    <a:lnTo>
                      <a:pt x="3070" y="4050"/>
                    </a:lnTo>
                    <a:lnTo>
                      <a:pt x="3068" y="4054"/>
                    </a:lnTo>
                    <a:lnTo>
                      <a:pt x="3068" y="4054"/>
                    </a:lnTo>
                    <a:lnTo>
                      <a:pt x="3066" y="4058"/>
                    </a:lnTo>
                    <a:lnTo>
                      <a:pt x="3062" y="4060"/>
                    </a:lnTo>
                    <a:lnTo>
                      <a:pt x="3060" y="4056"/>
                    </a:lnTo>
                    <a:lnTo>
                      <a:pt x="3058" y="4054"/>
                    </a:lnTo>
                    <a:lnTo>
                      <a:pt x="3052" y="4044"/>
                    </a:lnTo>
                    <a:lnTo>
                      <a:pt x="3050" y="4042"/>
                    </a:lnTo>
                    <a:lnTo>
                      <a:pt x="3048" y="4040"/>
                    </a:lnTo>
                    <a:lnTo>
                      <a:pt x="3048" y="4040"/>
                    </a:lnTo>
                    <a:close/>
                    <a:moveTo>
                      <a:pt x="3012" y="4336"/>
                    </a:moveTo>
                    <a:lnTo>
                      <a:pt x="3012" y="4336"/>
                    </a:lnTo>
                    <a:lnTo>
                      <a:pt x="2996" y="4362"/>
                    </a:lnTo>
                    <a:lnTo>
                      <a:pt x="2978" y="4384"/>
                    </a:lnTo>
                    <a:lnTo>
                      <a:pt x="2978" y="4384"/>
                    </a:lnTo>
                    <a:lnTo>
                      <a:pt x="2960" y="4400"/>
                    </a:lnTo>
                    <a:lnTo>
                      <a:pt x="2950" y="4412"/>
                    </a:lnTo>
                    <a:lnTo>
                      <a:pt x="2948" y="4420"/>
                    </a:lnTo>
                    <a:lnTo>
                      <a:pt x="2944" y="4428"/>
                    </a:lnTo>
                    <a:lnTo>
                      <a:pt x="2944" y="4428"/>
                    </a:lnTo>
                    <a:lnTo>
                      <a:pt x="2944" y="4432"/>
                    </a:lnTo>
                    <a:lnTo>
                      <a:pt x="2946" y="4434"/>
                    </a:lnTo>
                    <a:lnTo>
                      <a:pt x="2946" y="4434"/>
                    </a:lnTo>
                    <a:lnTo>
                      <a:pt x="2950" y="4432"/>
                    </a:lnTo>
                    <a:lnTo>
                      <a:pt x="2954" y="4426"/>
                    </a:lnTo>
                    <a:lnTo>
                      <a:pt x="2960" y="4422"/>
                    </a:lnTo>
                    <a:lnTo>
                      <a:pt x="2960" y="4422"/>
                    </a:lnTo>
                    <a:lnTo>
                      <a:pt x="2968" y="4410"/>
                    </a:lnTo>
                    <a:lnTo>
                      <a:pt x="2994" y="4388"/>
                    </a:lnTo>
                    <a:lnTo>
                      <a:pt x="2994" y="4388"/>
                    </a:lnTo>
                    <a:lnTo>
                      <a:pt x="3002" y="4380"/>
                    </a:lnTo>
                    <a:lnTo>
                      <a:pt x="3006" y="4372"/>
                    </a:lnTo>
                    <a:lnTo>
                      <a:pt x="3008" y="4368"/>
                    </a:lnTo>
                    <a:lnTo>
                      <a:pt x="3008" y="4364"/>
                    </a:lnTo>
                    <a:lnTo>
                      <a:pt x="3010" y="4358"/>
                    </a:lnTo>
                    <a:lnTo>
                      <a:pt x="3012" y="4356"/>
                    </a:lnTo>
                    <a:lnTo>
                      <a:pt x="3016" y="4354"/>
                    </a:lnTo>
                    <a:lnTo>
                      <a:pt x="3016" y="4354"/>
                    </a:lnTo>
                    <a:lnTo>
                      <a:pt x="3022" y="4352"/>
                    </a:lnTo>
                    <a:lnTo>
                      <a:pt x="3024" y="4350"/>
                    </a:lnTo>
                    <a:lnTo>
                      <a:pt x="3028" y="4344"/>
                    </a:lnTo>
                    <a:lnTo>
                      <a:pt x="3030" y="4338"/>
                    </a:lnTo>
                    <a:lnTo>
                      <a:pt x="3030" y="4336"/>
                    </a:lnTo>
                    <a:lnTo>
                      <a:pt x="3034" y="4336"/>
                    </a:lnTo>
                    <a:lnTo>
                      <a:pt x="3034" y="4336"/>
                    </a:lnTo>
                    <a:lnTo>
                      <a:pt x="3038" y="4334"/>
                    </a:lnTo>
                    <a:lnTo>
                      <a:pt x="3042" y="4330"/>
                    </a:lnTo>
                    <a:lnTo>
                      <a:pt x="3044" y="4324"/>
                    </a:lnTo>
                    <a:lnTo>
                      <a:pt x="3042" y="4316"/>
                    </a:lnTo>
                    <a:lnTo>
                      <a:pt x="3042" y="4316"/>
                    </a:lnTo>
                    <a:lnTo>
                      <a:pt x="3040" y="4312"/>
                    </a:lnTo>
                    <a:lnTo>
                      <a:pt x="3040" y="4306"/>
                    </a:lnTo>
                    <a:lnTo>
                      <a:pt x="3040" y="4296"/>
                    </a:lnTo>
                    <a:lnTo>
                      <a:pt x="3040" y="4288"/>
                    </a:lnTo>
                    <a:lnTo>
                      <a:pt x="3038" y="4286"/>
                    </a:lnTo>
                    <a:lnTo>
                      <a:pt x="3036" y="4284"/>
                    </a:lnTo>
                    <a:lnTo>
                      <a:pt x="3036" y="4284"/>
                    </a:lnTo>
                    <a:lnTo>
                      <a:pt x="3034" y="4284"/>
                    </a:lnTo>
                    <a:lnTo>
                      <a:pt x="3032" y="4286"/>
                    </a:lnTo>
                    <a:lnTo>
                      <a:pt x="3032" y="4294"/>
                    </a:lnTo>
                    <a:lnTo>
                      <a:pt x="3030" y="4302"/>
                    </a:lnTo>
                    <a:lnTo>
                      <a:pt x="3028" y="4304"/>
                    </a:lnTo>
                    <a:lnTo>
                      <a:pt x="3026" y="4306"/>
                    </a:lnTo>
                    <a:lnTo>
                      <a:pt x="3026" y="4306"/>
                    </a:lnTo>
                    <a:lnTo>
                      <a:pt x="3024" y="4306"/>
                    </a:lnTo>
                    <a:lnTo>
                      <a:pt x="3024" y="4308"/>
                    </a:lnTo>
                    <a:lnTo>
                      <a:pt x="3026" y="4312"/>
                    </a:lnTo>
                    <a:lnTo>
                      <a:pt x="3028" y="4318"/>
                    </a:lnTo>
                    <a:lnTo>
                      <a:pt x="3028" y="4322"/>
                    </a:lnTo>
                    <a:lnTo>
                      <a:pt x="3026" y="4326"/>
                    </a:lnTo>
                    <a:lnTo>
                      <a:pt x="3026" y="4326"/>
                    </a:lnTo>
                    <a:lnTo>
                      <a:pt x="3022" y="4330"/>
                    </a:lnTo>
                    <a:lnTo>
                      <a:pt x="3020" y="4328"/>
                    </a:lnTo>
                    <a:lnTo>
                      <a:pt x="3018" y="4328"/>
                    </a:lnTo>
                    <a:lnTo>
                      <a:pt x="3012" y="4336"/>
                    </a:lnTo>
                    <a:lnTo>
                      <a:pt x="3012" y="4336"/>
                    </a:lnTo>
                    <a:close/>
                    <a:moveTo>
                      <a:pt x="3126" y="3596"/>
                    </a:moveTo>
                    <a:lnTo>
                      <a:pt x="3126" y="3596"/>
                    </a:lnTo>
                    <a:lnTo>
                      <a:pt x="3122" y="3592"/>
                    </a:lnTo>
                    <a:lnTo>
                      <a:pt x="3118" y="3590"/>
                    </a:lnTo>
                    <a:lnTo>
                      <a:pt x="3116" y="3590"/>
                    </a:lnTo>
                    <a:lnTo>
                      <a:pt x="3114" y="3590"/>
                    </a:lnTo>
                    <a:lnTo>
                      <a:pt x="3110" y="3594"/>
                    </a:lnTo>
                    <a:lnTo>
                      <a:pt x="3104" y="3598"/>
                    </a:lnTo>
                    <a:lnTo>
                      <a:pt x="3104" y="3598"/>
                    </a:lnTo>
                    <a:lnTo>
                      <a:pt x="3098" y="3600"/>
                    </a:lnTo>
                    <a:lnTo>
                      <a:pt x="3092" y="3608"/>
                    </a:lnTo>
                    <a:lnTo>
                      <a:pt x="3072" y="3644"/>
                    </a:lnTo>
                    <a:lnTo>
                      <a:pt x="3072" y="3644"/>
                    </a:lnTo>
                    <a:lnTo>
                      <a:pt x="3062" y="3662"/>
                    </a:lnTo>
                    <a:lnTo>
                      <a:pt x="3060" y="3678"/>
                    </a:lnTo>
                    <a:lnTo>
                      <a:pt x="3060" y="3694"/>
                    </a:lnTo>
                    <a:lnTo>
                      <a:pt x="3062" y="3712"/>
                    </a:lnTo>
                    <a:lnTo>
                      <a:pt x="3062" y="3712"/>
                    </a:lnTo>
                    <a:lnTo>
                      <a:pt x="3066" y="3726"/>
                    </a:lnTo>
                    <a:lnTo>
                      <a:pt x="3070" y="3730"/>
                    </a:lnTo>
                    <a:lnTo>
                      <a:pt x="3074" y="3734"/>
                    </a:lnTo>
                    <a:lnTo>
                      <a:pt x="3078" y="3742"/>
                    </a:lnTo>
                    <a:lnTo>
                      <a:pt x="3078" y="3742"/>
                    </a:lnTo>
                    <a:lnTo>
                      <a:pt x="3082" y="3752"/>
                    </a:lnTo>
                    <a:lnTo>
                      <a:pt x="3086" y="3762"/>
                    </a:lnTo>
                    <a:lnTo>
                      <a:pt x="3088" y="3764"/>
                    </a:lnTo>
                    <a:lnTo>
                      <a:pt x="3090" y="3762"/>
                    </a:lnTo>
                    <a:lnTo>
                      <a:pt x="3090" y="3756"/>
                    </a:lnTo>
                    <a:lnTo>
                      <a:pt x="3090" y="3748"/>
                    </a:lnTo>
                    <a:lnTo>
                      <a:pt x="3090" y="3748"/>
                    </a:lnTo>
                    <a:lnTo>
                      <a:pt x="3092" y="3738"/>
                    </a:lnTo>
                    <a:lnTo>
                      <a:pt x="3094" y="3730"/>
                    </a:lnTo>
                    <a:lnTo>
                      <a:pt x="3096" y="3726"/>
                    </a:lnTo>
                    <a:lnTo>
                      <a:pt x="3098" y="3722"/>
                    </a:lnTo>
                    <a:lnTo>
                      <a:pt x="3102" y="3718"/>
                    </a:lnTo>
                    <a:lnTo>
                      <a:pt x="3106" y="3712"/>
                    </a:lnTo>
                    <a:lnTo>
                      <a:pt x="3110" y="3702"/>
                    </a:lnTo>
                    <a:lnTo>
                      <a:pt x="3114" y="3690"/>
                    </a:lnTo>
                    <a:lnTo>
                      <a:pt x="3114" y="3690"/>
                    </a:lnTo>
                    <a:lnTo>
                      <a:pt x="3120" y="3662"/>
                    </a:lnTo>
                    <a:lnTo>
                      <a:pt x="3126" y="3644"/>
                    </a:lnTo>
                    <a:lnTo>
                      <a:pt x="3130" y="3632"/>
                    </a:lnTo>
                    <a:lnTo>
                      <a:pt x="3130" y="3628"/>
                    </a:lnTo>
                    <a:lnTo>
                      <a:pt x="3128" y="3622"/>
                    </a:lnTo>
                    <a:lnTo>
                      <a:pt x="3128" y="3622"/>
                    </a:lnTo>
                    <a:lnTo>
                      <a:pt x="3128" y="3618"/>
                    </a:lnTo>
                    <a:lnTo>
                      <a:pt x="3128" y="3614"/>
                    </a:lnTo>
                    <a:lnTo>
                      <a:pt x="3130" y="3610"/>
                    </a:lnTo>
                    <a:lnTo>
                      <a:pt x="3132" y="3608"/>
                    </a:lnTo>
                    <a:lnTo>
                      <a:pt x="3132" y="3604"/>
                    </a:lnTo>
                    <a:lnTo>
                      <a:pt x="3130" y="3600"/>
                    </a:lnTo>
                    <a:lnTo>
                      <a:pt x="3126" y="3596"/>
                    </a:lnTo>
                    <a:lnTo>
                      <a:pt x="3126" y="3596"/>
                    </a:lnTo>
                    <a:close/>
                    <a:moveTo>
                      <a:pt x="4186" y="2510"/>
                    </a:moveTo>
                    <a:lnTo>
                      <a:pt x="4186" y="2510"/>
                    </a:lnTo>
                    <a:lnTo>
                      <a:pt x="4182" y="2506"/>
                    </a:lnTo>
                    <a:lnTo>
                      <a:pt x="4182" y="2510"/>
                    </a:lnTo>
                    <a:lnTo>
                      <a:pt x="4180" y="2516"/>
                    </a:lnTo>
                    <a:lnTo>
                      <a:pt x="4180" y="2518"/>
                    </a:lnTo>
                    <a:lnTo>
                      <a:pt x="4176" y="2522"/>
                    </a:lnTo>
                    <a:lnTo>
                      <a:pt x="4176" y="2522"/>
                    </a:lnTo>
                    <a:lnTo>
                      <a:pt x="4166" y="2526"/>
                    </a:lnTo>
                    <a:lnTo>
                      <a:pt x="4156" y="2534"/>
                    </a:lnTo>
                    <a:lnTo>
                      <a:pt x="4148" y="2544"/>
                    </a:lnTo>
                    <a:lnTo>
                      <a:pt x="4140" y="2558"/>
                    </a:lnTo>
                    <a:lnTo>
                      <a:pt x="4140" y="2558"/>
                    </a:lnTo>
                    <a:lnTo>
                      <a:pt x="4140" y="2560"/>
                    </a:lnTo>
                    <a:lnTo>
                      <a:pt x="4140" y="2562"/>
                    </a:lnTo>
                    <a:lnTo>
                      <a:pt x="4142" y="2564"/>
                    </a:lnTo>
                    <a:lnTo>
                      <a:pt x="4144" y="2562"/>
                    </a:lnTo>
                    <a:lnTo>
                      <a:pt x="4152" y="2556"/>
                    </a:lnTo>
                    <a:lnTo>
                      <a:pt x="4162" y="2546"/>
                    </a:lnTo>
                    <a:lnTo>
                      <a:pt x="4162" y="2546"/>
                    </a:lnTo>
                    <a:lnTo>
                      <a:pt x="4170" y="2536"/>
                    </a:lnTo>
                    <a:lnTo>
                      <a:pt x="4176" y="2532"/>
                    </a:lnTo>
                    <a:lnTo>
                      <a:pt x="4182" y="2528"/>
                    </a:lnTo>
                    <a:lnTo>
                      <a:pt x="4192" y="2522"/>
                    </a:lnTo>
                    <a:lnTo>
                      <a:pt x="4192" y="2522"/>
                    </a:lnTo>
                    <a:lnTo>
                      <a:pt x="4196" y="2518"/>
                    </a:lnTo>
                    <a:lnTo>
                      <a:pt x="4202" y="2516"/>
                    </a:lnTo>
                    <a:lnTo>
                      <a:pt x="4212" y="2512"/>
                    </a:lnTo>
                    <a:lnTo>
                      <a:pt x="4216" y="2510"/>
                    </a:lnTo>
                    <a:lnTo>
                      <a:pt x="4218" y="2508"/>
                    </a:lnTo>
                    <a:lnTo>
                      <a:pt x="4218" y="2506"/>
                    </a:lnTo>
                    <a:lnTo>
                      <a:pt x="4216" y="2502"/>
                    </a:lnTo>
                    <a:lnTo>
                      <a:pt x="4216" y="2502"/>
                    </a:lnTo>
                    <a:lnTo>
                      <a:pt x="4214" y="2500"/>
                    </a:lnTo>
                    <a:lnTo>
                      <a:pt x="4210" y="2500"/>
                    </a:lnTo>
                    <a:lnTo>
                      <a:pt x="4204" y="2504"/>
                    </a:lnTo>
                    <a:lnTo>
                      <a:pt x="4194" y="2510"/>
                    </a:lnTo>
                    <a:lnTo>
                      <a:pt x="4190" y="2510"/>
                    </a:lnTo>
                    <a:lnTo>
                      <a:pt x="4186" y="2510"/>
                    </a:lnTo>
                    <a:lnTo>
                      <a:pt x="4186" y="2510"/>
                    </a:lnTo>
                    <a:close/>
                    <a:moveTo>
                      <a:pt x="3264" y="4226"/>
                    </a:moveTo>
                    <a:lnTo>
                      <a:pt x="3264" y="4226"/>
                    </a:lnTo>
                    <a:lnTo>
                      <a:pt x="3258" y="4226"/>
                    </a:lnTo>
                    <a:lnTo>
                      <a:pt x="3250" y="4226"/>
                    </a:lnTo>
                    <a:lnTo>
                      <a:pt x="3242" y="4228"/>
                    </a:lnTo>
                    <a:lnTo>
                      <a:pt x="3234" y="4226"/>
                    </a:lnTo>
                    <a:lnTo>
                      <a:pt x="3234" y="4226"/>
                    </a:lnTo>
                    <a:lnTo>
                      <a:pt x="3230" y="4226"/>
                    </a:lnTo>
                    <a:lnTo>
                      <a:pt x="3228" y="4228"/>
                    </a:lnTo>
                    <a:lnTo>
                      <a:pt x="3228" y="4234"/>
                    </a:lnTo>
                    <a:lnTo>
                      <a:pt x="3234" y="4244"/>
                    </a:lnTo>
                    <a:lnTo>
                      <a:pt x="3242" y="4252"/>
                    </a:lnTo>
                    <a:lnTo>
                      <a:pt x="3242" y="4252"/>
                    </a:lnTo>
                    <a:lnTo>
                      <a:pt x="3246" y="4258"/>
                    </a:lnTo>
                    <a:lnTo>
                      <a:pt x="3248" y="4260"/>
                    </a:lnTo>
                    <a:lnTo>
                      <a:pt x="3250" y="4262"/>
                    </a:lnTo>
                    <a:lnTo>
                      <a:pt x="3254" y="4264"/>
                    </a:lnTo>
                    <a:lnTo>
                      <a:pt x="3254" y="4264"/>
                    </a:lnTo>
                    <a:lnTo>
                      <a:pt x="3258" y="4266"/>
                    </a:lnTo>
                    <a:lnTo>
                      <a:pt x="3258" y="4268"/>
                    </a:lnTo>
                    <a:lnTo>
                      <a:pt x="3256" y="4272"/>
                    </a:lnTo>
                    <a:lnTo>
                      <a:pt x="3254" y="4276"/>
                    </a:lnTo>
                    <a:lnTo>
                      <a:pt x="3254" y="4276"/>
                    </a:lnTo>
                    <a:lnTo>
                      <a:pt x="3252" y="4276"/>
                    </a:lnTo>
                    <a:lnTo>
                      <a:pt x="3252" y="4278"/>
                    </a:lnTo>
                    <a:lnTo>
                      <a:pt x="3256" y="4282"/>
                    </a:lnTo>
                    <a:lnTo>
                      <a:pt x="3260" y="4288"/>
                    </a:lnTo>
                    <a:lnTo>
                      <a:pt x="3264" y="4296"/>
                    </a:lnTo>
                    <a:lnTo>
                      <a:pt x="3264" y="4296"/>
                    </a:lnTo>
                    <a:lnTo>
                      <a:pt x="3266" y="4298"/>
                    </a:lnTo>
                    <a:lnTo>
                      <a:pt x="3268" y="4300"/>
                    </a:lnTo>
                    <a:lnTo>
                      <a:pt x="3272" y="4298"/>
                    </a:lnTo>
                    <a:lnTo>
                      <a:pt x="3276" y="4298"/>
                    </a:lnTo>
                    <a:lnTo>
                      <a:pt x="3280" y="4298"/>
                    </a:lnTo>
                    <a:lnTo>
                      <a:pt x="3282" y="4300"/>
                    </a:lnTo>
                    <a:lnTo>
                      <a:pt x="3282" y="4300"/>
                    </a:lnTo>
                    <a:lnTo>
                      <a:pt x="3286" y="4302"/>
                    </a:lnTo>
                    <a:lnTo>
                      <a:pt x="3288" y="4300"/>
                    </a:lnTo>
                    <a:lnTo>
                      <a:pt x="3286" y="4296"/>
                    </a:lnTo>
                    <a:lnTo>
                      <a:pt x="3282" y="4292"/>
                    </a:lnTo>
                    <a:lnTo>
                      <a:pt x="3282" y="4292"/>
                    </a:lnTo>
                    <a:lnTo>
                      <a:pt x="3282" y="4290"/>
                    </a:lnTo>
                    <a:lnTo>
                      <a:pt x="3282" y="4288"/>
                    </a:lnTo>
                    <a:lnTo>
                      <a:pt x="3282" y="4284"/>
                    </a:lnTo>
                    <a:lnTo>
                      <a:pt x="3278" y="4280"/>
                    </a:lnTo>
                    <a:lnTo>
                      <a:pt x="3278" y="4280"/>
                    </a:lnTo>
                    <a:lnTo>
                      <a:pt x="3276" y="4276"/>
                    </a:lnTo>
                    <a:lnTo>
                      <a:pt x="3276" y="4272"/>
                    </a:lnTo>
                    <a:lnTo>
                      <a:pt x="3276" y="4260"/>
                    </a:lnTo>
                    <a:lnTo>
                      <a:pt x="3276" y="4248"/>
                    </a:lnTo>
                    <a:lnTo>
                      <a:pt x="3276" y="4242"/>
                    </a:lnTo>
                    <a:lnTo>
                      <a:pt x="3274" y="4240"/>
                    </a:lnTo>
                    <a:lnTo>
                      <a:pt x="3274" y="4240"/>
                    </a:lnTo>
                    <a:lnTo>
                      <a:pt x="3270" y="4236"/>
                    </a:lnTo>
                    <a:lnTo>
                      <a:pt x="3270" y="4234"/>
                    </a:lnTo>
                    <a:lnTo>
                      <a:pt x="3268" y="4230"/>
                    </a:lnTo>
                    <a:lnTo>
                      <a:pt x="3264" y="4226"/>
                    </a:lnTo>
                    <a:lnTo>
                      <a:pt x="3264" y="4226"/>
                    </a:lnTo>
                    <a:close/>
                    <a:moveTo>
                      <a:pt x="2906" y="4970"/>
                    </a:moveTo>
                    <a:lnTo>
                      <a:pt x="2906" y="4970"/>
                    </a:lnTo>
                    <a:lnTo>
                      <a:pt x="2908" y="4964"/>
                    </a:lnTo>
                    <a:lnTo>
                      <a:pt x="2910" y="4962"/>
                    </a:lnTo>
                    <a:lnTo>
                      <a:pt x="2914" y="4960"/>
                    </a:lnTo>
                    <a:lnTo>
                      <a:pt x="2918" y="4958"/>
                    </a:lnTo>
                    <a:lnTo>
                      <a:pt x="2918" y="4956"/>
                    </a:lnTo>
                    <a:lnTo>
                      <a:pt x="2918" y="4950"/>
                    </a:lnTo>
                    <a:lnTo>
                      <a:pt x="2916" y="4942"/>
                    </a:lnTo>
                    <a:lnTo>
                      <a:pt x="2916" y="4942"/>
                    </a:lnTo>
                    <a:lnTo>
                      <a:pt x="2914" y="4932"/>
                    </a:lnTo>
                    <a:lnTo>
                      <a:pt x="2914" y="4924"/>
                    </a:lnTo>
                    <a:lnTo>
                      <a:pt x="2916" y="4918"/>
                    </a:lnTo>
                    <a:lnTo>
                      <a:pt x="2920" y="4912"/>
                    </a:lnTo>
                    <a:lnTo>
                      <a:pt x="2930" y="4902"/>
                    </a:lnTo>
                    <a:lnTo>
                      <a:pt x="2934" y="4898"/>
                    </a:lnTo>
                    <a:lnTo>
                      <a:pt x="2938" y="4892"/>
                    </a:lnTo>
                    <a:lnTo>
                      <a:pt x="2938" y="4892"/>
                    </a:lnTo>
                    <a:lnTo>
                      <a:pt x="2940" y="4888"/>
                    </a:lnTo>
                    <a:lnTo>
                      <a:pt x="2944" y="4886"/>
                    </a:lnTo>
                    <a:lnTo>
                      <a:pt x="2952" y="4882"/>
                    </a:lnTo>
                    <a:lnTo>
                      <a:pt x="2954" y="4882"/>
                    </a:lnTo>
                    <a:lnTo>
                      <a:pt x="2958" y="4878"/>
                    </a:lnTo>
                    <a:lnTo>
                      <a:pt x="2958" y="4872"/>
                    </a:lnTo>
                    <a:lnTo>
                      <a:pt x="2958" y="4862"/>
                    </a:lnTo>
                    <a:lnTo>
                      <a:pt x="2958" y="4862"/>
                    </a:lnTo>
                    <a:lnTo>
                      <a:pt x="2956" y="4840"/>
                    </a:lnTo>
                    <a:lnTo>
                      <a:pt x="2958" y="4822"/>
                    </a:lnTo>
                    <a:lnTo>
                      <a:pt x="2962" y="4808"/>
                    </a:lnTo>
                    <a:lnTo>
                      <a:pt x="2964" y="4804"/>
                    </a:lnTo>
                    <a:lnTo>
                      <a:pt x="2968" y="4800"/>
                    </a:lnTo>
                    <a:lnTo>
                      <a:pt x="2968" y="4800"/>
                    </a:lnTo>
                    <a:lnTo>
                      <a:pt x="2972" y="4796"/>
                    </a:lnTo>
                    <a:lnTo>
                      <a:pt x="2974" y="4792"/>
                    </a:lnTo>
                    <a:lnTo>
                      <a:pt x="2978" y="4792"/>
                    </a:lnTo>
                    <a:lnTo>
                      <a:pt x="2982" y="4796"/>
                    </a:lnTo>
                    <a:lnTo>
                      <a:pt x="2982" y="4796"/>
                    </a:lnTo>
                    <a:lnTo>
                      <a:pt x="2988" y="4800"/>
                    </a:lnTo>
                    <a:lnTo>
                      <a:pt x="2992" y="4802"/>
                    </a:lnTo>
                    <a:lnTo>
                      <a:pt x="3002" y="4802"/>
                    </a:lnTo>
                    <a:lnTo>
                      <a:pt x="3010" y="4800"/>
                    </a:lnTo>
                    <a:lnTo>
                      <a:pt x="3012" y="4798"/>
                    </a:lnTo>
                    <a:lnTo>
                      <a:pt x="3014" y="4796"/>
                    </a:lnTo>
                    <a:lnTo>
                      <a:pt x="3014" y="4796"/>
                    </a:lnTo>
                    <a:lnTo>
                      <a:pt x="3012" y="4792"/>
                    </a:lnTo>
                    <a:lnTo>
                      <a:pt x="3006" y="4786"/>
                    </a:lnTo>
                    <a:lnTo>
                      <a:pt x="2988" y="4770"/>
                    </a:lnTo>
                    <a:lnTo>
                      <a:pt x="2980" y="4760"/>
                    </a:lnTo>
                    <a:lnTo>
                      <a:pt x="2972" y="4752"/>
                    </a:lnTo>
                    <a:lnTo>
                      <a:pt x="2970" y="4744"/>
                    </a:lnTo>
                    <a:lnTo>
                      <a:pt x="2970" y="4742"/>
                    </a:lnTo>
                    <a:lnTo>
                      <a:pt x="2970" y="4738"/>
                    </a:lnTo>
                    <a:lnTo>
                      <a:pt x="2970" y="4738"/>
                    </a:lnTo>
                    <a:lnTo>
                      <a:pt x="2974" y="4734"/>
                    </a:lnTo>
                    <a:lnTo>
                      <a:pt x="2976" y="4730"/>
                    </a:lnTo>
                    <a:lnTo>
                      <a:pt x="2974" y="4726"/>
                    </a:lnTo>
                    <a:lnTo>
                      <a:pt x="2972" y="4722"/>
                    </a:lnTo>
                    <a:lnTo>
                      <a:pt x="2966" y="4714"/>
                    </a:lnTo>
                    <a:lnTo>
                      <a:pt x="2964" y="4708"/>
                    </a:lnTo>
                    <a:lnTo>
                      <a:pt x="2962" y="4702"/>
                    </a:lnTo>
                    <a:lnTo>
                      <a:pt x="2962" y="4702"/>
                    </a:lnTo>
                    <a:lnTo>
                      <a:pt x="2960" y="4696"/>
                    </a:lnTo>
                    <a:lnTo>
                      <a:pt x="2958" y="4692"/>
                    </a:lnTo>
                    <a:lnTo>
                      <a:pt x="2954" y="4690"/>
                    </a:lnTo>
                    <a:lnTo>
                      <a:pt x="2950" y="4686"/>
                    </a:lnTo>
                    <a:lnTo>
                      <a:pt x="2948" y="4684"/>
                    </a:lnTo>
                    <a:lnTo>
                      <a:pt x="2950" y="4678"/>
                    </a:lnTo>
                    <a:lnTo>
                      <a:pt x="2950" y="4678"/>
                    </a:lnTo>
                    <a:lnTo>
                      <a:pt x="2950" y="4672"/>
                    </a:lnTo>
                    <a:lnTo>
                      <a:pt x="2952" y="4668"/>
                    </a:lnTo>
                    <a:lnTo>
                      <a:pt x="2956" y="4666"/>
                    </a:lnTo>
                    <a:lnTo>
                      <a:pt x="2958" y="4666"/>
                    </a:lnTo>
                    <a:lnTo>
                      <a:pt x="2964" y="4666"/>
                    </a:lnTo>
                    <a:lnTo>
                      <a:pt x="2966" y="4666"/>
                    </a:lnTo>
                    <a:lnTo>
                      <a:pt x="2966" y="4666"/>
                    </a:lnTo>
                    <a:lnTo>
                      <a:pt x="2966" y="4666"/>
                    </a:lnTo>
                    <a:lnTo>
                      <a:pt x="2966" y="4662"/>
                    </a:lnTo>
                    <a:lnTo>
                      <a:pt x="2964" y="4658"/>
                    </a:lnTo>
                    <a:lnTo>
                      <a:pt x="2956" y="4648"/>
                    </a:lnTo>
                    <a:lnTo>
                      <a:pt x="2956" y="4648"/>
                    </a:lnTo>
                    <a:lnTo>
                      <a:pt x="2954" y="4644"/>
                    </a:lnTo>
                    <a:lnTo>
                      <a:pt x="2954" y="4642"/>
                    </a:lnTo>
                    <a:lnTo>
                      <a:pt x="2954" y="4640"/>
                    </a:lnTo>
                    <a:lnTo>
                      <a:pt x="2956" y="4638"/>
                    </a:lnTo>
                    <a:lnTo>
                      <a:pt x="2956" y="4638"/>
                    </a:lnTo>
                    <a:lnTo>
                      <a:pt x="2958" y="4638"/>
                    </a:lnTo>
                    <a:lnTo>
                      <a:pt x="2960" y="4636"/>
                    </a:lnTo>
                    <a:lnTo>
                      <a:pt x="2958" y="4630"/>
                    </a:lnTo>
                    <a:lnTo>
                      <a:pt x="2958" y="4628"/>
                    </a:lnTo>
                    <a:lnTo>
                      <a:pt x="2966" y="4632"/>
                    </a:lnTo>
                    <a:lnTo>
                      <a:pt x="2966" y="4632"/>
                    </a:lnTo>
                    <a:lnTo>
                      <a:pt x="2972" y="4636"/>
                    </a:lnTo>
                    <a:lnTo>
                      <a:pt x="2976" y="4636"/>
                    </a:lnTo>
                    <a:lnTo>
                      <a:pt x="2980" y="4632"/>
                    </a:lnTo>
                    <a:lnTo>
                      <a:pt x="2986" y="4632"/>
                    </a:lnTo>
                    <a:lnTo>
                      <a:pt x="2986" y="4632"/>
                    </a:lnTo>
                    <a:lnTo>
                      <a:pt x="2992" y="4630"/>
                    </a:lnTo>
                    <a:lnTo>
                      <a:pt x="2998" y="4628"/>
                    </a:lnTo>
                    <a:lnTo>
                      <a:pt x="2998" y="4626"/>
                    </a:lnTo>
                    <a:lnTo>
                      <a:pt x="2998" y="4624"/>
                    </a:lnTo>
                    <a:lnTo>
                      <a:pt x="2990" y="4618"/>
                    </a:lnTo>
                    <a:lnTo>
                      <a:pt x="2990" y="4618"/>
                    </a:lnTo>
                    <a:lnTo>
                      <a:pt x="2982" y="4610"/>
                    </a:lnTo>
                    <a:lnTo>
                      <a:pt x="2980" y="4606"/>
                    </a:lnTo>
                    <a:lnTo>
                      <a:pt x="2982" y="4602"/>
                    </a:lnTo>
                    <a:lnTo>
                      <a:pt x="2986" y="4598"/>
                    </a:lnTo>
                    <a:lnTo>
                      <a:pt x="2986" y="4598"/>
                    </a:lnTo>
                    <a:lnTo>
                      <a:pt x="2988" y="4598"/>
                    </a:lnTo>
                    <a:lnTo>
                      <a:pt x="2990" y="4598"/>
                    </a:lnTo>
                    <a:lnTo>
                      <a:pt x="2994" y="4600"/>
                    </a:lnTo>
                    <a:lnTo>
                      <a:pt x="3002" y="4600"/>
                    </a:lnTo>
                    <a:lnTo>
                      <a:pt x="3002" y="4600"/>
                    </a:lnTo>
                    <a:lnTo>
                      <a:pt x="3014" y="4596"/>
                    </a:lnTo>
                    <a:lnTo>
                      <a:pt x="3020" y="4592"/>
                    </a:lnTo>
                    <a:lnTo>
                      <a:pt x="3024" y="4586"/>
                    </a:lnTo>
                    <a:lnTo>
                      <a:pt x="3024" y="4580"/>
                    </a:lnTo>
                    <a:lnTo>
                      <a:pt x="3024" y="4580"/>
                    </a:lnTo>
                    <a:lnTo>
                      <a:pt x="3022" y="4578"/>
                    </a:lnTo>
                    <a:lnTo>
                      <a:pt x="3022" y="4576"/>
                    </a:lnTo>
                    <a:lnTo>
                      <a:pt x="3018" y="4576"/>
                    </a:lnTo>
                    <a:lnTo>
                      <a:pt x="3014" y="4578"/>
                    </a:lnTo>
                    <a:lnTo>
                      <a:pt x="3012" y="4578"/>
                    </a:lnTo>
                    <a:lnTo>
                      <a:pt x="3010" y="4576"/>
                    </a:lnTo>
                    <a:lnTo>
                      <a:pt x="3010" y="4576"/>
                    </a:lnTo>
                    <a:lnTo>
                      <a:pt x="3006" y="4572"/>
                    </a:lnTo>
                    <a:lnTo>
                      <a:pt x="3004" y="4572"/>
                    </a:lnTo>
                    <a:lnTo>
                      <a:pt x="3000" y="4570"/>
                    </a:lnTo>
                    <a:lnTo>
                      <a:pt x="2998" y="4566"/>
                    </a:lnTo>
                    <a:lnTo>
                      <a:pt x="2998" y="4566"/>
                    </a:lnTo>
                    <a:lnTo>
                      <a:pt x="2994" y="4562"/>
                    </a:lnTo>
                    <a:lnTo>
                      <a:pt x="2988" y="4560"/>
                    </a:lnTo>
                    <a:lnTo>
                      <a:pt x="2984" y="4560"/>
                    </a:lnTo>
                    <a:lnTo>
                      <a:pt x="2982" y="4560"/>
                    </a:lnTo>
                    <a:lnTo>
                      <a:pt x="2982" y="4560"/>
                    </a:lnTo>
                    <a:lnTo>
                      <a:pt x="2976" y="4564"/>
                    </a:lnTo>
                    <a:lnTo>
                      <a:pt x="2974" y="4564"/>
                    </a:lnTo>
                    <a:lnTo>
                      <a:pt x="2972" y="4562"/>
                    </a:lnTo>
                    <a:lnTo>
                      <a:pt x="2972" y="4562"/>
                    </a:lnTo>
                    <a:lnTo>
                      <a:pt x="2972" y="4560"/>
                    </a:lnTo>
                    <a:lnTo>
                      <a:pt x="2974" y="4558"/>
                    </a:lnTo>
                    <a:lnTo>
                      <a:pt x="2976" y="4556"/>
                    </a:lnTo>
                    <a:lnTo>
                      <a:pt x="2976" y="4550"/>
                    </a:lnTo>
                    <a:lnTo>
                      <a:pt x="2976" y="4550"/>
                    </a:lnTo>
                    <a:lnTo>
                      <a:pt x="2974" y="4548"/>
                    </a:lnTo>
                    <a:lnTo>
                      <a:pt x="2972" y="4548"/>
                    </a:lnTo>
                    <a:lnTo>
                      <a:pt x="2968" y="4548"/>
                    </a:lnTo>
                    <a:lnTo>
                      <a:pt x="2964" y="4550"/>
                    </a:lnTo>
                    <a:lnTo>
                      <a:pt x="2962" y="4550"/>
                    </a:lnTo>
                    <a:lnTo>
                      <a:pt x="2960" y="4548"/>
                    </a:lnTo>
                    <a:lnTo>
                      <a:pt x="2960" y="4548"/>
                    </a:lnTo>
                    <a:lnTo>
                      <a:pt x="2960" y="4542"/>
                    </a:lnTo>
                    <a:lnTo>
                      <a:pt x="2960" y="4536"/>
                    </a:lnTo>
                    <a:lnTo>
                      <a:pt x="2962" y="4530"/>
                    </a:lnTo>
                    <a:lnTo>
                      <a:pt x="2958" y="4522"/>
                    </a:lnTo>
                    <a:lnTo>
                      <a:pt x="2958" y="4522"/>
                    </a:lnTo>
                    <a:lnTo>
                      <a:pt x="2954" y="4518"/>
                    </a:lnTo>
                    <a:lnTo>
                      <a:pt x="2952" y="4520"/>
                    </a:lnTo>
                    <a:lnTo>
                      <a:pt x="2952" y="4520"/>
                    </a:lnTo>
                    <a:lnTo>
                      <a:pt x="2948" y="4520"/>
                    </a:lnTo>
                    <a:lnTo>
                      <a:pt x="2946" y="4518"/>
                    </a:lnTo>
                    <a:lnTo>
                      <a:pt x="2944" y="4510"/>
                    </a:lnTo>
                    <a:lnTo>
                      <a:pt x="2942" y="4504"/>
                    </a:lnTo>
                    <a:lnTo>
                      <a:pt x="2940" y="4502"/>
                    </a:lnTo>
                    <a:lnTo>
                      <a:pt x="2938" y="4502"/>
                    </a:lnTo>
                    <a:lnTo>
                      <a:pt x="2938" y="4502"/>
                    </a:lnTo>
                    <a:lnTo>
                      <a:pt x="2936" y="4504"/>
                    </a:lnTo>
                    <a:lnTo>
                      <a:pt x="2934" y="4508"/>
                    </a:lnTo>
                    <a:lnTo>
                      <a:pt x="2932" y="4514"/>
                    </a:lnTo>
                    <a:lnTo>
                      <a:pt x="2928" y="4520"/>
                    </a:lnTo>
                    <a:lnTo>
                      <a:pt x="2928" y="4520"/>
                    </a:lnTo>
                    <a:lnTo>
                      <a:pt x="2926" y="4522"/>
                    </a:lnTo>
                    <a:lnTo>
                      <a:pt x="2924" y="4520"/>
                    </a:lnTo>
                    <a:lnTo>
                      <a:pt x="2926" y="4512"/>
                    </a:lnTo>
                    <a:lnTo>
                      <a:pt x="2928" y="4504"/>
                    </a:lnTo>
                    <a:lnTo>
                      <a:pt x="2926" y="4500"/>
                    </a:lnTo>
                    <a:lnTo>
                      <a:pt x="2924" y="4500"/>
                    </a:lnTo>
                    <a:lnTo>
                      <a:pt x="2924" y="4500"/>
                    </a:lnTo>
                    <a:lnTo>
                      <a:pt x="2920" y="4502"/>
                    </a:lnTo>
                    <a:lnTo>
                      <a:pt x="2918" y="4506"/>
                    </a:lnTo>
                    <a:lnTo>
                      <a:pt x="2916" y="4514"/>
                    </a:lnTo>
                    <a:lnTo>
                      <a:pt x="2910" y="4528"/>
                    </a:lnTo>
                    <a:lnTo>
                      <a:pt x="2910" y="4528"/>
                    </a:lnTo>
                    <a:lnTo>
                      <a:pt x="2904" y="4538"/>
                    </a:lnTo>
                    <a:lnTo>
                      <a:pt x="2900" y="4542"/>
                    </a:lnTo>
                    <a:lnTo>
                      <a:pt x="2896" y="4544"/>
                    </a:lnTo>
                    <a:lnTo>
                      <a:pt x="2896" y="4548"/>
                    </a:lnTo>
                    <a:lnTo>
                      <a:pt x="2896" y="4548"/>
                    </a:lnTo>
                    <a:lnTo>
                      <a:pt x="2894" y="4556"/>
                    </a:lnTo>
                    <a:lnTo>
                      <a:pt x="2892" y="4558"/>
                    </a:lnTo>
                    <a:lnTo>
                      <a:pt x="2890" y="4560"/>
                    </a:lnTo>
                    <a:lnTo>
                      <a:pt x="2890" y="4562"/>
                    </a:lnTo>
                    <a:lnTo>
                      <a:pt x="2890" y="4562"/>
                    </a:lnTo>
                    <a:lnTo>
                      <a:pt x="2888" y="4570"/>
                    </a:lnTo>
                    <a:lnTo>
                      <a:pt x="2884" y="4572"/>
                    </a:lnTo>
                    <a:lnTo>
                      <a:pt x="2882" y="4574"/>
                    </a:lnTo>
                    <a:lnTo>
                      <a:pt x="2880" y="4572"/>
                    </a:lnTo>
                    <a:lnTo>
                      <a:pt x="2880" y="4572"/>
                    </a:lnTo>
                    <a:lnTo>
                      <a:pt x="2876" y="4570"/>
                    </a:lnTo>
                    <a:lnTo>
                      <a:pt x="2874" y="4572"/>
                    </a:lnTo>
                    <a:lnTo>
                      <a:pt x="2868" y="4580"/>
                    </a:lnTo>
                    <a:lnTo>
                      <a:pt x="2868" y="4580"/>
                    </a:lnTo>
                    <a:lnTo>
                      <a:pt x="2868" y="4582"/>
                    </a:lnTo>
                    <a:lnTo>
                      <a:pt x="2868" y="4584"/>
                    </a:lnTo>
                    <a:lnTo>
                      <a:pt x="2872" y="4586"/>
                    </a:lnTo>
                    <a:lnTo>
                      <a:pt x="2876" y="4592"/>
                    </a:lnTo>
                    <a:lnTo>
                      <a:pt x="2874" y="4594"/>
                    </a:lnTo>
                    <a:lnTo>
                      <a:pt x="2872" y="4598"/>
                    </a:lnTo>
                    <a:lnTo>
                      <a:pt x="2872" y="4598"/>
                    </a:lnTo>
                    <a:lnTo>
                      <a:pt x="2868" y="4602"/>
                    </a:lnTo>
                    <a:lnTo>
                      <a:pt x="2864" y="4600"/>
                    </a:lnTo>
                    <a:lnTo>
                      <a:pt x="2862" y="4600"/>
                    </a:lnTo>
                    <a:lnTo>
                      <a:pt x="2858" y="4604"/>
                    </a:lnTo>
                    <a:lnTo>
                      <a:pt x="2854" y="4608"/>
                    </a:lnTo>
                    <a:lnTo>
                      <a:pt x="2854" y="4604"/>
                    </a:lnTo>
                    <a:lnTo>
                      <a:pt x="2854" y="4604"/>
                    </a:lnTo>
                    <a:lnTo>
                      <a:pt x="2856" y="4598"/>
                    </a:lnTo>
                    <a:lnTo>
                      <a:pt x="2856" y="4596"/>
                    </a:lnTo>
                    <a:lnTo>
                      <a:pt x="2854" y="4596"/>
                    </a:lnTo>
                    <a:lnTo>
                      <a:pt x="2850" y="4598"/>
                    </a:lnTo>
                    <a:lnTo>
                      <a:pt x="2850" y="4598"/>
                    </a:lnTo>
                    <a:lnTo>
                      <a:pt x="2844" y="4602"/>
                    </a:lnTo>
                    <a:lnTo>
                      <a:pt x="2836" y="4610"/>
                    </a:lnTo>
                    <a:lnTo>
                      <a:pt x="2828" y="4616"/>
                    </a:lnTo>
                    <a:lnTo>
                      <a:pt x="2822" y="4618"/>
                    </a:lnTo>
                    <a:lnTo>
                      <a:pt x="2816" y="4618"/>
                    </a:lnTo>
                    <a:lnTo>
                      <a:pt x="2816" y="4618"/>
                    </a:lnTo>
                    <a:lnTo>
                      <a:pt x="2814" y="4618"/>
                    </a:lnTo>
                    <a:lnTo>
                      <a:pt x="2812" y="4618"/>
                    </a:lnTo>
                    <a:lnTo>
                      <a:pt x="2812" y="4630"/>
                    </a:lnTo>
                    <a:lnTo>
                      <a:pt x="2812" y="4630"/>
                    </a:lnTo>
                    <a:lnTo>
                      <a:pt x="2810" y="4634"/>
                    </a:lnTo>
                    <a:lnTo>
                      <a:pt x="2806" y="4640"/>
                    </a:lnTo>
                    <a:lnTo>
                      <a:pt x="2798" y="4652"/>
                    </a:lnTo>
                    <a:lnTo>
                      <a:pt x="2786" y="4666"/>
                    </a:lnTo>
                    <a:lnTo>
                      <a:pt x="2780" y="4674"/>
                    </a:lnTo>
                    <a:lnTo>
                      <a:pt x="2778" y="4684"/>
                    </a:lnTo>
                    <a:lnTo>
                      <a:pt x="2778" y="4684"/>
                    </a:lnTo>
                    <a:lnTo>
                      <a:pt x="2774" y="4688"/>
                    </a:lnTo>
                    <a:lnTo>
                      <a:pt x="2766" y="4692"/>
                    </a:lnTo>
                    <a:lnTo>
                      <a:pt x="2746" y="4696"/>
                    </a:lnTo>
                    <a:lnTo>
                      <a:pt x="2724" y="4700"/>
                    </a:lnTo>
                    <a:lnTo>
                      <a:pt x="2716" y="4704"/>
                    </a:lnTo>
                    <a:lnTo>
                      <a:pt x="2712" y="4706"/>
                    </a:lnTo>
                    <a:lnTo>
                      <a:pt x="2712" y="4706"/>
                    </a:lnTo>
                    <a:lnTo>
                      <a:pt x="2710" y="4710"/>
                    </a:lnTo>
                    <a:lnTo>
                      <a:pt x="2708" y="4716"/>
                    </a:lnTo>
                    <a:lnTo>
                      <a:pt x="2710" y="4724"/>
                    </a:lnTo>
                    <a:lnTo>
                      <a:pt x="2708" y="4728"/>
                    </a:lnTo>
                    <a:lnTo>
                      <a:pt x="2708" y="4728"/>
                    </a:lnTo>
                    <a:lnTo>
                      <a:pt x="2704" y="4726"/>
                    </a:lnTo>
                    <a:lnTo>
                      <a:pt x="2704" y="4726"/>
                    </a:lnTo>
                    <a:lnTo>
                      <a:pt x="2702" y="4724"/>
                    </a:lnTo>
                    <a:lnTo>
                      <a:pt x="2700" y="4724"/>
                    </a:lnTo>
                    <a:lnTo>
                      <a:pt x="2698" y="4728"/>
                    </a:lnTo>
                    <a:lnTo>
                      <a:pt x="2698" y="4734"/>
                    </a:lnTo>
                    <a:lnTo>
                      <a:pt x="2700" y="4738"/>
                    </a:lnTo>
                    <a:lnTo>
                      <a:pt x="2700" y="4738"/>
                    </a:lnTo>
                    <a:lnTo>
                      <a:pt x="2702" y="4738"/>
                    </a:lnTo>
                    <a:lnTo>
                      <a:pt x="2702" y="4740"/>
                    </a:lnTo>
                    <a:lnTo>
                      <a:pt x="2700" y="4742"/>
                    </a:lnTo>
                    <a:lnTo>
                      <a:pt x="2698" y="4750"/>
                    </a:lnTo>
                    <a:lnTo>
                      <a:pt x="2698" y="4750"/>
                    </a:lnTo>
                    <a:lnTo>
                      <a:pt x="2696" y="4756"/>
                    </a:lnTo>
                    <a:lnTo>
                      <a:pt x="2692" y="4760"/>
                    </a:lnTo>
                    <a:lnTo>
                      <a:pt x="2692" y="4764"/>
                    </a:lnTo>
                    <a:lnTo>
                      <a:pt x="2696" y="4768"/>
                    </a:lnTo>
                    <a:lnTo>
                      <a:pt x="2696" y="4768"/>
                    </a:lnTo>
                    <a:lnTo>
                      <a:pt x="2698" y="4772"/>
                    </a:lnTo>
                    <a:lnTo>
                      <a:pt x="2698" y="4774"/>
                    </a:lnTo>
                    <a:lnTo>
                      <a:pt x="2690" y="4768"/>
                    </a:lnTo>
                    <a:lnTo>
                      <a:pt x="2690" y="4768"/>
                    </a:lnTo>
                    <a:lnTo>
                      <a:pt x="2684" y="4766"/>
                    </a:lnTo>
                    <a:lnTo>
                      <a:pt x="2678" y="4766"/>
                    </a:lnTo>
                    <a:lnTo>
                      <a:pt x="2672" y="4764"/>
                    </a:lnTo>
                    <a:lnTo>
                      <a:pt x="2672" y="4762"/>
                    </a:lnTo>
                    <a:lnTo>
                      <a:pt x="2672" y="4760"/>
                    </a:lnTo>
                    <a:lnTo>
                      <a:pt x="2672" y="4760"/>
                    </a:lnTo>
                    <a:lnTo>
                      <a:pt x="2674" y="4756"/>
                    </a:lnTo>
                    <a:lnTo>
                      <a:pt x="2672" y="4756"/>
                    </a:lnTo>
                    <a:lnTo>
                      <a:pt x="2670" y="4756"/>
                    </a:lnTo>
                    <a:lnTo>
                      <a:pt x="2666" y="4754"/>
                    </a:lnTo>
                    <a:lnTo>
                      <a:pt x="2666" y="4754"/>
                    </a:lnTo>
                    <a:lnTo>
                      <a:pt x="2664" y="4752"/>
                    </a:lnTo>
                    <a:lnTo>
                      <a:pt x="2664" y="4754"/>
                    </a:lnTo>
                    <a:lnTo>
                      <a:pt x="2662" y="4756"/>
                    </a:lnTo>
                    <a:lnTo>
                      <a:pt x="2656" y="4758"/>
                    </a:lnTo>
                    <a:lnTo>
                      <a:pt x="2656" y="4758"/>
                    </a:lnTo>
                    <a:lnTo>
                      <a:pt x="2650" y="4758"/>
                    </a:lnTo>
                    <a:lnTo>
                      <a:pt x="2644" y="4756"/>
                    </a:lnTo>
                    <a:lnTo>
                      <a:pt x="2640" y="4750"/>
                    </a:lnTo>
                    <a:lnTo>
                      <a:pt x="2638" y="4742"/>
                    </a:lnTo>
                    <a:lnTo>
                      <a:pt x="2638" y="4742"/>
                    </a:lnTo>
                    <a:lnTo>
                      <a:pt x="2632" y="4744"/>
                    </a:lnTo>
                    <a:lnTo>
                      <a:pt x="2628" y="4746"/>
                    </a:lnTo>
                    <a:lnTo>
                      <a:pt x="2622" y="4750"/>
                    </a:lnTo>
                    <a:lnTo>
                      <a:pt x="2620" y="4758"/>
                    </a:lnTo>
                    <a:lnTo>
                      <a:pt x="2618" y="4764"/>
                    </a:lnTo>
                    <a:lnTo>
                      <a:pt x="2618" y="4764"/>
                    </a:lnTo>
                    <a:lnTo>
                      <a:pt x="2614" y="4772"/>
                    </a:lnTo>
                    <a:lnTo>
                      <a:pt x="2610" y="4780"/>
                    </a:lnTo>
                    <a:lnTo>
                      <a:pt x="2606" y="4802"/>
                    </a:lnTo>
                    <a:lnTo>
                      <a:pt x="2606" y="4812"/>
                    </a:lnTo>
                    <a:lnTo>
                      <a:pt x="2608" y="4820"/>
                    </a:lnTo>
                    <a:lnTo>
                      <a:pt x="2610" y="4826"/>
                    </a:lnTo>
                    <a:lnTo>
                      <a:pt x="2616" y="4830"/>
                    </a:lnTo>
                    <a:lnTo>
                      <a:pt x="2616" y="4830"/>
                    </a:lnTo>
                    <a:lnTo>
                      <a:pt x="2620" y="4834"/>
                    </a:lnTo>
                    <a:lnTo>
                      <a:pt x="2620" y="4836"/>
                    </a:lnTo>
                    <a:lnTo>
                      <a:pt x="2616" y="4844"/>
                    </a:lnTo>
                    <a:lnTo>
                      <a:pt x="2614" y="4848"/>
                    </a:lnTo>
                    <a:lnTo>
                      <a:pt x="2614" y="4854"/>
                    </a:lnTo>
                    <a:lnTo>
                      <a:pt x="2614" y="4858"/>
                    </a:lnTo>
                    <a:lnTo>
                      <a:pt x="2618" y="4864"/>
                    </a:lnTo>
                    <a:lnTo>
                      <a:pt x="2618" y="4864"/>
                    </a:lnTo>
                    <a:lnTo>
                      <a:pt x="2622" y="4870"/>
                    </a:lnTo>
                    <a:lnTo>
                      <a:pt x="2624" y="4874"/>
                    </a:lnTo>
                    <a:lnTo>
                      <a:pt x="2624" y="4876"/>
                    </a:lnTo>
                    <a:lnTo>
                      <a:pt x="2622" y="4878"/>
                    </a:lnTo>
                    <a:lnTo>
                      <a:pt x="2620" y="4880"/>
                    </a:lnTo>
                    <a:lnTo>
                      <a:pt x="2626" y="4882"/>
                    </a:lnTo>
                    <a:lnTo>
                      <a:pt x="2626" y="4882"/>
                    </a:lnTo>
                    <a:lnTo>
                      <a:pt x="2630" y="4886"/>
                    </a:lnTo>
                    <a:lnTo>
                      <a:pt x="2632" y="4888"/>
                    </a:lnTo>
                    <a:lnTo>
                      <a:pt x="2632" y="4890"/>
                    </a:lnTo>
                    <a:lnTo>
                      <a:pt x="2630" y="4892"/>
                    </a:lnTo>
                    <a:lnTo>
                      <a:pt x="2628" y="4898"/>
                    </a:lnTo>
                    <a:lnTo>
                      <a:pt x="2626" y="4900"/>
                    </a:lnTo>
                    <a:lnTo>
                      <a:pt x="2628" y="4902"/>
                    </a:lnTo>
                    <a:lnTo>
                      <a:pt x="2628" y="4902"/>
                    </a:lnTo>
                    <a:lnTo>
                      <a:pt x="2632" y="4904"/>
                    </a:lnTo>
                    <a:lnTo>
                      <a:pt x="2634" y="4904"/>
                    </a:lnTo>
                    <a:lnTo>
                      <a:pt x="2640" y="4900"/>
                    </a:lnTo>
                    <a:lnTo>
                      <a:pt x="2646" y="4898"/>
                    </a:lnTo>
                    <a:lnTo>
                      <a:pt x="2650" y="4898"/>
                    </a:lnTo>
                    <a:lnTo>
                      <a:pt x="2652" y="4902"/>
                    </a:lnTo>
                    <a:lnTo>
                      <a:pt x="2652" y="4902"/>
                    </a:lnTo>
                    <a:lnTo>
                      <a:pt x="2652" y="4908"/>
                    </a:lnTo>
                    <a:lnTo>
                      <a:pt x="2652" y="4910"/>
                    </a:lnTo>
                    <a:lnTo>
                      <a:pt x="2650" y="4918"/>
                    </a:lnTo>
                    <a:lnTo>
                      <a:pt x="2648" y="4926"/>
                    </a:lnTo>
                    <a:lnTo>
                      <a:pt x="2648" y="4934"/>
                    </a:lnTo>
                    <a:lnTo>
                      <a:pt x="2652" y="4942"/>
                    </a:lnTo>
                    <a:lnTo>
                      <a:pt x="2652" y="4942"/>
                    </a:lnTo>
                    <a:lnTo>
                      <a:pt x="2658" y="4960"/>
                    </a:lnTo>
                    <a:lnTo>
                      <a:pt x="2660" y="4972"/>
                    </a:lnTo>
                    <a:lnTo>
                      <a:pt x="2660" y="4980"/>
                    </a:lnTo>
                    <a:lnTo>
                      <a:pt x="2660" y="4984"/>
                    </a:lnTo>
                    <a:lnTo>
                      <a:pt x="2660" y="4986"/>
                    </a:lnTo>
                    <a:lnTo>
                      <a:pt x="2666" y="4986"/>
                    </a:lnTo>
                    <a:lnTo>
                      <a:pt x="2666" y="4986"/>
                    </a:lnTo>
                    <a:lnTo>
                      <a:pt x="2678" y="4988"/>
                    </a:lnTo>
                    <a:lnTo>
                      <a:pt x="2684" y="4992"/>
                    </a:lnTo>
                    <a:lnTo>
                      <a:pt x="2692" y="4992"/>
                    </a:lnTo>
                    <a:lnTo>
                      <a:pt x="2698" y="4986"/>
                    </a:lnTo>
                    <a:lnTo>
                      <a:pt x="2698" y="4986"/>
                    </a:lnTo>
                    <a:lnTo>
                      <a:pt x="2702" y="4982"/>
                    </a:lnTo>
                    <a:lnTo>
                      <a:pt x="2706" y="4982"/>
                    </a:lnTo>
                    <a:lnTo>
                      <a:pt x="2712" y="4982"/>
                    </a:lnTo>
                    <a:lnTo>
                      <a:pt x="2716" y="4984"/>
                    </a:lnTo>
                    <a:lnTo>
                      <a:pt x="2720" y="4986"/>
                    </a:lnTo>
                    <a:lnTo>
                      <a:pt x="2722" y="4992"/>
                    </a:lnTo>
                    <a:lnTo>
                      <a:pt x="2724" y="4996"/>
                    </a:lnTo>
                    <a:lnTo>
                      <a:pt x="2724" y="5002"/>
                    </a:lnTo>
                    <a:lnTo>
                      <a:pt x="2724" y="5002"/>
                    </a:lnTo>
                    <a:lnTo>
                      <a:pt x="2724" y="5010"/>
                    </a:lnTo>
                    <a:lnTo>
                      <a:pt x="2726" y="5012"/>
                    </a:lnTo>
                    <a:lnTo>
                      <a:pt x="2728" y="5012"/>
                    </a:lnTo>
                    <a:lnTo>
                      <a:pt x="2734" y="5010"/>
                    </a:lnTo>
                    <a:lnTo>
                      <a:pt x="2740" y="5004"/>
                    </a:lnTo>
                    <a:lnTo>
                      <a:pt x="2740" y="5004"/>
                    </a:lnTo>
                    <a:lnTo>
                      <a:pt x="2742" y="5002"/>
                    </a:lnTo>
                    <a:lnTo>
                      <a:pt x="2746" y="5002"/>
                    </a:lnTo>
                    <a:lnTo>
                      <a:pt x="2754" y="5004"/>
                    </a:lnTo>
                    <a:lnTo>
                      <a:pt x="2756" y="5004"/>
                    </a:lnTo>
                    <a:lnTo>
                      <a:pt x="2760" y="5004"/>
                    </a:lnTo>
                    <a:lnTo>
                      <a:pt x="2764" y="5002"/>
                    </a:lnTo>
                    <a:lnTo>
                      <a:pt x="2768" y="4998"/>
                    </a:lnTo>
                    <a:lnTo>
                      <a:pt x="2768" y="4998"/>
                    </a:lnTo>
                    <a:lnTo>
                      <a:pt x="2770" y="4992"/>
                    </a:lnTo>
                    <a:lnTo>
                      <a:pt x="2774" y="4990"/>
                    </a:lnTo>
                    <a:lnTo>
                      <a:pt x="2776" y="4990"/>
                    </a:lnTo>
                    <a:lnTo>
                      <a:pt x="2778" y="4992"/>
                    </a:lnTo>
                    <a:lnTo>
                      <a:pt x="2784" y="4996"/>
                    </a:lnTo>
                    <a:lnTo>
                      <a:pt x="2788" y="4998"/>
                    </a:lnTo>
                    <a:lnTo>
                      <a:pt x="2792" y="4998"/>
                    </a:lnTo>
                    <a:lnTo>
                      <a:pt x="2792" y="4998"/>
                    </a:lnTo>
                    <a:lnTo>
                      <a:pt x="2794" y="4998"/>
                    </a:lnTo>
                    <a:lnTo>
                      <a:pt x="2796" y="5000"/>
                    </a:lnTo>
                    <a:lnTo>
                      <a:pt x="2796" y="5004"/>
                    </a:lnTo>
                    <a:lnTo>
                      <a:pt x="2796" y="5006"/>
                    </a:lnTo>
                    <a:lnTo>
                      <a:pt x="2798" y="5008"/>
                    </a:lnTo>
                    <a:lnTo>
                      <a:pt x="2800" y="5008"/>
                    </a:lnTo>
                    <a:lnTo>
                      <a:pt x="2806" y="5006"/>
                    </a:lnTo>
                    <a:lnTo>
                      <a:pt x="2806" y="5006"/>
                    </a:lnTo>
                    <a:lnTo>
                      <a:pt x="2814" y="5004"/>
                    </a:lnTo>
                    <a:lnTo>
                      <a:pt x="2820" y="5004"/>
                    </a:lnTo>
                    <a:lnTo>
                      <a:pt x="2826" y="5008"/>
                    </a:lnTo>
                    <a:lnTo>
                      <a:pt x="2830" y="5012"/>
                    </a:lnTo>
                    <a:lnTo>
                      <a:pt x="2834" y="5016"/>
                    </a:lnTo>
                    <a:lnTo>
                      <a:pt x="2836" y="5022"/>
                    </a:lnTo>
                    <a:lnTo>
                      <a:pt x="2836" y="5030"/>
                    </a:lnTo>
                    <a:lnTo>
                      <a:pt x="2836" y="5036"/>
                    </a:lnTo>
                    <a:lnTo>
                      <a:pt x="2836" y="5036"/>
                    </a:lnTo>
                    <a:lnTo>
                      <a:pt x="2836" y="5040"/>
                    </a:lnTo>
                    <a:lnTo>
                      <a:pt x="2840" y="5042"/>
                    </a:lnTo>
                    <a:lnTo>
                      <a:pt x="2846" y="5040"/>
                    </a:lnTo>
                    <a:lnTo>
                      <a:pt x="2852" y="5036"/>
                    </a:lnTo>
                    <a:lnTo>
                      <a:pt x="2868" y="5026"/>
                    </a:lnTo>
                    <a:lnTo>
                      <a:pt x="2876" y="5024"/>
                    </a:lnTo>
                    <a:lnTo>
                      <a:pt x="2882" y="5022"/>
                    </a:lnTo>
                    <a:lnTo>
                      <a:pt x="2882" y="5022"/>
                    </a:lnTo>
                    <a:lnTo>
                      <a:pt x="2886" y="5020"/>
                    </a:lnTo>
                    <a:lnTo>
                      <a:pt x="2890" y="5018"/>
                    </a:lnTo>
                    <a:lnTo>
                      <a:pt x="2894" y="5008"/>
                    </a:lnTo>
                    <a:lnTo>
                      <a:pt x="2896" y="4996"/>
                    </a:lnTo>
                    <a:lnTo>
                      <a:pt x="2898" y="4986"/>
                    </a:lnTo>
                    <a:lnTo>
                      <a:pt x="2898" y="4986"/>
                    </a:lnTo>
                    <a:lnTo>
                      <a:pt x="2898" y="4982"/>
                    </a:lnTo>
                    <a:lnTo>
                      <a:pt x="2902" y="4980"/>
                    </a:lnTo>
                    <a:lnTo>
                      <a:pt x="2904" y="4978"/>
                    </a:lnTo>
                    <a:lnTo>
                      <a:pt x="2906" y="4970"/>
                    </a:lnTo>
                    <a:lnTo>
                      <a:pt x="2906" y="4970"/>
                    </a:lnTo>
                    <a:close/>
                    <a:moveTo>
                      <a:pt x="2606" y="3938"/>
                    </a:moveTo>
                    <a:lnTo>
                      <a:pt x="2606" y="3938"/>
                    </a:lnTo>
                    <a:lnTo>
                      <a:pt x="2616" y="3942"/>
                    </a:lnTo>
                    <a:lnTo>
                      <a:pt x="2622" y="3944"/>
                    </a:lnTo>
                    <a:lnTo>
                      <a:pt x="2624" y="3944"/>
                    </a:lnTo>
                    <a:lnTo>
                      <a:pt x="2626" y="3944"/>
                    </a:lnTo>
                    <a:lnTo>
                      <a:pt x="2626" y="3944"/>
                    </a:lnTo>
                    <a:lnTo>
                      <a:pt x="2630" y="3948"/>
                    </a:lnTo>
                    <a:lnTo>
                      <a:pt x="2634" y="3950"/>
                    </a:lnTo>
                    <a:lnTo>
                      <a:pt x="2638" y="3948"/>
                    </a:lnTo>
                    <a:lnTo>
                      <a:pt x="2640" y="3942"/>
                    </a:lnTo>
                    <a:lnTo>
                      <a:pt x="2640" y="3942"/>
                    </a:lnTo>
                    <a:lnTo>
                      <a:pt x="2640" y="3940"/>
                    </a:lnTo>
                    <a:lnTo>
                      <a:pt x="2642" y="3940"/>
                    </a:lnTo>
                    <a:lnTo>
                      <a:pt x="2646" y="3940"/>
                    </a:lnTo>
                    <a:lnTo>
                      <a:pt x="2652" y="3938"/>
                    </a:lnTo>
                    <a:lnTo>
                      <a:pt x="2654" y="3938"/>
                    </a:lnTo>
                    <a:lnTo>
                      <a:pt x="2654" y="3934"/>
                    </a:lnTo>
                    <a:lnTo>
                      <a:pt x="2654" y="3934"/>
                    </a:lnTo>
                    <a:lnTo>
                      <a:pt x="2656" y="3930"/>
                    </a:lnTo>
                    <a:lnTo>
                      <a:pt x="2658" y="3928"/>
                    </a:lnTo>
                    <a:lnTo>
                      <a:pt x="2664" y="3926"/>
                    </a:lnTo>
                    <a:lnTo>
                      <a:pt x="2666" y="3924"/>
                    </a:lnTo>
                    <a:lnTo>
                      <a:pt x="2670" y="3922"/>
                    </a:lnTo>
                    <a:lnTo>
                      <a:pt x="2670" y="3918"/>
                    </a:lnTo>
                    <a:lnTo>
                      <a:pt x="2672" y="3912"/>
                    </a:lnTo>
                    <a:lnTo>
                      <a:pt x="2672" y="3912"/>
                    </a:lnTo>
                    <a:lnTo>
                      <a:pt x="2674" y="3902"/>
                    </a:lnTo>
                    <a:lnTo>
                      <a:pt x="2678" y="3892"/>
                    </a:lnTo>
                    <a:lnTo>
                      <a:pt x="2684" y="3884"/>
                    </a:lnTo>
                    <a:lnTo>
                      <a:pt x="2690" y="3878"/>
                    </a:lnTo>
                    <a:lnTo>
                      <a:pt x="2690" y="3878"/>
                    </a:lnTo>
                    <a:lnTo>
                      <a:pt x="2692" y="3874"/>
                    </a:lnTo>
                    <a:lnTo>
                      <a:pt x="2692" y="3868"/>
                    </a:lnTo>
                    <a:lnTo>
                      <a:pt x="2690" y="3862"/>
                    </a:lnTo>
                    <a:lnTo>
                      <a:pt x="2686" y="3858"/>
                    </a:lnTo>
                    <a:lnTo>
                      <a:pt x="2686" y="3858"/>
                    </a:lnTo>
                    <a:lnTo>
                      <a:pt x="2682" y="3856"/>
                    </a:lnTo>
                    <a:lnTo>
                      <a:pt x="2680" y="3854"/>
                    </a:lnTo>
                    <a:lnTo>
                      <a:pt x="2676" y="3852"/>
                    </a:lnTo>
                    <a:lnTo>
                      <a:pt x="2674" y="3854"/>
                    </a:lnTo>
                    <a:lnTo>
                      <a:pt x="2674" y="3854"/>
                    </a:lnTo>
                    <a:lnTo>
                      <a:pt x="2670" y="3856"/>
                    </a:lnTo>
                    <a:lnTo>
                      <a:pt x="2666" y="3856"/>
                    </a:lnTo>
                    <a:lnTo>
                      <a:pt x="2660" y="3856"/>
                    </a:lnTo>
                    <a:lnTo>
                      <a:pt x="2654" y="3858"/>
                    </a:lnTo>
                    <a:lnTo>
                      <a:pt x="2654" y="3858"/>
                    </a:lnTo>
                    <a:lnTo>
                      <a:pt x="2652" y="3860"/>
                    </a:lnTo>
                    <a:lnTo>
                      <a:pt x="2648" y="3860"/>
                    </a:lnTo>
                    <a:lnTo>
                      <a:pt x="2642" y="3858"/>
                    </a:lnTo>
                    <a:lnTo>
                      <a:pt x="2636" y="3858"/>
                    </a:lnTo>
                    <a:lnTo>
                      <a:pt x="2634" y="3858"/>
                    </a:lnTo>
                    <a:lnTo>
                      <a:pt x="2632" y="3862"/>
                    </a:lnTo>
                    <a:lnTo>
                      <a:pt x="2632" y="3862"/>
                    </a:lnTo>
                    <a:lnTo>
                      <a:pt x="2630" y="3864"/>
                    </a:lnTo>
                    <a:lnTo>
                      <a:pt x="2626" y="3864"/>
                    </a:lnTo>
                    <a:lnTo>
                      <a:pt x="2622" y="3862"/>
                    </a:lnTo>
                    <a:lnTo>
                      <a:pt x="2620" y="3864"/>
                    </a:lnTo>
                    <a:lnTo>
                      <a:pt x="2618" y="3866"/>
                    </a:lnTo>
                    <a:lnTo>
                      <a:pt x="2618" y="3866"/>
                    </a:lnTo>
                    <a:lnTo>
                      <a:pt x="2616" y="3870"/>
                    </a:lnTo>
                    <a:lnTo>
                      <a:pt x="2616" y="3872"/>
                    </a:lnTo>
                    <a:lnTo>
                      <a:pt x="2614" y="3874"/>
                    </a:lnTo>
                    <a:lnTo>
                      <a:pt x="2608" y="3882"/>
                    </a:lnTo>
                    <a:lnTo>
                      <a:pt x="2608" y="3882"/>
                    </a:lnTo>
                    <a:lnTo>
                      <a:pt x="2604" y="3886"/>
                    </a:lnTo>
                    <a:lnTo>
                      <a:pt x="2598" y="3890"/>
                    </a:lnTo>
                    <a:lnTo>
                      <a:pt x="2596" y="3896"/>
                    </a:lnTo>
                    <a:lnTo>
                      <a:pt x="2596" y="3908"/>
                    </a:lnTo>
                    <a:lnTo>
                      <a:pt x="2596" y="3908"/>
                    </a:lnTo>
                    <a:lnTo>
                      <a:pt x="2596" y="3920"/>
                    </a:lnTo>
                    <a:lnTo>
                      <a:pt x="2596" y="3926"/>
                    </a:lnTo>
                    <a:lnTo>
                      <a:pt x="2600" y="3932"/>
                    </a:lnTo>
                    <a:lnTo>
                      <a:pt x="2606" y="3938"/>
                    </a:lnTo>
                    <a:lnTo>
                      <a:pt x="2606" y="3938"/>
                    </a:lnTo>
                    <a:close/>
                    <a:moveTo>
                      <a:pt x="3234" y="3626"/>
                    </a:moveTo>
                    <a:lnTo>
                      <a:pt x="3234" y="3626"/>
                    </a:lnTo>
                    <a:lnTo>
                      <a:pt x="3234" y="3624"/>
                    </a:lnTo>
                    <a:lnTo>
                      <a:pt x="3232" y="3624"/>
                    </a:lnTo>
                    <a:lnTo>
                      <a:pt x="3226" y="3626"/>
                    </a:lnTo>
                    <a:lnTo>
                      <a:pt x="3222" y="3632"/>
                    </a:lnTo>
                    <a:lnTo>
                      <a:pt x="3222" y="3634"/>
                    </a:lnTo>
                    <a:lnTo>
                      <a:pt x="3224" y="3636"/>
                    </a:lnTo>
                    <a:lnTo>
                      <a:pt x="3224" y="3636"/>
                    </a:lnTo>
                    <a:lnTo>
                      <a:pt x="3226" y="3636"/>
                    </a:lnTo>
                    <a:lnTo>
                      <a:pt x="3230" y="3634"/>
                    </a:lnTo>
                    <a:lnTo>
                      <a:pt x="3234" y="3626"/>
                    </a:lnTo>
                    <a:lnTo>
                      <a:pt x="3234" y="3626"/>
                    </a:lnTo>
                    <a:close/>
                    <a:moveTo>
                      <a:pt x="3140" y="4236"/>
                    </a:moveTo>
                    <a:lnTo>
                      <a:pt x="3140" y="4236"/>
                    </a:lnTo>
                    <a:lnTo>
                      <a:pt x="3142" y="4224"/>
                    </a:lnTo>
                    <a:lnTo>
                      <a:pt x="3142" y="4222"/>
                    </a:lnTo>
                    <a:lnTo>
                      <a:pt x="3138" y="4224"/>
                    </a:lnTo>
                    <a:lnTo>
                      <a:pt x="3138" y="4224"/>
                    </a:lnTo>
                    <a:lnTo>
                      <a:pt x="3136" y="4226"/>
                    </a:lnTo>
                    <a:lnTo>
                      <a:pt x="3136" y="4226"/>
                    </a:lnTo>
                    <a:lnTo>
                      <a:pt x="3136" y="4230"/>
                    </a:lnTo>
                    <a:lnTo>
                      <a:pt x="3134" y="4236"/>
                    </a:lnTo>
                    <a:lnTo>
                      <a:pt x="3134" y="4236"/>
                    </a:lnTo>
                    <a:lnTo>
                      <a:pt x="3134" y="4240"/>
                    </a:lnTo>
                    <a:lnTo>
                      <a:pt x="3136" y="4242"/>
                    </a:lnTo>
                    <a:lnTo>
                      <a:pt x="3138" y="4242"/>
                    </a:lnTo>
                    <a:lnTo>
                      <a:pt x="3140" y="4236"/>
                    </a:lnTo>
                    <a:lnTo>
                      <a:pt x="3140" y="4236"/>
                    </a:lnTo>
                    <a:close/>
                    <a:moveTo>
                      <a:pt x="3216" y="3638"/>
                    </a:moveTo>
                    <a:lnTo>
                      <a:pt x="3216" y="3638"/>
                    </a:lnTo>
                    <a:lnTo>
                      <a:pt x="3216" y="3634"/>
                    </a:lnTo>
                    <a:lnTo>
                      <a:pt x="3212" y="3632"/>
                    </a:lnTo>
                    <a:lnTo>
                      <a:pt x="3208" y="3632"/>
                    </a:lnTo>
                    <a:lnTo>
                      <a:pt x="3208" y="3632"/>
                    </a:lnTo>
                    <a:lnTo>
                      <a:pt x="3206" y="3636"/>
                    </a:lnTo>
                    <a:lnTo>
                      <a:pt x="3206" y="3636"/>
                    </a:lnTo>
                    <a:lnTo>
                      <a:pt x="3208" y="3638"/>
                    </a:lnTo>
                    <a:lnTo>
                      <a:pt x="3210" y="3640"/>
                    </a:lnTo>
                    <a:lnTo>
                      <a:pt x="3214" y="3640"/>
                    </a:lnTo>
                    <a:lnTo>
                      <a:pt x="3216" y="3638"/>
                    </a:lnTo>
                    <a:lnTo>
                      <a:pt x="3216" y="3638"/>
                    </a:lnTo>
                    <a:close/>
                    <a:moveTo>
                      <a:pt x="3130" y="4102"/>
                    </a:moveTo>
                    <a:lnTo>
                      <a:pt x="3130" y="4102"/>
                    </a:lnTo>
                    <a:lnTo>
                      <a:pt x="3128" y="4106"/>
                    </a:lnTo>
                    <a:lnTo>
                      <a:pt x="3128" y="4108"/>
                    </a:lnTo>
                    <a:lnTo>
                      <a:pt x="3132" y="4120"/>
                    </a:lnTo>
                    <a:lnTo>
                      <a:pt x="3132" y="4120"/>
                    </a:lnTo>
                    <a:lnTo>
                      <a:pt x="3134" y="4124"/>
                    </a:lnTo>
                    <a:lnTo>
                      <a:pt x="3136" y="4124"/>
                    </a:lnTo>
                    <a:lnTo>
                      <a:pt x="3136" y="4120"/>
                    </a:lnTo>
                    <a:lnTo>
                      <a:pt x="3136" y="4116"/>
                    </a:lnTo>
                    <a:lnTo>
                      <a:pt x="3136" y="4116"/>
                    </a:lnTo>
                    <a:lnTo>
                      <a:pt x="3134" y="4104"/>
                    </a:lnTo>
                    <a:lnTo>
                      <a:pt x="3132" y="4102"/>
                    </a:lnTo>
                    <a:lnTo>
                      <a:pt x="3130" y="4102"/>
                    </a:lnTo>
                    <a:lnTo>
                      <a:pt x="3130" y="4102"/>
                    </a:lnTo>
                    <a:close/>
                    <a:moveTo>
                      <a:pt x="3462" y="5402"/>
                    </a:moveTo>
                    <a:lnTo>
                      <a:pt x="3462" y="5402"/>
                    </a:lnTo>
                    <a:lnTo>
                      <a:pt x="3462" y="5410"/>
                    </a:lnTo>
                    <a:lnTo>
                      <a:pt x="3462" y="5414"/>
                    </a:lnTo>
                    <a:lnTo>
                      <a:pt x="3466" y="5416"/>
                    </a:lnTo>
                    <a:lnTo>
                      <a:pt x="3472" y="5418"/>
                    </a:lnTo>
                    <a:lnTo>
                      <a:pt x="3472" y="5418"/>
                    </a:lnTo>
                    <a:lnTo>
                      <a:pt x="3476" y="5418"/>
                    </a:lnTo>
                    <a:lnTo>
                      <a:pt x="3478" y="5416"/>
                    </a:lnTo>
                    <a:lnTo>
                      <a:pt x="3478" y="5412"/>
                    </a:lnTo>
                    <a:lnTo>
                      <a:pt x="3474" y="5404"/>
                    </a:lnTo>
                    <a:lnTo>
                      <a:pt x="3474" y="5404"/>
                    </a:lnTo>
                    <a:lnTo>
                      <a:pt x="3468" y="5398"/>
                    </a:lnTo>
                    <a:lnTo>
                      <a:pt x="3464" y="5394"/>
                    </a:lnTo>
                    <a:lnTo>
                      <a:pt x="3462" y="5396"/>
                    </a:lnTo>
                    <a:lnTo>
                      <a:pt x="3462" y="5402"/>
                    </a:lnTo>
                    <a:lnTo>
                      <a:pt x="3462" y="5402"/>
                    </a:lnTo>
                    <a:close/>
                    <a:moveTo>
                      <a:pt x="4244" y="2492"/>
                    </a:moveTo>
                    <a:lnTo>
                      <a:pt x="4244" y="2492"/>
                    </a:lnTo>
                    <a:lnTo>
                      <a:pt x="4244" y="2496"/>
                    </a:lnTo>
                    <a:lnTo>
                      <a:pt x="4248" y="2496"/>
                    </a:lnTo>
                    <a:lnTo>
                      <a:pt x="4256" y="2492"/>
                    </a:lnTo>
                    <a:lnTo>
                      <a:pt x="4264" y="2486"/>
                    </a:lnTo>
                    <a:lnTo>
                      <a:pt x="4280" y="2470"/>
                    </a:lnTo>
                    <a:lnTo>
                      <a:pt x="4284" y="2464"/>
                    </a:lnTo>
                    <a:lnTo>
                      <a:pt x="4284" y="2460"/>
                    </a:lnTo>
                    <a:lnTo>
                      <a:pt x="4284" y="2460"/>
                    </a:lnTo>
                    <a:lnTo>
                      <a:pt x="4282" y="2460"/>
                    </a:lnTo>
                    <a:lnTo>
                      <a:pt x="4276" y="2460"/>
                    </a:lnTo>
                    <a:lnTo>
                      <a:pt x="4266" y="2466"/>
                    </a:lnTo>
                    <a:lnTo>
                      <a:pt x="4254" y="2476"/>
                    </a:lnTo>
                    <a:lnTo>
                      <a:pt x="4248" y="2484"/>
                    </a:lnTo>
                    <a:lnTo>
                      <a:pt x="4244" y="2492"/>
                    </a:lnTo>
                    <a:lnTo>
                      <a:pt x="4244" y="2492"/>
                    </a:lnTo>
                    <a:close/>
                    <a:moveTo>
                      <a:pt x="4364" y="2396"/>
                    </a:moveTo>
                    <a:lnTo>
                      <a:pt x="4364" y="2396"/>
                    </a:lnTo>
                    <a:lnTo>
                      <a:pt x="4368" y="2398"/>
                    </a:lnTo>
                    <a:lnTo>
                      <a:pt x="4370" y="2396"/>
                    </a:lnTo>
                    <a:lnTo>
                      <a:pt x="4370" y="2394"/>
                    </a:lnTo>
                    <a:lnTo>
                      <a:pt x="4368" y="2392"/>
                    </a:lnTo>
                    <a:lnTo>
                      <a:pt x="4368" y="2392"/>
                    </a:lnTo>
                    <a:lnTo>
                      <a:pt x="4366" y="2390"/>
                    </a:lnTo>
                    <a:lnTo>
                      <a:pt x="4364" y="2392"/>
                    </a:lnTo>
                    <a:lnTo>
                      <a:pt x="4364" y="2394"/>
                    </a:lnTo>
                    <a:lnTo>
                      <a:pt x="4364" y="2396"/>
                    </a:lnTo>
                    <a:lnTo>
                      <a:pt x="4364" y="2396"/>
                    </a:lnTo>
                    <a:close/>
                    <a:moveTo>
                      <a:pt x="4388" y="2374"/>
                    </a:moveTo>
                    <a:lnTo>
                      <a:pt x="4388" y="2374"/>
                    </a:lnTo>
                    <a:lnTo>
                      <a:pt x="4392" y="2376"/>
                    </a:lnTo>
                    <a:lnTo>
                      <a:pt x="4392" y="2374"/>
                    </a:lnTo>
                    <a:lnTo>
                      <a:pt x="4394" y="2370"/>
                    </a:lnTo>
                    <a:lnTo>
                      <a:pt x="4392" y="2368"/>
                    </a:lnTo>
                    <a:lnTo>
                      <a:pt x="4392" y="2368"/>
                    </a:lnTo>
                    <a:lnTo>
                      <a:pt x="4390" y="2366"/>
                    </a:lnTo>
                    <a:lnTo>
                      <a:pt x="4388" y="2368"/>
                    </a:lnTo>
                    <a:lnTo>
                      <a:pt x="4388" y="2372"/>
                    </a:lnTo>
                    <a:lnTo>
                      <a:pt x="4388" y="2374"/>
                    </a:lnTo>
                    <a:lnTo>
                      <a:pt x="4388" y="2374"/>
                    </a:lnTo>
                    <a:close/>
                    <a:moveTo>
                      <a:pt x="264" y="3518"/>
                    </a:moveTo>
                    <a:lnTo>
                      <a:pt x="264" y="3518"/>
                    </a:lnTo>
                    <a:lnTo>
                      <a:pt x="266" y="3518"/>
                    </a:lnTo>
                    <a:lnTo>
                      <a:pt x="264" y="3518"/>
                    </a:lnTo>
                    <a:lnTo>
                      <a:pt x="264" y="3518"/>
                    </a:lnTo>
                    <a:lnTo>
                      <a:pt x="264" y="3518"/>
                    </a:lnTo>
                    <a:lnTo>
                      <a:pt x="264" y="3518"/>
                    </a:lnTo>
                    <a:close/>
                    <a:moveTo>
                      <a:pt x="5798" y="1166"/>
                    </a:moveTo>
                    <a:lnTo>
                      <a:pt x="5798" y="1166"/>
                    </a:lnTo>
                    <a:lnTo>
                      <a:pt x="5790" y="1156"/>
                    </a:lnTo>
                    <a:lnTo>
                      <a:pt x="5782" y="1148"/>
                    </a:lnTo>
                    <a:lnTo>
                      <a:pt x="5772" y="1144"/>
                    </a:lnTo>
                    <a:lnTo>
                      <a:pt x="5760" y="1140"/>
                    </a:lnTo>
                    <a:lnTo>
                      <a:pt x="5732" y="1138"/>
                    </a:lnTo>
                    <a:lnTo>
                      <a:pt x="5698" y="1136"/>
                    </a:lnTo>
                    <a:lnTo>
                      <a:pt x="5698" y="1136"/>
                    </a:lnTo>
                    <a:lnTo>
                      <a:pt x="5692" y="1138"/>
                    </a:lnTo>
                    <a:lnTo>
                      <a:pt x="5688" y="1140"/>
                    </a:lnTo>
                    <a:lnTo>
                      <a:pt x="5686" y="1144"/>
                    </a:lnTo>
                    <a:lnTo>
                      <a:pt x="5686" y="1148"/>
                    </a:lnTo>
                    <a:lnTo>
                      <a:pt x="5690" y="1160"/>
                    </a:lnTo>
                    <a:lnTo>
                      <a:pt x="5696" y="1172"/>
                    </a:lnTo>
                    <a:lnTo>
                      <a:pt x="5702" y="1184"/>
                    </a:lnTo>
                    <a:lnTo>
                      <a:pt x="5704" y="1190"/>
                    </a:lnTo>
                    <a:lnTo>
                      <a:pt x="5704" y="1192"/>
                    </a:lnTo>
                    <a:lnTo>
                      <a:pt x="5700" y="1192"/>
                    </a:lnTo>
                    <a:lnTo>
                      <a:pt x="5684" y="1186"/>
                    </a:lnTo>
                    <a:lnTo>
                      <a:pt x="5684" y="1186"/>
                    </a:lnTo>
                    <a:lnTo>
                      <a:pt x="5676" y="1180"/>
                    </a:lnTo>
                    <a:lnTo>
                      <a:pt x="5670" y="1174"/>
                    </a:lnTo>
                    <a:lnTo>
                      <a:pt x="5666" y="1168"/>
                    </a:lnTo>
                    <a:lnTo>
                      <a:pt x="5664" y="1162"/>
                    </a:lnTo>
                    <a:lnTo>
                      <a:pt x="5664" y="1150"/>
                    </a:lnTo>
                    <a:lnTo>
                      <a:pt x="5666" y="1138"/>
                    </a:lnTo>
                    <a:lnTo>
                      <a:pt x="5666" y="1126"/>
                    </a:lnTo>
                    <a:lnTo>
                      <a:pt x="5664" y="1120"/>
                    </a:lnTo>
                    <a:lnTo>
                      <a:pt x="5660" y="1114"/>
                    </a:lnTo>
                    <a:lnTo>
                      <a:pt x="5654" y="1106"/>
                    </a:lnTo>
                    <a:lnTo>
                      <a:pt x="5646" y="1100"/>
                    </a:lnTo>
                    <a:lnTo>
                      <a:pt x="5634" y="1092"/>
                    </a:lnTo>
                    <a:lnTo>
                      <a:pt x="5618" y="1084"/>
                    </a:lnTo>
                    <a:lnTo>
                      <a:pt x="5618" y="1084"/>
                    </a:lnTo>
                    <a:lnTo>
                      <a:pt x="5580" y="1068"/>
                    </a:lnTo>
                    <a:lnTo>
                      <a:pt x="5546" y="1050"/>
                    </a:lnTo>
                    <a:lnTo>
                      <a:pt x="5478" y="1014"/>
                    </a:lnTo>
                    <a:lnTo>
                      <a:pt x="5478" y="1008"/>
                    </a:lnTo>
                    <a:lnTo>
                      <a:pt x="5478" y="1008"/>
                    </a:lnTo>
                    <a:lnTo>
                      <a:pt x="5448" y="994"/>
                    </a:lnTo>
                    <a:lnTo>
                      <a:pt x="5418" y="982"/>
                    </a:lnTo>
                    <a:lnTo>
                      <a:pt x="5386" y="970"/>
                    </a:lnTo>
                    <a:lnTo>
                      <a:pt x="5356" y="962"/>
                    </a:lnTo>
                    <a:lnTo>
                      <a:pt x="5356" y="962"/>
                    </a:lnTo>
                    <a:lnTo>
                      <a:pt x="5310" y="952"/>
                    </a:lnTo>
                    <a:lnTo>
                      <a:pt x="5294" y="946"/>
                    </a:lnTo>
                    <a:lnTo>
                      <a:pt x="5270" y="944"/>
                    </a:lnTo>
                    <a:lnTo>
                      <a:pt x="5210" y="940"/>
                    </a:lnTo>
                    <a:lnTo>
                      <a:pt x="5210" y="940"/>
                    </a:lnTo>
                    <a:lnTo>
                      <a:pt x="5170" y="936"/>
                    </a:lnTo>
                    <a:lnTo>
                      <a:pt x="5144" y="930"/>
                    </a:lnTo>
                    <a:lnTo>
                      <a:pt x="5126" y="924"/>
                    </a:lnTo>
                    <a:lnTo>
                      <a:pt x="5116" y="918"/>
                    </a:lnTo>
                    <a:lnTo>
                      <a:pt x="5108" y="916"/>
                    </a:lnTo>
                    <a:lnTo>
                      <a:pt x="5102" y="918"/>
                    </a:lnTo>
                    <a:lnTo>
                      <a:pt x="5096" y="926"/>
                    </a:lnTo>
                    <a:lnTo>
                      <a:pt x="5086" y="942"/>
                    </a:lnTo>
                    <a:lnTo>
                      <a:pt x="5086" y="942"/>
                    </a:lnTo>
                    <a:lnTo>
                      <a:pt x="5080" y="950"/>
                    </a:lnTo>
                    <a:lnTo>
                      <a:pt x="5078" y="958"/>
                    </a:lnTo>
                    <a:lnTo>
                      <a:pt x="5078" y="964"/>
                    </a:lnTo>
                    <a:lnTo>
                      <a:pt x="5080" y="968"/>
                    </a:lnTo>
                    <a:lnTo>
                      <a:pt x="5084" y="972"/>
                    </a:lnTo>
                    <a:lnTo>
                      <a:pt x="5088" y="974"/>
                    </a:lnTo>
                    <a:lnTo>
                      <a:pt x="5100" y="978"/>
                    </a:lnTo>
                    <a:lnTo>
                      <a:pt x="5110" y="982"/>
                    </a:lnTo>
                    <a:lnTo>
                      <a:pt x="5114" y="986"/>
                    </a:lnTo>
                    <a:lnTo>
                      <a:pt x="5116" y="988"/>
                    </a:lnTo>
                    <a:lnTo>
                      <a:pt x="5116" y="992"/>
                    </a:lnTo>
                    <a:lnTo>
                      <a:pt x="5114" y="998"/>
                    </a:lnTo>
                    <a:lnTo>
                      <a:pt x="5108" y="1004"/>
                    </a:lnTo>
                    <a:lnTo>
                      <a:pt x="5100" y="1012"/>
                    </a:lnTo>
                    <a:lnTo>
                      <a:pt x="5100" y="1012"/>
                    </a:lnTo>
                    <a:lnTo>
                      <a:pt x="5084" y="1024"/>
                    </a:lnTo>
                    <a:lnTo>
                      <a:pt x="5076" y="1028"/>
                    </a:lnTo>
                    <a:lnTo>
                      <a:pt x="5072" y="1030"/>
                    </a:lnTo>
                    <a:lnTo>
                      <a:pt x="5068" y="1028"/>
                    </a:lnTo>
                    <a:lnTo>
                      <a:pt x="5064" y="1026"/>
                    </a:lnTo>
                    <a:lnTo>
                      <a:pt x="5058" y="1020"/>
                    </a:lnTo>
                    <a:lnTo>
                      <a:pt x="5052" y="1012"/>
                    </a:lnTo>
                    <a:lnTo>
                      <a:pt x="5044" y="1004"/>
                    </a:lnTo>
                    <a:lnTo>
                      <a:pt x="5040" y="1000"/>
                    </a:lnTo>
                    <a:lnTo>
                      <a:pt x="5034" y="996"/>
                    </a:lnTo>
                    <a:lnTo>
                      <a:pt x="5028" y="996"/>
                    </a:lnTo>
                    <a:lnTo>
                      <a:pt x="5020" y="994"/>
                    </a:lnTo>
                    <a:lnTo>
                      <a:pt x="5020" y="994"/>
                    </a:lnTo>
                    <a:lnTo>
                      <a:pt x="5012" y="994"/>
                    </a:lnTo>
                    <a:lnTo>
                      <a:pt x="5006" y="992"/>
                    </a:lnTo>
                    <a:lnTo>
                      <a:pt x="5004" y="990"/>
                    </a:lnTo>
                    <a:lnTo>
                      <a:pt x="5002" y="988"/>
                    </a:lnTo>
                    <a:lnTo>
                      <a:pt x="5000" y="978"/>
                    </a:lnTo>
                    <a:lnTo>
                      <a:pt x="5000" y="970"/>
                    </a:lnTo>
                    <a:lnTo>
                      <a:pt x="5000" y="962"/>
                    </a:lnTo>
                    <a:lnTo>
                      <a:pt x="4998" y="960"/>
                    </a:lnTo>
                    <a:lnTo>
                      <a:pt x="4994" y="958"/>
                    </a:lnTo>
                    <a:lnTo>
                      <a:pt x="4988" y="956"/>
                    </a:lnTo>
                    <a:lnTo>
                      <a:pt x="4980" y="958"/>
                    </a:lnTo>
                    <a:lnTo>
                      <a:pt x="4958" y="964"/>
                    </a:lnTo>
                    <a:lnTo>
                      <a:pt x="4958" y="964"/>
                    </a:lnTo>
                    <a:lnTo>
                      <a:pt x="4944" y="968"/>
                    </a:lnTo>
                    <a:lnTo>
                      <a:pt x="4930" y="970"/>
                    </a:lnTo>
                    <a:lnTo>
                      <a:pt x="4920" y="972"/>
                    </a:lnTo>
                    <a:lnTo>
                      <a:pt x="4908" y="972"/>
                    </a:lnTo>
                    <a:lnTo>
                      <a:pt x="4890" y="968"/>
                    </a:lnTo>
                    <a:lnTo>
                      <a:pt x="4870" y="964"/>
                    </a:lnTo>
                    <a:lnTo>
                      <a:pt x="4850" y="958"/>
                    </a:lnTo>
                    <a:lnTo>
                      <a:pt x="4828" y="954"/>
                    </a:lnTo>
                    <a:lnTo>
                      <a:pt x="4814" y="954"/>
                    </a:lnTo>
                    <a:lnTo>
                      <a:pt x="4800" y="954"/>
                    </a:lnTo>
                    <a:lnTo>
                      <a:pt x="4784" y="956"/>
                    </a:lnTo>
                    <a:lnTo>
                      <a:pt x="4766" y="958"/>
                    </a:lnTo>
                    <a:lnTo>
                      <a:pt x="4766" y="958"/>
                    </a:lnTo>
                    <a:lnTo>
                      <a:pt x="4732" y="966"/>
                    </a:lnTo>
                    <a:lnTo>
                      <a:pt x="4706" y="966"/>
                    </a:lnTo>
                    <a:lnTo>
                      <a:pt x="4686" y="964"/>
                    </a:lnTo>
                    <a:lnTo>
                      <a:pt x="4674" y="960"/>
                    </a:lnTo>
                    <a:lnTo>
                      <a:pt x="4668" y="956"/>
                    </a:lnTo>
                    <a:lnTo>
                      <a:pt x="4666" y="952"/>
                    </a:lnTo>
                    <a:lnTo>
                      <a:pt x="4662" y="944"/>
                    </a:lnTo>
                    <a:lnTo>
                      <a:pt x="4664" y="934"/>
                    </a:lnTo>
                    <a:lnTo>
                      <a:pt x="4668" y="924"/>
                    </a:lnTo>
                    <a:lnTo>
                      <a:pt x="4668" y="924"/>
                    </a:lnTo>
                    <a:lnTo>
                      <a:pt x="4670" y="918"/>
                    </a:lnTo>
                    <a:lnTo>
                      <a:pt x="4670" y="912"/>
                    </a:lnTo>
                    <a:lnTo>
                      <a:pt x="4668" y="906"/>
                    </a:lnTo>
                    <a:lnTo>
                      <a:pt x="4662" y="898"/>
                    </a:lnTo>
                    <a:lnTo>
                      <a:pt x="4656" y="892"/>
                    </a:lnTo>
                    <a:lnTo>
                      <a:pt x="4648" y="884"/>
                    </a:lnTo>
                    <a:lnTo>
                      <a:pt x="4636" y="878"/>
                    </a:lnTo>
                    <a:lnTo>
                      <a:pt x="4624" y="872"/>
                    </a:lnTo>
                    <a:lnTo>
                      <a:pt x="4608" y="868"/>
                    </a:lnTo>
                    <a:lnTo>
                      <a:pt x="4592" y="862"/>
                    </a:lnTo>
                    <a:lnTo>
                      <a:pt x="4572" y="860"/>
                    </a:lnTo>
                    <a:lnTo>
                      <a:pt x="4552" y="856"/>
                    </a:lnTo>
                    <a:lnTo>
                      <a:pt x="4528" y="856"/>
                    </a:lnTo>
                    <a:lnTo>
                      <a:pt x="4504" y="856"/>
                    </a:lnTo>
                    <a:lnTo>
                      <a:pt x="4476" y="860"/>
                    </a:lnTo>
                    <a:lnTo>
                      <a:pt x="4448" y="864"/>
                    </a:lnTo>
                    <a:lnTo>
                      <a:pt x="4448" y="864"/>
                    </a:lnTo>
                    <a:lnTo>
                      <a:pt x="4420" y="868"/>
                    </a:lnTo>
                    <a:lnTo>
                      <a:pt x="4396" y="870"/>
                    </a:lnTo>
                    <a:lnTo>
                      <a:pt x="4374" y="868"/>
                    </a:lnTo>
                    <a:lnTo>
                      <a:pt x="4358" y="866"/>
                    </a:lnTo>
                    <a:lnTo>
                      <a:pt x="4342" y="860"/>
                    </a:lnTo>
                    <a:lnTo>
                      <a:pt x="4328" y="854"/>
                    </a:lnTo>
                    <a:lnTo>
                      <a:pt x="4318" y="848"/>
                    </a:lnTo>
                    <a:lnTo>
                      <a:pt x="4308" y="840"/>
                    </a:lnTo>
                    <a:lnTo>
                      <a:pt x="4292" y="822"/>
                    </a:lnTo>
                    <a:lnTo>
                      <a:pt x="4278" y="804"/>
                    </a:lnTo>
                    <a:lnTo>
                      <a:pt x="4264" y="788"/>
                    </a:lnTo>
                    <a:lnTo>
                      <a:pt x="4256" y="782"/>
                    </a:lnTo>
                    <a:lnTo>
                      <a:pt x="4246" y="778"/>
                    </a:lnTo>
                    <a:lnTo>
                      <a:pt x="4246" y="778"/>
                    </a:lnTo>
                    <a:lnTo>
                      <a:pt x="4228" y="772"/>
                    </a:lnTo>
                    <a:lnTo>
                      <a:pt x="4214" y="768"/>
                    </a:lnTo>
                    <a:lnTo>
                      <a:pt x="4186" y="768"/>
                    </a:lnTo>
                    <a:lnTo>
                      <a:pt x="4154" y="764"/>
                    </a:lnTo>
                    <a:lnTo>
                      <a:pt x="4130" y="762"/>
                    </a:lnTo>
                    <a:lnTo>
                      <a:pt x="4100" y="754"/>
                    </a:lnTo>
                    <a:lnTo>
                      <a:pt x="4100" y="754"/>
                    </a:lnTo>
                    <a:lnTo>
                      <a:pt x="4068" y="748"/>
                    </a:lnTo>
                    <a:lnTo>
                      <a:pt x="4044" y="744"/>
                    </a:lnTo>
                    <a:lnTo>
                      <a:pt x="4002" y="740"/>
                    </a:lnTo>
                    <a:lnTo>
                      <a:pt x="3964" y="738"/>
                    </a:lnTo>
                    <a:lnTo>
                      <a:pt x="3944" y="734"/>
                    </a:lnTo>
                    <a:lnTo>
                      <a:pt x="3922" y="730"/>
                    </a:lnTo>
                    <a:lnTo>
                      <a:pt x="3922" y="730"/>
                    </a:lnTo>
                    <a:lnTo>
                      <a:pt x="3902" y="724"/>
                    </a:lnTo>
                    <a:lnTo>
                      <a:pt x="3892" y="724"/>
                    </a:lnTo>
                    <a:lnTo>
                      <a:pt x="3892" y="726"/>
                    </a:lnTo>
                    <a:lnTo>
                      <a:pt x="3890" y="728"/>
                    </a:lnTo>
                    <a:lnTo>
                      <a:pt x="3890" y="734"/>
                    </a:lnTo>
                    <a:lnTo>
                      <a:pt x="3892" y="740"/>
                    </a:lnTo>
                    <a:lnTo>
                      <a:pt x="3890" y="744"/>
                    </a:lnTo>
                    <a:lnTo>
                      <a:pt x="3888" y="746"/>
                    </a:lnTo>
                    <a:lnTo>
                      <a:pt x="3882" y="750"/>
                    </a:lnTo>
                    <a:lnTo>
                      <a:pt x="3876" y="752"/>
                    </a:lnTo>
                    <a:lnTo>
                      <a:pt x="3854" y="754"/>
                    </a:lnTo>
                    <a:lnTo>
                      <a:pt x="3854" y="754"/>
                    </a:lnTo>
                    <a:lnTo>
                      <a:pt x="3842" y="756"/>
                    </a:lnTo>
                    <a:lnTo>
                      <a:pt x="3834" y="758"/>
                    </a:lnTo>
                    <a:lnTo>
                      <a:pt x="3830" y="764"/>
                    </a:lnTo>
                    <a:lnTo>
                      <a:pt x="3830" y="768"/>
                    </a:lnTo>
                    <a:lnTo>
                      <a:pt x="3832" y="776"/>
                    </a:lnTo>
                    <a:lnTo>
                      <a:pt x="3836" y="782"/>
                    </a:lnTo>
                    <a:lnTo>
                      <a:pt x="3846" y="798"/>
                    </a:lnTo>
                    <a:lnTo>
                      <a:pt x="3856" y="812"/>
                    </a:lnTo>
                    <a:lnTo>
                      <a:pt x="3860" y="818"/>
                    </a:lnTo>
                    <a:lnTo>
                      <a:pt x="3862" y="822"/>
                    </a:lnTo>
                    <a:lnTo>
                      <a:pt x="3860" y="826"/>
                    </a:lnTo>
                    <a:lnTo>
                      <a:pt x="3856" y="828"/>
                    </a:lnTo>
                    <a:lnTo>
                      <a:pt x="3848" y="826"/>
                    </a:lnTo>
                    <a:lnTo>
                      <a:pt x="3836" y="824"/>
                    </a:lnTo>
                    <a:lnTo>
                      <a:pt x="3836" y="824"/>
                    </a:lnTo>
                    <a:lnTo>
                      <a:pt x="3810" y="818"/>
                    </a:lnTo>
                    <a:lnTo>
                      <a:pt x="3792" y="818"/>
                    </a:lnTo>
                    <a:lnTo>
                      <a:pt x="3778" y="818"/>
                    </a:lnTo>
                    <a:lnTo>
                      <a:pt x="3770" y="820"/>
                    </a:lnTo>
                    <a:lnTo>
                      <a:pt x="3760" y="824"/>
                    </a:lnTo>
                    <a:lnTo>
                      <a:pt x="3750" y="824"/>
                    </a:lnTo>
                    <a:lnTo>
                      <a:pt x="3736" y="824"/>
                    </a:lnTo>
                    <a:lnTo>
                      <a:pt x="3716" y="820"/>
                    </a:lnTo>
                    <a:lnTo>
                      <a:pt x="3716" y="820"/>
                    </a:lnTo>
                    <a:lnTo>
                      <a:pt x="3704" y="818"/>
                    </a:lnTo>
                    <a:lnTo>
                      <a:pt x="3694" y="818"/>
                    </a:lnTo>
                    <a:lnTo>
                      <a:pt x="3686" y="818"/>
                    </a:lnTo>
                    <a:lnTo>
                      <a:pt x="3676" y="820"/>
                    </a:lnTo>
                    <a:lnTo>
                      <a:pt x="3662" y="826"/>
                    </a:lnTo>
                    <a:lnTo>
                      <a:pt x="3650" y="832"/>
                    </a:lnTo>
                    <a:lnTo>
                      <a:pt x="3638" y="836"/>
                    </a:lnTo>
                    <a:lnTo>
                      <a:pt x="3632" y="838"/>
                    </a:lnTo>
                    <a:lnTo>
                      <a:pt x="3624" y="836"/>
                    </a:lnTo>
                    <a:lnTo>
                      <a:pt x="3616" y="836"/>
                    </a:lnTo>
                    <a:lnTo>
                      <a:pt x="3608" y="832"/>
                    </a:lnTo>
                    <a:lnTo>
                      <a:pt x="3598" y="826"/>
                    </a:lnTo>
                    <a:lnTo>
                      <a:pt x="3586" y="818"/>
                    </a:lnTo>
                    <a:lnTo>
                      <a:pt x="3586" y="818"/>
                    </a:lnTo>
                    <a:lnTo>
                      <a:pt x="3576" y="812"/>
                    </a:lnTo>
                    <a:lnTo>
                      <a:pt x="3566" y="810"/>
                    </a:lnTo>
                    <a:lnTo>
                      <a:pt x="3558" y="810"/>
                    </a:lnTo>
                    <a:lnTo>
                      <a:pt x="3552" y="814"/>
                    </a:lnTo>
                    <a:lnTo>
                      <a:pt x="3546" y="820"/>
                    </a:lnTo>
                    <a:lnTo>
                      <a:pt x="3540" y="828"/>
                    </a:lnTo>
                    <a:lnTo>
                      <a:pt x="3530" y="848"/>
                    </a:lnTo>
                    <a:lnTo>
                      <a:pt x="3520" y="864"/>
                    </a:lnTo>
                    <a:lnTo>
                      <a:pt x="3514" y="872"/>
                    </a:lnTo>
                    <a:lnTo>
                      <a:pt x="3508" y="876"/>
                    </a:lnTo>
                    <a:lnTo>
                      <a:pt x="3500" y="878"/>
                    </a:lnTo>
                    <a:lnTo>
                      <a:pt x="3492" y="878"/>
                    </a:lnTo>
                    <a:lnTo>
                      <a:pt x="3482" y="872"/>
                    </a:lnTo>
                    <a:lnTo>
                      <a:pt x="3470" y="864"/>
                    </a:lnTo>
                    <a:lnTo>
                      <a:pt x="3470" y="864"/>
                    </a:lnTo>
                    <a:lnTo>
                      <a:pt x="3428" y="824"/>
                    </a:lnTo>
                    <a:lnTo>
                      <a:pt x="3402" y="796"/>
                    </a:lnTo>
                    <a:lnTo>
                      <a:pt x="3390" y="784"/>
                    </a:lnTo>
                    <a:lnTo>
                      <a:pt x="3380" y="776"/>
                    </a:lnTo>
                    <a:lnTo>
                      <a:pt x="3368" y="768"/>
                    </a:lnTo>
                    <a:lnTo>
                      <a:pt x="3352" y="762"/>
                    </a:lnTo>
                    <a:lnTo>
                      <a:pt x="3352" y="762"/>
                    </a:lnTo>
                    <a:lnTo>
                      <a:pt x="3346" y="760"/>
                    </a:lnTo>
                    <a:lnTo>
                      <a:pt x="3342" y="760"/>
                    </a:lnTo>
                    <a:lnTo>
                      <a:pt x="3338" y="762"/>
                    </a:lnTo>
                    <a:lnTo>
                      <a:pt x="3338" y="764"/>
                    </a:lnTo>
                    <a:lnTo>
                      <a:pt x="3340" y="772"/>
                    </a:lnTo>
                    <a:lnTo>
                      <a:pt x="3344" y="782"/>
                    </a:lnTo>
                    <a:lnTo>
                      <a:pt x="3348" y="792"/>
                    </a:lnTo>
                    <a:lnTo>
                      <a:pt x="3350" y="798"/>
                    </a:lnTo>
                    <a:lnTo>
                      <a:pt x="3348" y="798"/>
                    </a:lnTo>
                    <a:lnTo>
                      <a:pt x="3346" y="798"/>
                    </a:lnTo>
                    <a:lnTo>
                      <a:pt x="3336" y="790"/>
                    </a:lnTo>
                    <a:lnTo>
                      <a:pt x="3336" y="790"/>
                    </a:lnTo>
                    <a:lnTo>
                      <a:pt x="3318" y="778"/>
                    </a:lnTo>
                    <a:lnTo>
                      <a:pt x="3296" y="766"/>
                    </a:lnTo>
                    <a:lnTo>
                      <a:pt x="3270" y="754"/>
                    </a:lnTo>
                    <a:lnTo>
                      <a:pt x="3242" y="744"/>
                    </a:lnTo>
                    <a:lnTo>
                      <a:pt x="3208" y="734"/>
                    </a:lnTo>
                    <a:lnTo>
                      <a:pt x="3170" y="728"/>
                    </a:lnTo>
                    <a:lnTo>
                      <a:pt x="3128" y="722"/>
                    </a:lnTo>
                    <a:lnTo>
                      <a:pt x="3082" y="716"/>
                    </a:lnTo>
                    <a:lnTo>
                      <a:pt x="3082" y="716"/>
                    </a:lnTo>
                    <a:lnTo>
                      <a:pt x="3030" y="712"/>
                    </a:lnTo>
                    <a:lnTo>
                      <a:pt x="3012" y="708"/>
                    </a:lnTo>
                    <a:lnTo>
                      <a:pt x="3000" y="704"/>
                    </a:lnTo>
                    <a:lnTo>
                      <a:pt x="2994" y="702"/>
                    </a:lnTo>
                    <a:lnTo>
                      <a:pt x="2992" y="698"/>
                    </a:lnTo>
                    <a:lnTo>
                      <a:pt x="2992" y="694"/>
                    </a:lnTo>
                    <a:lnTo>
                      <a:pt x="2994" y="690"/>
                    </a:lnTo>
                    <a:lnTo>
                      <a:pt x="3002" y="684"/>
                    </a:lnTo>
                    <a:lnTo>
                      <a:pt x="3008" y="678"/>
                    </a:lnTo>
                    <a:lnTo>
                      <a:pt x="3008" y="676"/>
                    </a:lnTo>
                    <a:lnTo>
                      <a:pt x="3006" y="674"/>
                    </a:lnTo>
                    <a:lnTo>
                      <a:pt x="3002" y="672"/>
                    </a:lnTo>
                    <a:lnTo>
                      <a:pt x="2992" y="670"/>
                    </a:lnTo>
                    <a:lnTo>
                      <a:pt x="2992" y="670"/>
                    </a:lnTo>
                    <a:lnTo>
                      <a:pt x="2946" y="666"/>
                    </a:lnTo>
                    <a:lnTo>
                      <a:pt x="2904" y="664"/>
                    </a:lnTo>
                    <a:lnTo>
                      <a:pt x="2864" y="664"/>
                    </a:lnTo>
                    <a:lnTo>
                      <a:pt x="2844" y="666"/>
                    </a:lnTo>
                    <a:lnTo>
                      <a:pt x="2822" y="670"/>
                    </a:lnTo>
                    <a:lnTo>
                      <a:pt x="2822" y="670"/>
                    </a:lnTo>
                    <a:lnTo>
                      <a:pt x="2814" y="670"/>
                    </a:lnTo>
                    <a:lnTo>
                      <a:pt x="2806" y="670"/>
                    </a:lnTo>
                    <a:lnTo>
                      <a:pt x="2800" y="670"/>
                    </a:lnTo>
                    <a:lnTo>
                      <a:pt x="2794" y="668"/>
                    </a:lnTo>
                    <a:lnTo>
                      <a:pt x="2790" y="662"/>
                    </a:lnTo>
                    <a:lnTo>
                      <a:pt x="2786" y="654"/>
                    </a:lnTo>
                    <a:lnTo>
                      <a:pt x="2784" y="648"/>
                    </a:lnTo>
                    <a:lnTo>
                      <a:pt x="2780" y="644"/>
                    </a:lnTo>
                    <a:lnTo>
                      <a:pt x="2778" y="642"/>
                    </a:lnTo>
                    <a:lnTo>
                      <a:pt x="2774" y="642"/>
                    </a:lnTo>
                    <a:lnTo>
                      <a:pt x="2762" y="648"/>
                    </a:lnTo>
                    <a:lnTo>
                      <a:pt x="2762" y="648"/>
                    </a:lnTo>
                    <a:lnTo>
                      <a:pt x="2748" y="654"/>
                    </a:lnTo>
                    <a:lnTo>
                      <a:pt x="2738" y="654"/>
                    </a:lnTo>
                    <a:lnTo>
                      <a:pt x="2730" y="652"/>
                    </a:lnTo>
                    <a:lnTo>
                      <a:pt x="2722" y="648"/>
                    </a:lnTo>
                    <a:lnTo>
                      <a:pt x="2714" y="644"/>
                    </a:lnTo>
                    <a:lnTo>
                      <a:pt x="2704" y="640"/>
                    </a:lnTo>
                    <a:lnTo>
                      <a:pt x="2692" y="638"/>
                    </a:lnTo>
                    <a:lnTo>
                      <a:pt x="2676" y="640"/>
                    </a:lnTo>
                    <a:lnTo>
                      <a:pt x="2676" y="640"/>
                    </a:lnTo>
                    <a:lnTo>
                      <a:pt x="2660" y="644"/>
                    </a:lnTo>
                    <a:lnTo>
                      <a:pt x="2652" y="650"/>
                    </a:lnTo>
                    <a:lnTo>
                      <a:pt x="2650" y="658"/>
                    </a:lnTo>
                    <a:lnTo>
                      <a:pt x="2648" y="664"/>
                    </a:lnTo>
                    <a:lnTo>
                      <a:pt x="2642" y="672"/>
                    </a:lnTo>
                    <a:lnTo>
                      <a:pt x="2634" y="680"/>
                    </a:lnTo>
                    <a:lnTo>
                      <a:pt x="2614" y="686"/>
                    </a:lnTo>
                    <a:lnTo>
                      <a:pt x="2586" y="692"/>
                    </a:lnTo>
                    <a:lnTo>
                      <a:pt x="2586" y="692"/>
                    </a:lnTo>
                    <a:lnTo>
                      <a:pt x="2554" y="696"/>
                    </a:lnTo>
                    <a:lnTo>
                      <a:pt x="2530" y="698"/>
                    </a:lnTo>
                    <a:lnTo>
                      <a:pt x="2516" y="696"/>
                    </a:lnTo>
                    <a:lnTo>
                      <a:pt x="2512" y="694"/>
                    </a:lnTo>
                    <a:lnTo>
                      <a:pt x="2512" y="692"/>
                    </a:lnTo>
                    <a:lnTo>
                      <a:pt x="2512" y="690"/>
                    </a:lnTo>
                    <a:lnTo>
                      <a:pt x="2516" y="686"/>
                    </a:lnTo>
                    <a:lnTo>
                      <a:pt x="2528" y="676"/>
                    </a:lnTo>
                    <a:lnTo>
                      <a:pt x="2550" y="666"/>
                    </a:lnTo>
                    <a:lnTo>
                      <a:pt x="2580" y="652"/>
                    </a:lnTo>
                    <a:lnTo>
                      <a:pt x="2580" y="652"/>
                    </a:lnTo>
                    <a:lnTo>
                      <a:pt x="2610" y="640"/>
                    </a:lnTo>
                    <a:lnTo>
                      <a:pt x="2632" y="628"/>
                    </a:lnTo>
                    <a:lnTo>
                      <a:pt x="2660" y="610"/>
                    </a:lnTo>
                    <a:lnTo>
                      <a:pt x="2672" y="602"/>
                    </a:lnTo>
                    <a:lnTo>
                      <a:pt x="2688" y="594"/>
                    </a:lnTo>
                    <a:lnTo>
                      <a:pt x="2706" y="586"/>
                    </a:lnTo>
                    <a:lnTo>
                      <a:pt x="2734" y="576"/>
                    </a:lnTo>
                    <a:lnTo>
                      <a:pt x="2734" y="576"/>
                    </a:lnTo>
                    <a:lnTo>
                      <a:pt x="2762" y="566"/>
                    </a:lnTo>
                    <a:lnTo>
                      <a:pt x="2782" y="554"/>
                    </a:lnTo>
                    <a:lnTo>
                      <a:pt x="2788" y="548"/>
                    </a:lnTo>
                    <a:lnTo>
                      <a:pt x="2794" y="542"/>
                    </a:lnTo>
                    <a:lnTo>
                      <a:pt x="2802" y="528"/>
                    </a:lnTo>
                    <a:lnTo>
                      <a:pt x="2806" y="514"/>
                    </a:lnTo>
                    <a:lnTo>
                      <a:pt x="2806" y="502"/>
                    </a:lnTo>
                    <a:lnTo>
                      <a:pt x="2802" y="490"/>
                    </a:lnTo>
                    <a:lnTo>
                      <a:pt x="2798" y="478"/>
                    </a:lnTo>
                    <a:lnTo>
                      <a:pt x="2798" y="478"/>
                    </a:lnTo>
                    <a:lnTo>
                      <a:pt x="2792" y="470"/>
                    </a:lnTo>
                    <a:lnTo>
                      <a:pt x="2784" y="464"/>
                    </a:lnTo>
                    <a:lnTo>
                      <a:pt x="2776" y="462"/>
                    </a:lnTo>
                    <a:lnTo>
                      <a:pt x="2768" y="460"/>
                    </a:lnTo>
                    <a:lnTo>
                      <a:pt x="2748" y="454"/>
                    </a:lnTo>
                    <a:lnTo>
                      <a:pt x="2738" y="448"/>
                    </a:lnTo>
                    <a:lnTo>
                      <a:pt x="2724" y="438"/>
                    </a:lnTo>
                    <a:lnTo>
                      <a:pt x="2724" y="438"/>
                    </a:lnTo>
                    <a:lnTo>
                      <a:pt x="2712" y="430"/>
                    </a:lnTo>
                    <a:lnTo>
                      <a:pt x="2700" y="426"/>
                    </a:lnTo>
                    <a:lnTo>
                      <a:pt x="2686" y="424"/>
                    </a:lnTo>
                    <a:lnTo>
                      <a:pt x="2672" y="424"/>
                    </a:lnTo>
                    <a:lnTo>
                      <a:pt x="2644" y="428"/>
                    </a:lnTo>
                    <a:lnTo>
                      <a:pt x="2628" y="428"/>
                    </a:lnTo>
                    <a:lnTo>
                      <a:pt x="2612" y="426"/>
                    </a:lnTo>
                    <a:lnTo>
                      <a:pt x="2612" y="426"/>
                    </a:lnTo>
                    <a:lnTo>
                      <a:pt x="2598" y="424"/>
                    </a:lnTo>
                    <a:lnTo>
                      <a:pt x="2590" y="424"/>
                    </a:lnTo>
                    <a:lnTo>
                      <a:pt x="2582" y="426"/>
                    </a:lnTo>
                    <a:lnTo>
                      <a:pt x="2578" y="428"/>
                    </a:lnTo>
                    <a:lnTo>
                      <a:pt x="2574" y="432"/>
                    </a:lnTo>
                    <a:lnTo>
                      <a:pt x="2566" y="436"/>
                    </a:lnTo>
                    <a:lnTo>
                      <a:pt x="2554" y="440"/>
                    </a:lnTo>
                    <a:lnTo>
                      <a:pt x="2538" y="444"/>
                    </a:lnTo>
                    <a:lnTo>
                      <a:pt x="2538" y="444"/>
                    </a:lnTo>
                    <a:lnTo>
                      <a:pt x="2516" y="444"/>
                    </a:lnTo>
                    <a:lnTo>
                      <a:pt x="2512" y="444"/>
                    </a:lnTo>
                    <a:lnTo>
                      <a:pt x="2512" y="442"/>
                    </a:lnTo>
                    <a:lnTo>
                      <a:pt x="2516" y="436"/>
                    </a:lnTo>
                    <a:lnTo>
                      <a:pt x="2528" y="428"/>
                    </a:lnTo>
                    <a:lnTo>
                      <a:pt x="2538" y="420"/>
                    </a:lnTo>
                    <a:lnTo>
                      <a:pt x="2540" y="416"/>
                    </a:lnTo>
                    <a:lnTo>
                      <a:pt x="2542" y="412"/>
                    </a:lnTo>
                    <a:lnTo>
                      <a:pt x="2540" y="410"/>
                    </a:lnTo>
                    <a:lnTo>
                      <a:pt x="2534" y="406"/>
                    </a:lnTo>
                    <a:lnTo>
                      <a:pt x="2524" y="404"/>
                    </a:lnTo>
                    <a:lnTo>
                      <a:pt x="2508" y="402"/>
                    </a:lnTo>
                    <a:lnTo>
                      <a:pt x="2508" y="402"/>
                    </a:lnTo>
                    <a:lnTo>
                      <a:pt x="2478" y="400"/>
                    </a:lnTo>
                    <a:lnTo>
                      <a:pt x="2458" y="398"/>
                    </a:lnTo>
                    <a:lnTo>
                      <a:pt x="2448" y="394"/>
                    </a:lnTo>
                    <a:lnTo>
                      <a:pt x="2446" y="394"/>
                    </a:lnTo>
                    <a:lnTo>
                      <a:pt x="2446" y="392"/>
                    </a:lnTo>
                    <a:lnTo>
                      <a:pt x="2450" y="388"/>
                    </a:lnTo>
                    <a:lnTo>
                      <a:pt x="2458" y="386"/>
                    </a:lnTo>
                    <a:lnTo>
                      <a:pt x="2486" y="378"/>
                    </a:lnTo>
                    <a:lnTo>
                      <a:pt x="2486" y="378"/>
                    </a:lnTo>
                    <a:lnTo>
                      <a:pt x="2492" y="376"/>
                    </a:lnTo>
                    <a:lnTo>
                      <a:pt x="2496" y="374"/>
                    </a:lnTo>
                    <a:lnTo>
                      <a:pt x="2496" y="370"/>
                    </a:lnTo>
                    <a:lnTo>
                      <a:pt x="2496" y="366"/>
                    </a:lnTo>
                    <a:lnTo>
                      <a:pt x="2492" y="364"/>
                    </a:lnTo>
                    <a:lnTo>
                      <a:pt x="2486" y="360"/>
                    </a:lnTo>
                    <a:lnTo>
                      <a:pt x="2470" y="352"/>
                    </a:lnTo>
                    <a:lnTo>
                      <a:pt x="2448" y="348"/>
                    </a:lnTo>
                    <a:lnTo>
                      <a:pt x="2422" y="348"/>
                    </a:lnTo>
                    <a:lnTo>
                      <a:pt x="2408" y="348"/>
                    </a:lnTo>
                    <a:lnTo>
                      <a:pt x="2392" y="352"/>
                    </a:lnTo>
                    <a:lnTo>
                      <a:pt x="2378" y="356"/>
                    </a:lnTo>
                    <a:lnTo>
                      <a:pt x="2362" y="362"/>
                    </a:lnTo>
                    <a:lnTo>
                      <a:pt x="2362" y="362"/>
                    </a:lnTo>
                    <a:lnTo>
                      <a:pt x="2342" y="370"/>
                    </a:lnTo>
                    <a:lnTo>
                      <a:pt x="2326" y="380"/>
                    </a:lnTo>
                    <a:lnTo>
                      <a:pt x="2314" y="388"/>
                    </a:lnTo>
                    <a:lnTo>
                      <a:pt x="2304" y="396"/>
                    </a:lnTo>
                    <a:lnTo>
                      <a:pt x="2296" y="402"/>
                    </a:lnTo>
                    <a:lnTo>
                      <a:pt x="2292" y="408"/>
                    </a:lnTo>
                    <a:lnTo>
                      <a:pt x="2286" y="420"/>
                    </a:lnTo>
                    <a:lnTo>
                      <a:pt x="2284" y="428"/>
                    </a:lnTo>
                    <a:lnTo>
                      <a:pt x="2280" y="434"/>
                    </a:lnTo>
                    <a:lnTo>
                      <a:pt x="2276" y="436"/>
                    </a:lnTo>
                    <a:lnTo>
                      <a:pt x="2272" y="438"/>
                    </a:lnTo>
                    <a:lnTo>
                      <a:pt x="2256" y="440"/>
                    </a:lnTo>
                    <a:lnTo>
                      <a:pt x="2256" y="440"/>
                    </a:lnTo>
                    <a:lnTo>
                      <a:pt x="2224" y="442"/>
                    </a:lnTo>
                    <a:lnTo>
                      <a:pt x="2208" y="444"/>
                    </a:lnTo>
                    <a:lnTo>
                      <a:pt x="2206" y="444"/>
                    </a:lnTo>
                    <a:lnTo>
                      <a:pt x="2206" y="446"/>
                    </a:lnTo>
                    <a:lnTo>
                      <a:pt x="2206" y="448"/>
                    </a:lnTo>
                    <a:lnTo>
                      <a:pt x="2210" y="452"/>
                    </a:lnTo>
                    <a:lnTo>
                      <a:pt x="2208" y="456"/>
                    </a:lnTo>
                    <a:lnTo>
                      <a:pt x="2206" y="458"/>
                    </a:lnTo>
                    <a:lnTo>
                      <a:pt x="2192" y="464"/>
                    </a:lnTo>
                    <a:lnTo>
                      <a:pt x="2162" y="472"/>
                    </a:lnTo>
                    <a:lnTo>
                      <a:pt x="2162" y="472"/>
                    </a:lnTo>
                    <a:lnTo>
                      <a:pt x="2132" y="478"/>
                    </a:lnTo>
                    <a:lnTo>
                      <a:pt x="2118" y="478"/>
                    </a:lnTo>
                    <a:lnTo>
                      <a:pt x="2114" y="476"/>
                    </a:lnTo>
                    <a:lnTo>
                      <a:pt x="2112" y="474"/>
                    </a:lnTo>
                    <a:lnTo>
                      <a:pt x="2112" y="470"/>
                    </a:lnTo>
                    <a:lnTo>
                      <a:pt x="2110" y="468"/>
                    </a:lnTo>
                    <a:lnTo>
                      <a:pt x="2108" y="464"/>
                    </a:lnTo>
                    <a:lnTo>
                      <a:pt x="2106" y="462"/>
                    </a:lnTo>
                    <a:lnTo>
                      <a:pt x="2098" y="462"/>
                    </a:lnTo>
                    <a:lnTo>
                      <a:pt x="2076" y="460"/>
                    </a:lnTo>
                    <a:lnTo>
                      <a:pt x="2034" y="464"/>
                    </a:lnTo>
                    <a:lnTo>
                      <a:pt x="2034" y="464"/>
                    </a:lnTo>
                    <a:lnTo>
                      <a:pt x="1994" y="472"/>
                    </a:lnTo>
                    <a:lnTo>
                      <a:pt x="1982" y="474"/>
                    </a:lnTo>
                    <a:lnTo>
                      <a:pt x="1974" y="478"/>
                    </a:lnTo>
                    <a:lnTo>
                      <a:pt x="1970" y="482"/>
                    </a:lnTo>
                    <a:lnTo>
                      <a:pt x="1968" y="484"/>
                    </a:lnTo>
                    <a:lnTo>
                      <a:pt x="1970" y="490"/>
                    </a:lnTo>
                    <a:lnTo>
                      <a:pt x="1970" y="494"/>
                    </a:lnTo>
                    <a:lnTo>
                      <a:pt x="1970" y="496"/>
                    </a:lnTo>
                    <a:lnTo>
                      <a:pt x="1968" y="500"/>
                    </a:lnTo>
                    <a:lnTo>
                      <a:pt x="1964" y="502"/>
                    </a:lnTo>
                    <a:lnTo>
                      <a:pt x="1954" y="504"/>
                    </a:lnTo>
                    <a:lnTo>
                      <a:pt x="1942" y="506"/>
                    </a:lnTo>
                    <a:lnTo>
                      <a:pt x="1898" y="512"/>
                    </a:lnTo>
                    <a:lnTo>
                      <a:pt x="1898" y="512"/>
                    </a:lnTo>
                    <a:lnTo>
                      <a:pt x="1850" y="516"/>
                    </a:lnTo>
                    <a:lnTo>
                      <a:pt x="1818" y="522"/>
                    </a:lnTo>
                    <a:lnTo>
                      <a:pt x="1800" y="526"/>
                    </a:lnTo>
                    <a:lnTo>
                      <a:pt x="1790" y="532"/>
                    </a:lnTo>
                    <a:lnTo>
                      <a:pt x="1784" y="538"/>
                    </a:lnTo>
                    <a:lnTo>
                      <a:pt x="1776" y="542"/>
                    </a:lnTo>
                    <a:lnTo>
                      <a:pt x="1764" y="546"/>
                    </a:lnTo>
                    <a:lnTo>
                      <a:pt x="1742" y="550"/>
                    </a:lnTo>
                    <a:lnTo>
                      <a:pt x="1742" y="550"/>
                    </a:lnTo>
                    <a:lnTo>
                      <a:pt x="1728" y="550"/>
                    </a:lnTo>
                    <a:lnTo>
                      <a:pt x="1718" y="554"/>
                    </a:lnTo>
                    <a:lnTo>
                      <a:pt x="1708" y="558"/>
                    </a:lnTo>
                    <a:lnTo>
                      <a:pt x="1698" y="562"/>
                    </a:lnTo>
                    <a:lnTo>
                      <a:pt x="1692" y="566"/>
                    </a:lnTo>
                    <a:lnTo>
                      <a:pt x="1686" y="572"/>
                    </a:lnTo>
                    <a:lnTo>
                      <a:pt x="1682" y="578"/>
                    </a:lnTo>
                    <a:lnTo>
                      <a:pt x="1680" y="584"/>
                    </a:lnTo>
                    <a:lnTo>
                      <a:pt x="1678" y="590"/>
                    </a:lnTo>
                    <a:lnTo>
                      <a:pt x="1678" y="596"/>
                    </a:lnTo>
                    <a:lnTo>
                      <a:pt x="1680" y="602"/>
                    </a:lnTo>
                    <a:lnTo>
                      <a:pt x="1682" y="608"/>
                    </a:lnTo>
                    <a:lnTo>
                      <a:pt x="1686" y="612"/>
                    </a:lnTo>
                    <a:lnTo>
                      <a:pt x="1690" y="616"/>
                    </a:lnTo>
                    <a:lnTo>
                      <a:pt x="1696" y="618"/>
                    </a:lnTo>
                    <a:lnTo>
                      <a:pt x="1704" y="620"/>
                    </a:lnTo>
                    <a:lnTo>
                      <a:pt x="1704" y="620"/>
                    </a:lnTo>
                    <a:lnTo>
                      <a:pt x="1716" y="622"/>
                    </a:lnTo>
                    <a:lnTo>
                      <a:pt x="1724" y="624"/>
                    </a:lnTo>
                    <a:lnTo>
                      <a:pt x="1726" y="628"/>
                    </a:lnTo>
                    <a:lnTo>
                      <a:pt x="1724" y="634"/>
                    </a:lnTo>
                    <a:lnTo>
                      <a:pt x="1716" y="638"/>
                    </a:lnTo>
                    <a:lnTo>
                      <a:pt x="1704" y="644"/>
                    </a:lnTo>
                    <a:lnTo>
                      <a:pt x="1690" y="648"/>
                    </a:lnTo>
                    <a:lnTo>
                      <a:pt x="1672" y="652"/>
                    </a:lnTo>
                    <a:lnTo>
                      <a:pt x="1672" y="652"/>
                    </a:lnTo>
                    <a:lnTo>
                      <a:pt x="1638" y="658"/>
                    </a:lnTo>
                    <a:lnTo>
                      <a:pt x="1604" y="662"/>
                    </a:lnTo>
                    <a:lnTo>
                      <a:pt x="1542" y="662"/>
                    </a:lnTo>
                    <a:lnTo>
                      <a:pt x="1514" y="662"/>
                    </a:lnTo>
                    <a:lnTo>
                      <a:pt x="1490" y="666"/>
                    </a:lnTo>
                    <a:lnTo>
                      <a:pt x="1480" y="668"/>
                    </a:lnTo>
                    <a:lnTo>
                      <a:pt x="1470" y="672"/>
                    </a:lnTo>
                    <a:lnTo>
                      <a:pt x="1462" y="676"/>
                    </a:lnTo>
                    <a:lnTo>
                      <a:pt x="1458" y="682"/>
                    </a:lnTo>
                    <a:lnTo>
                      <a:pt x="1458" y="682"/>
                    </a:lnTo>
                    <a:lnTo>
                      <a:pt x="1450" y="692"/>
                    </a:lnTo>
                    <a:lnTo>
                      <a:pt x="1450" y="696"/>
                    </a:lnTo>
                    <a:lnTo>
                      <a:pt x="1452" y="698"/>
                    </a:lnTo>
                    <a:lnTo>
                      <a:pt x="1456" y="702"/>
                    </a:lnTo>
                    <a:lnTo>
                      <a:pt x="1462" y="704"/>
                    </a:lnTo>
                    <a:lnTo>
                      <a:pt x="1470" y="706"/>
                    </a:lnTo>
                    <a:lnTo>
                      <a:pt x="1476" y="710"/>
                    </a:lnTo>
                    <a:lnTo>
                      <a:pt x="1476" y="714"/>
                    </a:lnTo>
                    <a:lnTo>
                      <a:pt x="1476" y="718"/>
                    </a:lnTo>
                    <a:lnTo>
                      <a:pt x="1476" y="724"/>
                    </a:lnTo>
                    <a:lnTo>
                      <a:pt x="1472" y="732"/>
                    </a:lnTo>
                    <a:lnTo>
                      <a:pt x="1472" y="732"/>
                    </a:lnTo>
                    <a:lnTo>
                      <a:pt x="1468" y="738"/>
                    </a:lnTo>
                    <a:lnTo>
                      <a:pt x="1468" y="744"/>
                    </a:lnTo>
                    <a:lnTo>
                      <a:pt x="1468" y="748"/>
                    </a:lnTo>
                    <a:lnTo>
                      <a:pt x="1472" y="752"/>
                    </a:lnTo>
                    <a:lnTo>
                      <a:pt x="1480" y="756"/>
                    </a:lnTo>
                    <a:lnTo>
                      <a:pt x="1492" y="758"/>
                    </a:lnTo>
                    <a:lnTo>
                      <a:pt x="1506" y="760"/>
                    </a:lnTo>
                    <a:lnTo>
                      <a:pt x="1520" y="764"/>
                    </a:lnTo>
                    <a:lnTo>
                      <a:pt x="1524" y="766"/>
                    </a:lnTo>
                    <a:lnTo>
                      <a:pt x="1528" y="770"/>
                    </a:lnTo>
                    <a:lnTo>
                      <a:pt x="1532" y="774"/>
                    </a:lnTo>
                    <a:lnTo>
                      <a:pt x="1532" y="780"/>
                    </a:lnTo>
                    <a:lnTo>
                      <a:pt x="1532" y="780"/>
                    </a:lnTo>
                    <a:lnTo>
                      <a:pt x="1534" y="786"/>
                    </a:lnTo>
                    <a:lnTo>
                      <a:pt x="1536" y="790"/>
                    </a:lnTo>
                    <a:lnTo>
                      <a:pt x="1540" y="792"/>
                    </a:lnTo>
                    <a:lnTo>
                      <a:pt x="1546" y="794"/>
                    </a:lnTo>
                    <a:lnTo>
                      <a:pt x="1556" y="796"/>
                    </a:lnTo>
                    <a:lnTo>
                      <a:pt x="1568" y="796"/>
                    </a:lnTo>
                    <a:lnTo>
                      <a:pt x="1580" y="798"/>
                    </a:lnTo>
                    <a:lnTo>
                      <a:pt x="1584" y="800"/>
                    </a:lnTo>
                    <a:lnTo>
                      <a:pt x="1586" y="804"/>
                    </a:lnTo>
                    <a:lnTo>
                      <a:pt x="1588" y="806"/>
                    </a:lnTo>
                    <a:lnTo>
                      <a:pt x="1588" y="812"/>
                    </a:lnTo>
                    <a:lnTo>
                      <a:pt x="1586" y="818"/>
                    </a:lnTo>
                    <a:lnTo>
                      <a:pt x="1582" y="828"/>
                    </a:lnTo>
                    <a:lnTo>
                      <a:pt x="1582" y="828"/>
                    </a:lnTo>
                    <a:lnTo>
                      <a:pt x="1578" y="836"/>
                    </a:lnTo>
                    <a:lnTo>
                      <a:pt x="1576" y="844"/>
                    </a:lnTo>
                    <a:lnTo>
                      <a:pt x="1576" y="852"/>
                    </a:lnTo>
                    <a:lnTo>
                      <a:pt x="1578" y="858"/>
                    </a:lnTo>
                    <a:lnTo>
                      <a:pt x="1582" y="868"/>
                    </a:lnTo>
                    <a:lnTo>
                      <a:pt x="1590" y="876"/>
                    </a:lnTo>
                    <a:lnTo>
                      <a:pt x="1596" y="882"/>
                    </a:lnTo>
                    <a:lnTo>
                      <a:pt x="1598" y="886"/>
                    </a:lnTo>
                    <a:lnTo>
                      <a:pt x="1598" y="890"/>
                    </a:lnTo>
                    <a:lnTo>
                      <a:pt x="1598" y="896"/>
                    </a:lnTo>
                    <a:lnTo>
                      <a:pt x="1596" y="900"/>
                    </a:lnTo>
                    <a:lnTo>
                      <a:pt x="1590" y="906"/>
                    </a:lnTo>
                    <a:lnTo>
                      <a:pt x="1584" y="912"/>
                    </a:lnTo>
                    <a:lnTo>
                      <a:pt x="1584" y="912"/>
                    </a:lnTo>
                    <a:lnTo>
                      <a:pt x="1570" y="922"/>
                    </a:lnTo>
                    <a:lnTo>
                      <a:pt x="1566" y="924"/>
                    </a:lnTo>
                    <a:lnTo>
                      <a:pt x="1564" y="922"/>
                    </a:lnTo>
                    <a:lnTo>
                      <a:pt x="1566" y="912"/>
                    </a:lnTo>
                    <a:lnTo>
                      <a:pt x="1568" y="898"/>
                    </a:lnTo>
                    <a:lnTo>
                      <a:pt x="1572" y="884"/>
                    </a:lnTo>
                    <a:lnTo>
                      <a:pt x="1572" y="878"/>
                    </a:lnTo>
                    <a:lnTo>
                      <a:pt x="1572" y="872"/>
                    </a:lnTo>
                    <a:lnTo>
                      <a:pt x="1570" y="866"/>
                    </a:lnTo>
                    <a:lnTo>
                      <a:pt x="1566" y="864"/>
                    </a:lnTo>
                    <a:lnTo>
                      <a:pt x="1560" y="864"/>
                    </a:lnTo>
                    <a:lnTo>
                      <a:pt x="1552" y="866"/>
                    </a:lnTo>
                    <a:lnTo>
                      <a:pt x="1552" y="866"/>
                    </a:lnTo>
                    <a:lnTo>
                      <a:pt x="1542" y="868"/>
                    </a:lnTo>
                    <a:lnTo>
                      <a:pt x="1538" y="868"/>
                    </a:lnTo>
                    <a:lnTo>
                      <a:pt x="1536" y="866"/>
                    </a:lnTo>
                    <a:lnTo>
                      <a:pt x="1536" y="864"/>
                    </a:lnTo>
                    <a:lnTo>
                      <a:pt x="1542" y="856"/>
                    </a:lnTo>
                    <a:lnTo>
                      <a:pt x="1550" y="844"/>
                    </a:lnTo>
                    <a:lnTo>
                      <a:pt x="1560" y="832"/>
                    </a:lnTo>
                    <a:lnTo>
                      <a:pt x="1562" y="826"/>
                    </a:lnTo>
                    <a:lnTo>
                      <a:pt x="1564" y="820"/>
                    </a:lnTo>
                    <a:lnTo>
                      <a:pt x="1562" y="816"/>
                    </a:lnTo>
                    <a:lnTo>
                      <a:pt x="1558" y="812"/>
                    </a:lnTo>
                    <a:lnTo>
                      <a:pt x="1552" y="810"/>
                    </a:lnTo>
                    <a:lnTo>
                      <a:pt x="1540" y="810"/>
                    </a:lnTo>
                    <a:lnTo>
                      <a:pt x="1540" y="810"/>
                    </a:lnTo>
                    <a:lnTo>
                      <a:pt x="1518" y="810"/>
                    </a:lnTo>
                    <a:lnTo>
                      <a:pt x="1504" y="806"/>
                    </a:lnTo>
                    <a:lnTo>
                      <a:pt x="1492" y="798"/>
                    </a:lnTo>
                    <a:lnTo>
                      <a:pt x="1482" y="792"/>
                    </a:lnTo>
                    <a:lnTo>
                      <a:pt x="1472" y="782"/>
                    </a:lnTo>
                    <a:lnTo>
                      <a:pt x="1460" y="774"/>
                    </a:lnTo>
                    <a:lnTo>
                      <a:pt x="1442" y="768"/>
                    </a:lnTo>
                    <a:lnTo>
                      <a:pt x="1416" y="762"/>
                    </a:lnTo>
                    <a:lnTo>
                      <a:pt x="1416" y="762"/>
                    </a:lnTo>
                    <a:lnTo>
                      <a:pt x="1400" y="760"/>
                    </a:lnTo>
                    <a:lnTo>
                      <a:pt x="1386" y="760"/>
                    </a:lnTo>
                    <a:lnTo>
                      <a:pt x="1374" y="760"/>
                    </a:lnTo>
                    <a:lnTo>
                      <a:pt x="1364" y="762"/>
                    </a:lnTo>
                    <a:lnTo>
                      <a:pt x="1358" y="764"/>
                    </a:lnTo>
                    <a:lnTo>
                      <a:pt x="1352" y="768"/>
                    </a:lnTo>
                    <a:lnTo>
                      <a:pt x="1346" y="776"/>
                    </a:lnTo>
                    <a:lnTo>
                      <a:pt x="1342" y="784"/>
                    </a:lnTo>
                    <a:lnTo>
                      <a:pt x="1340" y="790"/>
                    </a:lnTo>
                    <a:lnTo>
                      <a:pt x="1336" y="794"/>
                    </a:lnTo>
                    <a:lnTo>
                      <a:pt x="1334" y="794"/>
                    </a:lnTo>
                    <a:lnTo>
                      <a:pt x="1330" y="792"/>
                    </a:lnTo>
                    <a:lnTo>
                      <a:pt x="1330" y="792"/>
                    </a:lnTo>
                    <a:lnTo>
                      <a:pt x="1316" y="788"/>
                    </a:lnTo>
                    <a:lnTo>
                      <a:pt x="1302" y="788"/>
                    </a:lnTo>
                    <a:lnTo>
                      <a:pt x="1292" y="792"/>
                    </a:lnTo>
                    <a:lnTo>
                      <a:pt x="1284" y="796"/>
                    </a:lnTo>
                    <a:lnTo>
                      <a:pt x="1282" y="800"/>
                    </a:lnTo>
                    <a:lnTo>
                      <a:pt x="1282" y="804"/>
                    </a:lnTo>
                    <a:lnTo>
                      <a:pt x="1282" y="808"/>
                    </a:lnTo>
                    <a:lnTo>
                      <a:pt x="1284" y="812"/>
                    </a:lnTo>
                    <a:lnTo>
                      <a:pt x="1288" y="816"/>
                    </a:lnTo>
                    <a:lnTo>
                      <a:pt x="1294" y="820"/>
                    </a:lnTo>
                    <a:lnTo>
                      <a:pt x="1314" y="828"/>
                    </a:lnTo>
                    <a:lnTo>
                      <a:pt x="1314" y="828"/>
                    </a:lnTo>
                    <a:lnTo>
                      <a:pt x="1332" y="834"/>
                    </a:lnTo>
                    <a:lnTo>
                      <a:pt x="1342" y="840"/>
                    </a:lnTo>
                    <a:lnTo>
                      <a:pt x="1344" y="842"/>
                    </a:lnTo>
                    <a:lnTo>
                      <a:pt x="1344" y="844"/>
                    </a:lnTo>
                    <a:lnTo>
                      <a:pt x="1340" y="846"/>
                    </a:lnTo>
                    <a:lnTo>
                      <a:pt x="1332" y="848"/>
                    </a:lnTo>
                    <a:lnTo>
                      <a:pt x="1318" y="848"/>
                    </a:lnTo>
                    <a:lnTo>
                      <a:pt x="1280" y="844"/>
                    </a:lnTo>
                    <a:lnTo>
                      <a:pt x="1280" y="844"/>
                    </a:lnTo>
                    <a:lnTo>
                      <a:pt x="1270" y="842"/>
                    </a:lnTo>
                    <a:lnTo>
                      <a:pt x="1264" y="840"/>
                    </a:lnTo>
                    <a:lnTo>
                      <a:pt x="1260" y="836"/>
                    </a:lnTo>
                    <a:lnTo>
                      <a:pt x="1256" y="830"/>
                    </a:lnTo>
                    <a:lnTo>
                      <a:pt x="1256" y="824"/>
                    </a:lnTo>
                    <a:lnTo>
                      <a:pt x="1256" y="818"/>
                    </a:lnTo>
                    <a:lnTo>
                      <a:pt x="1260" y="804"/>
                    </a:lnTo>
                    <a:lnTo>
                      <a:pt x="1264" y="788"/>
                    </a:lnTo>
                    <a:lnTo>
                      <a:pt x="1268" y="772"/>
                    </a:lnTo>
                    <a:lnTo>
                      <a:pt x="1270" y="758"/>
                    </a:lnTo>
                    <a:lnTo>
                      <a:pt x="1268" y="750"/>
                    </a:lnTo>
                    <a:lnTo>
                      <a:pt x="1266" y="744"/>
                    </a:lnTo>
                    <a:lnTo>
                      <a:pt x="1266" y="744"/>
                    </a:lnTo>
                    <a:lnTo>
                      <a:pt x="1258" y="734"/>
                    </a:lnTo>
                    <a:lnTo>
                      <a:pt x="1250" y="726"/>
                    </a:lnTo>
                    <a:lnTo>
                      <a:pt x="1244" y="722"/>
                    </a:lnTo>
                    <a:lnTo>
                      <a:pt x="1240" y="722"/>
                    </a:lnTo>
                    <a:lnTo>
                      <a:pt x="1236" y="724"/>
                    </a:lnTo>
                    <a:lnTo>
                      <a:pt x="1234" y="730"/>
                    </a:lnTo>
                    <a:lnTo>
                      <a:pt x="1234" y="738"/>
                    </a:lnTo>
                    <a:lnTo>
                      <a:pt x="1238" y="752"/>
                    </a:lnTo>
                    <a:lnTo>
                      <a:pt x="1238" y="752"/>
                    </a:lnTo>
                    <a:lnTo>
                      <a:pt x="1240" y="762"/>
                    </a:lnTo>
                    <a:lnTo>
                      <a:pt x="1238" y="772"/>
                    </a:lnTo>
                    <a:lnTo>
                      <a:pt x="1236" y="778"/>
                    </a:lnTo>
                    <a:lnTo>
                      <a:pt x="1230" y="784"/>
                    </a:lnTo>
                    <a:lnTo>
                      <a:pt x="1224" y="788"/>
                    </a:lnTo>
                    <a:lnTo>
                      <a:pt x="1216" y="792"/>
                    </a:lnTo>
                    <a:lnTo>
                      <a:pt x="1198" y="798"/>
                    </a:lnTo>
                    <a:lnTo>
                      <a:pt x="1182" y="804"/>
                    </a:lnTo>
                    <a:lnTo>
                      <a:pt x="1176" y="808"/>
                    </a:lnTo>
                    <a:lnTo>
                      <a:pt x="1170" y="812"/>
                    </a:lnTo>
                    <a:lnTo>
                      <a:pt x="1168" y="818"/>
                    </a:lnTo>
                    <a:lnTo>
                      <a:pt x="1168" y="824"/>
                    </a:lnTo>
                    <a:lnTo>
                      <a:pt x="1172" y="832"/>
                    </a:lnTo>
                    <a:lnTo>
                      <a:pt x="1178" y="842"/>
                    </a:lnTo>
                    <a:lnTo>
                      <a:pt x="1178" y="842"/>
                    </a:lnTo>
                    <a:lnTo>
                      <a:pt x="1200" y="870"/>
                    </a:lnTo>
                    <a:lnTo>
                      <a:pt x="1208" y="878"/>
                    </a:lnTo>
                    <a:lnTo>
                      <a:pt x="1212" y="886"/>
                    </a:lnTo>
                    <a:lnTo>
                      <a:pt x="1212" y="894"/>
                    </a:lnTo>
                    <a:lnTo>
                      <a:pt x="1210" y="902"/>
                    </a:lnTo>
                    <a:lnTo>
                      <a:pt x="1204" y="912"/>
                    </a:lnTo>
                    <a:lnTo>
                      <a:pt x="1194" y="926"/>
                    </a:lnTo>
                    <a:lnTo>
                      <a:pt x="1194" y="926"/>
                    </a:lnTo>
                    <a:lnTo>
                      <a:pt x="1184" y="940"/>
                    </a:lnTo>
                    <a:lnTo>
                      <a:pt x="1180" y="950"/>
                    </a:lnTo>
                    <a:lnTo>
                      <a:pt x="1180" y="956"/>
                    </a:lnTo>
                    <a:lnTo>
                      <a:pt x="1182" y="962"/>
                    </a:lnTo>
                    <a:lnTo>
                      <a:pt x="1190" y="974"/>
                    </a:lnTo>
                    <a:lnTo>
                      <a:pt x="1192" y="982"/>
                    </a:lnTo>
                    <a:lnTo>
                      <a:pt x="1194" y="992"/>
                    </a:lnTo>
                    <a:lnTo>
                      <a:pt x="1194" y="992"/>
                    </a:lnTo>
                    <a:lnTo>
                      <a:pt x="1194" y="996"/>
                    </a:lnTo>
                    <a:lnTo>
                      <a:pt x="1196" y="1000"/>
                    </a:lnTo>
                    <a:lnTo>
                      <a:pt x="1200" y="1002"/>
                    </a:lnTo>
                    <a:lnTo>
                      <a:pt x="1204" y="1002"/>
                    </a:lnTo>
                    <a:lnTo>
                      <a:pt x="1218" y="1000"/>
                    </a:lnTo>
                    <a:lnTo>
                      <a:pt x="1234" y="996"/>
                    </a:lnTo>
                    <a:lnTo>
                      <a:pt x="1254" y="992"/>
                    </a:lnTo>
                    <a:lnTo>
                      <a:pt x="1276" y="992"/>
                    </a:lnTo>
                    <a:lnTo>
                      <a:pt x="1288" y="992"/>
                    </a:lnTo>
                    <a:lnTo>
                      <a:pt x="1298" y="994"/>
                    </a:lnTo>
                    <a:lnTo>
                      <a:pt x="1310" y="998"/>
                    </a:lnTo>
                    <a:lnTo>
                      <a:pt x="1322" y="1004"/>
                    </a:lnTo>
                    <a:lnTo>
                      <a:pt x="1322" y="1004"/>
                    </a:lnTo>
                    <a:lnTo>
                      <a:pt x="1340" y="1016"/>
                    </a:lnTo>
                    <a:lnTo>
                      <a:pt x="1352" y="1028"/>
                    </a:lnTo>
                    <a:lnTo>
                      <a:pt x="1358" y="1036"/>
                    </a:lnTo>
                    <a:lnTo>
                      <a:pt x="1360" y="1044"/>
                    </a:lnTo>
                    <a:lnTo>
                      <a:pt x="1360" y="1050"/>
                    </a:lnTo>
                    <a:lnTo>
                      <a:pt x="1356" y="1054"/>
                    </a:lnTo>
                    <a:lnTo>
                      <a:pt x="1350" y="1066"/>
                    </a:lnTo>
                    <a:lnTo>
                      <a:pt x="1350" y="1066"/>
                    </a:lnTo>
                    <a:lnTo>
                      <a:pt x="1342" y="1078"/>
                    </a:lnTo>
                    <a:lnTo>
                      <a:pt x="1334" y="1092"/>
                    </a:lnTo>
                    <a:lnTo>
                      <a:pt x="1332" y="1096"/>
                    </a:lnTo>
                    <a:lnTo>
                      <a:pt x="1330" y="1098"/>
                    </a:lnTo>
                    <a:lnTo>
                      <a:pt x="1330" y="1092"/>
                    </a:lnTo>
                    <a:lnTo>
                      <a:pt x="1332" y="1082"/>
                    </a:lnTo>
                    <a:lnTo>
                      <a:pt x="1332" y="1082"/>
                    </a:lnTo>
                    <a:lnTo>
                      <a:pt x="1334" y="1066"/>
                    </a:lnTo>
                    <a:lnTo>
                      <a:pt x="1334" y="1052"/>
                    </a:lnTo>
                    <a:lnTo>
                      <a:pt x="1330" y="1038"/>
                    </a:lnTo>
                    <a:lnTo>
                      <a:pt x="1322" y="1026"/>
                    </a:lnTo>
                    <a:lnTo>
                      <a:pt x="1318" y="1020"/>
                    </a:lnTo>
                    <a:lnTo>
                      <a:pt x="1312" y="1016"/>
                    </a:lnTo>
                    <a:lnTo>
                      <a:pt x="1304" y="1014"/>
                    </a:lnTo>
                    <a:lnTo>
                      <a:pt x="1298" y="1012"/>
                    </a:lnTo>
                    <a:lnTo>
                      <a:pt x="1288" y="1010"/>
                    </a:lnTo>
                    <a:lnTo>
                      <a:pt x="1278" y="1010"/>
                    </a:lnTo>
                    <a:lnTo>
                      <a:pt x="1266" y="1012"/>
                    </a:lnTo>
                    <a:lnTo>
                      <a:pt x="1254" y="1016"/>
                    </a:lnTo>
                    <a:lnTo>
                      <a:pt x="1254" y="1016"/>
                    </a:lnTo>
                    <a:lnTo>
                      <a:pt x="1242" y="1020"/>
                    </a:lnTo>
                    <a:lnTo>
                      <a:pt x="1234" y="1026"/>
                    </a:lnTo>
                    <a:lnTo>
                      <a:pt x="1228" y="1032"/>
                    </a:lnTo>
                    <a:lnTo>
                      <a:pt x="1224" y="1036"/>
                    </a:lnTo>
                    <a:lnTo>
                      <a:pt x="1222" y="1044"/>
                    </a:lnTo>
                    <a:lnTo>
                      <a:pt x="1222" y="1050"/>
                    </a:lnTo>
                    <a:lnTo>
                      <a:pt x="1226" y="1062"/>
                    </a:lnTo>
                    <a:lnTo>
                      <a:pt x="1230" y="1076"/>
                    </a:lnTo>
                    <a:lnTo>
                      <a:pt x="1234" y="1088"/>
                    </a:lnTo>
                    <a:lnTo>
                      <a:pt x="1234" y="1092"/>
                    </a:lnTo>
                    <a:lnTo>
                      <a:pt x="1232" y="1098"/>
                    </a:lnTo>
                    <a:lnTo>
                      <a:pt x="1228" y="1102"/>
                    </a:lnTo>
                    <a:lnTo>
                      <a:pt x="1222" y="1106"/>
                    </a:lnTo>
                    <a:lnTo>
                      <a:pt x="1222" y="1106"/>
                    </a:lnTo>
                    <a:lnTo>
                      <a:pt x="1210" y="1112"/>
                    </a:lnTo>
                    <a:lnTo>
                      <a:pt x="1202" y="1120"/>
                    </a:lnTo>
                    <a:lnTo>
                      <a:pt x="1198" y="1128"/>
                    </a:lnTo>
                    <a:lnTo>
                      <a:pt x="1196" y="1136"/>
                    </a:lnTo>
                    <a:lnTo>
                      <a:pt x="1194" y="1144"/>
                    </a:lnTo>
                    <a:lnTo>
                      <a:pt x="1188" y="1152"/>
                    </a:lnTo>
                    <a:lnTo>
                      <a:pt x="1180" y="1160"/>
                    </a:lnTo>
                    <a:lnTo>
                      <a:pt x="1166" y="1168"/>
                    </a:lnTo>
                    <a:lnTo>
                      <a:pt x="1166" y="1168"/>
                    </a:lnTo>
                    <a:lnTo>
                      <a:pt x="1152" y="1176"/>
                    </a:lnTo>
                    <a:lnTo>
                      <a:pt x="1144" y="1184"/>
                    </a:lnTo>
                    <a:lnTo>
                      <a:pt x="1136" y="1196"/>
                    </a:lnTo>
                    <a:lnTo>
                      <a:pt x="1130" y="1200"/>
                    </a:lnTo>
                    <a:lnTo>
                      <a:pt x="1118" y="1202"/>
                    </a:lnTo>
                    <a:lnTo>
                      <a:pt x="1100" y="1200"/>
                    </a:lnTo>
                    <a:lnTo>
                      <a:pt x="1070" y="1196"/>
                    </a:lnTo>
                    <a:lnTo>
                      <a:pt x="1070" y="1196"/>
                    </a:lnTo>
                    <a:lnTo>
                      <a:pt x="1044" y="1190"/>
                    </a:lnTo>
                    <a:lnTo>
                      <a:pt x="1036" y="1186"/>
                    </a:lnTo>
                    <a:lnTo>
                      <a:pt x="1036" y="1186"/>
                    </a:lnTo>
                    <a:lnTo>
                      <a:pt x="1040" y="1184"/>
                    </a:lnTo>
                    <a:lnTo>
                      <a:pt x="1052" y="1180"/>
                    </a:lnTo>
                    <a:lnTo>
                      <a:pt x="1072" y="1176"/>
                    </a:lnTo>
                    <a:lnTo>
                      <a:pt x="1094" y="1168"/>
                    </a:lnTo>
                    <a:lnTo>
                      <a:pt x="1104" y="1162"/>
                    </a:lnTo>
                    <a:lnTo>
                      <a:pt x="1114" y="1156"/>
                    </a:lnTo>
                    <a:lnTo>
                      <a:pt x="1122" y="1148"/>
                    </a:lnTo>
                    <a:lnTo>
                      <a:pt x="1128" y="1138"/>
                    </a:lnTo>
                    <a:lnTo>
                      <a:pt x="1128" y="1138"/>
                    </a:lnTo>
                    <a:lnTo>
                      <a:pt x="1138" y="1122"/>
                    </a:lnTo>
                    <a:lnTo>
                      <a:pt x="1146" y="1112"/>
                    </a:lnTo>
                    <a:lnTo>
                      <a:pt x="1154" y="1106"/>
                    </a:lnTo>
                    <a:lnTo>
                      <a:pt x="1160" y="1104"/>
                    </a:lnTo>
                    <a:lnTo>
                      <a:pt x="1166" y="1100"/>
                    </a:lnTo>
                    <a:lnTo>
                      <a:pt x="1170" y="1096"/>
                    </a:lnTo>
                    <a:lnTo>
                      <a:pt x="1174" y="1088"/>
                    </a:lnTo>
                    <a:lnTo>
                      <a:pt x="1176" y="1072"/>
                    </a:lnTo>
                    <a:lnTo>
                      <a:pt x="1176" y="1072"/>
                    </a:lnTo>
                    <a:lnTo>
                      <a:pt x="1176" y="1058"/>
                    </a:lnTo>
                    <a:lnTo>
                      <a:pt x="1174" y="1044"/>
                    </a:lnTo>
                    <a:lnTo>
                      <a:pt x="1166" y="1034"/>
                    </a:lnTo>
                    <a:lnTo>
                      <a:pt x="1160" y="1026"/>
                    </a:lnTo>
                    <a:lnTo>
                      <a:pt x="1152" y="1016"/>
                    </a:lnTo>
                    <a:lnTo>
                      <a:pt x="1146" y="1004"/>
                    </a:lnTo>
                    <a:lnTo>
                      <a:pt x="1142" y="988"/>
                    </a:lnTo>
                    <a:lnTo>
                      <a:pt x="1142" y="968"/>
                    </a:lnTo>
                    <a:lnTo>
                      <a:pt x="1142" y="968"/>
                    </a:lnTo>
                    <a:lnTo>
                      <a:pt x="1150" y="928"/>
                    </a:lnTo>
                    <a:lnTo>
                      <a:pt x="1152" y="910"/>
                    </a:lnTo>
                    <a:lnTo>
                      <a:pt x="1154" y="896"/>
                    </a:lnTo>
                    <a:lnTo>
                      <a:pt x="1152" y="882"/>
                    </a:lnTo>
                    <a:lnTo>
                      <a:pt x="1148" y="868"/>
                    </a:lnTo>
                    <a:lnTo>
                      <a:pt x="1140" y="856"/>
                    </a:lnTo>
                    <a:lnTo>
                      <a:pt x="1126" y="844"/>
                    </a:lnTo>
                    <a:lnTo>
                      <a:pt x="1126" y="844"/>
                    </a:lnTo>
                    <a:lnTo>
                      <a:pt x="1116" y="832"/>
                    </a:lnTo>
                    <a:lnTo>
                      <a:pt x="1114" y="828"/>
                    </a:lnTo>
                    <a:lnTo>
                      <a:pt x="1112" y="824"/>
                    </a:lnTo>
                    <a:lnTo>
                      <a:pt x="1114" y="822"/>
                    </a:lnTo>
                    <a:lnTo>
                      <a:pt x="1118" y="818"/>
                    </a:lnTo>
                    <a:lnTo>
                      <a:pt x="1126" y="812"/>
                    </a:lnTo>
                    <a:lnTo>
                      <a:pt x="1136" y="804"/>
                    </a:lnTo>
                    <a:lnTo>
                      <a:pt x="1146" y="796"/>
                    </a:lnTo>
                    <a:lnTo>
                      <a:pt x="1150" y="790"/>
                    </a:lnTo>
                    <a:lnTo>
                      <a:pt x="1154" y="782"/>
                    </a:lnTo>
                    <a:lnTo>
                      <a:pt x="1156" y="774"/>
                    </a:lnTo>
                    <a:lnTo>
                      <a:pt x="1156" y="764"/>
                    </a:lnTo>
                    <a:lnTo>
                      <a:pt x="1156" y="764"/>
                    </a:lnTo>
                    <a:lnTo>
                      <a:pt x="1156" y="754"/>
                    </a:lnTo>
                    <a:lnTo>
                      <a:pt x="1152" y="744"/>
                    </a:lnTo>
                    <a:lnTo>
                      <a:pt x="1148" y="738"/>
                    </a:lnTo>
                    <a:lnTo>
                      <a:pt x="1142" y="732"/>
                    </a:lnTo>
                    <a:lnTo>
                      <a:pt x="1134" y="728"/>
                    </a:lnTo>
                    <a:lnTo>
                      <a:pt x="1126" y="724"/>
                    </a:lnTo>
                    <a:lnTo>
                      <a:pt x="1106" y="722"/>
                    </a:lnTo>
                    <a:lnTo>
                      <a:pt x="1086" y="722"/>
                    </a:lnTo>
                    <a:lnTo>
                      <a:pt x="1064" y="724"/>
                    </a:lnTo>
                    <a:lnTo>
                      <a:pt x="1044" y="724"/>
                    </a:lnTo>
                    <a:lnTo>
                      <a:pt x="1028" y="722"/>
                    </a:lnTo>
                    <a:lnTo>
                      <a:pt x="1028" y="722"/>
                    </a:lnTo>
                    <a:lnTo>
                      <a:pt x="1020" y="722"/>
                    </a:lnTo>
                    <a:lnTo>
                      <a:pt x="1012" y="722"/>
                    </a:lnTo>
                    <a:lnTo>
                      <a:pt x="1006" y="726"/>
                    </a:lnTo>
                    <a:lnTo>
                      <a:pt x="1002" y="732"/>
                    </a:lnTo>
                    <a:lnTo>
                      <a:pt x="994" y="748"/>
                    </a:lnTo>
                    <a:lnTo>
                      <a:pt x="988" y="766"/>
                    </a:lnTo>
                    <a:lnTo>
                      <a:pt x="980" y="788"/>
                    </a:lnTo>
                    <a:lnTo>
                      <a:pt x="970" y="808"/>
                    </a:lnTo>
                    <a:lnTo>
                      <a:pt x="964" y="816"/>
                    </a:lnTo>
                    <a:lnTo>
                      <a:pt x="958" y="824"/>
                    </a:lnTo>
                    <a:lnTo>
                      <a:pt x="948" y="832"/>
                    </a:lnTo>
                    <a:lnTo>
                      <a:pt x="938" y="838"/>
                    </a:lnTo>
                    <a:lnTo>
                      <a:pt x="938" y="838"/>
                    </a:lnTo>
                    <a:lnTo>
                      <a:pt x="916" y="848"/>
                    </a:lnTo>
                    <a:lnTo>
                      <a:pt x="908" y="854"/>
                    </a:lnTo>
                    <a:lnTo>
                      <a:pt x="906" y="858"/>
                    </a:lnTo>
                    <a:lnTo>
                      <a:pt x="904" y="862"/>
                    </a:lnTo>
                    <a:lnTo>
                      <a:pt x="906" y="866"/>
                    </a:lnTo>
                    <a:lnTo>
                      <a:pt x="912" y="874"/>
                    </a:lnTo>
                    <a:lnTo>
                      <a:pt x="920" y="884"/>
                    </a:lnTo>
                    <a:lnTo>
                      <a:pt x="922" y="888"/>
                    </a:lnTo>
                    <a:lnTo>
                      <a:pt x="926" y="894"/>
                    </a:lnTo>
                    <a:lnTo>
                      <a:pt x="926" y="902"/>
                    </a:lnTo>
                    <a:lnTo>
                      <a:pt x="926" y="910"/>
                    </a:lnTo>
                    <a:lnTo>
                      <a:pt x="922" y="918"/>
                    </a:lnTo>
                    <a:lnTo>
                      <a:pt x="916" y="928"/>
                    </a:lnTo>
                    <a:lnTo>
                      <a:pt x="916" y="928"/>
                    </a:lnTo>
                    <a:lnTo>
                      <a:pt x="912" y="938"/>
                    </a:lnTo>
                    <a:lnTo>
                      <a:pt x="910" y="948"/>
                    </a:lnTo>
                    <a:lnTo>
                      <a:pt x="912" y="954"/>
                    </a:lnTo>
                    <a:lnTo>
                      <a:pt x="916" y="962"/>
                    </a:lnTo>
                    <a:lnTo>
                      <a:pt x="924" y="968"/>
                    </a:lnTo>
                    <a:lnTo>
                      <a:pt x="932" y="974"/>
                    </a:lnTo>
                    <a:lnTo>
                      <a:pt x="952" y="986"/>
                    </a:lnTo>
                    <a:lnTo>
                      <a:pt x="974" y="996"/>
                    </a:lnTo>
                    <a:lnTo>
                      <a:pt x="982" y="1002"/>
                    </a:lnTo>
                    <a:lnTo>
                      <a:pt x="990" y="1008"/>
                    </a:lnTo>
                    <a:lnTo>
                      <a:pt x="996" y="1014"/>
                    </a:lnTo>
                    <a:lnTo>
                      <a:pt x="998" y="1022"/>
                    </a:lnTo>
                    <a:lnTo>
                      <a:pt x="998" y="1030"/>
                    </a:lnTo>
                    <a:lnTo>
                      <a:pt x="992" y="1040"/>
                    </a:lnTo>
                    <a:lnTo>
                      <a:pt x="992" y="1040"/>
                    </a:lnTo>
                    <a:lnTo>
                      <a:pt x="982" y="1054"/>
                    </a:lnTo>
                    <a:lnTo>
                      <a:pt x="978" y="1058"/>
                    </a:lnTo>
                    <a:lnTo>
                      <a:pt x="974" y="1060"/>
                    </a:lnTo>
                    <a:lnTo>
                      <a:pt x="970" y="1060"/>
                    </a:lnTo>
                    <a:lnTo>
                      <a:pt x="966" y="1060"/>
                    </a:lnTo>
                    <a:lnTo>
                      <a:pt x="956" y="1052"/>
                    </a:lnTo>
                    <a:lnTo>
                      <a:pt x="942" y="1040"/>
                    </a:lnTo>
                    <a:lnTo>
                      <a:pt x="918" y="1024"/>
                    </a:lnTo>
                    <a:lnTo>
                      <a:pt x="884" y="1004"/>
                    </a:lnTo>
                    <a:lnTo>
                      <a:pt x="862" y="994"/>
                    </a:lnTo>
                    <a:lnTo>
                      <a:pt x="838" y="984"/>
                    </a:lnTo>
                    <a:lnTo>
                      <a:pt x="838" y="984"/>
                    </a:lnTo>
                    <a:lnTo>
                      <a:pt x="810" y="974"/>
                    </a:lnTo>
                    <a:lnTo>
                      <a:pt x="786" y="966"/>
                    </a:lnTo>
                    <a:lnTo>
                      <a:pt x="762" y="960"/>
                    </a:lnTo>
                    <a:lnTo>
                      <a:pt x="742" y="956"/>
                    </a:lnTo>
                    <a:lnTo>
                      <a:pt x="724" y="954"/>
                    </a:lnTo>
                    <a:lnTo>
                      <a:pt x="706" y="952"/>
                    </a:lnTo>
                    <a:lnTo>
                      <a:pt x="692" y="952"/>
                    </a:lnTo>
                    <a:lnTo>
                      <a:pt x="678" y="954"/>
                    </a:lnTo>
                    <a:lnTo>
                      <a:pt x="668" y="956"/>
                    </a:lnTo>
                    <a:lnTo>
                      <a:pt x="660" y="960"/>
                    </a:lnTo>
                    <a:lnTo>
                      <a:pt x="654" y="964"/>
                    </a:lnTo>
                    <a:lnTo>
                      <a:pt x="650" y="968"/>
                    </a:lnTo>
                    <a:lnTo>
                      <a:pt x="650" y="974"/>
                    </a:lnTo>
                    <a:lnTo>
                      <a:pt x="650" y="980"/>
                    </a:lnTo>
                    <a:lnTo>
                      <a:pt x="654" y="986"/>
                    </a:lnTo>
                    <a:lnTo>
                      <a:pt x="660" y="994"/>
                    </a:lnTo>
                    <a:lnTo>
                      <a:pt x="660" y="994"/>
                    </a:lnTo>
                    <a:lnTo>
                      <a:pt x="664" y="998"/>
                    </a:lnTo>
                    <a:lnTo>
                      <a:pt x="664" y="1004"/>
                    </a:lnTo>
                    <a:lnTo>
                      <a:pt x="664" y="1010"/>
                    </a:lnTo>
                    <a:lnTo>
                      <a:pt x="662" y="1016"/>
                    </a:lnTo>
                    <a:lnTo>
                      <a:pt x="654" y="1028"/>
                    </a:lnTo>
                    <a:lnTo>
                      <a:pt x="642" y="1038"/>
                    </a:lnTo>
                    <a:lnTo>
                      <a:pt x="628" y="1044"/>
                    </a:lnTo>
                    <a:lnTo>
                      <a:pt x="622" y="1046"/>
                    </a:lnTo>
                    <a:lnTo>
                      <a:pt x="618" y="1046"/>
                    </a:lnTo>
                    <a:lnTo>
                      <a:pt x="612" y="1046"/>
                    </a:lnTo>
                    <a:lnTo>
                      <a:pt x="608" y="1042"/>
                    </a:lnTo>
                    <a:lnTo>
                      <a:pt x="606" y="1038"/>
                    </a:lnTo>
                    <a:lnTo>
                      <a:pt x="606" y="1030"/>
                    </a:lnTo>
                    <a:lnTo>
                      <a:pt x="606" y="1030"/>
                    </a:lnTo>
                    <a:lnTo>
                      <a:pt x="604" y="1018"/>
                    </a:lnTo>
                    <a:lnTo>
                      <a:pt x="602" y="1010"/>
                    </a:lnTo>
                    <a:lnTo>
                      <a:pt x="596" y="1006"/>
                    </a:lnTo>
                    <a:lnTo>
                      <a:pt x="590" y="1006"/>
                    </a:lnTo>
                    <a:lnTo>
                      <a:pt x="582" y="1010"/>
                    </a:lnTo>
                    <a:lnTo>
                      <a:pt x="570" y="1016"/>
                    </a:lnTo>
                    <a:lnTo>
                      <a:pt x="542" y="1034"/>
                    </a:lnTo>
                    <a:lnTo>
                      <a:pt x="542" y="1034"/>
                    </a:lnTo>
                    <a:lnTo>
                      <a:pt x="526" y="1042"/>
                    </a:lnTo>
                    <a:lnTo>
                      <a:pt x="520" y="1042"/>
                    </a:lnTo>
                    <a:lnTo>
                      <a:pt x="516" y="1042"/>
                    </a:lnTo>
                    <a:lnTo>
                      <a:pt x="506" y="1040"/>
                    </a:lnTo>
                    <a:lnTo>
                      <a:pt x="498" y="1036"/>
                    </a:lnTo>
                    <a:lnTo>
                      <a:pt x="488" y="1032"/>
                    </a:lnTo>
                    <a:lnTo>
                      <a:pt x="478" y="1032"/>
                    </a:lnTo>
                    <a:lnTo>
                      <a:pt x="470" y="1032"/>
                    </a:lnTo>
                    <a:lnTo>
                      <a:pt x="462" y="1034"/>
                    </a:lnTo>
                    <a:lnTo>
                      <a:pt x="440" y="1046"/>
                    </a:lnTo>
                    <a:lnTo>
                      <a:pt x="440" y="1046"/>
                    </a:lnTo>
                    <a:lnTo>
                      <a:pt x="420" y="1056"/>
                    </a:lnTo>
                    <a:lnTo>
                      <a:pt x="412" y="1060"/>
                    </a:lnTo>
                    <a:lnTo>
                      <a:pt x="406" y="1060"/>
                    </a:lnTo>
                    <a:lnTo>
                      <a:pt x="400" y="1060"/>
                    </a:lnTo>
                    <a:lnTo>
                      <a:pt x="396" y="1058"/>
                    </a:lnTo>
                    <a:lnTo>
                      <a:pt x="392" y="1054"/>
                    </a:lnTo>
                    <a:lnTo>
                      <a:pt x="390" y="1052"/>
                    </a:lnTo>
                    <a:lnTo>
                      <a:pt x="388" y="1042"/>
                    </a:lnTo>
                    <a:lnTo>
                      <a:pt x="392" y="1030"/>
                    </a:lnTo>
                    <a:lnTo>
                      <a:pt x="396" y="1020"/>
                    </a:lnTo>
                    <a:lnTo>
                      <a:pt x="406" y="1012"/>
                    </a:lnTo>
                    <a:lnTo>
                      <a:pt x="406" y="1012"/>
                    </a:lnTo>
                    <a:lnTo>
                      <a:pt x="410" y="1006"/>
                    </a:lnTo>
                    <a:lnTo>
                      <a:pt x="412" y="1004"/>
                    </a:lnTo>
                    <a:lnTo>
                      <a:pt x="410" y="1004"/>
                    </a:lnTo>
                    <a:lnTo>
                      <a:pt x="402" y="1004"/>
                    </a:lnTo>
                    <a:lnTo>
                      <a:pt x="388" y="1008"/>
                    </a:lnTo>
                    <a:lnTo>
                      <a:pt x="368" y="1014"/>
                    </a:lnTo>
                    <a:lnTo>
                      <a:pt x="342" y="1024"/>
                    </a:lnTo>
                    <a:lnTo>
                      <a:pt x="312" y="1038"/>
                    </a:lnTo>
                    <a:lnTo>
                      <a:pt x="276" y="1054"/>
                    </a:lnTo>
                    <a:lnTo>
                      <a:pt x="276" y="1054"/>
                    </a:lnTo>
                    <a:lnTo>
                      <a:pt x="242" y="1070"/>
                    </a:lnTo>
                    <a:lnTo>
                      <a:pt x="216" y="1078"/>
                    </a:lnTo>
                    <a:lnTo>
                      <a:pt x="196" y="1084"/>
                    </a:lnTo>
                    <a:lnTo>
                      <a:pt x="180" y="1086"/>
                    </a:lnTo>
                    <a:lnTo>
                      <a:pt x="168" y="1088"/>
                    </a:lnTo>
                    <a:lnTo>
                      <a:pt x="158" y="1094"/>
                    </a:lnTo>
                    <a:lnTo>
                      <a:pt x="152" y="1106"/>
                    </a:lnTo>
                    <a:lnTo>
                      <a:pt x="144" y="1124"/>
                    </a:lnTo>
                    <a:lnTo>
                      <a:pt x="144" y="1124"/>
                    </a:lnTo>
                    <a:lnTo>
                      <a:pt x="138" y="1142"/>
                    </a:lnTo>
                    <a:lnTo>
                      <a:pt x="132" y="1152"/>
                    </a:lnTo>
                    <a:lnTo>
                      <a:pt x="126" y="1158"/>
                    </a:lnTo>
                    <a:lnTo>
                      <a:pt x="120" y="1158"/>
                    </a:lnTo>
                    <a:lnTo>
                      <a:pt x="106" y="1156"/>
                    </a:lnTo>
                    <a:lnTo>
                      <a:pt x="98" y="1156"/>
                    </a:lnTo>
                    <a:lnTo>
                      <a:pt x="86" y="1160"/>
                    </a:lnTo>
                    <a:lnTo>
                      <a:pt x="86" y="1160"/>
                    </a:lnTo>
                    <a:lnTo>
                      <a:pt x="78" y="1164"/>
                    </a:lnTo>
                    <a:lnTo>
                      <a:pt x="78" y="1164"/>
                    </a:lnTo>
                    <a:lnTo>
                      <a:pt x="54" y="1230"/>
                    </a:lnTo>
                    <a:lnTo>
                      <a:pt x="44" y="1256"/>
                    </a:lnTo>
                    <a:lnTo>
                      <a:pt x="36" y="1274"/>
                    </a:lnTo>
                    <a:lnTo>
                      <a:pt x="36" y="1274"/>
                    </a:lnTo>
                    <a:lnTo>
                      <a:pt x="28" y="1292"/>
                    </a:lnTo>
                    <a:lnTo>
                      <a:pt x="20" y="1312"/>
                    </a:lnTo>
                    <a:lnTo>
                      <a:pt x="8" y="1346"/>
                    </a:lnTo>
                    <a:lnTo>
                      <a:pt x="0" y="1382"/>
                    </a:lnTo>
                    <a:lnTo>
                      <a:pt x="0" y="1562"/>
                    </a:lnTo>
                    <a:lnTo>
                      <a:pt x="60" y="1706"/>
                    </a:lnTo>
                    <a:lnTo>
                      <a:pt x="180" y="1898"/>
                    </a:lnTo>
                    <a:lnTo>
                      <a:pt x="236" y="2142"/>
                    </a:lnTo>
                    <a:lnTo>
                      <a:pt x="172" y="2176"/>
                    </a:lnTo>
                    <a:lnTo>
                      <a:pt x="166" y="2200"/>
                    </a:lnTo>
                    <a:lnTo>
                      <a:pt x="124" y="2214"/>
                    </a:lnTo>
                    <a:lnTo>
                      <a:pt x="124" y="2214"/>
                    </a:lnTo>
                    <a:lnTo>
                      <a:pt x="104" y="2206"/>
                    </a:lnTo>
                    <a:lnTo>
                      <a:pt x="92" y="2204"/>
                    </a:lnTo>
                    <a:lnTo>
                      <a:pt x="86" y="2204"/>
                    </a:lnTo>
                    <a:lnTo>
                      <a:pt x="84" y="2208"/>
                    </a:lnTo>
                    <a:lnTo>
                      <a:pt x="84" y="2208"/>
                    </a:lnTo>
                    <a:lnTo>
                      <a:pt x="70" y="2258"/>
                    </a:lnTo>
                    <a:lnTo>
                      <a:pt x="60" y="2304"/>
                    </a:lnTo>
                    <a:lnTo>
                      <a:pt x="76" y="2364"/>
                    </a:lnTo>
                    <a:lnTo>
                      <a:pt x="114" y="2388"/>
                    </a:lnTo>
                    <a:lnTo>
                      <a:pt x="142" y="2422"/>
                    </a:lnTo>
                    <a:lnTo>
                      <a:pt x="148" y="2454"/>
                    </a:lnTo>
                    <a:lnTo>
                      <a:pt x="130" y="2486"/>
                    </a:lnTo>
                    <a:lnTo>
                      <a:pt x="98" y="2508"/>
                    </a:lnTo>
                    <a:lnTo>
                      <a:pt x="70" y="2552"/>
                    </a:lnTo>
                    <a:lnTo>
                      <a:pt x="80" y="2588"/>
                    </a:lnTo>
                    <a:lnTo>
                      <a:pt x="132" y="2652"/>
                    </a:lnTo>
                    <a:lnTo>
                      <a:pt x="156" y="2704"/>
                    </a:lnTo>
                    <a:lnTo>
                      <a:pt x="182" y="2744"/>
                    </a:lnTo>
                    <a:lnTo>
                      <a:pt x="180" y="2776"/>
                    </a:lnTo>
                    <a:lnTo>
                      <a:pt x="182" y="2792"/>
                    </a:lnTo>
                    <a:lnTo>
                      <a:pt x="186" y="2844"/>
                    </a:lnTo>
                    <a:lnTo>
                      <a:pt x="190" y="2864"/>
                    </a:lnTo>
                    <a:lnTo>
                      <a:pt x="190" y="2864"/>
                    </a:lnTo>
                    <a:lnTo>
                      <a:pt x="186" y="2882"/>
                    </a:lnTo>
                    <a:lnTo>
                      <a:pt x="188" y="2896"/>
                    </a:lnTo>
                    <a:lnTo>
                      <a:pt x="188" y="2896"/>
                    </a:lnTo>
                    <a:lnTo>
                      <a:pt x="182" y="2898"/>
                    </a:lnTo>
                    <a:lnTo>
                      <a:pt x="178" y="2898"/>
                    </a:lnTo>
                    <a:lnTo>
                      <a:pt x="176" y="2896"/>
                    </a:lnTo>
                    <a:lnTo>
                      <a:pt x="176" y="2894"/>
                    </a:lnTo>
                    <a:lnTo>
                      <a:pt x="174" y="2888"/>
                    </a:lnTo>
                    <a:lnTo>
                      <a:pt x="172" y="2886"/>
                    </a:lnTo>
                    <a:lnTo>
                      <a:pt x="170" y="2886"/>
                    </a:lnTo>
                    <a:lnTo>
                      <a:pt x="170" y="2886"/>
                    </a:lnTo>
                    <a:lnTo>
                      <a:pt x="172" y="2886"/>
                    </a:lnTo>
                    <a:lnTo>
                      <a:pt x="174" y="2888"/>
                    </a:lnTo>
                    <a:lnTo>
                      <a:pt x="176" y="2894"/>
                    </a:lnTo>
                    <a:lnTo>
                      <a:pt x="176" y="2896"/>
                    </a:lnTo>
                    <a:lnTo>
                      <a:pt x="178" y="2898"/>
                    </a:lnTo>
                    <a:lnTo>
                      <a:pt x="182" y="2898"/>
                    </a:lnTo>
                    <a:lnTo>
                      <a:pt x="188" y="2896"/>
                    </a:lnTo>
                    <a:lnTo>
                      <a:pt x="174" y="2986"/>
                    </a:lnTo>
                    <a:lnTo>
                      <a:pt x="174" y="3028"/>
                    </a:lnTo>
                    <a:lnTo>
                      <a:pt x="168" y="3124"/>
                    </a:lnTo>
                    <a:lnTo>
                      <a:pt x="174" y="3168"/>
                    </a:lnTo>
                    <a:lnTo>
                      <a:pt x="210" y="3264"/>
                    </a:lnTo>
                    <a:lnTo>
                      <a:pt x="248" y="3338"/>
                    </a:lnTo>
                    <a:lnTo>
                      <a:pt x="248" y="3362"/>
                    </a:lnTo>
                    <a:lnTo>
                      <a:pt x="248" y="3362"/>
                    </a:lnTo>
                    <a:lnTo>
                      <a:pt x="248" y="3362"/>
                    </a:lnTo>
                    <a:lnTo>
                      <a:pt x="248" y="3362"/>
                    </a:lnTo>
                    <a:lnTo>
                      <a:pt x="254" y="3368"/>
                    </a:lnTo>
                    <a:lnTo>
                      <a:pt x="258" y="3372"/>
                    </a:lnTo>
                    <a:lnTo>
                      <a:pt x="262" y="3384"/>
                    </a:lnTo>
                    <a:lnTo>
                      <a:pt x="264" y="3394"/>
                    </a:lnTo>
                    <a:lnTo>
                      <a:pt x="268" y="3400"/>
                    </a:lnTo>
                    <a:lnTo>
                      <a:pt x="272" y="3406"/>
                    </a:lnTo>
                    <a:lnTo>
                      <a:pt x="272" y="3406"/>
                    </a:lnTo>
                    <a:lnTo>
                      <a:pt x="276" y="3412"/>
                    </a:lnTo>
                    <a:lnTo>
                      <a:pt x="278" y="3416"/>
                    </a:lnTo>
                    <a:lnTo>
                      <a:pt x="278" y="3424"/>
                    </a:lnTo>
                    <a:lnTo>
                      <a:pt x="280" y="3432"/>
                    </a:lnTo>
                    <a:lnTo>
                      <a:pt x="282" y="3438"/>
                    </a:lnTo>
                    <a:lnTo>
                      <a:pt x="286" y="3444"/>
                    </a:lnTo>
                    <a:lnTo>
                      <a:pt x="286" y="3444"/>
                    </a:lnTo>
                    <a:lnTo>
                      <a:pt x="294" y="3452"/>
                    </a:lnTo>
                    <a:lnTo>
                      <a:pt x="302" y="3456"/>
                    </a:lnTo>
                    <a:lnTo>
                      <a:pt x="320" y="3464"/>
                    </a:lnTo>
                    <a:lnTo>
                      <a:pt x="334" y="3470"/>
                    </a:lnTo>
                    <a:lnTo>
                      <a:pt x="338" y="3474"/>
                    </a:lnTo>
                    <a:lnTo>
                      <a:pt x="338" y="3478"/>
                    </a:lnTo>
                    <a:lnTo>
                      <a:pt x="338" y="3478"/>
                    </a:lnTo>
                    <a:lnTo>
                      <a:pt x="338" y="3480"/>
                    </a:lnTo>
                    <a:lnTo>
                      <a:pt x="340" y="3484"/>
                    </a:lnTo>
                    <a:lnTo>
                      <a:pt x="350" y="3490"/>
                    </a:lnTo>
                    <a:lnTo>
                      <a:pt x="360" y="3496"/>
                    </a:lnTo>
                    <a:lnTo>
                      <a:pt x="366" y="3500"/>
                    </a:lnTo>
                    <a:lnTo>
                      <a:pt x="366" y="3500"/>
                    </a:lnTo>
                    <a:lnTo>
                      <a:pt x="374" y="3508"/>
                    </a:lnTo>
                    <a:lnTo>
                      <a:pt x="382" y="3512"/>
                    </a:lnTo>
                    <a:lnTo>
                      <a:pt x="388" y="3514"/>
                    </a:lnTo>
                    <a:lnTo>
                      <a:pt x="394" y="3514"/>
                    </a:lnTo>
                    <a:lnTo>
                      <a:pt x="404" y="3516"/>
                    </a:lnTo>
                    <a:lnTo>
                      <a:pt x="410" y="3516"/>
                    </a:lnTo>
                    <a:lnTo>
                      <a:pt x="414" y="3522"/>
                    </a:lnTo>
                    <a:lnTo>
                      <a:pt x="414" y="3522"/>
                    </a:lnTo>
                    <a:lnTo>
                      <a:pt x="420" y="3524"/>
                    </a:lnTo>
                    <a:lnTo>
                      <a:pt x="424" y="3526"/>
                    </a:lnTo>
                    <a:lnTo>
                      <a:pt x="428" y="3524"/>
                    </a:lnTo>
                    <a:lnTo>
                      <a:pt x="432" y="3522"/>
                    </a:lnTo>
                    <a:lnTo>
                      <a:pt x="442" y="3514"/>
                    </a:lnTo>
                    <a:lnTo>
                      <a:pt x="446" y="3512"/>
                    </a:lnTo>
                    <a:lnTo>
                      <a:pt x="450" y="3512"/>
                    </a:lnTo>
                    <a:lnTo>
                      <a:pt x="450" y="3512"/>
                    </a:lnTo>
                    <a:lnTo>
                      <a:pt x="456" y="3510"/>
                    </a:lnTo>
                    <a:lnTo>
                      <a:pt x="458" y="3508"/>
                    </a:lnTo>
                    <a:lnTo>
                      <a:pt x="462" y="3504"/>
                    </a:lnTo>
                    <a:lnTo>
                      <a:pt x="464" y="3502"/>
                    </a:lnTo>
                    <a:lnTo>
                      <a:pt x="468" y="3502"/>
                    </a:lnTo>
                    <a:lnTo>
                      <a:pt x="468" y="3502"/>
                    </a:lnTo>
                    <a:lnTo>
                      <a:pt x="472" y="3500"/>
                    </a:lnTo>
                    <a:lnTo>
                      <a:pt x="476" y="3498"/>
                    </a:lnTo>
                    <a:lnTo>
                      <a:pt x="480" y="3494"/>
                    </a:lnTo>
                    <a:lnTo>
                      <a:pt x="482" y="3492"/>
                    </a:lnTo>
                    <a:lnTo>
                      <a:pt x="488" y="3490"/>
                    </a:lnTo>
                    <a:lnTo>
                      <a:pt x="492" y="3490"/>
                    </a:lnTo>
                    <a:lnTo>
                      <a:pt x="500" y="3492"/>
                    </a:lnTo>
                    <a:lnTo>
                      <a:pt x="500" y="3492"/>
                    </a:lnTo>
                    <a:lnTo>
                      <a:pt x="508" y="3496"/>
                    </a:lnTo>
                    <a:lnTo>
                      <a:pt x="514" y="3502"/>
                    </a:lnTo>
                    <a:lnTo>
                      <a:pt x="518" y="3512"/>
                    </a:lnTo>
                    <a:lnTo>
                      <a:pt x="520" y="3522"/>
                    </a:lnTo>
                    <a:lnTo>
                      <a:pt x="524" y="3542"/>
                    </a:lnTo>
                    <a:lnTo>
                      <a:pt x="526" y="3558"/>
                    </a:lnTo>
                    <a:lnTo>
                      <a:pt x="526" y="3558"/>
                    </a:lnTo>
                    <a:lnTo>
                      <a:pt x="528" y="3562"/>
                    </a:lnTo>
                    <a:lnTo>
                      <a:pt x="532" y="3564"/>
                    </a:lnTo>
                    <a:lnTo>
                      <a:pt x="542" y="3566"/>
                    </a:lnTo>
                    <a:lnTo>
                      <a:pt x="550" y="3568"/>
                    </a:lnTo>
                    <a:lnTo>
                      <a:pt x="554" y="3570"/>
                    </a:lnTo>
                    <a:lnTo>
                      <a:pt x="558" y="3572"/>
                    </a:lnTo>
                    <a:lnTo>
                      <a:pt x="558" y="3572"/>
                    </a:lnTo>
                    <a:lnTo>
                      <a:pt x="562" y="3576"/>
                    </a:lnTo>
                    <a:lnTo>
                      <a:pt x="566" y="3574"/>
                    </a:lnTo>
                    <a:lnTo>
                      <a:pt x="570" y="3574"/>
                    </a:lnTo>
                    <a:lnTo>
                      <a:pt x="580" y="3574"/>
                    </a:lnTo>
                    <a:lnTo>
                      <a:pt x="580" y="3574"/>
                    </a:lnTo>
                    <a:lnTo>
                      <a:pt x="586" y="3574"/>
                    </a:lnTo>
                    <a:lnTo>
                      <a:pt x="590" y="3576"/>
                    </a:lnTo>
                    <a:lnTo>
                      <a:pt x="596" y="3580"/>
                    </a:lnTo>
                    <a:lnTo>
                      <a:pt x="600" y="3584"/>
                    </a:lnTo>
                    <a:lnTo>
                      <a:pt x="604" y="3584"/>
                    </a:lnTo>
                    <a:lnTo>
                      <a:pt x="608" y="3582"/>
                    </a:lnTo>
                    <a:lnTo>
                      <a:pt x="608" y="3582"/>
                    </a:lnTo>
                    <a:lnTo>
                      <a:pt x="614" y="3580"/>
                    </a:lnTo>
                    <a:lnTo>
                      <a:pt x="620" y="3582"/>
                    </a:lnTo>
                    <a:lnTo>
                      <a:pt x="636" y="3584"/>
                    </a:lnTo>
                    <a:lnTo>
                      <a:pt x="650" y="3588"/>
                    </a:lnTo>
                    <a:lnTo>
                      <a:pt x="652" y="3588"/>
                    </a:lnTo>
                    <a:lnTo>
                      <a:pt x="654" y="3586"/>
                    </a:lnTo>
                    <a:lnTo>
                      <a:pt x="654" y="3586"/>
                    </a:lnTo>
                    <a:lnTo>
                      <a:pt x="654" y="3582"/>
                    </a:lnTo>
                    <a:lnTo>
                      <a:pt x="656" y="3580"/>
                    </a:lnTo>
                    <a:lnTo>
                      <a:pt x="658" y="3582"/>
                    </a:lnTo>
                    <a:lnTo>
                      <a:pt x="662" y="3586"/>
                    </a:lnTo>
                    <a:lnTo>
                      <a:pt x="662" y="3586"/>
                    </a:lnTo>
                    <a:lnTo>
                      <a:pt x="664" y="3590"/>
                    </a:lnTo>
                    <a:lnTo>
                      <a:pt x="670" y="3592"/>
                    </a:lnTo>
                    <a:lnTo>
                      <a:pt x="678" y="3594"/>
                    </a:lnTo>
                    <a:lnTo>
                      <a:pt x="688" y="3598"/>
                    </a:lnTo>
                    <a:lnTo>
                      <a:pt x="688" y="3598"/>
                    </a:lnTo>
                    <a:lnTo>
                      <a:pt x="692" y="3600"/>
                    </a:lnTo>
                    <a:lnTo>
                      <a:pt x="696" y="3600"/>
                    </a:lnTo>
                    <a:lnTo>
                      <a:pt x="696" y="3596"/>
                    </a:lnTo>
                    <a:lnTo>
                      <a:pt x="698" y="3592"/>
                    </a:lnTo>
                    <a:lnTo>
                      <a:pt x="700" y="3592"/>
                    </a:lnTo>
                    <a:lnTo>
                      <a:pt x="702" y="3592"/>
                    </a:lnTo>
                    <a:lnTo>
                      <a:pt x="702" y="3592"/>
                    </a:lnTo>
                    <a:lnTo>
                      <a:pt x="706" y="3598"/>
                    </a:lnTo>
                    <a:lnTo>
                      <a:pt x="710" y="3600"/>
                    </a:lnTo>
                    <a:lnTo>
                      <a:pt x="712" y="3600"/>
                    </a:lnTo>
                    <a:lnTo>
                      <a:pt x="716" y="3598"/>
                    </a:lnTo>
                    <a:lnTo>
                      <a:pt x="724" y="3594"/>
                    </a:lnTo>
                    <a:lnTo>
                      <a:pt x="726" y="3592"/>
                    </a:lnTo>
                    <a:lnTo>
                      <a:pt x="730" y="3594"/>
                    </a:lnTo>
                    <a:lnTo>
                      <a:pt x="730" y="3594"/>
                    </a:lnTo>
                    <a:lnTo>
                      <a:pt x="732" y="3594"/>
                    </a:lnTo>
                    <a:lnTo>
                      <a:pt x="734" y="3594"/>
                    </a:lnTo>
                    <a:lnTo>
                      <a:pt x="738" y="3590"/>
                    </a:lnTo>
                    <a:lnTo>
                      <a:pt x="740" y="3588"/>
                    </a:lnTo>
                    <a:lnTo>
                      <a:pt x="746" y="3588"/>
                    </a:lnTo>
                    <a:lnTo>
                      <a:pt x="752" y="3588"/>
                    </a:lnTo>
                    <a:lnTo>
                      <a:pt x="762" y="3590"/>
                    </a:lnTo>
                    <a:lnTo>
                      <a:pt x="762" y="3590"/>
                    </a:lnTo>
                    <a:lnTo>
                      <a:pt x="770" y="3594"/>
                    </a:lnTo>
                    <a:lnTo>
                      <a:pt x="774" y="3594"/>
                    </a:lnTo>
                    <a:lnTo>
                      <a:pt x="776" y="3592"/>
                    </a:lnTo>
                    <a:lnTo>
                      <a:pt x="778" y="3590"/>
                    </a:lnTo>
                    <a:lnTo>
                      <a:pt x="780" y="3588"/>
                    </a:lnTo>
                    <a:lnTo>
                      <a:pt x="782" y="3586"/>
                    </a:lnTo>
                    <a:lnTo>
                      <a:pt x="786" y="3586"/>
                    </a:lnTo>
                    <a:lnTo>
                      <a:pt x="794" y="3586"/>
                    </a:lnTo>
                    <a:lnTo>
                      <a:pt x="794" y="3586"/>
                    </a:lnTo>
                    <a:lnTo>
                      <a:pt x="810" y="3590"/>
                    </a:lnTo>
                    <a:lnTo>
                      <a:pt x="820" y="3594"/>
                    </a:lnTo>
                    <a:lnTo>
                      <a:pt x="824" y="3594"/>
                    </a:lnTo>
                    <a:lnTo>
                      <a:pt x="828" y="3590"/>
                    </a:lnTo>
                    <a:lnTo>
                      <a:pt x="828" y="3590"/>
                    </a:lnTo>
                    <a:lnTo>
                      <a:pt x="832" y="3588"/>
                    </a:lnTo>
                    <a:lnTo>
                      <a:pt x="840" y="3586"/>
                    </a:lnTo>
                    <a:lnTo>
                      <a:pt x="866" y="3582"/>
                    </a:lnTo>
                    <a:lnTo>
                      <a:pt x="892" y="3582"/>
                    </a:lnTo>
                    <a:lnTo>
                      <a:pt x="900" y="3584"/>
                    </a:lnTo>
                    <a:lnTo>
                      <a:pt x="904" y="3586"/>
                    </a:lnTo>
                    <a:lnTo>
                      <a:pt x="904" y="3588"/>
                    </a:lnTo>
                    <a:lnTo>
                      <a:pt x="904" y="3588"/>
                    </a:lnTo>
                    <a:lnTo>
                      <a:pt x="904" y="3598"/>
                    </a:lnTo>
                    <a:lnTo>
                      <a:pt x="904" y="3606"/>
                    </a:lnTo>
                    <a:lnTo>
                      <a:pt x="904" y="3608"/>
                    </a:lnTo>
                    <a:lnTo>
                      <a:pt x="906" y="3610"/>
                    </a:lnTo>
                    <a:lnTo>
                      <a:pt x="916" y="3612"/>
                    </a:lnTo>
                    <a:lnTo>
                      <a:pt x="916" y="3612"/>
                    </a:lnTo>
                    <a:lnTo>
                      <a:pt x="920" y="3612"/>
                    </a:lnTo>
                    <a:lnTo>
                      <a:pt x="924" y="3614"/>
                    </a:lnTo>
                    <a:lnTo>
                      <a:pt x="926" y="3616"/>
                    </a:lnTo>
                    <a:lnTo>
                      <a:pt x="926" y="3620"/>
                    </a:lnTo>
                    <a:lnTo>
                      <a:pt x="926" y="3626"/>
                    </a:lnTo>
                    <a:lnTo>
                      <a:pt x="926" y="3630"/>
                    </a:lnTo>
                    <a:lnTo>
                      <a:pt x="928" y="3634"/>
                    </a:lnTo>
                    <a:lnTo>
                      <a:pt x="928" y="3634"/>
                    </a:lnTo>
                    <a:lnTo>
                      <a:pt x="932" y="3638"/>
                    </a:lnTo>
                    <a:lnTo>
                      <a:pt x="932" y="3642"/>
                    </a:lnTo>
                    <a:lnTo>
                      <a:pt x="932" y="3646"/>
                    </a:lnTo>
                    <a:lnTo>
                      <a:pt x="934" y="3652"/>
                    </a:lnTo>
                    <a:lnTo>
                      <a:pt x="934" y="3652"/>
                    </a:lnTo>
                    <a:lnTo>
                      <a:pt x="938" y="3654"/>
                    </a:lnTo>
                    <a:lnTo>
                      <a:pt x="936" y="3656"/>
                    </a:lnTo>
                    <a:lnTo>
                      <a:pt x="936" y="3658"/>
                    </a:lnTo>
                    <a:lnTo>
                      <a:pt x="940" y="3662"/>
                    </a:lnTo>
                    <a:lnTo>
                      <a:pt x="940" y="3662"/>
                    </a:lnTo>
                    <a:lnTo>
                      <a:pt x="944" y="3664"/>
                    </a:lnTo>
                    <a:lnTo>
                      <a:pt x="946" y="3664"/>
                    </a:lnTo>
                    <a:lnTo>
                      <a:pt x="950" y="3664"/>
                    </a:lnTo>
                    <a:lnTo>
                      <a:pt x="952" y="3662"/>
                    </a:lnTo>
                    <a:lnTo>
                      <a:pt x="956" y="3664"/>
                    </a:lnTo>
                    <a:lnTo>
                      <a:pt x="958" y="3666"/>
                    </a:lnTo>
                    <a:lnTo>
                      <a:pt x="962" y="3670"/>
                    </a:lnTo>
                    <a:lnTo>
                      <a:pt x="962" y="3670"/>
                    </a:lnTo>
                    <a:lnTo>
                      <a:pt x="966" y="3674"/>
                    </a:lnTo>
                    <a:lnTo>
                      <a:pt x="972" y="3676"/>
                    </a:lnTo>
                    <a:lnTo>
                      <a:pt x="976" y="3680"/>
                    </a:lnTo>
                    <a:lnTo>
                      <a:pt x="982" y="3690"/>
                    </a:lnTo>
                    <a:lnTo>
                      <a:pt x="982" y="3690"/>
                    </a:lnTo>
                    <a:lnTo>
                      <a:pt x="986" y="3696"/>
                    </a:lnTo>
                    <a:lnTo>
                      <a:pt x="992" y="3702"/>
                    </a:lnTo>
                    <a:lnTo>
                      <a:pt x="1000" y="3708"/>
                    </a:lnTo>
                    <a:lnTo>
                      <a:pt x="1008" y="3712"/>
                    </a:lnTo>
                    <a:lnTo>
                      <a:pt x="1016" y="3716"/>
                    </a:lnTo>
                    <a:lnTo>
                      <a:pt x="1024" y="3716"/>
                    </a:lnTo>
                    <a:lnTo>
                      <a:pt x="1032" y="3716"/>
                    </a:lnTo>
                    <a:lnTo>
                      <a:pt x="1038" y="3712"/>
                    </a:lnTo>
                    <a:lnTo>
                      <a:pt x="1038" y="3712"/>
                    </a:lnTo>
                    <a:lnTo>
                      <a:pt x="1044" y="3708"/>
                    </a:lnTo>
                    <a:lnTo>
                      <a:pt x="1048" y="3708"/>
                    </a:lnTo>
                    <a:lnTo>
                      <a:pt x="1052" y="3710"/>
                    </a:lnTo>
                    <a:lnTo>
                      <a:pt x="1052" y="3714"/>
                    </a:lnTo>
                    <a:lnTo>
                      <a:pt x="1050" y="3720"/>
                    </a:lnTo>
                    <a:lnTo>
                      <a:pt x="1046" y="3726"/>
                    </a:lnTo>
                    <a:lnTo>
                      <a:pt x="1040" y="3730"/>
                    </a:lnTo>
                    <a:lnTo>
                      <a:pt x="1028" y="3734"/>
                    </a:lnTo>
                    <a:lnTo>
                      <a:pt x="1028" y="3734"/>
                    </a:lnTo>
                    <a:lnTo>
                      <a:pt x="1016" y="3736"/>
                    </a:lnTo>
                    <a:lnTo>
                      <a:pt x="1006" y="3734"/>
                    </a:lnTo>
                    <a:lnTo>
                      <a:pt x="992" y="3732"/>
                    </a:lnTo>
                    <a:lnTo>
                      <a:pt x="992" y="3734"/>
                    </a:lnTo>
                    <a:lnTo>
                      <a:pt x="992" y="3734"/>
                    </a:lnTo>
                    <a:lnTo>
                      <a:pt x="994" y="3740"/>
                    </a:lnTo>
                    <a:lnTo>
                      <a:pt x="1018" y="3770"/>
                    </a:lnTo>
                    <a:lnTo>
                      <a:pt x="1018" y="3770"/>
                    </a:lnTo>
                    <a:lnTo>
                      <a:pt x="1048" y="3804"/>
                    </a:lnTo>
                    <a:lnTo>
                      <a:pt x="1060" y="3814"/>
                    </a:lnTo>
                    <a:lnTo>
                      <a:pt x="1070" y="3820"/>
                    </a:lnTo>
                    <a:lnTo>
                      <a:pt x="1078" y="3822"/>
                    </a:lnTo>
                    <a:lnTo>
                      <a:pt x="1090" y="3818"/>
                    </a:lnTo>
                    <a:lnTo>
                      <a:pt x="1102" y="3810"/>
                    </a:lnTo>
                    <a:lnTo>
                      <a:pt x="1116" y="3798"/>
                    </a:lnTo>
                    <a:lnTo>
                      <a:pt x="1116" y="3798"/>
                    </a:lnTo>
                    <a:lnTo>
                      <a:pt x="1124" y="3790"/>
                    </a:lnTo>
                    <a:lnTo>
                      <a:pt x="1128" y="3782"/>
                    </a:lnTo>
                    <a:lnTo>
                      <a:pt x="1128" y="3772"/>
                    </a:lnTo>
                    <a:lnTo>
                      <a:pt x="1128" y="3764"/>
                    </a:lnTo>
                    <a:lnTo>
                      <a:pt x="1128" y="3756"/>
                    </a:lnTo>
                    <a:lnTo>
                      <a:pt x="1128" y="3750"/>
                    </a:lnTo>
                    <a:lnTo>
                      <a:pt x="1132" y="3744"/>
                    </a:lnTo>
                    <a:lnTo>
                      <a:pt x="1138" y="3742"/>
                    </a:lnTo>
                    <a:lnTo>
                      <a:pt x="1138" y="3742"/>
                    </a:lnTo>
                    <a:lnTo>
                      <a:pt x="1144" y="3740"/>
                    </a:lnTo>
                    <a:lnTo>
                      <a:pt x="1148" y="3740"/>
                    </a:lnTo>
                    <a:lnTo>
                      <a:pt x="1148" y="3742"/>
                    </a:lnTo>
                    <a:lnTo>
                      <a:pt x="1146" y="3746"/>
                    </a:lnTo>
                    <a:lnTo>
                      <a:pt x="1142" y="3754"/>
                    </a:lnTo>
                    <a:lnTo>
                      <a:pt x="1142" y="3760"/>
                    </a:lnTo>
                    <a:lnTo>
                      <a:pt x="1144" y="3764"/>
                    </a:lnTo>
                    <a:lnTo>
                      <a:pt x="1144" y="3764"/>
                    </a:lnTo>
                    <a:lnTo>
                      <a:pt x="1146" y="3770"/>
                    </a:lnTo>
                    <a:lnTo>
                      <a:pt x="1146" y="3774"/>
                    </a:lnTo>
                    <a:lnTo>
                      <a:pt x="1144" y="3778"/>
                    </a:lnTo>
                    <a:lnTo>
                      <a:pt x="1144" y="3782"/>
                    </a:lnTo>
                    <a:lnTo>
                      <a:pt x="1144" y="3788"/>
                    </a:lnTo>
                    <a:lnTo>
                      <a:pt x="1146" y="3794"/>
                    </a:lnTo>
                    <a:lnTo>
                      <a:pt x="1150" y="3804"/>
                    </a:lnTo>
                    <a:lnTo>
                      <a:pt x="1150" y="3804"/>
                    </a:lnTo>
                    <a:lnTo>
                      <a:pt x="1154" y="3814"/>
                    </a:lnTo>
                    <a:lnTo>
                      <a:pt x="1154" y="3822"/>
                    </a:lnTo>
                    <a:lnTo>
                      <a:pt x="1150" y="3838"/>
                    </a:lnTo>
                    <a:lnTo>
                      <a:pt x="1148" y="3848"/>
                    </a:lnTo>
                    <a:lnTo>
                      <a:pt x="1148" y="3864"/>
                    </a:lnTo>
                    <a:lnTo>
                      <a:pt x="1148" y="3884"/>
                    </a:lnTo>
                    <a:lnTo>
                      <a:pt x="1152" y="3912"/>
                    </a:lnTo>
                    <a:lnTo>
                      <a:pt x="1152" y="3912"/>
                    </a:lnTo>
                    <a:lnTo>
                      <a:pt x="1170" y="4010"/>
                    </a:lnTo>
                    <a:lnTo>
                      <a:pt x="1176" y="4042"/>
                    </a:lnTo>
                    <a:lnTo>
                      <a:pt x="1184" y="4060"/>
                    </a:lnTo>
                    <a:lnTo>
                      <a:pt x="1184" y="4060"/>
                    </a:lnTo>
                    <a:lnTo>
                      <a:pt x="1194" y="4084"/>
                    </a:lnTo>
                    <a:lnTo>
                      <a:pt x="1210" y="4122"/>
                    </a:lnTo>
                    <a:lnTo>
                      <a:pt x="1224" y="4164"/>
                    </a:lnTo>
                    <a:lnTo>
                      <a:pt x="1230" y="4184"/>
                    </a:lnTo>
                    <a:lnTo>
                      <a:pt x="1232" y="4204"/>
                    </a:lnTo>
                    <a:lnTo>
                      <a:pt x="1232" y="4204"/>
                    </a:lnTo>
                    <a:lnTo>
                      <a:pt x="1236" y="4220"/>
                    </a:lnTo>
                    <a:lnTo>
                      <a:pt x="1240" y="4232"/>
                    </a:lnTo>
                    <a:lnTo>
                      <a:pt x="1254" y="4256"/>
                    </a:lnTo>
                    <a:lnTo>
                      <a:pt x="1262" y="4268"/>
                    </a:lnTo>
                    <a:lnTo>
                      <a:pt x="1268" y="4284"/>
                    </a:lnTo>
                    <a:lnTo>
                      <a:pt x="1276" y="4304"/>
                    </a:lnTo>
                    <a:lnTo>
                      <a:pt x="1282" y="4330"/>
                    </a:lnTo>
                    <a:lnTo>
                      <a:pt x="1282" y="4330"/>
                    </a:lnTo>
                    <a:lnTo>
                      <a:pt x="1290" y="4358"/>
                    </a:lnTo>
                    <a:lnTo>
                      <a:pt x="1296" y="4384"/>
                    </a:lnTo>
                    <a:lnTo>
                      <a:pt x="1306" y="4406"/>
                    </a:lnTo>
                    <a:lnTo>
                      <a:pt x="1314" y="4424"/>
                    </a:lnTo>
                    <a:lnTo>
                      <a:pt x="1324" y="4436"/>
                    </a:lnTo>
                    <a:lnTo>
                      <a:pt x="1328" y="4442"/>
                    </a:lnTo>
                    <a:lnTo>
                      <a:pt x="1334" y="4444"/>
                    </a:lnTo>
                    <a:lnTo>
                      <a:pt x="1338" y="4446"/>
                    </a:lnTo>
                    <a:lnTo>
                      <a:pt x="1344" y="4446"/>
                    </a:lnTo>
                    <a:lnTo>
                      <a:pt x="1348" y="4444"/>
                    </a:lnTo>
                    <a:lnTo>
                      <a:pt x="1354" y="4440"/>
                    </a:lnTo>
                    <a:lnTo>
                      <a:pt x="1354" y="4440"/>
                    </a:lnTo>
                    <a:lnTo>
                      <a:pt x="1362" y="4432"/>
                    </a:lnTo>
                    <a:lnTo>
                      <a:pt x="1366" y="4424"/>
                    </a:lnTo>
                    <a:lnTo>
                      <a:pt x="1368" y="4416"/>
                    </a:lnTo>
                    <a:lnTo>
                      <a:pt x="1368" y="4410"/>
                    </a:lnTo>
                    <a:lnTo>
                      <a:pt x="1368" y="4406"/>
                    </a:lnTo>
                    <a:lnTo>
                      <a:pt x="1372" y="4400"/>
                    </a:lnTo>
                    <a:lnTo>
                      <a:pt x="1376" y="4396"/>
                    </a:lnTo>
                    <a:lnTo>
                      <a:pt x="1384" y="4394"/>
                    </a:lnTo>
                    <a:lnTo>
                      <a:pt x="1384" y="4394"/>
                    </a:lnTo>
                    <a:lnTo>
                      <a:pt x="1402" y="4390"/>
                    </a:lnTo>
                    <a:lnTo>
                      <a:pt x="1412" y="4390"/>
                    </a:lnTo>
                    <a:lnTo>
                      <a:pt x="1418" y="4390"/>
                    </a:lnTo>
                    <a:lnTo>
                      <a:pt x="1420" y="4390"/>
                    </a:lnTo>
                    <a:lnTo>
                      <a:pt x="1420" y="4388"/>
                    </a:lnTo>
                    <a:lnTo>
                      <a:pt x="1420" y="4388"/>
                    </a:lnTo>
                    <a:lnTo>
                      <a:pt x="1420" y="4386"/>
                    </a:lnTo>
                    <a:lnTo>
                      <a:pt x="1416" y="4384"/>
                    </a:lnTo>
                    <a:lnTo>
                      <a:pt x="1408" y="4382"/>
                    </a:lnTo>
                    <a:lnTo>
                      <a:pt x="1404" y="4380"/>
                    </a:lnTo>
                    <a:lnTo>
                      <a:pt x="1400" y="4376"/>
                    </a:lnTo>
                    <a:lnTo>
                      <a:pt x="1402" y="4370"/>
                    </a:lnTo>
                    <a:lnTo>
                      <a:pt x="1406" y="4362"/>
                    </a:lnTo>
                    <a:lnTo>
                      <a:pt x="1406" y="4362"/>
                    </a:lnTo>
                    <a:lnTo>
                      <a:pt x="1410" y="4354"/>
                    </a:lnTo>
                    <a:lnTo>
                      <a:pt x="1412" y="4348"/>
                    </a:lnTo>
                    <a:lnTo>
                      <a:pt x="1412" y="4342"/>
                    </a:lnTo>
                    <a:lnTo>
                      <a:pt x="1414" y="4340"/>
                    </a:lnTo>
                    <a:lnTo>
                      <a:pt x="1414" y="4340"/>
                    </a:lnTo>
                    <a:lnTo>
                      <a:pt x="1428" y="4338"/>
                    </a:lnTo>
                    <a:lnTo>
                      <a:pt x="1428" y="4338"/>
                    </a:lnTo>
                    <a:lnTo>
                      <a:pt x="1434" y="4336"/>
                    </a:lnTo>
                    <a:lnTo>
                      <a:pt x="1436" y="4334"/>
                    </a:lnTo>
                    <a:lnTo>
                      <a:pt x="1438" y="4332"/>
                    </a:lnTo>
                    <a:lnTo>
                      <a:pt x="1438" y="4322"/>
                    </a:lnTo>
                    <a:lnTo>
                      <a:pt x="1436" y="4312"/>
                    </a:lnTo>
                    <a:lnTo>
                      <a:pt x="1434" y="4298"/>
                    </a:lnTo>
                    <a:lnTo>
                      <a:pt x="1432" y="4284"/>
                    </a:lnTo>
                    <a:lnTo>
                      <a:pt x="1434" y="4266"/>
                    </a:lnTo>
                    <a:lnTo>
                      <a:pt x="1440" y="4246"/>
                    </a:lnTo>
                    <a:lnTo>
                      <a:pt x="1440" y="4246"/>
                    </a:lnTo>
                    <a:lnTo>
                      <a:pt x="1448" y="4226"/>
                    </a:lnTo>
                    <a:lnTo>
                      <a:pt x="1454" y="4206"/>
                    </a:lnTo>
                    <a:lnTo>
                      <a:pt x="1456" y="4196"/>
                    </a:lnTo>
                    <a:lnTo>
                      <a:pt x="1454" y="4186"/>
                    </a:lnTo>
                    <a:lnTo>
                      <a:pt x="1452" y="4172"/>
                    </a:lnTo>
                    <a:lnTo>
                      <a:pt x="1448" y="4154"/>
                    </a:lnTo>
                    <a:lnTo>
                      <a:pt x="1448" y="4154"/>
                    </a:lnTo>
                    <a:lnTo>
                      <a:pt x="1448" y="4144"/>
                    </a:lnTo>
                    <a:lnTo>
                      <a:pt x="1450" y="4138"/>
                    </a:lnTo>
                    <a:lnTo>
                      <a:pt x="1450" y="4128"/>
                    </a:lnTo>
                    <a:lnTo>
                      <a:pt x="1446" y="4108"/>
                    </a:lnTo>
                    <a:lnTo>
                      <a:pt x="1446" y="4108"/>
                    </a:lnTo>
                    <a:lnTo>
                      <a:pt x="1444" y="4098"/>
                    </a:lnTo>
                    <a:lnTo>
                      <a:pt x="1442" y="4088"/>
                    </a:lnTo>
                    <a:lnTo>
                      <a:pt x="1444" y="4082"/>
                    </a:lnTo>
                    <a:lnTo>
                      <a:pt x="1444" y="4076"/>
                    </a:lnTo>
                    <a:lnTo>
                      <a:pt x="1448" y="4074"/>
                    </a:lnTo>
                    <a:lnTo>
                      <a:pt x="1452" y="4070"/>
                    </a:lnTo>
                    <a:lnTo>
                      <a:pt x="1460" y="4068"/>
                    </a:lnTo>
                    <a:lnTo>
                      <a:pt x="1470" y="4066"/>
                    </a:lnTo>
                    <a:lnTo>
                      <a:pt x="1480" y="4064"/>
                    </a:lnTo>
                    <a:lnTo>
                      <a:pt x="1488" y="4058"/>
                    </a:lnTo>
                    <a:lnTo>
                      <a:pt x="1490" y="4054"/>
                    </a:lnTo>
                    <a:lnTo>
                      <a:pt x="1492" y="4050"/>
                    </a:lnTo>
                    <a:lnTo>
                      <a:pt x="1492" y="4050"/>
                    </a:lnTo>
                    <a:lnTo>
                      <a:pt x="1494" y="4040"/>
                    </a:lnTo>
                    <a:lnTo>
                      <a:pt x="1496" y="4038"/>
                    </a:lnTo>
                    <a:lnTo>
                      <a:pt x="1498" y="4038"/>
                    </a:lnTo>
                    <a:lnTo>
                      <a:pt x="1502" y="4040"/>
                    </a:lnTo>
                    <a:lnTo>
                      <a:pt x="1506" y="4042"/>
                    </a:lnTo>
                    <a:lnTo>
                      <a:pt x="1512" y="4042"/>
                    </a:lnTo>
                    <a:lnTo>
                      <a:pt x="1520" y="4040"/>
                    </a:lnTo>
                    <a:lnTo>
                      <a:pt x="1530" y="4032"/>
                    </a:lnTo>
                    <a:lnTo>
                      <a:pt x="1530" y="4032"/>
                    </a:lnTo>
                    <a:lnTo>
                      <a:pt x="1536" y="4024"/>
                    </a:lnTo>
                    <a:lnTo>
                      <a:pt x="1538" y="4020"/>
                    </a:lnTo>
                    <a:lnTo>
                      <a:pt x="1538" y="4016"/>
                    </a:lnTo>
                    <a:lnTo>
                      <a:pt x="1538" y="4014"/>
                    </a:lnTo>
                    <a:lnTo>
                      <a:pt x="1538" y="4010"/>
                    </a:lnTo>
                    <a:lnTo>
                      <a:pt x="1542" y="4004"/>
                    </a:lnTo>
                    <a:lnTo>
                      <a:pt x="1550" y="3996"/>
                    </a:lnTo>
                    <a:lnTo>
                      <a:pt x="1566" y="3982"/>
                    </a:lnTo>
                    <a:lnTo>
                      <a:pt x="1566" y="3982"/>
                    </a:lnTo>
                    <a:lnTo>
                      <a:pt x="1584" y="3966"/>
                    </a:lnTo>
                    <a:lnTo>
                      <a:pt x="1600" y="3950"/>
                    </a:lnTo>
                    <a:lnTo>
                      <a:pt x="1624" y="3918"/>
                    </a:lnTo>
                    <a:lnTo>
                      <a:pt x="1644" y="3892"/>
                    </a:lnTo>
                    <a:lnTo>
                      <a:pt x="1654" y="3880"/>
                    </a:lnTo>
                    <a:lnTo>
                      <a:pt x="1666" y="3870"/>
                    </a:lnTo>
                    <a:lnTo>
                      <a:pt x="1666" y="3870"/>
                    </a:lnTo>
                    <a:lnTo>
                      <a:pt x="1674" y="3866"/>
                    </a:lnTo>
                    <a:lnTo>
                      <a:pt x="1680" y="3864"/>
                    </a:lnTo>
                    <a:lnTo>
                      <a:pt x="1688" y="3864"/>
                    </a:lnTo>
                    <a:lnTo>
                      <a:pt x="1692" y="3864"/>
                    </a:lnTo>
                    <a:lnTo>
                      <a:pt x="1696" y="3860"/>
                    </a:lnTo>
                    <a:lnTo>
                      <a:pt x="1704" y="3852"/>
                    </a:lnTo>
                    <a:lnTo>
                      <a:pt x="1714" y="3840"/>
                    </a:lnTo>
                    <a:lnTo>
                      <a:pt x="1714" y="3840"/>
                    </a:lnTo>
                    <a:lnTo>
                      <a:pt x="1722" y="3828"/>
                    </a:lnTo>
                    <a:lnTo>
                      <a:pt x="1724" y="3816"/>
                    </a:lnTo>
                    <a:lnTo>
                      <a:pt x="1724" y="3808"/>
                    </a:lnTo>
                    <a:lnTo>
                      <a:pt x="1722" y="3802"/>
                    </a:lnTo>
                    <a:lnTo>
                      <a:pt x="1720" y="3796"/>
                    </a:lnTo>
                    <a:lnTo>
                      <a:pt x="1720" y="3790"/>
                    </a:lnTo>
                    <a:lnTo>
                      <a:pt x="1724" y="3784"/>
                    </a:lnTo>
                    <a:lnTo>
                      <a:pt x="1736" y="3778"/>
                    </a:lnTo>
                    <a:lnTo>
                      <a:pt x="1736" y="3778"/>
                    </a:lnTo>
                    <a:lnTo>
                      <a:pt x="1748" y="3772"/>
                    </a:lnTo>
                    <a:lnTo>
                      <a:pt x="1756" y="3766"/>
                    </a:lnTo>
                    <a:lnTo>
                      <a:pt x="1768" y="3758"/>
                    </a:lnTo>
                    <a:lnTo>
                      <a:pt x="1770" y="3756"/>
                    </a:lnTo>
                    <a:lnTo>
                      <a:pt x="1772" y="3756"/>
                    </a:lnTo>
                    <a:lnTo>
                      <a:pt x="1774" y="3766"/>
                    </a:lnTo>
                    <a:lnTo>
                      <a:pt x="1774" y="3766"/>
                    </a:lnTo>
                    <a:lnTo>
                      <a:pt x="1774" y="3772"/>
                    </a:lnTo>
                    <a:lnTo>
                      <a:pt x="1778" y="3776"/>
                    </a:lnTo>
                    <a:lnTo>
                      <a:pt x="1780" y="3778"/>
                    </a:lnTo>
                    <a:lnTo>
                      <a:pt x="1784" y="3778"/>
                    </a:lnTo>
                    <a:lnTo>
                      <a:pt x="1790" y="3774"/>
                    </a:lnTo>
                    <a:lnTo>
                      <a:pt x="1794" y="3774"/>
                    </a:lnTo>
                    <a:lnTo>
                      <a:pt x="1798" y="3774"/>
                    </a:lnTo>
                    <a:lnTo>
                      <a:pt x="1798" y="3774"/>
                    </a:lnTo>
                    <a:lnTo>
                      <a:pt x="1804" y="3776"/>
                    </a:lnTo>
                    <a:lnTo>
                      <a:pt x="1808" y="3776"/>
                    </a:lnTo>
                    <a:lnTo>
                      <a:pt x="1810" y="3774"/>
                    </a:lnTo>
                    <a:lnTo>
                      <a:pt x="1808" y="3768"/>
                    </a:lnTo>
                    <a:lnTo>
                      <a:pt x="1808" y="3768"/>
                    </a:lnTo>
                    <a:lnTo>
                      <a:pt x="1806" y="3760"/>
                    </a:lnTo>
                    <a:lnTo>
                      <a:pt x="1806" y="3758"/>
                    </a:lnTo>
                    <a:lnTo>
                      <a:pt x="1810" y="3756"/>
                    </a:lnTo>
                    <a:lnTo>
                      <a:pt x="1810" y="3756"/>
                    </a:lnTo>
                    <a:lnTo>
                      <a:pt x="1812" y="3762"/>
                    </a:lnTo>
                    <a:lnTo>
                      <a:pt x="1816" y="3766"/>
                    </a:lnTo>
                    <a:lnTo>
                      <a:pt x="1818" y="3766"/>
                    </a:lnTo>
                    <a:lnTo>
                      <a:pt x="1820" y="3766"/>
                    </a:lnTo>
                    <a:lnTo>
                      <a:pt x="1824" y="3766"/>
                    </a:lnTo>
                    <a:lnTo>
                      <a:pt x="1826" y="3766"/>
                    </a:lnTo>
                    <a:lnTo>
                      <a:pt x="1828" y="3768"/>
                    </a:lnTo>
                    <a:lnTo>
                      <a:pt x="1828" y="3768"/>
                    </a:lnTo>
                    <a:lnTo>
                      <a:pt x="1830" y="3770"/>
                    </a:lnTo>
                    <a:lnTo>
                      <a:pt x="1832" y="3770"/>
                    </a:lnTo>
                    <a:lnTo>
                      <a:pt x="1836" y="3764"/>
                    </a:lnTo>
                    <a:lnTo>
                      <a:pt x="1842" y="3760"/>
                    </a:lnTo>
                    <a:lnTo>
                      <a:pt x="1844" y="3760"/>
                    </a:lnTo>
                    <a:lnTo>
                      <a:pt x="1848" y="3762"/>
                    </a:lnTo>
                    <a:lnTo>
                      <a:pt x="1848" y="3762"/>
                    </a:lnTo>
                    <a:lnTo>
                      <a:pt x="1852" y="3766"/>
                    </a:lnTo>
                    <a:lnTo>
                      <a:pt x="1856" y="3764"/>
                    </a:lnTo>
                    <a:lnTo>
                      <a:pt x="1860" y="3762"/>
                    </a:lnTo>
                    <a:lnTo>
                      <a:pt x="1864" y="3756"/>
                    </a:lnTo>
                    <a:lnTo>
                      <a:pt x="1866" y="3748"/>
                    </a:lnTo>
                    <a:lnTo>
                      <a:pt x="1868" y="3740"/>
                    </a:lnTo>
                    <a:lnTo>
                      <a:pt x="1868" y="3734"/>
                    </a:lnTo>
                    <a:lnTo>
                      <a:pt x="1866" y="3726"/>
                    </a:lnTo>
                    <a:lnTo>
                      <a:pt x="1866" y="3726"/>
                    </a:lnTo>
                    <a:lnTo>
                      <a:pt x="1864" y="3716"/>
                    </a:lnTo>
                    <a:lnTo>
                      <a:pt x="1866" y="3706"/>
                    </a:lnTo>
                    <a:lnTo>
                      <a:pt x="1866" y="3698"/>
                    </a:lnTo>
                    <a:lnTo>
                      <a:pt x="1866" y="3690"/>
                    </a:lnTo>
                    <a:lnTo>
                      <a:pt x="1866" y="3690"/>
                    </a:lnTo>
                    <a:lnTo>
                      <a:pt x="1864" y="3686"/>
                    </a:lnTo>
                    <a:lnTo>
                      <a:pt x="1866" y="3684"/>
                    </a:lnTo>
                    <a:lnTo>
                      <a:pt x="1868" y="3680"/>
                    </a:lnTo>
                    <a:lnTo>
                      <a:pt x="1868" y="3680"/>
                    </a:lnTo>
                    <a:lnTo>
                      <a:pt x="1870" y="3676"/>
                    </a:lnTo>
                    <a:lnTo>
                      <a:pt x="1872" y="3678"/>
                    </a:lnTo>
                    <a:lnTo>
                      <a:pt x="1872" y="3684"/>
                    </a:lnTo>
                    <a:lnTo>
                      <a:pt x="1876" y="3710"/>
                    </a:lnTo>
                    <a:lnTo>
                      <a:pt x="1876" y="3710"/>
                    </a:lnTo>
                    <a:lnTo>
                      <a:pt x="1880" y="3720"/>
                    </a:lnTo>
                    <a:lnTo>
                      <a:pt x="1882" y="3724"/>
                    </a:lnTo>
                    <a:lnTo>
                      <a:pt x="1884" y="3726"/>
                    </a:lnTo>
                    <a:lnTo>
                      <a:pt x="1888" y="3726"/>
                    </a:lnTo>
                    <a:lnTo>
                      <a:pt x="1890" y="3726"/>
                    </a:lnTo>
                    <a:lnTo>
                      <a:pt x="1898" y="3722"/>
                    </a:lnTo>
                    <a:lnTo>
                      <a:pt x="1898" y="3722"/>
                    </a:lnTo>
                    <a:lnTo>
                      <a:pt x="1900" y="3720"/>
                    </a:lnTo>
                    <a:lnTo>
                      <a:pt x="1904" y="3720"/>
                    </a:lnTo>
                    <a:lnTo>
                      <a:pt x="1906" y="3722"/>
                    </a:lnTo>
                    <a:lnTo>
                      <a:pt x="1910" y="3726"/>
                    </a:lnTo>
                    <a:lnTo>
                      <a:pt x="1916" y="3738"/>
                    </a:lnTo>
                    <a:lnTo>
                      <a:pt x="1922" y="3760"/>
                    </a:lnTo>
                    <a:lnTo>
                      <a:pt x="1922" y="3760"/>
                    </a:lnTo>
                    <a:lnTo>
                      <a:pt x="1926" y="3768"/>
                    </a:lnTo>
                    <a:lnTo>
                      <a:pt x="1928" y="3772"/>
                    </a:lnTo>
                    <a:lnTo>
                      <a:pt x="1928" y="3774"/>
                    </a:lnTo>
                    <a:lnTo>
                      <a:pt x="1928" y="3780"/>
                    </a:lnTo>
                    <a:lnTo>
                      <a:pt x="1928" y="3780"/>
                    </a:lnTo>
                    <a:lnTo>
                      <a:pt x="1926" y="3786"/>
                    </a:lnTo>
                    <a:lnTo>
                      <a:pt x="1926" y="3792"/>
                    </a:lnTo>
                    <a:lnTo>
                      <a:pt x="1930" y="3804"/>
                    </a:lnTo>
                    <a:lnTo>
                      <a:pt x="1930" y="3804"/>
                    </a:lnTo>
                    <a:lnTo>
                      <a:pt x="1934" y="3814"/>
                    </a:lnTo>
                    <a:lnTo>
                      <a:pt x="1936" y="3810"/>
                    </a:lnTo>
                    <a:lnTo>
                      <a:pt x="1936" y="3800"/>
                    </a:lnTo>
                    <a:lnTo>
                      <a:pt x="1936" y="3800"/>
                    </a:lnTo>
                    <a:lnTo>
                      <a:pt x="1938" y="3806"/>
                    </a:lnTo>
                    <a:lnTo>
                      <a:pt x="1942" y="3816"/>
                    </a:lnTo>
                    <a:lnTo>
                      <a:pt x="1946" y="3828"/>
                    </a:lnTo>
                    <a:lnTo>
                      <a:pt x="1952" y="3838"/>
                    </a:lnTo>
                    <a:lnTo>
                      <a:pt x="1952" y="3838"/>
                    </a:lnTo>
                    <a:lnTo>
                      <a:pt x="1968" y="3862"/>
                    </a:lnTo>
                    <a:lnTo>
                      <a:pt x="1972" y="3864"/>
                    </a:lnTo>
                    <a:lnTo>
                      <a:pt x="1974" y="3860"/>
                    </a:lnTo>
                    <a:lnTo>
                      <a:pt x="1974" y="3860"/>
                    </a:lnTo>
                    <a:lnTo>
                      <a:pt x="1976" y="3856"/>
                    </a:lnTo>
                    <a:lnTo>
                      <a:pt x="1978" y="3854"/>
                    </a:lnTo>
                    <a:lnTo>
                      <a:pt x="1980" y="3854"/>
                    </a:lnTo>
                    <a:lnTo>
                      <a:pt x="1982" y="3854"/>
                    </a:lnTo>
                    <a:lnTo>
                      <a:pt x="1990" y="3862"/>
                    </a:lnTo>
                    <a:lnTo>
                      <a:pt x="1994" y="3870"/>
                    </a:lnTo>
                    <a:lnTo>
                      <a:pt x="1994" y="3870"/>
                    </a:lnTo>
                    <a:lnTo>
                      <a:pt x="1998" y="3876"/>
                    </a:lnTo>
                    <a:lnTo>
                      <a:pt x="2004" y="3882"/>
                    </a:lnTo>
                    <a:lnTo>
                      <a:pt x="2008" y="3886"/>
                    </a:lnTo>
                    <a:lnTo>
                      <a:pt x="2008" y="3888"/>
                    </a:lnTo>
                    <a:lnTo>
                      <a:pt x="2006" y="3890"/>
                    </a:lnTo>
                    <a:lnTo>
                      <a:pt x="2006" y="3890"/>
                    </a:lnTo>
                    <a:lnTo>
                      <a:pt x="2002" y="3892"/>
                    </a:lnTo>
                    <a:lnTo>
                      <a:pt x="2000" y="3892"/>
                    </a:lnTo>
                    <a:lnTo>
                      <a:pt x="1996" y="3890"/>
                    </a:lnTo>
                    <a:lnTo>
                      <a:pt x="1992" y="3886"/>
                    </a:lnTo>
                    <a:lnTo>
                      <a:pt x="1990" y="3886"/>
                    </a:lnTo>
                    <a:lnTo>
                      <a:pt x="1988" y="3888"/>
                    </a:lnTo>
                    <a:lnTo>
                      <a:pt x="1988" y="3888"/>
                    </a:lnTo>
                    <a:lnTo>
                      <a:pt x="1986" y="3890"/>
                    </a:lnTo>
                    <a:lnTo>
                      <a:pt x="1986" y="3894"/>
                    </a:lnTo>
                    <a:lnTo>
                      <a:pt x="1992" y="3904"/>
                    </a:lnTo>
                    <a:lnTo>
                      <a:pt x="1998" y="3910"/>
                    </a:lnTo>
                    <a:lnTo>
                      <a:pt x="2000" y="3912"/>
                    </a:lnTo>
                    <a:lnTo>
                      <a:pt x="2000" y="3910"/>
                    </a:lnTo>
                    <a:lnTo>
                      <a:pt x="2000" y="3910"/>
                    </a:lnTo>
                    <a:lnTo>
                      <a:pt x="2002" y="3904"/>
                    </a:lnTo>
                    <a:lnTo>
                      <a:pt x="2004" y="3900"/>
                    </a:lnTo>
                    <a:lnTo>
                      <a:pt x="2006" y="3900"/>
                    </a:lnTo>
                    <a:lnTo>
                      <a:pt x="2006" y="3900"/>
                    </a:lnTo>
                    <a:lnTo>
                      <a:pt x="2010" y="3912"/>
                    </a:lnTo>
                    <a:lnTo>
                      <a:pt x="2010" y="3912"/>
                    </a:lnTo>
                    <a:lnTo>
                      <a:pt x="2016" y="3930"/>
                    </a:lnTo>
                    <a:lnTo>
                      <a:pt x="2024" y="3950"/>
                    </a:lnTo>
                    <a:lnTo>
                      <a:pt x="2028" y="3960"/>
                    </a:lnTo>
                    <a:lnTo>
                      <a:pt x="2032" y="3972"/>
                    </a:lnTo>
                    <a:lnTo>
                      <a:pt x="2032" y="3982"/>
                    </a:lnTo>
                    <a:lnTo>
                      <a:pt x="2030" y="3992"/>
                    </a:lnTo>
                    <a:lnTo>
                      <a:pt x="2030" y="3992"/>
                    </a:lnTo>
                    <a:lnTo>
                      <a:pt x="2016" y="4034"/>
                    </a:lnTo>
                    <a:lnTo>
                      <a:pt x="2014" y="4050"/>
                    </a:lnTo>
                    <a:lnTo>
                      <a:pt x="2014" y="4056"/>
                    </a:lnTo>
                    <a:lnTo>
                      <a:pt x="2016" y="4058"/>
                    </a:lnTo>
                    <a:lnTo>
                      <a:pt x="2016" y="4058"/>
                    </a:lnTo>
                    <a:lnTo>
                      <a:pt x="2020" y="4058"/>
                    </a:lnTo>
                    <a:lnTo>
                      <a:pt x="2022" y="4056"/>
                    </a:lnTo>
                    <a:lnTo>
                      <a:pt x="2026" y="4050"/>
                    </a:lnTo>
                    <a:lnTo>
                      <a:pt x="2028" y="4044"/>
                    </a:lnTo>
                    <a:lnTo>
                      <a:pt x="2030" y="4042"/>
                    </a:lnTo>
                    <a:lnTo>
                      <a:pt x="2034" y="4042"/>
                    </a:lnTo>
                    <a:lnTo>
                      <a:pt x="2034" y="4042"/>
                    </a:lnTo>
                    <a:lnTo>
                      <a:pt x="2036" y="4042"/>
                    </a:lnTo>
                    <a:lnTo>
                      <a:pt x="2036" y="4044"/>
                    </a:lnTo>
                    <a:lnTo>
                      <a:pt x="2032" y="4048"/>
                    </a:lnTo>
                    <a:lnTo>
                      <a:pt x="2032" y="4054"/>
                    </a:lnTo>
                    <a:lnTo>
                      <a:pt x="2032" y="4056"/>
                    </a:lnTo>
                    <a:lnTo>
                      <a:pt x="2036" y="4060"/>
                    </a:lnTo>
                    <a:lnTo>
                      <a:pt x="2036" y="4060"/>
                    </a:lnTo>
                    <a:lnTo>
                      <a:pt x="2040" y="4064"/>
                    </a:lnTo>
                    <a:lnTo>
                      <a:pt x="2042" y="4064"/>
                    </a:lnTo>
                    <a:lnTo>
                      <a:pt x="2046" y="4062"/>
                    </a:lnTo>
                    <a:lnTo>
                      <a:pt x="2048" y="4060"/>
                    </a:lnTo>
                    <a:lnTo>
                      <a:pt x="2050" y="4060"/>
                    </a:lnTo>
                    <a:lnTo>
                      <a:pt x="2052" y="4062"/>
                    </a:lnTo>
                    <a:lnTo>
                      <a:pt x="2056" y="4066"/>
                    </a:lnTo>
                    <a:lnTo>
                      <a:pt x="2056" y="4066"/>
                    </a:lnTo>
                    <a:lnTo>
                      <a:pt x="2062" y="4070"/>
                    </a:lnTo>
                    <a:lnTo>
                      <a:pt x="2066" y="4068"/>
                    </a:lnTo>
                    <a:lnTo>
                      <a:pt x="2068" y="4066"/>
                    </a:lnTo>
                    <a:lnTo>
                      <a:pt x="2072" y="4060"/>
                    </a:lnTo>
                    <a:lnTo>
                      <a:pt x="2080" y="4048"/>
                    </a:lnTo>
                    <a:lnTo>
                      <a:pt x="2086" y="4042"/>
                    </a:lnTo>
                    <a:lnTo>
                      <a:pt x="2092" y="4038"/>
                    </a:lnTo>
                    <a:lnTo>
                      <a:pt x="2092" y="4038"/>
                    </a:lnTo>
                    <a:lnTo>
                      <a:pt x="2106" y="4032"/>
                    </a:lnTo>
                    <a:lnTo>
                      <a:pt x="2112" y="4028"/>
                    </a:lnTo>
                    <a:lnTo>
                      <a:pt x="2118" y="4024"/>
                    </a:lnTo>
                    <a:lnTo>
                      <a:pt x="2122" y="4016"/>
                    </a:lnTo>
                    <a:lnTo>
                      <a:pt x="2124" y="4008"/>
                    </a:lnTo>
                    <a:lnTo>
                      <a:pt x="2126" y="3998"/>
                    </a:lnTo>
                    <a:lnTo>
                      <a:pt x="2122" y="3986"/>
                    </a:lnTo>
                    <a:lnTo>
                      <a:pt x="2122" y="3986"/>
                    </a:lnTo>
                    <a:lnTo>
                      <a:pt x="2128" y="3990"/>
                    </a:lnTo>
                    <a:lnTo>
                      <a:pt x="2130" y="3992"/>
                    </a:lnTo>
                    <a:lnTo>
                      <a:pt x="2132" y="3998"/>
                    </a:lnTo>
                    <a:lnTo>
                      <a:pt x="2132" y="3998"/>
                    </a:lnTo>
                    <a:lnTo>
                      <a:pt x="2132" y="4002"/>
                    </a:lnTo>
                    <a:lnTo>
                      <a:pt x="2136" y="4004"/>
                    </a:lnTo>
                    <a:lnTo>
                      <a:pt x="2138" y="4008"/>
                    </a:lnTo>
                    <a:lnTo>
                      <a:pt x="2140" y="4020"/>
                    </a:lnTo>
                    <a:lnTo>
                      <a:pt x="2140" y="4020"/>
                    </a:lnTo>
                    <a:lnTo>
                      <a:pt x="2144" y="4028"/>
                    </a:lnTo>
                    <a:lnTo>
                      <a:pt x="2146" y="4030"/>
                    </a:lnTo>
                    <a:lnTo>
                      <a:pt x="2148" y="4032"/>
                    </a:lnTo>
                    <a:lnTo>
                      <a:pt x="2152" y="4030"/>
                    </a:lnTo>
                    <a:lnTo>
                      <a:pt x="2156" y="4028"/>
                    </a:lnTo>
                    <a:lnTo>
                      <a:pt x="2156" y="4028"/>
                    </a:lnTo>
                    <a:lnTo>
                      <a:pt x="2158" y="4028"/>
                    </a:lnTo>
                    <a:lnTo>
                      <a:pt x="2158" y="4028"/>
                    </a:lnTo>
                    <a:lnTo>
                      <a:pt x="2156" y="4032"/>
                    </a:lnTo>
                    <a:lnTo>
                      <a:pt x="2152" y="4040"/>
                    </a:lnTo>
                    <a:lnTo>
                      <a:pt x="2150" y="4046"/>
                    </a:lnTo>
                    <a:lnTo>
                      <a:pt x="2150" y="4046"/>
                    </a:lnTo>
                    <a:lnTo>
                      <a:pt x="2150" y="4052"/>
                    </a:lnTo>
                    <a:lnTo>
                      <a:pt x="2154" y="4060"/>
                    </a:lnTo>
                    <a:lnTo>
                      <a:pt x="2156" y="4070"/>
                    </a:lnTo>
                    <a:lnTo>
                      <a:pt x="2158" y="4092"/>
                    </a:lnTo>
                    <a:lnTo>
                      <a:pt x="2158" y="4092"/>
                    </a:lnTo>
                    <a:lnTo>
                      <a:pt x="2160" y="4114"/>
                    </a:lnTo>
                    <a:lnTo>
                      <a:pt x="2164" y="4128"/>
                    </a:lnTo>
                    <a:lnTo>
                      <a:pt x="2168" y="4140"/>
                    </a:lnTo>
                    <a:lnTo>
                      <a:pt x="2172" y="4154"/>
                    </a:lnTo>
                    <a:lnTo>
                      <a:pt x="2172" y="4154"/>
                    </a:lnTo>
                    <a:lnTo>
                      <a:pt x="2172" y="4172"/>
                    </a:lnTo>
                    <a:lnTo>
                      <a:pt x="2174" y="4172"/>
                    </a:lnTo>
                    <a:lnTo>
                      <a:pt x="2174" y="4172"/>
                    </a:lnTo>
                    <a:lnTo>
                      <a:pt x="2176" y="4166"/>
                    </a:lnTo>
                    <a:lnTo>
                      <a:pt x="2178" y="4168"/>
                    </a:lnTo>
                    <a:lnTo>
                      <a:pt x="2180" y="4172"/>
                    </a:lnTo>
                    <a:lnTo>
                      <a:pt x="2180" y="4172"/>
                    </a:lnTo>
                    <a:lnTo>
                      <a:pt x="2184" y="4186"/>
                    </a:lnTo>
                    <a:lnTo>
                      <a:pt x="2188" y="4198"/>
                    </a:lnTo>
                    <a:lnTo>
                      <a:pt x="2190" y="4208"/>
                    </a:lnTo>
                    <a:lnTo>
                      <a:pt x="2192" y="4216"/>
                    </a:lnTo>
                    <a:lnTo>
                      <a:pt x="2192" y="4216"/>
                    </a:lnTo>
                    <a:lnTo>
                      <a:pt x="2194" y="4224"/>
                    </a:lnTo>
                    <a:lnTo>
                      <a:pt x="2192" y="4232"/>
                    </a:lnTo>
                    <a:lnTo>
                      <a:pt x="2192" y="4240"/>
                    </a:lnTo>
                    <a:lnTo>
                      <a:pt x="2192" y="4242"/>
                    </a:lnTo>
                    <a:lnTo>
                      <a:pt x="2194" y="4246"/>
                    </a:lnTo>
                    <a:lnTo>
                      <a:pt x="2194" y="4246"/>
                    </a:lnTo>
                    <a:lnTo>
                      <a:pt x="2194" y="4248"/>
                    </a:lnTo>
                    <a:lnTo>
                      <a:pt x="2194" y="4250"/>
                    </a:lnTo>
                    <a:lnTo>
                      <a:pt x="2192" y="4258"/>
                    </a:lnTo>
                    <a:lnTo>
                      <a:pt x="2190" y="4266"/>
                    </a:lnTo>
                    <a:lnTo>
                      <a:pt x="2192" y="4268"/>
                    </a:lnTo>
                    <a:lnTo>
                      <a:pt x="2196" y="4268"/>
                    </a:lnTo>
                    <a:lnTo>
                      <a:pt x="2196" y="4268"/>
                    </a:lnTo>
                    <a:lnTo>
                      <a:pt x="2198" y="4268"/>
                    </a:lnTo>
                    <a:lnTo>
                      <a:pt x="2200" y="4270"/>
                    </a:lnTo>
                    <a:lnTo>
                      <a:pt x="2200" y="4276"/>
                    </a:lnTo>
                    <a:lnTo>
                      <a:pt x="2196" y="4286"/>
                    </a:lnTo>
                    <a:lnTo>
                      <a:pt x="2196" y="4298"/>
                    </a:lnTo>
                    <a:lnTo>
                      <a:pt x="2196" y="4298"/>
                    </a:lnTo>
                    <a:lnTo>
                      <a:pt x="2194" y="4306"/>
                    </a:lnTo>
                    <a:lnTo>
                      <a:pt x="2192" y="4310"/>
                    </a:lnTo>
                    <a:lnTo>
                      <a:pt x="2190" y="4320"/>
                    </a:lnTo>
                    <a:lnTo>
                      <a:pt x="2188" y="4344"/>
                    </a:lnTo>
                    <a:lnTo>
                      <a:pt x="2188" y="4344"/>
                    </a:lnTo>
                    <a:lnTo>
                      <a:pt x="2188" y="4352"/>
                    </a:lnTo>
                    <a:lnTo>
                      <a:pt x="2190" y="4352"/>
                    </a:lnTo>
                    <a:lnTo>
                      <a:pt x="2190" y="4352"/>
                    </a:lnTo>
                    <a:lnTo>
                      <a:pt x="2198" y="4336"/>
                    </a:lnTo>
                    <a:lnTo>
                      <a:pt x="2198" y="4336"/>
                    </a:lnTo>
                    <a:lnTo>
                      <a:pt x="2198" y="4340"/>
                    </a:lnTo>
                    <a:lnTo>
                      <a:pt x="2198" y="4346"/>
                    </a:lnTo>
                    <a:lnTo>
                      <a:pt x="2190" y="4360"/>
                    </a:lnTo>
                    <a:lnTo>
                      <a:pt x="2190" y="4360"/>
                    </a:lnTo>
                    <a:lnTo>
                      <a:pt x="2186" y="4368"/>
                    </a:lnTo>
                    <a:lnTo>
                      <a:pt x="2188" y="4372"/>
                    </a:lnTo>
                    <a:lnTo>
                      <a:pt x="2188" y="4374"/>
                    </a:lnTo>
                    <a:lnTo>
                      <a:pt x="2186" y="4380"/>
                    </a:lnTo>
                    <a:lnTo>
                      <a:pt x="2186" y="4380"/>
                    </a:lnTo>
                    <a:lnTo>
                      <a:pt x="2182" y="4390"/>
                    </a:lnTo>
                    <a:lnTo>
                      <a:pt x="2182" y="4396"/>
                    </a:lnTo>
                    <a:lnTo>
                      <a:pt x="2182" y="4400"/>
                    </a:lnTo>
                    <a:lnTo>
                      <a:pt x="2180" y="4406"/>
                    </a:lnTo>
                    <a:lnTo>
                      <a:pt x="2180" y="4406"/>
                    </a:lnTo>
                    <a:lnTo>
                      <a:pt x="2178" y="4416"/>
                    </a:lnTo>
                    <a:lnTo>
                      <a:pt x="2176" y="4426"/>
                    </a:lnTo>
                    <a:lnTo>
                      <a:pt x="2178" y="4434"/>
                    </a:lnTo>
                    <a:lnTo>
                      <a:pt x="2180" y="4440"/>
                    </a:lnTo>
                    <a:lnTo>
                      <a:pt x="2180" y="4440"/>
                    </a:lnTo>
                    <a:lnTo>
                      <a:pt x="2182" y="4442"/>
                    </a:lnTo>
                    <a:lnTo>
                      <a:pt x="2184" y="4442"/>
                    </a:lnTo>
                    <a:lnTo>
                      <a:pt x="2186" y="4438"/>
                    </a:lnTo>
                    <a:lnTo>
                      <a:pt x="2190" y="4432"/>
                    </a:lnTo>
                    <a:lnTo>
                      <a:pt x="2190" y="4430"/>
                    </a:lnTo>
                    <a:lnTo>
                      <a:pt x="2192" y="4430"/>
                    </a:lnTo>
                    <a:lnTo>
                      <a:pt x="2192" y="4430"/>
                    </a:lnTo>
                    <a:lnTo>
                      <a:pt x="2198" y="4438"/>
                    </a:lnTo>
                    <a:lnTo>
                      <a:pt x="2204" y="4450"/>
                    </a:lnTo>
                    <a:lnTo>
                      <a:pt x="2210" y="4464"/>
                    </a:lnTo>
                    <a:lnTo>
                      <a:pt x="2220" y="4480"/>
                    </a:lnTo>
                    <a:lnTo>
                      <a:pt x="2220" y="4480"/>
                    </a:lnTo>
                    <a:lnTo>
                      <a:pt x="2224" y="4484"/>
                    </a:lnTo>
                    <a:lnTo>
                      <a:pt x="2228" y="4484"/>
                    </a:lnTo>
                    <a:lnTo>
                      <a:pt x="2232" y="4486"/>
                    </a:lnTo>
                    <a:lnTo>
                      <a:pt x="2234" y="4488"/>
                    </a:lnTo>
                    <a:lnTo>
                      <a:pt x="2234" y="4488"/>
                    </a:lnTo>
                    <a:lnTo>
                      <a:pt x="2234" y="4494"/>
                    </a:lnTo>
                    <a:lnTo>
                      <a:pt x="2234" y="4498"/>
                    </a:lnTo>
                    <a:lnTo>
                      <a:pt x="2236" y="4502"/>
                    </a:lnTo>
                    <a:lnTo>
                      <a:pt x="2238" y="4508"/>
                    </a:lnTo>
                    <a:lnTo>
                      <a:pt x="2238" y="4508"/>
                    </a:lnTo>
                    <a:lnTo>
                      <a:pt x="2248" y="4516"/>
                    </a:lnTo>
                    <a:lnTo>
                      <a:pt x="2254" y="4526"/>
                    </a:lnTo>
                    <a:lnTo>
                      <a:pt x="2254" y="4526"/>
                    </a:lnTo>
                    <a:lnTo>
                      <a:pt x="2258" y="4536"/>
                    </a:lnTo>
                    <a:lnTo>
                      <a:pt x="2262" y="4544"/>
                    </a:lnTo>
                    <a:lnTo>
                      <a:pt x="2266" y="4562"/>
                    </a:lnTo>
                    <a:lnTo>
                      <a:pt x="2266" y="4578"/>
                    </a:lnTo>
                    <a:lnTo>
                      <a:pt x="2266" y="4588"/>
                    </a:lnTo>
                    <a:lnTo>
                      <a:pt x="2266" y="4588"/>
                    </a:lnTo>
                    <a:lnTo>
                      <a:pt x="2264" y="4592"/>
                    </a:lnTo>
                    <a:lnTo>
                      <a:pt x="2264" y="4596"/>
                    </a:lnTo>
                    <a:lnTo>
                      <a:pt x="2268" y="4600"/>
                    </a:lnTo>
                    <a:lnTo>
                      <a:pt x="2270" y="4602"/>
                    </a:lnTo>
                    <a:lnTo>
                      <a:pt x="2272" y="4606"/>
                    </a:lnTo>
                    <a:lnTo>
                      <a:pt x="2274" y="4612"/>
                    </a:lnTo>
                    <a:lnTo>
                      <a:pt x="2272" y="4622"/>
                    </a:lnTo>
                    <a:lnTo>
                      <a:pt x="2272" y="4622"/>
                    </a:lnTo>
                    <a:lnTo>
                      <a:pt x="2272" y="4634"/>
                    </a:lnTo>
                    <a:lnTo>
                      <a:pt x="2276" y="4638"/>
                    </a:lnTo>
                    <a:lnTo>
                      <a:pt x="2278" y="4640"/>
                    </a:lnTo>
                    <a:lnTo>
                      <a:pt x="2278" y="4644"/>
                    </a:lnTo>
                    <a:lnTo>
                      <a:pt x="2278" y="4644"/>
                    </a:lnTo>
                    <a:lnTo>
                      <a:pt x="2278" y="4648"/>
                    </a:lnTo>
                    <a:lnTo>
                      <a:pt x="2282" y="4654"/>
                    </a:lnTo>
                    <a:lnTo>
                      <a:pt x="2292" y="4666"/>
                    </a:lnTo>
                    <a:lnTo>
                      <a:pt x="2296" y="4672"/>
                    </a:lnTo>
                    <a:lnTo>
                      <a:pt x="2300" y="4680"/>
                    </a:lnTo>
                    <a:lnTo>
                      <a:pt x="2302" y="4688"/>
                    </a:lnTo>
                    <a:lnTo>
                      <a:pt x="2302" y="4696"/>
                    </a:lnTo>
                    <a:lnTo>
                      <a:pt x="2302" y="4696"/>
                    </a:lnTo>
                    <a:lnTo>
                      <a:pt x="2302" y="4700"/>
                    </a:lnTo>
                    <a:lnTo>
                      <a:pt x="2302" y="4702"/>
                    </a:lnTo>
                    <a:lnTo>
                      <a:pt x="2308" y="4708"/>
                    </a:lnTo>
                    <a:lnTo>
                      <a:pt x="2320" y="4716"/>
                    </a:lnTo>
                    <a:lnTo>
                      <a:pt x="2330" y="4724"/>
                    </a:lnTo>
                    <a:lnTo>
                      <a:pt x="2344" y="4736"/>
                    </a:lnTo>
                    <a:lnTo>
                      <a:pt x="2344" y="4736"/>
                    </a:lnTo>
                    <a:lnTo>
                      <a:pt x="2354" y="4746"/>
                    </a:lnTo>
                    <a:lnTo>
                      <a:pt x="2364" y="4754"/>
                    </a:lnTo>
                    <a:lnTo>
                      <a:pt x="2376" y="4760"/>
                    </a:lnTo>
                    <a:lnTo>
                      <a:pt x="2382" y="4764"/>
                    </a:lnTo>
                    <a:lnTo>
                      <a:pt x="2384" y="4766"/>
                    </a:lnTo>
                    <a:lnTo>
                      <a:pt x="2386" y="4770"/>
                    </a:lnTo>
                    <a:lnTo>
                      <a:pt x="2386" y="4770"/>
                    </a:lnTo>
                    <a:lnTo>
                      <a:pt x="2390" y="4776"/>
                    </a:lnTo>
                    <a:lnTo>
                      <a:pt x="2392" y="4774"/>
                    </a:lnTo>
                    <a:lnTo>
                      <a:pt x="2396" y="4770"/>
                    </a:lnTo>
                    <a:lnTo>
                      <a:pt x="2400" y="4770"/>
                    </a:lnTo>
                    <a:lnTo>
                      <a:pt x="2404" y="4770"/>
                    </a:lnTo>
                    <a:lnTo>
                      <a:pt x="2404" y="4770"/>
                    </a:lnTo>
                    <a:lnTo>
                      <a:pt x="2408" y="4770"/>
                    </a:lnTo>
                    <a:lnTo>
                      <a:pt x="2410" y="4768"/>
                    </a:lnTo>
                    <a:lnTo>
                      <a:pt x="2410" y="4764"/>
                    </a:lnTo>
                    <a:lnTo>
                      <a:pt x="2414" y="4764"/>
                    </a:lnTo>
                    <a:lnTo>
                      <a:pt x="2414" y="4764"/>
                    </a:lnTo>
                    <a:lnTo>
                      <a:pt x="2416" y="4766"/>
                    </a:lnTo>
                    <a:lnTo>
                      <a:pt x="2414" y="4770"/>
                    </a:lnTo>
                    <a:lnTo>
                      <a:pt x="2414" y="4772"/>
                    </a:lnTo>
                    <a:lnTo>
                      <a:pt x="2418" y="4774"/>
                    </a:lnTo>
                    <a:lnTo>
                      <a:pt x="2418" y="4774"/>
                    </a:lnTo>
                    <a:lnTo>
                      <a:pt x="2420" y="4774"/>
                    </a:lnTo>
                    <a:lnTo>
                      <a:pt x="2422" y="4772"/>
                    </a:lnTo>
                    <a:lnTo>
                      <a:pt x="2422" y="4766"/>
                    </a:lnTo>
                    <a:lnTo>
                      <a:pt x="2420" y="4756"/>
                    </a:lnTo>
                    <a:lnTo>
                      <a:pt x="2416" y="4750"/>
                    </a:lnTo>
                    <a:lnTo>
                      <a:pt x="2416" y="4750"/>
                    </a:lnTo>
                    <a:lnTo>
                      <a:pt x="2414" y="4744"/>
                    </a:lnTo>
                    <a:lnTo>
                      <a:pt x="2412" y="4740"/>
                    </a:lnTo>
                    <a:lnTo>
                      <a:pt x="2410" y="4730"/>
                    </a:lnTo>
                    <a:lnTo>
                      <a:pt x="2406" y="4718"/>
                    </a:lnTo>
                    <a:lnTo>
                      <a:pt x="2402" y="4714"/>
                    </a:lnTo>
                    <a:lnTo>
                      <a:pt x="2398" y="4708"/>
                    </a:lnTo>
                    <a:lnTo>
                      <a:pt x="2398" y="4708"/>
                    </a:lnTo>
                    <a:lnTo>
                      <a:pt x="2392" y="4704"/>
                    </a:lnTo>
                    <a:lnTo>
                      <a:pt x="2388" y="4698"/>
                    </a:lnTo>
                    <a:lnTo>
                      <a:pt x="2388" y="4690"/>
                    </a:lnTo>
                    <a:lnTo>
                      <a:pt x="2388" y="4684"/>
                    </a:lnTo>
                    <a:lnTo>
                      <a:pt x="2390" y="4672"/>
                    </a:lnTo>
                    <a:lnTo>
                      <a:pt x="2390" y="4668"/>
                    </a:lnTo>
                    <a:lnTo>
                      <a:pt x="2386" y="4664"/>
                    </a:lnTo>
                    <a:lnTo>
                      <a:pt x="2386" y="4664"/>
                    </a:lnTo>
                    <a:lnTo>
                      <a:pt x="2384" y="4658"/>
                    </a:lnTo>
                    <a:lnTo>
                      <a:pt x="2386" y="4654"/>
                    </a:lnTo>
                    <a:lnTo>
                      <a:pt x="2386" y="4648"/>
                    </a:lnTo>
                    <a:lnTo>
                      <a:pt x="2388" y="4642"/>
                    </a:lnTo>
                    <a:lnTo>
                      <a:pt x="2388" y="4642"/>
                    </a:lnTo>
                    <a:lnTo>
                      <a:pt x="2388" y="4636"/>
                    </a:lnTo>
                    <a:lnTo>
                      <a:pt x="2388" y="4628"/>
                    </a:lnTo>
                    <a:lnTo>
                      <a:pt x="2390" y="4616"/>
                    </a:lnTo>
                    <a:lnTo>
                      <a:pt x="2386" y="4600"/>
                    </a:lnTo>
                    <a:lnTo>
                      <a:pt x="2386" y="4600"/>
                    </a:lnTo>
                    <a:lnTo>
                      <a:pt x="2384" y="4592"/>
                    </a:lnTo>
                    <a:lnTo>
                      <a:pt x="2378" y="4584"/>
                    </a:lnTo>
                    <a:lnTo>
                      <a:pt x="2366" y="4570"/>
                    </a:lnTo>
                    <a:lnTo>
                      <a:pt x="2354" y="4558"/>
                    </a:lnTo>
                    <a:lnTo>
                      <a:pt x="2350" y="4552"/>
                    </a:lnTo>
                    <a:lnTo>
                      <a:pt x="2348" y="4546"/>
                    </a:lnTo>
                    <a:lnTo>
                      <a:pt x="2348" y="4546"/>
                    </a:lnTo>
                    <a:lnTo>
                      <a:pt x="2344" y="4540"/>
                    </a:lnTo>
                    <a:lnTo>
                      <a:pt x="2342" y="4538"/>
                    </a:lnTo>
                    <a:lnTo>
                      <a:pt x="2334" y="4536"/>
                    </a:lnTo>
                    <a:lnTo>
                      <a:pt x="2334" y="4536"/>
                    </a:lnTo>
                    <a:lnTo>
                      <a:pt x="2324" y="4526"/>
                    </a:lnTo>
                    <a:lnTo>
                      <a:pt x="2310" y="4508"/>
                    </a:lnTo>
                    <a:lnTo>
                      <a:pt x="2310" y="4508"/>
                    </a:lnTo>
                    <a:lnTo>
                      <a:pt x="2306" y="4502"/>
                    </a:lnTo>
                    <a:lnTo>
                      <a:pt x="2304" y="4502"/>
                    </a:lnTo>
                    <a:lnTo>
                      <a:pt x="2300" y="4504"/>
                    </a:lnTo>
                    <a:lnTo>
                      <a:pt x="2296" y="4504"/>
                    </a:lnTo>
                    <a:lnTo>
                      <a:pt x="2292" y="4504"/>
                    </a:lnTo>
                    <a:lnTo>
                      <a:pt x="2286" y="4500"/>
                    </a:lnTo>
                    <a:lnTo>
                      <a:pt x="2276" y="4494"/>
                    </a:lnTo>
                    <a:lnTo>
                      <a:pt x="2276" y="4494"/>
                    </a:lnTo>
                    <a:lnTo>
                      <a:pt x="2272" y="4486"/>
                    </a:lnTo>
                    <a:lnTo>
                      <a:pt x="2270" y="4476"/>
                    </a:lnTo>
                    <a:lnTo>
                      <a:pt x="2264" y="4454"/>
                    </a:lnTo>
                    <a:lnTo>
                      <a:pt x="2262" y="4434"/>
                    </a:lnTo>
                    <a:lnTo>
                      <a:pt x="2260" y="4428"/>
                    </a:lnTo>
                    <a:lnTo>
                      <a:pt x="2258" y="4426"/>
                    </a:lnTo>
                    <a:lnTo>
                      <a:pt x="2258" y="4426"/>
                    </a:lnTo>
                    <a:lnTo>
                      <a:pt x="2258" y="4426"/>
                    </a:lnTo>
                    <a:lnTo>
                      <a:pt x="2254" y="4426"/>
                    </a:lnTo>
                    <a:lnTo>
                      <a:pt x="2252" y="4424"/>
                    </a:lnTo>
                    <a:lnTo>
                      <a:pt x="2248" y="4416"/>
                    </a:lnTo>
                    <a:lnTo>
                      <a:pt x="2244" y="4402"/>
                    </a:lnTo>
                    <a:lnTo>
                      <a:pt x="2244" y="4388"/>
                    </a:lnTo>
                    <a:lnTo>
                      <a:pt x="2244" y="4388"/>
                    </a:lnTo>
                    <a:lnTo>
                      <a:pt x="2242" y="4386"/>
                    </a:lnTo>
                    <a:lnTo>
                      <a:pt x="2240" y="4384"/>
                    </a:lnTo>
                    <a:lnTo>
                      <a:pt x="2230" y="4388"/>
                    </a:lnTo>
                    <a:lnTo>
                      <a:pt x="2226" y="4390"/>
                    </a:lnTo>
                    <a:lnTo>
                      <a:pt x="2222" y="4390"/>
                    </a:lnTo>
                    <a:lnTo>
                      <a:pt x="2220" y="4388"/>
                    </a:lnTo>
                    <a:lnTo>
                      <a:pt x="2220" y="4382"/>
                    </a:lnTo>
                    <a:lnTo>
                      <a:pt x="2220" y="4382"/>
                    </a:lnTo>
                    <a:lnTo>
                      <a:pt x="2218" y="4352"/>
                    </a:lnTo>
                    <a:lnTo>
                      <a:pt x="2218" y="4330"/>
                    </a:lnTo>
                    <a:lnTo>
                      <a:pt x="2220" y="4320"/>
                    </a:lnTo>
                    <a:lnTo>
                      <a:pt x="2224" y="4316"/>
                    </a:lnTo>
                    <a:lnTo>
                      <a:pt x="2224" y="4316"/>
                    </a:lnTo>
                    <a:lnTo>
                      <a:pt x="2226" y="4310"/>
                    </a:lnTo>
                    <a:lnTo>
                      <a:pt x="2228" y="4306"/>
                    </a:lnTo>
                    <a:lnTo>
                      <a:pt x="2232" y="4296"/>
                    </a:lnTo>
                    <a:lnTo>
                      <a:pt x="2234" y="4284"/>
                    </a:lnTo>
                    <a:lnTo>
                      <a:pt x="2236" y="4274"/>
                    </a:lnTo>
                    <a:lnTo>
                      <a:pt x="2236" y="4274"/>
                    </a:lnTo>
                    <a:lnTo>
                      <a:pt x="2242" y="4258"/>
                    </a:lnTo>
                    <a:lnTo>
                      <a:pt x="2248" y="4232"/>
                    </a:lnTo>
                    <a:lnTo>
                      <a:pt x="2252" y="4208"/>
                    </a:lnTo>
                    <a:lnTo>
                      <a:pt x="2252" y="4200"/>
                    </a:lnTo>
                    <a:lnTo>
                      <a:pt x="2252" y="4196"/>
                    </a:lnTo>
                    <a:lnTo>
                      <a:pt x="2252" y="4196"/>
                    </a:lnTo>
                    <a:lnTo>
                      <a:pt x="2248" y="4192"/>
                    </a:lnTo>
                    <a:lnTo>
                      <a:pt x="2248" y="4190"/>
                    </a:lnTo>
                    <a:lnTo>
                      <a:pt x="2248" y="4186"/>
                    </a:lnTo>
                    <a:lnTo>
                      <a:pt x="2250" y="4184"/>
                    </a:lnTo>
                    <a:lnTo>
                      <a:pt x="2252" y="4180"/>
                    </a:lnTo>
                    <a:lnTo>
                      <a:pt x="2256" y="4178"/>
                    </a:lnTo>
                    <a:lnTo>
                      <a:pt x="2272" y="4176"/>
                    </a:lnTo>
                    <a:lnTo>
                      <a:pt x="2272" y="4176"/>
                    </a:lnTo>
                    <a:lnTo>
                      <a:pt x="2278" y="4178"/>
                    </a:lnTo>
                    <a:lnTo>
                      <a:pt x="2282" y="4180"/>
                    </a:lnTo>
                    <a:lnTo>
                      <a:pt x="2286" y="4182"/>
                    </a:lnTo>
                    <a:lnTo>
                      <a:pt x="2286" y="4184"/>
                    </a:lnTo>
                    <a:lnTo>
                      <a:pt x="2284" y="4194"/>
                    </a:lnTo>
                    <a:lnTo>
                      <a:pt x="2282" y="4210"/>
                    </a:lnTo>
                    <a:lnTo>
                      <a:pt x="2282" y="4210"/>
                    </a:lnTo>
                    <a:lnTo>
                      <a:pt x="2282" y="4220"/>
                    </a:lnTo>
                    <a:lnTo>
                      <a:pt x="2284" y="4222"/>
                    </a:lnTo>
                    <a:lnTo>
                      <a:pt x="2286" y="4222"/>
                    </a:lnTo>
                    <a:lnTo>
                      <a:pt x="2292" y="4222"/>
                    </a:lnTo>
                    <a:lnTo>
                      <a:pt x="2296" y="4222"/>
                    </a:lnTo>
                    <a:lnTo>
                      <a:pt x="2300" y="4222"/>
                    </a:lnTo>
                    <a:lnTo>
                      <a:pt x="2300" y="4222"/>
                    </a:lnTo>
                    <a:lnTo>
                      <a:pt x="2304" y="4224"/>
                    </a:lnTo>
                    <a:lnTo>
                      <a:pt x="2306" y="4224"/>
                    </a:lnTo>
                    <a:lnTo>
                      <a:pt x="2310" y="4220"/>
                    </a:lnTo>
                    <a:lnTo>
                      <a:pt x="2316" y="4218"/>
                    </a:lnTo>
                    <a:lnTo>
                      <a:pt x="2318" y="4218"/>
                    </a:lnTo>
                    <a:lnTo>
                      <a:pt x="2322" y="4220"/>
                    </a:lnTo>
                    <a:lnTo>
                      <a:pt x="2322" y="4220"/>
                    </a:lnTo>
                    <a:lnTo>
                      <a:pt x="2330" y="4228"/>
                    </a:lnTo>
                    <a:lnTo>
                      <a:pt x="2336" y="4236"/>
                    </a:lnTo>
                    <a:lnTo>
                      <a:pt x="2342" y="4244"/>
                    </a:lnTo>
                    <a:lnTo>
                      <a:pt x="2346" y="4246"/>
                    </a:lnTo>
                    <a:lnTo>
                      <a:pt x="2350" y="4248"/>
                    </a:lnTo>
                    <a:lnTo>
                      <a:pt x="2350" y="4248"/>
                    </a:lnTo>
                    <a:lnTo>
                      <a:pt x="2354" y="4250"/>
                    </a:lnTo>
                    <a:lnTo>
                      <a:pt x="2356" y="4252"/>
                    </a:lnTo>
                    <a:lnTo>
                      <a:pt x="2360" y="4258"/>
                    </a:lnTo>
                    <a:lnTo>
                      <a:pt x="2362" y="4266"/>
                    </a:lnTo>
                    <a:lnTo>
                      <a:pt x="2364" y="4268"/>
                    </a:lnTo>
                    <a:lnTo>
                      <a:pt x="2368" y="4268"/>
                    </a:lnTo>
                    <a:lnTo>
                      <a:pt x="2368" y="4268"/>
                    </a:lnTo>
                    <a:lnTo>
                      <a:pt x="2362" y="4256"/>
                    </a:lnTo>
                    <a:lnTo>
                      <a:pt x="2362" y="4246"/>
                    </a:lnTo>
                    <a:lnTo>
                      <a:pt x="2362" y="4246"/>
                    </a:lnTo>
                    <a:lnTo>
                      <a:pt x="2362" y="4256"/>
                    </a:lnTo>
                    <a:lnTo>
                      <a:pt x="2368" y="4268"/>
                    </a:lnTo>
                    <a:lnTo>
                      <a:pt x="2368" y="4268"/>
                    </a:lnTo>
                    <a:lnTo>
                      <a:pt x="2374" y="4280"/>
                    </a:lnTo>
                    <a:lnTo>
                      <a:pt x="2376" y="4286"/>
                    </a:lnTo>
                    <a:lnTo>
                      <a:pt x="2374" y="4292"/>
                    </a:lnTo>
                    <a:lnTo>
                      <a:pt x="2374" y="4300"/>
                    </a:lnTo>
                    <a:lnTo>
                      <a:pt x="2374" y="4300"/>
                    </a:lnTo>
                    <a:lnTo>
                      <a:pt x="2376" y="4310"/>
                    </a:lnTo>
                    <a:lnTo>
                      <a:pt x="2376" y="4310"/>
                    </a:lnTo>
                    <a:lnTo>
                      <a:pt x="2378" y="4310"/>
                    </a:lnTo>
                    <a:lnTo>
                      <a:pt x="2380" y="4308"/>
                    </a:lnTo>
                    <a:lnTo>
                      <a:pt x="2386" y="4308"/>
                    </a:lnTo>
                    <a:lnTo>
                      <a:pt x="2386" y="4308"/>
                    </a:lnTo>
                    <a:lnTo>
                      <a:pt x="2388" y="4308"/>
                    </a:lnTo>
                    <a:lnTo>
                      <a:pt x="2388" y="4304"/>
                    </a:lnTo>
                    <a:lnTo>
                      <a:pt x="2388" y="4298"/>
                    </a:lnTo>
                    <a:lnTo>
                      <a:pt x="2388" y="4296"/>
                    </a:lnTo>
                    <a:lnTo>
                      <a:pt x="2390" y="4294"/>
                    </a:lnTo>
                    <a:lnTo>
                      <a:pt x="2392" y="4296"/>
                    </a:lnTo>
                    <a:lnTo>
                      <a:pt x="2396" y="4300"/>
                    </a:lnTo>
                    <a:lnTo>
                      <a:pt x="2396" y="4300"/>
                    </a:lnTo>
                    <a:lnTo>
                      <a:pt x="2398" y="4304"/>
                    </a:lnTo>
                    <a:lnTo>
                      <a:pt x="2398" y="4308"/>
                    </a:lnTo>
                    <a:lnTo>
                      <a:pt x="2394" y="4314"/>
                    </a:lnTo>
                    <a:lnTo>
                      <a:pt x="2390" y="4320"/>
                    </a:lnTo>
                    <a:lnTo>
                      <a:pt x="2390" y="4322"/>
                    </a:lnTo>
                    <a:lnTo>
                      <a:pt x="2392" y="4324"/>
                    </a:lnTo>
                    <a:lnTo>
                      <a:pt x="2392" y="4324"/>
                    </a:lnTo>
                    <a:lnTo>
                      <a:pt x="2396" y="4326"/>
                    </a:lnTo>
                    <a:lnTo>
                      <a:pt x="2398" y="4326"/>
                    </a:lnTo>
                    <a:lnTo>
                      <a:pt x="2402" y="4324"/>
                    </a:lnTo>
                    <a:lnTo>
                      <a:pt x="2404" y="4322"/>
                    </a:lnTo>
                    <a:lnTo>
                      <a:pt x="2406" y="4320"/>
                    </a:lnTo>
                    <a:lnTo>
                      <a:pt x="2406" y="4322"/>
                    </a:lnTo>
                    <a:lnTo>
                      <a:pt x="2406" y="4322"/>
                    </a:lnTo>
                    <a:lnTo>
                      <a:pt x="2412" y="4324"/>
                    </a:lnTo>
                    <a:lnTo>
                      <a:pt x="2416" y="4324"/>
                    </a:lnTo>
                    <a:lnTo>
                      <a:pt x="2422" y="4326"/>
                    </a:lnTo>
                    <a:lnTo>
                      <a:pt x="2424" y="4328"/>
                    </a:lnTo>
                    <a:lnTo>
                      <a:pt x="2428" y="4334"/>
                    </a:lnTo>
                    <a:lnTo>
                      <a:pt x="2428" y="4334"/>
                    </a:lnTo>
                    <a:lnTo>
                      <a:pt x="2430" y="4340"/>
                    </a:lnTo>
                    <a:lnTo>
                      <a:pt x="2434" y="4344"/>
                    </a:lnTo>
                    <a:lnTo>
                      <a:pt x="2436" y="4344"/>
                    </a:lnTo>
                    <a:lnTo>
                      <a:pt x="2438" y="4344"/>
                    </a:lnTo>
                    <a:lnTo>
                      <a:pt x="2444" y="4342"/>
                    </a:lnTo>
                    <a:lnTo>
                      <a:pt x="2446" y="4342"/>
                    </a:lnTo>
                    <a:lnTo>
                      <a:pt x="2450" y="4346"/>
                    </a:lnTo>
                    <a:lnTo>
                      <a:pt x="2450" y="4346"/>
                    </a:lnTo>
                    <a:lnTo>
                      <a:pt x="2452" y="4350"/>
                    </a:lnTo>
                    <a:lnTo>
                      <a:pt x="2452" y="4352"/>
                    </a:lnTo>
                    <a:lnTo>
                      <a:pt x="2448" y="4360"/>
                    </a:lnTo>
                    <a:lnTo>
                      <a:pt x="2444" y="4370"/>
                    </a:lnTo>
                    <a:lnTo>
                      <a:pt x="2442" y="4378"/>
                    </a:lnTo>
                    <a:lnTo>
                      <a:pt x="2440" y="4388"/>
                    </a:lnTo>
                    <a:lnTo>
                      <a:pt x="2440" y="4388"/>
                    </a:lnTo>
                    <a:lnTo>
                      <a:pt x="2440" y="4410"/>
                    </a:lnTo>
                    <a:lnTo>
                      <a:pt x="2442" y="4422"/>
                    </a:lnTo>
                    <a:lnTo>
                      <a:pt x="2444" y="4424"/>
                    </a:lnTo>
                    <a:lnTo>
                      <a:pt x="2446" y="4424"/>
                    </a:lnTo>
                    <a:lnTo>
                      <a:pt x="2450" y="4422"/>
                    </a:lnTo>
                    <a:lnTo>
                      <a:pt x="2456" y="4416"/>
                    </a:lnTo>
                    <a:lnTo>
                      <a:pt x="2456" y="4416"/>
                    </a:lnTo>
                    <a:lnTo>
                      <a:pt x="2478" y="4396"/>
                    </a:lnTo>
                    <a:lnTo>
                      <a:pt x="2488" y="4388"/>
                    </a:lnTo>
                    <a:lnTo>
                      <a:pt x="2496" y="4384"/>
                    </a:lnTo>
                    <a:lnTo>
                      <a:pt x="2496" y="4384"/>
                    </a:lnTo>
                    <a:lnTo>
                      <a:pt x="2500" y="4382"/>
                    </a:lnTo>
                    <a:lnTo>
                      <a:pt x="2502" y="4380"/>
                    </a:lnTo>
                    <a:lnTo>
                      <a:pt x="2502" y="4376"/>
                    </a:lnTo>
                    <a:lnTo>
                      <a:pt x="2502" y="4374"/>
                    </a:lnTo>
                    <a:lnTo>
                      <a:pt x="2508" y="4372"/>
                    </a:lnTo>
                    <a:lnTo>
                      <a:pt x="2508" y="4372"/>
                    </a:lnTo>
                    <a:lnTo>
                      <a:pt x="2512" y="4370"/>
                    </a:lnTo>
                    <a:lnTo>
                      <a:pt x="2516" y="4364"/>
                    </a:lnTo>
                    <a:lnTo>
                      <a:pt x="2520" y="4346"/>
                    </a:lnTo>
                    <a:lnTo>
                      <a:pt x="2524" y="4328"/>
                    </a:lnTo>
                    <a:lnTo>
                      <a:pt x="2526" y="4324"/>
                    </a:lnTo>
                    <a:lnTo>
                      <a:pt x="2526" y="4322"/>
                    </a:lnTo>
                    <a:lnTo>
                      <a:pt x="2528" y="4324"/>
                    </a:lnTo>
                    <a:lnTo>
                      <a:pt x="2528" y="4324"/>
                    </a:lnTo>
                    <a:lnTo>
                      <a:pt x="2534" y="4328"/>
                    </a:lnTo>
                    <a:lnTo>
                      <a:pt x="2536" y="4330"/>
                    </a:lnTo>
                    <a:lnTo>
                      <a:pt x="2538" y="4332"/>
                    </a:lnTo>
                    <a:lnTo>
                      <a:pt x="2544" y="4332"/>
                    </a:lnTo>
                    <a:lnTo>
                      <a:pt x="2548" y="4330"/>
                    </a:lnTo>
                    <a:lnTo>
                      <a:pt x="2556" y="4326"/>
                    </a:lnTo>
                    <a:lnTo>
                      <a:pt x="2566" y="4318"/>
                    </a:lnTo>
                    <a:lnTo>
                      <a:pt x="2566" y="4318"/>
                    </a:lnTo>
                    <a:lnTo>
                      <a:pt x="2576" y="4310"/>
                    </a:lnTo>
                    <a:lnTo>
                      <a:pt x="2584" y="4304"/>
                    </a:lnTo>
                    <a:lnTo>
                      <a:pt x="2598" y="4296"/>
                    </a:lnTo>
                    <a:lnTo>
                      <a:pt x="2604" y="4292"/>
                    </a:lnTo>
                    <a:lnTo>
                      <a:pt x="2610" y="4286"/>
                    </a:lnTo>
                    <a:lnTo>
                      <a:pt x="2614" y="4280"/>
                    </a:lnTo>
                    <a:lnTo>
                      <a:pt x="2618" y="4272"/>
                    </a:lnTo>
                    <a:lnTo>
                      <a:pt x="2618" y="4272"/>
                    </a:lnTo>
                    <a:lnTo>
                      <a:pt x="2622" y="4252"/>
                    </a:lnTo>
                    <a:lnTo>
                      <a:pt x="2622" y="4238"/>
                    </a:lnTo>
                    <a:lnTo>
                      <a:pt x="2624" y="4228"/>
                    </a:lnTo>
                    <a:lnTo>
                      <a:pt x="2624" y="4224"/>
                    </a:lnTo>
                    <a:lnTo>
                      <a:pt x="2626" y="4222"/>
                    </a:lnTo>
                    <a:lnTo>
                      <a:pt x="2626" y="4222"/>
                    </a:lnTo>
                    <a:lnTo>
                      <a:pt x="2628" y="4222"/>
                    </a:lnTo>
                    <a:lnTo>
                      <a:pt x="2630" y="4220"/>
                    </a:lnTo>
                    <a:lnTo>
                      <a:pt x="2630" y="4214"/>
                    </a:lnTo>
                    <a:lnTo>
                      <a:pt x="2628" y="4206"/>
                    </a:lnTo>
                    <a:lnTo>
                      <a:pt x="2624" y="4198"/>
                    </a:lnTo>
                    <a:lnTo>
                      <a:pt x="2624" y="4198"/>
                    </a:lnTo>
                    <a:lnTo>
                      <a:pt x="2622" y="4194"/>
                    </a:lnTo>
                    <a:lnTo>
                      <a:pt x="2622" y="4190"/>
                    </a:lnTo>
                    <a:lnTo>
                      <a:pt x="2624" y="4174"/>
                    </a:lnTo>
                    <a:lnTo>
                      <a:pt x="2624" y="4152"/>
                    </a:lnTo>
                    <a:lnTo>
                      <a:pt x="2622" y="4138"/>
                    </a:lnTo>
                    <a:lnTo>
                      <a:pt x="2616" y="4122"/>
                    </a:lnTo>
                    <a:lnTo>
                      <a:pt x="2616" y="4122"/>
                    </a:lnTo>
                    <a:lnTo>
                      <a:pt x="2606" y="4096"/>
                    </a:lnTo>
                    <a:lnTo>
                      <a:pt x="2598" y="4080"/>
                    </a:lnTo>
                    <a:lnTo>
                      <a:pt x="2590" y="4068"/>
                    </a:lnTo>
                    <a:lnTo>
                      <a:pt x="2584" y="4056"/>
                    </a:lnTo>
                    <a:lnTo>
                      <a:pt x="2584" y="4056"/>
                    </a:lnTo>
                    <a:lnTo>
                      <a:pt x="2580" y="4046"/>
                    </a:lnTo>
                    <a:lnTo>
                      <a:pt x="2572" y="4042"/>
                    </a:lnTo>
                    <a:lnTo>
                      <a:pt x="2562" y="4034"/>
                    </a:lnTo>
                    <a:lnTo>
                      <a:pt x="2548" y="4020"/>
                    </a:lnTo>
                    <a:lnTo>
                      <a:pt x="2548" y="4020"/>
                    </a:lnTo>
                    <a:lnTo>
                      <a:pt x="2534" y="4002"/>
                    </a:lnTo>
                    <a:lnTo>
                      <a:pt x="2522" y="3986"/>
                    </a:lnTo>
                    <a:lnTo>
                      <a:pt x="2514" y="3972"/>
                    </a:lnTo>
                    <a:lnTo>
                      <a:pt x="2510" y="3966"/>
                    </a:lnTo>
                    <a:lnTo>
                      <a:pt x="2510" y="3960"/>
                    </a:lnTo>
                    <a:lnTo>
                      <a:pt x="2510" y="3960"/>
                    </a:lnTo>
                    <a:lnTo>
                      <a:pt x="2508" y="3954"/>
                    </a:lnTo>
                    <a:lnTo>
                      <a:pt x="2506" y="3950"/>
                    </a:lnTo>
                    <a:lnTo>
                      <a:pt x="2500" y="3946"/>
                    </a:lnTo>
                    <a:lnTo>
                      <a:pt x="2492" y="3940"/>
                    </a:lnTo>
                    <a:lnTo>
                      <a:pt x="2486" y="3934"/>
                    </a:lnTo>
                    <a:lnTo>
                      <a:pt x="2482" y="3926"/>
                    </a:lnTo>
                    <a:lnTo>
                      <a:pt x="2482" y="3926"/>
                    </a:lnTo>
                    <a:lnTo>
                      <a:pt x="2478" y="3916"/>
                    </a:lnTo>
                    <a:lnTo>
                      <a:pt x="2478" y="3904"/>
                    </a:lnTo>
                    <a:lnTo>
                      <a:pt x="2480" y="3894"/>
                    </a:lnTo>
                    <a:lnTo>
                      <a:pt x="2482" y="3884"/>
                    </a:lnTo>
                    <a:lnTo>
                      <a:pt x="2486" y="3874"/>
                    </a:lnTo>
                    <a:lnTo>
                      <a:pt x="2492" y="3864"/>
                    </a:lnTo>
                    <a:lnTo>
                      <a:pt x="2498" y="3856"/>
                    </a:lnTo>
                    <a:lnTo>
                      <a:pt x="2506" y="3848"/>
                    </a:lnTo>
                    <a:lnTo>
                      <a:pt x="2506" y="3848"/>
                    </a:lnTo>
                    <a:lnTo>
                      <a:pt x="2512" y="3842"/>
                    </a:lnTo>
                    <a:lnTo>
                      <a:pt x="2516" y="3836"/>
                    </a:lnTo>
                    <a:lnTo>
                      <a:pt x="2518" y="3826"/>
                    </a:lnTo>
                    <a:lnTo>
                      <a:pt x="2520" y="3816"/>
                    </a:lnTo>
                    <a:lnTo>
                      <a:pt x="2522" y="3812"/>
                    </a:lnTo>
                    <a:lnTo>
                      <a:pt x="2526" y="3808"/>
                    </a:lnTo>
                    <a:lnTo>
                      <a:pt x="2526" y="3808"/>
                    </a:lnTo>
                    <a:lnTo>
                      <a:pt x="2532" y="3806"/>
                    </a:lnTo>
                    <a:lnTo>
                      <a:pt x="2534" y="3806"/>
                    </a:lnTo>
                    <a:lnTo>
                      <a:pt x="2536" y="3808"/>
                    </a:lnTo>
                    <a:lnTo>
                      <a:pt x="2540" y="3808"/>
                    </a:lnTo>
                    <a:lnTo>
                      <a:pt x="2540" y="3808"/>
                    </a:lnTo>
                    <a:lnTo>
                      <a:pt x="2544" y="3804"/>
                    </a:lnTo>
                    <a:lnTo>
                      <a:pt x="2546" y="3800"/>
                    </a:lnTo>
                    <a:lnTo>
                      <a:pt x="2548" y="3794"/>
                    </a:lnTo>
                    <a:lnTo>
                      <a:pt x="2554" y="3790"/>
                    </a:lnTo>
                    <a:lnTo>
                      <a:pt x="2554" y="3790"/>
                    </a:lnTo>
                    <a:lnTo>
                      <a:pt x="2562" y="3784"/>
                    </a:lnTo>
                    <a:lnTo>
                      <a:pt x="2568" y="3782"/>
                    </a:lnTo>
                    <a:lnTo>
                      <a:pt x="2572" y="3782"/>
                    </a:lnTo>
                    <a:lnTo>
                      <a:pt x="2574" y="3778"/>
                    </a:lnTo>
                    <a:lnTo>
                      <a:pt x="2574" y="3778"/>
                    </a:lnTo>
                    <a:lnTo>
                      <a:pt x="2576" y="3780"/>
                    </a:lnTo>
                    <a:lnTo>
                      <a:pt x="2578" y="3780"/>
                    </a:lnTo>
                    <a:lnTo>
                      <a:pt x="2582" y="3780"/>
                    </a:lnTo>
                    <a:lnTo>
                      <a:pt x="2584" y="3776"/>
                    </a:lnTo>
                    <a:lnTo>
                      <a:pt x="2584" y="3776"/>
                    </a:lnTo>
                    <a:lnTo>
                      <a:pt x="2584" y="3774"/>
                    </a:lnTo>
                    <a:lnTo>
                      <a:pt x="2586" y="3776"/>
                    </a:lnTo>
                    <a:lnTo>
                      <a:pt x="2590" y="3778"/>
                    </a:lnTo>
                    <a:lnTo>
                      <a:pt x="2592" y="3778"/>
                    </a:lnTo>
                    <a:lnTo>
                      <a:pt x="2592" y="3778"/>
                    </a:lnTo>
                    <a:lnTo>
                      <a:pt x="2594" y="3774"/>
                    </a:lnTo>
                    <a:lnTo>
                      <a:pt x="2592" y="3772"/>
                    </a:lnTo>
                    <a:lnTo>
                      <a:pt x="2592" y="3768"/>
                    </a:lnTo>
                    <a:lnTo>
                      <a:pt x="2592" y="3762"/>
                    </a:lnTo>
                    <a:lnTo>
                      <a:pt x="2592" y="3762"/>
                    </a:lnTo>
                    <a:lnTo>
                      <a:pt x="2592" y="3760"/>
                    </a:lnTo>
                    <a:lnTo>
                      <a:pt x="2594" y="3762"/>
                    </a:lnTo>
                    <a:lnTo>
                      <a:pt x="2596" y="3766"/>
                    </a:lnTo>
                    <a:lnTo>
                      <a:pt x="2602" y="3772"/>
                    </a:lnTo>
                    <a:lnTo>
                      <a:pt x="2604" y="3774"/>
                    </a:lnTo>
                    <a:lnTo>
                      <a:pt x="2610" y="3776"/>
                    </a:lnTo>
                    <a:lnTo>
                      <a:pt x="2610" y="3776"/>
                    </a:lnTo>
                    <a:lnTo>
                      <a:pt x="2614" y="3776"/>
                    </a:lnTo>
                    <a:lnTo>
                      <a:pt x="2616" y="3778"/>
                    </a:lnTo>
                    <a:lnTo>
                      <a:pt x="2614" y="3782"/>
                    </a:lnTo>
                    <a:lnTo>
                      <a:pt x="2614" y="3784"/>
                    </a:lnTo>
                    <a:lnTo>
                      <a:pt x="2616" y="3786"/>
                    </a:lnTo>
                    <a:lnTo>
                      <a:pt x="2620" y="3786"/>
                    </a:lnTo>
                    <a:lnTo>
                      <a:pt x="2620" y="3786"/>
                    </a:lnTo>
                    <a:lnTo>
                      <a:pt x="2630" y="3784"/>
                    </a:lnTo>
                    <a:lnTo>
                      <a:pt x="2632" y="3782"/>
                    </a:lnTo>
                    <a:lnTo>
                      <a:pt x="2634" y="3778"/>
                    </a:lnTo>
                    <a:lnTo>
                      <a:pt x="2634" y="3778"/>
                    </a:lnTo>
                    <a:lnTo>
                      <a:pt x="2632" y="3772"/>
                    </a:lnTo>
                    <a:lnTo>
                      <a:pt x="2634" y="3772"/>
                    </a:lnTo>
                    <a:lnTo>
                      <a:pt x="2636" y="3778"/>
                    </a:lnTo>
                    <a:lnTo>
                      <a:pt x="2636" y="3778"/>
                    </a:lnTo>
                    <a:lnTo>
                      <a:pt x="2640" y="3782"/>
                    </a:lnTo>
                    <a:lnTo>
                      <a:pt x="2642" y="3782"/>
                    </a:lnTo>
                    <a:lnTo>
                      <a:pt x="2644" y="3782"/>
                    </a:lnTo>
                    <a:lnTo>
                      <a:pt x="2648" y="3784"/>
                    </a:lnTo>
                    <a:lnTo>
                      <a:pt x="2648" y="3784"/>
                    </a:lnTo>
                    <a:lnTo>
                      <a:pt x="2648" y="3786"/>
                    </a:lnTo>
                    <a:lnTo>
                      <a:pt x="2646" y="3788"/>
                    </a:lnTo>
                    <a:lnTo>
                      <a:pt x="2642" y="3794"/>
                    </a:lnTo>
                    <a:lnTo>
                      <a:pt x="2640" y="3802"/>
                    </a:lnTo>
                    <a:lnTo>
                      <a:pt x="2640" y="3802"/>
                    </a:lnTo>
                    <a:lnTo>
                      <a:pt x="2638" y="3810"/>
                    </a:lnTo>
                    <a:lnTo>
                      <a:pt x="2640" y="3816"/>
                    </a:lnTo>
                    <a:lnTo>
                      <a:pt x="2642" y="3818"/>
                    </a:lnTo>
                    <a:lnTo>
                      <a:pt x="2642" y="3820"/>
                    </a:lnTo>
                    <a:lnTo>
                      <a:pt x="2642" y="3820"/>
                    </a:lnTo>
                    <a:lnTo>
                      <a:pt x="2642" y="3824"/>
                    </a:lnTo>
                    <a:lnTo>
                      <a:pt x="2644" y="3828"/>
                    </a:lnTo>
                    <a:lnTo>
                      <a:pt x="2646" y="3832"/>
                    </a:lnTo>
                    <a:lnTo>
                      <a:pt x="2648" y="3836"/>
                    </a:lnTo>
                    <a:lnTo>
                      <a:pt x="2648" y="3836"/>
                    </a:lnTo>
                    <a:lnTo>
                      <a:pt x="2648" y="3840"/>
                    </a:lnTo>
                    <a:lnTo>
                      <a:pt x="2648" y="3842"/>
                    </a:lnTo>
                    <a:lnTo>
                      <a:pt x="2652" y="3844"/>
                    </a:lnTo>
                    <a:lnTo>
                      <a:pt x="2664" y="3842"/>
                    </a:lnTo>
                    <a:lnTo>
                      <a:pt x="2664" y="3842"/>
                    </a:lnTo>
                    <a:lnTo>
                      <a:pt x="2672" y="3838"/>
                    </a:lnTo>
                    <a:lnTo>
                      <a:pt x="2674" y="3836"/>
                    </a:lnTo>
                    <a:lnTo>
                      <a:pt x="2674" y="3834"/>
                    </a:lnTo>
                    <a:lnTo>
                      <a:pt x="2670" y="3828"/>
                    </a:lnTo>
                    <a:lnTo>
                      <a:pt x="2668" y="3820"/>
                    </a:lnTo>
                    <a:lnTo>
                      <a:pt x="2668" y="3820"/>
                    </a:lnTo>
                    <a:lnTo>
                      <a:pt x="2666" y="3814"/>
                    </a:lnTo>
                    <a:lnTo>
                      <a:pt x="2662" y="3812"/>
                    </a:lnTo>
                    <a:lnTo>
                      <a:pt x="2660" y="3812"/>
                    </a:lnTo>
                    <a:lnTo>
                      <a:pt x="2658" y="3810"/>
                    </a:lnTo>
                    <a:lnTo>
                      <a:pt x="2658" y="3810"/>
                    </a:lnTo>
                    <a:lnTo>
                      <a:pt x="2660" y="3804"/>
                    </a:lnTo>
                    <a:lnTo>
                      <a:pt x="2666" y="3800"/>
                    </a:lnTo>
                    <a:lnTo>
                      <a:pt x="2684" y="3788"/>
                    </a:lnTo>
                    <a:lnTo>
                      <a:pt x="2684" y="3788"/>
                    </a:lnTo>
                    <a:lnTo>
                      <a:pt x="2692" y="3784"/>
                    </a:lnTo>
                    <a:lnTo>
                      <a:pt x="2698" y="3782"/>
                    </a:lnTo>
                    <a:lnTo>
                      <a:pt x="2704" y="3784"/>
                    </a:lnTo>
                    <a:lnTo>
                      <a:pt x="2716" y="3780"/>
                    </a:lnTo>
                    <a:lnTo>
                      <a:pt x="2716" y="3780"/>
                    </a:lnTo>
                    <a:lnTo>
                      <a:pt x="2722" y="3778"/>
                    </a:lnTo>
                    <a:lnTo>
                      <a:pt x="2726" y="3774"/>
                    </a:lnTo>
                    <a:lnTo>
                      <a:pt x="2730" y="3768"/>
                    </a:lnTo>
                    <a:lnTo>
                      <a:pt x="2730" y="3764"/>
                    </a:lnTo>
                    <a:lnTo>
                      <a:pt x="2736" y="3766"/>
                    </a:lnTo>
                    <a:lnTo>
                      <a:pt x="2736" y="3766"/>
                    </a:lnTo>
                    <a:lnTo>
                      <a:pt x="2740" y="3768"/>
                    </a:lnTo>
                    <a:lnTo>
                      <a:pt x="2742" y="3772"/>
                    </a:lnTo>
                    <a:lnTo>
                      <a:pt x="2742" y="3772"/>
                    </a:lnTo>
                    <a:lnTo>
                      <a:pt x="2746" y="3768"/>
                    </a:lnTo>
                    <a:lnTo>
                      <a:pt x="2746" y="3768"/>
                    </a:lnTo>
                    <a:lnTo>
                      <a:pt x="2750" y="3764"/>
                    </a:lnTo>
                    <a:lnTo>
                      <a:pt x="2752" y="3766"/>
                    </a:lnTo>
                    <a:lnTo>
                      <a:pt x="2754" y="3768"/>
                    </a:lnTo>
                    <a:lnTo>
                      <a:pt x="2758" y="3764"/>
                    </a:lnTo>
                    <a:lnTo>
                      <a:pt x="2758" y="3764"/>
                    </a:lnTo>
                    <a:lnTo>
                      <a:pt x="2762" y="3760"/>
                    </a:lnTo>
                    <a:lnTo>
                      <a:pt x="2764" y="3760"/>
                    </a:lnTo>
                    <a:lnTo>
                      <a:pt x="2768" y="3760"/>
                    </a:lnTo>
                    <a:lnTo>
                      <a:pt x="2772" y="3762"/>
                    </a:lnTo>
                    <a:lnTo>
                      <a:pt x="2774" y="3760"/>
                    </a:lnTo>
                    <a:lnTo>
                      <a:pt x="2774" y="3756"/>
                    </a:lnTo>
                    <a:lnTo>
                      <a:pt x="2774" y="3756"/>
                    </a:lnTo>
                    <a:lnTo>
                      <a:pt x="2776" y="3750"/>
                    </a:lnTo>
                    <a:lnTo>
                      <a:pt x="2778" y="3752"/>
                    </a:lnTo>
                    <a:lnTo>
                      <a:pt x="2780" y="3754"/>
                    </a:lnTo>
                    <a:lnTo>
                      <a:pt x="2782" y="3754"/>
                    </a:lnTo>
                    <a:lnTo>
                      <a:pt x="2784" y="3752"/>
                    </a:lnTo>
                    <a:lnTo>
                      <a:pt x="2784" y="3752"/>
                    </a:lnTo>
                    <a:lnTo>
                      <a:pt x="2788" y="3748"/>
                    </a:lnTo>
                    <a:lnTo>
                      <a:pt x="2790" y="3748"/>
                    </a:lnTo>
                    <a:lnTo>
                      <a:pt x="2792" y="3748"/>
                    </a:lnTo>
                    <a:lnTo>
                      <a:pt x="2796" y="3744"/>
                    </a:lnTo>
                    <a:lnTo>
                      <a:pt x="2796" y="3744"/>
                    </a:lnTo>
                    <a:lnTo>
                      <a:pt x="2798" y="3740"/>
                    </a:lnTo>
                    <a:lnTo>
                      <a:pt x="2798" y="3736"/>
                    </a:lnTo>
                    <a:lnTo>
                      <a:pt x="2794" y="3724"/>
                    </a:lnTo>
                    <a:lnTo>
                      <a:pt x="2792" y="3714"/>
                    </a:lnTo>
                    <a:lnTo>
                      <a:pt x="2790" y="3712"/>
                    </a:lnTo>
                    <a:lnTo>
                      <a:pt x="2792" y="3708"/>
                    </a:lnTo>
                    <a:lnTo>
                      <a:pt x="2792" y="3708"/>
                    </a:lnTo>
                    <a:lnTo>
                      <a:pt x="2794" y="3708"/>
                    </a:lnTo>
                    <a:lnTo>
                      <a:pt x="2796" y="3710"/>
                    </a:lnTo>
                    <a:lnTo>
                      <a:pt x="2804" y="3720"/>
                    </a:lnTo>
                    <a:lnTo>
                      <a:pt x="2804" y="3720"/>
                    </a:lnTo>
                    <a:lnTo>
                      <a:pt x="2808" y="3726"/>
                    </a:lnTo>
                    <a:lnTo>
                      <a:pt x="2808" y="3726"/>
                    </a:lnTo>
                    <a:lnTo>
                      <a:pt x="2812" y="3730"/>
                    </a:lnTo>
                    <a:lnTo>
                      <a:pt x="2810" y="3734"/>
                    </a:lnTo>
                    <a:lnTo>
                      <a:pt x="2810" y="3738"/>
                    </a:lnTo>
                    <a:lnTo>
                      <a:pt x="2812" y="3738"/>
                    </a:lnTo>
                    <a:lnTo>
                      <a:pt x="2812" y="3738"/>
                    </a:lnTo>
                    <a:lnTo>
                      <a:pt x="2818" y="3740"/>
                    </a:lnTo>
                    <a:lnTo>
                      <a:pt x="2820" y="3742"/>
                    </a:lnTo>
                    <a:lnTo>
                      <a:pt x="2824" y="3742"/>
                    </a:lnTo>
                    <a:lnTo>
                      <a:pt x="2826" y="3740"/>
                    </a:lnTo>
                    <a:lnTo>
                      <a:pt x="2826" y="3740"/>
                    </a:lnTo>
                    <a:lnTo>
                      <a:pt x="2828" y="3736"/>
                    </a:lnTo>
                    <a:lnTo>
                      <a:pt x="2828" y="3734"/>
                    </a:lnTo>
                    <a:lnTo>
                      <a:pt x="2826" y="3730"/>
                    </a:lnTo>
                    <a:lnTo>
                      <a:pt x="2826" y="3726"/>
                    </a:lnTo>
                    <a:lnTo>
                      <a:pt x="2826" y="3726"/>
                    </a:lnTo>
                    <a:lnTo>
                      <a:pt x="2826" y="3724"/>
                    </a:lnTo>
                    <a:lnTo>
                      <a:pt x="2828" y="3724"/>
                    </a:lnTo>
                    <a:lnTo>
                      <a:pt x="2830" y="3728"/>
                    </a:lnTo>
                    <a:lnTo>
                      <a:pt x="2834" y="3730"/>
                    </a:lnTo>
                    <a:lnTo>
                      <a:pt x="2836" y="3732"/>
                    </a:lnTo>
                    <a:lnTo>
                      <a:pt x="2838" y="3730"/>
                    </a:lnTo>
                    <a:lnTo>
                      <a:pt x="2838" y="3730"/>
                    </a:lnTo>
                    <a:lnTo>
                      <a:pt x="2840" y="3728"/>
                    </a:lnTo>
                    <a:lnTo>
                      <a:pt x="2838" y="3724"/>
                    </a:lnTo>
                    <a:lnTo>
                      <a:pt x="2838" y="3724"/>
                    </a:lnTo>
                    <a:lnTo>
                      <a:pt x="2836" y="3720"/>
                    </a:lnTo>
                    <a:lnTo>
                      <a:pt x="2838" y="3718"/>
                    </a:lnTo>
                    <a:lnTo>
                      <a:pt x="2840" y="3716"/>
                    </a:lnTo>
                    <a:lnTo>
                      <a:pt x="2840" y="3716"/>
                    </a:lnTo>
                    <a:lnTo>
                      <a:pt x="2842" y="3716"/>
                    </a:lnTo>
                    <a:lnTo>
                      <a:pt x="2844" y="3718"/>
                    </a:lnTo>
                    <a:lnTo>
                      <a:pt x="2846" y="3724"/>
                    </a:lnTo>
                    <a:lnTo>
                      <a:pt x="2846" y="3726"/>
                    </a:lnTo>
                    <a:lnTo>
                      <a:pt x="2848" y="3728"/>
                    </a:lnTo>
                    <a:lnTo>
                      <a:pt x="2850" y="3728"/>
                    </a:lnTo>
                    <a:lnTo>
                      <a:pt x="2854" y="3724"/>
                    </a:lnTo>
                    <a:lnTo>
                      <a:pt x="2854" y="3724"/>
                    </a:lnTo>
                    <a:lnTo>
                      <a:pt x="2860" y="3718"/>
                    </a:lnTo>
                    <a:lnTo>
                      <a:pt x="2864" y="3716"/>
                    </a:lnTo>
                    <a:lnTo>
                      <a:pt x="2874" y="3722"/>
                    </a:lnTo>
                    <a:lnTo>
                      <a:pt x="2874" y="3722"/>
                    </a:lnTo>
                    <a:lnTo>
                      <a:pt x="2876" y="3722"/>
                    </a:lnTo>
                    <a:lnTo>
                      <a:pt x="2878" y="3722"/>
                    </a:lnTo>
                    <a:lnTo>
                      <a:pt x="2878" y="3718"/>
                    </a:lnTo>
                    <a:lnTo>
                      <a:pt x="2878" y="3714"/>
                    </a:lnTo>
                    <a:lnTo>
                      <a:pt x="2878" y="3712"/>
                    </a:lnTo>
                    <a:lnTo>
                      <a:pt x="2880" y="3712"/>
                    </a:lnTo>
                    <a:lnTo>
                      <a:pt x="2880" y="3712"/>
                    </a:lnTo>
                    <a:lnTo>
                      <a:pt x="2882" y="3712"/>
                    </a:lnTo>
                    <a:lnTo>
                      <a:pt x="2882" y="3712"/>
                    </a:lnTo>
                    <a:lnTo>
                      <a:pt x="2884" y="3716"/>
                    </a:lnTo>
                    <a:lnTo>
                      <a:pt x="2886" y="3718"/>
                    </a:lnTo>
                    <a:lnTo>
                      <a:pt x="2894" y="3716"/>
                    </a:lnTo>
                    <a:lnTo>
                      <a:pt x="2894" y="3716"/>
                    </a:lnTo>
                    <a:lnTo>
                      <a:pt x="2902" y="3712"/>
                    </a:lnTo>
                    <a:lnTo>
                      <a:pt x="2910" y="3710"/>
                    </a:lnTo>
                    <a:lnTo>
                      <a:pt x="2914" y="3706"/>
                    </a:lnTo>
                    <a:lnTo>
                      <a:pt x="2916" y="3702"/>
                    </a:lnTo>
                    <a:lnTo>
                      <a:pt x="2916" y="3702"/>
                    </a:lnTo>
                    <a:lnTo>
                      <a:pt x="2918" y="3698"/>
                    </a:lnTo>
                    <a:lnTo>
                      <a:pt x="2918" y="3696"/>
                    </a:lnTo>
                    <a:lnTo>
                      <a:pt x="2922" y="3694"/>
                    </a:lnTo>
                    <a:lnTo>
                      <a:pt x="2926" y="3692"/>
                    </a:lnTo>
                    <a:lnTo>
                      <a:pt x="2924" y="3690"/>
                    </a:lnTo>
                    <a:lnTo>
                      <a:pt x="2924" y="3690"/>
                    </a:lnTo>
                    <a:lnTo>
                      <a:pt x="2922" y="3688"/>
                    </a:lnTo>
                    <a:lnTo>
                      <a:pt x="2924" y="3686"/>
                    </a:lnTo>
                    <a:lnTo>
                      <a:pt x="2926" y="3684"/>
                    </a:lnTo>
                    <a:lnTo>
                      <a:pt x="2930" y="3678"/>
                    </a:lnTo>
                    <a:lnTo>
                      <a:pt x="2930" y="3678"/>
                    </a:lnTo>
                    <a:lnTo>
                      <a:pt x="2932" y="3674"/>
                    </a:lnTo>
                    <a:lnTo>
                      <a:pt x="2936" y="3674"/>
                    </a:lnTo>
                    <a:lnTo>
                      <a:pt x="2940" y="3674"/>
                    </a:lnTo>
                    <a:lnTo>
                      <a:pt x="2944" y="3672"/>
                    </a:lnTo>
                    <a:lnTo>
                      <a:pt x="2948" y="3668"/>
                    </a:lnTo>
                    <a:lnTo>
                      <a:pt x="2948" y="3668"/>
                    </a:lnTo>
                    <a:lnTo>
                      <a:pt x="2954" y="3662"/>
                    </a:lnTo>
                    <a:lnTo>
                      <a:pt x="2956" y="3662"/>
                    </a:lnTo>
                    <a:lnTo>
                      <a:pt x="2956" y="3664"/>
                    </a:lnTo>
                    <a:lnTo>
                      <a:pt x="2958" y="3666"/>
                    </a:lnTo>
                    <a:lnTo>
                      <a:pt x="2960" y="3662"/>
                    </a:lnTo>
                    <a:lnTo>
                      <a:pt x="2960" y="3662"/>
                    </a:lnTo>
                    <a:lnTo>
                      <a:pt x="2974" y="3648"/>
                    </a:lnTo>
                    <a:lnTo>
                      <a:pt x="2980" y="3642"/>
                    </a:lnTo>
                    <a:lnTo>
                      <a:pt x="2980" y="3638"/>
                    </a:lnTo>
                    <a:lnTo>
                      <a:pt x="2978" y="3636"/>
                    </a:lnTo>
                    <a:lnTo>
                      <a:pt x="2978" y="3636"/>
                    </a:lnTo>
                    <a:lnTo>
                      <a:pt x="2976" y="3632"/>
                    </a:lnTo>
                    <a:lnTo>
                      <a:pt x="2978" y="3626"/>
                    </a:lnTo>
                    <a:lnTo>
                      <a:pt x="2980" y="3624"/>
                    </a:lnTo>
                    <a:lnTo>
                      <a:pt x="2982" y="3624"/>
                    </a:lnTo>
                    <a:lnTo>
                      <a:pt x="2984" y="3626"/>
                    </a:lnTo>
                    <a:lnTo>
                      <a:pt x="2984" y="3626"/>
                    </a:lnTo>
                    <a:lnTo>
                      <a:pt x="2986" y="3628"/>
                    </a:lnTo>
                    <a:lnTo>
                      <a:pt x="2988" y="3626"/>
                    </a:lnTo>
                    <a:lnTo>
                      <a:pt x="2990" y="3626"/>
                    </a:lnTo>
                    <a:lnTo>
                      <a:pt x="2994" y="3628"/>
                    </a:lnTo>
                    <a:lnTo>
                      <a:pt x="2994" y="3628"/>
                    </a:lnTo>
                    <a:lnTo>
                      <a:pt x="2998" y="3630"/>
                    </a:lnTo>
                    <a:lnTo>
                      <a:pt x="2998" y="3630"/>
                    </a:lnTo>
                    <a:lnTo>
                      <a:pt x="3000" y="3624"/>
                    </a:lnTo>
                    <a:lnTo>
                      <a:pt x="3004" y="3616"/>
                    </a:lnTo>
                    <a:lnTo>
                      <a:pt x="3008" y="3614"/>
                    </a:lnTo>
                    <a:lnTo>
                      <a:pt x="3012" y="3610"/>
                    </a:lnTo>
                    <a:lnTo>
                      <a:pt x="3012" y="3610"/>
                    </a:lnTo>
                    <a:lnTo>
                      <a:pt x="3016" y="3608"/>
                    </a:lnTo>
                    <a:lnTo>
                      <a:pt x="3016" y="3606"/>
                    </a:lnTo>
                    <a:lnTo>
                      <a:pt x="3012" y="3602"/>
                    </a:lnTo>
                    <a:lnTo>
                      <a:pt x="3010" y="3598"/>
                    </a:lnTo>
                    <a:lnTo>
                      <a:pt x="3010" y="3594"/>
                    </a:lnTo>
                    <a:lnTo>
                      <a:pt x="3010" y="3594"/>
                    </a:lnTo>
                    <a:lnTo>
                      <a:pt x="3012" y="3590"/>
                    </a:lnTo>
                    <a:lnTo>
                      <a:pt x="3014" y="3594"/>
                    </a:lnTo>
                    <a:lnTo>
                      <a:pt x="3018" y="3596"/>
                    </a:lnTo>
                    <a:lnTo>
                      <a:pt x="3022" y="3596"/>
                    </a:lnTo>
                    <a:lnTo>
                      <a:pt x="3026" y="3594"/>
                    </a:lnTo>
                    <a:lnTo>
                      <a:pt x="3026" y="3594"/>
                    </a:lnTo>
                    <a:lnTo>
                      <a:pt x="3030" y="3590"/>
                    </a:lnTo>
                    <a:lnTo>
                      <a:pt x="3030" y="3588"/>
                    </a:lnTo>
                    <a:lnTo>
                      <a:pt x="3028" y="3588"/>
                    </a:lnTo>
                    <a:lnTo>
                      <a:pt x="3024" y="3588"/>
                    </a:lnTo>
                    <a:lnTo>
                      <a:pt x="3020" y="3586"/>
                    </a:lnTo>
                    <a:lnTo>
                      <a:pt x="3020" y="3586"/>
                    </a:lnTo>
                    <a:lnTo>
                      <a:pt x="3020" y="3582"/>
                    </a:lnTo>
                    <a:lnTo>
                      <a:pt x="3022" y="3578"/>
                    </a:lnTo>
                    <a:lnTo>
                      <a:pt x="3024" y="3576"/>
                    </a:lnTo>
                    <a:lnTo>
                      <a:pt x="3026" y="3576"/>
                    </a:lnTo>
                    <a:lnTo>
                      <a:pt x="3030" y="3578"/>
                    </a:lnTo>
                    <a:lnTo>
                      <a:pt x="3032" y="3580"/>
                    </a:lnTo>
                    <a:lnTo>
                      <a:pt x="3032" y="3580"/>
                    </a:lnTo>
                    <a:lnTo>
                      <a:pt x="3038" y="3586"/>
                    </a:lnTo>
                    <a:lnTo>
                      <a:pt x="3040" y="3586"/>
                    </a:lnTo>
                    <a:lnTo>
                      <a:pt x="3042" y="3582"/>
                    </a:lnTo>
                    <a:lnTo>
                      <a:pt x="3038" y="3576"/>
                    </a:lnTo>
                    <a:lnTo>
                      <a:pt x="3038" y="3576"/>
                    </a:lnTo>
                    <a:lnTo>
                      <a:pt x="3036" y="3572"/>
                    </a:lnTo>
                    <a:lnTo>
                      <a:pt x="3038" y="3568"/>
                    </a:lnTo>
                    <a:lnTo>
                      <a:pt x="3042" y="3558"/>
                    </a:lnTo>
                    <a:lnTo>
                      <a:pt x="3044" y="3552"/>
                    </a:lnTo>
                    <a:lnTo>
                      <a:pt x="3044" y="3552"/>
                    </a:lnTo>
                    <a:lnTo>
                      <a:pt x="3040" y="3552"/>
                    </a:lnTo>
                    <a:lnTo>
                      <a:pt x="3040" y="3552"/>
                    </a:lnTo>
                    <a:lnTo>
                      <a:pt x="3038" y="3552"/>
                    </a:lnTo>
                    <a:lnTo>
                      <a:pt x="3036" y="3550"/>
                    </a:lnTo>
                    <a:lnTo>
                      <a:pt x="3038" y="3546"/>
                    </a:lnTo>
                    <a:lnTo>
                      <a:pt x="3042" y="3540"/>
                    </a:lnTo>
                    <a:lnTo>
                      <a:pt x="3048" y="3536"/>
                    </a:lnTo>
                    <a:lnTo>
                      <a:pt x="3048" y="3536"/>
                    </a:lnTo>
                    <a:lnTo>
                      <a:pt x="3052" y="3534"/>
                    </a:lnTo>
                    <a:lnTo>
                      <a:pt x="3052" y="3532"/>
                    </a:lnTo>
                    <a:lnTo>
                      <a:pt x="3050" y="3532"/>
                    </a:lnTo>
                    <a:lnTo>
                      <a:pt x="3046" y="3526"/>
                    </a:lnTo>
                    <a:lnTo>
                      <a:pt x="3046" y="3526"/>
                    </a:lnTo>
                    <a:lnTo>
                      <a:pt x="3042" y="3522"/>
                    </a:lnTo>
                    <a:lnTo>
                      <a:pt x="3040" y="3518"/>
                    </a:lnTo>
                    <a:lnTo>
                      <a:pt x="3038" y="3518"/>
                    </a:lnTo>
                    <a:lnTo>
                      <a:pt x="3042" y="3516"/>
                    </a:lnTo>
                    <a:lnTo>
                      <a:pt x="3042" y="3516"/>
                    </a:lnTo>
                    <a:lnTo>
                      <a:pt x="3046" y="3514"/>
                    </a:lnTo>
                    <a:lnTo>
                      <a:pt x="3046" y="3516"/>
                    </a:lnTo>
                    <a:lnTo>
                      <a:pt x="3048" y="3520"/>
                    </a:lnTo>
                    <a:lnTo>
                      <a:pt x="3050" y="3524"/>
                    </a:lnTo>
                    <a:lnTo>
                      <a:pt x="3054" y="3524"/>
                    </a:lnTo>
                    <a:lnTo>
                      <a:pt x="3058" y="3522"/>
                    </a:lnTo>
                    <a:lnTo>
                      <a:pt x="3058" y="3522"/>
                    </a:lnTo>
                    <a:lnTo>
                      <a:pt x="3060" y="3520"/>
                    </a:lnTo>
                    <a:lnTo>
                      <a:pt x="3062" y="3518"/>
                    </a:lnTo>
                    <a:lnTo>
                      <a:pt x="3062" y="3512"/>
                    </a:lnTo>
                    <a:lnTo>
                      <a:pt x="3060" y="3510"/>
                    </a:lnTo>
                    <a:lnTo>
                      <a:pt x="3060" y="3508"/>
                    </a:lnTo>
                    <a:lnTo>
                      <a:pt x="3062" y="3506"/>
                    </a:lnTo>
                    <a:lnTo>
                      <a:pt x="3062" y="3506"/>
                    </a:lnTo>
                    <a:lnTo>
                      <a:pt x="3068" y="3502"/>
                    </a:lnTo>
                    <a:lnTo>
                      <a:pt x="3074" y="3492"/>
                    </a:lnTo>
                    <a:lnTo>
                      <a:pt x="3080" y="3482"/>
                    </a:lnTo>
                    <a:lnTo>
                      <a:pt x="3080" y="3478"/>
                    </a:lnTo>
                    <a:lnTo>
                      <a:pt x="3080" y="3474"/>
                    </a:lnTo>
                    <a:lnTo>
                      <a:pt x="3080" y="3474"/>
                    </a:lnTo>
                    <a:lnTo>
                      <a:pt x="3080" y="3470"/>
                    </a:lnTo>
                    <a:lnTo>
                      <a:pt x="3080" y="3468"/>
                    </a:lnTo>
                    <a:lnTo>
                      <a:pt x="3084" y="3462"/>
                    </a:lnTo>
                    <a:lnTo>
                      <a:pt x="3090" y="3454"/>
                    </a:lnTo>
                    <a:lnTo>
                      <a:pt x="3098" y="3440"/>
                    </a:lnTo>
                    <a:lnTo>
                      <a:pt x="3098" y="3440"/>
                    </a:lnTo>
                    <a:lnTo>
                      <a:pt x="3100" y="3436"/>
                    </a:lnTo>
                    <a:lnTo>
                      <a:pt x="3102" y="3432"/>
                    </a:lnTo>
                    <a:lnTo>
                      <a:pt x="3104" y="3434"/>
                    </a:lnTo>
                    <a:lnTo>
                      <a:pt x="3106" y="3436"/>
                    </a:lnTo>
                    <a:lnTo>
                      <a:pt x="3108" y="3440"/>
                    </a:lnTo>
                    <a:lnTo>
                      <a:pt x="3110" y="3440"/>
                    </a:lnTo>
                    <a:lnTo>
                      <a:pt x="3112" y="3440"/>
                    </a:lnTo>
                    <a:lnTo>
                      <a:pt x="3112" y="3440"/>
                    </a:lnTo>
                    <a:lnTo>
                      <a:pt x="3116" y="3436"/>
                    </a:lnTo>
                    <a:lnTo>
                      <a:pt x="3120" y="3434"/>
                    </a:lnTo>
                    <a:lnTo>
                      <a:pt x="3120" y="3434"/>
                    </a:lnTo>
                    <a:lnTo>
                      <a:pt x="3122" y="3432"/>
                    </a:lnTo>
                    <a:lnTo>
                      <a:pt x="3118" y="3424"/>
                    </a:lnTo>
                    <a:lnTo>
                      <a:pt x="3118" y="3424"/>
                    </a:lnTo>
                    <a:lnTo>
                      <a:pt x="3116" y="3420"/>
                    </a:lnTo>
                    <a:lnTo>
                      <a:pt x="3116" y="3416"/>
                    </a:lnTo>
                    <a:lnTo>
                      <a:pt x="3118" y="3414"/>
                    </a:lnTo>
                    <a:lnTo>
                      <a:pt x="3118" y="3414"/>
                    </a:lnTo>
                    <a:lnTo>
                      <a:pt x="3122" y="3412"/>
                    </a:lnTo>
                    <a:lnTo>
                      <a:pt x="3122" y="3410"/>
                    </a:lnTo>
                    <a:lnTo>
                      <a:pt x="3122" y="3408"/>
                    </a:lnTo>
                    <a:lnTo>
                      <a:pt x="3122" y="3408"/>
                    </a:lnTo>
                    <a:lnTo>
                      <a:pt x="3122" y="3402"/>
                    </a:lnTo>
                    <a:lnTo>
                      <a:pt x="3122" y="3400"/>
                    </a:lnTo>
                    <a:lnTo>
                      <a:pt x="3124" y="3398"/>
                    </a:lnTo>
                    <a:lnTo>
                      <a:pt x="3120" y="3392"/>
                    </a:lnTo>
                    <a:lnTo>
                      <a:pt x="3120" y="3392"/>
                    </a:lnTo>
                    <a:lnTo>
                      <a:pt x="3118" y="3390"/>
                    </a:lnTo>
                    <a:lnTo>
                      <a:pt x="3118" y="3390"/>
                    </a:lnTo>
                    <a:lnTo>
                      <a:pt x="3124" y="3390"/>
                    </a:lnTo>
                    <a:lnTo>
                      <a:pt x="3128" y="3390"/>
                    </a:lnTo>
                    <a:lnTo>
                      <a:pt x="3132" y="3388"/>
                    </a:lnTo>
                    <a:lnTo>
                      <a:pt x="3134" y="3384"/>
                    </a:lnTo>
                    <a:lnTo>
                      <a:pt x="3134" y="3376"/>
                    </a:lnTo>
                    <a:lnTo>
                      <a:pt x="3134" y="3376"/>
                    </a:lnTo>
                    <a:lnTo>
                      <a:pt x="3134" y="3370"/>
                    </a:lnTo>
                    <a:lnTo>
                      <a:pt x="3132" y="3366"/>
                    </a:lnTo>
                    <a:lnTo>
                      <a:pt x="3128" y="3362"/>
                    </a:lnTo>
                    <a:lnTo>
                      <a:pt x="3128" y="3362"/>
                    </a:lnTo>
                    <a:lnTo>
                      <a:pt x="3128" y="3362"/>
                    </a:lnTo>
                    <a:lnTo>
                      <a:pt x="3136" y="3356"/>
                    </a:lnTo>
                    <a:lnTo>
                      <a:pt x="3136" y="3356"/>
                    </a:lnTo>
                    <a:lnTo>
                      <a:pt x="3140" y="3352"/>
                    </a:lnTo>
                    <a:lnTo>
                      <a:pt x="3136" y="3350"/>
                    </a:lnTo>
                    <a:lnTo>
                      <a:pt x="3128" y="3348"/>
                    </a:lnTo>
                    <a:lnTo>
                      <a:pt x="3122" y="3344"/>
                    </a:lnTo>
                    <a:lnTo>
                      <a:pt x="3118" y="3338"/>
                    </a:lnTo>
                    <a:lnTo>
                      <a:pt x="3118" y="3338"/>
                    </a:lnTo>
                    <a:lnTo>
                      <a:pt x="3112" y="3332"/>
                    </a:lnTo>
                    <a:lnTo>
                      <a:pt x="3108" y="3330"/>
                    </a:lnTo>
                    <a:lnTo>
                      <a:pt x="3102" y="3330"/>
                    </a:lnTo>
                    <a:lnTo>
                      <a:pt x="3096" y="3334"/>
                    </a:lnTo>
                    <a:lnTo>
                      <a:pt x="3086" y="3338"/>
                    </a:lnTo>
                    <a:lnTo>
                      <a:pt x="3082" y="3338"/>
                    </a:lnTo>
                    <a:lnTo>
                      <a:pt x="3078" y="3334"/>
                    </a:lnTo>
                    <a:lnTo>
                      <a:pt x="3078" y="3334"/>
                    </a:lnTo>
                    <a:lnTo>
                      <a:pt x="3076" y="3332"/>
                    </a:lnTo>
                    <a:lnTo>
                      <a:pt x="3074" y="3330"/>
                    </a:lnTo>
                    <a:lnTo>
                      <a:pt x="3070" y="3332"/>
                    </a:lnTo>
                    <a:lnTo>
                      <a:pt x="3070" y="3332"/>
                    </a:lnTo>
                    <a:lnTo>
                      <a:pt x="3070" y="3328"/>
                    </a:lnTo>
                    <a:lnTo>
                      <a:pt x="3070" y="3328"/>
                    </a:lnTo>
                    <a:lnTo>
                      <a:pt x="3072" y="3326"/>
                    </a:lnTo>
                    <a:lnTo>
                      <a:pt x="3074" y="3324"/>
                    </a:lnTo>
                    <a:lnTo>
                      <a:pt x="3082" y="3326"/>
                    </a:lnTo>
                    <a:lnTo>
                      <a:pt x="3088" y="3326"/>
                    </a:lnTo>
                    <a:lnTo>
                      <a:pt x="3090" y="3326"/>
                    </a:lnTo>
                    <a:lnTo>
                      <a:pt x="3092" y="3324"/>
                    </a:lnTo>
                    <a:lnTo>
                      <a:pt x="3092" y="3324"/>
                    </a:lnTo>
                    <a:lnTo>
                      <a:pt x="3098" y="3316"/>
                    </a:lnTo>
                    <a:lnTo>
                      <a:pt x="3106" y="3310"/>
                    </a:lnTo>
                    <a:lnTo>
                      <a:pt x="3116" y="3304"/>
                    </a:lnTo>
                    <a:lnTo>
                      <a:pt x="3124" y="3302"/>
                    </a:lnTo>
                    <a:lnTo>
                      <a:pt x="3124" y="3302"/>
                    </a:lnTo>
                    <a:lnTo>
                      <a:pt x="3128" y="3300"/>
                    </a:lnTo>
                    <a:lnTo>
                      <a:pt x="3132" y="3298"/>
                    </a:lnTo>
                    <a:lnTo>
                      <a:pt x="3132" y="3294"/>
                    </a:lnTo>
                    <a:lnTo>
                      <a:pt x="3130" y="3290"/>
                    </a:lnTo>
                    <a:lnTo>
                      <a:pt x="3122" y="3278"/>
                    </a:lnTo>
                    <a:lnTo>
                      <a:pt x="3110" y="3268"/>
                    </a:lnTo>
                    <a:lnTo>
                      <a:pt x="3110" y="3268"/>
                    </a:lnTo>
                    <a:lnTo>
                      <a:pt x="3100" y="3258"/>
                    </a:lnTo>
                    <a:lnTo>
                      <a:pt x="3090" y="3254"/>
                    </a:lnTo>
                    <a:lnTo>
                      <a:pt x="3086" y="3252"/>
                    </a:lnTo>
                    <a:lnTo>
                      <a:pt x="3086" y="3250"/>
                    </a:lnTo>
                    <a:lnTo>
                      <a:pt x="3086" y="3248"/>
                    </a:lnTo>
                    <a:lnTo>
                      <a:pt x="3086" y="3248"/>
                    </a:lnTo>
                    <a:lnTo>
                      <a:pt x="3086" y="3246"/>
                    </a:lnTo>
                    <a:lnTo>
                      <a:pt x="3086" y="3244"/>
                    </a:lnTo>
                    <a:lnTo>
                      <a:pt x="3082" y="3242"/>
                    </a:lnTo>
                    <a:lnTo>
                      <a:pt x="3078" y="3240"/>
                    </a:lnTo>
                    <a:lnTo>
                      <a:pt x="3074" y="3242"/>
                    </a:lnTo>
                    <a:lnTo>
                      <a:pt x="3074" y="3242"/>
                    </a:lnTo>
                    <a:lnTo>
                      <a:pt x="3068" y="3246"/>
                    </a:lnTo>
                    <a:lnTo>
                      <a:pt x="3062" y="3246"/>
                    </a:lnTo>
                    <a:lnTo>
                      <a:pt x="3056" y="3244"/>
                    </a:lnTo>
                    <a:lnTo>
                      <a:pt x="3050" y="3242"/>
                    </a:lnTo>
                    <a:lnTo>
                      <a:pt x="3046" y="3236"/>
                    </a:lnTo>
                    <a:lnTo>
                      <a:pt x="3044" y="3232"/>
                    </a:lnTo>
                    <a:lnTo>
                      <a:pt x="3042" y="3228"/>
                    </a:lnTo>
                    <a:lnTo>
                      <a:pt x="3044" y="3224"/>
                    </a:lnTo>
                    <a:lnTo>
                      <a:pt x="3044" y="3224"/>
                    </a:lnTo>
                    <a:lnTo>
                      <a:pt x="3046" y="3224"/>
                    </a:lnTo>
                    <a:lnTo>
                      <a:pt x="3048" y="3224"/>
                    </a:lnTo>
                    <a:lnTo>
                      <a:pt x="3052" y="3230"/>
                    </a:lnTo>
                    <a:lnTo>
                      <a:pt x="3056" y="3238"/>
                    </a:lnTo>
                    <a:lnTo>
                      <a:pt x="3060" y="3242"/>
                    </a:lnTo>
                    <a:lnTo>
                      <a:pt x="3060" y="3242"/>
                    </a:lnTo>
                    <a:lnTo>
                      <a:pt x="3062" y="3244"/>
                    </a:lnTo>
                    <a:lnTo>
                      <a:pt x="3066" y="3242"/>
                    </a:lnTo>
                    <a:lnTo>
                      <a:pt x="3072" y="3240"/>
                    </a:lnTo>
                    <a:lnTo>
                      <a:pt x="3078" y="3236"/>
                    </a:lnTo>
                    <a:lnTo>
                      <a:pt x="3080" y="3236"/>
                    </a:lnTo>
                    <a:lnTo>
                      <a:pt x="3084" y="3236"/>
                    </a:lnTo>
                    <a:lnTo>
                      <a:pt x="3084" y="3236"/>
                    </a:lnTo>
                    <a:lnTo>
                      <a:pt x="3088" y="3240"/>
                    </a:lnTo>
                    <a:lnTo>
                      <a:pt x="3090" y="3242"/>
                    </a:lnTo>
                    <a:lnTo>
                      <a:pt x="3092" y="3246"/>
                    </a:lnTo>
                    <a:lnTo>
                      <a:pt x="3094" y="3248"/>
                    </a:lnTo>
                    <a:lnTo>
                      <a:pt x="3094" y="3248"/>
                    </a:lnTo>
                    <a:lnTo>
                      <a:pt x="3098" y="3248"/>
                    </a:lnTo>
                    <a:lnTo>
                      <a:pt x="3104" y="3248"/>
                    </a:lnTo>
                    <a:lnTo>
                      <a:pt x="3110" y="3250"/>
                    </a:lnTo>
                    <a:lnTo>
                      <a:pt x="3122" y="3256"/>
                    </a:lnTo>
                    <a:lnTo>
                      <a:pt x="3122" y="3256"/>
                    </a:lnTo>
                    <a:lnTo>
                      <a:pt x="3128" y="3258"/>
                    </a:lnTo>
                    <a:lnTo>
                      <a:pt x="3130" y="3258"/>
                    </a:lnTo>
                    <a:lnTo>
                      <a:pt x="3132" y="3256"/>
                    </a:lnTo>
                    <a:lnTo>
                      <a:pt x="3132" y="3254"/>
                    </a:lnTo>
                    <a:lnTo>
                      <a:pt x="3128" y="3244"/>
                    </a:lnTo>
                    <a:lnTo>
                      <a:pt x="3120" y="3236"/>
                    </a:lnTo>
                    <a:lnTo>
                      <a:pt x="3120" y="3236"/>
                    </a:lnTo>
                    <a:lnTo>
                      <a:pt x="3114" y="3230"/>
                    </a:lnTo>
                    <a:lnTo>
                      <a:pt x="3112" y="3226"/>
                    </a:lnTo>
                    <a:lnTo>
                      <a:pt x="3108" y="3220"/>
                    </a:lnTo>
                    <a:lnTo>
                      <a:pt x="3100" y="3212"/>
                    </a:lnTo>
                    <a:lnTo>
                      <a:pt x="3100" y="3212"/>
                    </a:lnTo>
                    <a:lnTo>
                      <a:pt x="3092" y="3206"/>
                    </a:lnTo>
                    <a:lnTo>
                      <a:pt x="3090" y="3200"/>
                    </a:lnTo>
                    <a:lnTo>
                      <a:pt x="3090" y="3192"/>
                    </a:lnTo>
                    <a:lnTo>
                      <a:pt x="3088" y="3186"/>
                    </a:lnTo>
                    <a:lnTo>
                      <a:pt x="3086" y="3178"/>
                    </a:lnTo>
                    <a:lnTo>
                      <a:pt x="3086" y="3178"/>
                    </a:lnTo>
                    <a:lnTo>
                      <a:pt x="3082" y="3168"/>
                    </a:lnTo>
                    <a:lnTo>
                      <a:pt x="3078" y="3158"/>
                    </a:lnTo>
                    <a:lnTo>
                      <a:pt x="3072" y="3138"/>
                    </a:lnTo>
                    <a:lnTo>
                      <a:pt x="3070" y="3130"/>
                    </a:lnTo>
                    <a:lnTo>
                      <a:pt x="3066" y="3122"/>
                    </a:lnTo>
                    <a:lnTo>
                      <a:pt x="3060" y="3116"/>
                    </a:lnTo>
                    <a:lnTo>
                      <a:pt x="3052" y="3112"/>
                    </a:lnTo>
                    <a:lnTo>
                      <a:pt x="3052" y="3112"/>
                    </a:lnTo>
                    <a:lnTo>
                      <a:pt x="3044" y="3108"/>
                    </a:lnTo>
                    <a:lnTo>
                      <a:pt x="3040" y="3104"/>
                    </a:lnTo>
                    <a:lnTo>
                      <a:pt x="3036" y="3098"/>
                    </a:lnTo>
                    <a:lnTo>
                      <a:pt x="3034" y="3094"/>
                    </a:lnTo>
                    <a:lnTo>
                      <a:pt x="3032" y="3094"/>
                    </a:lnTo>
                    <a:lnTo>
                      <a:pt x="3026" y="3096"/>
                    </a:lnTo>
                    <a:lnTo>
                      <a:pt x="3026" y="3096"/>
                    </a:lnTo>
                    <a:lnTo>
                      <a:pt x="3022" y="3096"/>
                    </a:lnTo>
                    <a:lnTo>
                      <a:pt x="3022" y="3092"/>
                    </a:lnTo>
                    <a:lnTo>
                      <a:pt x="3024" y="3084"/>
                    </a:lnTo>
                    <a:lnTo>
                      <a:pt x="3026" y="3076"/>
                    </a:lnTo>
                    <a:lnTo>
                      <a:pt x="3038" y="3058"/>
                    </a:lnTo>
                    <a:lnTo>
                      <a:pt x="3044" y="3052"/>
                    </a:lnTo>
                    <a:lnTo>
                      <a:pt x="3048" y="3048"/>
                    </a:lnTo>
                    <a:lnTo>
                      <a:pt x="3048" y="3048"/>
                    </a:lnTo>
                    <a:lnTo>
                      <a:pt x="3054" y="3044"/>
                    </a:lnTo>
                    <a:lnTo>
                      <a:pt x="3056" y="3042"/>
                    </a:lnTo>
                    <a:lnTo>
                      <a:pt x="3058" y="3038"/>
                    </a:lnTo>
                    <a:lnTo>
                      <a:pt x="3062" y="3034"/>
                    </a:lnTo>
                    <a:lnTo>
                      <a:pt x="3062" y="3034"/>
                    </a:lnTo>
                    <a:lnTo>
                      <a:pt x="3064" y="3032"/>
                    </a:lnTo>
                    <a:lnTo>
                      <a:pt x="3064" y="3028"/>
                    </a:lnTo>
                    <a:lnTo>
                      <a:pt x="3062" y="3024"/>
                    </a:lnTo>
                    <a:lnTo>
                      <a:pt x="3060" y="3020"/>
                    </a:lnTo>
                    <a:lnTo>
                      <a:pt x="3060" y="3018"/>
                    </a:lnTo>
                    <a:lnTo>
                      <a:pt x="3062" y="3018"/>
                    </a:lnTo>
                    <a:lnTo>
                      <a:pt x="3062" y="3018"/>
                    </a:lnTo>
                    <a:lnTo>
                      <a:pt x="3064" y="3016"/>
                    </a:lnTo>
                    <a:lnTo>
                      <a:pt x="3066" y="3016"/>
                    </a:lnTo>
                    <a:lnTo>
                      <a:pt x="3066" y="3020"/>
                    </a:lnTo>
                    <a:lnTo>
                      <a:pt x="3068" y="3022"/>
                    </a:lnTo>
                    <a:lnTo>
                      <a:pt x="3070" y="3024"/>
                    </a:lnTo>
                    <a:lnTo>
                      <a:pt x="3072" y="3024"/>
                    </a:lnTo>
                    <a:lnTo>
                      <a:pt x="3076" y="3022"/>
                    </a:lnTo>
                    <a:lnTo>
                      <a:pt x="3076" y="3022"/>
                    </a:lnTo>
                    <a:lnTo>
                      <a:pt x="3080" y="3020"/>
                    </a:lnTo>
                    <a:lnTo>
                      <a:pt x="3082" y="3018"/>
                    </a:lnTo>
                    <a:lnTo>
                      <a:pt x="3084" y="3012"/>
                    </a:lnTo>
                    <a:lnTo>
                      <a:pt x="3086" y="3008"/>
                    </a:lnTo>
                    <a:lnTo>
                      <a:pt x="3088" y="3006"/>
                    </a:lnTo>
                    <a:lnTo>
                      <a:pt x="3090" y="3008"/>
                    </a:lnTo>
                    <a:lnTo>
                      <a:pt x="3090" y="3008"/>
                    </a:lnTo>
                    <a:lnTo>
                      <a:pt x="3092" y="3008"/>
                    </a:lnTo>
                    <a:lnTo>
                      <a:pt x="3094" y="3006"/>
                    </a:lnTo>
                    <a:lnTo>
                      <a:pt x="3096" y="3002"/>
                    </a:lnTo>
                    <a:lnTo>
                      <a:pt x="3100" y="2996"/>
                    </a:lnTo>
                    <a:lnTo>
                      <a:pt x="3106" y="2990"/>
                    </a:lnTo>
                    <a:lnTo>
                      <a:pt x="3106" y="2990"/>
                    </a:lnTo>
                    <a:lnTo>
                      <a:pt x="3114" y="2988"/>
                    </a:lnTo>
                    <a:lnTo>
                      <a:pt x="3118" y="2988"/>
                    </a:lnTo>
                    <a:lnTo>
                      <a:pt x="3122" y="2986"/>
                    </a:lnTo>
                    <a:lnTo>
                      <a:pt x="3128" y="2982"/>
                    </a:lnTo>
                    <a:lnTo>
                      <a:pt x="3128" y="2982"/>
                    </a:lnTo>
                    <a:lnTo>
                      <a:pt x="3134" y="2976"/>
                    </a:lnTo>
                    <a:lnTo>
                      <a:pt x="3136" y="2976"/>
                    </a:lnTo>
                    <a:lnTo>
                      <a:pt x="3138" y="2978"/>
                    </a:lnTo>
                    <a:lnTo>
                      <a:pt x="3140" y="2978"/>
                    </a:lnTo>
                    <a:lnTo>
                      <a:pt x="3140" y="2978"/>
                    </a:lnTo>
                    <a:lnTo>
                      <a:pt x="3142" y="2976"/>
                    </a:lnTo>
                    <a:lnTo>
                      <a:pt x="3142" y="2978"/>
                    </a:lnTo>
                    <a:lnTo>
                      <a:pt x="3144" y="2980"/>
                    </a:lnTo>
                    <a:lnTo>
                      <a:pt x="3144" y="2982"/>
                    </a:lnTo>
                    <a:lnTo>
                      <a:pt x="3144" y="2982"/>
                    </a:lnTo>
                    <a:lnTo>
                      <a:pt x="3148" y="2984"/>
                    </a:lnTo>
                    <a:lnTo>
                      <a:pt x="3152" y="2982"/>
                    </a:lnTo>
                    <a:lnTo>
                      <a:pt x="3152" y="2982"/>
                    </a:lnTo>
                    <a:lnTo>
                      <a:pt x="3156" y="2980"/>
                    </a:lnTo>
                    <a:lnTo>
                      <a:pt x="3158" y="2978"/>
                    </a:lnTo>
                    <a:lnTo>
                      <a:pt x="3156" y="2974"/>
                    </a:lnTo>
                    <a:lnTo>
                      <a:pt x="3156" y="2972"/>
                    </a:lnTo>
                    <a:lnTo>
                      <a:pt x="3156" y="2970"/>
                    </a:lnTo>
                    <a:lnTo>
                      <a:pt x="3158" y="2966"/>
                    </a:lnTo>
                    <a:lnTo>
                      <a:pt x="3162" y="2960"/>
                    </a:lnTo>
                    <a:lnTo>
                      <a:pt x="3162" y="2960"/>
                    </a:lnTo>
                    <a:lnTo>
                      <a:pt x="3164" y="2958"/>
                    </a:lnTo>
                    <a:lnTo>
                      <a:pt x="3164" y="2956"/>
                    </a:lnTo>
                    <a:lnTo>
                      <a:pt x="3158" y="2952"/>
                    </a:lnTo>
                    <a:lnTo>
                      <a:pt x="3150" y="2950"/>
                    </a:lnTo>
                    <a:lnTo>
                      <a:pt x="3144" y="2946"/>
                    </a:lnTo>
                    <a:lnTo>
                      <a:pt x="3144" y="2946"/>
                    </a:lnTo>
                    <a:lnTo>
                      <a:pt x="3140" y="2942"/>
                    </a:lnTo>
                    <a:lnTo>
                      <a:pt x="3138" y="2944"/>
                    </a:lnTo>
                    <a:lnTo>
                      <a:pt x="3134" y="2948"/>
                    </a:lnTo>
                    <a:lnTo>
                      <a:pt x="3132" y="2948"/>
                    </a:lnTo>
                    <a:lnTo>
                      <a:pt x="3126" y="2950"/>
                    </a:lnTo>
                    <a:lnTo>
                      <a:pt x="3126" y="2950"/>
                    </a:lnTo>
                    <a:lnTo>
                      <a:pt x="3116" y="2948"/>
                    </a:lnTo>
                    <a:lnTo>
                      <a:pt x="3114" y="2944"/>
                    </a:lnTo>
                    <a:lnTo>
                      <a:pt x="3112" y="2942"/>
                    </a:lnTo>
                    <a:lnTo>
                      <a:pt x="3108" y="2942"/>
                    </a:lnTo>
                    <a:lnTo>
                      <a:pt x="3108" y="2942"/>
                    </a:lnTo>
                    <a:lnTo>
                      <a:pt x="3102" y="2942"/>
                    </a:lnTo>
                    <a:lnTo>
                      <a:pt x="3102" y="2942"/>
                    </a:lnTo>
                    <a:lnTo>
                      <a:pt x="3100" y="2938"/>
                    </a:lnTo>
                    <a:lnTo>
                      <a:pt x="3096" y="2934"/>
                    </a:lnTo>
                    <a:lnTo>
                      <a:pt x="3096" y="2934"/>
                    </a:lnTo>
                    <a:lnTo>
                      <a:pt x="3094" y="2930"/>
                    </a:lnTo>
                    <a:lnTo>
                      <a:pt x="3090" y="2930"/>
                    </a:lnTo>
                    <a:lnTo>
                      <a:pt x="3080" y="2930"/>
                    </a:lnTo>
                    <a:lnTo>
                      <a:pt x="3072" y="2934"/>
                    </a:lnTo>
                    <a:lnTo>
                      <a:pt x="3066" y="2940"/>
                    </a:lnTo>
                    <a:lnTo>
                      <a:pt x="3066" y="2940"/>
                    </a:lnTo>
                    <a:lnTo>
                      <a:pt x="3062" y="2946"/>
                    </a:lnTo>
                    <a:lnTo>
                      <a:pt x="3056" y="2950"/>
                    </a:lnTo>
                    <a:lnTo>
                      <a:pt x="3052" y="2952"/>
                    </a:lnTo>
                    <a:lnTo>
                      <a:pt x="3050" y="2954"/>
                    </a:lnTo>
                    <a:lnTo>
                      <a:pt x="3050" y="2958"/>
                    </a:lnTo>
                    <a:lnTo>
                      <a:pt x="3050" y="2958"/>
                    </a:lnTo>
                    <a:lnTo>
                      <a:pt x="3052" y="2962"/>
                    </a:lnTo>
                    <a:lnTo>
                      <a:pt x="3050" y="2964"/>
                    </a:lnTo>
                    <a:lnTo>
                      <a:pt x="3044" y="2966"/>
                    </a:lnTo>
                    <a:lnTo>
                      <a:pt x="3032" y="2968"/>
                    </a:lnTo>
                    <a:lnTo>
                      <a:pt x="3032" y="2968"/>
                    </a:lnTo>
                    <a:lnTo>
                      <a:pt x="3026" y="2968"/>
                    </a:lnTo>
                    <a:lnTo>
                      <a:pt x="3020" y="2964"/>
                    </a:lnTo>
                    <a:lnTo>
                      <a:pt x="3018" y="2960"/>
                    </a:lnTo>
                    <a:lnTo>
                      <a:pt x="3014" y="2956"/>
                    </a:lnTo>
                    <a:lnTo>
                      <a:pt x="3014" y="2946"/>
                    </a:lnTo>
                    <a:lnTo>
                      <a:pt x="3014" y="2940"/>
                    </a:lnTo>
                    <a:lnTo>
                      <a:pt x="3016" y="2938"/>
                    </a:lnTo>
                    <a:lnTo>
                      <a:pt x="3016" y="2938"/>
                    </a:lnTo>
                    <a:lnTo>
                      <a:pt x="3018" y="2934"/>
                    </a:lnTo>
                    <a:lnTo>
                      <a:pt x="3018" y="2930"/>
                    </a:lnTo>
                    <a:lnTo>
                      <a:pt x="3014" y="2922"/>
                    </a:lnTo>
                    <a:lnTo>
                      <a:pt x="3008" y="2914"/>
                    </a:lnTo>
                    <a:lnTo>
                      <a:pt x="3004" y="2912"/>
                    </a:lnTo>
                    <a:lnTo>
                      <a:pt x="3002" y="2912"/>
                    </a:lnTo>
                    <a:lnTo>
                      <a:pt x="3002" y="2912"/>
                    </a:lnTo>
                    <a:lnTo>
                      <a:pt x="2996" y="2914"/>
                    </a:lnTo>
                    <a:lnTo>
                      <a:pt x="2988" y="2914"/>
                    </a:lnTo>
                    <a:lnTo>
                      <a:pt x="2980" y="2914"/>
                    </a:lnTo>
                    <a:lnTo>
                      <a:pt x="2976" y="2912"/>
                    </a:lnTo>
                    <a:lnTo>
                      <a:pt x="2974" y="2910"/>
                    </a:lnTo>
                    <a:lnTo>
                      <a:pt x="2974" y="2910"/>
                    </a:lnTo>
                    <a:lnTo>
                      <a:pt x="2970" y="2906"/>
                    </a:lnTo>
                    <a:lnTo>
                      <a:pt x="2966" y="2904"/>
                    </a:lnTo>
                    <a:lnTo>
                      <a:pt x="2962" y="2900"/>
                    </a:lnTo>
                    <a:lnTo>
                      <a:pt x="2958" y="2890"/>
                    </a:lnTo>
                    <a:lnTo>
                      <a:pt x="2958" y="2890"/>
                    </a:lnTo>
                    <a:lnTo>
                      <a:pt x="2958" y="2880"/>
                    </a:lnTo>
                    <a:lnTo>
                      <a:pt x="2960" y="2872"/>
                    </a:lnTo>
                    <a:lnTo>
                      <a:pt x="2962" y="2868"/>
                    </a:lnTo>
                    <a:lnTo>
                      <a:pt x="2964" y="2862"/>
                    </a:lnTo>
                    <a:lnTo>
                      <a:pt x="2964" y="2862"/>
                    </a:lnTo>
                    <a:lnTo>
                      <a:pt x="2966" y="2856"/>
                    </a:lnTo>
                    <a:lnTo>
                      <a:pt x="2970" y="2854"/>
                    </a:lnTo>
                    <a:lnTo>
                      <a:pt x="2976" y="2854"/>
                    </a:lnTo>
                    <a:lnTo>
                      <a:pt x="2982" y="2860"/>
                    </a:lnTo>
                    <a:lnTo>
                      <a:pt x="2982" y="2860"/>
                    </a:lnTo>
                    <a:lnTo>
                      <a:pt x="2986" y="2864"/>
                    </a:lnTo>
                    <a:lnTo>
                      <a:pt x="2988" y="2864"/>
                    </a:lnTo>
                    <a:lnTo>
                      <a:pt x="2992" y="2862"/>
                    </a:lnTo>
                    <a:lnTo>
                      <a:pt x="2996" y="2856"/>
                    </a:lnTo>
                    <a:lnTo>
                      <a:pt x="3000" y="2856"/>
                    </a:lnTo>
                    <a:lnTo>
                      <a:pt x="3002" y="2856"/>
                    </a:lnTo>
                    <a:lnTo>
                      <a:pt x="3002" y="2856"/>
                    </a:lnTo>
                    <a:lnTo>
                      <a:pt x="3010" y="2856"/>
                    </a:lnTo>
                    <a:lnTo>
                      <a:pt x="3018" y="2854"/>
                    </a:lnTo>
                    <a:lnTo>
                      <a:pt x="3024" y="2846"/>
                    </a:lnTo>
                    <a:lnTo>
                      <a:pt x="3026" y="2836"/>
                    </a:lnTo>
                    <a:lnTo>
                      <a:pt x="3026" y="2836"/>
                    </a:lnTo>
                    <a:lnTo>
                      <a:pt x="3026" y="2830"/>
                    </a:lnTo>
                    <a:lnTo>
                      <a:pt x="3032" y="2824"/>
                    </a:lnTo>
                    <a:lnTo>
                      <a:pt x="3044" y="2814"/>
                    </a:lnTo>
                    <a:lnTo>
                      <a:pt x="3058" y="2806"/>
                    </a:lnTo>
                    <a:lnTo>
                      <a:pt x="3070" y="2802"/>
                    </a:lnTo>
                    <a:lnTo>
                      <a:pt x="3070" y="2802"/>
                    </a:lnTo>
                    <a:lnTo>
                      <a:pt x="3076" y="2798"/>
                    </a:lnTo>
                    <a:lnTo>
                      <a:pt x="3078" y="2794"/>
                    </a:lnTo>
                    <a:lnTo>
                      <a:pt x="3080" y="2786"/>
                    </a:lnTo>
                    <a:lnTo>
                      <a:pt x="3088" y="2778"/>
                    </a:lnTo>
                    <a:lnTo>
                      <a:pt x="3088" y="2778"/>
                    </a:lnTo>
                    <a:lnTo>
                      <a:pt x="3094" y="2770"/>
                    </a:lnTo>
                    <a:lnTo>
                      <a:pt x="3094" y="2768"/>
                    </a:lnTo>
                    <a:lnTo>
                      <a:pt x="3096" y="2766"/>
                    </a:lnTo>
                    <a:lnTo>
                      <a:pt x="3100" y="2762"/>
                    </a:lnTo>
                    <a:lnTo>
                      <a:pt x="3100" y="2762"/>
                    </a:lnTo>
                    <a:lnTo>
                      <a:pt x="3104" y="2760"/>
                    </a:lnTo>
                    <a:lnTo>
                      <a:pt x="3108" y="2760"/>
                    </a:lnTo>
                    <a:lnTo>
                      <a:pt x="3114" y="2760"/>
                    </a:lnTo>
                    <a:lnTo>
                      <a:pt x="3120" y="2762"/>
                    </a:lnTo>
                    <a:lnTo>
                      <a:pt x="3122" y="2762"/>
                    </a:lnTo>
                    <a:lnTo>
                      <a:pt x="3124" y="2762"/>
                    </a:lnTo>
                    <a:lnTo>
                      <a:pt x="3124" y="2762"/>
                    </a:lnTo>
                    <a:lnTo>
                      <a:pt x="3128" y="2760"/>
                    </a:lnTo>
                    <a:lnTo>
                      <a:pt x="3130" y="2760"/>
                    </a:lnTo>
                    <a:lnTo>
                      <a:pt x="3132" y="2764"/>
                    </a:lnTo>
                    <a:lnTo>
                      <a:pt x="3138" y="2770"/>
                    </a:lnTo>
                    <a:lnTo>
                      <a:pt x="3138" y="2770"/>
                    </a:lnTo>
                    <a:lnTo>
                      <a:pt x="3144" y="2778"/>
                    </a:lnTo>
                    <a:lnTo>
                      <a:pt x="3146" y="2782"/>
                    </a:lnTo>
                    <a:lnTo>
                      <a:pt x="3144" y="2790"/>
                    </a:lnTo>
                    <a:lnTo>
                      <a:pt x="3138" y="2800"/>
                    </a:lnTo>
                    <a:lnTo>
                      <a:pt x="3138" y="2800"/>
                    </a:lnTo>
                    <a:lnTo>
                      <a:pt x="3132" y="2806"/>
                    </a:lnTo>
                    <a:lnTo>
                      <a:pt x="3128" y="2810"/>
                    </a:lnTo>
                    <a:lnTo>
                      <a:pt x="3120" y="2816"/>
                    </a:lnTo>
                    <a:lnTo>
                      <a:pt x="3114" y="2820"/>
                    </a:lnTo>
                    <a:lnTo>
                      <a:pt x="3114" y="2822"/>
                    </a:lnTo>
                    <a:lnTo>
                      <a:pt x="3114" y="2824"/>
                    </a:lnTo>
                    <a:lnTo>
                      <a:pt x="3114" y="2824"/>
                    </a:lnTo>
                    <a:lnTo>
                      <a:pt x="3116" y="2826"/>
                    </a:lnTo>
                    <a:lnTo>
                      <a:pt x="3114" y="2828"/>
                    </a:lnTo>
                    <a:lnTo>
                      <a:pt x="3110" y="2832"/>
                    </a:lnTo>
                    <a:lnTo>
                      <a:pt x="3104" y="2834"/>
                    </a:lnTo>
                    <a:lnTo>
                      <a:pt x="3104" y="2836"/>
                    </a:lnTo>
                    <a:lnTo>
                      <a:pt x="3106" y="2836"/>
                    </a:lnTo>
                    <a:lnTo>
                      <a:pt x="3106" y="2836"/>
                    </a:lnTo>
                    <a:lnTo>
                      <a:pt x="3110" y="2840"/>
                    </a:lnTo>
                    <a:lnTo>
                      <a:pt x="3116" y="2844"/>
                    </a:lnTo>
                    <a:lnTo>
                      <a:pt x="3120" y="2850"/>
                    </a:lnTo>
                    <a:lnTo>
                      <a:pt x="3122" y="2854"/>
                    </a:lnTo>
                    <a:lnTo>
                      <a:pt x="3122" y="2858"/>
                    </a:lnTo>
                    <a:lnTo>
                      <a:pt x="3122" y="2858"/>
                    </a:lnTo>
                    <a:lnTo>
                      <a:pt x="3120" y="2862"/>
                    </a:lnTo>
                    <a:lnTo>
                      <a:pt x="3118" y="2864"/>
                    </a:lnTo>
                    <a:lnTo>
                      <a:pt x="3116" y="2862"/>
                    </a:lnTo>
                    <a:lnTo>
                      <a:pt x="3112" y="2860"/>
                    </a:lnTo>
                    <a:lnTo>
                      <a:pt x="3110" y="2862"/>
                    </a:lnTo>
                    <a:lnTo>
                      <a:pt x="3108" y="2864"/>
                    </a:lnTo>
                    <a:lnTo>
                      <a:pt x="3108" y="2864"/>
                    </a:lnTo>
                    <a:lnTo>
                      <a:pt x="3106" y="2868"/>
                    </a:lnTo>
                    <a:lnTo>
                      <a:pt x="3102" y="2868"/>
                    </a:lnTo>
                    <a:lnTo>
                      <a:pt x="3102" y="2868"/>
                    </a:lnTo>
                    <a:lnTo>
                      <a:pt x="3100" y="2876"/>
                    </a:lnTo>
                    <a:lnTo>
                      <a:pt x="3100" y="2876"/>
                    </a:lnTo>
                    <a:lnTo>
                      <a:pt x="3100" y="2880"/>
                    </a:lnTo>
                    <a:lnTo>
                      <a:pt x="3102" y="2882"/>
                    </a:lnTo>
                    <a:lnTo>
                      <a:pt x="3104" y="2882"/>
                    </a:lnTo>
                    <a:lnTo>
                      <a:pt x="3106" y="2880"/>
                    </a:lnTo>
                    <a:lnTo>
                      <a:pt x="3112" y="2878"/>
                    </a:lnTo>
                    <a:lnTo>
                      <a:pt x="3120" y="2874"/>
                    </a:lnTo>
                    <a:lnTo>
                      <a:pt x="3120" y="2874"/>
                    </a:lnTo>
                    <a:lnTo>
                      <a:pt x="3124" y="2874"/>
                    </a:lnTo>
                    <a:lnTo>
                      <a:pt x="3124" y="2872"/>
                    </a:lnTo>
                    <a:lnTo>
                      <a:pt x="3124" y="2868"/>
                    </a:lnTo>
                    <a:lnTo>
                      <a:pt x="3124" y="2866"/>
                    </a:lnTo>
                    <a:lnTo>
                      <a:pt x="3124" y="2866"/>
                    </a:lnTo>
                    <a:lnTo>
                      <a:pt x="3128" y="2866"/>
                    </a:lnTo>
                    <a:lnTo>
                      <a:pt x="3132" y="2866"/>
                    </a:lnTo>
                    <a:lnTo>
                      <a:pt x="3136" y="2864"/>
                    </a:lnTo>
                    <a:lnTo>
                      <a:pt x="3142" y="2856"/>
                    </a:lnTo>
                    <a:lnTo>
                      <a:pt x="3142" y="2856"/>
                    </a:lnTo>
                    <a:lnTo>
                      <a:pt x="3148" y="2848"/>
                    </a:lnTo>
                    <a:lnTo>
                      <a:pt x="3152" y="2844"/>
                    </a:lnTo>
                    <a:lnTo>
                      <a:pt x="3156" y="2840"/>
                    </a:lnTo>
                    <a:lnTo>
                      <a:pt x="3162" y="2836"/>
                    </a:lnTo>
                    <a:lnTo>
                      <a:pt x="3162" y="2836"/>
                    </a:lnTo>
                    <a:lnTo>
                      <a:pt x="3164" y="2834"/>
                    </a:lnTo>
                    <a:lnTo>
                      <a:pt x="3168" y="2832"/>
                    </a:lnTo>
                    <a:lnTo>
                      <a:pt x="3176" y="2830"/>
                    </a:lnTo>
                    <a:lnTo>
                      <a:pt x="3182" y="2830"/>
                    </a:lnTo>
                    <a:lnTo>
                      <a:pt x="3186" y="2828"/>
                    </a:lnTo>
                    <a:lnTo>
                      <a:pt x="3188" y="2826"/>
                    </a:lnTo>
                    <a:lnTo>
                      <a:pt x="3188" y="2826"/>
                    </a:lnTo>
                    <a:lnTo>
                      <a:pt x="3190" y="2822"/>
                    </a:lnTo>
                    <a:lnTo>
                      <a:pt x="3194" y="2822"/>
                    </a:lnTo>
                    <a:lnTo>
                      <a:pt x="3196" y="2824"/>
                    </a:lnTo>
                    <a:lnTo>
                      <a:pt x="3200" y="2822"/>
                    </a:lnTo>
                    <a:lnTo>
                      <a:pt x="3200" y="2822"/>
                    </a:lnTo>
                    <a:lnTo>
                      <a:pt x="3202" y="2820"/>
                    </a:lnTo>
                    <a:lnTo>
                      <a:pt x="3206" y="2820"/>
                    </a:lnTo>
                    <a:lnTo>
                      <a:pt x="3212" y="2820"/>
                    </a:lnTo>
                    <a:lnTo>
                      <a:pt x="3220" y="2818"/>
                    </a:lnTo>
                    <a:lnTo>
                      <a:pt x="3226" y="2816"/>
                    </a:lnTo>
                    <a:lnTo>
                      <a:pt x="3230" y="2812"/>
                    </a:lnTo>
                    <a:lnTo>
                      <a:pt x="3232" y="2808"/>
                    </a:lnTo>
                    <a:lnTo>
                      <a:pt x="3230" y="2812"/>
                    </a:lnTo>
                    <a:lnTo>
                      <a:pt x="3230" y="2812"/>
                    </a:lnTo>
                    <a:lnTo>
                      <a:pt x="3232" y="2818"/>
                    </a:lnTo>
                    <a:lnTo>
                      <a:pt x="3236" y="2824"/>
                    </a:lnTo>
                    <a:lnTo>
                      <a:pt x="3242" y="2828"/>
                    </a:lnTo>
                    <a:lnTo>
                      <a:pt x="3244" y="2830"/>
                    </a:lnTo>
                    <a:lnTo>
                      <a:pt x="3246" y="2828"/>
                    </a:lnTo>
                    <a:lnTo>
                      <a:pt x="3246" y="2828"/>
                    </a:lnTo>
                    <a:lnTo>
                      <a:pt x="3250" y="2828"/>
                    </a:lnTo>
                    <a:lnTo>
                      <a:pt x="3254" y="2828"/>
                    </a:lnTo>
                    <a:lnTo>
                      <a:pt x="3264" y="2832"/>
                    </a:lnTo>
                    <a:lnTo>
                      <a:pt x="3268" y="2836"/>
                    </a:lnTo>
                    <a:lnTo>
                      <a:pt x="3272" y="2840"/>
                    </a:lnTo>
                    <a:lnTo>
                      <a:pt x="3274" y="2846"/>
                    </a:lnTo>
                    <a:lnTo>
                      <a:pt x="3272" y="2850"/>
                    </a:lnTo>
                    <a:lnTo>
                      <a:pt x="3272" y="2850"/>
                    </a:lnTo>
                    <a:lnTo>
                      <a:pt x="3264" y="2868"/>
                    </a:lnTo>
                    <a:lnTo>
                      <a:pt x="3262" y="2876"/>
                    </a:lnTo>
                    <a:lnTo>
                      <a:pt x="3262" y="2878"/>
                    </a:lnTo>
                    <a:lnTo>
                      <a:pt x="3264" y="2880"/>
                    </a:lnTo>
                    <a:lnTo>
                      <a:pt x="3264" y="2880"/>
                    </a:lnTo>
                    <a:lnTo>
                      <a:pt x="3266" y="2884"/>
                    </a:lnTo>
                    <a:lnTo>
                      <a:pt x="3262" y="2886"/>
                    </a:lnTo>
                    <a:lnTo>
                      <a:pt x="3258" y="2892"/>
                    </a:lnTo>
                    <a:lnTo>
                      <a:pt x="3254" y="2900"/>
                    </a:lnTo>
                    <a:lnTo>
                      <a:pt x="3254" y="2900"/>
                    </a:lnTo>
                    <a:lnTo>
                      <a:pt x="3250" y="2906"/>
                    </a:lnTo>
                    <a:lnTo>
                      <a:pt x="3248" y="2910"/>
                    </a:lnTo>
                    <a:lnTo>
                      <a:pt x="3244" y="2914"/>
                    </a:lnTo>
                    <a:lnTo>
                      <a:pt x="3242" y="2914"/>
                    </a:lnTo>
                    <a:lnTo>
                      <a:pt x="3242" y="2914"/>
                    </a:lnTo>
                    <a:lnTo>
                      <a:pt x="3252" y="2916"/>
                    </a:lnTo>
                    <a:lnTo>
                      <a:pt x="3252" y="2916"/>
                    </a:lnTo>
                    <a:lnTo>
                      <a:pt x="3258" y="2918"/>
                    </a:lnTo>
                    <a:lnTo>
                      <a:pt x="3260" y="2918"/>
                    </a:lnTo>
                    <a:lnTo>
                      <a:pt x="3258" y="2920"/>
                    </a:lnTo>
                    <a:lnTo>
                      <a:pt x="3258" y="2922"/>
                    </a:lnTo>
                    <a:lnTo>
                      <a:pt x="3254" y="2924"/>
                    </a:lnTo>
                    <a:lnTo>
                      <a:pt x="3256" y="2926"/>
                    </a:lnTo>
                    <a:lnTo>
                      <a:pt x="3262" y="2928"/>
                    </a:lnTo>
                    <a:lnTo>
                      <a:pt x="3262" y="2928"/>
                    </a:lnTo>
                    <a:lnTo>
                      <a:pt x="3268" y="2928"/>
                    </a:lnTo>
                    <a:lnTo>
                      <a:pt x="3270" y="2930"/>
                    </a:lnTo>
                    <a:lnTo>
                      <a:pt x="3270" y="2932"/>
                    </a:lnTo>
                    <a:lnTo>
                      <a:pt x="3270" y="2934"/>
                    </a:lnTo>
                    <a:lnTo>
                      <a:pt x="3270" y="2938"/>
                    </a:lnTo>
                    <a:lnTo>
                      <a:pt x="3274" y="2936"/>
                    </a:lnTo>
                    <a:lnTo>
                      <a:pt x="3274" y="2936"/>
                    </a:lnTo>
                    <a:lnTo>
                      <a:pt x="3278" y="2934"/>
                    </a:lnTo>
                    <a:lnTo>
                      <a:pt x="3280" y="2930"/>
                    </a:lnTo>
                    <a:lnTo>
                      <a:pt x="3282" y="2924"/>
                    </a:lnTo>
                    <a:lnTo>
                      <a:pt x="3284" y="2922"/>
                    </a:lnTo>
                    <a:lnTo>
                      <a:pt x="3284" y="2922"/>
                    </a:lnTo>
                    <a:lnTo>
                      <a:pt x="3292" y="2926"/>
                    </a:lnTo>
                    <a:lnTo>
                      <a:pt x="3292" y="2926"/>
                    </a:lnTo>
                    <a:lnTo>
                      <a:pt x="3300" y="2934"/>
                    </a:lnTo>
                    <a:lnTo>
                      <a:pt x="3302" y="2934"/>
                    </a:lnTo>
                    <a:lnTo>
                      <a:pt x="3304" y="2930"/>
                    </a:lnTo>
                    <a:lnTo>
                      <a:pt x="3304" y="2930"/>
                    </a:lnTo>
                    <a:lnTo>
                      <a:pt x="3304" y="2928"/>
                    </a:lnTo>
                    <a:lnTo>
                      <a:pt x="3306" y="2926"/>
                    </a:lnTo>
                    <a:lnTo>
                      <a:pt x="3312" y="2928"/>
                    </a:lnTo>
                    <a:lnTo>
                      <a:pt x="3318" y="2930"/>
                    </a:lnTo>
                    <a:lnTo>
                      <a:pt x="3324" y="2930"/>
                    </a:lnTo>
                    <a:lnTo>
                      <a:pt x="3324" y="2930"/>
                    </a:lnTo>
                    <a:lnTo>
                      <a:pt x="3324" y="2934"/>
                    </a:lnTo>
                    <a:lnTo>
                      <a:pt x="3324" y="2934"/>
                    </a:lnTo>
                    <a:lnTo>
                      <a:pt x="3322" y="2934"/>
                    </a:lnTo>
                    <a:lnTo>
                      <a:pt x="3320" y="2938"/>
                    </a:lnTo>
                    <a:lnTo>
                      <a:pt x="3320" y="2938"/>
                    </a:lnTo>
                    <a:lnTo>
                      <a:pt x="3320" y="2942"/>
                    </a:lnTo>
                    <a:lnTo>
                      <a:pt x="3324" y="2948"/>
                    </a:lnTo>
                    <a:lnTo>
                      <a:pt x="3326" y="2954"/>
                    </a:lnTo>
                    <a:lnTo>
                      <a:pt x="3326" y="2958"/>
                    </a:lnTo>
                    <a:lnTo>
                      <a:pt x="3324" y="2960"/>
                    </a:lnTo>
                    <a:lnTo>
                      <a:pt x="3324" y="2960"/>
                    </a:lnTo>
                    <a:lnTo>
                      <a:pt x="3324" y="2962"/>
                    </a:lnTo>
                    <a:lnTo>
                      <a:pt x="3324" y="2966"/>
                    </a:lnTo>
                    <a:lnTo>
                      <a:pt x="3328" y="2970"/>
                    </a:lnTo>
                    <a:lnTo>
                      <a:pt x="3332" y="2974"/>
                    </a:lnTo>
                    <a:lnTo>
                      <a:pt x="3334" y="2976"/>
                    </a:lnTo>
                    <a:lnTo>
                      <a:pt x="3334" y="2980"/>
                    </a:lnTo>
                    <a:lnTo>
                      <a:pt x="3334" y="2980"/>
                    </a:lnTo>
                    <a:lnTo>
                      <a:pt x="3332" y="2982"/>
                    </a:lnTo>
                    <a:lnTo>
                      <a:pt x="3330" y="2980"/>
                    </a:lnTo>
                    <a:lnTo>
                      <a:pt x="3328" y="2976"/>
                    </a:lnTo>
                    <a:lnTo>
                      <a:pt x="3326" y="2974"/>
                    </a:lnTo>
                    <a:lnTo>
                      <a:pt x="3322" y="2974"/>
                    </a:lnTo>
                    <a:lnTo>
                      <a:pt x="3322" y="2974"/>
                    </a:lnTo>
                    <a:lnTo>
                      <a:pt x="3312" y="2974"/>
                    </a:lnTo>
                    <a:lnTo>
                      <a:pt x="3310" y="2974"/>
                    </a:lnTo>
                    <a:lnTo>
                      <a:pt x="3312" y="2978"/>
                    </a:lnTo>
                    <a:lnTo>
                      <a:pt x="3312" y="2978"/>
                    </a:lnTo>
                    <a:lnTo>
                      <a:pt x="3312" y="2980"/>
                    </a:lnTo>
                    <a:lnTo>
                      <a:pt x="3312" y="2982"/>
                    </a:lnTo>
                    <a:lnTo>
                      <a:pt x="3310" y="2982"/>
                    </a:lnTo>
                    <a:lnTo>
                      <a:pt x="3308" y="2980"/>
                    </a:lnTo>
                    <a:lnTo>
                      <a:pt x="3308" y="2980"/>
                    </a:lnTo>
                    <a:lnTo>
                      <a:pt x="3306" y="2980"/>
                    </a:lnTo>
                    <a:lnTo>
                      <a:pt x="3302" y="2984"/>
                    </a:lnTo>
                    <a:lnTo>
                      <a:pt x="3302" y="2988"/>
                    </a:lnTo>
                    <a:lnTo>
                      <a:pt x="3304" y="2992"/>
                    </a:lnTo>
                    <a:lnTo>
                      <a:pt x="3304" y="2992"/>
                    </a:lnTo>
                    <a:lnTo>
                      <a:pt x="3308" y="2994"/>
                    </a:lnTo>
                    <a:lnTo>
                      <a:pt x="3312" y="2992"/>
                    </a:lnTo>
                    <a:lnTo>
                      <a:pt x="3314" y="2992"/>
                    </a:lnTo>
                    <a:lnTo>
                      <a:pt x="3316" y="2998"/>
                    </a:lnTo>
                    <a:lnTo>
                      <a:pt x="3316" y="2998"/>
                    </a:lnTo>
                    <a:lnTo>
                      <a:pt x="3318" y="3014"/>
                    </a:lnTo>
                    <a:lnTo>
                      <a:pt x="3318" y="3020"/>
                    </a:lnTo>
                    <a:lnTo>
                      <a:pt x="3320" y="3022"/>
                    </a:lnTo>
                    <a:lnTo>
                      <a:pt x="3320" y="3022"/>
                    </a:lnTo>
                    <a:lnTo>
                      <a:pt x="3324" y="3026"/>
                    </a:lnTo>
                    <a:lnTo>
                      <a:pt x="3324" y="3028"/>
                    </a:lnTo>
                    <a:lnTo>
                      <a:pt x="3322" y="3030"/>
                    </a:lnTo>
                    <a:lnTo>
                      <a:pt x="3324" y="3034"/>
                    </a:lnTo>
                    <a:lnTo>
                      <a:pt x="3324" y="3034"/>
                    </a:lnTo>
                    <a:lnTo>
                      <a:pt x="3326" y="3038"/>
                    </a:lnTo>
                    <a:lnTo>
                      <a:pt x="3324" y="3042"/>
                    </a:lnTo>
                    <a:lnTo>
                      <a:pt x="3320" y="3046"/>
                    </a:lnTo>
                    <a:lnTo>
                      <a:pt x="3316" y="3054"/>
                    </a:lnTo>
                    <a:lnTo>
                      <a:pt x="3316" y="3054"/>
                    </a:lnTo>
                    <a:lnTo>
                      <a:pt x="3308" y="3070"/>
                    </a:lnTo>
                    <a:lnTo>
                      <a:pt x="3308" y="3076"/>
                    </a:lnTo>
                    <a:lnTo>
                      <a:pt x="3308" y="3078"/>
                    </a:lnTo>
                    <a:lnTo>
                      <a:pt x="3308" y="3078"/>
                    </a:lnTo>
                    <a:lnTo>
                      <a:pt x="3310" y="3082"/>
                    </a:lnTo>
                    <a:lnTo>
                      <a:pt x="3310" y="3084"/>
                    </a:lnTo>
                    <a:lnTo>
                      <a:pt x="3312" y="3088"/>
                    </a:lnTo>
                    <a:lnTo>
                      <a:pt x="3312" y="3092"/>
                    </a:lnTo>
                    <a:lnTo>
                      <a:pt x="3312" y="3092"/>
                    </a:lnTo>
                    <a:lnTo>
                      <a:pt x="3314" y="3096"/>
                    </a:lnTo>
                    <a:lnTo>
                      <a:pt x="3312" y="3096"/>
                    </a:lnTo>
                    <a:lnTo>
                      <a:pt x="3308" y="3096"/>
                    </a:lnTo>
                    <a:lnTo>
                      <a:pt x="3308" y="3100"/>
                    </a:lnTo>
                    <a:lnTo>
                      <a:pt x="3308" y="3100"/>
                    </a:lnTo>
                    <a:lnTo>
                      <a:pt x="3310" y="3104"/>
                    </a:lnTo>
                    <a:lnTo>
                      <a:pt x="3312" y="3104"/>
                    </a:lnTo>
                    <a:lnTo>
                      <a:pt x="3316" y="3104"/>
                    </a:lnTo>
                    <a:lnTo>
                      <a:pt x="3316" y="3110"/>
                    </a:lnTo>
                    <a:lnTo>
                      <a:pt x="3316" y="3110"/>
                    </a:lnTo>
                    <a:lnTo>
                      <a:pt x="3316" y="3116"/>
                    </a:lnTo>
                    <a:lnTo>
                      <a:pt x="3318" y="3118"/>
                    </a:lnTo>
                    <a:lnTo>
                      <a:pt x="3322" y="3116"/>
                    </a:lnTo>
                    <a:lnTo>
                      <a:pt x="3326" y="3110"/>
                    </a:lnTo>
                    <a:lnTo>
                      <a:pt x="3326" y="3110"/>
                    </a:lnTo>
                    <a:lnTo>
                      <a:pt x="3330" y="3104"/>
                    </a:lnTo>
                    <a:lnTo>
                      <a:pt x="3330" y="3104"/>
                    </a:lnTo>
                    <a:lnTo>
                      <a:pt x="3330" y="3106"/>
                    </a:lnTo>
                    <a:lnTo>
                      <a:pt x="3330" y="3110"/>
                    </a:lnTo>
                    <a:lnTo>
                      <a:pt x="3330" y="3112"/>
                    </a:lnTo>
                    <a:lnTo>
                      <a:pt x="3330" y="3112"/>
                    </a:lnTo>
                    <a:lnTo>
                      <a:pt x="3334" y="3110"/>
                    </a:lnTo>
                    <a:lnTo>
                      <a:pt x="3334" y="3108"/>
                    </a:lnTo>
                    <a:lnTo>
                      <a:pt x="3338" y="3102"/>
                    </a:lnTo>
                    <a:lnTo>
                      <a:pt x="3342" y="3098"/>
                    </a:lnTo>
                    <a:lnTo>
                      <a:pt x="3342" y="3098"/>
                    </a:lnTo>
                    <a:lnTo>
                      <a:pt x="3346" y="3094"/>
                    </a:lnTo>
                    <a:lnTo>
                      <a:pt x="3348" y="3094"/>
                    </a:lnTo>
                    <a:lnTo>
                      <a:pt x="3348" y="3096"/>
                    </a:lnTo>
                    <a:lnTo>
                      <a:pt x="3346" y="3100"/>
                    </a:lnTo>
                    <a:lnTo>
                      <a:pt x="3346" y="3100"/>
                    </a:lnTo>
                    <a:lnTo>
                      <a:pt x="3344" y="3106"/>
                    </a:lnTo>
                    <a:lnTo>
                      <a:pt x="3346" y="3108"/>
                    </a:lnTo>
                    <a:lnTo>
                      <a:pt x="3350" y="3110"/>
                    </a:lnTo>
                    <a:lnTo>
                      <a:pt x="3354" y="3108"/>
                    </a:lnTo>
                    <a:lnTo>
                      <a:pt x="3354" y="3108"/>
                    </a:lnTo>
                    <a:lnTo>
                      <a:pt x="3356" y="3106"/>
                    </a:lnTo>
                    <a:lnTo>
                      <a:pt x="3356" y="3104"/>
                    </a:lnTo>
                    <a:lnTo>
                      <a:pt x="3354" y="3096"/>
                    </a:lnTo>
                    <a:lnTo>
                      <a:pt x="3354" y="3096"/>
                    </a:lnTo>
                    <a:lnTo>
                      <a:pt x="3354" y="3094"/>
                    </a:lnTo>
                    <a:lnTo>
                      <a:pt x="3356" y="3092"/>
                    </a:lnTo>
                    <a:lnTo>
                      <a:pt x="3358" y="3092"/>
                    </a:lnTo>
                    <a:lnTo>
                      <a:pt x="3358" y="3094"/>
                    </a:lnTo>
                    <a:lnTo>
                      <a:pt x="3358" y="3094"/>
                    </a:lnTo>
                    <a:lnTo>
                      <a:pt x="3360" y="3102"/>
                    </a:lnTo>
                    <a:lnTo>
                      <a:pt x="3362" y="3100"/>
                    </a:lnTo>
                    <a:lnTo>
                      <a:pt x="3366" y="3096"/>
                    </a:lnTo>
                    <a:lnTo>
                      <a:pt x="3366" y="3096"/>
                    </a:lnTo>
                    <a:lnTo>
                      <a:pt x="3368" y="3094"/>
                    </a:lnTo>
                    <a:lnTo>
                      <a:pt x="3368" y="3092"/>
                    </a:lnTo>
                    <a:lnTo>
                      <a:pt x="3364" y="3088"/>
                    </a:lnTo>
                    <a:lnTo>
                      <a:pt x="3362" y="3086"/>
                    </a:lnTo>
                    <a:lnTo>
                      <a:pt x="3366" y="3084"/>
                    </a:lnTo>
                    <a:lnTo>
                      <a:pt x="3366" y="3084"/>
                    </a:lnTo>
                    <a:lnTo>
                      <a:pt x="3376" y="3084"/>
                    </a:lnTo>
                    <a:lnTo>
                      <a:pt x="3384" y="3086"/>
                    </a:lnTo>
                    <a:lnTo>
                      <a:pt x="3390" y="3090"/>
                    </a:lnTo>
                    <a:lnTo>
                      <a:pt x="3394" y="3090"/>
                    </a:lnTo>
                    <a:lnTo>
                      <a:pt x="3394" y="3090"/>
                    </a:lnTo>
                    <a:lnTo>
                      <a:pt x="3396" y="3088"/>
                    </a:lnTo>
                    <a:lnTo>
                      <a:pt x="3396" y="3084"/>
                    </a:lnTo>
                    <a:lnTo>
                      <a:pt x="3396" y="3082"/>
                    </a:lnTo>
                    <a:lnTo>
                      <a:pt x="3400" y="3078"/>
                    </a:lnTo>
                    <a:lnTo>
                      <a:pt x="3400" y="3078"/>
                    </a:lnTo>
                    <a:lnTo>
                      <a:pt x="3406" y="3076"/>
                    </a:lnTo>
                    <a:lnTo>
                      <a:pt x="3412" y="3078"/>
                    </a:lnTo>
                    <a:lnTo>
                      <a:pt x="3418" y="3078"/>
                    </a:lnTo>
                    <a:lnTo>
                      <a:pt x="3422" y="3076"/>
                    </a:lnTo>
                    <a:lnTo>
                      <a:pt x="3422" y="3076"/>
                    </a:lnTo>
                    <a:lnTo>
                      <a:pt x="3428" y="3070"/>
                    </a:lnTo>
                    <a:lnTo>
                      <a:pt x="3434" y="3058"/>
                    </a:lnTo>
                    <a:lnTo>
                      <a:pt x="3438" y="3044"/>
                    </a:lnTo>
                    <a:lnTo>
                      <a:pt x="3440" y="3032"/>
                    </a:lnTo>
                    <a:lnTo>
                      <a:pt x="3440" y="3032"/>
                    </a:lnTo>
                    <a:lnTo>
                      <a:pt x="3440" y="3026"/>
                    </a:lnTo>
                    <a:lnTo>
                      <a:pt x="3436" y="3026"/>
                    </a:lnTo>
                    <a:lnTo>
                      <a:pt x="3434" y="3026"/>
                    </a:lnTo>
                    <a:lnTo>
                      <a:pt x="3432" y="3018"/>
                    </a:lnTo>
                    <a:lnTo>
                      <a:pt x="3432" y="3018"/>
                    </a:lnTo>
                    <a:lnTo>
                      <a:pt x="3434" y="3008"/>
                    </a:lnTo>
                    <a:lnTo>
                      <a:pt x="3436" y="3002"/>
                    </a:lnTo>
                    <a:lnTo>
                      <a:pt x="3436" y="2994"/>
                    </a:lnTo>
                    <a:lnTo>
                      <a:pt x="3436" y="2980"/>
                    </a:lnTo>
                    <a:lnTo>
                      <a:pt x="3436" y="2980"/>
                    </a:lnTo>
                    <a:lnTo>
                      <a:pt x="3432" y="2964"/>
                    </a:lnTo>
                    <a:lnTo>
                      <a:pt x="3426" y="2948"/>
                    </a:lnTo>
                    <a:lnTo>
                      <a:pt x="3418" y="2934"/>
                    </a:lnTo>
                    <a:lnTo>
                      <a:pt x="3410" y="2922"/>
                    </a:lnTo>
                    <a:lnTo>
                      <a:pt x="3410" y="2922"/>
                    </a:lnTo>
                    <a:lnTo>
                      <a:pt x="3402" y="2910"/>
                    </a:lnTo>
                    <a:lnTo>
                      <a:pt x="3398" y="2902"/>
                    </a:lnTo>
                    <a:lnTo>
                      <a:pt x="3392" y="2886"/>
                    </a:lnTo>
                    <a:lnTo>
                      <a:pt x="3392" y="2886"/>
                    </a:lnTo>
                    <a:lnTo>
                      <a:pt x="3388" y="2882"/>
                    </a:lnTo>
                    <a:lnTo>
                      <a:pt x="3386" y="2880"/>
                    </a:lnTo>
                    <a:lnTo>
                      <a:pt x="3380" y="2876"/>
                    </a:lnTo>
                    <a:lnTo>
                      <a:pt x="3374" y="2866"/>
                    </a:lnTo>
                    <a:lnTo>
                      <a:pt x="3374" y="2866"/>
                    </a:lnTo>
                    <a:lnTo>
                      <a:pt x="3370" y="2862"/>
                    </a:lnTo>
                    <a:lnTo>
                      <a:pt x="3366" y="2858"/>
                    </a:lnTo>
                    <a:lnTo>
                      <a:pt x="3360" y="2856"/>
                    </a:lnTo>
                    <a:lnTo>
                      <a:pt x="3354" y="2856"/>
                    </a:lnTo>
                    <a:lnTo>
                      <a:pt x="3352" y="2852"/>
                    </a:lnTo>
                    <a:lnTo>
                      <a:pt x="3352" y="2852"/>
                    </a:lnTo>
                    <a:lnTo>
                      <a:pt x="3352" y="2850"/>
                    </a:lnTo>
                    <a:lnTo>
                      <a:pt x="3354" y="2848"/>
                    </a:lnTo>
                    <a:lnTo>
                      <a:pt x="3356" y="2848"/>
                    </a:lnTo>
                    <a:lnTo>
                      <a:pt x="3358" y="2848"/>
                    </a:lnTo>
                    <a:lnTo>
                      <a:pt x="3360" y="2848"/>
                    </a:lnTo>
                    <a:lnTo>
                      <a:pt x="3360" y="2838"/>
                    </a:lnTo>
                    <a:lnTo>
                      <a:pt x="3360" y="2838"/>
                    </a:lnTo>
                    <a:lnTo>
                      <a:pt x="3358" y="2830"/>
                    </a:lnTo>
                    <a:lnTo>
                      <a:pt x="3358" y="2826"/>
                    </a:lnTo>
                    <a:lnTo>
                      <a:pt x="3360" y="2822"/>
                    </a:lnTo>
                    <a:lnTo>
                      <a:pt x="3362" y="2822"/>
                    </a:lnTo>
                    <a:lnTo>
                      <a:pt x="3368" y="2820"/>
                    </a:lnTo>
                    <a:lnTo>
                      <a:pt x="3372" y="2818"/>
                    </a:lnTo>
                    <a:lnTo>
                      <a:pt x="3374" y="2814"/>
                    </a:lnTo>
                    <a:lnTo>
                      <a:pt x="3374" y="2814"/>
                    </a:lnTo>
                    <a:lnTo>
                      <a:pt x="3376" y="2810"/>
                    </a:lnTo>
                    <a:lnTo>
                      <a:pt x="3378" y="2808"/>
                    </a:lnTo>
                    <a:lnTo>
                      <a:pt x="3384" y="2810"/>
                    </a:lnTo>
                    <a:lnTo>
                      <a:pt x="3386" y="2810"/>
                    </a:lnTo>
                    <a:lnTo>
                      <a:pt x="3390" y="2810"/>
                    </a:lnTo>
                    <a:lnTo>
                      <a:pt x="3396" y="2806"/>
                    </a:lnTo>
                    <a:lnTo>
                      <a:pt x="3402" y="2800"/>
                    </a:lnTo>
                    <a:lnTo>
                      <a:pt x="3402" y="2800"/>
                    </a:lnTo>
                    <a:lnTo>
                      <a:pt x="3426" y="2776"/>
                    </a:lnTo>
                    <a:lnTo>
                      <a:pt x="3434" y="2768"/>
                    </a:lnTo>
                    <a:lnTo>
                      <a:pt x="3442" y="2766"/>
                    </a:lnTo>
                    <a:lnTo>
                      <a:pt x="3442" y="2766"/>
                    </a:lnTo>
                    <a:lnTo>
                      <a:pt x="3444" y="2764"/>
                    </a:lnTo>
                    <a:lnTo>
                      <a:pt x="3446" y="2762"/>
                    </a:lnTo>
                    <a:lnTo>
                      <a:pt x="3448" y="2754"/>
                    </a:lnTo>
                    <a:lnTo>
                      <a:pt x="3448" y="2746"/>
                    </a:lnTo>
                    <a:lnTo>
                      <a:pt x="3448" y="2738"/>
                    </a:lnTo>
                    <a:lnTo>
                      <a:pt x="3448" y="2738"/>
                    </a:lnTo>
                    <a:lnTo>
                      <a:pt x="3448" y="2734"/>
                    </a:lnTo>
                    <a:lnTo>
                      <a:pt x="3448" y="2732"/>
                    </a:lnTo>
                    <a:lnTo>
                      <a:pt x="3446" y="2730"/>
                    </a:lnTo>
                    <a:lnTo>
                      <a:pt x="3444" y="2728"/>
                    </a:lnTo>
                    <a:lnTo>
                      <a:pt x="3444" y="2724"/>
                    </a:lnTo>
                    <a:lnTo>
                      <a:pt x="3450" y="2714"/>
                    </a:lnTo>
                    <a:lnTo>
                      <a:pt x="3450" y="2714"/>
                    </a:lnTo>
                    <a:lnTo>
                      <a:pt x="3464" y="2694"/>
                    </a:lnTo>
                    <a:lnTo>
                      <a:pt x="3474" y="2684"/>
                    </a:lnTo>
                    <a:lnTo>
                      <a:pt x="3474" y="2684"/>
                    </a:lnTo>
                    <a:lnTo>
                      <a:pt x="3478" y="2682"/>
                    </a:lnTo>
                    <a:lnTo>
                      <a:pt x="3480" y="2684"/>
                    </a:lnTo>
                    <a:lnTo>
                      <a:pt x="3482" y="2684"/>
                    </a:lnTo>
                    <a:lnTo>
                      <a:pt x="3488" y="2682"/>
                    </a:lnTo>
                    <a:lnTo>
                      <a:pt x="3488" y="2682"/>
                    </a:lnTo>
                    <a:lnTo>
                      <a:pt x="3488" y="2682"/>
                    </a:lnTo>
                    <a:lnTo>
                      <a:pt x="3492" y="2678"/>
                    </a:lnTo>
                    <a:lnTo>
                      <a:pt x="3492" y="2674"/>
                    </a:lnTo>
                    <a:lnTo>
                      <a:pt x="3492" y="2666"/>
                    </a:lnTo>
                    <a:lnTo>
                      <a:pt x="3492" y="2664"/>
                    </a:lnTo>
                    <a:lnTo>
                      <a:pt x="3498" y="2664"/>
                    </a:lnTo>
                    <a:lnTo>
                      <a:pt x="3498" y="2664"/>
                    </a:lnTo>
                    <a:lnTo>
                      <a:pt x="3506" y="2666"/>
                    </a:lnTo>
                    <a:lnTo>
                      <a:pt x="3510" y="2664"/>
                    </a:lnTo>
                    <a:lnTo>
                      <a:pt x="3514" y="2658"/>
                    </a:lnTo>
                    <a:lnTo>
                      <a:pt x="3518" y="2650"/>
                    </a:lnTo>
                    <a:lnTo>
                      <a:pt x="3518" y="2650"/>
                    </a:lnTo>
                    <a:lnTo>
                      <a:pt x="3524" y="2640"/>
                    </a:lnTo>
                    <a:lnTo>
                      <a:pt x="3524" y="2632"/>
                    </a:lnTo>
                    <a:lnTo>
                      <a:pt x="3526" y="2628"/>
                    </a:lnTo>
                    <a:lnTo>
                      <a:pt x="3528" y="2626"/>
                    </a:lnTo>
                    <a:lnTo>
                      <a:pt x="3532" y="2626"/>
                    </a:lnTo>
                    <a:lnTo>
                      <a:pt x="3532" y="2626"/>
                    </a:lnTo>
                    <a:lnTo>
                      <a:pt x="3536" y="2626"/>
                    </a:lnTo>
                    <a:lnTo>
                      <a:pt x="3536" y="2628"/>
                    </a:lnTo>
                    <a:lnTo>
                      <a:pt x="3536" y="2634"/>
                    </a:lnTo>
                    <a:lnTo>
                      <a:pt x="3534" y="2638"/>
                    </a:lnTo>
                    <a:lnTo>
                      <a:pt x="3536" y="2638"/>
                    </a:lnTo>
                    <a:lnTo>
                      <a:pt x="3538" y="2638"/>
                    </a:lnTo>
                    <a:lnTo>
                      <a:pt x="3542" y="2636"/>
                    </a:lnTo>
                    <a:lnTo>
                      <a:pt x="3542" y="2636"/>
                    </a:lnTo>
                    <a:lnTo>
                      <a:pt x="3548" y="2632"/>
                    </a:lnTo>
                    <a:lnTo>
                      <a:pt x="3550" y="2632"/>
                    </a:lnTo>
                    <a:lnTo>
                      <a:pt x="3552" y="2634"/>
                    </a:lnTo>
                    <a:lnTo>
                      <a:pt x="3552" y="2638"/>
                    </a:lnTo>
                    <a:lnTo>
                      <a:pt x="3552" y="2646"/>
                    </a:lnTo>
                    <a:lnTo>
                      <a:pt x="3554" y="2648"/>
                    </a:lnTo>
                    <a:lnTo>
                      <a:pt x="3556" y="2650"/>
                    </a:lnTo>
                    <a:lnTo>
                      <a:pt x="3556" y="2650"/>
                    </a:lnTo>
                    <a:lnTo>
                      <a:pt x="3570" y="2654"/>
                    </a:lnTo>
                    <a:lnTo>
                      <a:pt x="3580" y="2660"/>
                    </a:lnTo>
                    <a:lnTo>
                      <a:pt x="3580" y="2660"/>
                    </a:lnTo>
                    <a:lnTo>
                      <a:pt x="3584" y="2660"/>
                    </a:lnTo>
                    <a:lnTo>
                      <a:pt x="3590" y="2658"/>
                    </a:lnTo>
                    <a:lnTo>
                      <a:pt x="3598" y="2656"/>
                    </a:lnTo>
                    <a:lnTo>
                      <a:pt x="3608" y="2652"/>
                    </a:lnTo>
                    <a:lnTo>
                      <a:pt x="3608" y="2652"/>
                    </a:lnTo>
                    <a:lnTo>
                      <a:pt x="3616" y="2650"/>
                    </a:lnTo>
                    <a:lnTo>
                      <a:pt x="3622" y="2644"/>
                    </a:lnTo>
                    <a:lnTo>
                      <a:pt x="3632" y="2638"/>
                    </a:lnTo>
                    <a:lnTo>
                      <a:pt x="3648" y="2628"/>
                    </a:lnTo>
                    <a:lnTo>
                      <a:pt x="3648" y="2628"/>
                    </a:lnTo>
                    <a:lnTo>
                      <a:pt x="3658" y="2620"/>
                    </a:lnTo>
                    <a:lnTo>
                      <a:pt x="3666" y="2610"/>
                    </a:lnTo>
                    <a:lnTo>
                      <a:pt x="3686" y="2584"/>
                    </a:lnTo>
                    <a:lnTo>
                      <a:pt x="3712" y="2550"/>
                    </a:lnTo>
                    <a:lnTo>
                      <a:pt x="3728" y="2530"/>
                    </a:lnTo>
                    <a:lnTo>
                      <a:pt x="3748" y="2508"/>
                    </a:lnTo>
                    <a:lnTo>
                      <a:pt x="3748" y="2508"/>
                    </a:lnTo>
                    <a:lnTo>
                      <a:pt x="3768" y="2488"/>
                    </a:lnTo>
                    <a:lnTo>
                      <a:pt x="3780" y="2468"/>
                    </a:lnTo>
                    <a:lnTo>
                      <a:pt x="3790" y="2454"/>
                    </a:lnTo>
                    <a:lnTo>
                      <a:pt x="3796" y="2440"/>
                    </a:lnTo>
                    <a:lnTo>
                      <a:pt x="3804" y="2418"/>
                    </a:lnTo>
                    <a:lnTo>
                      <a:pt x="3808" y="2408"/>
                    </a:lnTo>
                    <a:lnTo>
                      <a:pt x="3816" y="2400"/>
                    </a:lnTo>
                    <a:lnTo>
                      <a:pt x="3816" y="2400"/>
                    </a:lnTo>
                    <a:lnTo>
                      <a:pt x="3824" y="2394"/>
                    </a:lnTo>
                    <a:lnTo>
                      <a:pt x="3828" y="2388"/>
                    </a:lnTo>
                    <a:lnTo>
                      <a:pt x="3832" y="2378"/>
                    </a:lnTo>
                    <a:lnTo>
                      <a:pt x="3834" y="2372"/>
                    </a:lnTo>
                    <a:lnTo>
                      <a:pt x="3838" y="2366"/>
                    </a:lnTo>
                    <a:lnTo>
                      <a:pt x="3844" y="2358"/>
                    </a:lnTo>
                    <a:lnTo>
                      <a:pt x="3854" y="2346"/>
                    </a:lnTo>
                    <a:lnTo>
                      <a:pt x="3854" y="2346"/>
                    </a:lnTo>
                    <a:lnTo>
                      <a:pt x="3860" y="2340"/>
                    </a:lnTo>
                    <a:lnTo>
                      <a:pt x="3866" y="2334"/>
                    </a:lnTo>
                    <a:lnTo>
                      <a:pt x="3874" y="2316"/>
                    </a:lnTo>
                    <a:lnTo>
                      <a:pt x="3880" y="2296"/>
                    </a:lnTo>
                    <a:lnTo>
                      <a:pt x="3882" y="2276"/>
                    </a:lnTo>
                    <a:lnTo>
                      <a:pt x="3884" y="2256"/>
                    </a:lnTo>
                    <a:lnTo>
                      <a:pt x="3884" y="2238"/>
                    </a:lnTo>
                    <a:lnTo>
                      <a:pt x="3882" y="2224"/>
                    </a:lnTo>
                    <a:lnTo>
                      <a:pt x="3880" y="2212"/>
                    </a:lnTo>
                    <a:lnTo>
                      <a:pt x="3880" y="2212"/>
                    </a:lnTo>
                    <a:lnTo>
                      <a:pt x="3878" y="2204"/>
                    </a:lnTo>
                    <a:lnTo>
                      <a:pt x="3878" y="2198"/>
                    </a:lnTo>
                    <a:lnTo>
                      <a:pt x="3880" y="2192"/>
                    </a:lnTo>
                    <a:lnTo>
                      <a:pt x="3882" y="2188"/>
                    </a:lnTo>
                    <a:lnTo>
                      <a:pt x="3888" y="2178"/>
                    </a:lnTo>
                    <a:lnTo>
                      <a:pt x="3892" y="2170"/>
                    </a:lnTo>
                    <a:lnTo>
                      <a:pt x="3896" y="2160"/>
                    </a:lnTo>
                    <a:lnTo>
                      <a:pt x="3896" y="2160"/>
                    </a:lnTo>
                    <a:lnTo>
                      <a:pt x="3898" y="2150"/>
                    </a:lnTo>
                    <a:lnTo>
                      <a:pt x="3904" y="2142"/>
                    </a:lnTo>
                    <a:lnTo>
                      <a:pt x="3914" y="2128"/>
                    </a:lnTo>
                    <a:lnTo>
                      <a:pt x="3920" y="2122"/>
                    </a:lnTo>
                    <a:lnTo>
                      <a:pt x="3922" y="2116"/>
                    </a:lnTo>
                    <a:lnTo>
                      <a:pt x="3920" y="2110"/>
                    </a:lnTo>
                    <a:lnTo>
                      <a:pt x="3916" y="2104"/>
                    </a:lnTo>
                    <a:lnTo>
                      <a:pt x="3916" y="2104"/>
                    </a:lnTo>
                    <a:lnTo>
                      <a:pt x="3910" y="2098"/>
                    </a:lnTo>
                    <a:lnTo>
                      <a:pt x="3908" y="2094"/>
                    </a:lnTo>
                    <a:lnTo>
                      <a:pt x="3908" y="2090"/>
                    </a:lnTo>
                    <a:lnTo>
                      <a:pt x="3910" y="2086"/>
                    </a:lnTo>
                    <a:lnTo>
                      <a:pt x="3910" y="2078"/>
                    </a:lnTo>
                    <a:lnTo>
                      <a:pt x="3910" y="2072"/>
                    </a:lnTo>
                    <a:lnTo>
                      <a:pt x="3906" y="2066"/>
                    </a:lnTo>
                    <a:lnTo>
                      <a:pt x="3906" y="2066"/>
                    </a:lnTo>
                    <a:lnTo>
                      <a:pt x="3904" y="2062"/>
                    </a:lnTo>
                    <a:lnTo>
                      <a:pt x="3906" y="2058"/>
                    </a:lnTo>
                    <a:lnTo>
                      <a:pt x="3914" y="2052"/>
                    </a:lnTo>
                    <a:lnTo>
                      <a:pt x="3918" y="2050"/>
                    </a:lnTo>
                    <a:lnTo>
                      <a:pt x="3920" y="2046"/>
                    </a:lnTo>
                    <a:lnTo>
                      <a:pt x="3918" y="2042"/>
                    </a:lnTo>
                    <a:lnTo>
                      <a:pt x="3910" y="2034"/>
                    </a:lnTo>
                    <a:lnTo>
                      <a:pt x="3910" y="2034"/>
                    </a:lnTo>
                    <a:lnTo>
                      <a:pt x="3892" y="2020"/>
                    </a:lnTo>
                    <a:lnTo>
                      <a:pt x="3880" y="2010"/>
                    </a:lnTo>
                    <a:lnTo>
                      <a:pt x="3864" y="1990"/>
                    </a:lnTo>
                    <a:lnTo>
                      <a:pt x="3864" y="1990"/>
                    </a:lnTo>
                    <a:lnTo>
                      <a:pt x="3858" y="1986"/>
                    </a:lnTo>
                    <a:lnTo>
                      <a:pt x="3854" y="1984"/>
                    </a:lnTo>
                    <a:lnTo>
                      <a:pt x="3842" y="1984"/>
                    </a:lnTo>
                    <a:lnTo>
                      <a:pt x="3832" y="1986"/>
                    </a:lnTo>
                    <a:lnTo>
                      <a:pt x="3826" y="1986"/>
                    </a:lnTo>
                    <a:lnTo>
                      <a:pt x="3820" y="1984"/>
                    </a:lnTo>
                    <a:lnTo>
                      <a:pt x="3820" y="1984"/>
                    </a:lnTo>
                    <a:lnTo>
                      <a:pt x="3814" y="1982"/>
                    </a:lnTo>
                    <a:lnTo>
                      <a:pt x="3812" y="1984"/>
                    </a:lnTo>
                    <a:lnTo>
                      <a:pt x="3808" y="1996"/>
                    </a:lnTo>
                    <a:lnTo>
                      <a:pt x="3804" y="2004"/>
                    </a:lnTo>
                    <a:lnTo>
                      <a:pt x="3800" y="2012"/>
                    </a:lnTo>
                    <a:lnTo>
                      <a:pt x="3792" y="2018"/>
                    </a:lnTo>
                    <a:lnTo>
                      <a:pt x="3780" y="2024"/>
                    </a:lnTo>
                    <a:lnTo>
                      <a:pt x="3780" y="2024"/>
                    </a:lnTo>
                    <a:lnTo>
                      <a:pt x="3772" y="2026"/>
                    </a:lnTo>
                    <a:lnTo>
                      <a:pt x="3766" y="2026"/>
                    </a:lnTo>
                    <a:lnTo>
                      <a:pt x="3764" y="2024"/>
                    </a:lnTo>
                    <a:lnTo>
                      <a:pt x="3762" y="2022"/>
                    </a:lnTo>
                    <a:lnTo>
                      <a:pt x="3760" y="2018"/>
                    </a:lnTo>
                    <a:lnTo>
                      <a:pt x="3762" y="2014"/>
                    </a:lnTo>
                    <a:lnTo>
                      <a:pt x="3764" y="2002"/>
                    </a:lnTo>
                    <a:lnTo>
                      <a:pt x="3768" y="1992"/>
                    </a:lnTo>
                    <a:lnTo>
                      <a:pt x="3772" y="1984"/>
                    </a:lnTo>
                    <a:lnTo>
                      <a:pt x="3770" y="1982"/>
                    </a:lnTo>
                    <a:lnTo>
                      <a:pt x="3768" y="1980"/>
                    </a:lnTo>
                    <a:lnTo>
                      <a:pt x="3766" y="1980"/>
                    </a:lnTo>
                    <a:lnTo>
                      <a:pt x="3760" y="1982"/>
                    </a:lnTo>
                    <a:lnTo>
                      <a:pt x="3760" y="1982"/>
                    </a:lnTo>
                    <a:lnTo>
                      <a:pt x="3750" y="1986"/>
                    </a:lnTo>
                    <a:lnTo>
                      <a:pt x="3746" y="1992"/>
                    </a:lnTo>
                    <a:lnTo>
                      <a:pt x="3746" y="1996"/>
                    </a:lnTo>
                    <a:lnTo>
                      <a:pt x="3748" y="2000"/>
                    </a:lnTo>
                    <a:lnTo>
                      <a:pt x="3750" y="2002"/>
                    </a:lnTo>
                    <a:lnTo>
                      <a:pt x="3750" y="2004"/>
                    </a:lnTo>
                    <a:lnTo>
                      <a:pt x="3746" y="2008"/>
                    </a:lnTo>
                    <a:lnTo>
                      <a:pt x="3738" y="2008"/>
                    </a:lnTo>
                    <a:lnTo>
                      <a:pt x="3738" y="2008"/>
                    </a:lnTo>
                    <a:lnTo>
                      <a:pt x="3732" y="2008"/>
                    </a:lnTo>
                    <a:lnTo>
                      <a:pt x="3730" y="2008"/>
                    </a:lnTo>
                    <a:lnTo>
                      <a:pt x="3728" y="2006"/>
                    </a:lnTo>
                    <a:lnTo>
                      <a:pt x="3728" y="2002"/>
                    </a:lnTo>
                    <a:lnTo>
                      <a:pt x="3730" y="1994"/>
                    </a:lnTo>
                    <a:lnTo>
                      <a:pt x="3734" y="1986"/>
                    </a:lnTo>
                    <a:lnTo>
                      <a:pt x="3736" y="1976"/>
                    </a:lnTo>
                    <a:lnTo>
                      <a:pt x="3736" y="1972"/>
                    </a:lnTo>
                    <a:lnTo>
                      <a:pt x="3734" y="1968"/>
                    </a:lnTo>
                    <a:lnTo>
                      <a:pt x="3732" y="1966"/>
                    </a:lnTo>
                    <a:lnTo>
                      <a:pt x="3728" y="1962"/>
                    </a:lnTo>
                    <a:lnTo>
                      <a:pt x="3722" y="1962"/>
                    </a:lnTo>
                    <a:lnTo>
                      <a:pt x="3714" y="1960"/>
                    </a:lnTo>
                    <a:lnTo>
                      <a:pt x="3714" y="1960"/>
                    </a:lnTo>
                    <a:lnTo>
                      <a:pt x="3696" y="1962"/>
                    </a:lnTo>
                    <a:lnTo>
                      <a:pt x="3682" y="1960"/>
                    </a:lnTo>
                    <a:lnTo>
                      <a:pt x="3672" y="1958"/>
                    </a:lnTo>
                    <a:lnTo>
                      <a:pt x="3666" y="1954"/>
                    </a:lnTo>
                    <a:lnTo>
                      <a:pt x="3666" y="1950"/>
                    </a:lnTo>
                    <a:lnTo>
                      <a:pt x="3666" y="1948"/>
                    </a:lnTo>
                    <a:lnTo>
                      <a:pt x="3674" y="1938"/>
                    </a:lnTo>
                    <a:lnTo>
                      <a:pt x="3686" y="1928"/>
                    </a:lnTo>
                    <a:lnTo>
                      <a:pt x="3706" y="1912"/>
                    </a:lnTo>
                    <a:lnTo>
                      <a:pt x="3706" y="1912"/>
                    </a:lnTo>
                    <a:lnTo>
                      <a:pt x="3746" y="1886"/>
                    </a:lnTo>
                    <a:lnTo>
                      <a:pt x="3768" y="1868"/>
                    </a:lnTo>
                    <a:lnTo>
                      <a:pt x="3776" y="1862"/>
                    </a:lnTo>
                    <a:lnTo>
                      <a:pt x="3782" y="1852"/>
                    </a:lnTo>
                    <a:lnTo>
                      <a:pt x="3788" y="1844"/>
                    </a:lnTo>
                    <a:lnTo>
                      <a:pt x="3794" y="1832"/>
                    </a:lnTo>
                    <a:lnTo>
                      <a:pt x="3794" y="1832"/>
                    </a:lnTo>
                    <a:lnTo>
                      <a:pt x="3802" y="1818"/>
                    </a:lnTo>
                    <a:lnTo>
                      <a:pt x="3812" y="1808"/>
                    </a:lnTo>
                    <a:lnTo>
                      <a:pt x="3824" y="1800"/>
                    </a:lnTo>
                    <a:lnTo>
                      <a:pt x="3838" y="1790"/>
                    </a:lnTo>
                    <a:lnTo>
                      <a:pt x="3852" y="1782"/>
                    </a:lnTo>
                    <a:lnTo>
                      <a:pt x="3866" y="1772"/>
                    </a:lnTo>
                    <a:lnTo>
                      <a:pt x="3878" y="1760"/>
                    </a:lnTo>
                    <a:lnTo>
                      <a:pt x="3882" y="1752"/>
                    </a:lnTo>
                    <a:lnTo>
                      <a:pt x="3886" y="1746"/>
                    </a:lnTo>
                    <a:lnTo>
                      <a:pt x="3886" y="1746"/>
                    </a:lnTo>
                    <a:lnTo>
                      <a:pt x="3894" y="1728"/>
                    </a:lnTo>
                    <a:lnTo>
                      <a:pt x="3908" y="1712"/>
                    </a:lnTo>
                    <a:lnTo>
                      <a:pt x="3926" y="1696"/>
                    </a:lnTo>
                    <a:lnTo>
                      <a:pt x="3944" y="1682"/>
                    </a:lnTo>
                    <a:lnTo>
                      <a:pt x="3966" y="1672"/>
                    </a:lnTo>
                    <a:lnTo>
                      <a:pt x="3986" y="1664"/>
                    </a:lnTo>
                    <a:lnTo>
                      <a:pt x="4006" y="1660"/>
                    </a:lnTo>
                    <a:lnTo>
                      <a:pt x="4014" y="1660"/>
                    </a:lnTo>
                    <a:lnTo>
                      <a:pt x="4022" y="1662"/>
                    </a:lnTo>
                    <a:lnTo>
                      <a:pt x="4022" y="1662"/>
                    </a:lnTo>
                    <a:lnTo>
                      <a:pt x="4036" y="1664"/>
                    </a:lnTo>
                    <a:lnTo>
                      <a:pt x="4048" y="1666"/>
                    </a:lnTo>
                    <a:lnTo>
                      <a:pt x="4068" y="1664"/>
                    </a:lnTo>
                    <a:lnTo>
                      <a:pt x="4082" y="1664"/>
                    </a:lnTo>
                    <a:lnTo>
                      <a:pt x="4090" y="1666"/>
                    </a:lnTo>
                    <a:lnTo>
                      <a:pt x="4098" y="1670"/>
                    </a:lnTo>
                    <a:lnTo>
                      <a:pt x="4098" y="1670"/>
                    </a:lnTo>
                    <a:lnTo>
                      <a:pt x="4104" y="1672"/>
                    </a:lnTo>
                    <a:lnTo>
                      <a:pt x="4108" y="1672"/>
                    </a:lnTo>
                    <a:lnTo>
                      <a:pt x="4110" y="1670"/>
                    </a:lnTo>
                    <a:lnTo>
                      <a:pt x="4112" y="1666"/>
                    </a:lnTo>
                    <a:lnTo>
                      <a:pt x="4116" y="1662"/>
                    </a:lnTo>
                    <a:lnTo>
                      <a:pt x="4124" y="1660"/>
                    </a:lnTo>
                    <a:lnTo>
                      <a:pt x="4136" y="1658"/>
                    </a:lnTo>
                    <a:lnTo>
                      <a:pt x="4154" y="1660"/>
                    </a:lnTo>
                    <a:lnTo>
                      <a:pt x="4154" y="1660"/>
                    </a:lnTo>
                    <a:lnTo>
                      <a:pt x="4188" y="1668"/>
                    </a:lnTo>
                    <a:lnTo>
                      <a:pt x="4200" y="1670"/>
                    </a:lnTo>
                    <a:lnTo>
                      <a:pt x="4208" y="1670"/>
                    </a:lnTo>
                    <a:lnTo>
                      <a:pt x="4214" y="1670"/>
                    </a:lnTo>
                    <a:lnTo>
                      <a:pt x="4220" y="1666"/>
                    </a:lnTo>
                    <a:lnTo>
                      <a:pt x="4224" y="1658"/>
                    </a:lnTo>
                    <a:lnTo>
                      <a:pt x="4228" y="1648"/>
                    </a:lnTo>
                    <a:lnTo>
                      <a:pt x="4228" y="1648"/>
                    </a:lnTo>
                    <a:lnTo>
                      <a:pt x="4230" y="1646"/>
                    </a:lnTo>
                    <a:lnTo>
                      <a:pt x="4236" y="1644"/>
                    </a:lnTo>
                    <a:lnTo>
                      <a:pt x="4250" y="1642"/>
                    </a:lnTo>
                    <a:lnTo>
                      <a:pt x="4272" y="1642"/>
                    </a:lnTo>
                    <a:lnTo>
                      <a:pt x="4294" y="1644"/>
                    </a:lnTo>
                    <a:lnTo>
                      <a:pt x="4314" y="1648"/>
                    </a:lnTo>
                    <a:lnTo>
                      <a:pt x="4322" y="1652"/>
                    </a:lnTo>
                    <a:lnTo>
                      <a:pt x="4328" y="1656"/>
                    </a:lnTo>
                    <a:lnTo>
                      <a:pt x="4330" y="1660"/>
                    </a:lnTo>
                    <a:lnTo>
                      <a:pt x="4330" y="1664"/>
                    </a:lnTo>
                    <a:lnTo>
                      <a:pt x="4328" y="1670"/>
                    </a:lnTo>
                    <a:lnTo>
                      <a:pt x="4320" y="1676"/>
                    </a:lnTo>
                    <a:lnTo>
                      <a:pt x="4320" y="1676"/>
                    </a:lnTo>
                    <a:lnTo>
                      <a:pt x="4314" y="1682"/>
                    </a:lnTo>
                    <a:lnTo>
                      <a:pt x="4312" y="1686"/>
                    </a:lnTo>
                    <a:lnTo>
                      <a:pt x="4312" y="1688"/>
                    </a:lnTo>
                    <a:lnTo>
                      <a:pt x="4314" y="1690"/>
                    </a:lnTo>
                    <a:lnTo>
                      <a:pt x="4324" y="1692"/>
                    </a:lnTo>
                    <a:lnTo>
                      <a:pt x="4340" y="1690"/>
                    </a:lnTo>
                    <a:lnTo>
                      <a:pt x="4358" y="1688"/>
                    </a:lnTo>
                    <a:lnTo>
                      <a:pt x="4374" y="1684"/>
                    </a:lnTo>
                    <a:lnTo>
                      <a:pt x="4386" y="1680"/>
                    </a:lnTo>
                    <a:lnTo>
                      <a:pt x="4394" y="1676"/>
                    </a:lnTo>
                    <a:lnTo>
                      <a:pt x="4394" y="1676"/>
                    </a:lnTo>
                    <a:lnTo>
                      <a:pt x="4398" y="1670"/>
                    </a:lnTo>
                    <a:lnTo>
                      <a:pt x="4404" y="1670"/>
                    </a:lnTo>
                    <a:lnTo>
                      <a:pt x="4410" y="1674"/>
                    </a:lnTo>
                    <a:lnTo>
                      <a:pt x="4418" y="1678"/>
                    </a:lnTo>
                    <a:lnTo>
                      <a:pt x="4426" y="1682"/>
                    </a:lnTo>
                    <a:lnTo>
                      <a:pt x="4436" y="1684"/>
                    </a:lnTo>
                    <a:lnTo>
                      <a:pt x="4448" y="1682"/>
                    </a:lnTo>
                    <a:lnTo>
                      <a:pt x="4454" y="1680"/>
                    </a:lnTo>
                    <a:lnTo>
                      <a:pt x="4462" y="1676"/>
                    </a:lnTo>
                    <a:lnTo>
                      <a:pt x="4462" y="1676"/>
                    </a:lnTo>
                    <a:lnTo>
                      <a:pt x="4466" y="1672"/>
                    </a:lnTo>
                    <a:lnTo>
                      <a:pt x="4468" y="1668"/>
                    </a:lnTo>
                    <a:lnTo>
                      <a:pt x="4468" y="1664"/>
                    </a:lnTo>
                    <a:lnTo>
                      <a:pt x="4466" y="1660"/>
                    </a:lnTo>
                    <a:lnTo>
                      <a:pt x="4458" y="1652"/>
                    </a:lnTo>
                    <a:lnTo>
                      <a:pt x="4448" y="1646"/>
                    </a:lnTo>
                    <a:lnTo>
                      <a:pt x="4442" y="1642"/>
                    </a:lnTo>
                    <a:lnTo>
                      <a:pt x="4440" y="1636"/>
                    </a:lnTo>
                    <a:lnTo>
                      <a:pt x="4438" y="1632"/>
                    </a:lnTo>
                    <a:lnTo>
                      <a:pt x="4438" y="1626"/>
                    </a:lnTo>
                    <a:lnTo>
                      <a:pt x="4440" y="1618"/>
                    </a:lnTo>
                    <a:lnTo>
                      <a:pt x="4446" y="1612"/>
                    </a:lnTo>
                    <a:lnTo>
                      <a:pt x="4456" y="1602"/>
                    </a:lnTo>
                    <a:lnTo>
                      <a:pt x="4468" y="1592"/>
                    </a:lnTo>
                    <a:lnTo>
                      <a:pt x="4468" y="1592"/>
                    </a:lnTo>
                    <a:lnTo>
                      <a:pt x="4496" y="1572"/>
                    </a:lnTo>
                    <a:lnTo>
                      <a:pt x="4514" y="1556"/>
                    </a:lnTo>
                    <a:lnTo>
                      <a:pt x="4536" y="1530"/>
                    </a:lnTo>
                    <a:lnTo>
                      <a:pt x="4546" y="1522"/>
                    </a:lnTo>
                    <a:lnTo>
                      <a:pt x="4562" y="1514"/>
                    </a:lnTo>
                    <a:lnTo>
                      <a:pt x="4584" y="1508"/>
                    </a:lnTo>
                    <a:lnTo>
                      <a:pt x="4616" y="1502"/>
                    </a:lnTo>
                    <a:lnTo>
                      <a:pt x="4616" y="1502"/>
                    </a:lnTo>
                    <a:lnTo>
                      <a:pt x="4630" y="1502"/>
                    </a:lnTo>
                    <a:lnTo>
                      <a:pt x="4642" y="1504"/>
                    </a:lnTo>
                    <a:lnTo>
                      <a:pt x="4650" y="1508"/>
                    </a:lnTo>
                    <a:lnTo>
                      <a:pt x="4656" y="1514"/>
                    </a:lnTo>
                    <a:lnTo>
                      <a:pt x="4660" y="1520"/>
                    </a:lnTo>
                    <a:lnTo>
                      <a:pt x="4664" y="1528"/>
                    </a:lnTo>
                    <a:lnTo>
                      <a:pt x="4664" y="1546"/>
                    </a:lnTo>
                    <a:lnTo>
                      <a:pt x="4666" y="1562"/>
                    </a:lnTo>
                    <a:lnTo>
                      <a:pt x="4666" y="1568"/>
                    </a:lnTo>
                    <a:lnTo>
                      <a:pt x="4668" y="1574"/>
                    </a:lnTo>
                    <a:lnTo>
                      <a:pt x="4672" y="1578"/>
                    </a:lnTo>
                    <a:lnTo>
                      <a:pt x="4676" y="1580"/>
                    </a:lnTo>
                    <a:lnTo>
                      <a:pt x="4684" y="1578"/>
                    </a:lnTo>
                    <a:lnTo>
                      <a:pt x="4694" y="1574"/>
                    </a:lnTo>
                    <a:lnTo>
                      <a:pt x="4694" y="1574"/>
                    </a:lnTo>
                    <a:lnTo>
                      <a:pt x="4714" y="1562"/>
                    </a:lnTo>
                    <a:lnTo>
                      <a:pt x="4728" y="1550"/>
                    </a:lnTo>
                    <a:lnTo>
                      <a:pt x="4738" y="1540"/>
                    </a:lnTo>
                    <a:lnTo>
                      <a:pt x="4746" y="1530"/>
                    </a:lnTo>
                    <a:lnTo>
                      <a:pt x="4752" y="1524"/>
                    </a:lnTo>
                    <a:lnTo>
                      <a:pt x="4758" y="1520"/>
                    </a:lnTo>
                    <a:lnTo>
                      <a:pt x="4766" y="1518"/>
                    </a:lnTo>
                    <a:lnTo>
                      <a:pt x="4778" y="1520"/>
                    </a:lnTo>
                    <a:lnTo>
                      <a:pt x="4778" y="1520"/>
                    </a:lnTo>
                    <a:lnTo>
                      <a:pt x="4784" y="1522"/>
                    </a:lnTo>
                    <a:lnTo>
                      <a:pt x="4788" y="1520"/>
                    </a:lnTo>
                    <a:lnTo>
                      <a:pt x="4790" y="1518"/>
                    </a:lnTo>
                    <a:lnTo>
                      <a:pt x="4792" y="1514"/>
                    </a:lnTo>
                    <a:lnTo>
                      <a:pt x="4790" y="1502"/>
                    </a:lnTo>
                    <a:lnTo>
                      <a:pt x="4788" y="1486"/>
                    </a:lnTo>
                    <a:lnTo>
                      <a:pt x="4788" y="1472"/>
                    </a:lnTo>
                    <a:lnTo>
                      <a:pt x="4790" y="1464"/>
                    </a:lnTo>
                    <a:lnTo>
                      <a:pt x="4792" y="1458"/>
                    </a:lnTo>
                    <a:lnTo>
                      <a:pt x="4796" y="1452"/>
                    </a:lnTo>
                    <a:lnTo>
                      <a:pt x="4802" y="1448"/>
                    </a:lnTo>
                    <a:lnTo>
                      <a:pt x="4812" y="1446"/>
                    </a:lnTo>
                    <a:lnTo>
                      <a:pt x="4824" y="1446"/>
                    </a:lnTo>
                    <a:lnTo>
                      <a:pt x="4824" y="1446"/>
                    </a:lnTo>
                    <a:lnTo>
                      <a:pt x="4854" y="1446"/>
                    </a:lnTo>
                    <a:lnTo>
                      <a:pt x="4856" y="1448"/>
                    </a:lnTo>
                    <a:lnTo>
                      <a:pt x="4858" y="1448"/>
                    </a:lnTo>
                    <a:lnTo>
                      <a:pt x="4854" y="1452"/>
                    </a:lnTo>
                    <a:lnTo>
                      <a:pt x="4848" y="1460"/>
                    </a:lnTo>
                    <a:lnTo>
                      <a:pt x="4838" y="1472"/>
                    </a:lnTo>
                    <a:lnTo>
                      <a:pt x="4830" y="1490"/>
                    </a:lnTo>
                    <a:lnTo>
                      <a:pt x="4828" y="1500"/>
                    </a:lnTo>
                    <a:lnTo>
                      <a:pt x="4824" y="1512"/>
                    </a:lnTo>
                    <a:lnTo>
                      <a:pt x="4824" y="1512"/>
                    </a:lnTo>
                    <a:lnTo>
                      <a:pt x="4822" y="1526"/>
                    </a:lnTo>
                    <a:lnTo>
                      <a:pt x="4818" y="1536"/>
                    </a:lnTo>
                    <a:lnTo>
                      <a:pt x="4814" y="1544"/>
                    </a:lnTo>
                    <a:lnTo>
                      <a:pt x="4810" y="1552"/>
                    </a:lnTo>
                    <a:lnTo>
                      <a:pt x="4798" y="1564"/>
                    </a:lnTo>
                    <a:lnTo>
                      <a:pt x="4784" y="1572"/>
                    </a:lnTo>
                    <a:lnTo>
                      <a:pt x="4766" y="1582"/>
                    </a:lnTo>
                    <a:lnTo>
                      <a:pt x="4748" y="1594"/>
                    </a:lnTo>
                    <a:lnTo>
                      <a:pt x="4726" y="1612"/>
                    </a:lnTo>
                    <a:lnTo>
                      <a:pt x="4716" y="1622"/>
                    </a:lnTo>
                    <a:lnTo>
                      <a:pt x="4704" y="1636"/>
                    </a:lnTo>
                    <a:lnTo>
                      <a:pt x="4704" y="1636"/>
                    </a:lnTo>
                    <a:lnTo>
                      <a:pt x="4664" y="1686"/>
                    </a:lnTo>
                    <a:lnTo>
                      <a:pt x="4646" y="1706"/>
                    </a:lnTo>
                    <a:lnTo>
                      <a:pt x="4630" y="1722"/>
                    </a:lnTo>
                    <a:lnTo>
                      <a:pt x="4614" y="1734"/>
                    </a:lnTo>
                    <a:lnTo>
                      <a:pt x="4600" y="1744"/>
                    </a:lnTo>
                    <a:lnTo>
                      <a:pt x="4584" y="1752"/>
                    </a:lnTo>
                    <a:lnTo>
                      <a:pt x="4568" y="1756"/>
                    </a:lnTo>
                    <a:lnTo>
                      <a:pt x="4568" y="1756"/>
                    </a:lnTo>
                    <a:lnTo>
                      <a:pt x="4554" y="1760"/>
                    </a:lnTo>
                    <a:lnTo>
                      <a:pt x="4546" y="1764"/>
                    </a:lnTo>
                    <a:lnTo>
                      <a:pt x="4544" y="1770"/>
                    </a:lnTo>
                    <a:lnTo>
                      <a:pt x="4542" y="1776"/>
                    </a:lnTo>
                    <a:lnTo>
                      <a:pt x="4542" y="1784"/>
                    </a:lnTo>
                    <a:lnTo>
                      <a:pt x="4540" y="1792"/>
                    </a:lnTo>
                    <a:lnTo>
                      <a:pt x="4532" y="1802"/>
                    </a:lnTo>
                    <a:lnTo>
                      <a:pt x="4520" y="1812"/>
                    </a:lnTo>
                    <a:lnTo>
                      <a:pt x="4520" y="1812"/>
                    </a:lnTo>
                    <a:lnTo>
                      <a:pt x="4514" y="1820"/>
                    </a:lnTo>
                    <a:lnTo>
                      <a:pt x="4508" y="1828"/>
                    </a:lnTo>
                    <a:lnTo>
                      <a:pt x="4502" y="1840"/>
                    </a:lnTo>
                    <a:lnTo>
                      <a:pt x="4498" y="1854"/>
                    </a:lnTo>
                    <a:lnTo>
                      <a:pt x="4496" y="1868"/>
                    </a:lnTo>
                    <a:lnTo>
                      <a:pt x="4494" y="1886"/>
                    </a:lnTo>
                    <a:lnTo>
                      <a:pt x="4494" y="1922"/>
                    </a:lnTo>
                    <a:lnTo>
                      <a:pt x="4496" y="1962"/>
                    </a:lnTo>
                    <a:lnTo>
                      <a:pt x="4502" y="2006"/>
                    </a:lnTo>
                    <a:lnTo>
                      <a:pt x="4508" y="2050"/>
                    </a:lnTo>
                    <a:lnTo>
                      <a:pt x="4518" y="2092"/>
                    </a:lnTo>
                    <a:lnTo>
                      <a:pt x="4518" y="2092"/>
                    </a:lnTo>
                    <a:lnTo>
                      <a:pt x="4520" y="2110"/>
                    </a:lnTo>
                    <a:lnTo>
                      <a:pt x="4522" y="2132"/>
                    </a:lnTo>
                    <a:lnTo>
                      <a:pt x="4526" y="2152"/>
                    </a:lnTo>
                    <a:lnTo>
                      <a:pt x="4530" y="2168"/>
                    </a:lnTo>
                    <a:lnTo>
                      <a:pt x="4532" y="2172"/>
                    </a:lnTo>
                    <a:lnTo>
                      <a:pt x="4536" y="2176"/>
                    </a:lnTo>
                    <a:lnTo>
                      <a:pt x="4542" y="2178"/>
                    </a:lnTo>
                    <a:lnTo>
                      <a:pt x="4548" y="2176"/>
                    </a:lnTo>
                    <a:lnTo>
                      <a:pt x="4556" y="2172"/>
                    </a:lnTo>
                    <a:lnTo>
                      <a:pt x="4564" y="2164"/>
                    </a:lnTo>
                    <a:lnTo>
                      <a:pt x="4574" y="2152"/>
                    </a:lnTo>
                    <a:lnTo>
                      <a:pt x="4588" y="2136"/>
                    </a:lnTo>
                    <a:lnTo>
                      <a:pt x="4588" y="2136"/>
                    </a:lnTo>
                    <a:lnTo>
                      <a:pt x="4594" y="2124"/>
                    </a:lnTo>
                    <a:lnTo>
                      <a:pt x="4600" y="2114"/>
                    </a:lnTo>
                    <a:lnTo>
                      <a:pt x="4608" y="2094"/>
                    </a:lnTo>
                    <a:lnTo>
                      <a:pt x="4610" y="2080"/>
                    </a:lnTo>
                    <a:lnTo>
                      <a:pt x="4612" y="2068"/>
                    </a:lnTo>
                    <a:lnTo>
                      <a:pt x="4612" y="2060"/>
                    </a:lnTo>
                    <a:lnTo>
                      <a:pt x="4614" y="2056"/>
                    </a:lnTo>
                    <a:lnTo>
                      <a:pt x="4618" y="2054"/>
                    </a:lnTo>
                    <a:lnTo>
                      <a:pt x="4626" y="2050"/>
                    </a:lnTo>
                    <a:lnTo>
                      <a:pt x="4644" y="2050"/>
                    </a:lnTo>
                    <a:lnTo>
                      <a:pt x="4644" y="2050"/>
                    </a:lnTo>
                    <a:lnTo>
                      <a:pt x="4654" y="2048"/>
                    </a:lnTo>
                    <a:lnTo>
                      <a:pt x="4660" y="2046"/>
                    </a:lnTo>
                    <a:lnTo>
                      <a:pt x="4664" y="2042"/>
                    </a:lnTo>
                    <a:lnTo>
                      <a:pt x="4668" y="2038"/>
                    </a:lnTo>
                    <a:lnTo>
                      <a:pt x="4670" y="2024"/>
                    </a:lnTo>
                    <a:lnTo>
                      <a:pt x="4670" y="2010"/>
                    </a:lnTo>
                    <a:lnTo>
                      <a:pt x="4670" y="1996"/>
                    </a:lnTo>
                    <a:lnTo>
                      <a:pt x="4672" y="1988"/>
                    </a:lnTo>
                    <a:lnTo>
                      <a:pt x="4676" y="1982"/>
                    </a:lnTo>
                    <a:lnTo>
                      <a:pt x="4680" y="1976"/>
                    </a:lnTo>
                    <a:lnTo>
                      <a:pt x="4686" y="1972"/>
                    </a:lnTo>
                    <a:lnTo>
                      <a:pt x="4694" y="1968"/>
                    </a:lnTo>
                    <a:lnTo>
                      <a:pt x="4704" y="1968"/>
                    </a:lnTo>
                    <a:lnTo>
                      <a:pt x="4704" y="1968"/>
                    </a:lnTo>
                    <a:lnTo>
                      <a:pt x="4730" y="1964"/>
                    </a:lnTo>
                    <a:lnTo>
                      <a:pt x="4740" y="1960"/>
                    </a:lnTo>
                    <a:lnTo>
                      <a:pt x="4744" y="1956"/>
                    </a:lnTo>
                    <a:lnTo>
                      <a:pt x="4748" y="1952"/>
                    </a:lnTo>
                    <a:lnTo>
                      <a:pt x="4750" y="1948"/>
                    </a:lnTo>
                    <a:lnTo>
                      <a:pt x="4750" y="1944"/>
                    </a:lnTo>
                    <a:lnTo>
                      <a:pt x="4748" y="1938"/>
                    </a:lnTo>
                    <a:lnTo>
                      <a:pt x="4744" y="1926"/>
                    </a:lnTo>
                    <a:lnTo>
                      <a:pt x="4740" y="1912"/>
                    </a:lnTo>
                    <a:lnTo>
                      <a:pt x="4738" y="1904"/>
                    </a:lnTo>
                    <a:lnTo>
                      <a:pt x="4738" y="1896"/>
                    </a:lnTo>
                    <a:lnTo>
                      <a:pt x="4740" y="1888"/>
                    </a:lnTo>
                    <a:lnTo>
                      <a:pt x="4744" y="1880"/>
                    </a:lnTo>
                    <a:lnTo>
                      <a:pt x="4744" y="1880"/>
                    </a:lnTo>
                    <a:lnTo>
                      <a:pt x="4748" y="1874"/>
                    </a:lnTo>
                    <a:lnTo>
                      <a:pt x="4752" y="1870"/>
                    </a:lnTo>
                    <a:lnTo>
                      <a:pt x="4756" y="1866"/>
                    </a:lnTo>
                    <a:lnTo>
                      <a:pt x="4760" y="1866"/>
                    </a:lnTo>
                    <a:lnTo>
                      <a:pt x="4770" y="1866"/>
                    </a:lnTo>
                    <a:lnTo>
                      <a:pt x="4778" y="1870"/>
                    </a:lnTo>
                    <a:lnTo>
                      <a:pt x="4784" y="1874"/>
                    </a:lnTo>
                    <a:lnTo>
                      <a:pt x="4792" y="1874"/>
                    </a:lnTo>
                    <a:lnTo>
                      <a:pt x="4794" y="1874"/>
                    </a:lnTo>
                    <a:lnTo>
                      <a:pt x="4796" y="1872"/>
                    </a:lnTo>
                    <a:lnTo>
                      <a:pt x="4800" y="1862"/>
                    </a:lnTo>
                    <a:lnTo>
                      <a:pt x="4800" y="1862"/>
                    </a:lnTo>
                    <a:lnTo>
                      <a:pt x="4800" y="1854"/>
                    </a:lnTo>
                    <a:lnTo>
                      <a:pt x="4800" y="1846"/>
                    </a:lnTo>
                    <a:lnTo>
                      <a:pt x="4798" y="1840"/>
                    </a:lnTo>
                    <a:lnTo>
                      <a:pt x="4796" y="1836"/>
                    </a:lnTo>
                    <a:lnTo>
                      <a:pt x="4788" y="1828"/>
                    </a:lnTo>
                    <a:lnTo>
                      <a:pt x="4782" y="1822"/>
                    </a:lnTo>
                    <a:lnTo>
                      <a:pt x="4774" y="1816"/>
                    </a:lnTo>
                    <a:lnTo>
                      <a:pt x="4772" y="1814"/>
                    </a:lnTo>
                    <a:lnTo>
                      <a:pt x="4772" y="1810"/>
                    </a:lnTo>
                    <a:lnTo>
                      <a:pt x="4772" y="1806"/>
                    </a:lnTo>
                    <a:lnTo>
                      <a:pt x="4774" y="1802"/>
                    </a:lnTo>
                    <a:lnTo>
                      <a:pt x="4782" y="1790"/>
                    </a:lnTo>
                    <a:lnTo>
                      <a:pt x="4782" y="1790"/>
                    </a:lnTo>
                    <a:lnTo>
                      <a:pt x="4790" y="1780"/>
                    </a:lnTo>
                    <a:lnTo>
                      <a:pt x="4794" y="1772"/>
                    </a:lnTo>
                    <a:lnTo>
                      <a:pt x="4794" y="1766"/>
                    </a:lnTo>
                    <a:lnTo>
                      <a:pt x="4792" y="1760"/>
                    </a:lnTo>
                    <a:lnTo>
                      <a:pt x="4788" y="1756"/>
                    </a:lnTo>
                    <a:lnTo>
                      <a:pt x="4782" y="1752"/>
                    </a:lnTo>
                    <a:lnTo>
                      <a:pt x="4768" y="1748"/>
                    </a:lnTo>
                    <a:lnTo>
                      <a:pt x="4756" y="1744"/>
                    </a:lnTo>
                    <a:lnTo>
                      <a:pt x="4750" y="1740"/>
                    </a:lnTo>
                    <a:lnTo>
                      <a:pt x="4746" y="1738"/>
                    </a:lnTo>
                    <a:lnTo>
                      <a:pt x="4746" y="1732"/>
                    </a:lnTo>
                    <a:lnTo>
                      <a:pt x="4748" y="1728"/>
                    </a:lnTo>
                    <a:lnTo>
                      <a:pt x="4752" y="1720"/>
                    </a:lnTo>
                    <a:lnTo>
                      <a:pt x="4762" y="1712"/>
                    </a:lnTo>
                    <a:lnTo>
                      <a:pt x="4762" y="1712"/>
                    </a:lnTo>
                    <a:lnTo>
                      <a:pt x="4782" y="1694"/>
                    </a:lnTo>
                    <a:lnTo>
                      <a:pt x="4794" y="1678"/>
                    </a:lnTo>
                    <a:lnTo>
                      <a:pt x="4800" y="1664"/>
                    </a:lnTo>
                    <a:lnTo>
                      <a:pt x="4804" y="1652"/>
                    </a:lnTo>
                    <a:lnTo>
                      <a:pt x="4806" y="1642"/>
                    </a:lnTo>
                    <a:lnTo>
                      <a:pt x="4810" y="1634"/>
                    </a:lnTo>
                    <a:lnTo>
                      <a:pt x="4816" y="1628"/>
                    </a:lnTo>
                    <a:lnTo>
                      <a:pt x="4828" y="1622"/>
                    </a:lnTo>
                    <a:lnTo>
                      <a:pt x="4828" y="1622"/>
                    </a:lnTo>
                    <a:lnTo>
                      <a:pt x="4840" y="1618"/>
                    </a:lnTo>
                    <a:lnTo>
                      <a:pt x="4848" y="1618"/>
                    </a:lnTo>
                    <a:lnTo>
                      <a:pt x="4852" y="1620"/>
                    </a:lnTo>
                    <a:lnTo>
                      <a:pt x="4854" y="1622"/>
                    </a:lnTo>
                    <a:lnTo>
                      <a:pt x="4856" y="1624"/>
                    </a:lnTo>
                    <a:lnTo>
                      <a:pt x="4862" y="1622"/>
                    </a:lnTo>
                    <a:lnTo>
                      <a:pt x="4872" y="1616"/>
                    </a:lnTo>
                    <a:lnTo>
                      <a:pt x="4888" y="1606"/>
                    </a:lnTo>
                    <a:lnTo>
                      <a:pt x="4888" y="1606"/>
                    </a:lnTo>
                    <a:lnTo>
                      <a:pt x="4900" y="1598"/>
                    </a:lnTo>
                    <a:lnTo>
                      <a:pt x="4908" y="1592"/>
                    </a:lnTo>
                    <a:lnTo>
                      <a:pt x="4914" y="1592"/>
                    </a:lnTo>
                    <a:lnTo>
                      <a:pt x="4916" y="1592"/>
                    </a:lnTo>
                    <a:lnTo>
                      <a:pt x="4918" y="1596"/>
                    </a:lnTo>
                    <a:lnTo>
                      <a:pt x="4918" y="1600"/>
                    </a:lnTo>
                    <a:lnTo>
                      <a:pt x="4914" y="1612"/>
                    </a:lnTo>
                    <a:lnTo>
                      <a:pt x="4910" y="1624"/>
                    </a:lnTo>
                    <a:lnTo>
                      <a:pt x="4910" y="1628"/>
                    </a:lnTo>
                    <a:lnTo>
                      <a:pt x="4910" y="1632"/>
                    </a:lnTo>
                    <a:lnTo>
                      <a:pt x="4912" y="1632"/>
                    </a:lnTo>
                    <a:lnTo>
                      <a:pt x="4916" y="1632"/>
                    </a:lnTo>
                    <a:lnTo>
                      <a:pt x="4934" y="1618"/>
                    </a:lnTo>
                    <a:lnTo>
                      <a:pt x="4934" y="1618"/>
                    </a:lnTo>
                    <a:lnTo>
                      <a:pt x="4958" y="1600"/>
                    </a:lnTo>
                    <a:lnTo>
                      <a:pt x="4980" y="1588"/>
                    </a:lnTo>
                    <a:lnTo>
                      <a:pt x="4990" y="1586"/>
                    </a:lnTo>
                    <a:lnTo>
                      <a:pt x="5000" y="1584"/>
                    </a:lnTo>
                    <a:lnTo>
                      <a:pt x="5016" y="1584"/>
                    </a:lnTo>
                    <a:lnTo>
                      <a:pt x="5032" y="1588"/>
                    </a:lnTo>
                    <a:lnTo>
                      <a:pt x="5048" y="1596"/>
                    </a:lnTo>
                    <a:lnTo>
                      <a:pt x="5060" y="1606"/>
                    </a:lnTo>
                    <a:lnTo>
                      <a:pt x="5072" y="1618"/>
                    </a:lnTo>
                    <a:lnTo>
                      <a:pt x="5072" y="1618"/>
                    </a:lnTo>
                    <a:lnTo>
                      <a:pt x="5080" y="1628"/>
                    </a:lnTo>
                    <a:lnTo>
                      <a:pt x="5082" y="1630"/>
                    </a:lnTo>
                    <a:lnTo>
                      <a:pt x="5084" y="1628"/>
                    </a:lnTo>
                    <a:lnTo>
                      <a:pt x="5086" y="1620"/>
                    </a:lnTo>
                    <a:lnTo>
                      <a:pt x="5094" y="1608"/>
                    </a:lnTo>
                    <a:lnTo>
                      <a:pt x="5108" y="1592"/>
                    </a:lnTo>
                    <a:lnTo>
                      <a:pt x="5118" y="1584"/>
                    </a:lnTo>
                    <a:lnTo>
                      <a:pt x="5132" y="1574"/>
                    </a:lnTo>
                    <a:lnTo>
                      <a:pt x="5148" y="1564"/>
                    </a:lnTo>
                    <a:lnTo>
                      <a:pt x="5168" y="1552"/>
                    </a:lnTo>
                    <a:lnTo>
                      <a:pt x="5168" y="1552"/>
                    </a:lnTo>
                    <a:lnTo>
                      <a:pt x="5186" y="1542"/>
                    </a:lnTo>
                    <a:lnTo>
                      <a:pt x="5202" y="1532"/>
                    </a:lnTo>
                    <a:lnTo>
                      <a:pt x="5236" y="1508"/>
                    </a:lnTo>
                    <a:lnTo>
                      <a:pt x="5252" y="1496"/>
                    </a:lnTo>
                    <a:lnTo>
                      <a:pt x="5272" y="1484"/>
                    </a:lnTo>
                    <a:lnTo>
                      <a:pt x="5290" y="1474"/>
                    </a:lnTo>
                    <a:lnTo>
                      <a:pt x="5312" y="1466"/>
                    </a:lnTo>
                    <a:lnTo>
                      <a:pt x="5312" y="1466"/>
                    </a:lnTo>
                    <a:lnTo>
                      <a:pt x="5330" y="1460"/>
                    </a:lnTo>
                    <a:lnTo>
                      <a:pt x="5348" y="1456"/>
                    </a:lnTo>
                    <a:lnTo>
                      <a:pt x="5362" y="1454"/>
                    </a:lnTo>
                    <a:lnTo>
                      <a:pt x="5374" y="1454"/>
                    </a:lnTo>
                    <a:lnTo>
                      <a:pt x="5396" y="1456"/>
                    </a:lnTo>
                    <a:lnTo>
                      <a:pt x="5410" y="1460"/>
                    </a:lnTo>
                    <a:lnTo>
                      <a:pt x="5422" y="1464"/>
                    </a:lnTo>
                    <a:lnTo>
                      <a:pt x="5430" y="1466"/>
                    </a:lnTo>
                    <a:lnTo>
                      <a:pt x="5434" y="1466"/>
                    </a:lnTo>
                    <a:lnTo>
                      <a:pt x="5438" y="1464"/>
                    </a:lnTo>
                    <a:lnTo>
                      <a:pt x="5448" y="1458"/>
                    </a:lnTo>
                    <a:lnTo>
                      <a:pt x="5448" y="1458"/>
                    </a:lnTo>
                    <a:lnTo>
                      <a:pt x="5454" y="1448"/>
                    </a:lnTo>
                    <a:lnTo>
                      <a:pt x="5458" y="1440"/>
                    </a:lnTo>
                    <a:lnTo>
                      <a:pt x="5456" y="1432"/>
                    </a:lnTo>
                    <a:lnTo>
                      <a:pt x="5450" y="1422"/>
                    </a:lnTo>
                    <a:lnTo>
                      <a:pt x="5436" y="1400"/>
                    </a:lnTo>
                    <a:lnTo>
                      <a:pt x="5428" y="1386"/>
                    </a:lnTo>
                    <a:lnTo>
                      <a:pt x="5420" y="1368"/>
                    </a:lnTo>
                    <a:lnTo>
                      <a:pt x="5420" y="1368"/>
                    </a:lnTo>
                    <a:lnTo>
                      <a:pt x="5412" y="1348"/>
                    </a:lnTo>
                    <a:lnTo>
                      <a:pt x="5404" y="1338"/>
                    </a:lnTo>
                    <a:lnTo>
                      <a:pt x="5400" y="1336"/>
                    </a:lnTo>
                    <a:lnTo>
                      <a:pt x="5396" y="1336"/>
                    </a:lnTo>
                    <a:lnTo>
                      <a:pt x="5390" y="1336"/>
                    </a:lnTo>
                    <a:lnTo>
                      <a:pt x="5384" y="1338"/>
                    </a:lnTo>
                    <a:lnTo>
                      <a:pt x="5378" y="1338"/>
                    </a:lnTo>
                    <a:lnTo>
                      <a:pt x="5376" y="1336"/>
                    </a:lnTo>
                    <a:lnTo>
                      <a:pt x="5374" y="1334"/>
                    </a:lnTo>
                    <a:lnTo>
                      <a:pt x="5368" y="1322"/>
                    </a:lnTo>
                    <a:lnTo>
                      <a:pt x="5368" y="1322"/>
                    </a:lnTo>
                    <a:lnTo>
                      <a:pt x="5368" y="1316"/>
                    </a:lnTo>
                    <a:lnTo>
                      <a:pt x="5368" y="1312"/>
                    </a:lnTo>
                    <a:lnTo>
                      <a:pt x="5372" y="1310"/>
                    </a:lnTo>
                    <a:lnTo>
                      <a:pt x="5374" y="1308"/>
                    </a:lnTo>
                    <a:lnTo>
                      <a:pt x="5384" y="1308"/>
                    </a:lnTo>
                    <a:lnTo>
                      <a:pt x="5398" y="1310"/>
                    </a:lnTo>
                    <a:lnTo>
                      <a:pt x="5414" y="1312"/>
                    </a:lnTo>
                    <a:lnTo>
                      <a:pt x="5432" y="1310"/>
                    </a:lnTo>
                    <a:lnTo>
                      <a:pt x="5440" y="1308"/>
                    </a:lnTo>
                    <a:lnTo>
                      <a:pt x="5448" y="1304"/>
                    </a:lnTo>
                    <a:lnTo>
                      <a:pt x="5454" y="1298"/>
                    </a:lnTo>
                    <a:lnTo>
                      <a:pt x="5462" y="1292"/>
                    </a:lnTo>
                    <a:lnTo>
                      <a:pt x="5462" y="1292"/>
                    </a:lnTo>
                    <a:lnTo>
                      <a:pt x="5478" y="1272"/>
                    </a:lnTo>
                    <a:lnTo>
                      <a:pt x="5478" y="1258"/>
                    </a:lnTo>
                    <a:lnTo>
                      <a:pt x="5478" y="1258"/>
                    </a:lnTo>
                    <a:lnTo>
                      <a:pt x="5486" y="1248"/>
                    </a:lnTo>
                    <a:lnTo>
                      <a:pt x="5490" y="1244"/>
                    </a:lnTo>
                    <a:lnTo>
                      <a:pt x="5490" y="1240"/>
                    </a:lnTo>
                    <a:lnTo>
                      <a:pt x="5490" y="1236"/>
                    </a:lnTo>
                    <a:lnTo>
                      <a:pt x="5488" y="1232"/>
                    </a:lnTo>
                    <a:lnTo>
                      <a:pt x="5480" y="1220"/>
                    </a:lnTo>
                    <a:lnTo>
                      <a:pt x="5480" y="1220"/>
                    </a:lnTo>
                    <a:lnTo>
                      <a:pt x="5478" y="1216"/>
                    </a:lnTo>
                    <a:lnTo>
                      <a:pt x="5478" y="1204"/>
                    </a:lnTo>
                    <a:lnTo>
                      <a:pt x="5478" y="1204"/>
                    </a:lnTo>
                    <a:lnTo>
                      <a:pt x="5480" y="1200"/>
                    </a:lnTo>
                    <a:lnTo>
                      <a:pt x="5484" y="1200"/>
                    </a:lnTo>
                    <a:lnTo>
                      <a:pt x="5490" y="1200"/>
                    </a:lnTo>
                    <a:lnTo>
                      <a:pt x="5496" y="1202"/>
                    </a:lnTo>
                    <a:lnTo>
                      <a:pt x="5502" y="1206"/>
                    </a:lnTo>
                    <a:lnTo>
                      <a:pt x="5510" y="1212"/>
                    </a:lnTo>
                    <a:lnTo>
                      <a:pt x="5516" y="1220"/>
                    </a:lnTo>
                    <a:lnTo>
                      <a:pt x="5520" y="1230"/>
                    </a:lnTo>
                    <a:lnTo>
                      <a:pt x="5520" y="1230"/>
                    </a:lnTo>
                    <a:lnTo>
                      <a:pt x="5524" y="1238"/>
                    </a:lnTo>
                    <a:lnTo>
                      <a:pt x="5530" y="1242"/>
                    </a:lnTo>
                    <a:lnTo>
                      <a:pt x="5536" y="1244"/>
                    </a:lnTo>
                    <a:lnTo>
                      <a:pt x="5542" y="1246"/>
                    </a:lnTo>
                    <a:lnTo>
                      <a:pt x="5556" y="1244"/>
                    </a:lnTo>
                    <a:lnTo>
                      <a:pt x="5572" y="1242"/>
                    </a:lnTo>
                    <a:lnTo>
                      <a:pt x="5588" y="1238"/>
                    </a:lnTo>
                    <a:lnTo>
                      <a:pt x="5596" y="1238"/>
                    </a:lnTo>
                    <a:lnTo>
                      <a:pt x="5604" y="1238"/>
                    </a:lnTo>
                    <a:lnTo>
                      <a:pt x="5610" y="1242"/>
                    </a:lnTo>
                    <a:lnTo>
                      <a:pt x="5618" y="1246"/>
                    </a:lnTo>
                    <a:lnTo>
                      <a:pt x="5624" y="1252"/>
                    </a:lnTo>
                    <a:lnTo>
                      <a:pt x="5628" y="1262"/>
                    </a:lnTo>
                    <a:lnTo>
                      <a:pt x="5628" y="1262"/>
                    </a:lnTo>
                    <a:lnTo>
                      <a:pt x="5638" y="1278"/>
                    </a:lnTo>
                    <a:lnTo>
                      <a:pt x="5648" y="1290"/>
                    </a:lnTo>
                    <a:lnTo>
                      <a:pt x="5656" y="1294"/>
                    </a:lnTo>
                    <a:lnTo>
                      <a:pt x="5664" y="1296"/>
                    </a:lnTo>
                    <a:lnTo>
                      <a:pt x="5674" y="1298"/>
                    </a:lnTo>
                    <a:lnTo>
                      <a:pt x="5682" y="1298"/>
                    </a:lnTo>
                    <a:lnTo>
                      <a:pt x="5690" y="1302"/>
                    </a:lnTo>
                    <a:lnTo>
                      <a:pt x="5696" y="1310"/>
                    </a:lnTo>
                    <a:lnTo>
                      <a:pt x="5696" y="1310"/>
                    </a:lnTo>
                    <a:lnTo>
                      <a:pt x="5700" y="1316"/>
                    </a:lnTo>
                    <a:lnTo>
                      <a:pt x="5706" y="1320"/>
                    </a:lnTo>
                    <a:lnTo>
                      <a:pt x="5710" y="1322"/>
                    </a:lnTo>
                    <a:lnTo>
                      <a:pt x="5716" y="1322"/>
                    </a:lnTo>
                    <a:lnTo>
                      <a:pt x="5726" y="1322"/>
                    </a:lnTo>
                    <a:lnTo>
                      <a:pt x="5738" y="1318"/>
                    </a:lnTo>
                    <a:lnTo>
                      <a:pt x="5748" y="1310"/>
                    </a:lnTo>
                    <a:lnTo>
                      <a:pt x="5756" y="1298"/>
                    </a:lnTo>
                    <a:lnTo>
                      <a:pt x="5764" y="1284"/>
                    </a:lnTo>
                    <a:lnTo>
                      <a:pt x="5766" y="1268"/>
                    </a:lnTo>
                    <a:lnTo>
                      <a:pt x="5766" y="1268"/>
                    </a:lnTo>
                    <a:lnTo>
                      <a:pt x="5768" y="1254"/>
                    </a:lnTo>
                    <a:lnTo>
                      <a:pt x="5770" y="1248"/>
                    </a:lnTo>
                    <a:lnTo>
                      <a:pt x="5774" y="1246"/>
                    </a:lnTo>
                    <a:lnTo>
                      <a:pt x="5782" y="1240"/>
                    </a:lnTo>
                    <a:lnTo>
                      <a:pt x="5792" y="1238"/>
                    </a:lnTo>
                    <a:lnTo>
                      <a:pt x="5802" y="1238"/>
                    </a:lnTo>
                    <a:lnTo>
                      <a:pt x="5816" y="1234"/>
                    </a:lnTo>
                    <a:lnTo>
                      <a:pt x="5830" y="1228"/>
                    </a:lnTo>
                    <a:lnTo>
                      <a:pt x="5836" y="1222"/>
                    </a:lnTo>
                    <a:lnTo>
                      <a:pt x="5844" y="1216"/>
                    </a:lnTo>
                    <a:lnTo>
                      <a:pt x="5844" y="1216"/>
                    </a:lnTo>
                    <a:lnTo>
                      <a:pt x="5854" y="1204"/>
                    </a:lnTo>
                    <a:lnTo>
                      <a:pt x="5856" y="1198"/>
                    </a:lnTo>
                    <a:lnTo>
                      <a:pt x="5856" y="1196"/>
                    </a:lnTo>
                    <a:lnTo>
                      <a:pt x="5854" y="1194"/>
                    </a:lnTo>
                    <a:lnTo>
                      <a:pt x="5846" y="1194"/>
                    </a:lnTo>
                    <a:lnTo>
                      <a:pt x="5836" y="1192"/>
                    </a:lnTo>
                    <a:lnTo>
                      <a:pt x="5824" y="1188"/>
                    </a:lnTo>
                    <a:lnTo>
                      <a:pt x="5816" y="1184"/>
                    </a:lnTo>
                    <a:lnTo>
                      <a:pt x="5810" y="1180"/>
                    </a:lnTo>
                    <a:lnTo>
                      <a:pt x="5804" y="1174"/>
                    </a:lnTo>
                    <a:lnTo>
                      <a:pt x="5798" y="1166"/>
                    </a:lnTo>
                    <a:lnTo>
                      <a:pt x="5798" y="1166"/>
                    </a:lnTo>
                    <a:close/>
                  </a:path>
                </a:pathLst>
              </a:custGeom>
              <a:grpFill/>
              <a:ln w="9525">
                <a:noFill/>
                <a:round/>
                <a:headEnd/>
                <a:tailEnd/>
              </a:ln>
            </p:spPr>
            <p:txBody>
              <a:bodyPr/>
              <a:lstStyle/>
              <a:p>
                <a:pPr fontAlgn="auto">
                  <a:spcBef>
                    <a:spcPts val="0"/>
                  </a:spcBef>
                  <a:spcAft>
                    <a:spcPts val="0"/>
                  </a:spcAft>
                  <a:defRPr/>
                </a:pPr>
                <a:endParaRPr lang="nb-NO" kern="0">
                  <a:solidFill>
                    <a:sysClr val="windowText" lastClr="000000"/>
                  </a:solidFill>
                  <a:latin typeface="Arial" pitchFamily="-108" charset="0"/>
                  <a:ea typeface="ＭＳ Ｐゴシック" pitchFamily="-108" charset="-128"/>
                  <a:cs typeface="ＭＳ Ｐゴシック" pitchFamily="-108" charset="-128"/>
                </a:endParaRPr>
              </a:p>
            </p:txBody>
          </p:sp>
        </p:grpSp>
        <p:sp>
          <p:nvSpPr>
            <p:cNvPr id="52" name="Freeform 16"/>
            <p:cNvSpPr>
              <a:spLocks/>
            </p:cNvSpPr>
            <p:nvPr/>
          </p:nvSpPr>
          <p:spPr bwMode="auto">
            <a:xfrm>
              <a:off x="2253323" y="2479274"/>
              <a:ext cx="1970740" cy="3370286"/>
            </a:xfrm>
            <a:custGeom>
              <a:avLst/>
              <a:gdLst/>
              <a:ahLst/>
              <a:cxnLst>
                <a:cxn ang="0">
                  <a:pos x="5457" y="16108"/>
                </a:cxn>
                <a:cxn ang="0">
                  <a:pos x="5123" y="16028"/>
                </a:cxn>
                <a:cxn ang="0">
                  <a:pos x="4795" y="15934"/>
                </a:cxn>
                <a:cxn ang="0">
                  <a:pos x="4474" y="15829"/>
                </a:cxn>
                <a:cxn ang="0">
                  <a:pos x="4161" y="15715"/>
                </a:cxn>
                <a:cxn ang="0">
                  <a:pos x="3853" y="15595"/>
                </a:cxn>
                <a:cxn ang="0">
                  <a:pos x="3553" y="15471"/>
                </a:cxn>
                <a:cxn ang="0">
                  <a:pos x="2968" y="15220"/>
                </a:cxn>
                <a:cxn ang="0">
                  <a:pos x="2405" y="14982"/>
                </a:cxn>
                <a:cxn ang="0">
                  <a:pos x="2341" y="14581"/>
                </a:cxn>
                <a:cxn ang="0">
                  <a:pos x="2273" y="14148"/>
                </a:cxn>
                <a:cxn ang="0">
                  <a:pos x="2202" y="13687"/>
                </a:cxn>
                <a:cxn ang="0">
                  <a:pos x="2130" y="13206"/>
                </a:cxn>
                <a:cxn ang="0">
                  <a:pos x="2057" y="12714"/>
                </a:cxn>
                <a:cxn ang="0">
                  <a:pos x="1975" y="12181"/>
                </a:cxn>
                <a:cxn ang="0">
                  <a:pos x="1857" y="11570"/>
                </a:cxn>
                <a:cxn ang="0">
                  <a:pos x="1711" y="10900"/>
                </a:cxn>
                <a:cxn ang="0">
                  <a:pos x="1539" y="10187"/>
                </a:cxn>
                <a:cxn ang="0">
                  <a:pos x="1349" y="9445"/>
                </a:cxn>
                <a:cxn ang="0">
                  <a:pos x="1147" y="8689"/>
                </a:cxn>
                <a:cxn ang="0">
                  <a:pos x="939" y="7933"/>
                </a:cxn>
                <a:cxn ang="0">
                  <a:pos x="528" y="6479"/>
                </a:cxn>
                <a:cxn ang="0">
                  <a:pos x="163" y="5200"/>
                </a:cxn>
                <a:cxn ang="0">
                  <a:pos x="99" y="4916"/>
                </a:cxn>
                <a:cxn ang="0">
                  <a:pos x="51" y="4589"/>
                </a:cxn>
                <a:cxn ang="0">
                  <a:pos x="20" y="4226"/>
                </a:cxn>
                <a:cxn ang="0">
                  <a:pos x="4" y="3831"/>
                </a:cxn>
                <a:cxn ang="0">
                  <a:pos x="2" y="3409"/>
                </a:cxn>
                <a:cxn ang="0">
                  <a:pos x="12" y="2964"/>
                </a:cxn>
                <a:cxn ang="0">
                  <a:pos x="32" y="2503"/>
                </a:cxn>
                <a:cxn ang="0">
                  <a:pos x="63" y="2029"/>
                </a:cxn>
                <a:cxn ang="0">
                  <a:pos x="101" y="1550"/>
                </a:cxn>
                <a:cxn ang="0">
                  <a:pos x="146" y="1067"/>
                </a:cxn>
                <a:cxn ang="0">
                  <a:pos x="204" y="648"/>
                </a:cxn>
                <a:cxn ang="0">
                  <a:pos x="276" y="362"/>
                </a:cxn>
                <a:cxn ang="0">
                  <a:pos x="347" y="89"/>
                </a:cxn>
                <a:cxn ang="0">
                  <a:pos x="343" y="433"/>
                </a:cxn>
                <a:cxn ang="0">
                  <a:pos x="319" y="980"/>
                </a:cxn>
                <a:cxn ang="0">
                  <a:pos x="311" y="1306"/>
                </a:cxn>
                <a:cxn ang="0">
                  <a:pos x="308" y="1628"/>
                </a:cxn>
                <a:cxn ang="0">
                  <a:pos x="312" y="1945"/>
                </a:cxn>
                <a:cxn ang="0">
                  <a:pos x="322" y="2253"/>
                </a:cxn>
                <a:cxn ang="0">
                  <a:pos x="340" y="2552"/>
                </a:cxn>
                <a:cxn ang="0">
                  <a:pos x="367" y="2839"/>
                </a:cxn>
                <a:cxn ang="0">
                  <a:pos x="402" y="3112"/>
                </a:cxn>
                <a:cxn ang="0">
                  <a:pos x="472" y="3506"/>
                </a:cxn>
                <a:cxn ang="0">
                  <a:pos x="653" y="4297"/>
                </a:cxn>
                <a:cxn ang="0">
                  <a:pos x="902" y="5247"/>
                </a:cxn>
                <a:cxn ang="0">
                  <a:pos x="1207" y="6314"/>
                </a:cxn>
                <a:cxn ang="0">
                  <a:pos x="1556" y="7453"/>
                </a:cxn>
                <a:cxn ang="0">
                  <a:pos x="1933" y="8619"/>
                </a:cxn>
                <a:cxn ang="0">
                  <a:pos x="2328" y="9768"/>
                </a:cxn>
                <a:cxn ang="0">
                  <a:pos x="2726" y="10857"/>
                </a:cxn>
                <a:cxn ang="0">
                  <a:pos x="3113" y="11842"/>
                </a:cxn>
                <a:cxn ang="0">
                  <a:pos x="3477" y="12677"/>
                </a:cxn>
                <a:cxn ang="0">
                  <a:pos x="3806" y="13320"/>
                </a:cxn>
                <a:cxn ang="0">
                  <a:pos x="4161" y="13883"/>
                </a:cxn>
                <a:cxn ang="0">
                  <a:pos x="4542" y="14464"/>
                </a:cxn>
                <a:cxn ang="0">
                  <a:pos x="4904" y="15008"/>
                </a:cxn>
                <a:cxn ang="0">
                  <a:pos x="5236" y="15499"/>
                </a:cxn>
                <a:cxn ang="0">
                  <a:pos x="5524" y="15920"/>
                </a:cxn>
              </a:cxnLst>
              <a:rect l="0" t="0" r="r" b="b"/>
              <a:pathLst>
                <a:path w="5685" h="16153">
                  <a:moveTo>
                    <a:pt x="5685" y="16153"/>
                  </a:moveTo>
                  <a:lnTo>
                    <a:pt x="5571" y="16132"/>
                  </a:lnTo>
                  <a:lnTo>
                    <a:pt x="5457" y="16108"/>
                  </a:lnTo>
                  <a:lnTo>
                    <a:pt x="5346" y="16083"/>
                  </a:lnTo>
                  <a:lnTo>
                    <a:pt x="5234" y="16057"/>
                  </a:lnTo>
                  <a:lnTo>
                    <a:pt x="5123" y="16028"/>
                  </a:lnTo>
                  <a:lnTo>
                    <a:pt x="5013" y="15999"/>
                  </a:lnTo>
                  <a:lnTo>
                    <a:pt x="4903" y="15967"/>
                  </a:lnTo>
                  <a:lnTo>
                    <a:pt x="4795" y="15934"/>
                  </a:lnTo>
                  <a:lnTo>
                    <a:pt x="4688" y="15901"/>
                  </a:lnTo>
                  <a:lnTo>
                    <a:pt x="4580" y="15866"/>
                  </a:lnTo>
                  <a:lnTo>
                    <a:pt x="4474" y="15829"/>
                  </a:lnTo>
                  <a:lnTo>
                    <a:pt x="4369" y="15792"/>
                  </a:lnTo>
                  <a:lnTo>
                    <a:pt x="4265" y="15755"/>
                  </a:lnTo>
                  <a:lnTo>
                    <a:pt x="4161" y="15715"/>
                  </a:lnTo>
                  <a:lnTo>
                    <a:pt x="4058" y="15676"/>
                  </a:lnTo>
                  <a:lnTo>
                    <a:pt x="3955" y="15636"/>
                  </a:lnTo>
                  <a:lnTo>
                    <a:pt x="3853" y="15595"/>
                  </a:lnTo>
                  <a:lnTo>
                    <a:pt x="3753" y="15554"/>
                  </a:lnTo>
                  <a:lnTo>
                    <a:pt x="3652" y="15512"/>
                  </a:lnTo>
                  <a:lnTo>
                    <a:pt x="3553" y="15471"/>
                  </a:lnTo>
                  <a:lnTo>
                    <a:pt x="3355" y="15387"/>
                  </a:lnTo>
                  <a:lnTo>
                    <a:pt x="3160" y="15302"/>
                  </a:lnTo>
                  <a:lnTo>
                    <a:pt x="2968" y="15220"/>
                  </a:lnTo>
                  <a:lnTo>
                    <a:pt x="2777" y="15138"/>
                  </a:lnTo>
                  <a:lnTo>
                    <a:pt x="2590" y="15059"/>
                  </a:lnTo>
                  <a:lnTo>
                    <a:pt x="2405" y="14982"/>
                  </a:lnTo>
                  <a:lnTo>
                    <a:pt x="2384" y="14852"/>
                  </a:lnTo>
                  <a:lnTo>
                    <a:pt x="2363" y="14719"/>
                  </a:lnTo>
                  <a:lnTo>
                    <a:pt x="2341" y="14581"/>
                  </a:lnTo>
                  <a:lnTo>
                    <a:pt x="2319" y="14440"/>
                  </a:lnTo>
                  <a:lnTo>
                    <a:pt x="2295" y="14295"/>
                  </a:lnTo>
                  <a:lnTo>
                    <a:pt x="2273" y="14148"/>
                  </a:lnTo>
                  <a:lnTo>
                    <a:pt x="2249" y="13996"/>
                  </a:lnTo>
                  <a:lnTo>
                    <a:pt x="2225" y="13843"/>
                  </a:lnTo>
                  <a:lnTo>
                    <a:pt x="2202" y="13687"/>
                  </a:lnTo>
                  <a:lnTo>
                    <a:pt x="2178" y="13529"/>
                  </a:lnTo>
                  <a:lnTo>
                    <a:pt x="2154" y="13369"/>
                  </a:lnTo>
                  <a:lnTo>
                    <a:pt x="2130" y="13206"/>
                  </a:lnTo>
                  <a:lnTo>
                    <a:pt x="2106" y="13044"/>
                  </a:lnTo>
                  <a:lnTo>
                    <a:pt x="2081" y="12880"/>
                  </a:lnTo>
                  <a:lnTo>
                    <a:pt x="2057" y="12714"/>
                  </a:lnTo>
                  <a:lnTo>
                    <a:pt x="2034" y="12549"/>
                  </a:lnTo>
                  <a:lnTo>
                    <a:pt x="2006" y="12370"/>
                  </a:lnTo>
                  <a:lnTo>
                    <a:pt x="1975" y="12181"/>
                  </a:lnTo>
                  <a:lnTo>
                    <a:pt x="1940" y="11985"/>
                  </a:lnTo>
                  <a:lnTo>
                    <a:pt x="1900" y="11781"/>
                  </a:lnTo>
                  <a:lnTo>
                    <a:pt x="1857" y="11570"/>
                  </a:lnTo>
                  <a:lnTo>
                    <a:pt x="1811" y="11352"/>
                  </a:lnTo>
                  <a:lnTo>
                    <a:pt x="1763" y="11128"/>
                  </a:lnTo>
                  <a:lnTo>
                    <a:pt x="1711" y="10900"/>
                  </a:lnTo>
                  <a:lnTo>
                    <a:pt x="1655" y="10667"/>
                  </a:lnTo>
                  <a:lnTo>
                    <a:pt x="1598" y="10428"/>
                  </a:lnTo>
                  <a:lnTo>
                    <a:pt x="1539" y="10187"/>
                  </a:lnTo>
                  <a:lnTo>
                    <a:pt x="1477" y="9942"/>
                  </a:lnTo>
                  <a:lnTo>
                    <a:pt x="1414" y="9695"/>
                  </a:lnTo>
                  <a:lnTo>
                    <a:pt x="1349" y="9445"/>
                  </a:lnTo>
                  <a:lnTo>
                    <a:pt x="1283" y="9194"/>
                  </a:lnTo>
                  <a:lnTo>
                    <a:pt x="1215" y="8942"/>
                  </a:lnTo>
                  <a:lnTo>
                    <a:pt x="1147" y="8689"/>
                  </a:lnTo>
                  <a:lnTo>
                    <a:pt x="1079" y="8436"/>
                  </a:lnTo>
                  <a:lnTo>
                    <a:pt x="1009" y="8183"/>
                  </a:lnTo>
                  <a:lnTo>
                    <a:pt x="939" y="7933"/>
                  </a:lnTo>
                  <a:lnTo>
                    <a:pt x="800" y="7436"/>
                  </a:lnTo>
                  <a:lnTo>
                    <a:pt x="662" y="6950"/>
                  </a:lnTo>
                  <a:lnTo>
                    <a:pt x="528" y="6479"/>
                  </a:lnTo>
                  <a:lnTo>
                    <a:pt x="399" y="6027"/>
                  </a:lnTo>
                  <a:lnTo>
                    <a:pt x="277" y="5600"/>
                  </a:lnTo>
                  <a:lnTo>
                    <a:pt x="163" y="5200"/>
                  </a:lnTo>
                  <a:lnTo>
                    <a:pt x="139" y="5110"/>
                  </a:lnTo>
                  <a:lnTo>
                    <a:pt x="118" y="5015"/>
                  </a:lnTo>
                  <a:lnTo>
                    <a:pt x="99" y="4916"/>
                  </a:lnTo>
                  <a:lnTo>
                    <a:pt x="81" y="4811"/>
                  </a:lnTo>
                  <a:lnTo>
                    <a:pt x="65" y="4702"/>
                  </a:lnTo>
                  <a:lnTo>
                    <a:pt x="51" y="4589"/>
                  </a:lnTo>
                  <a:lnTo>
                    <a:pt x="39" y="4472"/>
                  </a:lnTo>
                  <a:lnTo>
                    <a:pt x="29" y="4350"/>
                  </a:lnTo>
                  <a:lnTo>
                    <a:pt x="20" y="4226"/>
                  </a:lnTo>
                  <a:lnTo>
                    <a:pt x="13" y="4097"/>
                  </a:lnTo>
                  <a:lnTo>
                    <a:pt x="7" y="3965"/>
                  </a:lnTo>
                  <a:lnTo>
                    <a:pt x="4" y="3831"/>
                  </a:lnTo>
                  <a:lnTo>
                    <a:pt x="2" y="3692"/>
                  </a:lnTo>
                  <a:lnTo>
                    <a:pt x="0" y="3552"/>
                  </a:lnTo>
                  <a:lnTo>
                    <a:pt x="2" y="3409"/>
                  </a:lnTo>
                  <a:lnTo>
                    <a:pt x="4" y="3262"/>
                  </a:lnTo>
                  <a:lnTo>
                    <a:pt x="7" y="3114"/>
                  </a:lnTo>
                  <a:lnTo>
                    <a:pt x="12" y="2964"/>
                  </a:lnTo>
                  <a:lnTo>
                    <a:pt x="17" y="2812"/>
                  </a:lnTo>
                  <a:lnTo>
                    <a:pt x="24" y="2658"/>
                  </a:lnTo>
                  <a:lnTo>
                    <a:pt x="32" y="2503"/>
                  </a:lnTo>
                  <a:lnTo>
                    <a:pt x="41" y="2347"/>
                  </a:lnTo>
                  <a:lnTo>
                    <a:pt x="51" y="2189"/>
                  </a:lnTo>
                  <a:lnTo>
                    <a:pt x="63" y="2029"/>
                  </a:lnTo>
                  <a:lnTo>
                    <a:pt x="74" y="1870"/>
                  </a:lnTo>
                  <a:lnTo>
                    <a:pt x="87" y="1710"/>
                  </a:lnTo>
                  <a:lnTo>
                    <a:pt x="101" y="1550"/>
                  </a:lnTo>
                  <a:lnTo>
                    <a:pt x="115" y="1388"/>
                  </a:lnTo>
                  <a:lnTo>
                    <a:pt x="130" y="1227"/>
                  </a:lnTo>
                  <a:lnTo>
                    <a:pt x="146" y="1067"/>
                  </a:lnTo>
                  <a:lnTo>
                    <a:pt x="162" y="906"/>
                  </a:lnTo>
                  <a:lnTo>
                    <a:pt x="179" y="746"/>
                  </a:lnTo>
                  <a:lnTo>
                    <a:pt x="204" y="648"/>
                  </a:lnTo>
                  <a:lnTo>
                    <a:pt x="227" y="552"/>
                  </a:lnTo>
                  <a:lnTo>
                    <a:pt x="252" y="456"/>
                  </a:lnTo>
                  <a:lnTo>
                    <a:pt x="276" y="362"/>
                  </a:lnTo>
                  <a:lnTo>
                    <a:pt x="300" y="270"/>
                  </a:lnTo>
                  <a:lnTo>
                    <a:pt x="323" y="178"/>
                  </a:lnTo>
                  <a:lnTo>
                    <a:pt x="347" y="89"/>
                  </a:lnTo>
                  <a:lnTo>
                    <a:pt x="371" y="0"/>
                  </a:lnTo>
                  <a:lnTo>
                    <a:pt x="356" y="217"/>
                  </a:lnTo>
                  <a:lnTo>
                    <a:pt x="343" y="433"/>
                  </a:lnTo>
                  <a:lnTo>
                    <a:pt x="331" y="652"/>
                  </a:lnTo>
                  <a:lnTo>
                    <a:pt x="322" y="870"/>
                  </a:lnTo>
                  <a:lnTo>
                    <a:pt x="319" y="980"/>
                  </a:lnTo>
                  <a:lnTo>
                    <a:pt x="315" y="1088"/>
                  </a:lnTo>
                  <a:lnTo>
                    <a:pt x="312" y="1197"/>
                  </a:lnTo>
                  <a:lnTo>
                    <a:pt x="311" y="1306"/>
                  </a:lnTo>
                  <a:lnTo>
                    <a:pt x="309" y="1413"/>
                  </a:lnTo>
                  <a:lnTo>
                    <a:pt x="309" y="1520"/>
                  </a:lnTo>
                  <a:lnTo>
                    <a:pt x="308" y="1628"/>
                  </a:lnTo>
                  <a:lnTo>
                    <a:pt x="309" y="1734"/>
                  </a:lnTo>
                  <a:lnTo>
                    <a:pt x="310" y="1840"/>
                  </a:lnTo>
                  <a:lnTo>
                    <a:pt x="312" y="1945"/>
                  </a:lnTo>
                  <a:lnTo>
                    <a:pt x="314" y="2049"/>
                  </a:lnTo>
                  <a:lnTo>
                    <a:pt x="318" y="2151"/>
                  </a:lnTo>
                  <a:lnTo>
                    <a:pt x="322" y="2253"/>
                  </a:lnTo>
                  <a:lnTo>
                    <a:pt x="328" y="2353"/>
                  </a:lnTo>
                  <a:lnTo>
                    <a:pt x="334" y="2454"/>
                  </a:lnTo>
                  <a:lnTo>
                    <a:pt x="340" y="2552"/>
                  </a:lnTo>
                  <a:lnTo>
                    <a:pt x="348" y="2649"/>
                  </a:lnTo>
                  <a:lnTo>
                    <a:pt x="357" y="2745"/>
                  </a:lnTo>
                  <a:lnTo>
                    <a:pt x="367" y="2839"/>
                  </a:lnTo>
                  <a:lnTo>
                    <a:pt x="378" y="2931"/>
                  </a:lnTo>
                  <a:lnTo>
                    <a:pt x="389" y="3023"/>
                  </a:lnTo>
                  <a:lnTo>
                    <a:pt x="402" y="3112"/>
                  </a:lnTo>
                  <a:lnTo>
                    <a:pt x="416" y="3200"/>
                  </a:lnTo>
                  <a:lnTo>
                    <a:pt x="431" y="3285"/>
                  </a:lnTo>
                  <a:lnTo>
                    <a:pt x="472" y="3506"/>
                  </a:lnTo>
                  <a:lnTo>
                    <a:pt x="524" y="3748"/>
                  </a:lnTo>
                  <a:lnTo>
                    <a:pt x="584" y="4014"/>
                  </a:lnTo>
                  <a:lnTo>
                    <a:pt x="653" y="4297"/>
                  </a:lnTo>
                  <a:lnTo>
                    <a:pt x="729" y="4598"/>
                  </a:lnTo>
                  <a:lnTo>
                    <a:pt x="812" y="4916"/>
                  </a:lnTo>
                  <a:lnTo>
                    <a:pt x="902" y="5247"/>
                  </a:lnTo>
                  <a:lnTo>
                    <a:pt x="998" y="5593"/>
                  </a:lnTo>
                  <a:lnTo>
                    <a:pt x="1100" y="5948"/>
                  </a:lnTo>
                  <a:lnTo>
                    <a:pt x="1207" y="6314"/>
                  </a:lnTo>
                  <a:lnTo>
                    <a:pt x="1319" y="6688"/>
                  </a:lnTo>
                  <a:lnTo>
                    <a:pt x="1435" y="7068"/>
                  </a:lnTo>
                  <a:lnTo>
                    <a:pt x="1556" y="7453"/>
                  </a:lnTo>
                  <a:lnTo>
                    <a:pt x="1679" y="7840"/>
                  </a:lnTo>
                  <a:lnTo>
                    <a:pt x="1806" y="8230"/>
                  </a:lnTo>
                  <a:lnTo>
                    <a:pt x="1933" y="8619"/>
                  </a:lnTo>
                  <a:lnTo>
                    <a:pt x="2064" y="9006"/>
                  </a:lnTo>
                  <a:lnTo>
                    <a:pt x="2195" y="9390"/>
                  </a:lnTo>
                  <a:lnTo>
                    <a:pt x="2328" y="9768"/>
                  </a:lnTo>
                  <a:lnTo>
                    <a:pt x="2460" y="10139"/>
                  </a:lnTo>
                  <a:lnTo>
                    <a:pt x="2593" y="10503"/>
                  </a:lnTo>
                  <a:lnTo>
                    <a:pt x="2726" y="10857"/>
                  </a:lnTo>
                  <a:lnTo>
                    <a:pt x="2857" y="11199"/>
                  </a:lnTo>
                  <a:lnTo>
                    <a:pt x="2986" y="11528"/>
                  </a:lnTo>
                  <a:lnTo>
                    <a:pt x="3113" y="11842"/>
                  </a:lnTo>
                  <a:lnTo>
                    <a:pt x="3238" y="12138"/>
                  </a:lnTo>
                  <a:lnTo>
                    <a:pt x="3360" y="12418"/>
                  </a:lnTo>
                  <a:lnTo>
                    <a:pt x="3477" y="12677"/>
                  </a:lnTo>
                  <a:lnTo>
                    <a:pt x="3591" y="12915"/>
                  </a:lnTo>
                  <a:lnTo>
                    <a:pt x="3701" y="13131"/>
                  </a:lnTo>
                  <a:lnTo>
                    <a:pt x="3806" y="13320"/>
                  </a:lnTo>
                  <a:lnTo>
                    <a:pt x="3904" y="13485"/>
                  </a:lnTo>
                  <a:lnTo>
                    <a:pt x="4033" y="13685"/>
                  </a:lnTo>
                  <a:lnTo>
                    <a:pt x="4161" y="13883"/>
                  </a:lnTo>
                  <a:lnTo>
                    <a:pt x="4289" y="14080"/>
                  </a:lnTo>
                  <a:lnTo>
                    <a:pt x="4417" y="14274"/>
                  </a:lnTo>
                  <a:lnTo>
                    <a:pt x="4542" y="14464"/>
                  </a:lnTo>
                  <a:lnTo>
                    <a:pt x="4665" y="14650"/>
                  </a:lnTo>
                  <a:lnTo>
                    <a:pt x="4787" y="14832"/>
                  </a:lnTo>
                  <a:lnTo>
                    <a:pt x="4904" y="15008"/>
                  </a:lnTo>
                  <a:lnTo>
                    <a:pt x="5019" y="15178"/>
                  </a:lnTo>
                  <a:lnTo>
                    <a:pt x="5130" y="15342"/>
                  </a:lnTo>
                  <a:lnTo>
                    <a:pt x="5236" y="15499"/>
                  </a:lnTo>
                  <a:lnTo>
                    <a:pt x="5338" y="15648"/>
                  </a:lnTo>
                  <a:lnTo>
                    <a:pt x="5434" y="15789"/>
                  </a:lnTo>
                  <a:lnTo>
                    <a:pt x="5524" y="15920"/>
                  </a:lnTo>
                  <a:lnTo>
                    <a:pt x="5608" y="16042"/>
                  </a:lnTo>
                  <a:lnTo>
                    <a:pt x="5685" y="16153"/>
                  </a:lnTo>
                  <a:close/>
                </a:path>
              </a:pathLst>
            </a:custGeom>
            <a:gradFill flip="none" rotWithShape="1">
              <a:gsLst>
                <a:gs pos="0">
                  <a:schemeClr val="bg1">
                    <a:lumMod val="100000"/>
                    <a:alpha val="0"/>
                  </a:schemeClr>
                </a:gs>
                <a:gs pos="100000">
                  <a:schemeClr val="bg1">
                    <a:alpha val="46000"/>
                    <a:lumMod val="86000"/>
                  </a:schemeClr>
                </a:gs>
              </a:gsLst>
              <a:lin ang="18900000" scaled="1"/>
              <a:tileRect/>
            </a:gradFill>
            <a:ln w="9525">
              <a:noFill/>
              <a:round/>
              <a:headEnd/>
              <a:tailEnd/>
            </a:ln>
            <a:effectLst>
              <a:outerShdw blurRad="50800" dist="38100" dir="5400000" algn="t" rotWithShape="0">
                <a:prstClr val="black">
                  <a:alpha val="20000"/>
                </a:prstClr>
              </a:outerShdw>
            </a:effectLst>
          </p:spPr>
          <p:txBody>
            <a:bodyPr/>
            <a:lstStyle/>
            <a:p>
              <a:pPr defTabSz="457200">
                <a:defRPr/>
              </a:pPr>
              <a:endParaRPr lang="id-ID">
                <a:solidFill>
                  <a:prstClr val="black"/>
                </a:solidFill>
                <a:latin typeface="+mn-lt"/>
                <a:ea typeface="MS PGothic" pitchFamily="34" charset="-128"/>
                <a:cs typeface="+mn-cs"/>
              </a:endParaRPr>
            </a:p>
          </p:txBody>
        </p:sp>
        <p:sp>
          <p:nvSpPr>
            <p:cNvPr id="53" name="Freeform 17"/>
            <p:cNvSpPr>
              <a:spLocks/>
            </p:cNvSpPr>
            <p:nvPr/>
          </p:nvSpPr>
          <p:spPr bwMode="auto">
            <a:xfrm>
              <a:off x="3596192" y="2687994"/>
              <a:ext cx="579467" cy="1565397"/>
            </a:xfrm>
            <a:custGeom>
              <a:avLst/>
              <a:gdLst/>
              <a:ahLst/>
              <a:cxnLst>
                <a:cxn ang="0">
                  <a:pos x="604" y="38"/>
                </a:cxn>
                <a:cxn ang="0">
                  <a:pos x="679" y="112"/>
                </a:cxn>
                <a:cxn ang="0">
                  <a:pos x="787" y="226"/>
                </a:cxn>
                <a:cxn ang="0">
                  <a:pos x="923" y="366"/>
                </a:cxn>
                <a:cxn ang="0">
                  <a:pos x="1051" y="493"/>
                </a:cxn>
                <a:cxn ang="0">
                  <a:pos x="1174" y="607"/>
                </a:cxn>
                <a:cxn ang="0">
                  <a:pos x="1292" y="709"/>
                </a:cxn>
                <a:cxn ang="0">
                  <a:pos x="1405" y="801"/>
                </a:cxn>
                <a:cxn ang="0">
                  <a:pos x="1513" y="882"/>
                </a:cxn>
                <a:cxn ang="0">
                  <a:pos x="1620" y="953"/>
                </a:cxn>
                <a:cxn ang="0">
                  <a:pos x="1643" y="1050"/>
                </a:cxn>
                <a:cxn ang="0">
                  <a:pos x="1585" y="1181"/>
                </a:cxn>
                <a:cxn ang="0">
                  <a:pos x="1528" y="1313"/>
                </a:cxn>
                <a:cxn ang="0">
                  <a:pos x="1472" y="1444"/>
                </a:cxn>
                <a:cxn ang="0">
                  <a:pos x="1418" y="1575"/>
                </a:cxn>
                <a:cxn ang="0">
                  <a:pos x="1367" y="1705"/>
                </a:cxn>
                <a:cxn ang="0">
                  <a:pos x="1319" y="1834"/>
                </a:cxn>
                <a:cxn ang="0">
                  <a:pos x="1273" y="1960"/>
                </a:cxn>
                <a:cxn ang="0">
                  <a:pos x="1209" y="2151"/>
                </a:cxn>
                <a:cxn ang="0">
                  <a:pos x="1135" y="2455"/>
                </a:cxn>
                <a:cxn ang="0">
                  <a:pos x="1067" y="2812"/>
                </a:cxn>
                <a:cxn ang="0">
                  <a:pos x="1006" y="3211"/>
                </a:cxn>
                <a:cxn ang="0">
                  <a:pos x="953" y="3641"/>
                </a:cxn>
                <a:cxn ang="0">
                  <a:pos x="907" y="4092"/>
                </a:cxn>
                <a:cxn ang="0">
                  <a:pos x="866" y="4555"/>
                </a:cxn>
                <a:cxn ang="0">
                  <a:pos x="831" y="5017"/>
                </a:cxn>
                <a:cxn ang="0">
                  <a:pos x="802" y="5469"/>
                </a:cxn>
                <a:cxn ang="0">
                  <a:pos x="778" y="5902"/>
                </a:cxn>
                <a:cxn ang="0">
                  <a:pos x="750" y="6490"/>
                </a:cxn>
                <a:cxn ang="0">
                  <a:pos x="727" y="7105"/>
                </a:cxn>
                <a:cxn ang="0">
                  <a:pos x="717" y="7452"/>
                </a:cxn>
                <a:cxn ang="0">
                  <a:pos x="706" y="7463"/>
                </a:cxn>
                <a:cxn ang="0">
                  <a:pos x="631" y="7183"/>
                </a:cxn>
                <a:cxn ang="0">
                  <a:pos x="541" y="6818"/>
                </a:cxn>
                <a:cxn ang="0">
                  <a:pos x="471" y="6514"/>
                </a:cxn>
                <a:cxn ang="0">
                  <a:pos x="397" y="6170"/>
                </a:cxn>
                <a:cxn ang="0">
                  <a:pos x="320" y="5791"/>
                </a:cxn>
                <a:cxn ang="0">
                  <a:pos x="244" y="5385"/>
                </a:cxn>
                <a:cxn ang="0">
                  <a:pos x="174" y="4956"/>
                </a:cxn>
                <a:cxn ang="0">
                  <a:pos x="112" y="4513"/>
                </a:cxn>
                <a:cxn ang="0">
                  <a:pos x="60" y="4063"/>
                </a:cxn>
                <a:cxn ang="0">
                  <a:pos x="23" y="3610"/>
                </a:cxn>
                <a:cxn ang="0">
                  <a:pos x="3" y="3163"/>
                </a:cxn>
                <a:cxn ang="0">
                  <a:pos x="3" y="2727"/>
                </a:cxn>
                <a:cxn ang="0">
                  <a:pos x="26" y="2311"/>
                </a:cxn>
                <a:cxn ang="0">
                  <a:pos x="58" y="2037"/>
                </a:cxn>
                <a:cxn ang="0">
                  <a:pos x="79" y="1890"/>
                </a:cxn>
                <a:cxn ang="0">
                  <a:pos x="103" y="1744"/>
                </a:cxn>
                <a:cxn ang="0">
                  <a:pos x="128" y="1601"/>
                </a:cxn>
                <a:cxn ang="0">
                  <a:pos x="170" y="1389"/>
                </a:cxn>
                <a:cxn ang="0">
                  <a:pos x="232" y="1114"/>
                </a:cxn>
                <a:cxn ang="0">
                  <a:pos x="300" y="848"/>
                </a:cxn>
                <a:cxn ang="0">
                  <a:pos x="373" y="593"/>
                </a:cxn>
                <a:cxn ang="0">
                  <a:pos x="449" y="347"/>
                </a:cxn>
                <a:cxn ang="0">
                  <a:pos x="528" y="113"/>
                </a:cxn>
              </a:cxnLst>
              <a:rect l="0" t="0" r="r" b="b"/>
              <a:pathLst>
                <a:path w="1673" h="7500">
                  <a:moveTo>
                    <a:pt x="567" y="0"/>
                  </a:moveTo>
                  <a:lnTo>
                    <a:pt x="604" y="38"/>
                  </a:lnTo>
                  <a:lnTo>
                    <a:pt x="642" y="74"/>
                  </a:lnTo>
                  <a:lnTo>
                    <a:pt x="679" y="112"/>
                  </a:lnTo>
                  <a:lnTo>
                    <a:pt x="716" y="152"/>
                  </a:lnTo>
                  <a:lnTo>
                    <a:pt x="787" y="226"/>
                  </a:lnTo>
                  <a:lnTo>
                    <a:pt x="856" y="298"/>
                  </a:lnTo>
                  <a:lnTo>
                    <a:pt x="923" y="366"/>
                  </a:lnTo>
                  <a:lnTo>
                    <a:pt x="988" y="432"/>
                  </a:lnTo>
                  <a:lnTo>
                    <a:pt x="1051" y="493"/>
                  </a:lnTo>
                  <a:lnTo>
                    <a:pt x="1113" y="551"/>
                  </a:lnTo>
                  <a:lnTo>
                    <a:pt x="1174" y="607"/>
                  </a:lnTo>
                  <a:lnTo>
                    <a:pt x="1233" y="660"/>
                  </a:lnTo>
                  <a:lnTo>
                    <a:pt x="1292" y="709"/>
                  </a:lnTo>
                  <a:lnTo>
                    <a:pt x="1348" y="757"/>
                  </a:lnTo>
                  <a:lnTo>
                    <a:pt x="1405" y="801"/>
                  </a:lnTo>
                  <a:lnTo>
                    <a:pt x="1459" y="842"/>
                  </a:lnTo>
                  <a:lnTo>
                    <a:pt x="1513" y="882"/>
                  </a:lnTo>
                  <a:lnTo>
                    <a:pt x="1567" y="918"/>
                  </a:lnTo>
                  <a:lnTo>
                    <a:pt x="1620" y="953"/>
                  </a:lnTo>
                  <a:lnTo>
                    <a:pt x="1673" y="985"/>
                  </a:lnTo>
                  <a:lnTo>
                    <a:pt x="1643" y="1050"/>
                  </a:lnTo>
                  <a:lnTo>
                    <a:pt x="1614" y="1116"/>
                  </a:lnTo>
                  <a:lnTo>
                    <a:pt x="1585" y="1181"/>
                  </a:lnTo>
                  <a:lnTo>
                    <a:pt x="1556" y="1248"/>
                  </a:lnTo>
                  <a:lnTo>
                    <a:pt x="1528" y="1313"/>
                  </a:lnTo>
                  <a:lnTo>
                    <a:pt x="1499" y="1379"/>
                  </a:lnTo>
                  <a:lnTo>
                    <a:pt x="1472" y="1444"/>
                  </a:lnTo>
                  <a:lnTo>
                    <a:pt x="1445" y="1510"/>
                  </a:lnTo>
                  <a:lnTo>
                    <a:pt x="1418" y="1575"/>
                  </a:lnTo>
                  <a:lnTo>
                    <a:pt x="1392" y="1640"/>
                  </a:lnTo>
                  <a:lnTo>
                    <a:pt x="1367" y="1705"/>
                  </a:lnTo>
                  <a:lnTo>
                    <a:pt x="1343" y="1769"/>
                  </a:lnTo>
                  <a:lnTo>
                    <a:pt x="1319" y="1834"/>
                  </a:lnTo>
                  <a:lnTo>
                    <a:pt x="1295" y="1897"/>
                  </a:lnTo>
                  <a:lnTo>
                    <a:pt x="1273" y="1960"/>
                  </a:lnTo>
                  <a:lnTo>
                    <a:pt x="1250" y="2022"/>
                  </a:lnTo>
                  <a:lnTo>
                    <a:pt x="1209" y="2151"/>
                  </a:lnTo>
                  <a:lnTo>
                    <a:pt x="1171" y="2296"/>
                  </a:lnTo>
                  <a:lnTo>
                    <a:pt x="1135" y="2455"/>
                  </a:lnTo>
                  <a:lnTo>
                    <a:pt x="1100" y="2628"/>
                  </a:lnTo>
                  <a:lnTo>
                    <a:pt x="1067" y="2812"/>
                  </a:lnTo>
                  <a:lnTo>
                    <a:pt x="1036" y="3007"/>
                  </a:lnTo>
                  <a:lnTo>
                    <a:pt x="1006" y="3211"/>
                  </a:lnTo>
                  <a:lnTo>
                    <a:pt x="979" y="3423"/>
                  </a:lnTo>
                  <a:lnTo>
                    <a:pt x="953" y="3641"/>
                  </a:lnTo>
                  <a:lnTo>
                    <a:pt x="929" y="3865"/>
                  </a:lnTo>
                  <a:lnTo>
                    <a:pt x="907" y="4092"/>
                  </a:lnTo>
                  <a:lnTo>
                    <a:pt x="885" y="4322"/>
                  </a:lnTo>
                  <a:lnTo>
                    <a:pt x="866" y="4555"/>
                  </a:lnTo>
                  <a:lnTo>
                    <a:pt x="848" y="4786"/>
                  </a:lnTo>
                  <a:lnTo>
                    <a:pt x="831" y="5017"/>
                  </a:lnTo>
                  <a:lnTo>
                    <a:pt x="817" y="5246"/>
                  </a:lnTo>
                  <a:lnTo>
                    <a:pt x="802" y="5469"/>
                  </a:lnTo>
                  <a:lnTo>
                    <a:pt x="789" y="5689"/>
                  </a:lnTo>
                  <a:lnTo>
                    <a:pt x="778" y="5902"/>
                  </a:lnTo>
                  <a:lnTo>
                    <a:pt x="768" y="6107"/>
                  </a:lnTo>
                  <a:lnTo>
                    <a:pt x="750" y="6490"/>
                  </a:lnTo>
                  <a:lnTo>
                    <a:pt x="736" y="6826"/>
                  </a:lnTo>
                  <a:lnTo>
                    <a:pt x="727" y="7105"/>
                  </a:lnTo>
                  <a:lnTo>
                    <a:pt x="721" y="7318"/>
                  </a:lnTo>
                  <a:lnTo>
                    <a:pt x="717" y="7452"/>
                  </a:lnTo>
                  <a:lnTo>
                    <a:pt x="716" y="7500"/>
                  </a:lnTo>
                  <a:lnTo>
                    <a:pt x="706" y="7463"/>
                  </a:lnTo>
                  <a:lnTo>
                    <a:pt x="677" y="7354"/>
                  </a:lnTo>
                  <a:lnTo>
                    <a:pt x="631" y="7183"/>
                  </a:lnTo>
                  <a:lnTo>
                    <a:pt x="574" y="6952"/>
                  </a:lnTo>
                  <a:lnTo>
                    <a:pt x="541" y="6818"/>
                  </a:lnTo>
                  <a:lnTo>
                    <a:pt x="507" y="6671"/>
                  </a:lnTo>
                  <a:lnTo>
                    <a:pt x="471" y="6514"/>
                  </a:lnTo>
                  <a:lnTo>
                    <a:pt x="434" y="6347"/>
                  </a:lnTo>
                  <a:lnTo>
                    <a:pt x="397" y="6170"/>
                  </a:lnTo>
                  <a:lnTo>
                    <a:pt x="358" y="5984"/>
                  </a:lnTo>
                  <a:lnTo>
                    <a:pt x="320" y="5791"/>
                  </a:lnTo>
                  <a:lnTo>
                    <a:pt x="281" y="5590"/>
                  </a:lnTo>
                  <a:lnTo>
                    <a:pt x="244" y="5385"/>
                  </a:lnTo>
                  <a:lnTo>
                    <a:pt x="209" y="5172"/>
                  </a:lnTo>
                  <a:lnTo>
                    <a:pt x="174" y="4956"/>
                  </a:lnTo>
                  <a:lnTo>
                    <a:pt x="141" y="4736"/>
                  </a:lnTo>
                  <a:lnTo>
                    <a:pt x="112" y="4513"/>
                  </a:lnTo>
                  <a:lnTo>
                    <a:pt x="84" y="4289"/>
                  </a:lnTo>
                  <a:lnTo>
                    <a:pt x="60" y="4063"/>
                  </a:lnTo>
                  <a:lnTo>
                    <a:pt x="40" y="3836"/>
                  </a:lnTo>
                  <a:lnTo>
                    <a:pt x="23" y="3610"/>
                  </a:lnTo>
                  <a:lnTo>
                    <a:pt x="11" y="3386"/>
                  </a:lnTo>
                  <a:lnTo>
                    <a:pt x="3" y="3163"/>
                  </a:lnTo>
                  <a:lnTo>
                    <a:pt x="0" y="2943"/>
                  </a:lnTo>
                  <a:lnTo>
                    <a:pt x="3" y="2727"/>
                  </a:lnTo>
                  <a:lnTo>
                    <a:pt x="12" y="2516"/>
                  </a:lnTo>
                  <a:lnTo>
                    <a:pt x="26" y="2311"/>
                  </a:lnTo>
                  <a:lnTo>
                    <a:pt x="48" y="2111"/>
                  </a:lnTo>
                  <a:lnTo>
                    <a:pt x="58" y="2037"/>
                  </a:lnTo>
                  <a:lnTo>
                    <a:pt x="68" y="1963"/>
                  </a:lnTo>
                  <a:lnTo>
                    <a:pt x="79" y="1890"/>
                  </a:lnTo>
                  <a:lnTo>
                    <a:pt x="91" y="1817"/>
                  </a:lnTo>
                  <a:lnTo>
                    <a:pt x="103" y="1744"/>
                  </a:lnTo>
                  <a:lnTo>
                    <a:pt x="116" y="1672"/>
                  </a:lnTo>
                  <a:lnTo>
                    <a:pt x="128" y="1601"/>
                  </a:lnTo>
                  <a:lnTo>
                    <a:pt x="141" y="1530"/>
                  </a:lnTo>
                  <a:lnTo>
                    <a:pt x="170" y="1389"/>
                  </a:lnTo>
                  <a:lnTo>
                    <a:pt x="200" y="1250"/>
                  </a:lnTo>
                  <a:lnTo>
                    <a:pt x="232" y="1114"/>
                  </a:lnTo>
                  <a:lnTo>
                    <a:pt x="266" y="980"/>
                  </a:lnTo>
                  <a:lnTo>
                    <a:pt x="300" y="848"/>
                  </a:lnTo>
                  <a:lnTo>
                    <a:pt x="336" y="719"/>
                  </a:lnTo>
                  <a:lnTo>
                    <a:pt x="373" y="593"/>
                  </a:lnTo>
                  <a:lnTo>
                    <a:pt x="410" y="469"/>
                  </a:lnTo>
                  <a:lnTo>
                    <a:pt x="449" y="347"/>
                  </a:lnTo>
                  <a:lnTo>
                    <a:pt x="488" y="228"/>
                  </a:lnTo>
                  <a:lnTo>
                    <a:pt x="528" y="113"/>
                  </a:lnTo>
                  <a:lnTo>
                    <a:pt x="567" y="0"/>
                  </a:lnTo>
                  <a:close/>
                </a:path>
              </a:pathLst>
            </a:custGeom>
            <a:gradFill flip="none" rotWithShape="1">
              <a:gsLst>
                <a:gs pos="0">
                  <a:schemeClr val="bg1">
                    <a:alpha val="0"/>
                  </a:schemeClr>
                </a:gs>
                <a:gs pos="100000">
                  <a:schemeClr val="bg1">
                    <a:alpha val="24000"/>
                  </a:schemeClr>
                </a:gs>
                <a:gs pos="39000">
                  <a:schemeClr val="bg1">
                    <a:lumMod val="85000"/>
                    <a:alpha val="11000"/>
                  </a:schemeClr>
                </a:gs>
              </a:gsLst>
              <a:lin ang="600000" scaled="0"/>
              <a:tileRect/>
            </a:gradFill>
            <a:ln w="9525">
              <a:noFill/>
              <a:round/>
              <a:headEnd/>
              <a:tailEnd/>
            </a:ln>
            <a:effectLst>
              <a:outerShdw blurRad="50800" dist="38100" dir="5400000" algn="t" rotWithShape="0">
                <a:prstClr val="black">
                  <a:alpha val="20000"/>
                </a:prstClr>
              </a:outerShdw>
            </a:effectLst>
          </p:spPr>
          <p:txBody>
            <a:bodyPr/>
            <a:lstStyle/>
            <a:p>
              <a:pPr defTabSz="457200">
                <a:defRPr/>
              </a:pPr>
              <a:endParaRPr lang="id-ID">
                <a:solidFill>
                  <a:prstClr val="black"/>
                </a:solidFill>
                <a:latin typeface="+mn-lt"/>
                <a:ea typeface="MS PGothic" pitchFamily="34" charset="-128"/>
                <a:cs typeface="+mn-cs"/>
              </a:endParaRPr>
            </a:p>
          </p:txBody>
        </p:sp>
        <p:sp>
          <p:nvSpPr>
            <p:cNvPr id="54" name="Freeform 17"/>
            <p:cNvSpPr>
              <a:spLocks/>
            </p:cNvSpPr>
            <p:nvPr/>
          </p:nvSpPr>
          <p:spPr bwMode="auto">
            <a:xfrm>
              <a:off x="3445448" y="1855791"/>
              <a:ext cx="618190" cy="1517231"/>
            </a:xfrm>
            <a:custGeom>
              <a:avLst/>
              <a:gdLst/>
              <a:ahLst/>
              <a:cxnLst>
                <a:cxn ang="0">
                  <a:pos x="604" y="38"/>
                </a:cxn>
                <a:cxn ang="0">
                  <a:pos x="679" y="112"/>
                </a:cxn>
                <a:cxn ang="0">
                  <a:pos x="787" y="226"/>
                </a:cxn>
                <a:cxn ang="0">
                  <a:pos x="923" y="366"/>
                </a:cxn>
                <a:cxn ang="0">
                  <a:pos x="1051" y="493"/>
                </a:cxn>
                <a:cxn ang="0">
                  <a:pos x="1174" y="607"/>
                </a:cxn>
                <a:cxn ang="0">
                  <a:pos x="1292" y="709"/>
                </a:cxn>
                <a:cxn ang="0">
                  <a:pos x="1405" y="801"/>
                </a:cxn>
                <a:cxn ang="0">
                  <a:pos x="1513" y="882"/>
                </a:cxn>
                <a:cxn ang="0">
                  <a:pos x="1620" y="953"/>
                </a:cxn>
                <a:cxn ang="0">
                  <a:pos x="1643" y="1050"/>
                </a:cxn>
                <a:cxn ang="0">
                  <a:pos x="1585" y="1181"/>
                </a:cxn>
                <a:cxn ang="0">
                  <a:pos x="1528" y="1313"/>
                </a:cxn>
                <a:cxn ang="0">
                  <a:pos x="1472" y="1444"/>
                </a:cxn>
                <a:cxn ang="0">
                  <a:pos x="1418" y="1575"/>
                </a:cxn>
                <a:cxn ang="0">
                  <a:pos x="1367" y="1705"/>
                </a:cxn>
                <a:cxn ang="0">
                  <a:pos x="1319" y="1834"/>
                </a:cxn>
                <a:cxn ang="0">
                  <a:pos x="1273" y="1960"/>
                </a:cxn>
                <a:cxn ang="0">
                  <a:pos x="1209" y="2151"/>
                </a:cxn>
                <a:cxn ang="0">
                  <a:pos x="1135" y="2455"/>
                </a:cxn>
                <a:cxn ang="0">
                  <a:pos x="1067" y="2812"/>
                </a:cxn>
                <a:cxn ang="0">
                  <a:pos x="1006" y="3211"/>
                </a:cxn>
                <a:cxn ang="0">
                  <a:pos x="953" y="3641"/>
                </a:cxn>
                <a:cxn ang="0">
                  <a:pos x="907" y="4092"/>
                </a:cxn>
                <a:cxn ang="0">
                  <a:pos x="866" y="4555"/>
                </a:cxn>
                <a:cxn ang="0">
                  <a:pos x="831" y="5017"/>
                </a:cxn>
                <a:cxn ang="0">
                  <a:pos x="802" y="5469"/>
                </a:cxn>
                <a:cxn ang="0">
                  <a:pos x="778" y="5902"/>
                </a:cxn>
                <a:cxn ang="0">
                  <a:pos x="750" y="6490"/>
                </a:cxn>
                <a:cxn ang="0">
                  <a:pos x="727" y="7105"/>
                </a:cxn>
                <a:cxn ang="0">
                  <a:pos x="717" y="7452"/>
                </a:cxn>
                <a:cxn ang="0">
                  <a:pos x="706" y="7463"/>
                </a:cxn>
                <a:cxn ang="0">
                  <a:pos x="631" y="7183"/>
                </a:cxn>
                <a:cxn ang="0">
                  <a:pos x="541" y="6818"/>
                </a:cxn>
                <a:cxn ang="0">
                  <a:pos x="471" y="6514"/>
                </a:cxn>
                <a:cxn ang="0">
                  <a:pos x="397" y="6170"/>
                </a:cxn>
                <a:cxn ang="0">
                  <a:pos x="320" y="5791"/>
                </a:cxn>
                <a:cxn ang="0">
                  <a:pos x="244" y="5385"/>
                </a:cxn>
                <a:cxn ang="0">
                  <a:pos x="174" y="4956"/>
                </a:cxn>
                <a:cxn ang="0">
                  <a:pos x="112" y="4513"/>
                </a:cxn>
                <a:cxn ang="0">
                  <a:pos x="60" y="4063"/>
                </a:cxn>
                <a:cxn ang="0">
                  <a:pos x="23" y="3610"/>
                </a:cxn>
                <a:cxn ang="0">
                  <a:pos x="3" y="3163"/>
                </a:cxn>
                <a:cxn ang="0">
                  <a:pos x="3" y="2727"/>
                </a:cxn>
                <a:cxn ang="0">
                  <a:pos x="26" y="2311"/>
                </a:cxn>
                <a:cxn ang="0">
                  <a:pos x="58" y="2037"/>
                </a:cxn>
                <a:cxn ang="0">
                  <a:pos x="79" y="1890"/>
                </a:cxn>
                <a:cxn ang="0">
                  <a:pos x="103" y="1744"/>
                </a:cxn>
                <a:cxn ang="0">
                  <a:pos x="128" y="1601"/>
                </a:cxn>
                <a:cxn ang="0">
                  <a:pos x="170" y="1389"/>
                </a:cxn>
                <a:cxn ang="0">
                  <a:pos x="232" y="1114"/>
                </a:cxn>
                <a:cxn ang="0">
                  <a:pos x="300" y="848"/>
                </a:cxn>
                <a:cxn ang="0">
                  <a:pos x="373" y="593"/>
                </a:cxn>
                <a:cxn ang="0">
                  <a:pos x="449" y="347"/>
                </a:cxn>
                <a:cxn ang="0">
                  <a:pos x="528" y="113"/>
                </a:cxn>
              </a:cxnLst>
              <a:rect l="0" t="0" r="r" b="b"/>
              <a:pathLst>
                <a:path w="1673" h="7500">
                  <a:moveTo>
                    <a:pt x="567" y="0"/>
                  </a:moveTo>
                  <a:lnTo>
                    <a:pt x="604" y="38"/>
                  </a:lnTo>
                  <a:lnTo>
                    <a:pt x="642" y="74"/>
                  </a:lnTo>
                  <a:lnTo>
                    <a:pt x="679" y="112"/>
                  </a:lnTo>
                  <a:lnTo>
                    <a:pt x="716" y="152"/>
                  </a:lnTo>
                  <a:lnTo>
                    <a:pt x="787" y="226"/>
                  </a:lnTo>
                  <a:lnTo>
                    <a:pt x="856" y="298"/>
                  </a:lnTo>
                  <a:lnTo>
                    <a:pt x="923" y="366"/>
                  </a:lnTo>
                  <a:lnTo>
                    <a:pt x="988" y="432"/>
                  </a:lnTo>
                  <a:lnTo>
                    <a:pt x="1051" y="493"/>
                  </a:lnTo>
                  <a:lnTo>
                    <a:pt x="1113" y="551"/>
                  </a:lnTo>
                  <a:lnTo>
                    <a:pt x="1174" y="607"/>
                  </a:lnTo>
                  <a:lnTo>
                    <a:pt x="1233" y="660"/>
                  </a:lnTo>
                  <a:lnTo>
                    <a:pt x="1292" y="709"/>
                  </a:lnTo>
                  <a:lnTo>
                    <a:pt x="1348" y="757"/>
                  </a:lnTo>
                  <a:lnTo>
                    <a:pt x="1405" y="801"/>
                  </a:lnTo>
                  <a:lnTo>
                    <a:pt x="1459" y="842"/>
                  </a:lnTo>
                  <a:lnTo>
                    <a:pt x="1513" y="882"/>
                  </a:lnTo>
                  <a:lnTo>
                    <a:pt x="1567" y="918"/>
                  </a:lnTo>
                  <a:lnTo>
                    <a:pt x="1620" y="953"/>
                  </a:lnTo>
                  <a:lnTo>
                    <a:pt x="1673" y="985"/>
                  </a:lnTo>
                  <a:lnTo>
                    <a:pt x="1643" y="1050"/>
                  </a:lnTo>
                  <a:lnTo>
                    <a:pt x="1614" y="1116"/>
                  </a:lnTo>
                  <a:lnTo>
                    <a:pt x="1585" y="1181"/>
                  </a:lnTo>
                  <a:lnTo>
                    <a:pt x="1556" y="1248"/>
                  </a:lnTo>
                  <a:lnTo>
                    <a:pt x="1528" y="1313"/>
                  </a:lnTo>
                  <a:lnTo>
                    <a:pt x="1499" y="1379"/>
                  </a:lnTo>
                  <a:lnTo>
                    <a:pt x="1472" y="1444"/>
                  </a:lnTo>
                  <a:lnTo>
                    <a:pt x="1445" y="1510"/>
                  </a:lnTo>
                  <a:lnTo>
                    <a:pt x="1418" y="1575"/>
                  </a:lnTo>
                  <a:lnTo>
                    <a:pt x="1392" y="1640"/>
                  </a:lnTo>
                  <a:lnTo>
                    <a:pt x="1367" y="1705"/>
                  </a:lnTo>
                  <a:lnTo>
                    <a:pt x="1343" y="1769"/>
                  </a:lnTo>
                  <a:lnTo>
                    <a:pt x="1319" y="1834"/>
                  </a:lnTo>
                  <a:lnTo>
                    <a:pt x="1295" y="1897"/>
                  </a:lnTo>
                  <a:lnTo>
                    <a:pt x="1273" y="1960"/>
                  </a:lnTo>
                  <a:lnTo>
                    <a:pt x="1250" y="2022"/>
                  </a:lnTo>
                  <a:lnTo>
                    <a:pt x="1209" y="2151"/>
                  </a:lnTo>
                  <a:lnTo>
                    <a:pt x="1171" y="2296"/>
                  </a:lnTo>
                  <a:lnTo>
                    <a:pt x="1135" y="2455"/>
                  </a:lnTo>
                  <a:lnTo>
                    <a:pt x="1100" y="2628"/>
                  </a:lnTo>
                  <a:lnTo>
                    <a:pt x="1067" y="2812"/>
                  </a:lnTo>
                  <a:lnTo>
                    <a:pt x="1036" y="3007"/>
                  </a:lnTo>
                  <a:lnTo>
                    <a:pt x="1006" y="3211"/>
                  </a:lnTo>
                  <a:lnTo>
                    <a:pt x="979" y="3423"/>
                  </a:lnTo>
                  <a:lnTo>
                    <a:pt x="953" y="3641"/>
                  </a:lnTo>
                  <a:lnTo>
                    <a:pt x="929" y="3865"/>
                  </a:lnTo>
                  <a:lnTo>
                    <a:pt x="907" y="4092"/>
                  </a:lnTo>
                  <a:lnTo>
                    <a:pt x="885" y="4322"/>
                  </a:lnTo>
                  <a:lnTo>
                    <a:pt x="866" y="4555"/>
                  </a:lnTo>
                  <a:lnTo>
                    <a:pt x="848" y="4786"/>
                  </a:lnTo>
                  <a:lnTo>
                    <a:pt x="831" y="5017"/>
                  </a:lnTo>
                  <a:lnTo>
                    <a:pt x="817" y="5246"/>
                  </a:lnTo>
                  <a:lnTo>
                    <a:pt x="802" y="5469"/>
                  </a:lnTo>
                  <a:lnTo>
                    <a:pt x="789" y="5689"/>
                  </a:lnTo>
                  <a:lnTo>
                    <a:pt x="778" y="5902"/>
                  </a:lnTo>
                  <a:lnTo>
                    <a:pt x="768" y="6107"/>
                  </a:lnTo>
                  <a:lnTo>
                    <a:pt x="750" y="6490"/>
                  </a:lnTo>
                  <a:lnTo>
                    <a:pt x="736" y="6826"/>
                  </a:lnTo>
                  <a:lnTo>
                    <a:pt x="727" y="7105"/>
                  </a:lnTo>
                  <a:lnTo>
                    <a:pt x="721" y="7318"/>
                  </a:lnTo>
                  <a:lnTo>
                    <a:pt x="717" y="7452"/>
                  </a:lnTo>
                  <a:lnTo>
                    <a:pt x="716" y="7500"/>
                  </a:lnTo>
                  <a:lnTo>
                    <a:pt x="706" y="7463"/>
                  </a:lnTo>
                  <a:lnTo>
                    <a:pt x="677" y="7354"/>
                  </a:lnTo>
                  <a:lnTo>
                    <a:pt x="631" y="7183"/>
                  </a:lnTo>
                  <a:lnTo>
                    <a:pt x="574" y="6952"/>
                  </a:lnTo>
                  <a:lnTo>
                    <a:pt x="541" y="6818"/>
                  </a:lnTo>
                  <a:lnTo>
                    <a:pt x="507" y="6671"/>
                  </a:lnTo>
                  <a:lnTo>
                    <a:pt x="471" y="6514"/>
                  </a:lnTo>
                  <a:lnTo>
                    <a:pt x="434" y="6347"/>
                  </a:lnTo>
                  <a:lnTo>
                    <a:pt x="397" y="6170"/>
                  </a:lnTo>
                  <a:lnTo>
                    <a:pt x="358" y="5984"/>
                  </a:lnTo>
                  <a:lnTo>
                    <a:pt x="320" y="5791"/>
                  </a:lnTo>
                  <a:lnTo>
                    <a:pt x="281" y="5590"/>
                  </a:lnTo>
                  <a:lnTo>
                    <a:pt x="244" y="5385"/>
                  </a:lnTo>
                  <a:lnTo>
                    <a:pt x="209" y="5172"/>
                  </a:lnTo>
                  <a:lnTo>
                    <a:pt x="174" y="4956"/>
                  </a:lnTo>
                  <a:lnTo>
                    <a:pt x="141" y="4736"/>
                  </a:lnTo>
                  <a:lnTo>
                    <a:pt x="112" y="4513"/>
                  </a:lnTo>
                  <a:lnTo>
                    <a:pt x="84" y="4289"/>
                  </a:lnTo>
                  <a:lnTo>
                    <a:pt x="60" y="4063"/>
                  </a:lnTo>
                  <a:lnTo>
                    <a:pt x="40" y="3836"/>
                  </a:lnTo>
                  <a:lnTo>
                    <a:pt x="23" y="3610"/>
                  </a:lnTo>
                  <a:lnTo>
                    <a:pt x="11" y="3386"/>
                  </a:lnTo>
                  <a:lnTo>
                    <a:pt x="3" y="3163"/>
                  </a:lnTo>
                  <a:lnTo>
                    <a:pt x="0" y="2943"/>
                  </a:lnTo>
                  <a:lnTo>
                    <a:pt x="3" y="2727"/>
                  </a:lnTo>
                  <a:lnTo>
                    <a:pt x="12" y="2516"/>
                  </a:lnTo>
                  <a:lnTo>
                    <a:pt x="26" y="2311"/>
                  </a:lnTo>
                  <a:lnTo>
                    <a:pt x="48" y="2111"/>
                  </a:lnTo>
                  <a:lnTo>
                    <a:pt x="58" y="2037"/>
                  </a:lnTo>
                  <a:lnTo>
                    <a:pt x="68" y="1963"/>
                  </a:lnTo>
                  <a:lnTo>
                    <a:pt x="79" y="1890"/>
                  </a:lnTo>
                  <a:lnTo>
                    <a:pt x="91" y="1817"/>
                  </a:lnTo>
                  <a:lnTo>
                    <a:pt x="103" y="1744"/>
                  </a:lnTo>
                  <a:lnTo>
                    <a:pt x="116" y="1672"/>
                  </a:lnTo>
                  <a:lnTo>
                    <a:pt x="128" y="1601"/>
                  </a:lnTo>
                  <a:lnTo>
                    <a:pt x="141" y="1530"/>
                  </a:lnTo>
                  <a:lnTo>
                    <a:pt x="170" y="1389"/>
                  </a:lnTo>
                  <a:lnTo>
                    <a:pt x="200" y="1250"/>
                  </a:lnTo>
                  <a:lnTo>
                    <a:pt x="232" y="1114"/>
                  </a:lnTo>
                  <a:lnTo>
                    <a:pt x="266" y="980"/>
                  </a:lnTo>
                  <a:lnTo>
                    <a:pt x="300" y="848"/>
                  </a:lnTo>
                  <a:lnTo>
                    <a:pt x="336" y="719"/>
                  </a:lnTo>
                  <a:lnTo>
                    <a:pt x="373" y="593"/>
                  </a:lnTo>
                  <a:lnTo>
                    <a:pt x="410" y="469"/>
                  </a:lnTo>
                  <a:lnTo>
                    <a:pt x="449" y="347"/>
                  </a:lnTo>
                  <a:lnTo>
                    <a:pt x="488" y="228"/>
                  </a:lnTo>
                  <a:lnTo>
                    <a:pt x="528" y="113"/>
                  </a:lnTo>
                  <a:lnTo>
                    <a:pt x="567" y="0"/>
                  </a:lnTo>
                  <a:close/>
                </a:path>
              </a:pathLst>
            </a:custGeom>
            <a:gradFill flip="none" rotWithShape="1">
              <a:gsLst>
                <a:gs pos="0">
                  <a:schemeClr val="bg1">
                    <a:alpha val="0"/>
                  </a:schemeClr>
                </a:gs>
                <a:gs pos="100000">
                  <a:schemeClr val="bg1">
                    <a:alpha val="24000"/>
                  </a:schemeClr>
                </a:gs>
                <a:gs pos="39000">
                  <a:schemeClr val="bg1">
                    <a:lumMod val="85000"/>
                    <a:alpha val="11000"/>
                  </a:schemeClr>
                </a:gs>
              </a:gsLst>
              <a:lin ang="600000" scaled="0"/>
              <a:tileRect/>
            </a:gradFill>
            <a:ln w="9525">
              <a:noFill/>
              <a:round/>
              <a:headEnd/>
              <a:tailEnd/>
            </a:ln>
            <a:effectLst>
              <a:outerShdw blurRad="50800" dist="38100" dir="5400000" algn="t" rotWithShape="0">
                <a:prstClr val="black">
                  <a:alpha val="20000"/>
                </a:prstClr>
              </a:outerShdw>
            </a:effectLst>
          </p:spPr>
          <p:txBody>
            <a:bodyPr/>
            <a:lstStyle/>
            <a:p>
              <a:pPr defTabSz="457200">
                <a:defRPr/>
              </a:pPr>
              <a:endParaRPr lang="id-ID">
                <a:solidFill>
                  <a:prstClr val="black"/>
                </a:solidFill>
                <a:latin typeface="+mn-lt"/>
                <a:ea typeface="MS PGothic" pitchFamily="34" charset="-128"/>
                <a:cs typeface="+mn-cs"/>
              </a:endParaRPr>
            </a:p>
          </p:txBody>
        </p:sp>
      </p:grpSp>
      <p:pic>
        <p:nvPicPr>
          <p:cNvPr id="251" name="Picture 250" descr="12801399_l.jpg"/>
          <p:cNvPicPr>
            <a:picLocks noChangeAspect="1"/>
          </p:cNvPicPr>
          <p:nvPr/>
        </p:nvPicPr>
        <p:blipFill>
          <a:blip r:embed="rId17" cstate="print"/>
          <a:srcRect r="64739" b="68960"/>
          <a:stretch>
            <a:fillRect/>
          </a:stretch>
        </p:blipFill>
        <p:spPr>
          <a:xfrm>
            <a:off x="6660232" y="2956908"/>
            <a:ext cx="2088232" cy="1440000"/>
          </a:xfrm>
          <a:prstGeom prst="rect">
            <a:avLst/>
          </a:prstGeom>
        </p:spPr>
      </p:pic>
      <p:pic>
        <p:nvPicPr>
          <p:cNvPr id="252" name="Picture 251" descr="17900311_l.jpg"/>
          <p:cNvPicPr>
            <a:picLocks noChangeAspect="1"/>
          </p:cNvPicPr>
          <p:nvPr/>
        </p:nvPicPr>
        <p:blipFill>
          <a:blip r:embed="rId18" cstate="print"/>
          <a:stretch>
            <a:fillRect/>
          </a:stretch>
        </p:blipFill>
        <p:spPr>
          <a:xfrm>
            <a:off x="6660231" y="4997620"/>
            <a:ext cx="2088233" cy="1440000"/>
          </a:xfrm>
          <a:prstGeom prst="rect">
            <a:avLst/>
          </a:prstGeom>
        </p:spPr>
      </p:pic>
      <p:grpSp>
        <p:nvGrpSpPr>
          <p:cNvPr id="260" name="Group 71"/>
          <p:cNvGrpSpPr>
            <a:grpSpLocks/>
          </p:cNvGrpSpPr>
          <p:nvPr/>
        </p:nvGrpSpPr>
        <p:grpSpPr bwMode="auto">
          <a:xfrm>
            <a:off x="1907704" y="4797152"/>
            <a:ext cx="360040" cy="432048"/>
            <a:chOff x="4212399" y="2500313"/>
            <a:chExt cx="975551" cy="1435364"/>
          </a:xfrm>
        </p:grpSpPr>
        <p:grpSp>
          <p:nvGrpSpPr>
            <p:cNvPr id="262" name="Group 72"/>
            <p:cNvGrpSpPr>
              <a:grpSpLocks/>
            </p:cNvGrpSpPr>
            <p:nvPr/>
          </p:nvGrpSpPr>
          <p:grpSpPr bwMode="auto">
            <a:xfrm>
              <a:off x="4212399" y="3437110"/>
              <a:ext cx="498086" cy="498567"/>
              <a:chOff x="5627209" y="1515183"/>
              <a:chExt cx="498086" cy="498567"/>
            </a:xfrm>
          </p:grpSpPr>
          <p:sp>
            <p:nvSpPr>
              <p:cNvPr id="273" name="Oval 272"/>
              <p:cNvSpPr>
                <a:spLocks noChangeArrowheads="1"/>
              </p:cNvSpPr>
              <p:nvPr/>
            </p:nvSpPr>
            <p:spPr bwMode="auto">
              <a:xfrm>
                <a:off x="5627209" y="1516204"/>
                <a:ext cx="496708" cy="497546"/>
              </a:xfrm>
              <a:prstGeom prst="ellipse">
                <a:avLst/>
              </a:prstGeom>
              <a:gradFill rotWithShape="0">
                <a:gsLst>
                  <a:gs pos="0">
                    <a:schemeClr val="bg1"/>
                  </a:gs>
                  <a:gs pos="100000">
                    <a:srgbClr val="D9D9D9"/>
                  </a:gs>
                </a:gsLst>
                <a:lin ang="5400000"/>
              </a:gradFill>
              <a:ln w="3175">
                <a:solidFill>
                  <a:schemeClr val="tx1"/>
                </a:solidFill>
                <a:round/>
                <a:headEnd/>
                <a:tailEnd/>
              </a:ln>
              <a:effectLst>
                <a:outerShdw blurRad="63500" sx="102000" sy="102000" algn="ctr" rotWithShape="0">
                  <a:srgbClr val="000000">
                    <a:alpha val="39999"/>
                  </a:srgbClr>
                </a:outerShdw>
              </a:effectLst>
            </p:spPr>
            <p:txBody>
              <a:bodyPr anchor="ctr"/>
              <a:lstStyle/>
              <a:p>
                <a:pPr algn="ctr" defTabSz="457200"/>
                <a:endParaRPr lang="nb-NO">
                  <a:solidFill>
                    <a:srgbClr val="FFFFFF"/>
                  </a:solidFill>
                  <a:ea typeface="MS PGothic" pitchFamily="34" charset="-128"/>
                </a:endParaRPr>
              </a:p>
            </p:txBody>
          </p:sp>
          <p:sp>
            <p:nvSpPr>
              <p:cNvPr id="274" name="Oval 273"/>
              <p:cNvSpPr/>
              <p:nvPr/>
            </p:nvSpPr>
            <p:spPr>
              <a:xfrm>
                <a:off x="5766572" y="1652224"/>
                <a:ext cx="225128" cy="225507"/>
              </a:xfrm>
              <a:prstGeom prst="ellipse">
                <a:avLst/>
              </a:prstGeom>
              <a:solidFill>
                <a:srgbClr val="92D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sp>
          <p:nvSpPr>
            <p:cNvPr id="269" name="Freeform 57"/>
            <p:cNvSpPr>
              <a:spLocks/>
            </p:cNvSpPr>
            <p:nvPr/>
          </p:nvSpPr>
          <p:spPr bwMode="auto">
            <a:xfrm rot="15813706" flipH="1" flipV="1">
              <a:off x="4658866" y="3156031"/>
              <a:ext cx="254143" cy="804025"/>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grpSp>
          <p:nvGrpSpPr>
            <p:cNvPr id="270" name="Group 133"/>
            <p:cNvGrpSpPr>
              <a:grpSpLocks/>
            </p:cNvGrpSpPr>
            <p:nvPr/>
          </p:nvGrpSpPr>
          <p:grpSpPr bwMode="auto">
            <a:xfrm flipH="1">
              <a:off x="4436064" y="2500313"/>
              <a:ext cx="650367" cy="1241653"/>
              <a:chOff x="7000949" y="2143116"/>
              <a:chExt cx="999336" cy="1834351"/>
            </a:xfrm>
          </p:grpSpPr>
          <p:sp>
            <p:nvSpPr>
              <p:cNvPr id="271" name="Freeform 57"/>
              <p:cNvSpPr>
                <a:spLocks/>
              </p:cNvSpPr>
              <p:nvPr/>
            </p:nvSpPr>
            <p:spPr bwMode="auto">
              <a:xfrm>
                <a:off x="6998704" y="2143116"/>
                <a:ext cx="999336" cy="183497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rgbClr val="FF0066"/>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sp>
            <p:nvSpPr>
              <p:cNvPr id="272" name="Oval 271"/>
              <p:cNvSpPr/>
              <p:nvPr/>
            </p:nvSpPr>
            <p:spPr>
              <a:xfrm flipV="1">
                <a:off x="7128300" y="2206820"/>
                <a:ext cx="687491" cy="623788"/>
              </a:xfrm>
              <a:prstGeom prst="ellipse">
                <a:avLst/>
              </a:prstGeom>
              <a:gradFill>
                <a:gsLst>
                  <a:gs pos="15000">
                    <a:schemeClr val="accent1">
                      <a:tint val="66000"/>
                      <a:satMod val="160000"/>
                      <a:alpha val="13000"/>
                    </a:schemeClr>
                  </a:gs>
                  <a:gs pos="100000">
                    <a:schemeClr val="accent1">
                      <a:tint val="44500"/>
                      <a:satMod val="160000"/>
                      <a:alpha val="59000"/>
                    </a:schemeClr>
                  </a:gs>
                  <a:gs pos="100000">
                    <a:schemeClr val="accent1">
                      <a:tint val="23500"/>
                      <a:satMod val="160000"/>
                      <a:alpha val="41000"/>
                    </a:schemeClr>
                  </a:gs>
                  <a:gs pos="100000">
                    <a:schemeClr val="accent1">
                      <a:tint val="23500"/>
                      <a:satMod val="16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grpSp>
      <p:grpSp>
        <p:nvGrpSpPr>
          <p:cNvPr id="275" name="Group 71"/>
          <p:cNvGrpSpPr>
            <a:grpSpLocks/>
          </p:cNvGrpSpPr>
          <p:nvPr/>
        </p:nvGrpSpPr>
        <p:grpSpPr bwMode="auto">
          <a:xfrm>
            <a:off x="4283968" y="4149080"/>
            <a:ext cx="360040" cy="432048"/>
            <a:chOff x="4212399" y="2500313"/>
            <a:chExt cx="975551" cy="1435364"/>
          </a:xfrm>
        </p:grpSpPr>
        <p:grpSp>
          <p:nvGrpSpPr>
            <p:cNvPr id="276" name="Group 72"/>
            <p:cNvGrpSpPr>
              <a:grpSpLocks/>
            </p:cNvGrpSpPr>
            <p:nvPr/>
          </p:nvGrpSpPr>
          <p:grpSpPr bwMode="auto">
            <a:xfrm>
              <a:off x="4212399" y="3437110"/>
              <a:ext cx="498086" cy="498567"/>
              <a:chOff x="5627209" y="1515183"/>
              <a:chExt cx="498086" cy="498567"/>
            </a:xfrm>
          </p:grpSpPr>
          <p:sp>
            <p:nvSpPr>
              <p:cNvPr id="281" name="Oval 280"/>
              <p:cNvSpPr>
                <a:spLocks noChangeArrowheads="1"/>
              </p:cNvSpPr>
              <p:nvPr/>
            </p:nvSpPr>
            <p:spPr bwMode="auto">
              <a:xfrm>
                <a:off x="5627209" y="1516204"/>
                <a:ext cx="496708" cy="497546"/>
              </a:xfrm>
              <a:prstGeom prst="ellipse">
                <a:avLst/>
              </a:prstGeom>
              <a:gradFill rotWithShape="0">
                <a:gsLst>
                  <a:gs pos="0">
                    <a:schemeClr val="bg1"/>
                  </a:gs>
                  <a:gs pos="100000">
                    <a:srgbClr val="D9D9D9"/>
                  </a:gs>
                </a:gsLst>
                <a:lin ang="5400000"/>
              </a:gradFill>
              <a:ln w="3175">
                <a:solidFill>
                  <a:schemeClr val="tx1"/>
                </a:solidFill>
                <a:round/>
                <a:headEnd/>
                <a:tailEnd/>
              </a:ln>
              <a:effectLst>
                <a:outerShdw blurRad="63500" sx="102000" sy="102000" algn="ctr" rotWithShape="0">
                  <a:srgbClr val="000000">
                    <a:alpha val="39999"/>
                  </a:srgbClr>
                </a:outerShdw>
              </a:effectLst>
            </p:spPr>
            <p:txBody>
              <a:bodyPr anchor="ctr"/>
              <a:lstStyle/>
              <a:p>
                <a:pPr algn="ctr" defTabSz="457200"/>
                <a:endParaRPr lang="nb-NO">
                  <a:solidFill>
                    <a:srgbClr val="FFFFFF"/>
                  </a:solidFill>
                  <a:ea typeface="MS PGothic" pitchFamily="34" charset="-128"/>
                </a:endParaRPr>
              </a:p>
            </p:txBody>
          </p:sp>
          <p:sp>
            <p:nvSpPr>
              <p:cNvPr id="282" name="Oval 281"/>
              <p:cNvSpPr/>
              <p:nvPr/>
            </p:nvSpPr>
            <p:spPr>
              <a:xfrm>
                <a:off x="5766572" y="1652224"/>
                <a:ext cx="225128" cy="225507"/>
              </a:xfrm>
              <a:prstGeom prst="ellipse">
                <a:avLst/>
              </a:prstGeom>
              <a:solidFill>
                <a:srgbClr val="92D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sp>
          <p:nvSpPr>
            <p:cNvPr id="277" name="Freeform 57"/>
            <p:cNvSpPr>
              <a:spLocks/>
            </p:cNvSpPr>
            <p:nvPr/>
          </p:nvSpPr>
          <p:spPr bwMode="auto">
            <a:xfrm rot="15813706" flipH="1" flipV="1">
              <a:off x="4658866" y="3156031"/>
              <a:ext cx="254143" cy="804025"/>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grpSp>
          <p:nvGrpSpPr>
            <p:cNvPr id="278" name="Group 133"/>
            <p:cNvGrpSpPr>
              <a:grpSpLocks/>
            </p:cNvGrpSpPr>
            <p:nvPr/>
          </p:nvGrpSpPr>
          <p:grpSpPr bwMode="auto">
            <a:xfrm flipH="1">
              <a:off x="4436064" y="2500313"/>
              <a:ext cx="650367" cy="1241653"/>
              <a:chOff x="7000949" y="2143116"/>
              <a:chExt cx="999336" cy="1834351"/>
            </a:xfrm>
          </p:grpSpPr>
          <p:sp>
            <p:nvSpPr>
              <p:cNvPr id="279" name="Freeform 57"/>
              <p:cNvSpPr>
                <a:spLocks/>
              </p:cNvSpPr>
              <p:nvPr/>
            </p:nvSpPr>
            <p:spPr bwMode="auto">
              <a:xfrm>
                <a:off x="6998704" y="2143116"/>
                <a:ext cx="999336" cy="183497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rgbClr val="7030A0"/>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sp>
            <p:nvSpPr>
              <p:cNvPr id="280" name="Oval 279"/>
              <p:cNvSpPr/>
              <p:nvPr/>
            </p:nvSpPr>
            <p:spPr>
              <a:xfrm flipV="1">
                <a:off x="7128300" y="2206820"/>
                <a:ext cx="687491" cy="623788"/>
              </a:xfrm>
              <a:prstGeom prst="ellipse">
                <a:avLst/>
              </a:prstGeom>
              <a:gradFill>
                <a:gsLst>
                  <a:gs pos="15000">
                    <a:schemeClr val="accent1">
                      <a:tint val="66000"/>
                      <a:satMod val="160000"/>
                      <a:alpha val="13000"/>
                    </a:schemeClr>
                  </a:gs>
                  <a:gs pos="100000">
                    <a:schemeClr val="accent1">
                      <a:tint val="44500"/>
                      <a:satMod val="160000"/>
                      <a:alpha val="59000"/>
                    </a:schemeClr>
                  </a:gs>
                  <a:gs pos="100000">
                    <a:schemeClr val="accent1">
                      <a:tint val="23500"/>
                      <a:satMod val="160000"/>
                      <a:alpha val="41000"/>
                    </a:schemeClr>
                  </a:gs>
                  <a:gs pos="100000">
                    <a:schemeClr val="accent1">
                      <a:tint val="23500"/>
                      <a:satMod val="16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grpSp>
      <p:sp>
        <p:nvSpPr>
          <p:cNvPr id="283" name="Rounded Rectangular Callout 282"/>
          <p:cNvSpPr/>
          <p:nvPr/>
        </p:nvSpPr>
        <p:spPr>
          <a:xfrm>
            <a:off x="611560" y="4797152"/>
            <a:ext cx="1295896" cy="576064"/>
          </a:xfrm>
          <a:prstGeom prst="wedgeRoundRectCallout">
            <a:avLst>
              <a:gd name="adj1" fmla="val 66537"/>
              <a:gd name="adj2" fmla="val -35182"/>
              <a:gd name="adj3" fmla="val 16667"/>
            </a:avLst>
          </a:prstGeom>
          <a:solidFill>
            <a:srgbClr val="FFFFFF">
              <a:alpha val="69804"/>
            </a:srgbClr>
          </a:solid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rPr>
              <a:t>South America </a:t>
            </a:r>
            <a:endParaRPr lang="en-IN" dirty="0">
              <a:solidFill>
                <a:schemeClr val="tx1"/>
              </a:solidFill>
            </a:endParaRPr>
          </a:p>
        </p:txBody>
      </p:sp>
      <p:sp>
        <p:nvSpPr>
          <p:cNvPr id="284" name="Rounded Rectangular Callout 283"/>
          <p:cNvSpPr/>
          <p:nvPr/>
        </p:nvSpPr>
        <p:spPr>
          <a:xfrm>
            <a:off x="4860032" y="4221088"/>
            <a:ext cx="1079872" cy="576064"/>
          </a:xfrm>
          <a:prstGeom prst="wedgeRoundRectCallout">
            <a:avLst>
              <a:gd name="adj1" fmla="val -78214"/>
              <a:gd name="adj2" fmla="val -31926"/>
              <a:gd name="adj3" fmla="val 16667"/>
            </a:avLst>
          </a:prstGeom>
          <a:solidFill>
            <a:srgbClr val="FFFFFF">
              <a:alpha val="69804"/>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rPr>
              <a:t>Hong Kong</a:t>
            </a:r>
            <a:endParaRPr lang="en-IN" dirty="0">
              <a:solidFill>
                <a:schemeClr val="tx1"/>
              </a:solidFill>
            </a:endParaRPr>
          </a:p>
        </p:txBody>
      </p:sp>
      <p:grpSp>
        <p:nvGrpSpPr>
          <p:cNvPr id="285" name="Group 71"/>
          <p:cNvGrpSpPr>
            <a:grpSpLocks/>
          </p:cNvGrpSpPr>
          <p:nvPr/>
        </p:nvGrpSpPr>
        <p:grpSpPr bwMode="auto">
          <a:xfrm>
            <a:off x="3851920" y="4293096"/>
            <a:ext cx="360040" cy="432048"/>
            <a:chOff x="4212399" y="2500313"/>
            <a:chExt cx="975551" cy="1435364"/>
          </a:xfrm>
        </p:grpSpPr>
        <p:grpSp>
          <p:nvGrpSpPr>
            <p:cNvPr id="286" name="Group 72"/>
            <p:cNvGrpSpPr>
              <a:grpSpLocks/>
            </p:cNvGrpSpPr>
            <p:nvPr/>
          </p:nvGrpSpPr>
          <p:grpSpPr bwMode="auto">
            <a:xfrm>
              <a:off x="4212399" y="3437110"/>
              <a:ext cx="498086" cy="498567"/>
              <a:chOff x="5627209" y="1515183"/>
              <a:chExt cx="498086" cy="498567"/>
            </a:xfrm>
          </p:grpSpPr>
          <p:sp>
            <p:nvSpPr>
              <p:cNvPr id="291" name="Oval 290"/>
              <p:cNvSpPr>
                <a:spLocks noChangeArrowheads="1"/>
              </p:cNvSpPr>
              <p:nvPr/>
            </p:nvSpPr>
            <p:spPr bwMode="auto">
              <a:xfrm>
                <a:off x="5627209" y="1516204"/>
                <a:ext cx="496708" cy="497546"/>
              </a:xfrm>
              <a:prstGeom prst="ellipse">
                <a:avLst/>
              </a:prstGeom>
              <a:gradFill rotWithShape="0">
                <a:gsLst>
                  <a:gs pos="0">
                    <a:schemeClr val="bg1"/>
                  </a:gs>
                  <a:gs pos="100000">
                    <a:srgbClr val="D9D9D9"/>
                  </a:gs>
                </a:gsLst>
                <a:lin ang="5400000"/>
              </a:gradFill>
              <a:ln w="3175">
                <a:solidFill>
                  <a:schemeClr val="tx1"/>
                </a:solidFill>
                <a:round/>
                <a:headEnd/>
                <a:tailEnd/>
              </a:ln>
              <a:effectLst>
                <a:outerShdw blurRad="63500" sx="102000" sy="102000" algn="ctr" rotWithShape="0">
                  <a:srgbClr val="000000">
                    <a:alpha val="39999"/>
                  </a:srgbClr>
                </a:outerShdw>
              </a:effectLst>
            </p:spPr>
            <p:txBody>
              <a:bodyPr anchor="ctr"/>
              <a:lstStyle/>
              <a:p>
                <a:pPr algn="ctr" defTabSz="457200"/>
                <a:endParaRPr lang="nb-NO">
                  <a:solidFill>
                    <a:srgbClr val="FFFFFF"/>
                  </a:solidFill>
                  <a:ea typeface="MS PGothic" pitchFamily="34" charset="-128"/>
                </a:endParaRPr>
              </a:p>
            </p:txBody>
          </p:sp>
          <p:sp>
            <p:nvSpPr>
              <p:cNvPr id="292" name="Oval 291"/>
              <p:cNvSpPr/>
              <p:nvPr/>
            </p:nvSpPr>
            <p:spPr>
              <a:xfrm>
                <a:off x="5766572" y="1652224"/>
                <a:ext cx="225128" cy="225507"/>
              </a:xfrm>
              <a:prstGeom prst="ellipse">
                <a:avLst/>
              </a:prstGeom>
              <a:solidFill>
                <a:srgbClr val="92D050"/>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sp>
          <p:nvSpPr>
            <p:cNvPr id="287" name="Freeform 57"/>
            <p:cNvSpPr>
              <a:spLocks/>
            </p:cNvSpPr>
            <p:nvPr/>
          </p:nvSpPr>
          <p:spPr bwMode="auto">
            <a:xfrm rot="15813706" flipH="1" flipV="1">
              <a:off x="4658866" y="3156031"/>
              <a:ext cx="254143" cy="804025"/>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grpSp>
          <p:nvGrpSpPr>
            <p:cNvPr id="288" name="Group 133"/>
            <p:cNvGrpSpPr>
              <a:grpSpLocks/>
            </p:cNvGrpSpPr>
            <p:nvPr/>
          </p:nvGrpSpPr>
          <p:grpSpPr bwMode="auto">
            <a:xfrm flipH="1">
              <a:off x="4436064" y="2500313"/>
              <a:ext cx="650367" cy="1241653"/>
              <a:chOff x="7000949" y="2143116"/>
              <a:chExt cx="999336" cy="1834351"/>
            </a:xfrm>
          </p:grpSpPr>
          <p:sp>
            <p:nvSpPr>
              <p:cNvPr id="289" name="Freeform 57"/>
              <p:cNvSpPr>
                <a:spLocks/>
              </p:cNvSpPr>
              <p:nvPr/>
            </p:nvSpPr>
            <p:spPr bwMode="auto">
              <a:xfrm>
                <a:off x="6998704" y="2143116"/>
                <a:ext cx="999336" cy="183497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accent6">
                  <a:lumMod val="75000"/>
                </a:schemeClr>
              </a:solidFill>
              <a:ln w="9525">
                <a:noFill/>
                <a:round/>
                <a:headEnd/>
                <a:tailEnd/>
              </a:ln>
              <a:effectLst/>
            </p:spPr>
            <p:txBody>
              <a:bodyPr/>
              <a:lstStyle/>
              <a:p>
                <a:pPr defTabSz="457200">
                  <a:defRPr/>
                </a:pPr>
                <a:endParaRPr lang="nb-NO">
                  <a:solidFill>
                    <a:prstClr val="black"/>
                  </a:solidFill>
                  <a:latin typeface="+mn-lt"/>
                  <a:ea typeface="MS PGothic" pitchFamily="34" charset="-128"/>
                  <a:cs typeface="+mn-cs"/>
                </a:endParaRPr>
              </a:p>
            </p:txBody>
          </p:sp>
          <p:sp>
            <p:nvSpPr>
              <p:cNvPr id="290" name="Oval 289"/>
              <p:cNvSpPr/>
              <p:nvPr/>
            </p:nvSpPr>
            <p:spPr>
              <a:xfrm flipV="1">
                <a:off x="7128300" y="2206820"/>
                <a:ext cx="687491" cy="623788"/>
              </a:xfrm>
              <a:prstGeom prst="ellipse">
                <a:avLst/>
              </a:prstGeom>
              <a:gradFill>
                <a:gsLst>
                  <a:gs pos="15000">
                    <a:schemeClr val="accent1">
                      <a:tint val="66000"/>
                      <a:satMod val="160000"/>
                      <a:alpha val="13000"/>
                    </a:schemeClr>
                  </a:gs>
                  <a:gs pos="100000">
                    <a:schemeClr val="accent1">
                      <a:tint val="44500"/>
                      <a:satMod val="160000"/>
                      <a:alpha val="59000"/>
                    </a:schemeClr>
                  </a:gs>
                  <a:gs pos="100000">
                    <a:schemeClr val="accent1">
                      <a:tint val="23500"/>
                      <a:satMod val="160000"/>
                      <a:alpha val="41000"/>
                    </a:schemeClr>
                  </a:gs>
                  <a:gs pos="100000">
                    <a:schemeClr val="accent1">
                      <a:tint val="23500"/>
                      <a:satMod val="16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endParaRPr lang="nb-NO">
                  <a:solidFill>
                    <a:srgbClr val="FFFFFF"/>
                  </a:solidFill>
                  <a:cs typeface="Arial" charset="0"/>
                </a:endParaRPr>
              </a:p>
            </p:txBody>
          </p:sp>
        </p:grpSp>
      </p:grpSp>
      <p:sp>
        <p:nvSpPr>
          <p:cNvPr id="293" name="Rounded Rectangular Callout 292"/>
          <p:cNvSpPr/>
          <p:nvPr/>
        </p:nvSpPr>
        <p:spPr>
          <a:xfrm>
            <a:off x="2699792" y="4221088"/>
            <a:ext cx="1079872" cy="432048"/>
          </a:xfrm>
          <a:prstGeom prst="wedgeRoundRectCallout">
            <a:avLst>
              <a:gd name="adj1" fmla="val 72793"/>
              <a:gd name="adj2" fmla="val -14289"/>
              <a:gd name="adj3" fmla="val 16667"/>
            </a:avLst>
          </a:prstGeom>
          <a:solidFill>
            <a:srgbClr val="FFFFFF">
              <a:alpha val="69804"/>
            </a:srgb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smtClean="0">
                <a:solidFill>
                  <a:schemeClr val="tx1"/>
                </a:solidFill>
              </a:rPr>
              <a:t>India </a:t>
            </a:r>
            <a:endParaRPr lang="en-IN" dirty="0">
              <a:solidFill>
                <a:schemeClr val="tx1"/>
              </a:solidFill>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500"/>
                                        <p:tgtEl>
                                          <p:spTgt spid="26"/>
                                        </p:tgtEl>
                                      </p:cBhvr>
                                    </p:animEffect>
                                  </p:childTnLst>
                                </p:cTn>
                              </p:par>
                            </p:childTnLst>
                          </p:cTn>
                        </p:par>
                        <p:par>
                          <p:cTn id="12" fill="hold">
                            <p:stCondLst>
                              <p:cond delay="1000"/>
                            </p:stCondLst>
                            <p:childTnLst>
                              <p:par>
                                <p:cTn id="13" presetID="10" presetClass="entr" presetSubtype="0" fill="hold" nodeType="afterEffect">
                                  <p:stCondLst>
                                    <p:cond delay="2000"/>
                                  </p:stCondLst>
                                  <p:childTnLst>
                                    <p:set>
                                      <p:cBhvr>
                                        <p:cTn id="14" dur="1" fill="hold">
                                          <p:stCondLst>
                                            <p:cond delay="0"/>
                                          </p:stCondLst>
                                        </p:cTn>
                                        <p:tgtEl>
                                          <p:spTgt spid="43"/>
                                        </p:tgtEl>
                                        <p:attrNameLst>
                                          <p:attrName>style.visibility</p:attrName>
                                        </p:attrNameLst>
                                      </p:cBhvr>
                                      <p:to>
                                        <p:strVal val="visible"/>
                                      </p:to>
                                    </p:set>
                                    <p:animEffect transition="in" filter="fade">
                                      <p:cBhvr>
                                        <p:cTn id="15" dur="500"/>
                                        <p:tgtEl>
                                          <p:spTgt spid="43"/>
                                        </p:tgtEl>
                                      </p:cBhvr>
                                    </p:animEffect>
                                  </p:childTnLst>
                                </p:cTn>
                              </p:par>
                            </p:childTnLst>
                          </p:cTn>
                        </p:par>
                        <p:par>
                          <p:cTn id="16" fill="hold">
                            <p:stCondLst>
                              <p:cond delay="3500"/>
                            </p:stCondLst>
                            <p:childTnLst>
                              <p:par>
                                <p:cTn id="17" presetID="53" presetClass="entr" presetSubtype="0" fill="hold" nodeType="afterEffect">
                                  <p:stCondLst>
                                    <p:cond delay="0"/>
                                  </p:stCondLst>
                                  <p:childTnLst>
                                    <p:set>
                                      <p:cBhvr>
                                        <p:cTn id="18" dur="1" fill="hold">
                                          <p:stCondLst>
                                            <p:cond delay="0"/>
                                          </p:stCondLst>
                                        </p:cTn>
                                        <p:tgtEl>
                                          <p:spTgt spid="251"/>
                                        </p:tgtEl>
                                        <p:attrNameLst>
                                          <p:attrName>style.visibility</p:attrName>
                                        </p:attrNameLst>
                                      </p:cBhvr>
                                      <p:to>
                                        <p:strVal val="visible"/>
                                      </p:to>
                                    </p:set>
                                    <p:anim calcmode="lin" valueType="num">
                                      <p:cBhvr>
                                        <p:cTn id="19" dur="500" fill="hold"/>
                                        <p:tgtEl>
                                          <p:spTgt spid="251"/>
                                        </p:tgtEl>
                                        <p:attrNameLst>
                                          <p:attrName>ppt_w</p:attrName>
                                        </p:attrNameLst>
                                      </p:cBhvr>
                                      <p:tavLst>
                                        <p:tav tm="0">
                                          <p:val>
                                            <p:fltVal val="0"/>
                                          </p:val>
                                        </p:tav>
                                        <p:tav tm="100000">
                                          <p:val>
                                            <p:strVal val="#ppt_w"/>
                                          </p:val>
                                        </p:tav>
                                      </p:tavLst>
                                    </p:anim>
                                    <p:anim calcmode="lin" valueType="num">
                                      <p:cBhvr>
                                        <p:cTn id="20" dur="500" fill="hold"/>
                                        <p:tgtEl>
                                          <p:spTgt spid="251"/>
                                        </p:tgtEl>
                                        <p:attrNameLst>
                                          <p:attrName>ppt_h</p:attrName>
                                        </p:attrNameLst>
                                      </p:cBhvr>
                                      <p:tavLst>
                                        <p:tav tm="0">
                                          <p:val>
                                            <p:fltVal val="0"/>
                                          </p:val>
                                        </p:tav>
                                        <p:tav tm="100000">
                                          <p:val>
                                            <p:strVal val="#ppt_h"/>
                                          </p:val>
                                        </p:tav>
                                      </p:tavLst>
                                    </p:anim>
                                    <p:animEffect transition="in" filter="fade">
                                      <p:cBhvr>
                                        <p:cTn id="21" dur="500"/>
                                        <p:tgtEl>
                                          <p:spTgt spid="251"/>
                                        </p:tgtEl>
                                      </p:cBhvr>
                                    </p:animEffect>
                                  </p:childTnLst>
                                </p:cTn>
                              </p:par>
                            </p:childTnLst>
                          </p:cTn>
                        </p:par>
                        <p:par>
                          <p:cTn id="22" fill="hold">
                            <p:stCondLst>
                              <p:cond delay="4000"/>
                            </p:stCondLst>
                            <p:childTnLst>
                              <p:par>
                                <p:cTn id="23" presetID="10" presetClass="entr" presetSubtype="0" fill="hold" nodeType="after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childTnLst>
                          </p:cTn>
                        </p:par>
                        <p:par>
                          <p:cTn id="26" fill="hold">
                            <p:stCondLst>
                              <p:cond delay="4500"/>
                            </p:stCondLst>
                            <p:childTnLst>
                              <p:par>
                                <p:cTn id="27" presetID="53" presetClass="entr" presetSubtype="0" fill="hold" nodeType="afterEffect">
                                  <p:stCondLst>
                                    <p:cond delay="0"/>
                                  </p:stCondLst>
                                  <p:childTnLst>
                                    <p:set>
                                      <p:cBhvr>
                                        <p:cTn id="28" dur="1" fill="hold">
                                          <p:stCondLst>
                                            <p:cond delay="0"/>
                                          </p:stCondLst>
                                        </p:cTn>
                                        <p:tgtEl>
                                          <p:spTgt spid="252"/>
                                        </p:tgtEl>
                                        <p:attrNameLst>
                                          <p:attrName>style.visibility</p:attrName>
                                        </p:attrNameLst>
                                      </p:cBhvr>
                                      <p:to>
                                        <p:strVal val="visible"/>
                                      </p:to>
                                    </p:set>
                                    <p:anim calcmode="lin" valueType="num">
                                      <p:cBhvr>
                                        <p:cTn id="29" dur="500" fill="hold"/>
                                        <p:tgtEl>
                                          <p:spTgt spid="252"/>
                                        </p:tgtEl>
                                        <p:attrNameLst>
                                          <p:attrName>ppt_w</p:attrName>
                                        </p:attrNameLst>
                                      </p:cBhvr>
                                      <p:tavLst>
                                        <p:tav tm="0">
                                          <p:val>
                                            <p:fltVal val="0"/>
                                          </p:val>
                                        </p:tav>
                                        <p:tav tm="100000">
                                          <p:val>
                                            <p:strVal val="#ppt_w"/>
                                          </p:val>
                                        </p:tav>
                                      </p:tavLst>
                                    </p:anim>
                                    <p:anim calcmode="lin" valueType="num">
                                      <p:cBhvr>
                                        <p:cTn id="30" dur="500" fill="hold"/>
                                        <p:tgtEl>
                                          <p:spTgt spid="252"/>
                                        </p:tgtEl>
                                        <p:attrNameLst>
                                          <p:attrName>ppt_h</p:attrName>
                                        </p:attrNameLst>
                                      </p:cBhvr>
                                      <p:tavLst>
                                        <p:tav tm="0">
                                          <p:val>
                                            <p:fltVal val="0"/>
                                          </p:val>
                                        </p:tav>
                                        <p:tav tm="100000">
                                          <p:val>
                                            <p:strVal val="#ppt_h"/>
                                          </p:val>
                                        </p:tav>
                                      </p:tavLst>
                                    </p:anim>
                                    <p:animEffect transition="in" filter="fade">
                                      <p:cBhvr>
                                        <p:cTn id="31" dur="500"/>
                                        <p:tgtEl>
                                          <p:spTgt spid="252"/>
                                        </p:tgtEl>
                                      </p:cBhvr>
                                    </p:animEffect>
                                  </p:childTnLst>
                                </p:cTn>
                              </p:par>
                            </p:childTnLst>
                          </p:cTn>
                        </p:par>
                        <p:par>
                          <p:cTn id="32" fill="hold">
                            <p:stCondLst>
                              <p:cond delay="5000"/>
                            </p:stCondLst>
                            <p:childTnLst>
                              <p:par>
                                <p:cTn id="33" presetID="10" presetClass="entr" presetSubtype="0" fill="hold" nodeType="after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childTnLst>
                          </p:cTn>
                        </p:par>
                        <p:par>
                          <p:cTn id="36" fill="hold">
                            <p:stCondLst>
                              <p:cond delay="5500"/>
                            </p:stCondLst>
                            <p:childTnLst>
                              <p:par>
                                <p:cTn id="37" presetID="10" presetClass="entr" presetSubtype="0" fill="hold" nodeType="afterEffect">
                                  <p:stCondLst>
                                    <p:cond delay="0"/>
                                  </p:stCondLst>
                                  <p:childTnLst>
                                    <p:set>
                                      <p:cBhvr>
                                        <p:cTn id="38" dur="1" fill="hold">
                                          <p:stCondLst>
                                            <p:cond delay="0"/>
                                          </p:stCondLst>
                                        </p:cTn>
                                        <p:tgtEl>
                                          <p:spTgt spid="260"/>
                                        </p:tgtEl>
                                        <p:attrNameLst>
                                          <p:attrName>style.visibility</p:attrName>
                                        </p:attrNameLst>
                                      </p:cBhvr>
                                      <p:to>
                                        <p:strVal val="visible"/>
                                      </p:to>
                                    </p:set>
                                    <p:animEffect transition="in" filter="fade">
                                      <p:cBhvr>
                                        <p:cTn id="39" dur="500"/>
                                        <p:tgtEl>
                                          <p:spTgt spid="260"/>
                                        </p:tgtEl>
                                      </p:cBhvr>
                                    </p:animEffect>
                                  </p:childTnLst>
                                </p:cTn>
                              </p:par>
                            </p:childTnLst>
                          </p:cTn>
                        </p:par>
                        <p:par>
                          <p:cTn id="40" fill="hold">
                            <p:stCondLst>
                              <p:cond delay="6000"/>
                            </p:stCondLst>
                            <p:childTnLst>
                              <p:par>
                                <p:cTn id="41" presetID="22" presetClass="entr" presetSubtype="2" fill="hold" grpId="0" nodeType="afterEffect">
                                  <p:stCondLst>
                                    <p:cond delay="0"/>
                                  </p:stCondLst>
                                  <p:childTnLst>
                                    <p:set>
                                      <p:cBhvr>
                                        <p:cTn id="42" dur="1" fill="hold">
                                          <p:stCondLst>
                                            <p:cond delay="0"/>
                                          </p:stCondLst>
                                        </p:cTn>
                                        <p:tgtEl>
                                          <p:spTgt spid="283"/>
                                        </p:tgtEl>
                                        <p:attrNameLst>
                                          <p:attrName>style.visibility</p:attrName>
                                        </p:attrNameLst>
                                      </p:cBhvr>
                                      <p:to>
                                        <p:strVal val="visible"/>
                                      </p:to>
                                    </p:set>
                                    <p:animEffect transition="in" filter="wipe(right)">
                                      <p:cBhvr>
                                        <p:cTn id="43" dur="500"/>
                                        <p:tgtEl>
                                          <p:spTgt spid="283"/>
                                        </p:tgtEl>
                                      </p:cBhvr>
                                    </p:animEffect>
                                  </p:childTnLst>
                                </p:cTn>
                              </p:par>
                            </p:childTnLst>
                          </p:cTn>
                        </p:par>
                        <p:par>
                          <p:cTn id="44" fill="hold">
                            <p:stCondLst>
                              <p:cond delay="6500"/>
                            </p:stCondLst>
                            <p:childTnLst>
                              <p:par>
                                <p:cTn id="45" presetID="10" presetClass="entr" presetSubtype="0" fill="hold" nodeType="afterEffect">
                                  <p:stCondLst>
                                    <p:cond delay="0"/>
                                  </p:stCondLst>
                                  <p:childTnLst>
                                    <p:set>
                                      <p:cBhvr>
                                        <p:cTn id="46" dur="1" fill="hold">
                                          <p:stCondLst>
                                            <p:cond delay="0"/>
                                          </p:stCondLst>
                                        </p:cTn>
                                        <p:tgtEl>
                                          <p:spTgt spid="285"/>
                                        </p:tgtEl>
                                        <p:attrNameLst>
                                          <p:attrName>style.visibility</p:attrName>
                                        </p:attrNameLst>
                                      </p:cBhvr>
                                      <p:to>
                                        <p:strVal val="visible"/>
                                      </p:to>
                                    </p:set>
                                    <p:animEffect transition="in" filter="fade">
                                      <p:cBhvr>
                                        <p:cTn id="47" dur="500"/>
                                        <p:tgtEl>
                                          <p:spTgt spid="285"/>
                                        </p:tgtEl>
                                      </p:cBhvr>
                                    </p:animEffect>
                                  </p:childTnLst>
                                </p:cTn>
                              </p:par>
                            </p:childTnLst>
                          </p:cTn>
                        </p:par>
                        <p:par>
                          <p:cTn id="48" fill="hold">
                            <p:stCondLst>
                              <p:cond delay="7000"/>
                            </p:stCondLst>
                            <p:childTnLst>
                              <p:par>
                                <p:cTn id="49" presetID="22" presetClass="entr" presetSubtype="2" fill="hold" grpId="0" nodeType="afterEffect">
                                  <p:stCondLst>
                                    <p:cond delay="0"/>
                                  </p:stCondLst>
                                  <p:childTnLst>
                                    <p:set>
                                      <p:cBhvr>
                                        <p:cTn id="50" dur="1" fill="hold">
                                          <p:stCondLst>
                                            <p:cond delay="0"/>
                                          </p:stCondLst>
                                        </p:cTn>
                                        <p:tgtEl>
                                          <p:spTgt spid="293"/>
                                        </p:tgtEl>
                                        <p:attrNameLst>
                                          <p:attrName>style.visibility</p:attrName>
                                        </p:attrNameLst>
                                      </p:cBhvr>
                                      <p:to>
                                        <p:strVal val="visible"/>
                                      </p:to>
                                    </p:set>
                                    <p:animEffect transition="in" filter="wipe(right)">
                                      <p:cBhvr>
                                        <p:cTn id="51" dur="500"/>
                                        <p:tgtEl>
                                          <p:spTgt spid="293"/>
                                        </p:tgtEl>
                                      </p:cBhvr>
                                    </p:animEffect>
                                  </p:childTnLst>
                                </p:cTn>
                              </p:par>
                            </p:childTnLst>
                          </p:cTn>
                        </p:par>
                        <p:par>
                          <p:cTn id="52" fill="hold">
                            <p:stCondLst>
                              <p:cond delay="7500"/>
                            </p:stCondLst>
                            <p:childTnLst>
                              <p:par>
                                <p:cTn id="53" presetID="10" presetClass="entr" presetSubtype="0" fill="hold" nodeType="afterEffect">
                                  <p:stCondLst>
                                    <p:cond delay="0"/>
                                  </p:stCondLst>
                                  <p:childTnLst>
                                    <p:set>
                                      <p:cBhvr>
                                        <p:cTn id="54" dur="1" fill="hold">
                                          <p:stCondLst>
                                            <p:cond delay="0"/>
                                          </p:stCondLst>
                                        </p:cTn>
                                        <p:tgtEl>
                                          <p:spTgt spid="275"/>
                                        </p:tgtEl>
                                        <p:attrNameLst>
                                          <p:attrName>style.visibility</p:attrName>
                                        </p:attrNameLst>
                                      </p:cBhvr>
                                      <p:to>
                                        <p:strVal val="visible"/>
                                      </p:to>
                                    </p:set>
                                    <p:animEffect transition="in" filter="fade">
                                      <p:cBhvr>
                                        <p:cTn id="55" dur="500"/>
                                        <p:tgtEl>
                                          <p:spTgt spid="275"/>
                                        </p:tgtEl>
                                      </p:cBhvr>
                                    </p:animEffect>
                                  </p:childTnLst>
                                </p:cTn>
                              </p:par>
                            </p:childTnLst>
                          </p:cTn>
                        </p:par>
                        <p:par>
                          <p:cTn id="56" fill="hold">
                            <p:stCondLst>
                              <p:cond delay="8000"/>
                            </p:stCondLst>
                            <p:childTnLst>
                              <p:par>
                                <p:cTn id="57" presetID="22" presetClass="entr" presetSubtype="8" fill="hold" grpId="0" nodeType="afterEffect">
                                  <p:stCondLst>
                                    <p:cond delay="0"/>
                                  </p:stCondLst>
                                  <p:childTnLst>
                                    <p:set>
                                      <p:cBhvr>
                                        <p:cTn id="58" dur="1" fill="hold">
                                          <p:stCondLst>
                                            <p:cond delay="0"/>
                                          </p:stCondLst>
                                        </p:cTn>
                                        <p:tgtEl>
                                          <p:spTgt spid="284"/>
                                        </p:tgtEl>
                                        <p:attrNameLst>
                                          <p:attrName>style.visibility</p:attrName>
                                        </p:attrNameLst>
                                      </p:cBhvr>
                                      <p:to>
                                        <p:strVal val="visible"/>
                                      </p:to>
                                    </p:set>
                                    <p:animEffect transition="in" filter="wipe(left)">
                                      <p:cBhvr>
                                        <p:cTn id="59" dur="500"/>
                                        <p:tgtEl>
                                          <p:spTgt spid="2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3" grpId="0" animBg="1"/>
      <p:bldP spid="284" grpId="0" animBg="1"/>
      <p:bldP spid="29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12801607_l.jpg"/>
          <p:cNvPicPr>
            <a:picLocks noChangeAspect="1"/>
          </p:cNvPicPr>
          <p:nvPr/>
        </p:nvPicPr>
        <p:blipFill>
          <a:blip r:embed="rId4" cstate="print">
            <a:lum contrast="40000"/>
          </a:blip>
          <a:stretch>
            <a:fillRect/>
          </a:stretch>
        </p:blipFill>
        <p:spPr>
          <a:xfrm>
            <a:off x="0" y="836712"/>
            <a:ext cx="9144000" cy="6021288"/>
          </a:xfrm>
          <a:prstGeom prst="rect">
            <a:avLst/>
          </a:prstGeom>
        </p:spPr>
      </p:pic>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5"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6"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7"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8"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9"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10"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1"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2"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3"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smtClean="0"/>
                <a:t>Introduction</a:t>
              </a:r>
              <a:endParaRPr lang="en-IN" sz="3200" dirty="0"/>
            </a:p>
          </p:txBody>
        </p:sp>
      </p:grpSp>
      <p:grpSp>
        <p:nvGrpSpPr>
          <p:cNvPr id="4" name="Group 24"/>
          <p:cNvGrpSpPr/>
          <p:nvPr/>
        </p:nvGrpSpPr>
        <p:grpSpPr>
          <a:xfrm>
            <a:off x="1187624" y="980728"/>
            <a:ext cx="7632848" cy="1656184"/>
            <a:chOff x="1187624" y="980728"/>
            <a:chExt cx="7632848" cy="1944216"/>
          </a:xfrm>
        </p:grpSpPr>
        <p:pic>
          <p:nvPicPr>
            <p:cNvPr id="23" name="Picture 22" descr="13436110_xl.jpg"/>
            <p:cNvPicPr>
              <a:picLocks noChangeAspect="1"/>
            </p:cNvPicPr>
            <p:nvPr/>
          </p:nvPicPr>
          <p:blipFill>
            <a:blip r:embed="rId14" cstate="print">
              <a:clrChange>
                <a:clrFrom>
                  <a:srgbClr val="8F8677"/>
                </a:clrFrom>
                <a:clrTo>
                  <a:srgbClr val="8F8677">
                    <a:alpha val="0"/>
                  </a:srgbClr>
                </a:clrTo>
              </a:clrChange>
            </a:blip>
            <a:srcRect r="50000" b="80450"/>
            <a:stretch>
              <a:fillRect/>
            </a:stretch>
          </p:blipFill>
          <p:spPr>
            <a:xfrm>
              <a:off x="1187624" y="980728"/>
              <a:ext cx="7632848" cy="1944216"/>
            </a:xfrm>
            <a:prstGeom prst="rect">
              <a:avLst/>
            </a:prstGeom>
          </p:spPr>
        </p:pic>
        <p:sp>
          <p:nvSpPr>
            <p:cNvPr id="24" name="TextBox 23"/>
            <p:cNvSpPr txBox="1"/>
            <p:nvPr/>
          </p:nvSpPr>
          <p:spPr>
            <a:xfrm>
              <a:off x="2195736" y="1457489"/>
              <a:ext cx="6192687" cy="1192300"/>
            </a:xfrm>
            <a:prstGeom prst="rect">
              <a:avLst/>
            </a:prstGeom>
            <a:noFill/>
          </p:spPr>
          <p:txBody>
            <a:bodyPr wrap="square" rtlCol="0">
              <a:spAutoFit/>
            </a:bodyPr>
            <a:lstStyle/>
            <a:p>
              <a:r>
                <a:rPr lang="en-IN" sz="2000" dirty="0" smtClean="0"/>
                <a:t>Thus, the expanding global markets are re-defining the way demand and supplies need to be managed. Global companies are driven by markets across continents.</a:t>
              </a:r>
              <a:endParaRPr lang="en-IN" sz="2000" dirty="0"/>
            </a:p>
          </p:txBody>
        </p:sp>
      </p:grpSp>
      <p:pic>
        <p:nvPicPr>
          <p:cNvPr id="26" name="Picture 5" descr="Tessafilm_4"/>
          <p:cNvPicPr>
            <a:picLocks noChangeAspect="1" noChangeArrowheads="1"/>
          </p:cNvPicPr>
          <p:nvPr/>
        </p:nvPicPr>
        <p:blipFill>
          <a:blip r:embed="rId15" cstate="print">
            <a:duotone>
              <a:prstClr val="black"/>
              <a:srgbClr val="00B0F0">
                <a:tint val="45000"/>
                <a:satMod val="400000"/>
              </a:srgbClr>
            </a:duotone>
          </a:blip>
          <a:srcRect l="59392" b="89844"/>
          <a:stretch>
            <a:fillRect/>
          </a:stretch>
        </p:blipFill>
        <p:spPr bwMode="gray">
          <a:xfrm rot="20222041">
            <a:off x="1130174" y="1049435"/>
            <a:ext cx="1538105" cy="387075"/>
          </a:xfrm>
          <a:prstGeom prst="rect">
            <a:avLst/>
          </a:prstGeom>
          <a:noFill/>
        </p:spPr>
      </p:pic>
      <p:pic>
        <p:nvPicPr>
          <p:cNvPr id="253" name="Picture 252" descr="10046322_xxl.jpg"/>
          <p:cNvPicPr>
            <a:picLocks noChangeAspect="1"/>
          </p:cNvPicPr>
          <p:nvPr/>
        </p:nvPicPr>
        <p:blipFill>
          <a:blip r:embed="rId16" cstate="print">
            <a:clrChange>
              <a:clrFrom>
                <a:srgbClr val="FFFFFF"/>
              </a:clrFrom>
              <a:clrTo>
                <a:srgbClr val="FFFFFF">
                  <a:alpha val="0"/>
                </a:srgbClr>
              </a:clrTo>
            </a:clrChange>
          </a:blip>
          <a:srcRect l="33282" t="64700" r="29939"/>
          <a:stretch>
            <a:fillRect/>
          </a:stretch>
        </p:blipFill>
        <p:spPr>
          <a:xfrm>
            <a:off x="3419872" y="2343721"/>
            <a:ext cx="5724128" cy="4753468"/>
          </a:xfrm>
          <a:prstGeom prst="rect">
            <a:avLst/>
          </a:prstGeom>
        </p:spPr>
      </p:pic>
      <p:pic>
        <p:nvPicPr>
          <p:cNvPr id="254" name="Picture 253" descr="15237061_l.jpg"/>
          <p:cNvPicPr>
            <a:picLocks noChangeAspect="1"/>
          </p:cNvPicPr>
          <p:nvPr/>
        </p:nvPicPr>
        <p:blipFill>
          <a:blip r:embed="rId17" cstate="print"/>
          <a:stretch>
            <a:fillRect/>
          </a:stretch>
        </p:blipFill>
        <p:spPr>
          <a:xfrm>
            <a:off x="4067944" y="3284984"/>
            <a:ext cx="4248472" cy="2952328"/>
          </a:xfrm>
          <a:prstGeom prst="rect">
            <a:avLst/>
          </a:prstGeom>
        </p:spPr>
      </p:pic>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500"/>
                                        <p:tgtEl>
                                          <p:spTgt spid="2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53"/>
                                        </p:tgtEl>
                                        <p:attrNameLst>
                                          <p:attrName>style.visibility</p:attrName>
                                        </p:attrNameLst>
                                      </p:cBhvr>
                                      <p:to>
                                        <p:strVal val="visible"/>
                                      </p:to>
                                    </p:set>
                                    <p:animEffect transition="in" filter="fade">
                                      <p:cBhvr>
                                        <p:cTn id="15" dur="500"/>
                                        <p:tgtEl>
                                          <p:spTgt spid="253"/>
                                        </p:tgtEl>
                                      </p:cBhvr>
                                    </p:animEffect>
                                  </p:childTnLst>
                                </p:cTn>
                              </p:par>
                            </p:childTnLst>
                          </p:cTn>
                        </p:par>
                        <p:par>
                          <p:cTn id="16" fill="hold">
                            <p:stCondLst>
                              <p:cond delay="1500"/>
                            </p:stCondLst>
                            <p:childTnLst>
                              <p:par>
                                <p:cTn id="17" presetID="53" presetClass="entr" presetSubtype="0" fill="hold" nodeType="afterEffect">
                                  <p:stCondLst>
                                    <p:cond delay="0"/>
                                  </p:stCondLst>
                                  <p:childTnLst>
                                    <p:set>
                                      <p:cBhvr>
                                        <p:cTn id="18" dur="1" fill="hold">
                                          <p:stCondLst>
                                            <p:cond delay="0"/>
                                          </p:stCondLst>
                                        </p:cTn>
                                        <p:tgtEl>
                                          <p:spTgt spid="254"/>
                                        </p:tgtEl>
                                        <p:attrNameLst>
                                          <p:attrName>style.visibility</p:attrName>
                                        </p:attrNameLst>
                                      </p:cBhvr>
                                      <p:to>
                                        <p:strVal val="visible"/>
                                      </p:to>
                                    </p:set>
                                    <p:anim calcmode="lin" valueType="num">
                                      <p:cBhvr>
                                        <p:cTn id="19" dur="500" fill="hold"/>
                                        <p:tgtEl>
                                          <p:spTgt spid="254"/>
                                        </p:tgtEl>
                                        <p:attrNameLst>
                                          <p:attrName>ppt_w</p:attrName>
                                        </p:attrNameLst>
                                      </p:cBhvr>
                                      <p:tavLst>
                                        <p:tav tm="0">
                                          <p:val>
                                            <p:fltVal val="0"/>
                                          </p:val>
                                        </p:tav>
                                        <p:tav tm="100000">
                                          <p:val>
                                            <p:strVal val="#ppt_w"/>
                                          </p:val>
                                        </p:tav>
                                      </p:tavLst>
                                    </p:anim>
                                    <p:anim calcmode="lin" valueType="num">
                                      <p:cBhvr>
                                        <p:cTn id="20" dur="500" fill="hold"/>
                                        <p:tgtEl>
                                          <p:spTgt spid="254"/>
                                        </p:tgtEl>
                                        <p:attrNameLst>
                                          <p:attrName>ppt_h</p:attrName>
                                        </p:attrNameLst>
                                      </p:cBhvr>
                                      <p:tavLst>
                                        <p:tav tm="0">
                                          <p:val>
                                            <p:fltVal val="0"/>
                                          </p:val>
                                        </p:tav>
                                        <p:tav tm="100000">
                                          <p:val>
                                            <p:strVal val="#ppt_h"/>
                                          </p:val>
                                        </p:tav>
                                      </p:tavLst>
                                    </p:anim>
                                    <p:animEffect transition="in" filter="fade">
                                      <p:cBhvr>
                                        <p:cTn id="21" dur="500"/>
                                        <p:tgtEl>
                                          <p:spTgt spid="2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12801607_l.jpg"/>
          <p:cNvPicPr>
            <a:picLocks noChangeAspect="1"/>
          </p:cNvPicPr>
          <p:nvPr/>
        </p:nvPicPr>
        <p:blipFill>
          <a:blip r:embed="rId4" cstate="print">
            <a:lum contrast="40000"/>
          </a:blip>
          <a:stretch>
            <a:fillRect/>
          </a:stretch>
        </p:blipFill>
        <p:spPr>
          <a:xfrm>
            <a:off x="0" y="836712"/>
            <a:ext cx="9144000" cy="6021288"/>
          </a:xfrm>
          <a:prstGeom prst="rect">
            <a:avLst/>
          </a:prstGeom>
        </p:spPr>
      </p:pic>
      <p:pic>
        <p:nvPicPr>
          <p:cNvPr id="27" name="Picture 26" descr="10046322_xxl.jpg"/>
          <p:cNvPicPr>
            <a:picLocks noChangeAspect="1"/>
          </p:cNvPicPr>
          <p:nvPr/>
        </p:nvPicPr>
        <p:blipFill>
          <a:blip r:embed="rId5" cstate="print">
            <a:clrChange>
              <a:clrFrom>
                <a:srgbClr val="FFFFFF"/>
              </a:clrFrom>
              <a:clrTo>
                <a:srgbClr val="FFFFFF">
                  <a:alpha val="0"/>
                </a:srgbClr>
              </a:clrTo>
            </a:clrChange>
          </a:blip>
          <a:srcRect l="33282" t="64700" r="29939"/>
          <a:stretch>
            <a:fillRect/>
          </a:stretch>
        </p:blipFill>
        <p:spPr>
          <a:xfrm>
            <a:off x="3419872" y="2343721"/>
            <a:ext cx="5724128" cy="4753468"/>
          </a:xfrm>
          <a:prstGeom prst="rect">
            <a:avLst/>
          </a:prstGeom>
        </p:spPr>
      </p:pic>
      <p:grpSp>
        <p:nvGrpSpPr>
          <p:cNvPr id="2" name="Group 42"/>
          <p:cNvGrpSpPr/>
          <p:nvPr/>
        </p:nvGrpSpPr>
        <p:grpSpPr>
          <a:xfrm>
            <a:off x="0" y="44624"/>
            <a:ext cx="9144000" cy="836712"/>
            <a:chOff x="0" y="44624"/>
            <a:chExt cx="9144000" cy="836712"/>
          </a:xfrm>
        </p:grpSpPr>
        <p:grpSp>
          <p:nvGrpSpPr>
            <p:cNvPr id="3" name="Group 39"/>
            <p:cNvGrpSpPr/>
            <p:nvPr/>
          </p:nvGrpSpPr>
          <p:grpSpPr>
            <a:xfrm>
              <a:off x="0" y="44624"/>
              <a:ext cx="9144000" cy="828000"/>
              <a:chOff x="0" y="2564904"/>
              <a:chExt cx="10404448" cy="1800200"/>
            </a:xfrm>
          </p:grpSpPr>
          <p:sp>
            <p:nvSpPr>
              <p:cNvPr id="14" name="Oval 13"/>
              <p:cNvSpPr/>
              <p:nvPr/>
            </p:nvSpPr>
            <p:spPr>
              <a:xfrm>
                <a:off x="0" y="2564904"/>
                <a:ext cx="1800000" cy="1800200"/>
              </a:xfrm>
              <a:prstGeom prst="ellipse">
                <a:avLst/>
              </a:prstGeom>
              <a:blipFill>
                <a:blip r:embed="rId6" cstate="print"/>
                <a:stretch>
                  <a:fillRect/>
                </a:stretch>
              </a:blip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1043608" y="2564904"/>
                <a:ext cx="1800000" cy="1800200"/>
              </a:xfrm>
              <a:prstGeom prst="ellipse">
                <a:avLst/>
              </a:prstGeom>
              <a:blipFill>
                <a:blip r:embed="rId7" cstate="print"/>
                <a:stretch>
                  <a:fillRect/>
                </a:stretch>
              </a:bli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2123728" y="2564904"/>
                <a:ext cx="1800000" cy="1800200"/>
              </a:xfrm>
              <a:prstGeom prst="ellipse">
                <a:avLst/>
              </a:prstGeom>
              <a:blipFill>
                <a:blip r:embed="rId8" cstate="print"/>
                <a:stretch>
                  <a:fillRect/>
                </a:stretch>
              </a:blipFill>
              <a:ln>
                <a:solidFill>
                  <a:srgbClr val="EB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3203848" y="2564904"/>
                <a:ext cx="1800000" cy="1800200"/>
              </a:xfrm>
              <a:prstGeom prst="ellipse">
                <a:avLst/>
              </a:prstGeom>
              <a:blipFill>
                <a:blip r:embed="rId9" cstate="print"/>
                <a:stretch>
                  <a:fillRect/>
                </a:stretch>
              </a:blip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4283968" y="2564904"/>
                <a:ext cx="1800000" cy="1800200"/>
              </a:xfrm>
              <a:prstGeom prst="ellipse">
                <a:avLst/>
              </a:prstGeom>
              <a:blipFill>
                <a:blip r:embed="rId10" cstate="print"/>
                <a:stretch>
                  <a:fillRect/>
                </a:stretch>
              </a:blip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5364088" y="2564904"/>
                <a:ext cx="1800000" cy="1800200"/>
              </a:xfrm>
              <a:prstGeom prst="ellipse">
                <a:avLst/>
              </a:prstGeom>
              <a:blipFill>
                <a:blip r:embed="rId11" cstate="print"/>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6444208" y="2564904"/>
                <a:ext cx="1800000" cy="1800200"/>
              </a:xfrm>
              <a:prstGeom prst="ellipse">
                <a:avLst/>
              </a:prstGeom>
              <a:blipFill>
                <a:blip r:embed="rId12" cstate="print"/>
                <a:stretch>
                  <a:fillRect/>
                </a:stretch>
              </a:bli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7524328" y="2564904"/>
                <a:ext cx="1800000" cy="1800200"/>
              </a:xfrm>
              <a:prstGeom prst="ellipse">
                <a:avLst/>
              </a:prstGeom>
              <a:blipFill>
                <a:blip r:embed="rId13" cstate="print"/>
                <a:stretch>
                  <a:fillRect/>
                </a:stretch>
              </a:blipFill>
              <a:ln>
                <a:solidFill>
                  <a:srgbClr val="8E3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8604448" y="2564904"/>
                <a:ext cx="1800000" cy="1800200"/>
              </a:xfrm>
              <a:prstGeom prst="ellipse">
                <a:avLst/>
              </a:prstGeom>
              <a:blipFill>
                <a:blip r:embed="rId14" cstate="print"/>
                <a:stretch>
                  <a:fillRect/>
                </a:stretch>
              </a:blip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1" name="Rectangle 40"/>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smtClean="0"/>
                <a:t>Introduction</a:t>
              </a:r>
              <a:endParaRPr lang="en-IN" sz="3200" dirty="0"/>
            </a:p>
          </p:txBody>
        </p:sp>
      </p:grpSp>
      <p:grpSp>
        <p:nvGrpSpPr>
          <p:cNvPr id="4" name="Group 24"/>
          <p:cNvGrpSpPr/>
          <p:nvPr/>
        </p:nvGrpSpPr>
        <p:grpSpPr>
          <a:xfrm>
            <a:off x="1187624" y="980728"/>
            <a:ext cx="7632848" cy="1656184"/>
            <a:chOff x="1187624" y="980728"/>
            <a:chExt cx="7632848" cy="1944216"/>
          </a:xfrm>
        </p:grpSpPr>
        <p:pic>
          <p:nvPicPr>
            <p:cNvPr id="23" name="Picture 22" descr="13436110_xl.jpg"/>
            <p:cNvPicPr>
              <a:picLocks noChangeAspect="1"/>
            </p:cNvPicPr>
            <p:nvPr/>
          </p:nvPicPr>
          <p:blipFill>
            <a:blip r:embed="rId15" cstate="print">
              <a:clrChange>
                <a:clrFrom>
                  <a:srgbClr val="8F8677"/>
                </a:clrFrom>
                <a:clrTo>
                  <a:srgbClr val="8F8677">
                    <a:alpha val="0"/>
                  </a:srgbClr>
                </a:clrTo>
              </a:clrChange>
            </a:blip>
            <a:srcRect r="50000" b="80450"/>
            <a:stretch>
              <a:fillRect/>
            </a:stretch>
          </p:blipFill>
          <p:spPr>
            <a:xfrm>
              <a:off x="1187624" y="980728"/>
              <a:ext cx="7632848" cy="1944216"/>
            </a:xfrm>
            <a:prstGeom prst="rect">
              <a:avLst/>
            </a:prstGeom>
          </p:spPr>
        </p:pic>
        <p:sp>
          <p:nvSpPr>
            <p:cNvPr id="24" name="TextBox 23"/>
            <p:cNvSpPr txBox="1"/>
            <p:nvPr/>
          </p:nvSpPr>
          <p:spPr>
            <a:xfrm>
              <a:off x="2195736" y="1457489"/>
              <a:ext cx="6192687" cy="1192300"/>
            </a:xfrm>
            <a:prstGeom prst="rect">
              <a:avLst/>
            </a:prstGeom>
            <a:noFill/>
          </p:spPr>
          <p:txBody>
            <a:bodyPr wrap="square" rtlCol="0">
              <a:spAutoFit/>
            </a:bodyPr>
            <a:lstStyle/>
            <a:p>
              <a:r>
                <a:rPr lang="en-IN" sz="2000" dirty="0" smtClean="0"/>
                <a:t>Hence, to keep the cost of manufacturing low, they are forced to set up production centers where cost of raw materials and labor is cheap.</a:t>
              </a:r>
              <a:endParaRPr lang="en-IN" sz="2000" dirty="0"/>
            </a:p>
          </p:txBody>
        </p:sp>
      </p:grpSp>
      <p:pic>
        <p:nvPicPr>
          <p:cNvPr id="26" name="Picture 5" descr="Tessafilm_4"/>
          <p:cNvPicPr>
            <a:picLocks noChangeAspect="1" noChangeArrowheads="1"/>
          </p:cNvPicPr>
          <p:nvPr/>
        </p:nvPicPr>
        <p:blipFill>
          <a:blip r:embed="rId16" cstate="print">
            <a:duotone>
              <a:prstClr val="black"/>
              <a:srgbClr val="00B0F0">
                <a:tint val="45000"/>
                <a:satMod val="400000"/>
              </a:srgbClr>
            </a:duotone>
          </a:blip>
          <a:srcRect l="59392" b="89844"/>
          <a:stretch>
            <a:fillRect/>
          </a:stretch>
        </p:blipFill>
        <p:spPr bwMode="gray">
          <a:xfrm rot="20222041">
            <a:off x="1130174" y="1049435"/>
            <a:ext cx="1538105" cy="387075"/>
          </a:xfrm>
          <a:prstGeom prst="rect">
            <a:avLst/>
          </a:prstGeom>
          <a:noFill/>
        </p:spPr>
      </p:pic>
      <p:pic>
        <p:nvPicPr>
          <p:cNvPr id="22" name="Picture 21" descr="10046322_xxl.jpg"/>
          <p:cNvPicPr>
            <a:picLocks noChangeAspect="1"/>
          </p:cNvPicPr>
          <p:nvPr/>
        </p:nvPicPr>
        <p:blipFill>
          <a:blip r:embed="rId5" cstate="print">
            <a:clrChange>
              <a:clrFrom>
                <a:srgbClr val="FFFFFF"/>
              </a:clrFrom>
              <a:clrTo>
                <a:srgbClr val="FFFFFF">
                  <a:alpha val="0"/>
                </a:srgbClr>
              </a:clrTo>
            </a:clrChange>
          </a:blip>
          <a:srcRect l="33282" t="64700" r="29939"/>
          <a:stretch>
            <a:fillRect/>
          </a:stretch>
        </p:blipFill>
        <p:spPr>
          <a:xfrm flipH="1">
            <a:off x="0" y="2492897"/>
            <a:ext cx="4032448" cy="4365104"/>
          </a:xfrm>
          <a:prstGeom prst="rect">
            <a:avLst/>
          </a:prstGeom>
        </p:spPr>
      </p:pic>
      <p:pic>
        <p:nvPicPr>
          <p:cNvPr id="28" name="Picture 27" descr="9832569_l.jpg"/>
          <p:cNvPicPr>
            <a:picLocks noChangeAspect="1"/>
          </p:cNvPicPr>
          <p:nvPr/>
        </p:nvPicPr>
        <p:blipFill>
          <a:blip r:embed="rId17" cstate="print"/>
          <a:stretch>
            <a:fillRect/>
          </a:stretch>
        </p:blipFill>
        <p:spPr>
          <a:xfrm>
            <a:off x="611560" y="3356992"/>
            <a:ext cx="2952328" cy="2664296"/>
          </a:xfrm>
          <a:prstGeom prst="rect">
            <a:avLst/>
          </a:prstGeom>
        </p:spPr>
      </p:pic>
      <p:pic>
        <p:nvPicPr>
          <p:cNvPr id="29" name="Picture 28" descr="18847762_xl.jpg"/>
          <p:cNvPicPr>
            <a:picLocks noChangeAspect="1"/>
          </p:cNvPicPr>
          <p:nvPr/>
        </p:nvPicPr>
        <p:blipFill>
          <a:blip r:embed="rId18" cstate="print"/>
          <a:srcRect t="9051" b="35300"/>
          <a:stretch>
            <a:fillRect/>
          </a:stretch>
        </p:blipFill>
        <p:spPr>
          <a:xfrm>
            <a:off x="4067944" y="3284984"/>
            <a:ext cx="4248472" cy="2952328"/>
          </a:xfrm>
          <a:prstGeom prst="rect">
            <a:avLst/>
          </a:prstGeom>
        </p:spPr>
      </p:pic>
      <p:grpSp>
        <p:nvGrpSpPr>
          <p:cNvPr id="35" name="Group 34"/>
          <p:cNvGrpSpPr/>
          <p:nvPr/>
        </p:nvGrpSpPr>
        <p:grpSpPr>
          <a:xfrm>
            <a:off x="1331640" y="3645024"/>
            <a:ext cx="1512168" cy="1944216"/>
            <a:chOff x="1331640" y="3645024"/>
            <a:chExt cx="1512168" cy="1944216"/>
          </a:xfrm>
        </p:grpSpPr>
        <p:sp>
          <p:nvSpPr>
            <p:cNvPr id="30" name="Down Arrow 29"/>
            <p:cNvSpPr/>
            <p:nvPr/>
          </p:nvSpPr>
          <p:spPr>
            <a:xfrm>
              <a:off x="1331640" y="3645024"/>
              <a:ext cx="1512168" cy="1944216"/>
            </a:xfrm>
            <a:prstGeom prst="downArrow">
              <a:avLst/>
            </a:prstGeom>
            <a:solidFill>
              <a:srgbClr val="C00000"/>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IN" dirty="0"/>
            </a:p>
          </p:txBody>
        </p:sp>
        <p:sp>
          <p:nvSpPr>
            <p:cNvPr id="31" name="TextBox 30"/>
            <p:cNvSpPr txBox="1"/>
            <p:nvPr/>
          </p:nvSpPr>
          <p:spPr>
            <a:xfrm rot="16200000">
              <a:off x="1260502" y="4149950"/>
              <a:ext cx="1656184" cy="646331"/>
            </a:xfrm>
            <a:prstGeom prst="rect">
              <a:avLst/>
            </a:prstGeom>
            <a:noFill/>
          </p:spPr>
          <p:txBody>
            <a:bodyPr wrap="square" rtlCol="0">
              <a:spAutoFit/>
            </a:bodyPr>
            <a:lstStyle/>
            <a:p>
              <a:pPr algn="ctr"/>
              <a:r>
                <a:rPr lang="en-IN" b="1" dirty="0" smtClean="0">
                  <a:solidFill>
                    <a:schemeClr val="bg1"/>
                  </a:solidFill>
                  <a:effectLst>
                    <a:outerShdw blurRad="38100" dist="38100" dir="2700000" algn="tl">
                      <a:srgbClr val="000000">
                        <a:alpha val="43137"/>
                      </a:srgbClr>
                    </a:outerShdw>
                  </a:effectLst>
                </a:rPr>
                <a:t>Low Cost of Manufacturing</a:t>
              </a:r>
              <a:endParaRPr lang="en-IN" b="1" dirty="0">
                <a:solidFill>
                  <a:schemeClr val="bg1"/>
                </a:solidFill>
                <a:effectLst>
                  <a:outerShdw blurRad="38100" dist="38100" dir="2700000" algn="tl">
                    <a:srgbClr val="000000">
                      <a:alpha val="43137"/>
                    </a:srgbClr>
                  </a:outerShdw>
                </a:effectLst>
              </a:endParaRPr>
            </a:p>
          </p:txBody>
        </p:sp>
      </p:grpSp>
      <p:grpSp>
        <p:nvGrpSpPr>
          <p:cNvPr id="36" name="Group 35"/>
          <p:cNvGrpSpPr/>
          <p:nvPr/>
        </p:nvGrpSpPr>
        <p:grpSpPr>
          <a:xfrm>
            <a:off x="4572000" y="3573016"/>
            <a:ext cx="1800200" cy="2304256"/>
            <a:chOff x="1331640" y="3645024"/>
            <a:chExt cx="1512168" cy="1944216"/>
          </a:xfrm>
        </p:grpSpPr>
        <p:sp>
          <p:nvSpPr>
            <p:cNvPr id="37" name="Down Arrow 36"/>
            <p:cNvSpPr/>
            <p:nvPr/>
          </p:nvSpPr>
          <p:spPr>
            <a:xfrm>
              <a:off x="1331640" y="3645024"/>
              <a:ext cx="1512168" cy="1944216"/>
            </a:xfrm>
            <a:prstGeom prst="downArrow">
              <a:avLst/>
            </a:prstGeom>
            <a:solidFill>
              <a:srgbClr val="C00000"/>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IN" dirty="0"/>
            </a:p>
          </p:txBody>
        </p:sp>
        <p:sp>
          <p:nvSpPr>
            <p:cNvPr id="38" name="TextBox 37"/>
            <p:cNvSpPr txBox="1"/>
            <p:nvPr/>
          </p:nvSpPr>
          <p:spPr>
            <a:xfrm rot="16200000">
              <a:off x="1348108" y="3975447"/>
              <a:ext cx="1584175" cy="923330"/>
            </a:xfrm>
            <a:prstGeom prst="rect">
              <a:avLst/>
            </a:prstGeom>
            <a:noFill/>
          </p:spPr>
          <p:txBody>
            <a:bodyPr wrap="square" rtlCol="0">
              <a:spAutoFit/>
            </a:bodyPr>
            <a:lstStyle/>
            <a:p>
              <a:pPr algn="ctr"/>
              <a:r>
                <a:rPr lang="en-IN" b="1" dirty="0" smtClean="0">
                  <a:solidFill>
                    <a:schemeClr val="bg1"/>
                  </a:solidFill>
                  <a:effectLst>
                    <a:outerShdw blurRad="38100" dist="38100" dir="2700000" algn="tl">
                      <a:srgbClr val="000000">
                        <a:alpha val="43137"/>
                      </a:srgbClr>
                    </a:outerShdw>
                  </a:effectLst>
                </a:rPr>
                <a:t>Cheap </a:t>
              </a:r>
            </a:p>
            <a:p>
              <a:pPr algn="ctr"/>
              <a:r>
                <a:rPr lang="en-IN" b="1" dirty="0" smtClean="0">
                  <a:solidFill>
                    <a:schemeClr val="bg1"/>
                  </a:solidFill>
                  <a:effectLst>
                    <a:outerShdw blurRad="38100" dist="38100" dir="2700000" algn="tl">
                      <a:srgbClr val="000000">
                        <a:alpha val="43137"/>
                      </a:srgbClr>
                    </a:outerShdw>
                  </a:effectLst>
                </a:rPr>
                <a:t>Raw Materials &amp; Labor </a:t>
              </a:r>
              <a:endParaRPr lang="en-IN" b="1" dirty="0">
                <a:solidFill>
                  <a:schemeClr val="bg1"/>
                </a:solidFill>
                <a:effectLst>
                  <a:outerShdw blurRad="38100" dist="38100" dir="2700000" algn="tl">
                    <a:srgbClr val="000000">
                      <a:alpha val="43137"/>
                    </a:srgbClr>
                  </a:outerShdw>
                </a:effectLst>
              </a:endParaRPr>
            </a:p>
          </p:txBody>
        </p:sp>
      </p:grpSp>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500"/>
                                        <p:tgtEl>
                                          <p:spTgt spid="26"/>
                                        </p:tgtEl>
                                      </p:cBhvr>
                                    </p:animEffect>
                                  </p:childTnLst>
                                </p:cTn>
                              </p:par>
                            </p:childTnLst>
                          </p:cTn>
                        </p:par>
                        <p:par>
                          <p:cTn id="12" fill="hold">
                            <p:stCondLst>
                              <p:cond delay="1000"/>
                            </p:stCondLst>
                            <p:childTnLst>
                              <p:par>
                                <p:cTn id="13" presetID="10" presetClass="entr" presetSubtype="0" fill="hold" nodeType="afterEffect">
                                  <p:stCondLst>
                                    <p:cond delay="200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3500"/>
                            </p:stCondLst>
                            <p:childTnLst>
                              <p:par>
                                <p:cTn id="17" presetID="53" presetClass="entr" presetSubtype="0" fill="hold" nodeType="afterEffect">
                                  <p:stCondLst>
                                    <p:cond delay="0"/>
                                  </p:stCondLst>
                                  <p:childTnLst>
                                    <p:set>
                                      <p:cBhvr>
                                        <p:cTn id="18" dur="1" fill="hold">
                                          <p:stCondLst>
                                            <p:cond delay="0"/>
                                          </p:stCondLst>
                                        </p:cTn>
                                        <p:tgtEl>
                                          <p:spTgt spid="28"/>
                                        </p:tgtEl>
                                        <p:attrNameLst>
                                          <p:attrName>style.visibility</p:attrName>
                                        </p:attrNameLst>
                                      </p:cBhvr>
                                      <p:to>
                                        <p:strVal val="visible"/>
                                      </p:to>
                                    </p:set>
                                    <p:anim calcmode="lin" valueType="num">
                                      <p:cBhvr>
                                        <p:cTn id="19" dur="500" fill="hold"/>
                                        <p:tgtEl>
                                          <p:spTgt spid="28"/>
                                        </p:tgtEl>
                                        <p:attrNameLst>
                                          <p:attrName>ppt_w</p:attrName>
                                        </p:attrNameLst>
                                      </p:cBhvr>
                                      <p:tavLst>
                                        <p:tav tm="0">
                                          <p:val>
                                            <p:fltVal val="0"/>
                                          </p:val>
                                        </p:tav>
                                        <p:tav tm="100000">
                                          <p:val>
                                            <p:strVal val="#ppt_w"/>
                                          </p:val>
                                        </p:tav>
                                      </p:tavLst>
                                    </p:anim>
                                    <p:anim calcmode="lin" valueType="num">
                                      <p:cBhvr>
                                        <p:cTn id="20" dur="500" fill="hold"/>
                                        <p:tgtEl>
                                          <p:spTgt spid="28"/>
                                        </p:tgtEl>
                                        <p:attrNameLst>
                                          <p:attrName>ppt_h</p:attrName>
                                        </p:attrNameLst>
                                      </p:cBhvr>
                                      <p:tavLst>
                                        <p:tav tm="0">
                                          <p:val>
                                            <p:fltVal val="0"/>
                                          </p:val>
                                        </p:tav>
                                        <p:tav tm="100000">
                                          <p:val>
                                            <p:strVal val="#ppt_h"/>
                                          </p:val>
                                        </p:tav>
                                      </p:tavLst>
                                    </p:anim>
                                    <p:animEffect transition="in" filter="fade">
                                      <p:cBhvr>
                                        <p:cTn id="21" dur="500"/>
                                        <p:tgtEl>
                                          <p:spTgt spid="28"/>
                                        </p:tgtEl>
                                      </p:cBhvr>
                                    </p:animEffect>
                                  </p:childTnLst>
                                </p:cTn>
                              </p:par>
                            </p:childTnLst>
                          </p:cTn>
                        </p:par>
                        <p:par>
                          <p:cTn id="22" fill="hold">
                            <p:stCondLst>
                              <p:cond delay="4000"/>
                            </p:stCondLst>
                            <p:childTnLst>
                              <p:par>
                                <p:cTn id="23" presetID="10" presetClass="entr" presetSubtype="0" fill="hold" nodeType="afterEffect">
                                  <p:stCondLst>
                                    <p:cond delay="0"/>
                                  </p:stCondLst>
                                  <p:childTnLst>
                                    <p:set>
                                      <p:cBhvr>
                                        <p:cTn id="24" dur="1" fill="hold">
                                          <p:stCondLst>
                                            <p:cond delay="0"/>
                                          </p:stCondLst>
                                        </p:cTn>
                                        <p:tgtEl>
                                          <p:spTgt spid="35"/>
                                        </p:tgtEl>
                                        <p:attrNameLst>
                                          <p:attrName>style.visibility</p:attrName>
                                        </p:attrNameLst>
                                      </p:cBhvr>
                                      <p:to>
                                        <p:strVal val="visible"/>
                                      </p:to>
                                    </p:set>
                                    <p:animEffect transition="in" filter="fade">
                                      <p:cBhvr>
                                        <p:cTn id="25" dur="500"/>
                                        <p:tgtEl>
                                          <p:spTgt spid="35"/>
                                        </p:tgtEl>
                                      </p:cBhvr>
                                    </p:animEffect>
                                  </p:childTnLst>
                                </p:cTn>
                              </p:par>
                            </p:childTnLst>
                          </p:cTn>
                        </p:par>
                        <p:par>
                          <p:cTn id="26" fill="hold">
                            <p:stCondLst>
                              <p:cond delay="4500"/>
                            </p:stCondLst>
                            <p:childTnLst>
                              <p:par>
                                <p:cTn id="27" presetID="10" presetClass="entr" presetSubtype="0" fill="hold" nodeType="afterEffect">
                                  <p:stCondLst>
                                    <p:cond delay="50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childTnLst>
                          </p:cTn>
                        </p:par>
                        <p:par>
                          <p:cTn id="30" fill="hold">
                            <p:stCondLst>
                              <p:cond delay="5500"/>
                            </p:stCondLst>
                            <p:childTnLst>
                              <p:par>
                                <p:cTn id="31" presetID="53" presetClass="entr" presetSubtype="0" fill="hold" nodeType="afterEffect">
                                  <p:stCondLst>
                                    <p:cond delay="0"/>
                                  </p:stCondLst>
                                  <p:childTnLst>
                                    <p:set>
                                      <p:cBhvr>
                                        <p:cTn id="32" dur="1" fill="hold">
                                          <p:stCondLst>
                                            <p:cond delay="0"/>
                                          </p:stCondLst>
                                        </p:cTn>
                                        <p:tgtEl>
                                          <p:spTgt spid="29"/>
                                        </p:tgtEl>
                                        <p:attrNameLst>
                                          <p:attrName>style.visibility</p:attrName>
                                        </p:attrNameLst>
                                      </p:cBhvr>
                                      <p:to>
                                        <p:strVal val="visible"/>
                                      </p:to>
                                    </p:set>
                                    <p:anim calcmode="lin" valueType="num">
                                      <p:cBhvr>
                                        <p:cTn id="33" dur="500" fill="hold"/>
                                        <p:tgtEl>
                                          <p:spTgt spid="29"/>
                                        </p:tgtEl>
                                        <p:attrNameLst>
                                          <p:attrName>ppt_w</p:attrName>
                                        </p:attrNameLst>
                                      </p:cBhvr>
                                      <p:tavLst>
                                        <p:tav tm="0">
                                          <p:val>
                                            <p:fltVal val="0"/>
                                          </p:val>
                                        </p:tav>
                                        <p:tav tm="100000">
                                          <p:val>
                                            <p:strVal val="#ppt_w"/>
                                          </p:val>
                                        </p:tav>
                                      </p:tavLst>
                                    </p:anim>
                                    <p:anim calcmode="lin" valueType="num">
                                      <p:cBhvr>
                                        <p:cTn id="34" dur="500" fill="hold"/>
                                        <p:tgtEl>
                                          <p:spTgt spid="29"/>
                                        </p:tgtEl>
                                        <p:attrNameLst>
                                          <p:attrName>ppt_h</p:attrName>
                                        </p:attrNameLst>
                                      </p:cBhvr>
                                      <p:tavLst>
                                        <p:tav tm="0">
                                          <p:val>
                                            <p:fltVal val="0"/>
                                          </p:val>
                                        </p:tav>
                                        <p:tav tm="100000">
                                          <p:val>
                                            <p:strVal val="#ppt_h"/>
                                          </p:val>
                                        </p:tav>
                                      </p:tavLst>
                                    </p:anim>
                                    <p:animEffect transition="in" filter="fade">
                                      <p:cBhvr>
                                        <p:cTn id="35" dur="500"/>
                                        <p:tgtEl>
                                          <p:spTgt spid="29"/>
                                        </p:tgtEl>
                                      </p:cBhvr>
                                    </p:animEffect>
                                  </p:childTnLst>
                                </p:cTn>
                              </p:par>
                            </p:childTnLst>
                          </p:cTn>
                        </p:par>
                        <p:par>
                          <p:cTn id="36" fill="hold">
                            <p:stCondLst>
                              <p:cond delay="6000"/>
                            </p:stCondLst>
                            <p:childTnLst>
                              <p:par>
                                <p:cTn id="37" presetID="10" presetClass="entr" presetSubtype="0" fill="hold" nodeType="after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PRESENTER_PHOTO_0" val="png|iVBORw0KGgoAAAANSUhEUgAAARYAAABECAYAAABEfBoHAAAACXBIWXMAAAsTAAALEwEAmpwYAAAK&#10;T2lDQ1BQaG90b3Nob3AgSUNDIHByb2ZpbGUAAHjanVNnVFPpFj333vRCS4iAlEtvUhUIIFJCi4AU&#10;kSYqIQkQSoghodkVUcERRUUEG8igiAOOjoCMFVEsDIoK2AfkIaKOg6OIisr74Xuja9a89+bN/rXX&#10;Pues852zzwfACAyWSDNRNYAMqUIeEeCDx8TG4eQuQIEKJHAAEAizZCFz/SMBAPh+PDwrIsAHvgAB&#10;eNMLCADATZvAMByH/w/qQplcAYCEAcB0kThLCIAUAEB6jkKmAEBGAYCdmCZTAKAEAGDLY2LjAFAt&#10;AGAnf+bTAICd+Jl7AQBblCEVAaCRACATZYhEAGg7AKzPVopFAFgwABRmS8Q5ANgtADBJV2ZIALC3&#10;AMDOEAuyAAgMADBRiIUpAAR7AGDIIyN4AISZABRG8lc88SuuEOcqAAB4mbI8uSQ5RYFbCC1xB1dX&#10;Lh4ozkkXKxQ2YQJhmkAuwnmZGTKBNA/g88wAAKCRFRHgg/P9eM4Ors7ONo62Dl8t6r8G/yJiYuP+&#10;5c+rcEAAAOF0ftH+LC+zGoA7BoBt/qIl7gRoXgugdfeLZrIPQLUAoOnaV/Nw+H48PEWhkLnZ2eXk&#10;5NhKxEJbYcpXff5nwl/AV/1s+X48/Pf14L7iJIEyXYFHBPjgwsz0TKUcz5IJhGLc5o9H/LcL//wd&#10;0yLESWK5WCoU41EScY5EmozzMqUiiUKSKcUl0v9k4t8s+wM+3zUAsGo+AXuRLahdYwP2SycQWHTA&#10;4vcAAPK7b8HUKAgDgGiD4c93/+8//UegJQCAZkmScQAAXkQkLlTKsz/HCAAARKCBKrBBG/TBGCzA&#10;BhzBBdzBC/xgNoRCJMTCQhBCCmSAHHJgKayCQiiGzbAdKmAv1EAdNMBRaIaTcA4uwlW4Dj1wD/ph&#10;CJ7BKLyBCQRByAgTYSHaiAFiilgjjggXmYX4IcFIBBKLJCDJiBRRIkuRNUgxUopUIFVIHfI9cgI5&#10;h1xGupE7yAAygvyGvEcxlIGyUT3UDLVDuag3GoRGogvQZHQxmo8WoJvQcrQaPYw2oefQq2gP2o8+&#10;Q8cwwOgYBzPEbDAuxsNCsTgsCZNjy7EirAyrxhqwVqwDu4n1Y8+xdwQSgUXACTYEd0IgYR5BSFhM&#10;WE7YSKggHCQ0EdoJNwkDhFHCJyKTqEu0JroR+cQYYjIxh1hILCPWEo8TLxB7iEPENyQSiUMyJ7mQ&#10;AkmxpFTSEtJG0m5SI+ksqZs0SBojk8naZGuyBzmULCAryIXkneTD5DPkG+Qh8lsKnWJAcaT4U+Io&#10;UspqShnlEOU05QZlmDJBVaOaUt2ooVQRNY9aQq2htlKvUYeoEzR1mjnNgxZJS6WtopXTGmgXaPdp&#10;r+h0uhHdlR5Ol9BX0svpR+iX6AP0dwwNhhWDx4hnKBmbGAcYZxl3GK+YTKYZ04sZx1QwNzHrmOeZ&#10;D5lvVVgqtip8FZHKCpVKlSaVGyovVKmqpqreqgtV81XLVI+pXlN9rkZVM1PjqQnUlqtVqp1Q61Mb&#10;U2epO6iHqmeob1Q/pH5Z/YkGWcNMw09DpFGgsV/jvMYgC2MZs3gsIWsNq4Z1gTXEJrHN2Xx2KruY&#10;/R27iz2qqaE5QzNKM1ezUvOUZj8H45hx+Jx0TgnnKKeX836K3hTvKeIpG6Y0TLkxZVxrqpaXllir&#10;SKtRq0frvTau7aedpr1Fu1n7gQ5Bx0onXCdHZ4/OBZ3nU9lT3acKpxZNPTr1ri6qa6UbobtEd79u&#10;p+6Ynr5egJ5Mb6feeb3n+hx9L/1U/W36p/VHDFgGswwkBtsMzhg8xTVxbzwdL8fb8VFDXcNAQ6Vh&#10;lWGX4YSRudE8o9VGjUYPjGnGXOMk423GbcajJgYmISZLTepN7ppSTbmmKaY7TDtMx83MzaLN1pk1&#10;mz0x1zLnm+eb15vft2BaeFostqi2uGVJsuRaplnutrxuhVo5WaVYVVpds0atna0l1rutu6cRp7lO&#10;k06rntZnw7Dxtsm2qbcZsOXYBtuutm22fWFnYhdnt8Wuw+6TvZN9un2N/T0HDYfZDqsdWh1+c7Ry&#10;FDpWOt6azpzuP33F9JbpL2dYzxDP2DPjthPLKcRpnVOb00dnF2e5c4PziIuJS4LLLpc+Lpsbxt3I&#10;veRKdPVxXeF60vWdm7Obwu2o26/uNu5p7ofcn8w0nymeWTNz0MPIQ+BR5dE/C5+VMGvfrH5PQ0+B&#10;Z7XnIy9jL5FXrdewt6V3qvdh7xc+9j5yn+M+4zw33jLeWV/MN8C3yLfLT8Nvnl+F30N/I/9k/3r/&#10;0QCngCUBZwOJgUGBWwL7+Hp8Ib+OPzrbZfay2e1BjKC5QRVBj4KtguXBrSFoyOyQrSH355jOkc5p&#10;DoVQfujW0Adh5mGLw34MJ4WHhVeGP45wiFga0TGXNXfR3ENz30T6RJZE3ptnMU85ry1KNSo+qi5q&#10;PNo3ujS6P8YuZlnM1VidWElsSxw5LiquNm5svt/87fOH4p3iC+N7F5gvyF1weaHOwvSFpxapLhIs&#10;OpZATIhOOJTwQRAqqBaMJfITdyWOCnnCHcJnIi/RNtGI2ENcKh5O8kgqTXqS7JG8NXkkxTOlLOW5&#10;hCepkLxMDUzdmzqeFpp2IG0yPTq9MYOSkZBxQqohTZO2Z+pn5mZ2y6xlhbL+xW6Lty8elQfJa7OQ&#10;rAVZLQq2QqboVFoo1yoHsmdlV2a/zYnKOZarnivN7cyzytuQN5zvn//tEsIS4ZK2pYZLVy0dWOa9&#10;rGo5sjxxedsK4xUFK4ZWBqw8uIq2Km3VT6vtV5eufr0mek1rgV7ByoLBtQFr6wtVCuWFfevc1+1d&#10;T1gvWd+1YfqGnRs+FYmKrhTbF5cVf9go3HjlG4dvyr+Z3JS0qavEuWTPZtJm6ebeLZ5bDpaql+aX&#10;Dm4N2dq0Dd9WtO319kXbL5fNKNu7g7ZDuaO/PLi8ZafJzs07P1SkVPRU+lQ27tLdtWHX+G7R7ht7&#10;vPY07NXbW7z3/T7JvttVAVVN1WbVZftJ+7P3P66Jqun4lvttXa1ObXHtxwPSA/0HIw6217nU1R3S&#10;PVRSj9Yr60cOxx++/p3vdy0NNg1VjZzG4iNwRHnk6fcJ3/ceDTradox7rOEH0x92HWcdL2pCmvKa&#10;RptTmvtbYlu6T8w+0dbq3nr8R9sfD5w0PFl5SvNUyWna6YLTk2fyz4ydlZ19fi753GDborZ752PO&#10;32oPb++6EHTh0kX/i+c7vDvOXPK4dPKy2+UTV7hXmq86X23qdOo8/pPTT8e7nLuarrlca7nuer21&#10;e2b36RueN87d9L158Rb/1tWeOT3dvfN6b/fF9/XfFt1+cif9zsu72Xcn7q28T7xf9EDtQdlD3YfV&#10;P1v+3Njv3H9qwHeg89HcR/cGhYPP/pH1jw9DBY+Zj8uGDYbrnjg+OTniP3L96fynQ89kzyaeF/6i&#10;/suuFxYvfvjV69fO0ZjRoZfyl5O/bXyl/erA6xmv28bCxh6+yXgzMV70VvvtwXfcdx3vo98PT+R8&#10;IH8o/2j5sfVT0Kf7kxmTk/8EA5jz/GMzLdsAAAAEZ0FNQQAAsY58+1GTAAAAIGNIUk0AAHolAACA&#10;gwAA+f8AAIDpAAB1MAAA6mAAADqYAAAXb5JfxUYAACgESURBVHja7H19fFTFuf/37PtuErKRAAm3&#10;yWajkI0SAouFIBgwEawiq1ZtAxX6E5L2d+VFraHVS7BeAbWKLS/qbSHhVmgD1qtCUBGUQAJoQBNY&#10;XmSDms0GJS/GZkPI5n3n/jFnz559P9ks4LXngfPJZs/MPHMmZ77zvM0zjNK0mkAkkUQSKYIkEYdA&#10;JJFEEoFFJJFEEoFFJJFE+tcjGfCvamIhHj98iPH5IJJIIgkHlsFMQNdnAWDEMO6JGXKSXmkeXu0T&#10;J0AItFFKjNcn8Mq461aeqXf/zjAsD4bHa7CAIxTIRDAT6QcPLIROBOJE9jgdssfpABAQAZOeYSfh&#10;9vKTsLVcAhgJwBA/k8abRzKLK8J5VJ6xofKMzQ8P4gEmuhHDYJpiwNyp6cgenypogGzNbexlxyt7&#10;qmC2tlAN0u+z+AMx4vHTkPxvXmVpG63tHWhtv8QDMPj5LIKOSD8UiYU4AWc/br0pCUW/yBk0A/tl&#10;B14pO0atOYzE/zwkA4BzAEXzZgie8Hxa/bePUHmqzosHO5mJE1q1HC8W3I2FsyYNum3dqDjoRsUB&#10;AOqbv4P5q4uAROb1LDwwIU6AOBEfGw3j2FQkjYpHcsIIJCeMFMyzoakFju4e9mcvahsuoqHlOzh6&#10;+ljwDB9gTFlpGJ8yivt9zc7KoOUz9QmYO2UsAKDd0YNNZccCj9VILUxZaQAQsJw2SoWlcydzv7+y&#10;5zjsnd0+5ZaZpiBWo4wIz0DPlJ2RwntPu3HK2oQ9x87DbG3y6Ucw4o9hJMd3sLyF/K3443+qvhll&#10;VbUAgKK8bMHvkO3bdmw/YB4CsLAThQz0QTciJqwXWRcfA+Lso9IFkXjNB3Y1dw4gVikJC1QAoOFi&#10;ixcPFlScAxivi8f+PxRAG60eOgwP9IMM9IFhJLxncQOYRiHH9PE3Ylpm+qCAxJtcdQ0pSR7fP7x6&#10;AwU1SIYkuBTNm8F95r9c/mjp3MlYkJspaOIW5WVjQW4mbC32gGXtnd2Ym5WGTFYFjY1SYUXJft8x&#10;GBGLZaYpEeHJn1Sbl5tgykqDrcWONTsrYWu2QzdKi5cWz+YAig8srn5Q9diGytP1HKC5xsUbPCI1&#10;voPlbWuxe/C2tdh9ePPH/2fP/8Onz2VVtThlbUJ2RgqroQDbD5hha7Fz9SrP2IQASzCVg0orGOiF&#10;bqQ2rJd4fGoC0N9LV1qJBJ6OKAKQAZCBPpiyMsKeKPXfNAIDfYBEStsniDyoAJTHQB8gZSc3YViJ&#10;bgCzJmfi3hlZ0KhUV0y8JP09YGRw8w+DXC+nix66bTzKqiwBpQHXCwwAh8/aAhqJtFEqrqxupBaZ&#10;+lEeE9SzDzYOWJaZpmDPsVrWpgUPXstMUyLGUxulwr61C5CpT4DZ2oQ7Vm5zS0pngFN1Tdj8qAne&#10;hjBXP1xjt2Znhfs5ztZjy/J7PMpHcnwHy9ve2QWztYkb283LTag8vdFHInSNP+0r4QBnRck+DjCK&#10;ADewlJtReYbyf2nxHchMHYVQTp/gbychIMQJDPTTCRQGzZiYBgz00na87SYEgNMJOPtwa0bqECY8&#10;VaWo5MBKQCop3ly1IHKgAiA2SkmB1unkVMTk+Fj8Z0Ee5t8x84qCCgCgvwfE2S/MsB1INfV6yUxZ&#10;hoCLxoKcTC+1tjtguwtyMz3A4SGvunxq9+rDlkdN0Eap/PKKFM+VeTO4Cfez5/7hMw4usDlV3yz4&#10;mbcfMKNg4+4rNr6D5e09ti4JLVAZfl/vWLktpBQCACtK9mFF8f6Q5SShjbdO96QNk7IzUtk2nDyk&#10;c7etVcux8M5bhiJK8OwcFAgX5GZCl3BdROd15phkwDkAQgaA/j5MvCEZv/vlg0hOGHV1LGIDfV5j&#10;GBlaOneK/+9NUwS38VBOJraXmzmJwaVWBCPXSq4bqfU7ASLFUzdSy638ZVUW2FrsAUE3kHQRbIJf&#10;jfEdDG+ztYl7RlOWgXv2YBRI0gu3rDB5mjiROVYXPrBkXk8NtIR4zQkCQgZgmnrjkAbY3uHgJCw4&#10;qU1o2X3ZEZ/XxOmkz9Hfh2kZaVied++Vl1I8+A+w0tLQgYX/UvLFcf532iiVoImTqU9Apj4Be6pq&#10;8bdyM081SQha71cby7hV05RlgCnLIBzkB8GTDzinrM2RW2jYPlzp8R0s7/bObhRsKPOQ1sI1ZYRL&#10;EoIQ/4gTBE5oY6LCZmK6dSKIsx+EDIDAybZLQJzUvjJ3WsaQHuLklxeoGZghIKQfsWoJdAnDhdto&#10;vm7Ehv9+A/c/8h/IXfAochc8isVPPodnN27F7g8Pw37pMgghSBp1HYizH2m6ROT/dA6uNsVrh7nH&#10;j/s5+H8AUN/Sxq3OLlsFv8zSuVNQVmVBfUsbfxnw+2/J3Mkoq7KgrbMLu3kr/pK5k4P2oa2zy0Oc&#10;37zchNgopUeZSPDM4HlpKs7UhzVe3n1ZapqCY+t/hWG8/l6J8Q2HN31OKzaVVXH8tzxq8ikXznML&#10;/ScLZWNxx2AMTYXQquVo72dXW8atBulGDIPpVuMQpxwb70GoBJSpHy245u4PD2PxyhfpyslzI1ec&#10;/IJzHUMiReaNYzFvzm2I1w7Dow/lhdVLm60O1dXHYan9HN+2tqL1u1YP6S097UYABIa0mzAifgTS&#10;08chfoTbuxR/XRxaL7ZGTBXaftDMSQlL507BtgMnqYQ5LgWZ+gQUFu/jDHjBPC2mLANWlOzjPBG2&#10;FjvrBjb4tQN4q0PbDpzEwtwJdAIsvwcPPv9GRHmmjIrMar1q3kysmjfzqo5vuLwBYM3OCmRnUF7Z&#10;41KwzJTFgc2VJgFxLCQiond25vUo+7QODHFSVy1xgjj7cc8txiG37QqUc6lCcA4Irrvx77vQ3kPA&#10;qGMBqYL1XIFzIdO2CE5Zm3H6tTfx5NKl0KgHZxCurj6Gd3b9D2zffE3BSyIFw0jAqIbxYvkILPUX&#10;QIgT5+rqKV/nAOJHjMTNN2fBYLiJBb3IBci57A0uFcLlMVmQQ923lWfqQ774piwDtFEqjE8ZhaK8&#10;GZytQscDgFB2ixUl+zAjI4UDhoW5E1DfbL+iPMOh1TsOcZ6ZZaYsrFt8xxUf33B5u8akYMNuHF//&#10;awBAUd4MH6/VFVOFghpuOYkjKWgjFVXVoYFl/Bie58btVVlwR1bggbnUIahtMLyQfuJEfeO3ggcg&#10;JTkJUMWAUceC0WjBaOJ8L3UsGIUGhrFjkX7DDYLbdjg6sX7jS1j/2kY0tLS6eURdB0QPBxM9HEwU&#10;e0UPB6KvAxN1HctXC0YTi+8ud2Nf5RFs+O/XYalviDi4bNpzzMPIqBupxcLcCR6uzWC0ICcTZmuT&#10;h4eB//LOnZwmaALkb3BLGS8tviOolDFYnnzvijba1yb24dpfomf379Gz+/doLv2dj4fK77iVVWHy&#10;Y3/x8XBFenyHwttlaF294xBPJbrneyCxsNKKNir0Cl3/dSNSfpQY8P6MiWMBZxlrxGUA5wAy9aOo&#10;pyWQmrK/ImibPuoQ+9PW2ArbxRboRocOUnt5RQEqPv8GDf/sAuQqMBIZbYoAgJMabAf6QPp7cN8d&#10;dwwKVJ77w2o0NDVTaUiuAiNTAjK5W+ViJB67DxgX4LokJZdrm2FoHZkSjETKC/OPgDp04CS3+pmy&#10;DGjv7BbsHdGN1CJ7XAoKNu7mxHy+VCFUHQLo3qxNZVVYZsqCNkqFlwKsyOHwNFubOJUk+yadz7Nt&#10;Lzcje1wKJ2XYBUxYod6RoYxvpLw4a3ZWwJRl4KSmq2HIlXDRrz6XS2px0hiUEJPa/Pn5EHYWHbQa&#10;OevZoEbbBbN+HFyU/OhwyElku9jiK7kwDF7fUy5oALQxUXjr+WXIHJMMRiqjE1+mAOQKOpHlCjBS&#10;OdKv18Nw/fWCB3b9K39EQ/O3rDQ0jIKLOgZQRoNRRtFLoQaj0LCXGoxSw92DKhpQDQPUwwBVDKCM&#10;AiNTsEGAPDQK63JLpfbOLm6CaqNUWGbKwvYDJ2Hv7PJjy/FsZ9ncKewkOedzj2+4pF4Z//z5V2HJ&#10;B9yEcUsNQ+e5vfykB/h416tvdhtQqZs20Hj5H3NtlPKKjO9QefOvB5/byQFmoLEdDN9QlyS04RbQ&#10;JcYHV4WOn0DlpycFqEM3UFBx9gPOftwzfULwdj87HVLsr7/Y4gYfhgEYKSCRYdMbH8DecVmwcfnD&#10;l5dhfMpIdyCgS6KABAQE0ydOEAwqH+x/HxarDVAPA6Om4ECBRANGrqLAJZW7f3KfKZhBpgIjV3sC&#10;j1zF2oAiK7EAwCt7qrzEd2EGvgW5EwKu8GXHLDzVRLgbuWDDrojztLXYuclNY1qyIjZ2RXkzQ7rJ&#10;wx3fSPDmj8GanYdwtShE5C21WYQMNGMkOPTpqdAT+PrRXFi8bsSwoIC1+6PDsHf2hJ5EDM8rBIaq&#10;ClI57F39eOCxtYIHQhutxqev/QYLbsugkcaugD7nADDQj/TUFMFt7dr7HpUwlNGAIgqMXE2Bg/M6&#10;MVyEsMflUoM45GdYgOP9HKJ9xRX7wI+BMFubOEnBO4CMXy4z1f3ZpbLsOW4JqNq4aGHuBA/x218f&#10;/NkEvGkoPFfwpKF1i38iGFz4z+ytkh1f//+xat5MD0NzpMY3HN4AMF6fwEsF4mub8d46Eeo9CdaP&#10;MG0sPNEmlFOIkcB83gb7pcvQDosOLLFMSAO2fQAQJ+65ZVxwNehgFV3JQ04kXmoBCbt/RyYHI1eh&#10;wvwlFhetQ8maQsEDUvxEHrIzrkfB+rdpu85+xA+LQvx1wqJ4q09Uw9EPMOooQKFmJQ2Z+zmIE8kj&#10;h2P+rGwfI7kQG1Lph5VoaPmOrglhSC5zp7C2howUaKNU3Mr/yp4qbFl+r8dqqo1SeewANk0xYFNZ&#10;FTL1CSjKm8lJBv7sBd4r6Zv/kYfZK//K8Xb1xZ+tYM3OQ5iRkcLZPVwverg87axdY/Jjf0ZR3kws&#10;zJ2AdYt/gqK8mThlbUIsz1jb7vAKyZ/ibjOQy5c/WSMxvuHyzh6Xwqk52eNS/ILIg8/tRO2Wx4Ia&#10;qEP1S9DbqjA97f/NJk6grwek5zKKn/g5Fs6ZEbCR3IdXoOKzM3hrfRHuyZ0W2Prf0YmRdy0DGAk+&#10;LVmFzDGBXW3xtzyA9s5u9JnfDa4uVZ/FrN+sB1TDwChYI3N/L0ivA6T7EtB1CQvvvAUla387qIE5&#10;+eXXmL3iv2DvuAxD0ig89esCQfW2vF6Cw+az1AOkjPJ0YTupJywtKRFP/b95YUkcT//lr2j4to1V&#10;icTMouGSbqTWQ6JxxcKIdKVVIV5wnC5xRAiBRQZGKkdl9ZmQhtLkkbGIVUmDgkrFp2a0O3rZlV7g&#10;as64pSdIZYBcCUYRBSijsO39o5j001/Dfumy4IEZnzoaJ/78GNJHD4MhJVlwPVtjE+v98WcPYXeL&#10;9/eG/QezXWhgN4WKp7YMhVxxJK5LBJXIUtCZS4g7jWNQkkoBmRwV1Z+HZDghdTRiY6KDq0GHjlE1&#10;KBxzAsPQADSpAkRBwLDByaesTch9+Am8tfEZpPybMBd2tEqBrU/8DJv3fy6YfUNjM5goLesW5gEL&#10;67onA/3UzhQu9feCSBVghggs2eNSYJpiQGaqeyzMdY0oO2bhROiFuRORPCJWcJsu4+Ay01SPBEWv&#10;7KnyMbbyy/Dve9fl06n6JpjrmvyCgHdfaaKjT3zsBi5Vpd3Rg+0HTgh2LYsUQWBx2VhSQsWDMFJA&#10;KoP5ywuwd1yGNghwjL/+R0gZHXw38O6Kz1hpJczJw0gAiQyMzJ38kTAMTllbcPMDS3Bg6x+QmT4m&#10;aBNOpxNOpxNRSjmmpAmXWCCVsUZaP94bQthsef3h/8V8dokPnrYsvxcLcydi24ETWL3jIFJGxeGl&#10;xT9B9rgU2Du7OWBZkDMB2eNSYLY2oazqHBvcNZHT7StOW5GpT+RsGy5g0Y2IxTLTVM5w6c8b4Srj&#10;fZ9f18XDpbosM02FNkqFyjP1yN/wjgfAlFWdQ+2WxznbweodB/0aho+v/3dqa3h+hwgqV1YVCuSL&#10;dnJRsqFUIfOXDXQySWUw11qDlp0x6SaYbpscuC3LV7A1/5NOUAE2BHtHp//+S1jJRaYAFBowqmhA&#10;HY32XoLcRb/D7o8Oh2ybEAKn0zm4nC6cFwfuDHOcEZx6fQyD8DDx6dz5Wi+v0eCvhbkTsDB3IirP&#10;WFGw8R1UnrFi24EazF65lWdIdZffVPYJJj/2GtbsPOgRD1Jx2oo1Ow/iwedLUbDxHXaS0jqVZ91G&#10;w8rTVr/9cJXxvs+v6+KxZudBFGx8B2kFf0TlGSuyx6Xg+Pp/R6Z+FFfP3tmFB5/b4X7PMlJ8eLqM&#10;wat3HPQbByNekbskQYUVgRsQuQ18UjkqQthZMg2pQSWabe8eZA2eMjYYLDiZz9cHzgErofYWRq6k&#10;bl8lDVZr72Nw/+Nr8frbe4VhhbNH8OQfMfy6K7sU8JNrh0Gu+I4Krz0jZmsTZq/cilP1bi9NYfFe&#10;FJaEHqNtB05g9sqt7veBF0IfSCrgEjl1Ck9uZO/sxoPPUUmDhqf/1ON+5RkrKs9YWVVPD1NWusf9&#10;VfNmshLSQVGkuGbGW5fhdpSA9AMSKRipFIxUhsqacyEMuMHtK7srqwGpnEbBSgR4PUIllmYknOTC&#10;KDU08lU9DIwqGouf2YjX3wk9cSRO4cZWQ+r1IYHhSHUNnl//Mp57aQ2ee/5pHK78SLCNmnOvhxnO&#10;4torY8pK983axkW0usFGKA2m7FCI38dMfYIPeORveIf7vG7xnTybkh7Z4/QoLN4rzvprCywUXFKE&#10;ZGFjJFzEq/mrb8LujNnyFWwtdjBSuTt/rZDZxjDsDufgNhdIFWAULLiohoFRRmPx0xtgPveFn/nP&#10;QCKRQCqVQkUcgp/BeNONboO3t7THRga3tl/GuXobLHVWnPvqK6riCEWWIQbJmeuauEm5f+2iq54A&#10;KBLEl6qyb/JUK20tds6+ohupRVHebZy0su3ACU6iEela2VhYe4Dg830kVDKwO7phrq0LqzMV1Weo&#10;bUUqBSQSxMVoBlGbPepDI2c3OnpFsTKsaiRjVSOlBowqCoxSg90HP/H7TFKpFDKZDAqFAgOXWwX1&#10;YlJGBuKHRQOkn/bDy+7DSGWAQkljXNQxYFTRaLW3C2q74esL7LMQH1uI0GvTno859SNTn4Dj6x9h&#10;jaWD32c09HIIq665rtGtWqcm+Nx/hfeMy0xTYcoyYLw+EStK3hftH9fUxsKLYckcGyJlwmenORcv&#10;JFIwktAG3IC6+nuVrLRCDbfBdj77SAIskGxZ/lO8+dR8mCaPZXcH93umc2SkbGSuEpCrALkKMyZP&#10;CAgsCoUCSqUS6BKeiuHRh+ZBLZd65gp2heVLZWBkKnfIvzKKxr0IIEdX15AlFluLHbNXbvXYkLZu&#10;8Z04vv4RZOoTfxCrJc04/z73fG8+NR9rdh4UvUDfC1WIFeVjQ6ZM4O1jkVB1qKLm80F3pP5iM8xf&#10;fU3jVySDjCjlJWUyf3kBpqk34c2ihWje+XtsWX4flt09Gdk3JrmP73AOIDZKCdP0Cfjo1VWYcfN4&#10;v81KpVLI5XKoVCooe78T3J3k0aPx1MMPYXiM2gvY2DGSKWiov1zFhvxLhQNoKLVPkD2kEWkFL3uo&#10;BZn6ROxfu+gHAy7bDpyA2eqWbDaVfSzO9qtIAc4VcuUFEZCdnx/xyjCAVIKKE+cG3ZGyg1VsrhIp&#10;Z5wkgoPAWLWtv9cjRkQbrcbCWZPDGhiXjUWhUECtViNao8Kp2hNITpsoDFwSE/HyY0tw+IQZR0+d&#10;haXhG5604VbPkkcnwpgxbpC9C7S9fTCrehdmrSzBMtMtKMrLgTZKBW2UCkV5t+HB5/8ehG+w3wdT&#10;jgj47L+uNlrJsxk1BuyHZyIkMVL5KgNLsL85CRp67wEuLlFfIoOtpS1koJyvGnSIqkGsfQXOQb4M&#10;xAk4Sdj2nUASi0KhgEajQUxMDP5rzYtYtXojNBrhicVvnZiJWyfSLO0NTU1wdFPXtUalRHJCQjiI&#10;54XoQ6NNZR+j8rQV+9cuZvOYpH/vX9rxKW6pqvKsaIz9P6QKuW0s2ujgBlSaaIkV0VkDLiQyNpeK&#10;QDXoG74aRPPBDnqVYdUh+6WOiA0OwzCQy+VQq9XYc/gzfN3ahs1bNoXdXnJCAgwpOhhSdGGBiuWr&#10;L3nqZ3h9WJhr9KsabT9Q83/mpXVF/9pa2jzc4yJ9n4DF5Rb1uojTCTidSBkdPOqW5pdlPC6GkdDA&#10;NcFq0CeAxAtUCBGOK66yEUr87S21fNlwEVt2lYNRRqH69Gm8vesf1+jPxcscR8K7tiz/KRbmTPS9&#10;x1ctAtX3VlkClDtVd5ErZZqS7reMKwr2lLVxUDyWzZ0K3cg4AED+hrdCPK+vzVC8rs4lCe42ckKX&#10;KOBwc4bn+ZBIAKkUlYMw4G57/xAYmdwrjJ+EzFznIdUwLqBriajEcrr2K5iWP4uOfoammVRFY9fe&#10;d/H3HX/9HqwL4aWl3PLo/eyqT7/LTE3AAlaSWbPzQMC6fMMu/ey/nL2zC5vKjtJyqYkevACC7Aw9&#10;lpmm0U2PVWcD8uA/ozZKiaJ5OViXP4fNPv8/qDxdF/RZx/M2WPpzS4vXlbtkfld4VlrRalSCV1KG&#10;fWkZMCCMFBUnhCULrv+mGeYvvgajiWWlFYZDPV1C/ODmGAPYmr6LyJS1X+rAxtffxLOb32Bz0caA&#10;SGVgiBNEKsW+Qwdha6jHrxY94nH2z9XDlPAks8rTdcjOSMWWRx/A0rnT0N7ZheyMVNha2lCw/k2U&#10;VQVeEExT3PaX7IxUaDXKgC7cwi3vwn65C8vumY4tjz6Aonm5sDW3ITZKDd2oOJRVncWKLe/6PAef&#10;x6p5uVg1L9ej75t2H8WmsqOw8Q768kfZGakekcVzJ6fD/NVFUUe5WrK14u4nfd/QgX6Qvm5kJl+H&#10;dY88yKZO9NpRy+aE3fbBUWwvP8EmNZIDzn6Q3i6QrksoefJhCg6BknEzEpRVfoqNbx+iYfYKNY1h&#10;cfaD9DiwIGcCFv5kGm9Hr2ddSCTYtpflL1NQ9a2nEwtunwTdiFjMuDkDmeljoB0WI3hAzOfOY9s7&#10;H+D1XR+ivbufBtIp2WxwEhlNLN7XDdLrAHo6QXq7cOvUabh12kykp2dc0T/W869uguXit3ScpIoh&#10;5b7NTE3kQglszW0hJ+pQiM+rvbPLI8BNpB8qsMz5nS+wOPtB+nqAHjYLW48DpL/H7cplJNSDo1DT&#10;IC9VtBsUiJOt2wnS3QH0uup6HSImkdHAMKUGjCqG/pQpqfF3oB+krwvovgzSfRno66KuZF6iax/+&#10;MjkFlr5uyrfHQdsY6AeIEzMmZwIEmJB+g08+GLPlS9g7OlHxqZn2SyqnSa0VNKk1FGq2b1RzJAO9&#10;QG83SJ8D6O2iPPt7ER8Xh5uNP4Yh7SbodHrEjxjaYfHnPj8NR1cnbF9fwHftl1Bz/is4iJyNfZFH&#10;PKm2SCJFEFh+6wdYBuhZOn3dFBj6etjAMqfbliKVgZEqAIVr4ik4YAlalwMWmvSaC6+Xqdw2Fmc/&#10;BZLeLjeo8LOm+eMvlVGjc38vy7ebZmpz8fbYosAz7DGgKhi3n4geAUKzwNGLs/9AQuuyx5egv4em&#10;7+zroZ/7e+n3XFCcE+mGG6lap9NDrY6Cr0WaQUODFQ5HJwDA4XDAdqHenXRb6gXACg0dM4ksIsBi&#10;TLsBBl0Skke51blWezta2y9h//FqD/f47MmTuDKO7h7sP+55mBy/DP9+sLre97zJYruAhuYWrh/+&#10;+s/vuz86cuqs4G0TIkWGZAF1dVYqIHINncBOr2A5iYRLlcC4zroh7szyNIMb/Nd11XeF10vlntnr&#10;wVC1Q66ibcmUfoDJm78EYAjts0JD2xxwh/QTFlgYV5Su20LLqXUM6yqnR3LIKFhJ2aRN4GXJd50z&#10;xkhAJDIKqv0qYIAFQA5cBmCpqweIE+fq6nipKPhOHob9z3B9YVQx7uNHJDIuOTikCvdYD8HOAgDJ&#10;CSORP/dOJCeMhMV2AfuPVcPR3Q2DLgn3zqB5iy31DbDYLlAw6OqGcewNSE6gk3j/sWof/vwy/PvB&#10;6nrfO2I+w4FAcsJI3Jt9C1dnV+VRX4Ah4Mq02ttxxHyGBSwVpmeOg0alhKW+Aa1tdnG2X3NgIewL&#10;L5GBkUkAInev9DyPiSslgc+xn64MbgwDSHzruia0W1LwzjjPuNUdRuJ3M6QPf5c3ScLQSSqRgUjd&#10;0cNuQPF2azK8ScwHGF67jPdEdp1fxD6DRAYiVQBOJRj2uBCaKc5JD2gjxH3Koa/rCeCBintceM/n&#10;ku44AB46qDy5IA8alRJHzGdQvPt9t4RQ34CG5hbkm+7y4WOxNXAAYLE1+O2Dq4z3/WB1+feOmM/Q&#10;o2R5fV3+s/swe8okGHRJeGHbDg9wsdTbPCStXRVH3ZKK+TSeXDhvyOMlUljAEuSUQ0YCSBmASALH&#10;YzFesRUekgCdnEEFdv6mOh8DLbu3BlJh/PlqFiRgJAQgMk8w8fuCeU5sj8keLNkVw1BJRuoCGCkF&#10;QZnrmFRWQoIzeIyND09/QOMFwCFPpwxM+aY7oVEp0WpvR/Eu31MQas7V4gXXCs/j4+jq5n3u8tsH&#10;Vxnv+8Hq8u/BC4AbGptQvPs9PPnL+ZwEU7rvgGdbHouiZ90XXi8d8niJFA6wBIpCY7wmXUgifuoz&#10;g7ADRKh+oH4T4p8Pv5IPLwGrnKufUilAqA2GId5A5gUqhPjy8gAWt4rkk4OFYTCUfS/TJ4xHcsIo&#10;Vr34NGBbDU1NIf5GgfYqkQD3g9UN3q6l3oZWezvitbGYnfVj7Ko4Akd3t6D3yP9ziHTtbCw/XHt1&#10;EGwikWmfn+EtKKAJAbfI9tGYNoa3ojeH3x4J0Zdg98O419DUjHgtzcJv0CWhxnLef2VeXY1KBUNK&#10;coCyIonA8kMHtIiDWzD7itsFbrHWDxJMvKQuv/Y54v9+sLoC2m1obILRMJY+w6iRqDlXG7SPhhQd&#10;ls97APs/OR64rEjXBljy77oFrz72cxh++Sysjd9d1Y7pE4ejtOhhGMfQRFNvVZ7EkvVvoO2y45oM&#10;lOX1p1H8/sdY94Y7P21ctAafvFoIfeJwrCzZ43HPRTnGNOx94REAwJL1b6D4/Y+x94VHUNf0HZas&#10;f+OqP4dr1R86iIXalxXsfrj3ggOwIUWHv/7nyqsO1iINWmIhwVenK0Rx0RrsfWEJrI2tUM5aDuOY&#10;JJSuWoTCn+diZXHZtRstr3FYfNdUCirFZSjMux3rdn7oU2Xt4rkofu9j2C87MHFMEm9F/x688IPl&#10;fw0lFiFlLFYbXti6jYKMXofl83921d9dkYQAC/HVe/e+uBQ5xjQAwMriMm4yub5v63AgLkbDAcDa&#10;fBNdrf+0E68+ngdrYyv0ifEofu8olvxpp1+2i+fcAm20GvNXbwUIQc35BsxfXYKa8zSmIn/ONLz6&#10;eB4AcO3kGNOw98WlPu0X5s1C4c9vp4AVo8GSP+1E8XtHkWNMQ+mqRYiL0aDm/AXMX70V1sZWGMcm&#10;4dXH5sE4NgltHQ7MX70VxrHJ0CcOx9p8E2rON6C8horW1kaaB7fw57fDevE7BHLd3589AXf97hWu&#10;/wCQaxyLng83oq3Dwd0rzJvFjVdbhwMnvriAl3Z+iL0vLuXGsK6x1W+/hZKjuxsaFd1Do1EqPYyg&#10;GpUK6wqXc/ct1nq8ULLte2FjcfUpuG3IDSKWunoUrtsIgz5FBJZrQBJhSZHp58K82zFxTBIMC57B&#10;nb/dhLX5JuQYx6Iw73bkGNMw9ZEXUVS826MOACTc91vUNX7LAcHK4t3InzMNxrFJfnkaxyThxBcX&#10;0MY7jKzmfAMAAn3icLz6eB5WFu/G1EdeRP6cacifcwvHy1/7cTEazF9dgrcqTmBNvglxMWqUrlqE&#10;kveOQnn7UtgvO/Da43kACEpXLaKS0u1LUV5Ti/tnTMS6nfthbWzFyuLdKK+xcH16q6KGA9Il63f4&#10;fZaS944gLkaD9/+wlPe8gDZag4T7fssC0ywYxyZhbb6Jey5vdJ+/ugRvVdYE7LfQq6HR7SUx6HUe&#10;9xzdXaj53L159MgJM65ekuzg7SYn8m1DVgTOouf1POfEg8mu0e5mpwBViMYW5BrTEBejgWX7M1wJ&#10;45gkGMckobzGgpraetTU1mNN/j3cKmFtbEXbpcvc7+XV57jkUdooVYD4At5JAV50f/YEAMC6Hfto&#10;ezUW5BjTUPfutwHaJ2jrcKC8+hyMY5Jw/4yJmHjDjxAXo6HSTN4s3rP8CPrEeDzyx1KAODH/2S1+&#10;VCF3nwrzZnMnCWijVDCO+RELgG4qfvcw9InDUZg3G6WrFsHw0NMACMprLGi7dBknvmhAXIwaORPH&#10;+jxXXIyGG7eaWlvAfg8mRuNIzUm6igMwpo9Fzeeeu5lb29ybEVv/+U/Ptj3UkQABf4T4vx+sboh2&#10;4+O0XJ+P1JyAoyuInc1PnzQqVRD3tEjXQBXy0pcJUF5twZ0rNngUK/19gR8R1luHpr+3XerkHVnq&#10;X/+tOW9DYd4diItWo63DEdju48EmQPsgsF92eEXb0p93rtiA8mr3Cm0cmxzCgOj5fWHebJRXW6CN&#10;0eC138yHPjEehl+s8lFNVm5+B/rEeNw/wwh9wnCAUFXHMxkR8TPJvL/33+/B0JHqGtybMxPxcVpM&#10;N07E/qOfeEgxwWwb/HLGdAMsdb5pIV0A0HCxEYLeLQH35t/1E06NK313bxA1yvfvZrwxHQZ9Ckrf&#10;Ew8qu7qqkJAMXOzvB6rPIWeSgV35jdj70nLERatRU2vjvs+fM51daeFV399n4P4ZRqwtuNeDb8ke&#10;eq5y6dP5AKGqkeXvq7G24F68dbCam9TGMUnImWRA+WfnArbv7/sTtTa0dTiQP2c6QAj2vrQc+XOm&#10;o6bWBmtjK/d96dP5ePU3830NrrwXuOa8DSV7DkOfGI+2Dgc9S5q9Hxetxid/fgqFebNRU0tDzz3O&#10;miZu0bH8s3Oez2U0wGNfESEB+z3Y7F4bt5dyK/iTBYvcdgh/RlXeVXP2czQ00pQH0ydNpOk1efdn&#10;3zIVhlQ99h/9mI2udd9LTnSn4vSux7/H/z5eG4vlD82D8cZ0tLbZ8cLmrb7teqf4ZL/XKJXIv/8+&#10;LH9onk8d8brylyCvkKV0DawXW2GYvxK5kwz45C//QcX20n1ou9SJdaUfcN+7JQw/k9F71ScEOUYD&#10;7K7Vm6W2S52464n1eLXwF+g5+GdOxVlX+gHaOhxY8vLf8OoTDwG4D8V7DqN4TyVyJqX7bZ+bnF5S&#10;0/xnNqP0mV+h5+CfUXPeRic+IZj/e/f3bR0OzH9mMw+UPCde0ea32X7Q/uVMSsfiu6djXek+js9b&#10;hz7D2l/RM4aXvPw3tF3q9GukrKm1YeXmt9my97nHkTduwfo9GGq4eBGFf1iH+XffBeONN+LJgkVo&#10;bWtDa5sd8XFat6HXNSF59MLmEsy/+y5Mn2TEs8sfQcPFRji6u7l6uz4qx66Pyj1VEbUKBr2eJ0UY&#10;sP/IUb/3nixYxOPfjYbGRpS++z6OVNd4hv7z2uKkpVQ9/vr8al9vUZ1VNOBeZWIU2QXXdMQtO9bi&#10;zifWw3rxW/GvcY0oeXSil9el0e8k9lF7UvU824zdwz4j0r86sNyaL0K5SCKJFGHjrXiQk0giiRRx&#10;YBF1T5FEEinSwEJEYBFJJJFEiUUkkUT6/gOLaGMRSSSRRIlFJJFEEoFFJJFEElUhkUQSSaQISCzi&#10;IIgkkkiixCKSSCJ9z+l/BwBo+WKO3FaVHgAAAABJRU5ErkJggg=="/>
  <p:tag name="ISPRING_PRESENTERDATA_0" val="TWFuYWdlbWVudCBTdHVkeSBHdWlkZQ==|TWFuYWdlbWVudCBTdHVkeSBHdWlkZQ==|||e0U4NkFBNTc5LUUxRjQtNDRCMi04MUEyLTk0QUVFNEIyNkRDN30=|||MQ==||SVNQUklOR19QUkVTRU5URVJfUEhPVE9fMA==|"/>
  <p:tag name="ISPRING_RESOURCE_PATHS_HASH_PRESENTER" val="f878f9a9307ee7c2bb21e09293ef67ee80278f98"/>
  <p:tag name="ISPRING_ULTRA_SCORM_COURSE_ID" val="47F3DA3A-659B-4A86-987E-281EA2BEE681"/>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Lst>
</file>

<file path=ppt/tags/tag10.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ntroduction - 7/8"/>
  <p:tag name="ISPRING_SLIDE_INDENT_LEVEL" val="0"/>
</p:tagLst>
</file>

<file path=ppt/tags/tag11.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ntroduction - 8/8"/>
  <p:tag name="ISPRING_SLIDE_INDENT_LEVEL" val="0"/>
</p:tagLst>
</file>

<file path=ppt/tags/tag12.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mportance of SCM in an Organization"/>
  <p:tag name="ISPRING_SLIDE_INDENT_LEVEL" val="0"/>
</p:tagLst>
</file>

<file path=ppt/tags/tag13.xml><?xml version="1.0" encoding="utf-8"?>
<p:tagLst xmlns:a="http://schemas.openxmlformats.org/drawingml/2006/main" xmlns:r="http://schemas.openxmlformats.org/officeDocument/2006/relationships" xmlns:p="http://schemas.openxmlformats.org/presentationml/2006/main">
  <p:tag name="GENSWF_SLIDE_TITLE" val="Drivers of Supply Chain Dynamics"/>
  <p:tag name="GENSWF_ADVANCE_TIME" val="0.00"/>
  <p:tag name="ISPRING_CUSTOM_TIMING_USED" val="0"/>
  <p:tag name="ISPRING_SLIDE_INDENT_LEVEL"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GENSWF_SLIDE_TITLE" val="Inputs and Outputs of the SCND"/>
  <p:tag name="GENSWF_ADVANCE_TIME" val="0.00"/>
  <p:tag name="ISPRING_CUSTOM_TIMING_USED" val="0"/>
  <p:tag name="ISPRING_SLIDE_INDENT_LEVEL" val="0"/>
</p:tagLst>
</file>

<file path=ppt/tags/tag16.xml><?xml version="1.0" encoding="utf-8"?>
<p:tagLst xmlns:a="http://schemas.openxmlformats.org/drawingml/2006/main" xmlns:r="http://schemas.openxmlformats.org/officeDocument/2006/relationships" xmlns:p="http://schemas.openxmlformats.org/presentationml/2006/main">
  <p:tag name="GENSWF_SLIDE_TITLE" val="Push/Pull Strategies"/>
  <p:tag name="GENSWF_ADVANCE_TIME" val="0.00"/>
  <p:tag name="ISPRING_CUSTOM_TIMING_USED" val="0"/>
  <p:tag name="ISPRING_SLIDE_INDENT_LEVEL" val="0"/>
</p:tagLst>
</file>

<file path=ppt/tags/tag17.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Logistics in Supply Chain Management"/>
  <p:tag name="ISPRING_SLIDE_INDENT_LEVEL" val="0"/>
</p:tagLst>
</file>

<file path=ppt/tags/tag18.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Real Life Example"/>
  <p:tag name="ISPRING_SLIDE_INDENT_LEVEL" val="0"/>
</p:tagLst>
</file>

<file path=ppt/tags/tag19.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Finished Goods Supply Chain"/>
  <p:tag name="ISPRING_SLIDE_INDENT_LEVEL" val="0"/>
</p:tagLst>
</file>

<file path=ppt/tags/tag2.xml><?xml version="1.0" encoding="utf-8"?>
<p:tagLst xmlns:a="http://schemas.openxmlformats.org/drawingml/2006/main" xmlns:r="http://schemas.openxmlformats.org/officeDocument/2006/relationships" xmlns:p="http://schemas.openxmlformats.org/presentationml/2006/main">
  <p:tag name="GENSWF_SLIDE_TITLE" val="Introduction to Supply Chain Management"/>
  <p:tag name="GENSWF_ADVANCE_TIME" val="0.00"/>
  <p:tag name="ISPRING_SLIDE_INDENT_LEVEL" val="0"/>
  <p:tag name="ISPRING_CUSTOM_TIMING_USED" val="0"/>
</p:tagLst>
</file>

<file path=ppt/tags/tag20.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Advantages of Reverse Logistics"/>
  <p:tag name="ISPRING_SLIDE_INDENT_LEVEL" val="0"/>
</p:tagLst>
</file>

<file path=ppt/tags/tag21.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Vendor Managed Inventory (VMI)"/>
  <p:tag name="ISPRING_SLIDE_INDENT_LEVEL" val="0"/>
</p:tagLst>
</file>

<file path=ppt/tags/tag22.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Workforce – Quantity &amp; Job Structure"/>
  <p:tag name="ISPRING_SLIDE_INDENT_LEVEL" val="0"/>
</p:tagLst>
</file>

<file path=ppt/tags/tag23.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Supply Chain Processes Reducing Various Costs"/>
  <p:tag name="ISPRING_SLIDE_INDENT_LEVEL" val="0"/>
</p:tagLst>
</file>

<file path=ppt/tags/tag24.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0"/>
  <p:tag name="ISPRING_CUSTOM_TIMING_USED" val="0"/>
  <p:tag name="GENSWF_SLIDE_TITLE" val="ManagementStudyGuide.com"/>
</p:tagLst>
</file>

<file path=ppt/tags/tag3.xml><?xml version="1.0" encoding="utf-8"?>
<p:tagLst xmlns:a="http://schemas.openxmlformats.org/drawingml/2006/main" xmlns:r="http://schemas.openxmlformats.org/officeDocument/2006/relationships" xmlns:p="http://schemas.openxmlformats.org/presentationml/2006/main">
  <p:tag name="GENSWF_SLIDE_TITLE" val="Course Objectives"/>
  <p:tag name="GENSWF_ADVANCE_TIME" val="0.00"/>
  <p:tag name="ISPRING_SLIDE_INDENT_LEVEL" val="0"/>
  <p:tag name="ISPRING_CUSTOM_TIMING_USED" val="0"/>
</p:tagLst>
</file>

<file path=ppt/tags/tag4.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0"/>
  <p:tag name="ISPRING_CUSTOM_TIMING_USED" val="0"/>
  <p:tag name="GENSWF_SLIDE_TITLE" val="Introduction - 1/8"/>
</p:tagLst>
</file>

<file path=ppt/tags/tag5.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ntroduction - 2/8"/>
  <p:tag name="ISPRING_SLIDE_INDENT_LEVEL" val="0"/>
</p:tagLst>
</file>

<file path=ppt/tags/tag6.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ntroduction - 3/8"/>
  <p:tag name="ISPRING_SLIDE_INDENT_LEVEL" val="0"/>
</p:tagLst>
</file>

<file path=ppt/tags/tag7.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ntroduction - 4/8"/>
  <p:tag name="ISPRING_SLIDE_INDENT_LEVEL" val="0"/>
</p:tagLst>
</file>

<file path=ppt/tags/tag8.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ntroduction - 5/8"/>
  <p:tag name="ISPRING_SLIDE_INDENT_LEVEL" val="0"/>
</p:tagLst>
</file>

<file path=ppt/tags/tag9.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ntroduction - 6/8"/>
  <p:tag name="ISPRING_SLIDE_INDENT_LEVEL"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711</TotalTime>
  <Words>1452</Words>
  <Application>Microsoft Office PowerPoint</Application>
  <PresentationFormat>On-screen Show (4:3)</PresentationFormat>
  <Paragraphs>181</Paragraphs>
  <Slides>22</Slides>
  <Notes>2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25" baseType="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pply-Chain-Management-Demo</dc:title>
  <dc:creator>Home</dc:creator>
  <cp:lastModifiedBy>User</cp:lastModifiedBy>
  <cp:revision>164</cp:revision>
  <dcterms:created xsi:type="dcterms:W3CDTF">2013-09-02T03:44:37Z</dcterms:created>
  <dcterms:modified xsi:type="dcterms:W3CDTF">2014-03-29T10:11:31Z</dcterms:modified>
</cp:coreProperties>
</file>